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56" r:id="rId2"/>
    <p:sldId id="285" r:id="rId3"/>
    <p:sldId id="286" r:id="rId4"/>
    <p:sldId id="287" r:id="rId5"/>
    <p:sldId id="288" r:id="rId6"/>
    <p:sldId id="289" r:id="rId7"/>
    <p:sldId id="290" r:id="rId8"/>
    <p:sldId id="291" r:id="rId9"/>
    <p:sldId id="292" r:id="rId10"/>
    <p:sldId id="293" r:id="rId11"/>
    <p:sldId id="294" r:id="rId12"/>
    <p:sldId id="295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974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11" userDrawn="1">
          <p15:clr>
            <a:srgbClr val="A4A3A4"/>
          </p15:clr>
        </p15:guide>
        <p15:guide id="4" pos="7469" userDrawn="1">
          <p15:clr>
            <a:srgbClr val="A4A3A4"/>
          </p15:clr>
        </p15:guide>
        <p15:guide id="5" orient="horz" pos="799" userDrawn="1">
          <p15:clr>
            <a:srgbClr val="A4A3A4"/>
          </p15:clr>
        </p15:guide>
        <p15:guide id="6" orient="horz" pos="2387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4995" autoAdjust="0"/>
    <p:restoredTop sz="90743" autoAdjust="0"/>
  </p:normalViewPr>
  <p:slideViewPr>
    <p:cSldViewPr snapToGrid="0" showGuides="1">
      <p:cViewPr>
        <p:scale>
          <a:sx n="50" d="100"/>
          <a:sy n="50" d="100"/>
        </p:scale>
        <p:origin x="-806" y="-43"/>
      </p:cViewPr>
      <p:guideLst>
        <p:guide orient="horz" pos="3974"/>
        <p:guide orient="horz" pos="799"/>
        <p:guide orient="horz" pos="2387"/>
        <p:guide pos="3840"/>
        <p:guide pos="211"/>
        <p:guide pos="746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66785D-7C8C-4CB4-BFFD-3F9D8313768A}" type="datetimeFigureOut">
              <a:rPr lang="en-ID" smtClean="0"/>
              <a:pPr/>
              <a:t>6/27/2020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B3261B-B98E-436B-8679-930407ED11BC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14799741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ndhikayw?utm_source=unsplash&amp;utm_medium=referral&amp;utm_content=creditCopyText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supply?utm_source=unsplash&amp;utm_medium=referral&amp;utm_content=creditCopyText" TargetMode="Externa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unsplash.com/@andhikayw?utm_source=unsplash&amp;utm_medium=referral&amp;utm_content=creditCopyText" TargetMode="External"/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s://unsplash.com/s/photos/supply?utm_source=unsplash&amp;utm_medium=referral&amp;utm_content=creditCopyText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ndhika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 Y.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iguna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on 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B3261B-B98E-436B-8679-930407ED11BC}" type="slidenum">
              <a:rPr lang="en-ID" smtClean="0"/>
              <a:pPr/>
              <a:t>1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22562521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hoto by 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Andhika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 Y.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iguna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on 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Unsplash</a:t>
            </a:r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B3261B-B98E-436B-8679-930407ED11BC}" type="slidenum">
              <a:rPr lang="en-ID" smtClean="0"/>
              <a:pPr/>
              <a:t>10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3367229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D677E83-5A07-491A-B66B-02F17FF846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4B56414D-07E1-4DEA-9BBC-4442CE64F52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27CFDDA-007F-46A6-8BAE-66C9EE8D88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03E03-D9DE-4D95-8BE5-ECE555D348CA}" type="datetimeFigureOut">
              <a:rPr lang="en-ID" smtClean="0"/>
              <a:pPr/>
              <a:t>6/27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BB6B4C0-EBD0-461E-AA67-968A10E399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8D7A79AC-2EF6-4189-93E2-13BD14CF8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89122-6C24-49FD-BEBC-7A811562A5F5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0653374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AADF819E-B830-4AAD-876A-6F659FC2E5F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273746E8-84F3-4B9F-B789-8B38DC92AD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62194E2C-6814-4552-BFCB-DDC8E4DAEB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03E03-D9DE-4D95-8BE5-ECE555D348CA}" type="datetimeFigureOut">
              <a:rPr lang="en-ID" smtClean="0"/>
              <a:pPr/>
              <a:t>6/27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7AA95D2-C37D-4719-8668-6C56BE01B9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EAB9E42-9D29-4F79-A8A9-FE720BAF66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89122-6C24-49FD-BEBC-7A811562A5F5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2198262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CBD065C-2BB8-448F-A6C8-A4B838F064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10E6BB88-4C2A-4B48-83E7-B1ABD9ACA7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0BB2BF99-57C7-4A07-A307-3BD948BBB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03E03-D9DE-4D95-8BE5-ECE555D348CA}" type="datetimeFigureOut">
              <a:rPr lang="en-ID" smtClean="0"/>
              <a:pPr/>
              <a:t>6/27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10B871C1-B052-4E29-B92A-172ABF0BDA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85DE6FD2-6B08-4579-86C2-3B01A4B9E1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89122-6C24-49FD-BEBC-7A811562A5F5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2848781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166A32A-DDCA-4359-8828-91ABFB86C2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DD0A81A-5BA1-4A3A-A9A6-2B595CF709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892D37E-E6F6-493C-AE88-86C2330406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03E03-D9DE-4D95-8BE5-ECE555D348CA}" type="datetimeFigureOut">
              <a:rPr lang="en-ID" smtClean="0"/>
              <a:pPr/>
              <a:t>6/27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EFF0E9F2-35DB-4030-94CC-55979C3198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4216D8CD-7368-48B3-832F-6F886F630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89122-6C24-49FD-BEBC-7A811562A5F5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7031386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7549CF1-3324-46A8-BA19-9C72238643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BB4BB830-A132-425C-B0A3-5B531409B70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9A8980FF-7E87-43F1-8723-4F66363316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74E4B7F0-C555-4144-9C1C-7FFD705F5C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03E03-D9DE-4D95-8BE5-ECE555D348CA}" type="datetimeFigureOut">
              <a:rPr lang="en-ID" smtClean="0"/>
              <a:pPr/>
              <a:t>6/27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DCD5A093-810B-4940-A8A7-BBEFE9B8AF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7C5EC35D-247B-4016-A923-32ABD7F339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89122-6C24-49FD-BEBC-7A811562A5F5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7362479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6242D18-9A85-4A43-AFFD-03ED5524C3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C18E5EE-DB70-4C16-929D-EF9E1C9F0C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A656229A-9C05-4969-92B6-2C4E05E822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83E3D89E-DE95-485B-A574-0CCC4785E6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657C988A-48E7-4272-9D0A-C0E790B002D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99C4D2F2-A03E-4D3C-8206-942851CEB7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03E03-D9DE-4D95-8BE5-ECE555D348CA}" type="datetimeFigureOut">
              <a:rPr lang="en-ID" smtClean="0"/>
              <a:pPr/>
              <a:t>6/27/2020</a:t>
            </a:fld>
            <a:endParaRPr lang="en-ID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4F1DB011-867A-40E9-808F-CA85B6954E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B66E60BA-8316-451A-9A06-ACD8285B32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89122-6C24-49FD-BEBC-7A811562A5F5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2935202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31">
            <a:extLst>
              <a:ext uri="{FF2B5EF4-FFF2-40B4-BE49-F238E27FC236}">
                <a16:creationId xmlns="" xmlns:a16="http://schemas.microsoft.com/office/drawing/2014/main" id="{669E9DF0-7548-4FD2-935B-841753057A1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6475308" y="3567113"/>
            <a:ext cx="5716692" cy="6581774"/>
          </a:xfrm>
          <a:custGeom>
            <a:avLst/>
            <a:gdLst>
              <a:gd name="T0" fmla="*/ 472 w 680"/>
              <a:gd name="T1" fmla="*/ 703 h 784"/>
              <a:gd name="T2" fmla="*/ 510 w 680"/>
              <a:gd name="T3" fmla="*/ 633 h 784"/>
              <a:gd name="T4" fmla="*/ 527 w 680"/>
              <a:gd name="T5" fmla="*/ 618 h 784"/>
              <a:gd name="T6" fmla="*/ 559 w 680"/>
              <a:gd name="T7" fmla="*/ 657 h 784"/>
              <a:gd name="T8" fmla="*/ 551 w 680"/>
              <a:gd name="T9" fmla="*/ 603 h 784"/>
              <a:gd name="T10" fmla="*/ 581 w 680"/>
              <a:gd name="T11" fmla="*/ 564 h 784"/>
              <a:gd name="T12" fmla="*/ 625 w 680"/>
              <a:gd name="T13" fmla="*/ 572 h 784"/>
              <a:gd name="T14" fmla="*/ 679 w 680"/>
              <a:gd name="T15" fmla="*/ 423 h 784"/>
              <a:gd name="T16" fmla="*/ 245 w 680"/>
              <a:gd name="T17" fmla="*/ 55 h 784"/>
              <a:gd name="T18" fmla="*/ 197 w 680"/>
              <a:gd name="T19" fmla="*/ 116 h 784"/>
              <a:gd name="T20" fmla="*/ 139 w 680"/>
              <a:gd name="T21" fmla="*/ 176 h 784"/>
              <a:gd name="T22" fmla="*/ 91 w 680"/>
              <a:gd name="T23" fmla="*/ 199 h 784"/>
              <a:gd name="T24" fmla="*/ 61 w 680"/>
              <a:gd name="T25" fmla="*/ 218 h 784"/>
              <a:gd name="T26" fmla="*/ 38 w 680"/>
              <a:gd name="T27" fmla="*/ 290 h 784"/>
              <a:gd name="T28" fmla="*/ 55 w 680"/>
              <a:gd name="T29" fmla="*/ 350 h 784"/>
              <a:gd name="T30" fmla="*/ 6 w 680"/>
              <a:gd name="T31" fmla="*/ 262 h 784"/>
              <a:gd name="T32" fmla="*/ 492 w 680"/>
              <a:gd name="T33" fmla="*/ 624 h 784"/>
              <a:gd name="T34" fmla="*/ 552 w 680"/>
              <a:gd name="T35" fmla="*/ 574 h 784"/>
              <a:gd name="T36" fmla="*/ 633 w 680"/>
              <a:gd name="T37" fmla="*/ 545 h 784"/>
              <a:gd name="T38" fmla="*/ 641 w 680"/>
              <a:gd name="T39" fmla="*/ 482 h 784"/>
              <a:gd name="T40" fmla="*/ 625 w 680"/>
              <a:gd name="T41" fmla="*/ 439 h 784"/>
              <a:gd name="T42" fmla="*/ 595 w 680"/>
              <a:gd name="T43" fmla="*/ 520 h 784"/>
              <a:gd name="T44" fmla="*/ 561 w 680"/>
              <a:gd name="T45" fmla="*/ 516 h 784"/>
              <a:gd name="T46" fmla="*/ 539 w 680"/>
              <a:gd name="T47" fmla="*/ 439 h 784"/>
              <a:gd name="T48" fmla="*/ 26 w 680"/>
              <a:gd name="T49" fmla="*/ 245 h 784"/>
              <a:gd name="T50" fmla="*/ 44 w 680"/>
              <a:gd name="T51" fmla="*/ 264 h 784"/>
              <a:gd name="T52" fmla="*/ 68 w 680"/>
              <a:gd name="T53" fmla="*/ 289 h 784"/>
              <a:gd name="T54" fmla="*/ 46 w 680"/>
              <a:gd name="T55" fmla="*/ 337 h 784"/>
              <a:gd name="T56" fmla="*/ 75 w 680"/>
              <a:gd name="T57" fmla="*/ 351 h 784"/>
              <a:gd name="T58" fmla="*/ 149 w 680"/>
              <a:gd name="T59" fmla="*/ 200 h 784"/>
              <a:gd name="T60" fmla="*/ 124 w 680"/>
              <a:gd name="T61" fmla="*/ 222 h 784"/>
              <a:gd name="T62" fmla="*/ 95 w 680"/>
              <a:gd name="T63" fmla="*/ 257 h 784"/>
              <a:gd name="T64" fmla="*/ 117 w 680"/>
              <a:gd name="T65" fmla="*/ 400 h 784"/>
              <a:gd name="T66" fmla="*/ 177 w 680"/>
              <a:gd name="T67" fmla="*/ 200 h 784"/>
              <a:gd name="T68" fmla="*/ 181 w 680"/>
              <a:gd name="T69" fmla="*/ 290 h 784"/>
              <a:gd name="T70" fmla="*/ 306 w 680"/>
              <a:gd name="T71" fmla="*/ 205 h 784"/>
              <a:gd name="T72" fmla="*/ 350 w 680"/>
              <a:gd name="T73" fmla="*/ 136 h 784"/>
              <a:gd name="T74" fmla="*/ 366 w 680"/>
              <a:gd name="T75" fmla="*/ 677 h 784"/>
              <a:gd name="T76" fmla="*/ 346 w 680"/>
              <a:gd name="T77" fmla="*/ 657 h 784"/>
              <a:gd name="T78" fmla="*/ 328 w 680"/>
              <a:gd name="T79" fmla="*/ 658 h 784"/>
              <a:gd name="T80" fmla="*/ 368 w 680"/>
              <a:gd name="T81" fmla="*/ 740 h 784"/>
              <a:gd name="T82" fmla="*/ 421 w 680"/>
              <a:gd name="T83" fmla="*/ 663 h 784"/>
              <a:gd name="T84" fmla="*/ 446 w 680"/>
              <a:gd name="T85" fmla="*/ 640 h 784"/>
              <a:gd name="T86" fmla="*/ 451 w 680"/>
              <a:gd name="T87" fmla="*/ 566 h 784"/>
              <a:gd name="T88" fmla="*/ 426 w 680"/>
              <a:gd name="T89" fmla="*/ 681 h 784"/>
              <a:gd name="T90" fmla="*/ 399 w 680"/>
              <a:gd name="T91" fmla="*/ 697 h 784"/>
              <a:gd name="T92" fmla="*/ 437 w 680"/>
              <a:gd name="T93" fmla="*/ 693 h 784"/>
              <a:gd name="T94" fmla="*/ 467 w 680"/>
              <a:gd name="T95" fmla="*/ 683 h 784"/>
              <a:gd name="T96" fmla="*/ 482 w 680"/>
              <a:gd name="T97" fmla="*/ 621 h 784"/>
              <a:gd name="T98" fmla="*/ 499 w 680"/>
              <a:gd name="T99" fmla="*/ 528 h 784"/>
              <a:gd name="T100" fmla="*/ 523 w 680"/>
              <a:gd name="T101" fmla="*/ 458 h 784"/>
              <a:gd name="T102" fmla="*/ 495 w 680"/>
              <a:gd name="T103" fmla="*/ 148 h 784"/>
              <a:gd name="T104" fmla="*/ 461 w 680"/>
              <a:gd name="T105" fmla="*/ 536 h 784"/>
              <a:gd name="T106" fmla="*/ 401 w 680"/>
              <a:gd name="T107" fmla="*/ 117 h 784"/>
              <a:gd name="T108" fmla="*/ 364 w 680"/>
              <a:gd name="T109" fmla="*/ 54 h 784"/>
              <a:gd name="T110" fmla="*/ 314 w 680"/>
              <a:gd name="T111" fmla="*/ 88 h 784"/>
              <a:gd name="T112" fmla="*/ 267 w 680"/>
              <a:gd name="T113" fmla="*/ 262 h 784"/>
              <a:gd name="T114" fmla="*/ 280 w 680"/>
              <a:gd name="T115" fmla="*/ 66 h 784"/>
              <a:gd name="T116" fmla="*/ 241 w 680"/>
              <a:gd name="T117" fmla="*/ 67 h 784"/>
              <a:gd name="T118" fmla="*/ 212 w 680"/>
              <a:gd name="T119" fmla="*/ 179 h 784"/>
              <a:gd name="T120" fmla="*/ 194 w 680"/>
              <a:gd name="T121" fmla="*/ 242 h 784"/>
              <a:gd name="T122" fmla="*/ 222 w 680"/>
              <a:gd name="T123" fmla="*/ 327 h 784"/>
              <a:gd name="T124" fmla="*/ 256 w 680"/>
              <a:gd name="T125" fmla="*/ 133 h 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80" h="784">
                <a:moveTo>
                  <a:pt x="298" y="758"/>
                </a:moveTo>
                <a:cubicBezTo>
                  <a:pt x="300" y="757"/>
                  <a:pt x="304" y="758"/>
                  <a:pt x="305" y="756"/>
                </a:cubicBezTo>
                <a:cubicBezTo>
                  <a:pt x="305" y="756"/>
                  <a:pt x="304" y="755"/>
                  <a:pt x="305" y="755"/>
                </a:cubicBezTo>
                <a:cubicBezTo>
                  <a:pt x="307" y="753"/>
                  <a:pt x="311" y="754"/>
                  <a:pt x="312" y="754"/>
                </a:cubicBezTo>
                <a:cubicBezTo>
                  <a:pt x="324" y="757"/>
                  <a:pt x="318" y="767"/>
                  <a:pt x="306" y="764"/>
                </a:cubicBezTo>
                <a:cubicBezTo>
                  <a:pt x="304" y="763"/>
                  <a:pt x="305" y="762"/>
                  <a:pt x="302" y="762"/>
                </a:cubicBezTo>
                <a:cubicBezTo>
                  <a:pt x="340" y="784"/>
                  <a:pt x="340" y="784"/>
                  <a:pt x="340" y="784"/>
                </a:cubicBezTo>
                <a:cubicBezTo>
                  <a:pt x="340" y="783"/>
                  <a:pt x="341" y="783"/>
                  <a:pt x="341" y="783"/>
                </a:cubicBezTo>
                <a:cubicBezTo>
                  <a:pt x="344" y="782"/>
                  <a:pt x="344" y="782"/>
                  <a:pt x="344" y="782"/>
                </a:cubicBezTo>
                <a:cubicBezTo>
                  <a:pt x="344" y="782"/>
                  <a:pt x="343" y="782"/>
                  <a:pt x="343" y="781"/>
                </a:cubicBezTo>
                <a:cubicBezTo>
                  <a:pt x="344" y="781"/>
                  <a:pt x="344" y="781"/>
                  <a:pt x="344" y="782"/>
                </a:cubicBezTo>
                <a:cubicBezTo>
                  <a:pt x="346" y="781"/>
                  <a:pt x="346" y="781"/>
                  <a:pt x="346" y="781"/>
                </a:cubicBezTo>
                <a:cubicBezTo>
                  <a:pt x="346" y="780"/>
                  <a:pt x="345" y="780"/>
                  <a:pt x="345" y="779"/>
                </a:cubicBezTo>
                <a:cubicBezTo>
                  <a:pt x="345" y="777"/>
                  <a:pt x="351" y="775"/>
                  <a:pt x="354" y="776"/>
                </a:cubicBezTo>
                <a:cubicBezTo>
                  <a:pt x="363" y="770"/>
                  <a:pt x="363" y="770"/>
                  <a:pt x="363" y="770"/>
                </a:cubicBezTo>
                <a:cubicBezTo>
                  <a:pt x="363" y="770"/>
                  <a:pt x="363" y="770"/>
                  <a:pt x="363" y="770"/>
                </a:cubicBezTo>
                <a:cubicBezTo>
                  <a:pt x="363" y="770"/>
                  <a:pt x="360" y="768"/>
                  <a:pt x="361" y="766"/>
                </a:cubicBezTo>
                <a:cubicBezTo>
                  <a:pt x="361" y="765"/>
                  <a:pt x="364" y="765"/>
                  <a:pt x="364" y="765"/>
                </a:cubicBezTo>
                <a:cubicBezTo>
                  <a:pt x="366" y="762"/>
                  <a:pt x="364" y="765"/>
                  <a:pt x="366" y="764"/>
                </a:cubicBezTo>
                <a:cubicBezTo>
                  <a:pt x="366" y="764"/>
                  <a:pt x="367" y="763"/>
                  <a:pt x="367" y="763"/>
                </a:cubicBezTo>
                <a:cubicBezTo>
                  <a:pt x="369" y="763"/>
                  <a:pt x="371" y="764"/>
                  <a:pt x="372" y="766"/>
                </a:cubicBezTo>
                <a:cubicBezTo>
                  <a:pt x="420" y="738"/>
                  <a:pt x="420" y="738"/>
                  <a:pt x="420" y="738"/>
                </a:cubicBezTo>
                <a:cubicBezTo>
                  <a:pt x="420" y="737"/>
                  <a:pt x="419" y="737"/>
                  <a:pt x="419" y="737"/>
                </a:cubicBezTo>
                <a:cubicBezTo>
                  <a:pt x="419" y="735"/>
                  <a:pt x="420" y="737"/>
                  <a:pt x="421" y="737"/>
                </a:cubicBezTo>
                <a:cubicBezTo>
                  <a:pt x="419" y="734"/>
                  <a:pt x="424" y="734"/>
                  <a:pt x="423" y="732"/>
                </a:cubicBezTo>
                <a:cubicBezTo>
                  <a:pt x="425" y="733"/>
                  <a:pt x="426" y="733"/>
                  <a:pt x="428" y="733"/>
                </a:cubicBezTo>
                <a:cubicBezTo>
                  <a:pt x="444" y="724"/>
                  <a:pt x="444" y="724"/>
                  <a:pt x="444" y="724"/>
                </a:cubicBezTo>
                <a:cubicBezTo>
                  <a:pt x="442" y="723"/>
                  <a:pt x="441" y="723"/>
                  <a:pt x="440" y="723"/>
                </a:cubicBezTo>
                <a:cubicBezTo>
                  <a:pt x="439" y="723"/>
                  <a:pt x="439" y="724"/>
                  <a:pt x="438" y="724"/>
                </a:cubicBezTo>
                <a:cubicBezTo>
                  <a:pt x="438" y="724"/>
                  <a:pt x="431" y="722"/>
                  <a:pt x="431" y="721"/>
                </a:cubicBezTo>
                <a:cubicBezTo>
                  <a:pt x="430" y="721"/>
                  <a:pt x="429" y="718"/>
                  <a:pt x="429" y="718"/>
                </a:cubicBezTo>
                <a:cubicBezTo>
                  <a:pt x="429" y="718"/>
                  <a:pt x="428" y="718"/>
                  <a:pt x="428" y="717"/>
                </a:cubicBezTo>
                <a:cubicBezTo>
                  <a:pt x="428" y="716"/>
                  <a:pt x="432" y="715"/>
                  <a:pt x="436" y="715"/>
                </a:cubicBezTo>
                <a:cubicBezTo>
                  <a:pt x="436" y="715"/>
                  <a:pt x="436" y="715"/>
                  <a:pt x="436" y="715"/>
                </a:cubicBezTo>
                <a:cubicBezTo>
                  <a:pt x="436" y="715"/>
                  <a:pt x="436" y="715"/>
                  <a:pt x="436" y="715"/>
                </a:cubicBezTo>
                <a:cubicBezTo>
                  <a:pt x="437" y="715"/>
                  <a:pt x="437" y="715"/>
                  <a:pt x="438" y="715"/>
                </a:cubicBezTo>
                <a:cubicBezTo>
                  <a:pt x="440" y="714"/>
                  <a:pt x="442" y="713"/>
                  <a:pt x="440" y="711"/>
                </a:cubicBezTo>
                <a:cubicBezTo>
                  <a:pt x="441" y="712"/>
                  <a:pt x="437" y="712"/>
                  <a:pt x="437" y="711"/>
                </a:cubicBezTo>
                <a:cubicBezTo>
                  <a:pt x="437" y="711"/>
                  <a:pt x="444" y="710"/>
                  <a:pt x="443" y="708"/>
                </a:cubicBezTo>
                <a:cubicBezTo>
                  <a:pt x="443" y="709"/>
                  <a:pt x="440" y="706"/>
                  <a:pt x="441" y="706"/>
                </a:cubicBezTo>
                <a:cubicBezTo>
                  <a:pt x="441" y="705"/>
                  <a:pt x="444" y="705"/>
                  <a:pt x="446" y="705"/>
                </a:cubicBezTo>
                <a:cubicBezTo>
                  <a:pt x="446" y="705"/>
                  <a:pt x="446" y="704"/>
                  <a:pt x="446" y="704"/>
                </a:cubicBezTo>
                <a:cubicBezTo>
                  <a:pt x="446" y="704"/>
                  <a:pt x="446" y="703"/>
                  <a:pt x="446" y="703"/>
                </a:cubicBezTo>
                <a:cubicBezTo>
                  <a:pt x="445" y="702"/>
                  <a:pt x="444" y="703"/>
                  <a:pt x="445" y="701"/>
                </a:cubicBezTo>
                <a:cubicBezTo>
                  <a:pt x="443" y="702"/>
                  <a:pt x="442" y="702"/>
                  <a:pt x="440" y="703"/>
                </a:cubicBezTo>
                <a:cubicBezTo>
                  <a:pt x="442" y="703"/>
                  <a:pt x="442" y="700"/>
                  <a:pt x="443" y="700"/>
                </a:cubicBezTo>
                <a:cubicBezTo>
                  <a:pt x="446" y="700"/>
                  <a:pt x="443" y="700"/>
                  <a:pt x="442" y="698"/>
                </a:cubicBezTo>
                <a:cubicBezTo>
                  <a:pt x="441" y="699"/>
                  <a:pt x="442" y="699"/>
                  <a:pt x="442" y="700"/>
                </a:cubicBezTo>
                <a:cubicBezTo>
                  <a:pt x="440" y="705"/>
                  <a:pt x="434" y="698"/>
                  <a:pt x="437" y="696"/>
                </a:cubicBezTo>
                <a:cubicBezTo>
                  <a:pt x="438" y="696"/>
                  <a:pt x="441" y="698"/>
                  <a:pt x="441" y="697"/>
                </a:cubicBezTo>
                <a:cubicBezTo>
                  <a:pt x="443" y="697"/>
                  <a:pt x="443" y="696"/>
                  <a:pt x="443" y="694"/>
                </a:cubicBezTo>
                <a:cubicBezTo>
                  <a:pt x="444" y="694"/>
                  <a:pt x="445" y="695"/>
                  <a:pt x="447" y="695"/>
                </a:cubicBezTo>
                <a:cubicBezTo>
                  <a:pt x="447" y="695"/>
                  <a:pt x="446" y="694"/>
                  <a:pt x="447" y="694"/>
                </a:cubicBezTo>
                <a:cubicBezTo>
                  <a:pt x="448" y="692"/>
                  <a:pt x="454" y="695"/>
                  <a:pt x="453" y="693"/>
                </a:cubicBezTo>
                <a:cubicBezTo>
                  <a:pt x="454" y="693"/>
                  <a:pt x="454" y="693"/>
                  <a:pt x="454" y="693"/>
                </a:cubicBezTo>
                <a:cubicBezTo>
                  <a:pt x="454" y="693"/>
                  <a:pt x="454" y="693"/>
                  <a:pt x="454" y="693"/>
                </a:cubicBezTo>
                <a:cubicBezTo>
                  <a:pt x="455" y="693"/>
                  <a:pt x="455" y="693"/>
                  <a:pt x="455" y="693"/>
                </a:cubicBezTo>
                <a:cubicBezTo>
                  <a:pt x="454" y="693"/>
                  <a:pt x="454" y="693"/>
                  <a:pt x="454" y="693"/>
                </a:cubicBezTo>
                <a:cubicBezTo>
                  <a:pt x="455" y="694"/>
                  <a:pt x="456" y="697"/>
                  <a:pt x="457" y="699"/>
                </a:cubicBezTo>
                <a:cubicBezTo>
                  <a:pt x="457" y="700"/>
                  <a:pt x="458" y="700"/>
                  <a:pt x="458" y="701"/>
                </a:cubicBezTo>
                <a:cubicBezTo>
                  <a:pt x="457" y="702"/>
                  <a:pt x="455" y="700"/>
                  <a:pt x="455" y="702"/>
                </a:cubicBezTo>
                <a:cubicBezTo>
                  <a:pt x="455" y="706"/>
                  <a:pt x="463" y="704"/>
                  <a:pt x="461" y="698"/>
                </a:cubicBezTo>
                <a:cubicBezTo>
                  <a:pt x="463" y="700"/>
                  <a:pt x="465" y="701"/>
                  <a:pt x="466" y="703"/>
                </a:cubicBezTo>
                <a:cubicBezTo>
                  <a:pt x="466" y="702"/>
                  <a:pt x="468" y="702"/>
                  <a:pt x="468" y="703"/>
                </a:cubicBezTo>
                <a:cubicBezTo>
                  <a:pt x="469" y="704"/>
                  <a:pt x="467" y="704"/>
                  <a:pt x="466" y="703"/>
                </a:cubicBezTo>
                <a:cubicBezTo>
                  <a:pt x="467" y="704"/>
                  <a:pt x="467" y="704"/>
                  <a:pt x="467" y="705"/>
                </a:cubicBezTo>
                <a:cubicBezTo>
                  <a:pt x="467" y="705"/>
                  <a:pt x="468" y="704"/>
                  <a:pt x="468" y="705"/>
                </a:cubicBezTo>
                <a:cubicBezTo>
                  <a:pt x="468" y="706"/>
                  <a:pt x="467" y="706"/>
                  <a:pt x="467" y="705"/>
                </a:cubicBezTo>
                <a:cubicBezTo>
                  <a:pt x="467" y="706"/>
                  <a:pt x="467" y="706"/>
                  <a:pt x="467" y="707"/>
                </a:cubicBezTo>
                <a:cubicBezTo>
                  <a:pt x="467" y="706"/>
                  <a:pt x="469" y="707"/>
                  <a:pt x="471" y="706"/>
                </a:cubicBezTo>
                <a:cubicBezTo>
                  <a:pt x="471" y="706"/>
                  <a:pt x="471" y="706"/>
                  <a:pt x="471" y="706"/>
                </a:cubicBezTo>
                <a:cubicBezTo>
                  <a:pt x="472" y="706"/>
                  <a:pt x="472" y="706"/>
                  <a:pt x="472" y="706"/>
                </a:cubicBezTo>
                <a:cubicBezTo>
                  <a:pt x="472" y="706"/>
                  <a:pt x="472" y="706"/>
                  <a:pt x="472" y="706"/>
                </a:cubicBezTo>
                <a:cubicBezTo>
                  <a:pt x="472" y="706"/>
                  <a:pt x="473" y="706"/>
                  <a:pt x="474" y="706"/>
                </a:cubicBezTo>
                <a:cubicBezTo>
                  <a:pt x="474" y="706"/>
                  <a:pt x="474" y="705"/>
                  <a:pt x="472" y="705"/>
                </a:cubicBezTo>
                <a:cubicBezTo>
                  <a:pt x="472" y="704"/>
                  <a:pt x="475" y="705"/>
                  <a:pt x="476" y="705"/>
                </a:cubicBezTo>
                <a:cubicBezTo>
                  <a:pt x="476" y="705"/>
                  <a:pt x="476" y="705"/>
                  <a:pt x="476" y="705"/>
                </a:cubicBezTo>
                <a:cubicBezTo>
                  <a:pt x="476" y="705"/>
                  <a:pt x="475" y="704"/>
                  <a:pt x="475" y="704"/>
                </a:cubicBezTo>
                <a:cubicBezTo>
                  <a:pt x="474" y="705"/>
                  <a:pt x="471" y="704"/>
                  <a:pt x="472" y="703"/>
                </a:cubicBezTo>
                <a:cubicBezTo>
                  <a:pt x="473" y="703"/>
                  <a:pt x="473" y="703"/>
                  <a:pt x="473" y="703"/>
                </a:cubicBezTo>
                <a:cubicBezTo>
                  <a:pt x="473" y="703"/>
                  <a:pt x="473" y="703"/>
                  <a:pt x="473" y="702"/>
                </a:cubicBezTo>
                <a:cubicBezTo>
                  <a:pt x="473" y="703"/>
                  <a:pt x="475" y="702"/>
                  <a:pt x="475" y="703"/>
                </a:cubicBezTo>
                <a:cubicBezTo>
                  <a:pt x="474" y="701"/>
                  <a:pt x="472" y="701"/>
                  <a:pt x="472" y="700"/>
                </a:cubicBezTo>
                <a:cubicBezTo>
                  <a:pt x="474" y="698"/>
                  <a:pt x="477" y="703"/>
                  <a:pt x="479" y="702"/>
                </a:cubicBezTo>
                <a:cubicBezTo>
                  <a:pt x="479" y="702"/>
                  <a:pt x="479" y="702"/>
                  <a:pt x="479" y="702"/>
                </a:cubicBezTo>
                <a:cubicBezTo>
                  <a:pt x="479" y="702"/>
                  <a:pt x="479" y="702"/>
                  <a:pt x="479" y="702"/>
                </a:cubicBezTo>
                <a:cubicBezTo>
                  <a:pt x="477" y="700"/>
                  <a:pt x="473" y="698"/>
                  <a:pt x="476" y="697"/>
                </a:cubicBezTo>
                <a:cubicBezTo>
                  <a:pt x="475" y="697"/>
                  <a:pt x="475" y="697"/>
                  <a:pt x="474" y="696"/>
                </a:cubicBezTo>
                <a:cubicBezTo>
                  <a:pt x="474" y="696"/>
                  <a:pt x="474" y="695"/>
                  <a:pt x="474" y="695"/>
                </a:cubicBezTo>
                <a:cubicBezTo>
                  <a:pt x="474" y="695"/>
                  <a:pt x="474" y="695"/>
                  <a:pt x="474" y="695"/>
                </a:cubicBezTo>
                <a:cubicBezTo>
                  <a:pt x="474" y="694"/>
                  <a:pt x="476" y="693"/>
                  <a:pt x="476" y="694"/>
                </a:cubicBezTo>
                <a:cubicBezTo>
                  <a:pt x="479" y="694"/>
                  <a:pt x="485" y="695"/>
                  <a:pt x="481" y="692"/>
                </a:cubicBezTo>
                <a:cubicBezTo>
                  <a:pt x="482" y="693"/>
                  <a:pt x="485" y="690"/>
                  <a:pt x="487" y="693"/>
                </a:cubicBezTo>
                <a:cubicBezTo>
                  <a:pt x="487" y="693"/>
                  <a:pt x="486" y="694"/>
                  <a:pt x="486" y="694"/>
                </a:cubicBezTo>
                <a:cubicBezTo>
                  <a:pt x="487" y="694"/>
                  <a:pt x="494" y="692"/>
                  <a:pt x="494" y="691"/>
                </a:cubicBezTo>
                <a:cubicBezTo>
                  <a:pt x="494" y="691"/>
                  <a:pt x="488" y="688"/>
                  <a:pt x="492" y="687"/>
                </a:cubicBezTo>
                <a:cubicBezTo>
                  <a:pt x="494" y="687"/>
                  <a:pt x="496" y="689"/>
                  <a:pt x="496" y="690"/>
                </a:cubicBezTo>
                <a:cubicBezTo>
                  <a:pt x="496" y="693"/>
                  <a:pt x="499" y="688"/>
                  <a:pt x="499" y="688"/>
                </a:cubicBezTo>
                <a:cubicBezTo>
                  <a:pt x="498" y="686"/>
                  <a:pt x="497" y="688"/>
                  <a:pt x="497" y="686"/>
                </a:cubicBezTo>
                <a:cubicBezTo>
                  <a:pt x="497" y="687"/>
                  <a:pt x="500" y="684"/>
                  <a:pt x="500" y="684"/>
                </a:cubicBezTo>
                <a:cubicBezTo>
                  <a:pt x="501" y="683"/>
                  <a:pt x="500" y="682"/>
                  <a:pt x="503" y="683"/>
                </a:cubicBezTo>
                <a:cubicBezTo>
                  <a:pt x="502" y="683"/>
                  <a:pt x="501" y="682"/>
                  <a:pt x="501" y="681"/>
                </a:cubicBezTo>
                <a:cubicBezTo>
                  <a:pt x="500" y="680"/>
                  <a:pt x="499" y="679"/>
                  <a:pt x="500" y="679"/>
                </a:cubicBezTo>
                <a:cubicBezTo>
                  <a:pt x="500" y="678"/>
                  <a:pt x="500" y="678"/>
                  <a:pt x="501" y="678"/>
                </a:cubicBezTo>
                <a:cubicBezTo>
                  <a:pt x="501" y="678"/>
                  <a:pt x="501" y="678"/>
                  <a:pt x="501" y="678"/>
                </a:cubicBezTo>
                <a:cubicBezTo>
                  <a:pt x="502" y="679"/>
                  <a:pt x="503" y="679"/>
                  <a:pt x="503" y="680"/>
                </a:cubicBezTo>
                <a:cubicBezTo>
                  <a:pt x="503" y="680"/>
                  <a:pt x="503" y="680"/>
                  <a:pt x="504" y="680"/>
                </a:cubicBezTo>
                <a:cubicBezTo>
                  <a:pt x="504" y="680"/>
                  <a:pt x="504" y="680"/>
                  <a:pt x="505" y="679"/>
                </a:cubicBezTo>
                <a:cubicBezTo>
                  <a:pt x="504" y="679"/>
                  <a:pt x="504" y="678"/>
                  <a:pt x="504" y="678"/>
                </a:cubicBezTo>
                <a:cubicBezTo>
                  <a:pt x="505" y="676"/>
                  <a:pt x="508" y="676"/>
                  <a:pt x="509" y="678"/>
                </a:cubicBezTo>
                <a:cubicBezTo>
                  <a:pt x="509" y="677"/>
                  <a:pt x="510" y="677"/>
                  <a:pt x="510" y="677"/>
                </a:cubicBezTo>
                <a:cubicBezTo>
                  <a:pt x="510" y="678"/>
                  <a:pt x="512" y="680"/>
                  <a:pt x="513" y="680"/>
                </a:cubicBezTo>
                <a:cubicBezTo>
                  <a:pt x="513" y="680"/>
                  <a:pt x="513" y="681"/>
                  <a:pt x="513" y="681"/>
                </a:cubicBezTo>
                <a:cubicBezTo>
                  <a:pt x="513" y="681"/>
                  <a:pt x="513" y="681"/>
                  <a:pt x="513" y="682"/>
                </a:cubicBezTo>
                <a:cubicBezTo>
                  <a:pt x="513" y="682"/>
                  <a:pt x="513" y="682"/>
                  <a:pt x="513" y="682"/>
                </a:cubicBezTo>
                <a:cubicBezTo>
                  <a:pt x="516" y="683"/>
                  <a:pt x="514" y="677"/>
                  <a:pt x="517" y="678"/>
                </a:cubicBezTo>
                <a:cubicBezTo>
                  <a:pt x="515" y="678"/>
                  <a:pt x="514" y="677"/>
                  <a:pt x="514" y="676"/>
                </a:cubicBezTo>
                <a:cubicBezTo>
                  <a:pt x="512" y="676"/>
                  <a:pt x="510" y="674"/>
                  <a:pt x="511" y="673"/>
                </a:cubicBezTo>
                <a:cubicBezTo>
                  <a:pt x="509" y="673"/>
                  <a:pt x="506" y="673"/>
                  <a:pt x="507" y="670"/>
                </a:cubicBezTo>
                <a:cubicBezTo>
                  <a:pt x="507" y="670"/>
                  <a:pt x="506" y="670"/>
                  <a:pt x="506" y="670"/>
                </a:cubicBezTo>
                <a:cubicBezTo>
                  <a:pt x="508" y="672"/>
                  <a:pt x="505" y="672"/>
                  <a:pt x="504" y="671"/>
                </a:cubicBezTo>
                <a:cubicBezTo>
                  <a:pt x="504" y="670"/>
                  <a:pt x="505" y="670"/>
                  <a:pt x="505" y="670"/>
                </a:cubicBezTo>
                <a:cubicBezTo>
                  <a:pt x="505" y="669"/>
                  <a:pt x="503" y="669"/>
                  <a:pt x="503" y="668"/>
                </a:cubicBezTo>
                <a:cubicBezTo>
                  <a:pt x="501" y="666"/>
                  <a:pt x="502" y="664"/>
                  <a:pt x="499" y="664"/>
                </a:cubicBezTo>
                <a:cubicBezTo>
                  <a:pt x="496" y="664"/>
                  <a:pt x="496" y="661"/>
                  <a:pt x="494" y="661"/>
                </a:cubicBezTo>
                <a:cubicBezTo>
                  <a:pt x="493" y="662"/>
                  <a:pt x="493" y="669"/>
                  <a:pt x="489" y="666"/>
                </a:cubicBezTo>
                <a:cubicBezTo>
                  <a:pt x="488" y="665"/>
                  <a:pt x="489" y="665"/>
                  <a:pt x="488" y="665"/>
                </a:cubicBezTo>
                <a:cubicBezTo>
                  <a:pt x="486" y="665"/>
                  <a:pt x="480" y="661"/>
                  <a:pt x="486" y="661"/>
                </a:cubicBezTo>
                <a:cubicBezTo>
                  <a:pt x="487" y="661"/>
                  <a:pt x="488" y="662"/>
                  <a:pt x="488" y="662"/>
                </a:cubicBezTo>
                <a:cubicBezTo>
                  <a:pt x="490" y="663"/>
                  <a:pt x="490" y="661"/>
                  <a:pt x="492" y="660"/>
                </a:cubicBezTo>
                <a:cubicBezTo>
                  <a:pt x="493" y="660"/>
                  <a:pt x="493" y="662"/>
                  <a:pt x="494" y="661"/>
                </a:cubicBezTo>
                <a:cubicBezTo>
                  <a:pt x="495" y="659"/>
                  <a:pt x="491" y="658"/>
                  <a:pt x="491" y="658"/>
                </a:cubicBezTo>
                <a:cubicBezTo>
                  <a:pt x="490" y="658"/>
                  <a:pt x="490" y="661"/>
                  <a:pt x="489" y="659"/>
                </a:cubicBezTo>
                <a:cubicBezTo>
                  <a:pt x="489" y="658"/>
                  <a:pt x="491" y="655"/>
                  <a:pt x="491" y="655"/>
                </a:cubicBezTo>
                <a:cubicBezTo>
                  <a:pt x="492" y="652"/>
                  <a:pt x="491" y="653"/>
                  <a:pt x="494" y="652"/>
                </a:cubicBezTo>
                <a:cubicBezTo>
                  <a:pt x="496" y="652"/>
                  <a:pt x="499" y="654"/>
                  <a:pt x="499" y="655"/>
                </a:cubicBezTo>
                <a:cubicBezTo>
                  <a:pt x="501" y="658"/>
                  <a:pt x="500" y="655"/>
                  <a:pt x="501" y="654"/>
                </a:cubicBezTo>
                <a:cubicBezTo>
                  <a:pt x="502" y="653"/>
                  <a:pt x="504" y="653"/>
                  <a:pt x="506" y="654"/>
                </a:cubicBezTo>
                <a:cubicBezTo>
                  <a:pt x="506" y="652"/>
                  <a:pt x="506" y="651"/>
                  <a:pt x="507" y="651"/>
                </a:cubicBezTo>
                <a:cubicBezTo>
                  <a:pt x="507" y="651"/>
                  <a:pt x="507" y="651"/>
                  <a:pt x="506" y="650"/>
                </a:cubicBezTo>
                <a:cubicBezTo>
                  <a:pt x="507" y="650"/>
                  <a:pt x="507" y="651"/>
                  <a:pt x="507" y="651"/>
                </a:cubicBezTo>
                <a:cubicBezTo>
                  <a:pt x="507" y="651"/>
                  <a:pt x="508" y="651"/>
                  <a:pt x="508" y="651"/>
                </a:cubicBezTo>
                <a:cubicBezTo>
                  <a:pt x="505" y="650"/>
                  <a:pt x="516" y="648"/>
                  <a:pt x="513" y="646"/>
                </a:cubicBezTo>
                <a:cubicBezTo>
                  <a:pt x="513" y="645"/>
                  <a:pt x="513" y="645"/>
                  <a:pt x="512" y="645"/>
                </a:cubicBezTo>
                <a:cubicBezTo>
                  <a:pt x="512" y="645"/>
                  <a:pt x="513" y="645"/>
                  <a:pt x="513" y="644"/>
                </a:cubicBezTo>
                <a:cubicBezTo>
                  <a:pt x="513" y="644"/>
                  <a:pt x="513" y="644"/>
                  <a:pt x="513" y="644"/>
                </a:cubicBezTo>
                <a:cubicBezTo>
                  <a:pt x="513" y="643"/>
                  <a:pt x="512" y="642"/>
                  <a:pt x="512" y="641"/>
                </a:cubicBezTo>
                <a:cubicBezTo>
                  <a:pt x="512" y="640"/>
                  <a:pt x="511" y="640"/>
                  <a:pt x="512" y="639"/>
                </a:cubicBezTo>
                <a:cubicBezTo>
                  <a:pt x="512" y="638"/>
                  <a:pt x="513" y="637"/>
                  <a:pt x="515" y="637"/>
                </a:cubicBezTo>
                <a:cubicBezTo>
                  <a:pt x="518" y="636"/>
                  <a:pt x="513" y="635"/>
                  <a:pt x="512" y="636"/>
                </a:cubicBezTo>
                <a:cubicBezTo>
                  <a:pt x="512" y="637"/>
                  <a:pt x="512" y="637"/>
                  <a:pt x="511" y="637"/>
                </a:cubicBezTo>
                <a:cubicBezTo>
                  <a:pt x="511" y="637"/>
                  <a:pt x="510" y="637"/>
                  <a:pt x="510" y="636"/>
                </a:cubicBezTo>
                <a:cubicBezTo>
                  <a:pt x="508" y="636"/>
                  <a:pt x="506" y="635"/>
                  <a:pt x="505" y="635"/>
                </a:cubicBezTo>
                <a:cubicBezTo>
                  <a:pt x="507" y="635"/>
                  <a:pt x="508" y="635"/>
                  <a:pt x="510" y="635"/>
                </a:cubicBezTo>
                <a:cubicBezTo>
                  <a:pt x="510" y="634"/>
                  <a:pt x="510" y="634"/>
                  <a:pt x="510" y="634"/>
                </a:cubicBezTo>
                <a:cubicBezTo>
                  <a:pt x="510" y="634"/>
                  <a:pt x="511" y="634"/>
                  <a:pt x="511" y="635"/>
                </a:cubicBezTo>
                <a:cubicBezTo>
                  <a:pt x="511" y="635"/>
                  <a:pt x="512" y="635"/>
                  <a:pt x="512" y="635"/>
                </a:cubicBezTo>
                <a:cubicBezTo>
                  <a:pt x="512" y="634"/>
                  <a:pt x="510" y="634"/>
                  <a:pt x="510" y="633"/>
                </a:cubicBezTo>
                <a:cubicBezTo>
                  <a:pt x="511" y="634"/>
                  <a:pt x="512" y="634"/>
                  <a:pt x="513" y="633"/>
                </a:cubicBezTo>
                <a:cubicBezTo>
                  <a:pt x="513" y="633"/>
                  <a:pt x="513" y="633"/>
                  <a:pt x="514" y="633"/>
                </a:cubicBezTo>
                <a:cubicBezTo>
                  <a:pt x="514" y="633"/>
                  <a:pt x="514" y="633"/>
                  <a:pt x="514" y="633"/>
                </a:cubicBezTo>
                <a:cubicBezTo>
                  <a:pt x="514" y="632"/>
                  <a:pt x="514" y="632"/>
                  <a:pt x="513" y="631"/>
                </a:cubicBezTo>
                <a:cubicBezTo>
                  <a:pt x="513" y="631"/>
                  <a:pt x="513" y="631"/>
                  <a:pt x="513" y="631"/>
                </a:cubicBezTo>
                <a:cubicBezTo>
                  <a:pt x="513" y="631"/>
                  <a:pt x="513" y="632"/>
                  <a:pt x="513" y="632"/>
                </a:cubicBezTo>
                <a:cubicBezTo>
                  <a:pt x="513" y="632"/>
                  <a:pt x="513" y="632"/>
                  <a:pt x="513" y="632"/>
                </a:cubicBezTo>
                <a:cubicBezTo>
                  <a:pt x="513" y="632"/>
                  <a:pt x="513" y="632"/>
                  <a:pt x="513" y="633"/>
                </a:cubicBezTo>
                <a:cubicBezTo>
                  <a:pt x="513" y="633"/>
                  <a:pt x="513" y="632"/>
                  <a:pt x="512" y="632"/>
                </a:cubicBezTo>
                <a:cubicBezTo>
                  <a:pt x="512" y="632"/>
                  <a:pt x="512" y="632"/>
                  <a:pt x="512" y="632"/>
                </a:cubicBezTo>
                <a:cubicBezTo>
                  <a:pt x="512" y="631"/>
                  <a:pt x="512" y="631"/>
                  <a:pt x="512" y="631"/>
                </a:cubicBezTo>
                <a:cubicBezTo>
                  <a:pt x="511" y="631"/>
                  <a:pt x="510" y="630"/>
                  <a:pt x="510" y="630"/>
                </a:cubicBezTo>
                <a:cubicBezTo>
                  <a:pt x="510" y="630"/>
                  <a:pt x="509" y="631"/>
                  <a:pt x="509" y="632"/>
                </a:cubicBezTo>
                <a:cubicBezTo>
                  <a:pt x="509" y="633"/>
                  <a:pt x="510" y="634"/>
                  <a:pt x="509" y="634"/>
                </a:cubicBezTo>
                <a:cubicBezTo>
                  <a:pt x="509" y="634"/>
                  <a:pt x="509" y="634"/>
                  <a:pt x="508" y="633"/>
                </a:cubicBezTo>
                <a:cubicBezTo>
                  <a:pt x="508" y="634"/>
                  <a:pt x="508" y="634"/>
                  <a:pt x="508" y="634"/>
                </a:cubicBezTo>
                <a:cubicBezTo>
                  <a:pt x="507" y="634"/>
                  <a:pt x="505" y="633"/>
                  <a:pt x="504" y="632"/>
                </a:cubicBezTo>
                <a:cubicBezTo>
                  <a:pt x="504" y="634"/>
                  <a:pt x="503" y="634"/>
                  <a:pt x="500" y="634"/>
                </a:cubicBezTo>
                <a:cubicBezTo>
                  <a:pt x="500" y="634"/>
                  <a:pt x="500" y="634"/>
                  <a:pt x="500" y="634"/>
                </a:cubicBezTo>
                <a:cubicBezTo>
                  <a:pt x="501" y="635"/>
                  <a:pt x="504" y="638"/>
                  <a:pt x="506" y="638"/>
                </a:cubicBezTo>
                <a:cubicBezTo>
                  <a:pt x="506" y="638"/>
                  <a:pt x="511" y="638"/>
                  <a:pt x="508" y="640"/>
                </a:cubicBezTo>
                <a:cubicBezTo>
                  <a:pt x="506" y="640"/>
                  <a:pt x="503" y="636"/>
                  <a:pt x="499" y="635"/>
                </a:cubicBezTo>
                <a:cubicBezTo>
                  <a:pt x="499" y="635"/>
                  <a:pt x="498" y="636"/>
                  <a:pt x="498" y="636"/>
                </a:cubicBezTo>
                <a:cubicBezTo>
                  <a:pt x="497" y="635"/>
                  <a:pt x="497" y="635"/>
                  <a:pt x="497" y="634"/>
                </a:cubicBezTo>
                <a:cubicBezTo>
                  <a:pt x="496" y="634"/>
                  <a:pt x="496" y="634"/>
                  <a:pt x="495" y="633"/>
                </a:cubicBezTo>
                <a:cubicBezTo>
                  <a:pt x="494" y="633"/>
                  <a:pt x="494" y="635"/>
                  <a:pt x="494" y="635"/>
                </a:cubicBezTo>
                <a:cubicBezTo>
                  <a:pt x="494" y="635"/>
                  <a:pt x="491" y="636"/>
                  <a:pt x="491" y="636"/>
                </a:cubicBezTo>
                <a:cubicBezTo>
                  <a:pt x="489" y="635"/>
                  <a:pt x="491" y="632"/>
                  <a:pt x="493" y="632"/>
                </a:cubicBezTo>
                <a:cubicBezTo>
                  <a:pt x="491" y="632"/>
                  <a:pt x="493" y="631"/>
                  <a:pt x="492" y="629"/>
                </a:cubicBezTo>
                <a:cubicBezTo>
                  <a:pt x="492" y="630"/>
                  <a:pt x="487" y="627"/>
                  <a:pt x="488" y="626"/>
                </a:cubicBezTo>
                <a:cubicBezTo>
                  <a:pt x="489" y="625"/>
                  <a:pt x="491" y="627"/>
                  <a:pt x="492" y="628"/>
                </a:cubicBezTo>
                <a:cubicBezTo>
                  <a:pt x="492" y="628"/>
                  <a:pt x="492" y="628"/>
                  <a:pt x="493" y="627"/>
                </a:cubicBezTo>
                <a:cubicBezTo>
                  <a:pt x="492" y="627"/>
                  <a:pt x="492" y="627"/>
                  <a:pt x="492" y="626"/>
                </a:cubicBezTo>
                <a:cubicBezTo>
                  <a:pt x="493" y="626"/>
                  <a:pt x="494" y="626"/>
                  <a:pt x="494" y="626"/>
                </a:cubicBezTo>
                <a:cubicBezTo>
                  <a:pt x="494" y="626"/>
                  <a:pt x="494" y="626"/>
                  <a:pt x="494" y="626"/>
                </a:cubicBezTo>
                <a:cubicBezTo>
                  <a:pt x="495" y="626"/>
                  <a:pt x="495" y="627"/>
                  <a:pt x="495" y="628"/>
                </a:cubicBezTo>
                <a:cubicBezTo>
                  <a:pt x="495" y="630"/>
                  <a:pt x="496" y="629"/>
                  <a:pt x="497" y="628"/>
                </a:cubicBezTo>
                <a:cubicBezTo>
                  <a:pt x="497" y="627"/>
                  <a:pt x="497" y="627"/>
                  <a:pt x="497" y="627"/>
                </a:cubicBezTo>
                <a:cubicBezTo>
                  <a:pt x="498" y="627"/>
                  <a:pt x="498" y="627"/>
                  <a:pt x="498" y="627"/>
                </a:cubicBezTo>
                <a:cubicBezTo>
                  <a:pt x="499" y="627"/>
                  <a:pt x="499" y="627"/>
                  <a:pt x="500" y="627"/>
                </a:cubicBezTo>
                <a:cubicBezTo>
                  <a:pt x="501" y="627"/>
                  <a:pt x="500" y="626"/>
                  <a:pt x="500" y="625"/>
                </a:cubicBezTo>
                <a:cubicBezTo>
                  <a:pt x="501" y="624"/>
                  <a:pt x="502" y="625"/>
                  <a:pt x="503" y="624"/>
                </a:cubicBezTo>
                <a:cubicBezTo>
                  <a:pt x="503" y="624"/>
                  <a:pt x="503" y="624"/>
                  <a:pt x="503" y="624"/>
                </a:cubicBezTo>
                <a:cubicBezTo>
                  <a:pt x="501" y="621"/>
                  <a:pt x="497" y="616"/>
                  <a:pt x="496" y="621"/>
                </a:cubicBezTo>
                <a:cubicBezTo>
                  <a:pt x="496" y="617"/>
                  <a:pt x="492" y="620"/>
                  <a:pt x="491" y="621"/>
                </a:cubicBezTo>
                <a:cubicBezTo>
                  <a:pt x="489" y="621"/>
                  <a:pt x="492" y="620"/>
                  <a:pt x="492" y="620"/>
                </a:cubicBezTo>
                <a:cubicBezTo>
                  <a:pt x="491" y="618"/>
                  <a:pt x="488" y="620"/>
                  <a:pt x="486" y="618"/>
                </a:cubicBezTo>
                <a:cubicBezTo>
                  <a:pt x="486" y="618"/>
                  <a:pt x="485" y="615"/>
                  <a:pt x="485" y="616"/>
                </a:cubicBezTo>
                <a:cubicBezTo>
                  <a:pt x="483" y="615"/>
                  <a:pt x="482" y="617"/>
                  <a:pt x="483" y="615"/>
                </a:cubicBezTo>
                <a:cubicBezTo>
                  <a:pt x="483" y="612"/>
                  <a:pt x="480" y="610"/>
                  <a:pt x="479" y="609"/>
                </a:cubicBezTo>
                <a:cubicBezTo>
                  <a:pt x="479" y="609"/>
                  <a:pt x="480" y="605"/>
                  <a:pt x="478" y="604"/>
                </a:cubicBezTo>
                <a:cubicBezTo>
                  <a:pt x="480" y="609"/>
                  <a:pt x="474" y="610"/>
                  <a:pt x="474" y="608"/>
                </a:cubicBezTo>
                <a:cubicBezTo>
                  <a:pt x="474" y="608"/>
                  <a:pt x="471" y="608"/>
                  <a:pt x="471" y="605"/>
                </a:cubicBezTo>
                <a:cubicBezTo>
                  <a:pt x="472" y="603"/>
                  <a:pt x="472" y="604"/>
                  <a:pt x="471" y="601"/>
                </a:cubicBezTo>
                <a:cubicBezTo>
                  <a:pt x="470" y="599"/>
                  <a:pt x="478" y="604"/>
                  <a:pt x="479" y="603"/>
                </a:cubicBezTo>
                <a:cubicBezTo>
                  <a:pt x="481" y="603"/>
                  <a:pt x="478" y="601"/>
                  <a:pt x="481" y="602"/>
                </a:cubicBezTo>
                <a:cubicBezTo>
                  <a:pt x="487" y="603"/>
                  <a:pt x="499" y="603"/>
                  <a:pt x="499" y="612"/>
                </a:cubicBezTo>
                <a:cubicBezTo>
                  <a:pt x="499" y="614"/>
                  <a:pt x="497" y="615"/>
                  <a:pt x="498" y="617"/>
                </a:cubicBezTo>
                <a:cubicBezTo>
                  <a:pt x="499" y="619"/>
                  <a:pt x="501" y="621"/>
                  <a:pt x="503" y="622"/>
                </a:cubicBezTo>
                <a:cubicBezTo>
                  <a:pt x="503" y="622"/>
                  <a:pt x="503" y="622"/>
                  <a:pt x="503" y="622"/>
                </a:cubicBezTo>
                <a:cubicBezTo>
                  <a:pt x="504" y="622"/>
                  <a:pt x="505" y="623"/>
                  <a:pt x="505" y="622"/>
                </a:cubicBezTo>
                <a:cubicBezTo>
                  <a:pt x="506" y="622"/>
                  <a:pt x="506" y="621"/>
                  <a:pt x="506" y="621"/>
                </a:cubicBezTo>
                <a:cubicBezTo>
                  <a:pt x="506" y="620"/>
                  <a:pt x="505" y="619"/>
                  <a:pt x="506" y="619"/>
                </a:cubicBezTo>
                <a:cubicBezTo>
                  <a:pt x="506" y="619"/>
                  <a:pt x="506" y="619"/>
                  <a:pt x="506" y="619"/>
                </a:cubicBezTo>
                <a:cubicBezTo>
                  <a:pt x="507" y="619"/>
                  <a:pt x="507" y="619"/>
                  <a:pt x="507" y="619"/>
                </a:cubicBezTo>
                <a:cubicBezTo>
                  <a:pt x="508" y="618"/>
                  <a:pt x="510" y="620"/>
                  <a:pt x="510" y="618"/>
                </a:cubicBezTo>
                <a:cubicBezTo>
                  <a:pt x="510" y="619"/>
                  <a:pt x="512" y="620"/>
                  <a:pt x="513" y="620"/>
                </a:cubicBezTo>
                <a:cubicBezTo>
                  <a:pt x="513" y="620"/>
                  <a:pt x="514" y="620"/>
                  <a:pt x="514" y="620"/>
                </a:cubicBezTo>
                <a:cubicBezTo>
                  <a:pt x="514" y="619"/>
                  <a:pt x="513" y="617"/>
                  <a:pt x="513" y="617"/>
                </a:cubicBezTo>
                <a:cubicBezTo>
                  <a:pt x="514" y="616"/>
                  <a:pt x="516" y="618"/>
                  <a:pt x="517" y="620"/>
                </a:cubicBezTo>
                <a:cubicBezTo>
                  <a:pt x="517" y="620"/>
                  <a:pt x="518" y="621"/>
                  <a:pt x="518" y="620"/>
                </a:cubicBezTo>
                <a:cubicBezTo>
                  <a:pt x="518" y="620"/>
                  <a:pt x="514" y="615"/>
                  <a:pt x="517" y="615"/>
                </a:cubicBezTo>
                <a:cubicBezTo>
                  <a:pt x="517" y="615"/>
                  <a:pt x="517" y="615"/>
                  <a:pt x="517" y="614"/>
                </a:cubicBezTo>
                <a:cubicBezTo>
                  <a:pt x="517" y="615"/>
                  <a:pt x="516" y="612"/>
                  <a:pt x="516" y="612"/>
                </a:cubicBezTo>
                <a:cubicBezTo>
                  <a:pt x="518" y="610"/>
                  <a:pt x="520" y="614"/>
                  <a:pt x="522" y="615"/>
                </a:cubicBezTo>
                <a:cubicBezTo>
                  <a:pt x="523" y="614"/>
                  <a:pt x="524" y="613"/>
                  <a:pt x="525" y="614"/>
                </a:cubicBezTo>
                <a:cubicBezTo>
                  <a:pt x="525" y="614"/>
                  <a:pt x="526" y="615"/>
                  <a:pt x="526" y="615"/>
                </a:cubicBezTo>
                <a:cubicBezTo>
                  <a:pt x="526" y="615"/>
                  <a:pt x="526" y="615"/>
                  <a:pt x="527" y="616"/>
                </a:cubicBezTo>
                <a:cubicBezTo>
                  <a:pt x="527" y="616"/>
                  <a:pt x="527" y="617"/>
                  <a:pt x="527" y="618"/>
                </a:cubicBezTo>
                <a:cubicBezTo>
                  <a:pt x="526" y="618"/>
                  <a:pt x="526" y="618"/>
                  <a:pt x="525" y="618"/>
                </a:cubicBezTo>
                <a:cubicBezTo>
                  <a:pt x="525" y="618"/>
                  <a:pt x="525" y="618"/>
                  <a:pt x="525" y="618"/>
                </a:cubicBezTo>
                <a:cubicBezTo>
                  <a:pt x="527" y="619"/>
                  <a:pt x="529" y="619"/>
                  <a:pt x="530" y="621"/>
                </a:cubicBezTo>
                <a:cubicBezTo>
                  <a:pt x="531" y="622"/>
                  <a:pt x="531" y="622"/>
                  <a:pt x="531" y="622"/>
                </a:cubicBezTo>
                <a:cubicBezTo>
                  <a:pt x="532" y="622"/>
                  <a:pt x="532" y="622"/>
                  <a:pt x="532" y="621"/>
                </a:cubicBezTo>
                <a:cubicBezTo>
                  <a:pt x="531" y="620"/>
                  <a:pt x="531" y="619"/>
                  <a:pt x="530" y="617"/>
                </a:cubicBezTo>
                <a:cubicBezTo>
                  <a:pt x="531" y="618"/>
                  <a:pt x="532" y="620"/>
                  <a:pt x="533" y="621"/>
                </a:cubicBezTo>
                <a:cubicBezTo>
                  <a:pt x="533" y="621"/>
                  <a:pt x="533" y="621"/>
                  <a:pt x="533" y="621"/>
                </a:cubicBezTo>
                <a:cubicBezTo>
                  <a:pt x="533" y="621"/>
                  <a:pt x="533" y="620"/>
                  <a:pt x="533" y="620"/>
                </a:cubicBezTo>
                <a:cubicBezTo>
                  <a:pt x="534" y="620"/>
                  <a:pt x="534" y="622"/>
                  <a:pt x="534" y="622"/>
                </a:cubicBezTo>
                <a:cubicBezTo>
                  <a:pt x="535" y="623"/>
                  <a:pt x="536" y="627"/>
                  <a:pt x="537" y="628"/>
                </a:cubicBezTo>
                <a:cubicBezTo>
                  <a:pt x="537" y="628"/>
                  <a:pt x="537" y="627"/>
                  <a:pt x="537" y="627"/>
                </a:cubicBezTo>
                <a:cubicBezTo>
                  <a:pt x="538" y="626"/>
                  <a:pt x="539" y="627"/>
                  <a:pt x="540" y="627"/>
                </a:cubicBezTo>
                <a:cubicBezTo>
                  <a:pt x="540" y="627"/>
                  <a:pt x="540" y="627"/>
                  <a:pt x="541" y="627"/>
                </a:cubicBezTo>
                <a:cubicBezTo>
                  <a:pt x="542" y="628"/>
                  <a:pt x="543" y="630"/>
                  <a:pt x="543" y="631"/>
                </a:cubicBezTo>
                <a:cubicBezTo>
                  <a:pt x="543" y="631"/>
                  <a:pt x="542" y="631"/>
                  <a:pt x="542" y="631"/>
                </a:cubicBezTo>
                <a:cubicBezTo>
                  <a:pt x="542" y="631"/>
                  <a:pt x="542" y="631"/>
                  <a:pt x="542" y="631"/>
                </a:cubicBezTo>
                <a:cubicBezTo>
                  <a:pt x="542" y="631"/>
                  <a:pt x="542" y="632"/>
                  <a:pt x="542" y="632"/>
                </a:cubicBezTo>
                <a:cubicBezTo>
                  <a:pt x="540" y="633"/>
                  <a:pt x="541" y="631"/>
                  <a:pt x="541" y="630"/>
                </a:cubicBezTo>
                <a:cubicBezTo>
                  <a:pt x="541" y="630"/>
                  <a:pt x="540" y="630"/>
                  <a:pt x="540" y="630"/>
                </a:cubicBezTo>
                <a:cubicBezTo>
                  <a:pt x="540" y="631"/>
                  <a:pt x="540" y="631"/>
                  <a:pt x="540" y="632"/>
                </a:cubicBezTo>
                <a:cubicBezTo>
                  <a:pt x="541" y="633"/>
                  <a:pt x="540" y="633"/>
                  <a:pt x="539" y="632"/>
                </a:cubicBezTo>
                <a:cubicBezTo>
                  <a:pt x="538" y="635"/>
                  <a:pt x="537" y="640"/>
                  <a:pt x="537" y="640"/>
                </a:cubicBezTo>
                <a:cubicBezTo>
                  <a:pt x="537" y="641"/>
                  <a:pt x="544" y="646"/>
                  <a:pt x="539" y="644"/>
                </a:cubicBezTo>
                <a:cubicBezTo>
                  <a:pt x="539" y="644"/>
                  <a:pt x="539" y="645"/>
                  <a:pt x="539" y="645"/>
                </a:cubicBezTo>
                <a:cubicBezTo>
                  <a:pt x="539" y="645"/>
                  <a:pt x="539" y="645"/>
                  <a:pt x="539" y="645"/>
                </a:cubicBezTo>
                <a:cubicBezTo>
                  <a:pt x="540" y="645"/>
                  <a:pt x="540" y="646"/>
                  <a:pt x="539" y="646"/>
                </a:cubicBezTo>
                <a:cubicBezTo>
                  <a:pt x="539" y="646"/>
                  <a:pt x="540" y="646"/>
                  <a:pt x="540" y="646"/>
                </a:cubicBezTo>
                <a:cubicBezTo>
                  <a:pt x="540" y="647"/>
                  <a:pt x="539" y="648"/>
                  <a:pt x="538" y="647"/>
                </a:cubicBezTo>
                <a:cubicBezTo>
                  <a:pt x="537" y="648"/>
                  <a:pt x="537" y="648"/>
                  <a:pt x="536" y="649"/>
                </a:cubicBezTo>
                <a:cubicBezTo>
                  <a:pt x="536" y="648"/>
                  <a:pt x="535" y="651"/>
                  <a:pt x="535" y="650"/>
                </a:cubicBezTo>
                <a:cubicBezTo>
                  <a:pt x="534" y="651"/>
                  <a:pt x="532" y="649"/>
                  <a:pt x="532" y="649"/>
                </a:cubicBezTo>
                <a:cubicBezTo>
                  <a:pt x="532" y="648"/>
                  <a:pt x="531" y="648"/>
                  <a:pt x="530" y="648"/>
                </a:cubicBezTo>
                <a:cubicBezTo>
                  <a:pt x="532" y="649"/>
                  <a:pt x="532" y="649"/>
                  <a:pt x="531" y="651"/>
                </a:cubicBezTo>
                <a:cubicBezTo>
                  <a:pt x="531" y="651"/>
                  <a:pt x="531" y="651"/>
                  <a:pt x="530" y="651"/>
                </a:cubicBezTo>
                <a:cubicBezTo>
                  <a:pt x="530" y="653"/>
                  <a:pt x="529" y="653"/>
                  <a:pt x="527" y="652"/>
                </a:cubicBezTo>
                <a:cubicBezTo>
                  <a:pt x="527" y="652"/>
                  <a:pt x="527" y="651"/>
                  <a:pt x="527" y="650"/>
                </a:cubicBezTo>
                <a:cubicBezTo>
                  <a:pt x="527" y="650"/>
                  <a:pt x="525" y="649"/>
                  <a:pt x="525" y="648"/>
                </a:cubicBezTo>
                <a:cubicBezTo>
                  <a:pt x="526" y="648"/>
                  <a:pt x="527" y="647"/>
                  <a:pt x="527" y="647"/>
                </a:cubicBezTo>
                <a:cubicBezTo>
                  <a:pt x="527" y="645"/>
                  <a:pt x="524" y="647"/>
                  <a:pt x="525" y="644"/>
                </a:cubicBezTo>
                <a:cubicBezTo>
                  <a:pt x="524" y="646"/>
                  <a:pt x="521" y="646"/>
                  <a:pt x="520" y="649"/>
                </a:cubicBezTo>
                <a:cubicBezTo>
                  <a:pt x="520" y="649"/>
                  <a:pt x="520" y="654"/>
                  <a:pt x="521" y="655"/>
                </a:cubicBezTo>
                <a:cubicBezTo>
                  <a:pt x="522" y="655"/>
                  <a:pt x="522" y="654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6"/>
                  <a:pt x="521" y="658"/>
                  <a:pt x="522" y="660"/>
                </a:cubicBezTo>
                <a:cubicBezTo>
                  <a:pt x="522" y="659"/>
                  <a:pt x="523" y="661"/>
                  <a:pt x="523" y="661"/>
                </a:cubicBezTo>
                <a:cubicBezTo>
                  <a:pt x="524" y="661"/>
                  <a:pt x="524" y="660"/>
                  <a:pt x="523" y="660"/>
                </a:cubicBezTo>
                <a:cubicBezTo>
                  <a:pt x="523" y="659"/>
                  <a:pt x="522" y="659"/>
                  <a:pt x="522" y="658"/>
                </a:cubicBezTo>
                <a:cubicBezTo>
                  <a:pt x="523" y="658"/>
                  <a:pt x="523" y="658"/>
                  <a:pt x="524" y="659"/>
                </a:cubicBezTo>
                <a:cubicBezTo>
                  <a:pt x="525" y="658"/>
                  <a:pt x="526" y="660"/>
                  <a:pt x="527" y="660"/>
                </a:cubicBezTo>
                <a:cubicBezTo>
                  <a:pt x="529" y="660"/>
                  <a:pt x="528" y="659"/>
                  <a:pt x="530" y="659"/>
                </a:cubicBezTo>
                <a:cubicBezTo>
                  <a:pt x="528" y="661"/>
                  <a:pt x="529" y="660"/>
                  <a:pt x="531" y="661"/>
                </a:cubicBezTo>
                <a:cubicBezTo>
                  <a:pt x="531" y="660"/>
                  <a:pt x="531" y="660"/>
                  <a:pt x="531" y="661"/>
                </a:cubicBezTo>
                <a:cubicBezTo>
                  <a:pt x="531" y="661"/>
                  <a:pt x="532" y="661"/>
                  <a:pt x="532" y="661"/>
                </a:cubicBezTo>
                <a:cubicBezTo>
                  <a:pt x="532" y="661"/>
                  <a:pt x="532" y="661"/>
                  <a:pt x="532" y="661"/>
                </a:cubicBezTo>
                <a:cubicBezTo>
                  <a:pt x="532" y="661"/>
                  <a:pt x="532" y="661"/>
                  <a:pt x="532" y="661"/>
                </a:cubicBezTo>
                <a:cubicBezTo>
                  <a:pt x="534" y="662"/>
                  <a:pt x="535" y="664"/>
                  <a:pt x="536" y="664"/>
                </a:cubicBezTo>
                <a:cubicBezTo>
                  <a:pt x="537" y="664"/>
                  <a:pt x="537" y="664"/>
                  <a:pt x="537" y="664"/>
                </a:cubicBezTo>
                <a:cubicBezTo>
                  <a:pt x="537" y="664"/>
                  <a:pt x="537" y="664"/>
                  <a:pt x="538" y="665"/>
                </a:cubicBezTo>
                <a:cubicBezTo>
                  <a:pt x="538" y="665"/>
                  <a:pt x="538" y="665"/>
                  <a:pt x="539" y="666"/>
                </a:cubicBezTo>
                <a:cubicBezTo>
                  <a:pt x="538" y="665"/>
                  <a:pt x="538" y="663"/>
                  <a:pt x="539" y="662"/>
                </a:cubicBezTo>
                <a:cubicBezTo>
                  <a:pt x="541" y="661"/>
                  <a:pt x="542" y="663"/>
                  <a:pt x="544" y="663"/>
                </a:cubicBezTo>
                <a:cubicBezTo>
                  <a:pt x="544" y="663"/>
                  <a:pt x="545" y="661"/>
                  <a:pt x="546" y="661"/>
                </a:cubicBezTo>
                <a:cubicBezTo>
                  <a:pt x="546" y="660"/>
                  <a:pt x="545" y="658"/>
                  <a:pt x="545" y="656"/>
                </a:cubicBezTo>
                <a:cubicBezTo>
                  <a:pt x="546" y="656"/>
                  <a:pt x="546" y="659"/>
                  <a:pt x="547" y="659"/>
                </a:cubicBezTo>
                <a:cubicBezTo>
                  <a:pt x="547" y="659"/>
                  <a:pt x="547" y="658"/>
                  <a:pt x="547" y="658"/>
                </a:cubicBezTo>
                <a:cubicBezTo>
                  <a:pt x="547" y="658"/>
                  <a:pt x="547" y="658"/>
                  <a:pt x="547" y="658"/>
                </a:cubicBezTo>
                <a:cubicBezTo>
                  <a:pt x="547" y="658"/>
                  <a:pt x="546" y="657"/>
                  <a:pt x="546" y="656"/>
                </a:cubicBezTo>
                <a:cubicBezTo>
                  <a:pt x="547" y="655"/>
                  <a:pt x="548" y="655"/>
                  <a:pt x="548" y="656"/>
                </a:cubicBezTo>
                <a:cubicBezTo>
                  <a:pt x="549" y="655"/>
                  <a:pt x="550" y="655"/>
                  <a:pt x="551" y="656"/>
                </a:cubicBezTo>
                <a:cubicBezTo>
                  <a:pt x="552" y="656"/>
                  <a:pt x="552" y="656"/>
                  <a:pt x="552" y="657"/>
                </a:cubicBezTo>
                <a:cubicBezTo>
                  <a:pt x="552" y="658"/>
                  <a:pt x="552" y="659"/>
                  <a:pt x="552" y="660"/>
                </a:cubicBezTo>
                <a:cubicBezTo>
                  <a:pt x="552" y="660"/>
                  <a:pt x="552" y="661"/>
                  <a:pt x="552" y="661"/>
                </a:cubicBezTo>
                <a:cubicBezTo>
                  <a:pt x="556" y="659"/>
                  <a:pt x="556" y="659"/>
                  <a:pt x="556" y="659"/>
                </a:cubicBezTo>
                <a:cubicBezTo>
                  <a:pt x="556" y="659"/>
                  <a:pt x="556" y="659"/>
                  <a:pt x="557" y="659"/>
                </a:cubicBezTo>
                <a:cubicBezTo>
                  <a:pt x="559" y="657"/>
                  <a:pt x="559" y="657"/>
                  <a:pt x="559" y="657"/>
                </a:cubicBezTo>
                <a:cubicBezTo>
                  <a:pt x="559" y="657"/>
                  <a:pt x="559" y="656"/>
                  <a:pt x="558" y="656"/>
                </a:cubicBezTo>
                <a:cubicBezTo>
                  <a:pt x="558" y="656"/>
                  <a:pt x="557" y="656"/>
                  <a:pt x="556" y="655"/>
                </a:cubicBezTo>
                <a:cubicBezTo>
                  <a:pt x="556" y="655"/>
                  <a:pt x="556" y="655"/>
                  <a:pt x="555" y="656"/>
                </a:cubicBezTo>
                <a:cubicBezTo>
                  <a:pt x="556" y="656"/>
                  <a:pt x="556" y="655"/>
                  <a:pt x="556" y="655"/>
                </a:cubicBezTo>
                <a:cubicBezTo>
                  <a:pt x="556" y="655"/>
                  <a:pt x="555" y="655"/>
                  <a:pt x="555" y="654"/>
                </a:cubicBezTo>
                <a:cubicBezTo>
                  <a:pt x="555" y="654"/>
                  <a:pt x="557" y="653"/>
                  <a:pt x="557" y="653"/>
                </a:cubicBezTo>
                <a:cubicBezTo>
                  <a:pt x="557" y="652"/>
                  <a:pt x="556" y="651"/>
                  <a:pt x="556" y="650"/>
                </a:cubicBezTo>
                <a:cubicBezTo>
                  <a:pt x="555" y="651"/>
                  <a:pt x="554" y="652"/>
                  <a:pt x="553" y="652"/>
                </a:cubicBezTo>
                <a:cubicBezTo>
                  <a:pt x="553" y="652"/>
                  <a:pt x="553" y="653"/>
                  <a:pt x="553" y="653"/>
                </a:cubicBezTo>
                <a:cubicBezTo>
                  <a:pt x="552" y="653"/>
                  <a:pt x="552" y="652"/>
                  <a:pt x="552" y="652"/>
                </a:cubicBezTo>
                <a:cubicBezTo>
                  <a:pt x="552" y="652"/>
                  <a:pt x="551" y="652"/>
                  <a:pt x="551" y="652"/>
                </a:cubicBezTo>
                <a:cubicBezTo>
                  <a:pt x="551" y="652"/>
                  <a:pt x="551" y="652"/>
                  <a:pt x="551" y="652"/>
                </a:cubicBezTo>
                <a:cubicBezTo>
                  <a:pt x="551" y="653"/>
                  <a:pt x="550" y="653"/>
                  <a:pt x="550" y="653"/>
                </a:cubicBezTo>
                <a:cubicBezTo>
                  <a:pt x="550" y="653"/>
                  <a:pt x="550" y="652"/>
                  <a:pt x="550" y="652"/>
                </a:cubicBezTo>
                <a:cubicBezTo>
                  <a:pt x="548" y="652"/>
                  <a:pt x="546" y="651"/>
                  <a:pt x="545" y="649"/>
                </a:cubicBezTo>
                <a:cubicBezTo>
                  <a:pt x="544" y="648"/>
                  <a:pt x="544" y="647"/>
                  <a:pt x="544" y="646"/>
                </a:cubicBezTo>
                <a:cubicBezTo>
                  <a:pt x="543" y="646"/>
                  <a:pt x="541" y="644"/>
                  <a:pt x="542" y="643"/>
                </a:cubicBezTo>
                <a:cubicBezTo>
                  <a:pt x="543" y="643"/>
                  <a:pt x="544" y="643"/>
                  <a:pt x="544" y="644"/>
                </a:cubicBezTo>
                <a:cubicBezTo>
                  <a:pt x="544" y="644"/>
                  <a:pt x="544" y="644"/>
                  <a:pt x="544" y="643"/>
                </a:cubicBezTo>
                <a:cubicBezTo>
                  <a:pt x="544" y="643"/>
                  <a:pt x="544" y="643"/>
                  <a:pt x="544" y="643"/>
                </a:cubicBezTo>
                <a:cubicBezTo>
                  <a:pt x="545" y="641"/>
                  <a:pt x="546" y="640"/>
                  <a:pt x="548" y="638"/>
                </a:cubicBezTo>
                <a:cubicBezTo>
                  <a:pt x="548" y="638"/>
                  <a:pt x="548" y="638"/>
                  <a:pt x="548" y="638"/>
                </a:cubicBezTo>
                <a:cubicBezTo>
                  <a:pt x="548" y="638"/>
                  <a:pt x="548" y="638"/>
                  <a:pt x="548" y="638"/>
                </a:cubicBezTo>
                <a:cubicBezTo>
                  <a:pt x="549" y="637"/>
                  <a:pt x="549" y="637"/>
                  <a:pt x="549" y="638"/>
                </a:cubicBezTo>
                <a:cubicBezTo>
                  <a:pt x="551" y="637"/>
                  <a:pt x="554" y="636"/>
                  <a:pt x="556" y="638"/>
                </a:cubicBezTo>
                <a:cubicBezTo>
                  <a:pt x="556" y="638"/>
                  <a:pt x="558" y="640"/>
                  <a:pt x="558" y="640"/>
                </a:cubicBezTo>
                <a:cubicBezTo>
                  <a:pt x="558" y="640"/>
                  <a:pt x="557" y="642"/>
                  <a:pt x="557" y="642"/>
                </a:cubicBezTo>
                <a:cubicBezTo>
                  <a:pt x="557" y="642"/>
                  <a:pt x="557" y="642"/>
                  <a:pt x="557" y="642"/>
                </a:cubicBezTo>
                <a:cubicBezTo>
                  <a:pt x="558" y="642"/>
                  <a:pt x="558" y="643"/>
                  <a:pt x="559" y="644"/>
                </a:cubicBezTo>
                <a:cubicBezTo>
                  <a:pt x="559" y="643"/>
                  <a:pt x="559" y="643"/>
                  <a:pt x="559" y="643"/>
                </a:cubicBezTo>
                <a:cubicBezTo>
                  <a:pt x="560" y="642"/>
                  <a:pt x="561" y="644"/>
                  <a:pt x="560" y="644"/>
                </a:cubicBezTo>
                <a:cubicBezTo>
                  <a:pt x="559" y="644"/>
                  <a:pt x="559" y="644"/>
                  <a:pt x="559" y="644"/>
                </a:cubicBezTo>
                <a:cubicBezTo>
                  <a:pt x="560" y="645"/>
                  <a:pt x="561" y="646"/>
                  <a:pt x="562" y="645"/>
                </a:cubicBezTo>
                <a:cubicBezTo>
                  <a:pt x="563" y="645"/>
                  <a:pt x="561" y="642"/>
                  <a:pt x="564" y="642"/>
                </a:cubicBezTo>
                <a:cubicBezTo>
                  <a:pt x="562" y="645"/>
                  <a:pt x="564" y="643"/>
                  <a:pt x="567" y="645"/>
                </a:cubicBezTo>
                <a:cubicBezTo>
                  <a:pt x="570" y="646"/>
                  <a:pt x="569" y="646"/>
                  <a:pt x="567" y="643"/>
                </a:cubicBezTo>
                <a:cubicBezTo>
                  <a:pt x="566" y="641"/>
                  <a:pt x="568" y="642"/>
                  <a:pt x="566" y="640"/>
                </a:cubicBezTo>
                <a:cubicBezTo>
                  <a:pt x="566" y="639"/>
                  <a:pt x="564" y="638"/>
                  <a:pt x="562" y="638"/>
                </a:cubicBezTo>
                <a:cubicBezTo>
                  <a:pt x="562" y="638"/>
                  <a:pt x="562" y="638"/>
                  <a:pt x="562" y="638"/>
                </a:cubicBezTo>
                <a:cubicBezTo>
                  <a:pt x="561" y="638"/>
                  <a:pt x="560" y="638"/>
                  <a:pt x="560" y="638"/>
                </a:cubicBezTo>
                <a:cubicBezTo>
                  <a:pt x="562" y="637"/>
                  <a:pt x="558" y="640"/>
                  <a:pt x="558" y="639"/>
                </a:cubicBezTo>
                <a:cubicBezTo>
                  <a:pt x="558" y="638"/>
                  <a:pt x="558" y="638"/>
                  <a:pt x="558" y="637"/>
                </a:cubicBezTo>
                <a:cubicBezTo>
                  <a:pt x="557" y="637"/>
                  <a:pt x="554" y="634"/>
                  <a:pt x="554" y="634"/>
                </a:cubicBezTo>
                <a:cubicBezTo>
                  <a:pt x="551" y="632"/>
                  <a:pt x="551" y="631"/>
                  <a:pt x="554" y="633"/>
                </a:cubicBezTo>
                <a:cubicBezTo>
                  <a:pt x="555" y="634"/>
                  <a:pt x="557" y="635"/>
                  <a:pt x="558" y="636"/>
                </a:cubicBezTo>
                <a:cubicBezTo>
                  <a:pt x="558" y="634"/>
                  <a:pt x="556" y="635"/>
                  <a:pt x="555" y="634"/>
                </a:cubicBezTo>
                <a:cubicBezTo>
                  <a:pt x="555" y="633"/>
                  <a:pt x="554" y="632"/>
                  <a:pt x="554" y="630"/>
                </a:cubicBezTo>
                <a:cubicBezTo>
                  <a:pt x="554" y="630"/>
                  <a:pt x="553" y="629"/>
                  <a:pt x="553" y="629"/>
                </a:cubicBezTo>
                <a:cubicBezTo>
                  <a:pt x="553" y="629"/>
                  <a:pt x="553" y="629"/>
                  <a:pt x="553" y="628"/>
                </a:cubicBezTo>
                <a:cubicBezTo>
                  <a:pt x="553" y="628"/>
                  <a:pt x="553" y="628"/>
                  <a:pt x="553" y="628"/>
                </a:cubicBezTo>
                <a:cubicBezTo>
                  <a:pt x="551" y="629"/>
                  <a:pt x="552" y="625"/>
                  <a:pt x="553" y="626"/>
                </a:cubicBezTo>
                <a:cubicBezTo>
                  <a:pt x="553" y="626"/>
                  <a:pt x="553" y="625"/>
                  <a:pt x="553" y="625"/>
                </a:cubicBezTo>
                <a:cubicBezTo>
                  <a:pt x="554" y="625"/>
                  <a:pt x="554" y="625"/>
                  <a:pt x="554" y="625"/>
                </a:cubicBezTo>
                <a:cubicBezTo>
                  <a:pt x="554" y="625"/>
                  <a:pt x="554" y="625"/>
                  <a:pt x="554" y="625"/>
                </a:cubicBezTo>
                <a:cubicBezTo>
                  <a:pt x="554" y="625"/>
                  <a:pt x="557" y="625"/>
                  <a:pt x="559" y="624"/>
                </a:cubicBezTo>
                <a:cubicBezTo>
                  <a:pt x="558" y="624"/>
                  <a:pt x="559" y="623"/>
                  <a:pt x="559" y="623"/>
                </a:cubicBezTo>
                <a:cubicBezTo>
                  <a:pt x="559" y="623"/>
                  <a:pt x="560" y="623"/>
                  <a:pt x="560" y="623"/>
                </a:cubicBezTo>
                <a:cubicBezTo>
                  <a:pt x="560" y="623"/>
                  <a:pt x="560" y="622"/>
                  <a:pt x="559" y="621"/>
                </a:cubicBezTo>
                <a:cubicBezTo>
                  <a:pt x="559" y="621"/>
                  <a:pt x="559" y="621"/>
                  <a:pt x="558" y="621"/>
                </a:cubicBezTo>
                <a:cubicBezTo>
                  <a:pt x="559" y="620"/>
                  <a:pt x="561" y="613"/>
                  <a:pt x="557" y="616"/>
                </a:cubicBezTo>
                <a:cubicBezTo>
                  <a:pt x="557" y="616"/>
                  <a:pt x="558" y="617"/>
                  <a:pt x="558" y="617"/>
                </a:cubicBezTo>
                <a:cubicBezTo>
                  <a:pt x="558" y="617"/>
                  <a:pt x="557" y="617"/>
                  <a:pt x="557" y="617"/>
                </a:cubicBezTo>
                <a:cubicBezTo>
                  <a:pt x="556" y="618"/>
                  <a:pt x="558" y="620"/>
                  <a:pt x="557" y="621"/>
                </a:cubicBezTo>
                <a:cubicBezTo>
                  <a:pt x="557" y="619"/>
                  <a:pt x="553" y="620"/>
                  <a:pt x="553" y="618"/>
                </a:cubicBezTo>
                <a:cubicBezTo>
                  <a:pt x="553" y="616"/>
                  <a:pt x="557" y="615"/>
                  <a:pt x="558" y="613"/>
                </a:cubicBezTo>
                <a:cubicBezTo>
                  <a:pt x="559" y="611"/>
                  <a:pt x="557" y="609"/>
                  <a:pt x="555" y="607"/>
                </a:cubicBezTo>
                <a:cubicBezTo>
                  <a:pt x="555" y="608"/>
                  <a:pt x="555" y="610"/>
                  <a:pt x="554" y="611"/>
                </a:cubicBezTo>
                <a:cubicBezTo>
                  <a:pt x="554" y="612"/>
                  <a:pt x="555" y="613"/>
                  <a:pt x="552" y="614"/>
                </a:cubicBezTo>
                <a:cubicBezTo>
                  <a:pt x="550" y="614"/>
                  <a:pt x="546" y="617"/>
                  <a:pt x="545" y="614"/>
                </a:cubicBezTo>
                <a:cubicBezTo>
                  <a:pt x="543" y="610"/>
                  <a:pt x="541" y="602"/>
                  <a:pt x="536" y="600"/>
                </a:cubicBezTo>
                <a:cubicBezTo>
                  <a:pt x="539" y="606"/>
                  <a:pt x="533" y="604"/>
                  <a:pt x="534" y="599"/>
                </a:cubicBezTo>
                <a:cubicBezTo>
                  <a:pt x="535" y="601"/>
                  <a:pt x="535" y="598"/>
                  <a:pt x="536" y="597"/>
                </a:cubicBezTo>
                <a:cubicBezTo>
                  <a:pt x="537" y="597"/>
                  <a:pt x="537" y="598"/>
                  <a:pt x="537" y="598"/>
                </a:cubicBezTo>
                <a:cubicBezTo>
                  <a:pt x="537" y="598"/>
                  <a:pt x="537" y="598"/>
                  <a:pt x="537" y="598"/>
                </a:cubicBezTo>
                <a:cubicBezTo>
                  <a:pt x="539" y="596"/>
                  <a:pt x="541" y="601"/>
                  <a:pt x="538" y="599"/>
                </a:cubicBezTo>
                <a:cubicBezTo>
                  <a:pt x="538" y="599"/>
                  <a:pt x="538" y="599"/>
                  <a:pt x="538" y="599"/>
                </a:cubicBezTo>
                <a:cubicBezTo>
                  <a:pt x="539" y="600"/>
                  <a:pt x="539" y="600"/>
                  <a:pt x="540" y="601"/>
                </a:cubicBezTo>
                <a:cubicBezTo>
                  <a:pt x="542" y="603"/>
                  <a:pt x="546" y="604"/>
                  <a:pt x="549" y="604"/>
                </a:cubicBezTo>
                <a:cubicBezTo>
                  <a:pt x="550" y="603"/>
                  <a:pt x="550" y="603"/>
                  <a:pt x="551" y="603"/>
                </a:cubicBezTo>
                <a:cubicBezTo>
                  <a:pt x="551" y="603"/>
                  <a:pt x="552" y="603"/>
                  <a:pt x="552" y="603"/>
                </a:cubicBezTo>
                <a:cubicBezTo>
                  <a:pt x="553" y="602"/>
                  <a:pt x="553" y="601"/>
                  <a:pt x="550" y="598"/>
                </a:cubicBezTo>
                <a:cubicBezTo>
                  <a:pt x="557" y="600"/>
                  <a:pt x="550" y="591"/>
                  <a:pt x="548" y="592"/>
                </a:cubicBezTo>
                <a:cubicBezTo>
                  <a:pt x="548" y="592"/>
                  <a:pt x="547" y="594"/>
                  <a:pt x="546" y="594"/>
                </a:cubicBezTo>
                <a:cubicBezTo>
                  <a:pt x="545" y="594"/>
                  <a:pt x="543" y="592"/>
                  <a:pt x="542" y="591"/>
                </a:cubicBezTo>
                <a:cubicBezTo>
                  <a:pt x="541" y="590"/>
                  <a:pt x="536" y="584"/>
                  <a:pt x="540" y="587"/>
                </a:cubicBezTo>
                <a:cubicBezTo>
                  <a:pt x="542" y="588"/>
                  <a:pt x="543" y="589"/>
                  <a:pt x="545" y="589"/>
                </a:cubicBezTo>
                <a:cubicBezTo>
                  <a:pt x="545" y="589"/>
                  <a:pt x="544" y="588"/>
                  <a:pt x="545" y="589"/>
                </a:cubicBezTo>
                <a:cubicBezTo>
                  <a:pt x="545" y="589"/>
                  <a:pt x="545" y="589"/>
                  <a:pt x="545" y="589"/>
                </a:cubicBezTo>
                <a:cubicBezTo>
                  <a:pt x="546" y="590"/>
                  <a:pt x="547" y="590"/>
                  <a:pt x="549" y="591"/>
                </a:cubicBezTo>
                <a:cubicBezTo>
                  <a:pt x="551" y="592"/>
                  <a:pt x="552" y="594"/>
                  <a:pt x="553" y="594"/>
                </a:cubicBezTo>
                <a:cubicBezTo>
                  <a:pt x="553" y="594"/>
                  <a:pt x="553" y="594"/>
                  <a:pt x="554" y="593"/>
                </a:cubicBezTo>
                <a:cubicBezTo>
                  <a:pt x="554" y="593"/>
                  <a:pt x="555" y="593"/>
                  <a:pt x="555" y="593"/>
                </a:cubicBezTo>
                <a:cubicBezTo>
                  <a:pt x="555" y="594"/>
                  <a:pt x="555" y="594"/>
                  <a:pt x="556" y="594"/>
                </a:cubicBezTo>
                <a:cubicBezTo>
                  <a:pt x="556" y="594"/>
                  <a:pt x="556" y="594"/>
                  <a:pt x="556" y="594"/>
                </a:cubicBezTo>
                <a:cubicBezTo>
                  <a:pt x="557" y="591"/>
                  <a:pt x="549" y="589"/>
                  <a:pt x="546" y="588"/>
                </a:cubicBezTo>
                <a:cubicBezTo>
                  <a:pt x="547" y="588"/>
                  <a:pt x="547" y="588"/>
                  <a:pt x="546" y="588"/>
                </a:cubicBezTo>
                <a:cubicBezTo>
                  <a:pt x="546" y="589"/>
                  <a:pt x="545" y="588"/>
                  <a:pt x="546" y="587"/>
                </a:cubicBezTo>
                <a:cubicBezTo>
                  <a:pt x="546" y="587"/>
                  <a:pt x="546" y="587"/>
                  <a:pt x="545" y="587"/>
                </a:cubicBezTo>
                <a:cubicBezTo>
                  <a:pt x="545" y="587"/>
                  <a:pt x="545" y="587"/>
                  <a:pt x="544" y="586"/>
                </a:cubicBezTo>
                <a:cubicBezTo>
                  <a:pt x="544" y="586"/>
                  <a:pt x="544" y="586"/>
                  <a:pt x="544" y="586"/>
                </a:cubicBezTo>
                <a:cubicBezTo>
                  <a:pt x="543" y="586"/>
                  <a:pt x="543" y="586"/>
                  <a:pt x="543" y="586"/>
                </a:cubicBezTo>
                <a:cubicBezTo>
                  <a:pt x="541" y="585"/>
                  <a:pt x="539" y="583"/>
                  <a:pt x="539" y="583"/>
                </a:cubicBezTo>
                <a:cubicBezTo>
                  <a:pt x="538" y="579"/>
                  <a:pt x="551" y="590"/>
                  <a:pt x="548" y="583"/>
                </a:cubicBezTo>
                <a:cubicBezTo>
                  <a:pt x="548" y="582"/>
                  <a:pt x="546" y="576"/>
                  <a:pt x="545" y="576"/>
                </a:cubicBezTo>
                <a:cubicBezTo>
                  <a:pt x="544" y="576"/>
                  <a:pt x="545" y="579"/>
                  <a:pt x="544" y="579"/>
                </a:cubicBezTo>
                <a:cubicBezTo>
                  <a:pt x="543" y="580"/>
                  <a:pt x="540" y="578"/>
                  <a:pt x="540" y="577"/>
                </a:cubicBezTo>
                <a:cubicBezTo>
                  <a:pt x="540" y="575"/>
                  <a:pt x="542" y="576"/>
                  <a:pt x="542" y="575"/>
                </a:cubicBezTo>
                <a:cubicBezTo>
                  <a:pt x="542" y="573"/>
                  <a:pt x="541" y="572"/>
                  <a:pt x="539" y="570"/>
                </a:cubicBezTo>
                <a:cubicBezTo>
                  <a:pt x="539" y="571"/>
                  <a:pt x="539" y="571"/>
                  <a:pt x="539" y="571"/>
                </a:cubicBezTo>
                <a:cubicBezTo>
                  <a:pt x="539" y="571"/>
                  <a:pt x="539" y="570"/>
                  <a:pt x="539" y="570"/>
                </a:cubicBezTo>
                <a:cubicBezTo>
                  <a:pt x="537" y="569"/>
                  <a:pt x="536" y="568"/>
                  <a:pt x="535" y="566"/>
                </a:cubicBezTo>
                <a:cubicBezTo>
                  <a:pt x="533" y="563"/>
                  <a:pt x="530" y="561"/>
                  <a:pt x="530" y="561"/>
                </a:cubicBezTo>
                <a:cubicBezTo>
                  <a:pt x="530" y="560"/>
                  <a:pt x="533" y="559"/>
                  <a:pt x="534" y="558"/>
                </a:cubicBezTo>
                <a:cubicBezTo>
                  <a:pt x="534" y="556"/>
                  <a:pt x="532" y="555"/>
                  <a:pt x="535" y="556"/>
                </a:cubicBezTo>
                <a:cubicBezTo>
                  <a:pt x="537" y="556"/>
                  <a:pt x="535" y="554"/>
                  <a:pt x="537" y="556"/>
                </a:cubicBezTo>
                <a:cubicBezTo>
                  <a:pt x="539" y="556"/>
                  <a:pt x="543" y="561"/>
                  <a:pt x="540" y="563"/>
                </a:cubicBezTo>
                <a:cubicBezTo>
                  <a:pt x="539" y="564"/>
                  <a:pt x="536" y="564"/>
                  <a:pt x="538" y="566"/>
                </a:cubicBezTo>
                <a:cubicBezTo>
                  <a:pt x="539" y="567"/>
                  <a:pt x="541" y="567"/>
                  <a:pt x="542" y="568"/>
                </a:cubicBezTo>
                <a:cubicBezTo>
                  <a:pt x="544" y="570"/>
                  <a:pt x="546" y="575"/>
                  <a:pt x="548" y="577"/>
                </a:cubicBezTo>
                <a:cubicBezTo>
                  <a:pt x="550" y="579"/>
                  <a:pt x="553" y="580"/>
                  <a:pt x="555" y="582"/>
                </a:cubicBezTo>
                <a:cubicBezTo>
                  <a:pt x="556" y="584"/>
                  <a:pt x="557" y="590"/>
                  <a:pt x="559" y="591"/>
                </a:cubicBezTo>
                <a:cubicBezTo>
                  <a:pt x="560" y="591"/>
                  <a:pt x="561" y="591"/>
                  <a:pt x="561" y="590"/>
                </a:cubicBezTo>
                <a:cubicBezTo>
                  <a:pt x="562" y="590"/>
                  <a:pt x="562" y="590"/>
                  <a:pt x="562" y="590"/>
                </a:cubicBezTo>
                <a:cubicBezTo>
                  <a:pt x="562" y="590"/>
                  <a:pt x="562" y="590"/>
                  <a:pt x="562" y="590"/>
                </a:cubicBezTo>
                <a:cubicBezTo>
                  <a:pt x="565" y="589"/>
                  <a:pt x="567" y="585"/>
                  <a:pt x="567" y="582"/>
                </a:cubicBezTo>
                <a:cubicBezTo>
                  <a:pt x="567" y="582"/>
                  <a:pt x="567" y="582"/>
                  <a:pt x="567" y="582"/>
                </a:cubicBezTo>
                <a:cubicBezTo>
                  <a:pt x="566" y="582"/>
                  <a:pt x="565" y="581"/>
                  <a:pt x="565" y="581"/>
                </a:cubicBezTo>
                <a:cubicBezTo>
                  <a:pt x="561" y="578"/>
                  <a:pt x="560" y="569"/>
                  <a:pt x="565" y="567"/>
                </a:cubicBezTo>
                <a:cubicBezTo>
                  <a:pt x="565" y="567"/>
                  <a:pt x="565" y="567"/>
                  <a:pt x="565" y="567"/>
                </a:cubicBezTo>
                <a:cubicBezTo>
                  <a:pt x="565" y="566"/>
                  <a:pt x="565" y="566"/>
                  <a:pt x="565" y="566"/>
                </a:cubicBezTo>
                <a:cubicBezTo>
                  <a:pt x="564" y="565"/>
                  <a:pt x="565" y="566"/>
                  <a:pt x="565" y="567"/>
                </a:cubicBezTo>
                <a:cubicBezTo>
                  <a:pt x="566" y="566"/>
                  <a:pt x="566" y="566"/>
                  <a:pt x="566" y="566"/>
                </a:cubicBezTo>
                <a:cubicBezTo>
                  <a:pt x="566" y="565"/>
                  <a:pt x="566" y="564"/>
                  <a:pt x="565" y="564"/>
                </a:cubicBezTo>
                <a:cubicBezTo>
                  <a:pt x="567" y="563"/>
                  <a:pt x="565" y="561"/>
                  <a:pt x="565" y="559"/>
                </a:cubicBezTo>
                <a:cubicBezTo>
                  <a:pt x="565" y="558"/>
                  <a:pt x="568" y="557"/>
                  <a:pt x="566" y="556"/>
                </a:cubicBezTo>
                <a:cubicBezTo>
                  <a:pt x="570" y="558"/>
                  <a:pt x="566" y="547"/>
                  <a:pt x="564" y="546"/>
                </a:cubicBezTo>
                <a:cubicBezTo>
                  <a:pt x="565" y="547"/>
                  <a:pt x="561" y="552"/>
                  <a:pt x="562" y="552"/>
                </a:cubicBezTo>
                <a:cubicBezTo>
                  <a:pt x="562" y="552"/>
                  <a:pt x="562" y="552"/>
                  <a:pt x="562" y="552"/>
                </a:cubicBezTo>
                <a:cubicBezTo>
                  <a:pt x="562" y="552"/>
                  <a:pt x="562" y="552"/>
                  <a:pt x="562" y="553"/>
                </a:cubicBezTo>
                <a:cubicBezTo>
                  <a:pt x="562" y="553"/>
                  <a:pt x="563" y="554"/>
                  <a:pt x="562" y="554"/>
                </a:cubicBezTo>
                <a:cubicBezTo>
                  <a:pt x="560" y="555"/>
                  <a:pt x="561" y="553"/>
                  <a:pt x="560" y="552"/>
                </a:cubicBezTo>
                <a:cubicBezTo>
                  <a:pt x="560" y="552"/>
                  <a:pt x="560" y="552"/>
                  <a:pt x="559" y="552"/>
                </a:cubicBezTo>
                <a:cubicBezTo>
                  <a:pt x="559" y="553"/>
                  <a:pt x="558" y="553"/>
                  <a:pt x="557" y="552"/>
                </a:cubicBezTo>
                <a:cubicBezTo>
                  <a:pt x="557" y="552"/>
                  <a:pt x="557" y="552"/>
                  <a:pt x="557" y="552"/>
                </a:cubicBezTo>
                <a:cubicBezTo>
                  <a:pt x="556" y="552"/>
                  <a:pt x="555" y="552"/>
                  <a:pt x="555" y="552"/>
                </a:cubicBezTo>
                <a:cubicBezTo>
                  <a:pt x="555" y="552"/>
                  <a:pt x="553" y="548"/>
                  <a:pt x="553" y="547"/>
                </a:cubicBezTo>
                <a:cubicBezTo>
                  <a:pt x="552" y="547"/>
                  <a:pt x="548" y="543"/>
                  <a:pt x="549" y="542"/>
                </a:cubicBezTo>
                <a:cubicBezTo>
                  <a:pt x="551" y="540"/>
                  <a:pt x="551" y="543"/>
                  <a:pt x="552" y="543"/>
                </a:cubicBezTo>
                <a:cubicBezTo>
                  <a:pt x="553" y="543"/>
                  <a:pt x="553" y="540"/>
                  <a:pt x="554" y="540"/>
                </a:cubicBezTo>
                <a:cubicBezTo>
                  <a:pt x="554" y="539"/>
                  <a:pt x="556" y="541"/>
                  <a:pt x="557" y="540"/>
                </a:cubicBezTo>
                <a:cubicBezTo>
                  <a:pt x="556" y="540"/>
                  <a:pt x="556" y="537"/>
                  <a:pt x="558" y="537"/>
                </a:cubicBezTo>
                <a:cubicBezTo>
                  <a:pt x="560" y="537"/>
                  <a:pt x="558" y="539"/>
                  <a:pt x="559" y="540"/>
                </a:cubicBezTo>
                <a:cubicBezTo>
                  <a:pt x="559" y="541"/>
                  <a:pt x="561" y="540"/>
                  <a:pt x="561" y="540"/>
                </a:cubicBezTo>
                <a:cubicBezTo>
                  <a:pt x="562" y="540"/>
                  <a:pt x="561" y="542"/>
                  <a:pt x="563" y="543"/>
                </a:cubicBezTo>
                <a:cubicBezTo>
                  <a:pt x="563" y="543"/>
                  <a:pt x="565" y="543"/>
                  <a:pt x="565" y="543"/>
                </a:cubicBezTo>
                <a:cubicBezTo>
                  <a:pt x="567" y="546"/>
                  <a:pt x="567" y="553"/>
                  <a:pt x="572" y="553"/>
                </a:cubicBezTo>
                <a:cubicBezTo>
                  <a:pt x="573" y="554"/>
                  <a:pt x="573" y="552"/>
                  <a:pt x="573" y="551"/>
                </a:cubicBezTo>
                <a:cubicBezTo>
                  <a:pt x="575" y="553"/>
                  <a:pt x="582" y="559"/>
                  <a:pt x="581" y="564"/>
                </a:cubicBezTo>
                <a:cubicBezTo>
                  <a:pt x="581" y="564"/>
                  <a:pt x="579" y="567"/>
                  <a:pt x="579" y="567"/>
                </a:cubicBezTo>
                <a:cubicBezTo>
                  <a:pt x="578" y="568"/>
                  <a:pt x="577" y="568"/>
                  <a:pt x="576" y="568"/>
                </a:cubicBezTo>
                <a:cubicBezTo>
                  <a:pt x="576" y="569"/>
                  <a:pt x="575" y="569"/>
                  <a:pt x="575" y="569"/>
                </a:cubicBezTo>
                <a:cubicBezTo>
                  <a:pt x="575" y="569"/>
                  <a:pt x="575" y="569"/>
                  <a:pt x="575" y="569"/>
                </a:cubicBezTo>
                <a:cubicBezTo>
                  <a:pt x="574" y="569"/>
                  <a:pt x="574" y="569"/>
                  <a:pt x="573" y="569"/>
                </a:cubicBezTo>
                <a:cubicBezTo>
                  <a:pt x="574" y="571"/>
                  <a:pt x="575" y="573"/>
                  <a:pt x="575" y="574"/>
                </a:cubicBezTo>
                <a:cubicBezTo>
                  <a:pt x="577" y="574"/>
                  <a:pt x="576" y="572"/>
                  <a:pt x="576" y="571"/>
                </a:cubicBezTo>
                <a:cubicBezTo>
                  <a:pt x="577" y="572"/>
                  <a:pt x="577" y="572"/>
                  <a:pt x="577" y="572"/>
                </a:cubicBezTo>
                <a:cubicBezTo>
                  <a:pt x="578" y="571"/>
                  <a:pt x="578" y="570"/>
                  <a:pt x="579" y="570"/>
                </a:cubicBezTo>
                <a:cubicBezTo>
                  <a:pt x="580" y="570"/>
                  <a:pt x="579" y="572"/>
                  <a:pt x="580" y="572"/>
                </a:cubicBezTo>
                <a:cubicBezTo>
                  <a:pt x="581" y="573"/>
                  <a:pt x="580" y="571"/>
                  <a:pt x="582" y="573"/>
                </a:cubicBezTo>
                <a:cubicBezTo>
                  <a:pt x="583" y="575"/>
                  <a:pt x="581" y="577"/>
                  <a:pt x="582" y="579"/>
                </a:cubicBezTo>
                <a:cubicBezTo>
                  <a:pt x="582" y="579"/>
                  <a:pt x="582" y="579"/>
                  <a:pt x="582" y="579"/>
                </a:cubicBezTo>
                <a:cubicBezTo>
                  <a:pt x="583" y="579"/>
                  <a:pt x="584" y="578"/>
                  <a:pt x="584" y="578"/>
                </a:cubicBezTo>
                <a:cubicBezTo>
                  <a:pt x="584" y="578"/>
                  <a:pt x="585" y="580"/>
                  <a:pt x="587" y="580"/>
                </a:cubicBezTo>
                <a:cubicBezTo>
                  <a:pt x="588" y="580"/>
                  <a:pt x="587" y="579"/>
                  <a:pt x="587" y="579"/>
                </a:cubicBezTo>
                <a:cubicBezTo>
                  <a:pt x="588" y="579"/>
                  <a:pt x="592" y="580"/>
                  <a:pt x="592" y="579"/>
                </a:cubicBezTo>
                <a:cubicBezTo>
                  <a:pt x="593" y="581"/>
                  <a:pt x="591" y="582"/>
                  <a:pt x="591" y="584"/>
                </a:cubicBezTo>
                <a:cubicBezTo>
                  <a:pt x="591" y="584"/>
                  <a:pt x="592" y="588"/>
                  <a:pt x="592" y="588"/>
                </a:cubicBezTo>
                <a:cubicBezTo>
                  <a:pt x="592" y="588"/>
                  <a:pt x="594" y="587"/>
                  <a:pt x="595" y="588"/>
                </a:cubicBezTo>
                <a:cubicBezTo>
                  <a:pt x="596" y="589"/>
                  <a:pt x="596" y="591"/>
                  <a:pt x="598" y="592"/>
                </a:cubicBezTo>
                <a:cubicBezTo>
                  <a:pt x="599" y="592"/>
                  <a:pt x="601" y="596"/>
                  <a:pt x="601" y="598"/>
                </a:cubicBezTo>
                <a:cubicBezTo>
                  <a:pt x="599" y="602"/>
                  <a:pt x="593" y="597"/>
                  <a:pt x="592" y="604"/>
                </a:cubicBezTo>
                <a:cubicBezTo>
                  <a:pt x="587" y="602"/>
                  <a:pt x="595" y="611"/>
                  <a:pt x="594" y="612"/>
                </a:cubicBezTo>
                <a:cubicBezTo>
                  <a:pt x="594" y="612"/>
                  <a:pt x="594" y="612"/>
                  <a:pt x="594" y="612"/>
                </a:cubicBezTo>
                <a:cubicBezTo>
                  <a:pt x="595" y="612"/>
                  <a:pt x="595" y="613"/>
                  <a:pt x="594" y="613"/>
                </a:cubicBezTo>
                <a:cubicBezTo>
                  <a:pt x="594" y="613"/>
                  <a:pt x="594" y="613"/>
                  <a:pt x="594" y="613"/>
                </a:cubicBezTo>
                <a:cubicBezTo>
                  <a:pt x="592" y="613"/>
                  <a:pt x="593" y="612"/>
                  <a:pt x="594" y="612"/>
                </a:cubicBezTo>
                <a:cubicBezTo>
                  <a:pt x="592" y="612"/>
                  <a:pt x="589" y="606"/>
                  <a:pt x="589" y="611"/>
                </a:cubicBezTo>
                <a:cubicBezTo>
                  <a:pt x="589" y="613"/>
                  <a:pt x="592" y="612"/>
                  <a:pt x="593" y="613"/>
                </a:cubicBezTo>
                <a:cubicBezTo>
                  <a:pt x="593" y="615"/>
                  <a:pt x="591" y="617"/>
                  <a:pt x="591" y="619"/>
                </a:cubicBezTo>
                <a:cubicBezTo>
                  <a:pt x="591" y="619"/>
                  <a:pt x="593" y="622"/>
                  <a:pt x="594" y="622"/>
                </a:cubicBezTo>
                <a:cubicBezTo>
                  <a:pt x="596" y="622"/>
                  <a:pt x="596" y="620"/>
                  <a:pt x="598" y="622"/>
                </a:cubicBezTo>
                <a:cubicBezTo>
                  <a:pt x="599" y="622"/>
                  <a:pt x="597" y="621"/>
                  <a:pt x="598" y="621"/>
                </a:cubicBezTo>
                <a:cubicBezTo>
                  <a:pt x="598" y="623"/>
                  <a:pt x="600" y="622"/>
                  <a:pt x="599" y="620"/>
                </a:cubicBezTo>
                <a:cubicBezTo>
                  <a:pt x="601" y="623"/>
                  <a:pt x="600" y="626"/>
                  <a:pt x="603" y="625"/>
                </a:cubicBezTo>
                <a:cubicBezTo>
                  <a:pt x="603" y="625"/>
                  <a:pt x="608" y="621"/>
                  <a:pt x="608" y="621"/>
                </a:cubicBezTo>
                <a:cubicBezTo>
                  <a:pt x="608" y="617"/>
                  <a:pt x="604" y="622"/>
                  <a:pt x="601" y="620"/>
                </a:cubicBezTo>
                <a:cubicBezTo>
                  <a:pt x="599" y="618"/>
                  <a:pt x="606" y="619"/>
                  <a:pt x="607" y="618"/>
                </a:cubicBezTo>
                <a:cubicBezTo>
                  <a:pt x="608" y="617"/>
                  <a:pt x="606" y="617"/>
                  <a:pt x="607" y="616"/>
                </a:cubicBezTo>
                <a:cubicBezTo>
                  <a:pt x="607" y="615"/>
                  <a:pt x="610" y="614"/>
                  <a:pt x="609" y="613"/>
                </a:cubicBezTo>
                <a:cubicBezTo>
                  <a:pt x="608" y="613"/>
                  <a:pt x="607" y="616"/>
                  <a:pt x="606" y="614"/>
                </a:cubicBezTo>
                <a:cubicBezTo>
                  <a:pt x="605" y="613"/>
                  <a:pt x="608" y="611"/>
                  <a:pt x="608" y="612"/>
                </a:cubicBezTo>
                <a:cubicBezTo>
                  <a:pt x="609" y="610"/>
                  <a:pt x="609" y="610"/>
                  <a:pt x="610" y="609"/>
                </a:cubicBezTo>
                <a:cubicBezTo>
                  <a:pt x="610" y="609"/>
                  <a:pt x="609" y="608"/>
                  <a:pt x="609" y="608"/>
                </a:cubicBezTo>
                <a:cubicBezTo>
                  <a:pt x="610" y="608"/>
                  <a:pt x="611" y="609"/>
                  <a:pt x="611" y="609"/>
                </a:cubicBezTo>
                <a:cubicBezTo>
                  <a:pt x="613" y="610"/>
                  <a:pt x="615" y="611"/>
                  <a:pt x="616" y="612"/>
                </a:cubicBezTo>
                <a:cubicBezTo>
                  <a:pt x="616" y="612"/>
                  <a:pt x="616" y="612"/>
                  <a:pt x="616" y="612"/>
                </a:cubicBezTo>
                <a:cubicBezTo>
                  <a:pt x="617" y="611"/>
                  <a:pt x="616" y="611"/>
                  <a:pt x="616" y="610"/>
                </a:cubicBezTo>
                <a:cubicBezTo>
                  <a:pt x="616" y="610"/>
                  <a:pt x="617" y="609"/>
                  <a:pt x="617" y="609"/>
                </a:cubicBezTo>
                <a:cubicBezTo>
                  <a:pt x="615" y="608"/>
                  <a:pt x="613" y="606"/>
                  <a:pt x="613" y="605"/>
                </a:cubicBezTo>
                <a:cubicBezTo>
                  <a:pt x="613" y="603"/>
                  <a:pt x="616" y="603"/>
                  <a:pt x="614" y="601"/>
                </a:cubicBezTo>
                <a:cubicBezTo>
                  <a:pt x="613" y="601"/>
                  <a:pt x="610" y="602"/>
                  <a:pt x="610" y="602"/>
                </a:cubicBezTo>
                <a:cubicBezTo>
                  <a:pt x="610" y="602"/>
                  <a:pt x="608" y="602"/>
                  <a:pt x="608" y="602"/>
                </a:cubicBezTo>
                <a:cubicBezTo>
                  <a:pt x="607" y="603"/>
                  <a:pt x="608" y="605"/>
                  <a:pt x="608" y="606"/>
                </a:cubicBezTo>
                <a:cubicBezTo>
                  <a:pt x="606" y="607"/>
                  <a:pt x="605" y="604"/>
                  <a:pt x="604" y="603"/>
                </a:cubicBezTo>
                <a:cubicBezTo>
                  <a:pt x="608" y="604"/>
                  <a:pt x="605" y="600"/>
                  <a:pt x="605" y="598"/>
                </a:cubicBezTo>
                <a:cubicBezTo>
                  <a:pt x="604" y="597"/>
                  <a:pt x="605" y="595"/>
                  <a:pt x="605" y="594"/>
                </a:cubicBezTo>
                <a:cubicBezTo>
                  <a:pt x="604" y="593"/>
                  <a:pt x="602" y="594"/>
                  <a:pt x="602" y="592"/>
                </a:cubicBezTo>
                <a:cubicBezTo>
                  <a:pt x="603" y="591"/>
                  <a:pt x="604" y="592"/>
                  <a:pt x="604" y="592"/>
                </a:cubicBezTo>
                <a:cubicBezTo>
                  <a:pt x="605" y="592"/>
                  <a:pt x="603" y="589"/>
                  <a:pt x="605" y="588"/>
                </a:cubicBezTo>
                <a:cubicBezTo>
                  <a:pt x="605" y="588"/>
                  <a:pt x="607" y="589"/>
                  <a:pt x="608" y="590"/>
                </a:cubicBezTo>
                <a:cubicBezTo>
                  <a:pt x="609" y="590"/>
                  <a:pt x="610" y="590"/>
                  <a:pt x="611" y="591"/>
                </a:cubicBezTo>
                <a:cubicBezTo>
                  <a:pt x="611" y="588"/>
                  <a:pt x="613" y="584"/>
                  <a:pt x="614" y="584"/>
                </a:cubicBezTo>
                <a:cubicBezTo>
                  <a:pt x="615" y="582"/>
                  <a:pt x="617" y="585"/>
                  <a:pt x="617" y="582"/>
                </a:cubicBezTo>
                <a:cubicBezTo>
                  <a:pt x="618" y="585"/>
                  <a:pt x="621" y="582"/>
                  <a:pt x="622" y="582"/>
                </a:cubicBezTo>
                <a:cubicBezTo>
                  <a:pt x="623" y="582"/>
                  <a:pt x="622" y="584"/>
                  <a:pt x="623" y="584"/>
                </a:cubicBezTo>
                <a:cubicBezTo>
                  <a:pt x="623" y="585"/>
                  <a:pt x="624" y="584"/>
                  <a:pt x="625" y="585"/>
                </a:cubicBezTo>
                <a:cubicBezTo>
                  <a:pt x="625" y="585"/>
                  <a:pt x="625" y="585"/>
                  <a:pt x="625" y="585"/>
                </a:cubicBezTo>
                <a:cubicBezTo>
                  <a:pt x="626" y="585"/>
                  <a:pt x="628" y="585"/>
                  <a:pt x="629" y="585"/>
                </a:cubicBezTo>
                <a:cubicBezTo>
                  <a:pt x="629" y="585"/>
                  <a:pt x="629" y="584"/>
                  <a:pt x="630" y="584"/>
                </a:cubicBezTo>
                <a:cubicBezTo>
                  <a:pt x="629" y="584"/>
                  <a:pt x="628" y="584"/>
                  <a:pt x="628" y="584"/>
                </a:cubicBezTo>
                <a:cubicBezTo>
                  <a:pt x="627" y="583"/>
                  <a:pt x="626" y="583"/>
                  <a:pt x="626" y="582"/>
                </a:cubicBezTo>
                <a:cubicBezTo>
                  <a:pt x="626" y="581"/>
                  <a:pt x="625" y="581"/>
                  <a:pt x="625" y="580"/>
                </a:cubicBezTo>
                <a:cubicBezTo>
                  <a:pt x="625" y="580"/>
                  <a:pt x="625" y="580"/>
                  <a:pt x="624" y="580"/>
                </a:cubicBezTo>
                <a:cubicBezTo>
                  <a:pt x="624" y="580"/>
                  <a:pt x="624" y="579"/>
                  <a:pt x="624" y="579"/>
                </a:cubicBezTo>
                <a:cubicBezTo>
                  <a:pt x="624" y="577"/>
                  <a:pt x="624" y="575"/>
                  <a:pt x="622" y="574"/>
                </a:cubicBezTo>
                <a:cubicBezTo>
                  <a:pt x="624" y="576"/>
                  <a:pt x="625" y="573"/>
                  <a:pt x="625" y="573"/>
                </a:cubicBezTo>
                <a:cubicBezTo>
                  <a:pt x="625" y="573"/>
                  <a:pt x="625" y="573"/>
                  <a:pt x="625" y="572"/>
                </a:cubicBezTo>
                <a:cubicBezTo>
                  <a:pt x="625" y="572"/>
                  <a:pt x="625" y="572"/>
                  <a:pt x="625" y="572"/>
                </a:cubicBezTo>
                <a:cubicBezTo>
                  <a:pt x="625" y="572"/>
                  <a:pt x="625" y="573"/>
                  <a:pt x="625" y="573"/>
                </a:cubicBezTo>
                <a:cubicBezTo>
                  <a:pt x="623" y="574"/>
                  <a:pt x="619" y="571"/>
                  <a:pt x="619" y="570"/>
                </a:cubicBezTo>
                <a:cubicBezTo>
                  <a:pt x="619" y="569"/>
                  <a:pt x="619" y="570"/>
                  <a:pt x="620" y="569"/>
                </a:cubicBezTo>
                <a:cubicBezTo>
                  <a:pt x="620" y="567"/>
                  <a:pt x="618" y="565"/>
                  <a:pt x="620" y="562"/>
                </a:cubicBezTo>
                <a:cubicBezTo>
                  <a:pt x="621" y="563"/>
                  <a:pt x="620" y="565"/>
                  <a:pt x="621" y="566"/>
                </a:cubicBezTo>
                <a:cubicBezTo>
                  <a:pt x="621" y="567"/>
                  <a:pt x="622" y="565"/>
                  <a:pt x="622" y="565"/>
                </a:cubicBezTo>
                <a:cubicBezTo>
                  <a:pt x="624" y="565"/>
                  <a:pt x="627" y="568"/>
                  <a:pt x="626" y="571"/>
                </a:cubicBezTo>
                <a:cubicBezTo>
                  <a:pt x="627" y="572"/>
                  <a:pt x="628" y="572"/>
                  <a:pt x="628" y="573"/>
                </a:cubicBezTo>
                <a:cubicBezTo>
                  <a:pt x="629" y="573"/>
                  <a:pt x="629" y="572"/>
                  <a:pt x="629" y="572"/>
                </a:cubicBezTo>
                <a:cubicBezTo>
                  <a:pt x="628" y="570"/>
                  <a:pt x="628" y="568"/>
                  <a:pt x="627" y="566"/>
                </a:cubicBezTo>
                <a:cubicBezTo>
                  <a:pt x="626" y="565"/>
                  <a:pt x="625" y="565"/>
                  <a:pt x="624" y="565"/>
                </a:cubicBezTo>
                <a:cubicBezTo>
                  <a:pt x="624" y="564"/>
                  <a:pt x="624" y="563"/>
                  <a:pt x="623" y="563"/>
                </a:cubicBezTo>
                <a:cubicBezTo>
                  <a:pt x="622" y="562"/>
                  <a:pt x="622" y="564"/>
                  <a:pt x="621" y="563"/>
                </a:cubicBezTo>
                <a:cubicBezTo>
                  <a:pt x="620" y="562"/>
                  <a:pt x="621" y="561"/>
                  <a:pt x="621" y="561"/>
                </a:cubicBezTo>
                <a:cubicBezTo>
                  <a:pt x="622" y="560"/>
                  <a:pt x="624" y="562"/>
                  <a:pt x="625" y="562"/>
                </a:cubicBezTo>
                <a:cubicBezTo>
                  <a:pt x="626" y="561"/>
                  <a:pt x="626" y="560"/>
                  <a:pt x="627" y="559"/>
                </a:cubicBezTo>
                <a:cubicBezTo>
                  <a:pt x="628" y="558"/>
                  <a:pt x="630" y="559"/>
                  <a:pt x="629" y="555"/>
                </a:cubicBezTo>
                <a:cubicBezTo>
                  <a:pt x="631" y="560"/>
                  <a:pt x="631" y="555"/>
                  <a:pt x="632" y="554"/>
                </a:cubicBezTo>
                <a:cubicBezTo>
                  <a:pt x="632" y="555"/>
                  <a:pt x="638" y="557"/>
                  <a:pt x="639" y="557"/>
                </a:cubicBezTo>
                <a:cubicBezTo>
                  <a:pt x="640" y="557"/>
                  <a:pt x="641" y="560"/>
                  <a:pt x="643" y="561"/>
                </a:cubicBezTo>
                <a:cubicBezTo>
                  <a:pt x="643" y="560"/>
                  <a:pt x="643" y="560"/>
                  <a:pt x="642" y="560"/>
                </a:cubicBezTo>
                <a:cubicBezTo>
                  <a:pt x="643" y="560"/>
                  <a:pt x="644" y="560"/>
                  <a:pt x="644" y="561"/>
                </a:cubicBezTo>
                <a:cubicBezTo>
                  <a:pt x="644" y="561"/>
                  <a:pt x="644" y="561"/>
                  <a:pt x="645" y="561"/>
                </a:cubicBezTo>
                <a:cubicBezTo>
                  <a:pt x="644" y="561"/>
                  <a:pt x="644" y="561"/>
                  <a:pt x="644" y="560"/>
                </a:cubicBezTo>
                <a:cubicBezTo>
                  <a:pt x="644" y="560"/>
                  <a:pt x="644" y="560"/>
                  <a:pt x="644" y="559"/>
                </a:cubicBezTo>
                <a:cubicBezTo>
                  <a:pt x="644" y="559"/>
                  <a:pt x="644" y="559"/>
                  <a:pt x="644" y="559"/>
                </a:cubicBezTo>
                <a:cubicBezTo>
                  <a:pt x="644" y="559"/>
                  <a:pt x="644" y="559"/>
                  <a:pt x="644" y="559"/>
                </a:cubicBezTo>
                <a:cubicBezTo>
                  <a:pt x="644" y="557"/>
                  <a:pt x="646" y="551"/>
                  <a:pt x="647" y="548"/>
                </a:cubicBezTo>
                <a:cubicBezTo>
                  <a:pt x="646" y="547"/>
                  <a:pt x="646" y="547"/>
                  <a:pt x="646" y="546"/>
                </a:cubicBezTo>
                <a:cubicBezTo>
                  <a:pt x="646" y="545"/>
                  <a:pt x="647" y="546"/>
                  <a:pt x="648" y="546"/>
                </a:cubicBezTo>
                <a:cubicBezTo>
                  <a:pt x="648" y="546"/>
                  <a:pt x="649" y="545"/>
                  <a:pt x="649" y="546"/>
                </a:cubicBezTo>
                <a:cubicBezTo>
                  <a:pt x="650" y="546"/>
                  <a:pt x="650" y="547"/>
                  <a:pt x="650" y="549"/>
                </a:cubicBezTo>
                <a:cubicBezTo>
                  <a:pt x="650" y="548"/>
                  <a:pt x="651" y="548"/>
                  <a:pt x="651" y="548"/>
                </a:cubicBezTo>
                <a:cubicBezTo>
                  <a:pt x="652" y="548"/>
                  <a:pt x="653" y="550"/>
                  <a:pt x="653" y="551"/>
                </a:cubicBezTo>
                <a:cubicBezTo>
                  <a:pt x="654" y="551"/>
                  <a:pt x="655" y="551"/>
                  <a:pt x="655" y="552"/>
                </a:cubicBezTo>
                <a:cubicBezTo>
                  <a:pt x="656" y="553"/>
                  <a:pt x="655" y="554"/>
                  <a:pt x="655" y="555"/>
                </a:cubicBezTo>
                <a:cubicBezTo>
                  <a:pt x="655" y="555"/>
                  <a:pt x="656" y="554"/>
                  <a:pt x="656" y="552"/>
                </a:cubicBezTo>
                <a:cubicBezTo>
                  <a:pt x="656" y="551"/>
                  <a:pt x="654" y="549"/>
                  <a:pt x="654" y="548"/>
                </a:cubicBezTo>
                <a:cubicBezTo>
                  <a:pt x="654" y="548"/>
                  <a:pt x="653" y="548"/>
                  <a:pt x="653" y="548"/>
                </a:cubicBezTo>
                <a:cubicBezTo>
                  <a:pt x="654" y="544"/>
                  <a:pt x="661" y="548"/>
                  <a:pt x="659" y="550"/>
                </a:cubicBezTo>
                <a:cubicBezTo>
                  <a:pt x="659" y="550"/>
                  <a:pt x="657" y="550"/>
                  <a:pt x="657" y="550"/>
                </a:cubicBezTo>
                <a:cubicBezTo>
                  <a:pt x="657" y="551"/>
                  <a:pt x="659" y="555"/>
                  <a:pt x="659" y="557"/>
                </a:cubicBezTo>
                <a:cubicBezTo>
                  <a:pt x="659" y="558"/>
                  <a:pt x="659" y="559"/>
                  <a:pt x="659" y="559"/>
                </a:cubicBezTo>
                <a:cubicBezTo>
                  <a:pt x="660" y="560"/>
                  <a:pt x="662" y="559"/>
                  <a:pt x="663" y="560"/>
                </a:cubicBezTo>
                <a:cubicBezTo>
                  <a:pt x="663" y="560"/>
                  <a:pt x="663" y="561"/>
                  <a:pt x="663" y="561"/>
                </a:cubicBezTo>
                <a:cubicBezTo>
                  <a:pt x="664" y="562"/>
                  <a:pt x="666" y="564"/>
                  <a:pt x="666" y="564"/>
                </a:cubicBezTo>
                <a:cubicBezTo>
                  <a:pt x="667" y="564"/>
                  <a:pt x="667" y="562"/>
                  <a:pt x="666" y="562"/>
                </a:cubicBezTo>
                <a:cubicBezTo>
                  <a:pt x="666" y="562"/>
                  <a:pt x="669" y="561"/>
                  <a:pt x="669" y="563"/>
                </a:cubicBezTo>
                <a:cubicBezTo>
                  <a:pt x="669" y="563"/>
                  <a:pt x="669" y="563"/>
                  <a:pt x="669" y="564"/>
                </a:cubicBezTo>
                <a:cubicBezTo>
                  <a:pt x="670" y="563"/>
                  <a:pt x="670" y="563"/>
                  <a:pt x="671" y="563"/>
                </a:cubicBezTo>
                <a:cubicBezTo>
                  <a:pt x="670" y="562"/>
                  <a:pt x="669" y="562"/>
                  <a:pt x="669" y="561"/>
                </a:cubicBezTo>
                <a:cubicBezTo>
                  <a:pt x="669" y="561"/>
                  <a:pt x="669" y="562"/>
                  <a:pt x="668" y="562"/>
                </a:cubicBezTo>
                <a:cubicBezTo>
                  <a:pt x="668" y="562"/>
                  <a:pt x="667" y="562"/>
                  <a:pt x="667" y="561"/>
                </a:cubicBezTo>
                <a:cubicBezTo>
                  <a:pt x="667" y="561"/>
                  <a:pt x="666" y="560"/>
                  <a:pt x="667" y="559"/>
                </a:cubicBezTo>
                <a:cubicBezTo>
                  <a:pt x="668" y="559"/>
                  <a:pt x="668" y="560"/>
                  <a:pt x="668" y="560"/>
                </a:cubicBezTo>
                <a:cubicBezTo>
                  <a:pt x="668" y="560"/>
                  <a:pt x="668" y="560"/>
                  <a:pt x="668" y="560"/>
                </a:cubicBezTo>
                <a:cubicBezTo>
                  <a:pt x="668" y="560"/>
                  <a:pt x="668" y="560"/>
                  <a:pt x="668" y="560"/>
                </a:cubicBezTo>
                <a:cubicBezTo>
                  <a:pt x="668" y="560"/>
                  <a:pt x="669" y="560"/>
                  <a:pt x="669" y="560"/>
                </a:cubicBezTo>
                <a:cubicBezTo>
                  <a:pt x="668" y="559"/>
                  <a:pt x="669" y="558"/>
                  <a:pt x="671" y="557"/>
                </a:cubicBezTo>
                <a:cubicBezTo>
                  <a:pt x="672" y="557"/>
                  <a:pt x="673" y="558"/>
                  <a:pt x="674" y="559"/>
                </a:cubicBezTo>
                <a:cubicBezTo>
                  <a:pt x="673" y="559"/>
                  <a:pt x="673" y="559"/>
                  <a:pt x="674" y="559"/>
                </a:cubicBezTo>
                <a:cubicBezTo>
                  <a:pt x="674" y="557"/>
                  <a:pt x="674" y="559"/>
                  <a:pt x="675" y="559"/>
                </a:cubicBezTo>
                <a:cubicBezTo>
                  <a:pt x="675" y="558"/>
                  <a:pt x="675" y="558"/>
                  <a:pt x="675" y="557"/>
                </a:cubicBezTo>
                <a:cubicBezTo>
                  <a:pt x="675" y="557"/>
                  <a:pt x="675" y="557"/>
                  <a:pt x="675" y="557"/>
                </a:cubicBezTo>
                <a:cubicBezTo>
                  <a:pt x="675" y="557"/>
                  <a:pt x="675" y="556"/>
                  <a:pt x="675" y="556"/>
                </a:cubicBezTo>
                <a:cubicBezTo>
                  <a:pt x="677" y="554"/>
                  <a:pt x="678" y="556"/>
                  <a:pt x="679" y="557"/>
                </a:cubicBezTo>
                <a:cubicBezTo>
                  <a:pt x="679" y="553"/>
                  <a:pt x="679" y="553"/>
                  <a:pt x="679" y="553"/>
                </a:cubicBezTo>
                <a:cubicBezTo>
                  <a:pt x="679" y="553"/>
                  <a:pt x="678" y="553"/>
                  <a:pt x="677" y="552"/>
                </a:cubicBezTo>
                <a:cubicBezTo>
                  <a:pt x="673" y="549"/>
                  <a:pt x="676" y="544"/>
                  <a:pt x="679" y="544"/>
                </a:cubicBezTo>
                <a:cubicBezTo>
                  <a:pt x="679" y="543"/>
                  <a:pt x="679" y="543"/>
                  <a:pt x="679" y="543"/>
                </a:cubicBezTo>
                <a:cubicBezTo>
                  <a:pt x="679" y="543"/>
                  <a:pt x="679" y="542"/>
                  <a:pt x="679" y="542"/>
                </a:cubicBezTo>
                <a:cubicBezTo>
                  <a:pt x="679" y="542"/>
                  <a:pt x="679" y="543"/>
                  <a:pt x="679" y="543"/>
                </a:cubicBezTo>
                <a:cubicBezTo>
                  <a:pt x="679" y="511"/>
                  <a:pt x="679" y="511"/>
                  <a:pt x="679" y="511"/>
                </a:cubicBezTo>
                <a:cubicBezTo>
                  <a:pt x="678" y="509"/>
                  <a:pt x="677" y="507"/>
                  <a:pt x="677" y="506"/>
                </a:cubicBezTo>
                <a:cubicBezTo>
                  <a:pt x="678" y="507"/>
                  <a:pt x="679" y="508"/>
                  <a:pt x="679" y="509"/>
                </a:cubicBezTo>
                <a:cubicBezTo>
                  <a:pt x="679" y="508"/>
                  <a:pt x="679" y="508"/>
                  <a:pt x="679" y="508"/>
                </a:cubicBezTo>
                <a:cubicBezTo>
                  <a:pt x="679" y="507"/>
                  <a:pt x="678" y="507"/>
                  <a:pt x="679" y="507"/>
                </a:cubicBezTo>
                <a:cubicBezTo>
                  <a:pt x="679" y="423"/>
                  <a:pt x="679" y="423"/>
                  <a:pt x="679" y="423"/>
                </a:cubicBezTo>
                <a:cubicBezTo>
                  <a:pt x="679" y="423"/>
                  <a:pt x="679" y="422"/>
                  <a:pt x="679" y="422"/>
                </a:cubicBezTo>
                <a:cubicBezTo>
                  <a:pt x="679" y="422"/>
                  <a:pt x="679" y="422"/>
                  <a:pt x="679" y="422"/>
                </a:cubicBezTo>
                <a:cubicBezTo>
                  <a:pt x="679" y="196"/>
                  <a:pt x="679" y="196"/>
                  <a:pt x="679" y="196"/>
                </a:cubicBezTo>
                <a:cubicBezTo>
                  <a:pt x="521" y="105"/>
                  <a:pt x="521" y="105"/>
                  <a:pt x="521" y="105"/>
                </a:cubicBezTo>
                <a:cubicBezTo>
                  <a:pt x="520" y="105"/>
                  <a:pt x="517" y="104"/>
                  <a:pt x="516" y="103"/>
                </a:cubicBezTo>
                <a:cubicBezTo>
                  <a:pt x="516" y="103"/>
                  <a:pt x="517" y="102"/>
                  <a:pt x="517" y="102"/>
                </a:cubicBezTo>
                <a:cubicBezTo>
                  <a:pt x="340" y="0"/>
                  <a:pt x="340" y="0"/>
                  <a:pt x="340" y="0"/>
                </a:cubicBezTo>
                <a:cubicBezTo>
                  <a:pt x="329" y="7"/>
                  <a:pt x="329" y="7"/>
                  <a:pt x="329" y="7"/>
                </a:cubicBezTo>
                <a:cubicBezTo>
                  <a:pt x="330" y="7"/>
                  <a:pt x="330" y="7"/>
                  <a:pt x="328" y="7"/>
                </a:cubicBezTo>
                <a:cubicBezTo>
                  <a:pt x="315" y="15"/>
                  <a:pt x="315" y="15"/>
                  <a:pt x="315" y="15"/>
                </a:cubicBezTo>
                <a:cubicBezTo>
                  <a:pt x="315" y="15"/>
                  <a:pt x="315" y="15"/>
                  <a:pt x="315" y="15"/>
                </a:cubicBezTo>
                <a:cubicBezTo>
                  <a:pt x="315" y="15"/>
                  <a:pt x="314" y="15"/>
                  <a:pt x="314" y="15"/>
                </a:cubicBezTo>
                <a:cubicBezTo>
                  <a:pt x="298" y="25"/>
                  <a:pt x="298" y="25"/>
                  <a:pt x="298" y="25"/>
                </a:cubicBezTo>
                <a:cubicBezTo>
                  <a:pt x="299" y="24"/>
                  <a:pt x="301" y="24"/>
                  <a:pt x="301" y="25"/>
                </a:cubicBezTo>
                <a:cubicBezTo>
                  <a:pt x="302" y="27"/>
                  <a:pt x="300" y="27"/>
                  <a:pt x="301" y="28"/>
                </a:cubicBezTo>
                <a:cubicBezTo>
                  <a:pt x="301" y="30"/>
                  <a:pt x="303" y="30"/>
                  <a:pt x="306" y="31"/>
                </a:cubicBezTo>
                <a:cubicBezTo>
                  <a:pt x="305" y="30"/>
                  <a:pt x="305" y="30"/>
                  <a:pt x="305" y="30"/>
                </a:cubicBezTo>
                <a:cubicBezTo>
                  <a:pt x="306" y="30"/>
                  <a:pt x="306" y="30"/>
                  <a:pt x="306" y="31"/>
                </a:cubicBezTo>
                <a:cubicBezTo>
                  <a:pt x="308" y="31"/>
                  <a:pt x="310" y="31"/>
                  <a:pt x="311" y="32"/>
                </a:cubicBezTo>
                <a:cubicBezTo>
                  <a:pt x="314" y="34"/>
                  <a:pt x="318" y="34"/>
                  <a:pt x="318" y="34"/>
                </a:cubicBezTo>
                <a:cubicBezTo>
                  <a:pt x="318" y="35"/>
                  <a:pt x="316" y="37"/>
                  <a:pt x="317" y="39"/>
                </a:cubicBezTo>
                <a:cubicBezTo>
                  <a:pt x="317" y="41"/>
                  <a:pt x="319" y="40"/>
                  <a:pt x="317" y="41"/>
                </a:cubicBezTo>
                <a:cubicBezTo>
                  <a:pt x="315" y="42"/>
                  <a:pt x="318" y="42"/>
                  <a:pt x="315" y="42"/>
                </a:cubicBezTo>
                <a:cubicBezTo>
                  <a:pt x="313" y="42"/>
                  <a:pt x="307" y="41"/>
                  <a:pt x="309" y="37"/>
                </a:cubicBezTo>
                <a:cubicBezTo>
                  <a:pt x="309" y="36"/>
                  <a:pt x="311" y="35"/>
                  <a:pt x="309" y="34"/>
                </a:cubicBezTo>
                <a:cubicBezTo>
                  <a:pt x="308" y="34"/>
                  <a:pt x="306" y="35"/>
                  <a:pt x="305" y="34"/>
                </a:cubicBezTo>
                <a:cubicBezTo>
                  <a:pt x="302" y="33"/>
                  <a:pt x="298" y="30"/>
                  <a:pt x="295" y="29"/>
                </a:cubicBezTo>
                <a:cubicBezTo>
                  <a:pt x="293" y="29"/>
                  <a:pt x="292" y="29"/>
                  <a:pt x="290" y="29"/>
                </a:cubicBezTo>
                <a:cubicBezTo>
                  <a:pt x="280" y="35"/>
                  <a:pt x="280" y="35"/>
                  <a:pt x="280" y="35"/>
                </a:cubicBezTo>
                <a:cubicBezTo>
                  <a:pt x="284" y="37"/>
                  <a:pt x="288" y="43"/>
                  <a:pt x="285" y="47"/>
                </a:cubicBezTo>
                <a:cubicBezTo>
                  <a:pt x="286" y="47"/>
                  <a:pt x="285" y="47"/>
                  <a:pt x="285" y="47"/>
                </a:cubicBezTo>
                <a:cubicBezTo>
                  <a:pt x="285" y="47"/>
                  <a:pt x="285" y="47"/>
                  <a:pt x="285" y="47"/>
                </a:cubicBezTo>
                <a:cubicBezTo>
                  <a:pt x="286" y="48"/>
                  <a:pt x="285" y="47"/>
                  <a:pt x="285" y="47"/>
                </a:cubicBezTo>
                <a:cubicBezTo>
                  <a:pt x="285" y="47"/>
                  <a:pt x="285" y="48"/>
                  <a:pt x="284" y="48"/>
                </a:cubicBezTo>
                <a:cubicBezTo>
                  <a:pt x="285" y="49"/>
                  <a:pt x="286" y="50"/>
                  <a:pt x="286" y="49"/>
                </a:cubicBezTo>
                <a:cubicBezTo>
                  <a:pt x="285" y="51"/>
                  <a:pt x="288" y="52"/>
                  <a:pt x="289" y="53"/>
                </a:cubicBezTo>
                <a:cubicBezTo>
                  <a:pt x="290" y="54"/>
                  <a:pt x="288" y="56"/>
                  <a:pt x="290" y="56"/>
                </a:cubicBezTo>
                <a:cubicBezTo>
                  <a:pt x="285" y="57"/>
                  <a:pt x="295" y="64"/>
                  <a:pt x="296" y="64"/>
                </a:cubicBezTo>
                <a:cubicBezTo>
                  <a:pt x="296" y="64"/>
                  <a:pt x="296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7"/>
                  <a:pt x="295" y="57"/>
                </a:cubicBezTo>
                <a:cubicBezTo>
                  <a:pt x="295" y="57"/>
                  <a:pt x="294" y="56"/>
                  <a:pt x="294" y="56"/>
                </a:cubicBezTo>
                <a:cubicBezTo>
                  <a:pt x="296" y="54"/>
                  <a:pt x="296" y="57"/>
                  <a:pt x="297" y="57"/>
                </a:cubicBezTo>
                <a:cubicBezTo>
                  <a:pt x="297" y="57"/>
                  <a:pt x="297" y="57"/>
                  <a:pt x="297" y="57"/>
                </a:cubicBezTo>
                <a:cubicBezTo>
                  <a:pt x="297" y="56"/>
                  <a:pt x="298" y="55"/>
                  <a:pt x="299" y="55"/>
                </a:cubicBezTo>
                <a:cubicBezTo>
                  <a:pt x="299" y="55"/>
                  <a:pt x="299" y="55"/>
                  <a:pt x="299" y="55"/>
                </a:cubicBezTo>
                <a:cubicBezTo>
                  <a:pt x="300" y="55"/>
                  <a:pt x="301" y="54"/>
                  <a:pt x="302" y="54"/>
                </a:cubicBezTo>
                <a:cubicBezTo>
                  <a:pt x="302" y="54"/>
                  <a:pt x="305" y="57"/>
                  <a:pt x="306" y="57"/>
                </a:cubicBezTo>
                <a:cubicBezTo>
                  <a:pt x="306" y="58"/>
                  <a:pt x="312" y="59"/>
                  <a:pt x="311" y="60"/>
                </a:cubicBezTo>
                <a:cubicBezTo>
                  <a:pt x="311" y="62"/>
                  <a:pt x="309" y="60"/>
                  <a:pt x="308" y="61"/>
                </a:cubicBezTo>
                <a:cubicBezTo>
                  <a:pt x="307" y="61"/>
                  <a:pt x="309" y="63"/>
                  <a:pt x="309" y="64"/>
                </a:cubicBezTo>
                <a:cubicBezTo>
                  <a:pt x="308" y="65"/>
                  <a:pt x="307" y="65"/>
                  <a:pt x="306" y="66"/>
                </a:cubicBezTo>
                <a:cubicBezTo>
                  <a:pt x="306" y="65"/>
                  <a:pt x="308" y="68"/>
                  <a:pt x="306" y="69"/>
                </a:cubicBezTo>
                <a:cubicBezTo>
                  <a:pt x="304" y="70"/>
                  <a:pt x="305" y="67"/>
                  <a:pt x="304" y="67"/>
                </a:cubicBezTo>
                <a:cubicBezTo>
                  <a:pt x="303" y="66"/>
                  <a:pt x="303" y="68"/>
                  <a:pt x="302" y="68"/>
                </a:cubicBezTo>
                <a:cubicBezTo>
                  <a:pt x="301" y="68"/>
                  <a:pt x="301" y="66"/>
                  <a:pt x="299" y="66"/>
                </a:cubicBezTo>
                <a:cubicBezTo>
                  <a:pt x="298" y="66"/>
                  <a:pt x="298" y="67"/>
                  <a:pt x="297" y="67"/>
                </a:cubicBezTo>
                <a:cubicBezTo>
                  <a:pt x="294" y="65"/>
                  <a:pt x="291" y="60"/>
                  <a:pt x="286" y="62"/>
                </a:cubicBezTo>
                <a:cubicBezTo>
                  <a:pt x="285" y="62"/>
                  <a:pt x="286" y="63"/>
                  <a:pt x="287" y="64"/>
                </a:cubicBezTo>
                <a:cubicBezTo>
                  <a:pt x="283" y="64"/>
                  <a:pt x="275" y="63"/>
                  <a:pt x="273" y="57"/>
                </a:cubicBezTo>
                <a:cubicBezTo>
                  <a:pt x="273" y="57"/>
                  <a:pt x="273" y="54"/>
                  <a:pt x="273" y="53"/>
                </a:cubicBezTo>
                <a:cubicBezTo>
                  <a:pt x="273" y="53"/>
                  <a:pt x="274" y="52"/>
                  <a:pt x="275" y="51"/>
                </a:cubicBezTo>
                <a:cubicBezTo>
                  <a:pt x="275" y="51"/>
                  <a:pt x="275" y="50"/>
                  <a:pt x="276" y="50"/>
                </a:cubicBezTo>
                <a:cubicBezTo>
                  <a:pt x="276" y="50"/>
                  <a:pt x="276" y="50"/>
                  <a:pt x="276" y="50"/>
                </a:cubicBezTo>
                <a:cubicBezTo>
                  <a:pt x="276" y="50"/>
                  <a:pt x="276" y="49"/>
                  <a:pt x="277" y="49"/>
                </a:cubicBezTo>
                <a:cubicBezTo>
                  <a:pt x="275" y="48"/>
                  <a:pt x="274" y="46"/>
                  <a:pt x="273" y="45"/>
                </a:cubicBezTo>
                <a:cubicBezTo>
                  <a:pt x="271" y="47"/>
                  <a:pt x="273" y="48"/>
                  <a:pt x="273" y="49"/>
                </a:cubicBezTo>
                <a:cubicBezTo>
                  <a:pt x="273" y="49"/>
                  <a:pt x="272" y="48"/>
                  <a:pt x="272" y="48"/>
                </a:cubicBezTo>
                <a:cubicBezTo>
                  <a:pt x="272" y="49"/>
                  <a:pt x="272" y="50"/>
                  <a:pt x="271" y="51"/>
                </a:cubicBezTo>
                <a:cubicBezTo>
                  <a:pt x="270" y="51"/>
                  <a:pt x="270" y="50"/>
                  <a:pt x="270" y="50"/>
                </a:cubicBezTo>
                <a:cubicBezTo>
                  <a:pt x="268" y="49"/>
                  <a:pt x="270" y="51"/>
                  <a:pt x="267" y="50"/>
                </a:cubicBezTo>
                <a:cubicBezTo>
                  <a:pt x="266" y="49"/>
                  <a:pt x="266" y="46"/>
                  <a:pt x="265" y="45"/>
                </a:cubicBezTo>
                <a:cubicBezTo>
                  <a:pt x="265" y="45"/>
                  <a:pt x="264" y="45"/>
                  <a:pt x="264" y="45"/>
                </a:cubicBezTo>
                <a:cubicBezTo>
                  <a:pt x="264" y="46"/>
                  <a:pt x="263" y="47"/>
                  <a:pt x="263" y="47"/>
                </a:cubicBezTo>
                <a:cubicBezTo>
                  <a:pt x="263" y="47"/>
                  <a:pt x="261" y="45"/>
                  <a:pt x="260" y="47"/>
                </a:cubicBezTo>
                <a:cubicBezTo>
                  <a:pt x="259" y="47"/>
                  <a:pt x="260" y="48"/>
                  <a:pt x="260" y="48"/>
                </a:cubicBezTo>
                <a:cubicBezTo>
                  <a:pt x="259" y="48"/>
                  <a:pt x="255" y="50"/>
                  <a:pt x="256" y="50"/>
                </a:cubicBezTo>
                <a:cubicBezTo>
                  <a:pt x="255" y="50"/>
                  <a:pt x="255" y="49"/>
                  <a:pt x="255" y="49"/>
                </a:cubicBezTo>
                <a:cubicBezTo>
                  <a:pt x="245" y="55"/>
                  <a:pt x="245" y="55"/>
                  <a:pt x="245" y="55"/>
                </a:cubicBezTo>
                <a:cubicBezTo>
                  <a:pt x="246" y="56"/>
                  <a:pt x="246" y="57"/>
                  <a:pt x="247" y="58"/>
                </a:cubicBezTo>
                <a:cubicBezTo>
                  <a:pt x="245" y="59"/>
                  <a:pt x="243" y="58"/>
                  <a:pt x="241" y="57"/>
                </a:cubicBezTo>
                <a:cubicBezTo>
                  <a:pt x="227" y="66"/>
                  <a:pt x="227" y="66"/>
                  <a:pt x="227" y="66"/>
                </a:cubicBezTo>
                <a:cubicBezTo>
                  <a:pt x="227" y="66"/>
                  <a:pt x="227" y="66"/>
                  <a:pt x="227" y="66"/>
                </a:cubicBezTo>
                <a:cubicBezTo>
                  <a:pt x="227" y="66"/>
                  <a:pt x="227" y="66"/>
                  <a:pt x="227" y="66"/>
                </a:cubicBezTo>
                <a:cubicBezTo>
                  <a:pt x="228" y="65"/>
                  <a:pt x="228" y="66"/>
                  <a:pt x="228" y="66"/>
                </a:cubicBezTo>
                <a:cubicBezTo>
                  <a:pt x="229" y="68"/>
                  <a:pt x="230" y="69"/>
                  <a:pt x="232" y="70"/>
                </a:cubicBezTo>
                <a:cubicBezTo>
                  <a:pt x="229" y="69"/>
                  <a:pt x="231" y="72"/>
                  <a:pt x="230" y="73"/>
                </a:cubicBezTo>
                <a:cubicBezTo>
                  <a:pt x="230" y="73"/>
                  <a:pt x="230" y="73"/>
                  <a:pt x="230" y="73"/>
                </a:cubicBezTo>
                <a:cubicBezTo>
                  <a:pt x="230" y="73"/>
                  <a:pt x="230" y="73"/>
                  <a:pt x="230" y="73"/>
                </a:cubicBezTo>
                <a:cubicBezTo>
                  <a:pt x="231" y="73"/>
                  <a:pt x="231" y="72"/>
                  <a:pt x="231" y="72"/>
                </a:cubicBezTo>
                <a:cubicBezTo>
                  <a:pt x="232" y="70"/>
                  <a:pt x="236" y="71"/>
                  <a:pt x="237" y="71"/>
                </a:cubicBezTo>
                <a:cubicBezTo>
                  <a:pt x="238" y="72"/>
                  <a:pt x="237" y="72"/>
                  <a:pt x="237" y="73"/>
                </a:cubicBezTo>
                <a:cubicBezTo>
                  <a:pt x="237" y="74"/>
                  <a:pt x="241" y="76"/>
                  <a:pt x="240" y="79"/>
                </a:cubicBezTo>
                <a:cubicBezTo>
                  <a:pt x="239" y="78"/>
                  <a:pt x="239" y="76"/>
                  <a:pt x="238" y="76"/>
                </a:cubicBezTo>
                <a:cubicBezTo>
                  <a:pt x="237" y="76"/>
                  <a:pt x="237" y="77"/>
                  <a:pt x="237" y="78"/>
                </a:cubicBezTo>
                <a:cubicBezTo>
                  <a:pt x="236" y="79"/>
                  <a:pt x="231" y="77"/>
                  <a:pt x="230" y="74"/>
                </a:cubicBezTo>
                <a:cubicBezTo>
                  <a:pt x="229" y="74"/>
                  <a:pt x="229" y="74"/>
                  <a:pt x="228" y="74"/>
                </a:cubicBezTo>
                <a:cubicBezTo>
                  <a:pt x="227" y="74"/>
                  <a:pt x="227" y="74"/>
                  <a:pt x="227" y="75"/>
                </a:cubicBezTo>
                <a:cubicBezTo>
                  <a:pt x="229" y="76"/>
                  <a:pt x="230" y="78"/>
                  <a:pt x="232" y="79"/>
                </a:cubicBezTo>
                <a:cubicBezTo>
                  <a:pt x="233" y="79"/>
                  <a:pt x="234" y="79"/>
                  <a:pt x="235" y="79"/>
                </a:cubicBezTo>
                <a:cubicBezTo>
                  <a:pt x="236" y="79"/>
                  <a:pt x="236" y="80"/>
                  <a:pt x="237" y="80"/>
                </a:cubicBezTo>
                <a:cubicBezTo>
                  <a:pt x="239" y="80"/>
                  <a:pt x="237" y="78"/>
                  <a:pt x="239" y="79"/>
                </a:cubicBezTo>
                <a:cubicBezTo>
                  <a:pt x="240" y="79"/>
                  <a:pt x="240" y="80"/>
                  <a:pt x="240" y="81"/>
                </a:cubicBezTo>
                <a:cubicBezTo>
                  <a:pt x="240" y="82"/>
                  <a:pt x="237" y="81"/>
                  <a:pt x="236" y="82"/>
                </a:cubicBezTo>
                <a:cubicBezTo>
                  <a:pt x="236" y="82"/>
                  <a:pt x="236" y="84"/>
                  <a:pt x="236" y="85"/>
                </a:cubicBezTo>
                <a:cubicBezTo>
                  <a:pt x="235" y="87"/>
                  <a:pt x="233" y="86"/>
                  <a:pt x="236" y="89"/>
                </a:cubicBezTo>
                <a:cubicBezTo>
                  <a:pt x="232" y="86"/>
                  <a:pt x="234" y="91"/>
                  <a:pt x="234" y="92"/>
                </a:cubicBezTo>
                <a:cubicBezTo>
                  <a:pt x="234" y="91"/>
                  <a:pt x="227" y="93"/>
                  <a:pt x="227" y="93"/>
                </a:cubicBezTo>
                <a:cubicBezTo>
                  <a:pt x="226" y="93"/>
                  <a:pt x="223" y="92"/>
                  <a:pt x="221" y="92"/>
                </a:cubicBezTo>
                <a:cubicBezTo>
                  <a:pt x="221" y="92"/>
                  <a:pt x="222" y="92"/>
                  <a:pt x="222" y="92"/>
                </a:cubicBezTo>
                <a:cubicBezTo>
                  <a:pt x="221" y="93"/>
                  <a:pt x="221" y="92"/>
                  <a:pt x="220" y="92"/>
                </a:cubicBezTo>
                <a:cubicBezTo>
                  <a:pt x="220" y="92"/>
                  <a:pt x="220" y="92"/>
                  <a:pt x="220" y="92"/>
                </a:cubicBezTo>
                <a:cubicBezTo>
                  <a:pt x="220" y="92"/>
                  <a:pt x="220" y="92"/>
                  <a:pt x="221" y="93"/>
                </a:cubicBezTo>
                <a:cubicBezTo>
                  <a:pt x="221" y="93"/>
                  <a:pt x="221" y="93"/>
                  <a:pt x="221" y="93"/>
                </a:cubicBezTo>
                <a:cubicBezTo>
                  <a:pt x="221" y="93"/>
                  <a:pt x="221" y="93"/>
                  <a:pt x="221" y="93"/>
                </a:cubicBezTo>
                <a:cubicBezTo>
                  <a:pt x="221" y="93"/>
                  <a:pt x="221" y="93"/>
                  <a:pt x="221" y="93"/>
                </a:cubicBezTo>
                <a:cubicBezTo>
                  <a:pt x="223" y="96"/>
                  <a:pt x="224" y="101"/>
                  <a:pt x="224" y="105"/>
                </a:cubicBezTo>
                <a:cubicBezTo>
                  <a:pt x="225" y="105"/>
                  <a:pt x="226" y="105"/>
                  <a:pt x="226" y="106"/>
                </a:cubicBezTo>
                <a:cubicBezTo>
                  <a:pt x="226" y="107"/>
                  <a:pt x="225" y="107"/>
                  <a:pt x="224" y="107"/>
                </a:cubicBezTo>
                <a:cubicBezTo>
                  <a:pt x="224" y="107"/>
                  <a:pt x="224" y="108"/>
                  <a:pt x="224" y="108"/>
                </a:cubicBezTo>
                <a:cubicBezTo>
                  <a:pt x="223" y="108"/>
                  <a:pt x="222" y="107"/>
                  <a:pt x="221" y="106"/>
                </a:cubicBezTo>
                <a:cubicBezTo>
                  <a:pt x="221" y="106"/>
                  <a:pt x="221" y="107"/>
                  <a:pt x="221" y="107"/>
                </a:cubicBezTo>
                <a:cubicBezTo>
                  <a:pt x="219" y="107"/>
                  <a:pt x="218" y="106"/>
                  <a:pt x="218" y="105"/>
                </a:cubicBezTo>
                <a:cubicBezTo>
                  <a:pt x="217" y="106"/>
                  <a:pt x="216" y="106"/>
                  <a:pt x="215" y="105"/>
                </a:cubicBezTo>
                <a:cubicBezTo>
                  <a:pt x="214" y="105"/>
                  <a:pt x="214" y="104"/>
                  <a:pt x="214" y="103"/>
                </a:cubicBezTo>
                <a:cubicBezTo>
                  <a:pt x="214" y="103"/>
                  <a:pt x="213" y="104"/>
                  <a:pt x="214" y="105"/>
                </a:cubicBezTo>
                <a:cubicBezTo>
                  <a:pt x="215" y="106"/>
                  <a:pt x="218" y="108"/>
                  <a:pt x="218" y="108"/>
                </a:cubicBezTo>
                <a:cubicBezTo>
                  <a:pt x="218" y="108"/>
                  <a:pt x="219" y="108"/>
                  <a:pt x="219" y="108"/>
                </a:cubicBezTo>
                <a:cubicBezTo>
                  <a:pt x="220" y="111"/>
                  <a:pt x="212" y="112"/>
                  <a:pt x="213" y="109"/>
                </a:cubicBezTo>
                <a:cubicBezTo>
                  <a:pt x="213" y="109"/>
                  <a:pt x="214" y="108"/>
                  <a:pt x="214" y="108"/>
                </a:cubicBezTo>
                <a:cubicBezTo>
                  <a:pt x="214" y="107"/>
                  <a:pt x="210" y="104"/>
                  <a:pt x="209" y="103"/>
                </a:cubicBezTo>
                <a:cubicBezTo>
                  <a:pt x="209" y="102"/>
                  <a:pt x="208" y="102"/>
                  <a:pt x="208" y="101"/>
                </a:cubicBezTo>
                <a:cubicBezTo>
                  <a:pt x="207" y="101"/>
                  <a:pt x="206" y="103"/>
                  <a:pt x="205" y="103"/>
                </a:cubicBezTo>
                <a:cubicBezTo>
                  <a:pt x="204" y="103"/>
                  <a:pt x="204" y="102"/>
                  <a:pt x="203" y="101"/>
                </a:cubicBezTo>
                <a:cubicBezTo>
                  <a:pt x="203" y="101"/>
                  <a:pt x="200" y="100"/>
                  <a:pt x="199" y="101"/>
                </a:cubicBezTo>
                <a:cubicBezTo>
                  <a:pt x="199" y="101"/>
                  <a:pt x="200" y="103"/>
                  <a:pt x="200" y="102"/>
                </a:cubicBezTo>
                <a:cubicBezTo>
                  <a:pt x="200" y="102"/>
                  <a:pt x="199" y="104"/>
                  <a:pt x="197" y="103"/>
                </a:cubicBezTo>
                <a:cubicBezTo>
                  <a:pt x="197" y="103"/>
                  <a:pt x="197" y="103"/>
                  <a:pt x="197" y="103"/>
                </a:cubicBezTo>
                <a:cubicBezTo>
                  <a:pt x="197" y="103"/>
                  <a:pt x="197" y="103"/>
                  <a:pt x="196" y="104"/>
                </a:cubicBezTo>
                <a:cubicBezTo>
                  <a:pt x="197" y="104"/>
                  <a:pt x="198" y="104"/>
                  <a:pt x="199" y="105"/>
                </a:cubicBezTo>
                <a:cubicBezTo>
                  <a:pt x="198" y="104"/>
                  <a:pt x="198" y="104"/>
                  <a:pt x="199" y="104"/>
                </a:cubicBezTo>
                <a:cubicBezTo>
                  <a:pt x="199" y="103"/>
                  <a:pt x="200" y="103"/>
                  <a:pt x="200" y="104"/>
                </a:cubicBezTo>
                <a:cubicBezTo>
                  <a:pt x="201" y="104"/>
                  <a:pt x="202" y="104"/>
                  <a:pt x="201" y="105"/>
                </a:cubicBezTo>
                <a:cubicBezTo>
                  <a:pt x="201" y="106"/>
                  <a:pt x="200" y="105"/>
                  <a:pt x="200" y="105"/>
                </a:cubicBezTo>
                <a:cubicBezTo>
                  <a:pt x="200" y="105"/>
                  <a:pt x="200" y="105"/>
                  <a:pt x="200" y="105"/>
                </a:cubicBezTo>
                <a:cubicBezTo>
                  <a:pt x="200" y="105"/>
                  <a:pt x="200" y="105"/>
                  <a:pt x="200" y="105"/>
                </a:cubicBezTo>
                <a:cubicBezTo>
                  <a:pt x="200" y="105"/>
                  <a:pt x="199" y="105"/>
                  <a:pt x="199" y="105"/>
                </a:cubicBezTo>
                <a:cubicBezTo>
                  <a:pt x="200" y="106"/>
                  <a:pt x="201" y="107"/>
                  <a:pt x="199" y="109"/>
                </a:cubicBezTo>
                <a:cubicBezTo>
                  <a:pt x="198" y="110"/>
                  <a:pt x="197" y="109"/>
                  <a:pt x="196" y="108"/>
                </a:cubicBezTo>
                <a:cubicBezTo>
                  <a:pt x="196" y="109"/>
                  <a:pt x="196" y="109"/>
                  <a:pt x="196" y="109"/>
                </a:cubicBezTo>
                <a:cubicBezTo>
                  <a:pt x="196" y="111"/>
                  <a:pt x="195" y="109"/>
                  <a:pt x="195" y="110"/>
                </a:cubicBezTo>
                <a:cubicBezTo>
                  <a:pt x="194" y="110"/>
                  <a:pt x="195" y="110"/>
                  <a:pt x="195" y="111"/>
                </a:cubicBezTo>
                <a:cubicBezTo>
                  <a:pt x="196" y="111"/>
                  <a:pt x="196" y="111"/>
                  <a:pt x="195" y="111"/>
                </a:cubicBezTo>
                <a:cubicBezTo>
                  <a:pt x="196" y="111"/>
                  <a:pt x="196" y="112"/>
                  <a:pt x="196" y="112"/>
                </a:cubicBezTo>
                <a:cubicBezTo>
                  <a:pt x="195" y="115"/>
                  <a:pt x="191" y="113"/>
                  <a:pt x="189" y="114"/>
                </a:cubicBezTo>
                <a:cubicBezTo>
                  <a:pt x="190" y="115"/>
                  <a:pt x="190" y="117"/>
                  <a:pt x="190" y="117"/>
                </a:cubicBezTo>
                <a:cubicBezTo>
                  <a:pt x="191" y="118"/>
                  <a:pt x="192" y="118"/>
                  <a:pt x="193" y="118"/>
                </a:cubicBezTo>
                <a:cubicBezTo>
                  <a:pt x="194" y="117"/>
                  <a:pt x="195" y="116"/>
                  <a:pt x="197" y="116"/>
                </a:cubicBezTo>
                <a:cubicBezTo>
                  <a:pt x="201" y="117"/>
                  <a:pt x="201" y="123"/>
                  <a:pt x="198" y="125"/>
                </a:cubicBezTo>
                <a:cubicBezTo>
                  <a:pt x="198" y="125"/>
                  <a:pt x="198" y="126"/>
                  <a:pt x="200" y="126"/>
                </a:cubicBezTo>
                <a:cubicBezTo>
                  <a:pt x="199" y="126"/>
                  <a:pt x="199" y="126"/>
                  <a:pt x="198" y="126"/>
                </a:cubicBezTo>
                <a:cubicBezTo>
                  <a:pt x="200" y="127"/>
                  <a:pt x="201" y="130"/>
                  <a:pt x="200" y="132"/>
                </a:cubicBezTo>
                <a:cubicBezTo>
                  <a:pt x="201" y="133"/>
                  <a:pt x="202" y="134"/>
                  <a:pt x="201" y="135"/>
                </a:cubicBezTo>
                <a:cubicBezTo>
                  <a:pt x="201" y="135"/>
                  <a:pt x="200" y="134"/>
                  <a:pt x="200" y="133"/>
                </a:cubicBezTo>
                <a:cubicBezTo>
                  <a:pt x="200" y="133"/>
                  <a:pt x="200" y="133"/>
                  <a:pt x="199" y="133"/>
                </a:cubicBezTo>
                <a:cubicBezTo>
                  <a:pt x="199" y="134"/>
                  <a:pt x="198" y="134"/>
                  <a:pt x="197" y="134"/>
                </a:cubicBezTo>
                <a:cubicBezTo>
                  <a:pt x="196" y="136"/>
                  <a:pt x="196" y="138"/>
                  <a:pt x="193" y="136"/>
                </a:cubicBezTo>
                <a:cubicBezTo>
                  <a:pt x="191" y="136"/>
                  <a:pt x="190" y="137"/>
                  <a:pt x="189" y="137"/>
                </a:cubicBezTo>
                <a:cubicBezTo>
                  <a:pt x="189" y="137"/>
                  <a:pt x="188" y="136"/>
                  <a:pt x="187" y="136"/>
                </a:cubicBezTo>
                <a:cubicBezTo>
                  <a:pt x="189" y="138"/>
                  <a:pt x="191" y="139"/>
                  <a:pt x="193" y="141"/>
                </a:cubicBezTo>
                <a:cubicBezTo>
                  <a:pt x="195" y="138"/>
                  <a:pt x="197" y="136"/>
                  <a:pt x="199" y="140"/>
                </a:cubicBezTo>
                <a:cubicBezTo>
                  <a:pt x="200" y="140"/>
                  <a:pt x="200" y="141"/>
                  <a:pt x="200" y="142"/>
                </a:cubicBezTo>
                <a:cubicBezTo>
                  <a:pt x="200" y="140"/>
                  <a:pt x="205" y="140"/>
                  <a:pt x="203" y="143"/>
                </a:cubicBezTo>
                <a:cubicBezTo>
                  <a:pt x="203" y="144"/>
                  <a:pt x="202" y="143"/>
                  <a:pt x="201" y="143"/>
                </a:cubicBezTo>
                <a:cubicBezTo>
                  <a:pt x="201" y="143"/>
                  <a:pt x="201" y="142"/>
                  <a:pt x="200" y="142"/>
                </a:cubicBezTo>
                <a:cubicBezTo>
                  <a:pt x="201" y="144"/>
                  <a:pt x="202" y="147"/>
                  <a:pt x="203" y="147"/>
                </a:cubicBezTo>
                <a:cubicBezTo>
                  <a:pt x="205" y="149"/>
                  <a:pt x="205" y="148"/>
                  <a:pt x="204" y="150"/>
                </a:cubicBezTo>
                <a:cubicBezTo>
                  <a:pt x="204" y="151"/>
                  <a:pt x="203" y="152"/>
                  <a:pt x="204" y="153"/>
                </a:cubicBezTo>
                <a:cubicBezTo>
                  <a:pt x="204" y="153"/>
                  <a:pt x="209" y="155"/>
                  <a:pt x="206" y="156"/>
                </a:cubicBezTo>
                <a:cubicBezTo>
                  <a:pt x="205" y="156"/>
                  <a:pt x="205" y="155"/>
                  <a:pt x="204" y="155"/>
                </a:cubicBezTo>
                <a:cubicBezTo>
                  <a:pt x="203" y="156"/>
                  <a:pt x="204" y="159"/>
                  <a:pt x="204" y="160"/>
                </a:cubicBezTo>
                <a:cubicBezTo>
                  <a:pt x="203" y="160"/>
                  <a:pt x="200" y="156"/>
                  <a:pt x="199" y="159"/>
                </a:cubicBezTo>
                <a:cubicBezTo>
                  <a:pt x="198" y="160"/>
                  <a:pt x="198" y="160"/>
                  <a:pt x="198" y="160"/>
                </a:cubicBezTo>
                <a:cubicBezTo>
                  <a:pt x="198" y="160"/>
                  <a:pt x="198" y="160"/>
                  <a:pt x="198" y="160"/>
                </a:cubicBezTo>
                <a:cubicBezTo>
                  <a:pt x="196" y="159"/>
                  <a:pt x="196" y="159"/>
                  <a:pt x="195" y="160"/>
                </a:cubicBezTo>
                <a:cubicBezTo>
                  <a:pt x="196" y="161"/>
                  <a:pt x="196" y="162"/>
                  <a:pt x="195" y="163"/>
                </a:cubicBezTo>
                <a:cubicBezTo>
                  <a:pt x="194" y="163"/>
                  <a:pt x="194" y="162"/>
                  <a:pt x="193" y="162"/>
                </a:cubicBezTo>
                <a:cubicBezTo>
                  <a:pt x="193" y="161"/>
                  <a:pt x="193" y="161"/>
                  <a:pt x="193" y="161"/>
                </a:cubicBezTo>
                <a:cubicBezTo>
                  <a:pt x="192" y="162"/>
                  <a:pt x="192" y="163"/>
                  <a:pt x="192" y="164"/>
                </a:cubicBezTo>
                <a:cubicBezTo>
                  <a:pt x="191" y="165"/>
                  <a:pt x="189" y="163"/>
                  <a:pt x="188" y="163"/>
                </a:cubicBezTo>
                <a:cubicBezTo>
                  <a:pt x="185" y="165"/>
                  <a:pt x="189" y="167"/>
                  <a:pt x="189" y="170"/>
                </a:cubicBezTo>
                <a:cubicBezTo>
                  <a:pt x="189" y="170"/>
                  <a:pt x="187" y="172"/>
                  <a:pt x="189" y="173"/>
                </a:cubicBezTo>
                <a:cubicBezTo>
                  <a:pt x="190" y="174"/>
                  <a:pt x="192" y="172"/>
                  <a:pt x="194" y="176"/>
                </a:cubicBezTo>
                <a:cubicBezTo>
                  <a:pt x="194" y="177"/>
                  <a:pt x="197" y="182"/>
                  <a:pt x="195" y="183"/>
                </a:cubicBezTo>
                <a:cubicBezTo>
                  <a:pt x="194" y="183"/>
                  <a:pt x="194" y="181"/>
                  <a:pt x="194" y="181"/>
                </a:cubicBezTo>
                <a:cubicBezTo>
                  <a:pt x="193" y="180"/>
                  <a:pt x="190" y="182"/>
                  <a:pt x="190" y="182"/>
                </a:cubicBezTo>
                <a:cubicBezTo>
                  <a:pt x="189" y="181"/>
                  <a:pt x="189" y="179"/>
                  <a:pt x="188" y="179"/>
                </a:cubicBezTo>
                <a:cubicBezTo>
                  <a:pt x="188" y="179"/>
                  <a:pt x="188" y="179"/>
                  <a:pt x="187" y="180"/>
                </a:cubicBezTo>
                <a:cubicBezTo>
                  <a:pt x="187" y="180"/>
                  <a:pt x="187" y="179"/>
                  <a:pt x="186" y="179"/>
                </a:cubicBezTo>
                <a:cubicBezTo>
                  <a:pt x="185" y="179"/>
                  <a:pt x="184" y="180"/>
                  <a:pt x="183" y="178"/>
                </a:cubicBezTo>
                <a:cubicBezTo>
                  <a:pt x="182" y="179"/>
                  <a:pt x="182" y="179"/>
                  <a:pt x="182" y="179"/>
                </a:cubicBezTo>
                <a:cubicBezTo>
                  <a:pt x="182" y="179"/>
                  <a:pt x="182" y="179"/>
                  <a:pt x="182" y="179"/>
                </a:cubicBezTo>
                <a:cubicBezTo>
                  <a:pt x="182" y="180"/>
                  <a:pt x="181" y="180"/>
                  <a:pt x="180" y="178"/>
                </a:cubicBezTo>
                <a:cubicBezTo>
                  <a:pt x="179" y="178"/>
                  <a:pt x="179" y="178"/>
                  <a:pt x="179" y="178"/>
                </a:cubicBezTo>
                <a:cubicBezTo>
                  <a:pt x="179" y="178"/>
                  <a:pt x="179" y="179"/>
                  <a:pt x="179" y="179"/>
                </a:cubicBezTo>
                <a:cubicBezTo>
                  <a:pt x="179" y="180"/>
                  <a:pt x="179" y="181"/>
                  <a:pt x="179" y="181"/>
                </a:cubicBezTo>
                <a:cubicBezTo>
                  <a:pt x="179" y="182"/>
                  <a:pt x="179" y="182"/>
                  <a:pt x="178" y="182"/>
                </a:cubicBezTo>
                <a:cubicBezTo>
                  <a:pt x="178" y="182"/>
                  <a:pt x="177" y="182"/>
                  <a:pt x="177" y="181"/>
                </a:cubicBezTo>
                <a:cubicBezTo>
                  <a:pt x="176" y="181"/>
                  <a:pt x="175" y="181"/>
                  <a:pt x="175" y="182"/>
                </a:cubicBezTo>
                <a:cubicBezTo>
                  <a:pt x="174" y="181"/>
                  <a:pt x="175" y="178"/>
                  <a:pt x="173" y="176"/>
                </a:cubicBezTo>
                <a:cubicBezTo>
                  <a:pt x="174" y="177"/>
                  <a:pt x="176" y="176"/>
                  <a:pt x="174" y="174"/>
                </a:cubicBezTo>
                <a:cubicBezTo>
                  <a:pt x="173" y="173"/>
                  <a:pt x="173" y="175"/>
                  <a:pt x="173" y="175"/>
                </a:cubicBezTo>
                <a:cubicBezTo>
                  <a:pt x="173" y="175"/>
                  <a:pt x="172" y="174"/>
                  <a:pt x="171" y="174"/>
                </a:cubicBezTo>
                <a:cubicBezTo>
                  <a:pt x="171" y="175"/>
                  <a:pt x="171" y="175"/>
                  <a:pt x="171" y="175"/>
                </a:cubicBezTo>
                <a:cubicBezTo>
                  <a:pt x="172" y="177"/>
                  <a:pt x="173" y="179"/>
                  <a:pt x="172" y="181"/>
                </a:cubicBezTo>
                <a:cubicBezTo>
                  <a:pt x="172" y="181"/>
                  <a:pt x="172" y="181"/>
                  <a:pt x="173" y="181"/>
                </a:cubicBezTo>
                <a:cubicBezTo>
                  <a:pt x="173" y="181"/>
                  <a:pt x="173" y="180"/>
                  <a:pt x="173" y="180"/>
                </a:cubicBezTo>
                <a:cubicBezTo>
                  <a:pt x="174" y="181"/>
                  <a:pt x="173" y="181"/>
                  <a:pt x="172" y="181"/>
                </a:cubicBezTo>
                <a:cubicBezTo>
                  <a:pt x="172" y="182"/>
                  <a:pt x="171" y="182"/>
                  <a:pt x="170" y="182"/>
                </a:cubicBezTo>
                <a:cubicBezTo>
                  <a:pt x="168" y="182"/>
                  <a:pt x="167" y="180"/>
                  <a:pt x="166" y="177"/>
                </a:cubicBezTo>
                <a:cubicBezTo>
                  <a:pt x="166" y="177"/>
                  <a:pt x="165" y="178"/>
                  <a:pt x="164" y="178"/>
                </a:cubicBezTo>
                <a:cubicBezTo>
                  <a:pt x="162" y="177"/>
                  <a:pt x="161" y="174"/>
                  <a:pt x="160" y="175"/>
                </a:cubicBezTo>
                <a:cubicBezTo>
                  <a:pt x="160" y="173"/>
                  <a:pt x="159" y="171"/>
                  <a:pt x="160" y="170"/>
                </a:cubicBezTo>
                <a:cubicBezTo>
                  <a:pt x="161" y="167"/>
                  <a:pt x="162" y="168"/>
                  <a:pt x="160" y="164"/>
                </a:cubicBezTo>
                <a:cubicBezTo>
                  <a:pt x="160" y="164"/>
                  <a:pt x="160" y="163"/>
                  <a:pt x="160" y="162"/>
                </a:cubicBezTo>
                <a:cubicBezTo>
                  <a:pt x="159" y="159"/>
                  <a:pt x="159" y="160"/>
                  <a:pt x="156" y="161"/>
                </a:cubicBezTo>
                <a:cubicBezTo>
                  <a:pt x="158" y="159"/>
                  <a:pt x="156" y="160"/>
                  <a:pt x="155" y="162"/>
                </a:cubicBezTo>
                <a:cubicBezTo>
                  <a:pt x="155" y="162"/>
                  <a:pt x="156" y="162"/>
                  <a:pt x="156" y="162"/>
                </a:cubicBezTo>
                <a:cubicBezTo>
                  <a:pt x="156" y="162"/>
                  <a:pt x="155" y="162"/>
                  <a:pt x="155" y="162"/>
                </a:cubicBezTo>
                <a:cubicBezTo>
                  <a:pt x="155" y="163"/>
                  <a:pt x="155" y="163"/>
                  <a:pt x="155" y="163"/>
                </a:cubicBezTo>
                <a:cubicBezTo>
                  <a:pt x="155" y="163"/>
                  <a:pt x="158" y="164"/>
                  <a:pt x="156" y="165"/>
                </a:cubicBezTo>
                <a:cubicBezTo>
                  <a:pt x="156" y="166"/>
                  <a:pt x="152" y="162"/>
                  <a:pt x="152" y="166"/>
                </a:cubicBezTo>
                <a:cubicBezTo>
                  <a:pt x="150" y="160"/>
                  <a:pt x="148" y="168"/>
                  <a:pt x="147" y="171"/>
                </a:cubicBezTo>
                <a:cubicBezTo>
                  <a:pt x="146" y="172"/>
                  <a:pt x="144" y="172"/>
                  <a:pt x="143" y="173"/>
                </a:cubicBezTo>
                <a:cubicBezTo>
                  <a:pt x="142" y="174"/>
                  <a:pt x="142" y="174"/>
                  <a:pt x="141" y="174"/>
                </a:cubicBezTo>
                <a:cubicBezTo>
                  <a:pt x="141" y="174"/>
                  <a:pt x="141" y="174"/>
                  <a:pt x="141" y="174"/>
                </a:cubicBezTo>
                <a:cubicBezTo>
                  <a:pt x="140" y="175"/>
                  <a:pt x="140" y="175"/>
                  <a:pt x="139" y="176"/>
                </a:cubicBezTo>
                <a:cubicBezTo>
                  <a:pt x="140" y="176"/>
                  <a:pt x="140" y="177"/>
                  <a:pt x="139" y="177"/>
                </a:cubicBezTo>
                <a:cubicBezTo>
                  <a:pt x="140" y="177"/>
                  <a:pt x="140" y="177"/>
                  <a:pt x="140" y="178"/>
                </a:cubicBezTo>
                <a:cubicBezTo>
                  <a:pt x="141" y="178"/>
                  <a:pt x="142" y="179"/>
                  <a:pt x="142" y="181"/>
                </a:cubicBezTo>
                <a:cubicBezTo>
                  <a:pt x="143" y="182"/>
                  <a:pt x="142" y="183"/>
                  <a:pt x="141" y="183"/>
                </a:cubicBezTo>
                <a:cubicBezTo>
                  <a:pt x="141" y="184"/>
                  <a:pt x="142" y="185"/>
                  <a:pt x="142" y="186"/>
                </a:cubicBezTo>
                <a:cubicBezTo>
                  <a:pt x="141" y="187"/>
                  <a:pt x="141" y="185"/>
                  <a:pt x="140" y="184"/>
                </a:cubicBezTo>
                <a:cubicBezTo>
                  <a:pt x="139" y="184"/>
                  <a:pt x="138" y="184"/>
                  <a:pt x="138" y="183"/>
                </a:cubicBezTo>
                <a:cubicBezTo>
                  <a:pt x="138" y="184"/>
                  <a:pt x="138" y="187"/>
                  <a:pt x="138" y="187"/>
                </a:cubicBezTo>
                <a:cubicBezTo>
                  <a:pt x="138" y="187"/>
                  <a:pt x="138" y="187"/>
                  <a:pt x="138" y="188"/>
                </a:cubicBezTo>
                <a:cubicBezTo>
                  <a:pt x="139" y="186"/>
                  <a:pt x="139" y="185"/>
                  <a:pt x="139" y="185"/>
                </a:cubicBezTo>
                <a:cubicBezTo>
                  <a:pt x="139" y="186"/>
                  <a:pt x="139" y="187"/>
                  <a:pt x="139" y="189"/>
                </a:cubicBezTo>
                <a:cubicBezTo>
                  <a:pt x="140" y="189"/>
                  <a:pt x="140" y="189"/>
                  <a:pt x="140" y="189"/>
                </a:cubicBezTo>
                <a:cubicBezTo>
                  <a:pt x="140" y="188"/>
                  <a:pt x="142" y="189"/>
                  <a:pt x="142" y="191"/>
                </a:cubicBezTo>
                <a:cubicBezTo>
                  <a:pt x="143" y="191"/>
                  <a:pt x="143" y="192"/>
                  <a:pt x="142" y="193"/>
                </a:cubicBezTo>
                <a:cubicBezTo>
                  <a:pt x="142" y="193"/>
                  <a:pt x="141" y="192"/>
                  <a:pt x="141" y="192"/>
                </a:cubicBezTo>
                <a:cubicBezTo>
                  <a:pt x="140" y="192"/>
                  <a:pt x="139" y="193"/>
                  <a:pt x="140" y="192"/>
                </a:cubicBezTo>
                <a:cubicBezTo>
                  <a:pt x="140" y="192"/>
                  <a:pt x="140" y="191"/>
                  <a:pt x="140" y="191"/>
                </a:cubicBezTo>
                <a:cubicBezTo>
                  <a:pt x="140" y="191"/>
                  <a:pt x="140" y="191"/>
                  <a:pt x="140" y="191"/>
                </a:cubicBezTo>
                <a:cubicBezTo>
                  <a:pt x="140" y="191"/>
                  <a:pt x="140" y="190"/>
                  <a:pt x="139" y="190"/>
                </a:cubicBezTo>
                <a:cubicBezTo>
                  <a:pt x="139" y="191"/>
                  <a:pt x="139" y="192"/>
                  <a:pt x="138" y="192"/>
                </a:cubicBezTo>
                <a:cubicBezTo>
                  <a:pt x="138" y="192"/>
                  <a:pt x="138" y="191"/>
                  <a:pt x="138" y="190"/>
                </a:cubicBezTo>
                <a:cubicBezTo>
                  <a:pt x="138" y="190"/>
                  <a:pt x="137" y="190"/>
                  <a:pt x="137" y="191"/>
                </a:cubicBezTo>
                <a:cubicBezTo>
                  <a:pt x="137" y="192"/>
                  <a:pt x="138" y="192"/>
                  <a:pt x="138" y="193"/>
                </a:cubicBezTo>
                <a:cubicBezTo>
                  <a:pt x="138" y="194"/>
                  <a:pt x="134" y="195"/>
                  <a:pt x="137" y="197"/>
                </a:cubicBezTo>
                <a:cubicBezTo>
                  <a:pt x="137" y="197"/>
                  <a:pt x="138" y="196"/>
                  <a:pt x="138" y="196"/>
                </a:cubicBezTo>
                <a:cubicBezTo>
                  <a:pt x="138" y="196"/>
                  <a:pt x="138" y="196"/>
                  <a:pt x="138" y="196"/>
                </a:cubicBezTo>
                <a:cubicBezTo>
                  <a:pt x="138" y="196"/>
                  <a:pt x="138" y="195"/>
                  <a:pt x="138" y="195"/>
                </a:cubicBezTo>
                <a:cubicBezTo>
                  <a:pt x="139" y="194"/>
                  <a:pt x="140" y="195"/>
                  <a:pt x="139" y="196"/>
                </a:cubicBezTo>
                <a:cubicBezTo>
                  <a:pt x="139" y="196"/>
                  <a:pt x="139" y="196"/>
                  <a:pt x="139" y="196"/>
                </a:cubicBezTo>
                <a:cubicBezTo>
                  <a:pt x="140" y="197"/>
                  <a:pt x="138" y="201"/>
                  <a:pt x="139" y="202"/>
                </a:cubicBezTo>
                <a:cubicBezTo>
                  <a:pt x="138" y="200"/>
                  <a:pt x="137" y="202"/>
                  <a:pt x="136" y="203"/>
                </a:cubicBezTo>
                <a:cubicBezTo>
                  <a:pt x="137" y="205"/>
                  <a:pt x="138" y="207"/>
                  <a:pt x="139" y="208"/>
                </a:cubicBezTo>
                <a:cubicBezTo>
                  <a:pt x="138" y="207"/>
                  <a:pt x="136" y="205"/>
                  <a:pt x="136" y="203"/>
                </a:cubicBezTo>
                <a:cubicBezTo>
                  <a:pt x="135" y="204"/>
                  <a:pt x="134" y="205"/>
                  <a:pt x="134" y="204"/>
                </a:cubicBezTo>
                <a:cubicBezTo>
                  <a:pt x="132" y="203"/>
                  <a:pt x="133" y="199"/>
                  <a:pt x="131" y="198"/>
                </a:cubicBezTo>
                <a:cubicBezTo>
                  <a:pt x="130" y="198"/>
                  <a:pt x="131" y="199"/>
                  <a:pt x="131" y="199"/>
                </a:cubicBezTo>
                <a:cubicBezTo>
                  <a:pt x="129" y="199"/>
                  <a:pt x="128" y="197"/>
                  <a:pt x="127" y="200"/>
                </a:cubicBezTo>
                <a:cubicBezTo>
                  <a:pt x="127" y="200"/>
                  <a:pt x="126" y="205"/>
                  <a:pt x="127" y="207"/>
                </a:cubicBezTo>
                <a:cubicBezTo>
                  <a:pt x="127" y="210"/>
                  <a:pt x="127" y="211"/>
                  <a:pt x="126" y="214"/>
                </a:cubicBezTo>
                <a:cubicBezTo>
                  <a:pt x="126" y="211"/>
                  <a:pt x="123" y="210"/>
                  <a:pt x="123" y="207"/>
                </a:cubicBezTo>
                <a:cubicBezTo>
                  <a:pt x="122" y="203"/>
                  <a:pt x="125" y="199"/>
                  <a:pt x="124" y="197"/>
                </a:cubicBezTo>
                <a:cubicBezTo>
                  <a:pt x="124" y="197"/>
                  <a:pt x="120" y="193"/>
                  <a:pt x="120" y="193"/>
                </a:cubicBezTo>
                <a:cubicBezTo>
                  <a:pt x="120" y="192"/>
                  <a:pt x="121" y="191"/>
                  <a:pt x="120" y="190"/>
                </a:cubicBezTo>
                <a:cubicBezTo>
                  <a:pt x="120" y="191"/>
                  <a:pt x="120" y="191"/>
                  <a:pt x="119" y="192"/>
                </a:cubicBezTo>
                <a:cubicBezTo>
                  <a:pt x="120" y="192"/>
                  <a:pt x="120" y="192"/>
                  <a:pt x="120" y="192"/>
                </a:cubicBezTo>
                <a:cubicBezTo>
                  <a:pt x="120" y="193"/>
                  <a:pt x="121" y="194"/>
                  <a:pt x="121" y="195"/>
                </a:cubicBezTo>
                <a:cubicBezTo>
                  <a:pt x="121" y="195"/>
                  <a:pt x="121" y="195"/>
                  <a:pt x="121" y="195"/>
                </a:cubicBezTo>
                <a:cubicBezTo>
                  <a:pt x="121" y="195"/>
                  <a:pt x="121" y="195"/>
                  <a:pt x="121" y="195"/>
                </a:cubicBezTo>
                <a:cubicBezTo>
                  <a:pt x="121" y="197"/>
                  <a:pt x="121" y="198"/>
                  <a:pt x="120" y="198"/>
                </a:cubicBezTo>
                <a:cubicBezTo>
                  <a:pt x="120" y="198"/>
                  <a:pt x="119" y="198"/>
                  <a:pt x="119" y="198"/>
                </a:cubicBezTo>
                <a:cubicBezTo>
                  <a:pt x="118" y="198"/>
                  <a:pt x="117" y="197"/>
                  <a:pt x="117" y="196"/>
                </a:cubicBezTo>
                <a:cubicBezTo>
                  <a:pt x="116" y="195"/>
                  <a:pt x="117" y="192"/>
                  <a:pt x="118" y="192"/>
                </a:cubicBezTo>
                <a:cubicBezTo>
                  <a:pt x="118" y="192"/>
                  <a:pt x="118" y="192"/>
                  <a:pt x="118" y="192"/>
                </a:cubicBezTo>
                <a:cubicBezTo>
                  <a:pt x="117" y="192"/>
                  <a:pt x="117" y="190"/>
                  <a:pt x="117" y="189"/>
                </a:cubicBezTo>
                <a:cubicBezTo>
                  <a:pt x="116" y="189"/>
                  <a:pt x="116" y="189"/>
                  <a:pt x="116" y="190"/>
                </a:cubicBezTo>
                <a:cubicBezTo>
                  <a:pt x="116" y="190"/>
                  <a:pt x="116" y="190"/>
                  <a:pt x="116" y="190"/>
                </a:cubicBezTo>
                <a:cubicBezTo>
                  <a:pt x="116" y="191"/>
                  <a:pt x="116" y="191"/>
                  <a:pt x="115" y="190"/>
                </a:cubicBezTo>
                <a:cubicBezTo>
                  <a:pt x="114" y="192"/>
                  <a:pt x="114" y="194"/>
                  <a:pt x="113" y="196"/>
                </a:cubicBezTo>
                <a:cubicBezTo>
                  <a:pt x="112" y="194"/>
                  <a:pt x="112" y="194"/>
                  <a:pt x="111" y="194"/>
                </a:cubicBezTo>
                <a:cubicBezTo>
                  <a:pt x="112" y="196"/>
                  <a:pt x="112" y="199"/>
                  <a:pt x="110" y="197"/>
                </a:cubicBezTo>
                <a:cubicBezTo>
                  <a:pt x="110" y="197"/>
                  <a:pt x="110" y="196"/>
                  <a:pt x="110" y="196"/>
                </a:cubicBezTo>
                <a:cubicBezTo>
                  <a:pt x="109" y="197"/>
                  <a:pt x="109" y="197"/>
                  <a:pt x="108" y="197"/>
                </a:cubicBezTo>
                <a:cubicBezTo>
                  <a:pt x="110" y="200"/>
                  <a:pt x="111" y="202"/>
                  <a:pt x="112" y="205"/>
                </a:cubicBezTo>
                <a:cubicBezTo>
                  <a:pt x="113" y="208"/>
                  <a:pt x="109" y="203"/>
                  <a:pt x="109" y="202"/>
                </a:cubicBezTo>
                <a:cubicBezTo>
                  <a:pt x="108" y="201"/>
                  <a:pt x="108" y="199"/>
                  <a:pt x="107" y="197"/>
                </a:cubicBezTo>
                <a:cubicBezTo>
                  <a:pt x="107" y="197"/>
                  <a:pt x="106" y="196"/>
                  <a:pt x="106" y="196"/>
                </a:cubicBezTo>
                <a:cubicBezTo>
                  <a:pt x="106" y="196"/>
                  <a:pt x="106" y="195"/>
                  <a:pt x="106" y="194"/>
                </a:cubicBezTo>
                <a:cubicBezTo>
                  <a:pt x="105" y="193"/>
                  <a:pt x="104" y="192"/>
                  <a:pt x="103" y="191"/>
                </a:cubicBezTo>
                <a:cubicBezTo>
                  <a:pt x="102" y="190"/>
                  <a:pt x="101" y="189"/>
                  <a:pt x="100" y="190"/>
                </a:cubicBezTo>
                <a:cubicBezTo>
                  <a:pt x="100" y="190"/>
                  <a:pt x="100" y="191"/>
                  <a:pt x="99" y="191"/>
                </a:cubicBezTo>
                <a:cubicBezTo>
                  <a:pt x="99" y="191"/>
                  <a:pt x="99" y="191"/>
                  <a:pt x="99" y="191"/>
                </a:cubicBezTo>
                <a:cubicBezTo>
                  <a:pt x="99" y="192"/>
                  <a:pt x="99" y="192"/>
                  <a:pt x="99" y="192"/>
                </a:cubicBezTo>
                <a:cubicBezTo>
                  <a:pt x="99" y="193"/>
                  <a:pt x="99" y="195"/>
                  <a:pt x="98" y="194"/>
                </a:cubicBezTo>
                <a:cubicBezTo>
                  <a:pt x="98" y="195"/>
                  <a:pt x="98" y="195"/>
                  <a:pt x="98" y="195"/>
                </a:cubicBezTo>
                <a:cubicBezTo>
                  <a:pt x="96" y="195"/>
                  <a:pt x="96" y="194"/>
                  <a:pt x="95" y="192"/>
                </a:cubicBezTo>
                <a:cubicBezTo>
                  <a:pt x="94" y="192"/>
                  <a:pt x="94" y="192"/>
                  <a:pt x="93" y="192"/>
                </a:cubicBezTo>
                <a:cubicBezTo>
                  <a:pt x="93" y="192"/>
                  <a:pt x="93" y="191"/>
                  <a:pt x="93" y="191"/>
                </a:cubicBezTo>
                <a:cubicBezTo>
                  <a:pt x="92" y="193"/>
                  <a:pt x="92" y="194"/>
                  <a:pt x="92" y="196"/>
                </a:cubicBezTo>
                <a:cubicBezTo>
                  <a:pt x="92" y="197"/>
                  <a:pt x="92" y="199"/>
                  <a:pt x="91" y="199"/>
                </a:cubicBezTo>
                <a:cubicBezTo>
                  <a:pt x="91" y="200"/>
                  <a:pt x="90" y="201"/>
                  <a:pt x="89" y="201"/>
                </a:cubicBezTo>
                <a:cubicBezTo>
                  <a:pt x="90" y="202"/>
                  <a:pt x="90" y="202"/>
                  <a:pt x="89" y="203"/>
                </a:cubicBezTo>
                <a:cubicBezTo>
                  <a:pt x="88" y="204"/>
                  <a:pt x="86" y="205"/>
                  <a:pt x="85" y="203"/>
                </a:cubicBezTo>
                <a:cubicBezTo>
                  <a:pt x="85" y="203"/>
                  <a:pt x="85" y="203"/>
                  <a:pt x="85" y="203"/>
                </a:cubicBezTo>
                <a:cubicBezTo>
                  <a:pt x="85" y="203"/>
                  <a:pt x="84" y="203"/>
                  <a:pt x="84" y="203"/>
                </a:cubicBezTo>
                <a:cubicBezTo>
                  <a:pt x="84" y="204"/>
                  <a:pt x="85" y="205"/>
                  <a:pt x="84" y="206"/>
                </a:cubicBezTo>
                <a:cubicBezTo>
                  <a:pt x="85" y="206"/>
                  <a:pt x="86" y="207"/>
                  <a:pt x="86" y="207"/>
                </a:cubicBezTo>
                <a:cubicBezTo>
                  <a:pt x="87" y="207"/>
                  <a:pt x="87" y="209"/>
                  <a:pt x="88" y="210"/>
                </a:cubicBezTo>
                <a:cubicBezTo>
                  <a:pt x="90" y="211"/>
                  <a:pt x="90" y="212"/>
                  <a:pt x="91" y="213"/>
                </a:cubicBezTo>
                <a:cubicBezTo>
                  <a:pt x="91" y="214"/>
                  <a:pt x="92" y="213"/>
                  <a:pt x="92" y="213"/>
                </a:cubicBezTo>
                <a:cubicBezTo>
                  <a:pt x="92" y="215"/>
                  <a:pt x="91" y="216"/>
                  <a:pt x="92" y="216"/>
                </a:cubicBezTo>
                <a:cubicBezTo>
                  <a:pt x="92" y="216"/>
                  <a:pt x="92" y="217"/>
                  <a:pt x="92" y="217"/>
                </a:cubicBezTo>
                <a:cubicBezTo>
                  <a:pt x="92" y="217"/>
                  <a:pt x="92" y="217"/>
                  <a:pt x="92" y="217"/>
                </a:cubicBezTo>
                <a:cubicBezTo>
                  <a:pt x="92" y="217"/>
                  <a:pt x="92" y="217"/>
                  <a:pt x="92" y="218"/>
                </a:cubicBezTo>
                <a:cubicBezTo>
                  <a:pt x="92" y="219"/>
                  <a:pt x="93" y="219"/>
                  <a:pt x="93" y="220"/>
                </a:cubicBezTo>
                <a:cubicBezTo>
                  <a:pt x="93" y="220"/>
                  <a:pt x="92" y="219"/>
                  <a:pt x="92" y="219"/>
                </a:cubicBezTo>
                <a:cubicBezTo>
                  <a:pt x="90" y="221"/>
                  <a:pt x="87" y="226"/>
                  <a:pt x="86" y="226"/>
                </a:cubicBezTo>
                <a:cubicBezTo>
                  <a:pt x="84" y="226"/>
                  <a:pt x="83" y="222"/>
                  <a:pt x="81" y="220"/>
                </a:cubicBezTo>
                <a:cubicBezTo>
                  <a:pt x="80" y="220"/>
                  <a:pt x="79" y="222"/>
                  <a:pt x="78" y="221"/>
                </a:cubicBezTo>
                <a:cubicBezTo>
                  <a:pt x="77" y="219"/>
                  <a:pt x="79" y="219"/>
                  <a:pt x="80" y="218"/>
                </a:cubicBezTo>
                <a:cubicBezTo>
                  <a:pt x="80" y="217"/>
                  <a:pt x="80" y="213"/>
                  <a:pt x="80" y="210"/>
                </a:cubicBezTo>
                <a:cubicBezTo>
                  <a:pt x="80" y="209"/>
                  <a:pt x="81" y="208"/>
                  <a:pt x="81" y="207"/>
                </a:cubicBezTo>
                <a:cubicBezTo>
                  <a:pt x="80" y="206"/>
                  <a:pt x="79" y="202"/>
                  <a:pt x="79" y="201"/>
                </a:cubicBezTo>
                <a:cubicBezTo>
                  <a:pt x="78" y="201"/>
                  <a:pt x="78" y="203"/>
                  <a:pt x="77" y="203"/>
                </a:cubicBezTo>
                <a:cubicBezTo>
                  <a:pt x="77" y="202"/>
                  <a:pt x="78" y="201"/>
                  <a:pt x="78" y="200"/>
                </a:cubicBezTo>
                <a:cubicBezTo>
                  <a:pt x="77" y="198"/>
                  <a:pt x="76" y="194"/>
                  <a:pt x="76" y="192"/>
                </a:cubicBezTo>
                <a:cubicBezTo>
                  <a:pt x="75" y="192"/>
                  <a:pt x="74" y="192"/>
                  <a:pt x="74" y="193"/>
                </a:cubicBezTo>
                <a:cubicBezTo>
                  <a:pt x="74" y="194"/>
                  <a:pt x="75" y="194"/>
                  <a:pt x="75" y="194"/>
                </a:cubicBezTo>
                <a:cubicBezTo>
                  <a:pt x="75" y="194"/>
                  <a:pt x="74" y="197"/>
                  <a:pt x="73" y="200"/>
                </a:cubicBezTo>
                <a:cubicBezTo>
                  <a:pt x="73" y="201"/>
                  <a:pt x="73" y="201"/>
                  <a:pt x="72" y="202"/>
                </a:cubicBezTo>
                <a:cubicBezTo>
                  <a:pt x="72" y="202"/>
                  <a:pt x="72" y="202"/>
                  <a:pt x="72" y="202"/>
                </a:cubicBezTo>
                <a:cubicBezTo>
                  <a:pt x="72" y="202"/>
                  <a:pt x="72" y="202"/>
                  <a:pt x="72" y="202"/>
                </a:cubicBezTo>
                <a:cubicBezTo>
                  <a:pt x="71" y="202"/>
                  <a:pt x="70" y="202"/>
                  <a:pt x="70" y="202"/>
                </a:cubicBezTo>
                <a:cubicBezTo>
                  <a:pt x="68" y="205"/>
                  <a:pt x="70" y="208"/>
                  <a:pt x="69" y="210"/>
                </a:cubicBezTo>
                <a:cubicBezTo>
                  <a:pt x="69" y="210"/>
                  <a:pt x="69" y="211"/>
                  <a:pt x="69" y="212"/>
                </a:cubicBezTo>
                <a:cubicBezTo>
                  <a:pt x="69" y="212"/>
                  <a:pt x="69" y="212"/>
                  <a:pt x="69" y="212"/>
                </a:cubicBezTo>
                <a:cubicBezTo>
                  <a:pt x="70" y="212"/>
                  <a:pt x="73" y="217"/>
                  <a:pt x="71" y="218"/>
                </a:cubicBezTo>
                <a:cubicBezTo>
                  <a:pt x="70" y="219"/>
                  <a:pt x="68" y="218"/>
                  <a:pt x="67" y="216"/>
                </a:cubicBezTo>
                <a:cubicBezTo>
                  <a:pt x="67" y="216"/>
                  <a:pt x="67" y="216"/>
                  <a:pt x="67" y="216"/>
                </a:cubicBezTo>
                <a:cubicBezTo>
                  <a:pt x="66" y="216"/>
                  <a:pt x="66" y="216"/>
                  <a:pt x="66" y="216"/>
                </a:cubicBezTo>
                <a:cubicBezTo>
                  <a:pt x="66" y="216"/>
                  <a:pt x="66" y="216"/>
                  <a:pt x="66" y="216"/>
                </a:cubicBezTo>
                <a:cubicBezTo>
                  <a:pt x="66" y="216"/>
                  <a:pt x="66" y="216"/>
                  <a:pt x="66" y="216"/>
                </a:cubicBezTo>
                <a:cubicBezTo>
                  <a:pt x="66" y="217"/>
                  <a:pt x="66" y="219"/>
                  <a:pt x="66" y="219"/>
                </a:cubicBezTo>
                <a:cubicBezTo>
                  <a:pt x="66" y="219"/>
                  <a:pt x="66" y="219"/>
                  <a:pt x="66" y="220"/>
                </a:cubicBezTo>
                <a:cubicBezTo>
                  <a:pt x="67" y="220"/>
                  <a:pt x="68" y="220"/>
                  <a:pt x="68" y="220"/>
                </a:cubicBezTo>
                <a:cubicBezTo>
                  <a:pt x="70" y="221"/>
                  <a:pt x="70" y="224"/>
                  <a:pt x="72" y="226"/>
                </a:cubicBezTo>
                <a:cubicBezTo>
                  <a:pt x="73" y="227"/>
                  <a:pt x="76" y="230"/>
                  <a:pt x="76" y="231"/>
                </a:cubicBezTo>
                <a:cubicBezTo>
                  <a:pt x="76" y="232"/>
                  <a:pt x="74" y="233"/>
                  <a:pt x="73" y="233"/>
                </a:cubicBezTo>
                <a:cubicBezTo>
                  <a:pt x="73" y="234"/>
                  <a:pt x="74" y="234"/>
                  <a:pt x="74" y="234"/>
                </a:cubicBezTo>
                <a:cubicBezTo>
                  <a:pt x="75" y="235"/>
                  <a:pt x="74" y="236"/>
                  <a:pt x="73" y="237"/>
                </a:cubicBezTo>
                <a:cubicBezTo>
                  <a:pt x="73" y="238"/>
                  <a:pt x="73" y="239"/>
                  <a:pt x="72" y="239"/>
                </a:cubicBezTo>
                <a:cubicBezTo>
                  <a:pt x="72" y="239"/>
                  <a:pt x="71" y="238"/>
                  <a:pt x="70" y="237"/>
                </a:cubicBezTo>
                <a:cubicBezTo>
                  <a:pt x="69" y="236"/>
                  <a:pt x="68" y="235"/>
                  <a:pt x="70" y="234"/>
                </a:cubicBezTo>
                <a:cubicBezTo>
                  <a:pt x="70" y="233"/>
                  <a:pt x="70" y="233"/>
                  <a:pt x="68" y="234"/>
                </a:cubicBezTo>
                <a:cubicBezTo>
                  <a:pt x="68" y="235"/>
                  <a:pt x="68" y="236"/>
                  <a:pt x="67" y="236"/>
                </a:cubicBezTo>
                <a:cubicBezTo>
                  <a:pt x="66" y="236"/>
                  <a:pt x="65" y="235"/>
                  <a:pt x="65" y="234"/>
                </a:cubicBezTo>
                <a:cubicBezTo>
                  <a:pt x="64" y="235"/>
                  <a:pt x="63" y="237"/>
                  <a:pt x="62" y="237"/>
                </a:cubicBezTo>
                <a:cubicBezTo>
                  <a:pt x="62" y="237"/>
                  <a:pt x="59" y="236"/>
                  <a:pt x="58" y="235"/>
                </a:cubicBezTo>
                <a:cubicBezTo>
                  <a:pt x="58" y="234"/>
                  <a:pt x="57" y="231"/>
                  <a:pt x="57" y="231"/>
                </a:cubicBezTo>
                <a:cubicBezTo>
                  <a:pt x="56" y="231"/>
                  <a:pt x="56" y="232"/>
                  <a:pt x="56" y="233"/>
                </a:cubicBezTo>
                <a:cubicBezTo>
                  <a:pt x="56" y="233"/>
                  <a:pt x="57" y="233"/>
                  <a:pt x="57" y="233"/>
                </a:cubicBezTo>
                <a:cubicBezTo>
                  <a:pt x="57" y="233"/>
                  <a:pt x="57" y="233"/>
                  <a:pt x="57" y="233"/>
                </a:cubicBezTo>
                <a:cubicBezTo>
                  <a:pt x="57" y="233"/>
                  <a:pt x="57" y="233"/>
                  <a:pt x="57" y="233"/>
                </a:cubicBezTo>
                <a:cubicBezTo>
                  <a:pt x="57" y="234"/>
                  <a:pt x="58" y="235"/>
                  <a:pt x="57" y="236"/>
                </a:cubicBezTo>
                <a:cubicBezTo>
                  <a:pt x="57" y="236"/>
                  <a:pt x="57" y="236"/>
                  <a:pt x="56" y="236"/>
                </a:cubicBezTo>
                <a:cubicBezTo>
                  <a:pt x="56" y="236"/>
                  <a:pt x="56" y="237"/>
                  <a:pt x="56" y="237"/>
                </a:cubicBezTo>
                <a:cubicBezTo>
                  <a:pt x="56" y="237"/>
                  <a:pt x="56" y="237"/>
                  <a:pt x="55" y="236"/>
                </a:cubicBezTo>
                <a:cubicBezTo>
                  <a:pt x="55" y="236"/>
                  <a:pt x="55" y="237"/>
                  <a:pt x="55" y="237"/>
                </a:cubicBezTo>
                <a:cubicBezTo>
                  <a:pt x="54" y="236"/>
                  <a:pt x="54" y="233"/>
                  <a:pt x="55" y="233"/>
                </a:cubicBezTo>
                <a:cubicBezTo>
                  <a:pt x="55" y="232"/>
                  <a:pt x="55" y="230"/>
                  <a:pt x="56" y="230"/>
                </a:cubicBezTo>
                <a:cubicBezTo>
                  <a:pt x="56" y="230"/>
                  <a:pt x="57" y="231"/>
                  <a:pt x="57" y="231"/>
                </a:cubicBezTo>
                <a:cubicBezTo>
                  <a:pt x="58" y="230"/>
                  <a:pt x="57" y="229"/>
                  <a:pt x="57" y="229"/>
                </a:cubicBezTo>
                <a:cubicBezTo>
                  <a:pt x="57" y="228"/>
                  <a:pt x="58" y="227"/>
                  <a:pt x="58" y="226"/>
                </a:cubicBezTo>
                <a:cubicBezTo>
                  <a:pt x="58" y="225"/>
                  <a:pt x="58" y="224"/>
                  <a:pt x="59" y="224"/>
                </a:cubicBezTo>
                <a:cubicBezTo>
                  <a:pt x="60" y="223"/>
                  <a:pt x="60" y="224"/>
                  <a:pt x="60" y="225"/>
                </a:cubicBezTo>
                <a:cubicBezTo>
                  <a:pt x="61" y="225"/>
                  <a:pt x="61" y="225"/>
                  <a:pt x="61" y="225"/>
                </a:cubicBezTo>
                <a:cubicBezTo>
                  <a:pt x="61" y="224"/>
                  <a:pt x="61" y="222"/>
                  <a:pt x="62" y="221"/>
                </a:cubicBezTo>
                <a:cubicBezTo>
                  <a:pt x="62" y="221"/>
                  <a:pt x="62" y="222"/>
                  <a:pt x="63" y="222"/>
                </a:cubicBezTo>
                <a:cubicBezTo>
                  <a:pt x="62" y="220"/>
                  <a:pt x="62" y="219"/>
                  <a:pt x="61" y="218"/>
                </a:cubicBezTo>
                <a:cubicBezTo>
                  <a:pt x="61" y="218"/>
                  <a:pt x="61" y="217"/>
                  <a:pt x="61" y="217"/>
                </a:cubicBezTo>
                <a:cubicBezTo>
                  <a:pt x="60" y="218"/>
                  <a:pt x="60" y="218"/>
                  <a:pt x="59" y="218"/>
                </a:cubicBezTo>
                <a:cubicBezTo>
                  <a:pt x="57" y="219"/>
                  <a:pt x="58" y="213"/>
                  <a:pt x="60" y="216"/>
                </a:cubicBezTo>
                <a:cubicBezTo>
                  <a:pt x="60" y="216"/>
                  <a:pt x="60" y="216"/>
                  <a:pt x="60" y="215"/>
                </a:cubicBezTo>
                <a:cubicBezTo>
                  <a:pt x="60" y="214"/>
                  <a:pt x="59" y="212"/>
                  <a:pt x="58" y="213"/>
                </a:cubicBezTo>
                <a:cubicBezTo>
                  <a:pt x="57" y="213"/>
                  <a:pt x="58" y="216"/>
                  <a:pt x="57" y="216"/>
                </a:cubicBezTo>
                <a:cubicBezTo>
                  <a:pt x="56" y="217"/>
                  <a:pt x="54" y="213"/>
                  <a:pt x="54" y="213"/>
                </a:cubicBezTo>
                <a:cubicBezTo>
                  <a:pt x="54" y="213"/>
                  <a:pt x="53" y="213"/>
                  <a:pt x="53" y="213"/>
                </a:cubicBezTo>
                <a:cubicBezTo>
                  <a:pt x="55" y="215"/>
                  <a:pt x="55" y="219"/>
                  <a:pt x="55" y="221"/>
                </a:cubicBezTo>
                <a:cubicBezTo>
                  <a:pt x="54" y="223"/>
                  <a:pt x="51" y="223"/>
                  <a:pt x="51" y="224"/>
                </a:cubicBezTo>
                <a:cubicBezTo>
                  <a:pt x="51" y="226"/>
                  <a:pt x="51" y="228"/>
                  <a:pt x="52" y="230"/>
                </a:cubicBezTo>
                <a:cubicBezTo>
                  <a:pt x="51" y="229"/>
                  <a:pt x="51" y="228"/>
                  <a:pt x="50" y="227"/>
                </a:cubicBezTo>
                <a:cubicBezTo>
                  <a:pt x="49" y="227"/>
                  <a:pt x="50" y="226"/>
                  <a:pt x="49" y="225"/>
                </a:cubicBezTo>
                <a:cubicBezTo>
                  <a:pt x="49" y="225"/>
                  <a:pt x="49" y="225"/>
                  <a:pt x="48" y="225"/>
                </a:cubicBezTo>
                <a:cubicBezTo>
                  <a:pt x="48" y="226"/>
                  <a:pt x="48" y="226"/>
                  <a:pt x="48" y="226"/>
                </a:cubicBezTo>
                <a:cubicBezTo>
                  <a:pt x="47" y="227"/>
                  <a:pt x="47" y="226"/>
                  <a:pt x="47" y="225"/>
                </a:cubicBezTo>
                <a:cubicBezTo>
                  <a:pt x="47" y="225"/>
                  <a:pt x="46" y="225"/>
                  <a:pt x="46" y="225"/>
                </a:cubicBezTo>
                <a:cubicBezTo>
                  <a:pt x="45" y="225"/>
                  <a:pt x="44" y="225"/>
                  <a:pt x="43" y="225"/>
                </a:cubicBezTo>
                <a:cubicBezTo>
                  <a:pt x="43" y="225"/>
                  <a:pt x="43" y="226"/>
                  <a:pt x="42" y="226"/>
                </a:cubicBezTo>
                <a:cubicBezTo>
                  <a:pt x="42" y="226"/>
                  <a:pt x="42" y="226"/>
                  <a:pt x="42" y="226"/>
                </a:cubicBezTo>
                <a:cubicBezTo>
                  <a:pt x="42" y="226"/>
                  <a:pt x="42" y="226"/>
                  <a:pt x="42" y="226"/>
                </a:cubicBezTo>
                <a:cubicBezTo>
                  <a:pt x="41" y="226"/>
                  <a:pt x="41" y="226"/>
                  <a:pt x="40" y="225"/>
                </a:cubicBezTo>
                <a:cubicBezTo>
                  <a:pt x="39" y="225"/>
                  <a:pt x="38" y="225"/>
                  <a:pt x="37" y="225"/>
                </a:cubicBezTo>
                <a:cubicBezTo>
                  <a:pt x="37" y="225"/>
                  <a:pt x="36" y="225"/>
                  <a:pt x="36" y="225"/>
                </a:cubicBezTo>
                <a:cubicBezTo>
                  <a:pt x="36" y="226"/>
                  <a:pt x="36" y="226"/>
                  <a:pt x="35" y="226"/>
                </a:cubicBezTo>
                <a:cubicBezTo>
                  <a:pt x="35" y="226"/>
                  <a:pt x="35" y="226"/>
                  <a:pt x="34" y="225"/>
                </a:cubicBezTo>
                <a:cubicBezTo>
                  <a:pt x="33" y="225"/>
                  <a:pt x="32" y="224"/>
                  <a:pt x="31" y="224"/>
                </a:cubicBezTo>
                <a:cubicBezTo>
                  <a:pt x="31" y="224"/>
                  <a:pt x="31" y="224"/>
                  <a:pt x="31" y="224"/>
                </a:cubicBezTo>
                <a:cubicBezTo>
                  <a:pt x="31" y="226"/>
                  <a:pt x="31" y="228"/>
                  <a:pt x="30" y="228"/>
                </a:cubicBezTo>
                <a:cubicBezTo>
                  <a:pt x="28" y="229"/>
                  <a:pt x="27" y="225"/>
                  <a:pt x="27" y="223"/>
                </a:cubicBezTo>
                <a:cubicBezTo>
                  <a:pt x="28" y="225"/>
                  <a:pt x="28" y="224"/>
                  <a:pt x="29" y="223"/>
                </a:cubicBezTo>
                <a:cubicBezTo>
                  <a:pt x="28" y="223"/>
                  <a:pt x="27" y="223"/>
                  <a:pt x="27" y="223"/>
                </a:cubicBezTo>
                <a:cubicBezTo>
                  <a:pt x="26" y="224"/>
                  <a:pt x="25" y="224"/>
                  <a:pt x="25" y="223"/>
                </a:cubicBezTo>
                <a:cubicBezTo>
                  <a:pt x="24" y="223"/>
                  <a:pt x="25" y="221"/>
                  <a:pt x="26" y="220"/>
                </a:cubicBezTo>
                <a:cubicBezTo>
                  <a:pt x="26" y="220"/>
                  <a:pt x="26" y="220"/>
                  <a:pt x="26" y="220"/>
                </a:cubicBezTo>
                <a:cubicBezTo>
                  <a:pt x="26" y="219"/>
                  <a:pt x="25" y="218"/>
                  <a:pt x="23" y="216"/>
                </a:cubicBezTo>
                <a:cubicBezTo>
                  <a:pt x="23" y="217"/>
                  <a:pt x="22" y="217"/>
                  <a:pt x="22" y="217"/>
                </a:cubicBezTo>
                <a:cubicBezTo>
                  <a:pt x="22" y="216"/>
                  <a:pt x="22" y="216"/>
                  <a:pt x="23" y="215"/>
                </a:cubicBezTo>
                <a:cubicBezTo>
                  <a:pt x="22" y="215"/>
                  <a:pt x="22" y="215"/>
                  <a:pt x="22" y="215"/>
                </a:cubicBezTo>
                <a:cubicBezTo>
                  <a:pt x="22" y="215"/>
                  <a:pt x="21" y="216"/>
                  <a:pt x="21" y="216"/>
                </a:cubicBezTo>
                <a:cubicBezTo>
                  <a:pt x="20" y="217"/>
                  <a:pt x="18" y="217"/>
                  <a:pt x="18" y="219"/>
                </a:cubicBezTo>
                <a:cubicBezTo>
                  <a:pt x="17" y="219"/>
                  <a:pt x="18" y="218"/>
                  <a:pt x="17" y="218"/>
                </a:cubicBezTo>
                <a:cubicBezTo>
                  <a:pt x="18" y="220"/>
                  <a:pt x="16" y="219"/>
                  <a:pt x="16" y="221"/>
                </a:cubicBezTo>
                <a:cubicBezTo>
                  <a:pt x="19" y="219"/>
                  <a:pt x="20" y="220"/>
                  <a:pt x="21" y="223"/>
                </a:cubicBezTo>
                <a:cubicBezTo>
                  <a:pt x="21" y="222"/>
                  <a:pt x="22" y="222"/>
                  <a:pt x="22" y="223"/>
                </a:cubicBezTo>
                <a:cubicBezTo>
                  <a:pt x="22" y="223"/>
                  <a:pt x="22" y="223"/>
                  <a:pt x="23" y="223"/>
                </a:cubicBezTo>
                <a:cubicBezTo>
                  <a:pt x="23" y="223"/>
                  <a:pt x="23" y="223"/>
                  <a:pt x="23" y="223"/>
                </a:cubicBezTo>
                <a:cubicBezTo>
                  <a:pt x="23" y="223"/>
                  <a:pt x="23" y="223"/>
                  <a:pt x="23" y="223"/>
                </a:cubicBezTo>
                <a:cubicBezTo>
                  <a:pt x="24" y="224"/>
                  <a:pt x="25" y="226"/>
                  <a:pt x="25" y="226"/>
                </a:cubicBezTo>
                <a:cubicBezTo>
                  <a:pt x="25" y="226"/>
                  <a:pt x="25" y="228"/>
                  <a:pt x="25" y="228"/>
                </a:cubicBezTo>
                <a:cubicBezTo>
                  <a:pt x="27" y="228"/>
                  <a:pt x="31" y="229"/>
                  <a:pt x="31" y="231"/>
                </a:cubicBezTo>
                <a:cubicBezTo>
                  <a:pt x="32" y="232"/>
                  <a:pt x="31" y="236"/>
                  <a:pt x="31" y="237"/>
                </a:cubicBezTo>
                <a:cubicBezTo>
                  <a:pt x="31" y="237"/>
                  <a:pt x="29" y="237"/>
                  <a:pt x="29" y="238"/>
                </a:cubicBezTo>
                <a:cubicBezTo>
                  <a:pt x="27" y="241"/>
                  <a:pt x="27" y="237"/>
                  <a:pt x="26" y="242"/>
                </a:cubicBezTo>
                <a:cubicBezTo>
                  <a:pt x="25" y="241"/>
                  <a:pt x="24" y="239"/>
                  <a:pt x="23" y="239"/>
                </a:cubicBezTo>
                <a:cubicBezTo>
                  <a:pt x="23" y="239"/>
                  <a:pt x="21" y="239"/>
                  <a:pt x="22" y="239"/>
                </a:cubicBezTo>
                <a:cubicBezTo>
                  <a:pt x="20" y="238"/>
                  <a:pt x="22" y="235"/>
                  <a:pt x="20" y="233"/>
                </a:cubicBezTo>
                <a:cubicBezTo>
                  <a:pt x="20" y="234"/>
                  <a:pt x="20" y="235"/>
                  <a:pt x="19" y="236"/>
                </a:cubicBezTo>
                <a:cubicBezTo>
                  <a:pt x="20" y="237"/>
                  <a:pt x="20" y="238"/>
                  <a:pt x="18" y="238"/>
                </a:cubicBezTo>
                <a:cubicBezTo>
                  <a:pt x="22" y="239"/>
                  <a:pt x="22" y="249"/>
                  <a:pt x="17" y="249"/>
                </a:cubicBezTo>
                <a:cubicBezTo>
                  <a:pt x="17" y="249"/>
                  <a:pt x="17" y="249"/>
                  <a:pt x="17" y="249"/>
                </a:cubicBezTo>
                <a:cubicBezTo>
                  <a:pt x="17" y="249"/>
                  <a:pt x="17" y="249"/>
                  <a:pt x="17" y="250"/>
                </a:cubicBezTo>
                <a:cubicBezTo>
                  <a:pt x="20" y="251"/>
                  <a:pt x="21" y="254"/>
                  <a:pt x="20" y="258"/>
                </a:cubicBezTo>
                <a:cubicBezTo>
                  <a:pt x="20" y="257"/>
                  <a:pt x="20" y="258"/>
                  <a:pt x="20" y="258"/>
                </a:cubicBezTo>
                <a:cubicBezTo>
                  <a:pt x="21" y="261"/>
                  <a:pt x="23" y="263"/>
                  <a:pt x="23" y="265"/>
                </a:cubicBezTo>
                <a:cubicBezTo>
                  <a:pt x="23" y="266"/>
                  <a:pt x="23" y="267"/>
                  <a:pt x="23" y="268"/>
                </a:cubicBezTo>
                <a:cubicBezTo>
                  <a:pt x="23" y="270"/>
                  <a:pt x="27" y="272"/>
                  <a:pt x="26" y="275"/>
                </a:cubicBezTo>
                <a:cubicBezTo>
                  <a:pt x="26" y="276"/>
                  <a:pt x="26" y="275"/>
                  <a:pt x="27" y="277"/>
                </a:cubicBezTo>
                <a:cubicBezTo>
                  <a:pt x="27" y="278"/>
                  <a:pt x="28" y="280"/>
                  <a:pt x="28" y="281"/>
                </a:cubicBezTo>
                <a:cubicBezTo>
                  <a:pt x="29" y="282"/>
                  <a:pt x="30" y="285"/>
                  <a:pt x="30" y="285"/>
                </a:cubicBezTo>
                <a:cubicBezTo>
                  <a:pt x="32" y="287"/>
                  <a:pt x="32" y="285"/>
                  <a:pt x="32" y="287"/>
                </a:cubicBezTo>
                <a:cubicBezTo>
                  <a:pt x="31" y="288"/>
                  <a:pt x="32" y="288"/>
                  <a:pt x="32" y="289"/>
                </a:cubicBezTo>
                <a:cubicBezTo>
                  <a:pt x="32" y="288"/>
                  <a:pt x="32" y="288"/>
                  <a:pt x="32" y="288"/>
                </a:cubicBezTo>
                <a:cubicBezTo>
                  <a:pt x="33" y="287"/>
                  <a:pt x="34" y="290"/>
                  <a:pt x="33" y="290"/>
                </a:cubicBezTo>
                <a:cubicBezTo>
                  <a:pt x="33" y="291"/>
                  <a:pt x="34" y="291"/>
                  <a:pt x="34" y="292"/>
                </a:cubicBezTo>
                <a:cubicBezTo>
                  <a:pt x="34" y="292"/>
                  <a:pt x="35" y="292"/>
                  <a:pt x="35" y="292"/>
                </a:cubicBezTo>
                <a:cubicBezTo>
                  <a:pt x="36" y="288"/>
                  <a:pt x="34" y="286"/>
                  <a:pt x="38" y="288"/>
                </a:cubicBezTo>
                <a:cubicBezTo>
                  <a:pt x="39" y="288"/>
                  <a:pt x="39" y="287"/>
                  <a:pt x="40" y="288"/>
                </a:cubicBezTo>
                <a:cubicBezTo>
                  <a:pt x="42" y="289"/>
                  <a:pt x="39" y="291"/>
                  <a:pt x="38" y="290"/>
                </a:cubicBezTo>
                <a:cubicBezTo>
                  <a:pt x="39" y="291"/>
                  <a:pt x="40" y="291"/>
                  <a:pt x="41" y="289"/>
                </a:cubicBezTo>
                <a:cubicBezTo>
                  <a:pt x="42" y="289"/>
                  <a:pt x="42" y="292"/>
                  <a:pt x="41" y="293"/>
                </a:cubicBezTo>
                <a:cubicBezTo>
                  <a:pt x="41" y="293"/>
                  <a:pt x="38" y="295"/>
                  <a:pt x="37" y="296"/>
                </a:cubicBezTo>
                <a:cubicBezTo>
                  <a:pt x="37" y="297"/>
                  <a:pt x="38" y="298"/>
                  <a:pt x="38" y="299"/>
                </a:cubicBezTo>
                <a:cubicBezTo>
                  <a:pt x="40" y="301"/>
                  <a:pt x="40" y="304"/>
                  <a:pt x="41" y="306"/>
                </a:cubicBezTo>
                <a:cubicBezTo>
                  <a:pt x="42" y="307"/>
                  <a:pt x="42" y="307"/>
                  <a:pt x="42" y="309"/>
                </a:cubicBezTo>
                <a:cubicBezTo>
                  <a:pt x="42" y="310"/>
                  <a:pt x="43" y="310"/>
                  <a:pt x="43" y="311"/>
                </a:cubicBezTo>
                <a:cubicBezTo>
                  <a:pt x="44" y="313"/>
                  <a:pt x="45" y="316"/>
                  <a:pt x="46" y="318"/>
                </a:cubicBezTo>
                <a:cubicBezTo>
                  <a:pt x="46" y="318"/>
                  <a:pt x="46" y="317"/>
                  <a:pt x="46" y="318"/>
                </a:cubicBezTo>
                <a:cubicBezTo>
                  <a:pt x="46" y="318"/>
                  <a:pt x="46" y="318"/>
                  <a:pt x="46" y="318"/>
                </a:cubicBezTo>
                <a:cubicBezTo>
                  <a:pt x="46" y="319"/>
                  <a:pt x="46" y="319"/>
                  <a:pt x="47" y="320"/>
                </a:cubicBezTo>
                <a:cubicBezTo>
                  <a:pt x="47" y="320"/>
                  <a:pt x="47" y="324"/>
                  <a:pt x="48" y="324"/>
                </a:cubicBezTo>
                <a:cubicBezTo>
                  <a:pt x="48" y="324"/>
                  <a:pt x="47" y="317"/>
                  <a:pt x="51" y="319"/>
                </a:cubicBezTo>
                <a:cubicBezTo>
                  <a:pt x="51" y="319"/>
                  <a:pt x="52" y="319"/>
                  <a:pt x="52" y="320"/>
                </a:cubicBezTo>
                <a:cubicBezTo>
                  <a:pt x="51" y="316"/>
                  <a:pt x="51" y="310"/>
                  <a:pt x="53" y="306"/>
                </a:cubicBezTo>
                <a:cubicBezTo>
                  <a:pt x="50" y="306"/>
                  <a:pt x="50" y="314"/>
                  <a:pt x="47" y="314"/>
                </a:cubicBezTo>
                <a:cubicBezTo>
                  <a:pt x="45" y="314"/>
                  <a:pt x="48" y="308"/>
                  <a:pt x="46" y="306"/>
                </a:cubicBezTo>
                <a:cubicBezTo>
                  <a:pt x="45" y="305"/>
                  <a:pt x="45" y="306"/>
                  <a:pt x="44" y="305"/>
                </a:cubicBezTo>
                <a:cubicBezTo>
                  <a:pt x="44" y="304"/>
                  <a:pt x="46" y="301"/>
                  <a:pt x="43" y="301"/>
                </a:cubicBezTo>
                <a:cubicBezTo>
                  <a:pt x="40" y="302"/>
                  <a:pt x="46" y="290"/>
                  <a:pt x="49" y="289"/>
                </a:cubicBezTo>
                <a:cubicBezTo>
                  <a:pt x="51" y="289"/>
                  <a:pt x="55" y="290"/>
                  <a:pt x="55" y="291"/>
                </a:cubicBezTo>
                <a:cubicBezTo>
                  <a:pt x="55" y="291"/>
                  <a:pt x="56" y="298"/>
                  <a:pt x="56" y="298"/>
                </a:cubicBezTo>
                <a:cubicBezTo>
                  <a:pt x="56" y="299"/>
                  <a:pt x="56" y="300"/>
                  <a:pt x="56" y="301"/>
                </a:cubicBezTo>
                <a:cubicBezTo>
                  <a:pt x="56" y="301"/>
                  <a:pt x="56" y="301"/>
                  <a:pt x="57" y="300"/>
                </a:cubicBezTo>
                <a:cubicBezTo>
                  <a:pt x="58" y="300"/>
                  <a:pt x="60" y="299"/>
                  <a:pt x="61" y="300"/>
                </a:cubicBezTo>
                <a:cubicBezTo>
                  <a:pt x="66" y="303"/>
                  <a:pt x="64" y="314"/>
                  <a:pt x="63" y="319"/>
                </a:cubicBezTo>
                <a:cubicBezTo>
                  <a:pt x="63" y="318"/>
                  <a:pt x="64" y="318"/>
                  <a:pt x="65" y="318"/>
                </a:cubicBezTo>
                <a:cubicBezTo>
                  <a:pt x="68" y="319"/>
                  <a:pt x="67" y="328"/>
                  <a:pt x="64" y="328"/>
                </a:cubicBezTo>
                <a:cubicBezTo>
                  <a:pt x="64" y="328"/>
                  <a:pt x="64" y="330"/>
                  <a:pt x="63" y="330"/>
                </a:cubicBezTo>
                <a:cubicBezTo>
                  <a:pt x="63" y="330"/>
                  <a:pt x="62" y="328"/>
                  <a:pt x="63" y="328"/>
                </a:cubicBezTo>
                <a:cubicBezTo>
                  <a:pt x="61" y="327"/>
                  <a:pt x="61" y="324"/>
                  <a:pt x="61" y="322"/>
                </a:cubicBezTo>
                <a:cubicBezTo>
                  <a:pt x="61" y="321"/>
                  <a:pt x="60" y="319"/>
                  <a:pt x="58" y="318"/>
                </a:cubicBezTo>
                <a:cubicBezTo>
                  <a:pt x="58" y="318"/>
                  <a:pt x="56" y="319"/>
                  <a:pt x="56" y="319"/>
                </a:cubicBezTo>
                <a:cubicBezTo>
                  <a:pt x="56" y="318"/>
                  <a:pt x="55" y="316"/>
                  <a:pt x="54" y="316"/>
                </a:cubicBezTo>
                <a:cubicBezTo>
                  <a:pt x="52" y="316"/>
                  <a:pt x="53" y="319"/>
                  <a:pt x="52" y="321"/>
                </a:cubicBezTo>
                <a:cubicBezTo>
                  <a:pt x="53" y="324"/>
                  <a:pt x="52" y="328"/>
                  <a:pt x="51" y="329"/>
                </a:cubicBezTo>
                <a:cubicBezTo>
                  <a:pt x="50" y="329"/>
                  <a:pt x="49" y="329"/>
                  <a:pt x="49" y="329"/>
                </a:cubicBezTo>
                <a:cubicBezTo>
                  <a:pt x="49" y="330"/>
                  <a:pt x="50" y="330"/>
                  <a:pt x="50" y="331"/>
                </a:cubicBezTo>
                <a:cubicBezTo>
                  <a:pt x="51" y="332"/>
                  <a:pt x="52" y="333"/>
                  <a:pt x="53" y="334"/>
                </a:cubicBezTo>
                <a:cubicBezTo>
                  <a:pt x="53" y="335"/>
                  <a:pt x="53" y="335"/>
                  <a:pt x="53" y="336"/>
                </a:cubicBezTo>
                <a:cubicBezTo>
                  <a:pt x="56" y="333"/>
                  <a:pt x="57" y="335"/>
                  <a:pt x="56" y="337"/>
                </a:cubicBezTo>
                <a:cubicBezTo>
                  <a:pt x="57" y="338"/>
                  <a:pt x="57" y="339"/>
                  <a:pt x="57" y="339"/>
                </a:cubicBezTo>
                <a:cubicBezTo>
                  <a:pt x="57" y="340"/>
                  <a:pt x="56" y="340"/>
                  <a:pt x="56" y="339"/>
                </a:cubicBezTo>
                <a:cubicBezTo>
                  <a:pt x="56" y="340"/>
                  <a:pt x="56" y="341"/>
                  <a:pt x="55" y="341"/>
                </a:cubicBezTo>
                <a:cubicBezTo>
                  <a:pt x="55" y="341"/>
                  <a:pt x="56" y="342"/>
                  <a:pt x="56" y="342"/>
                </a:cubicBezTo>
                <a:cubicBezTo>
                  <a:pt x="56" y="343"/>
                  <a:pt x="57" y="343"/>
                  <a:pt x="57" y="343"/>
                </a:cubicBezTo>
                <a:cubicBezTo>
                  <a:pt x="58" y="344"/>
                  <a:pt x="57" y="345"/>
                  <a:pt x="57" y="345"/>
                </a:cubicBezTo>
                <a:cubicBezTo>
                  <a:pt x="58" y="346"/>
                  <a:pt x="59" y="347"/>
                  <a:pt x="60" y="348"/>
                </a:cubicBezTo>
                <a:cubicBezTo>
                  <a:pt x="60" y="348"/>
                  <a:pt x="61" y="348"/>
                  <a:pt x="61" y="350"/>
                </a:cubicBezTo>
                <a:cubicBezTo>
                  <a:pt x="62" y="351"/>
                  <a:pt x="62" y="351"/>
                  <a:pt x="63" y="352"/>
                </a:cubicBezTo>
                <a:cubicBezTo>
                  <a:pt x="65" y="356"/>
                  <a:pt x="66" y="361"/>
                  <a:pt x="68" y="365"/>
                </a:cubicBezTo>
                <a:cubicBezTo>
                  <a:pt x="68" y="366"/>
                  <a:pt x="68" y="366"/>
                  <a:pt x="68" y="366"/>
                </a:cubicBezTo>
                <a:cubicBezTo>
                  <a:pt x="68" y="366"/>
                  <a:pt x="69" y="365"/>
                  <a:pt x="68" y="365"/>
                </a:cubicBezTo>
                <a:cubicBezTo>
                  <a:pt x="68" y="364"/>
                  <a:pt x="69" y="362"/>
                  <a:pt x="71" y="361"/>
                </a:cubicBezTo>
                <a:cubicBezTo>
                  <a:pt x="71" y="360"/>
                  <a:pt x="71" y="360"/>
                  <a:pt x="71" y="360"/>
                </a:cubicBezTo>
                <a:cubicBezTo>
                  <a:pt x="72" y="360"/>
                  <a:pt x="74" y="359"/>
                  <a:pt x="75" y="359"/>
                </a:cubicBezTo>
                <a:cubicBezTo>
                  <a:pt x="82" y="360"/>
                  <a:pt x="82" y="374"/>
                  <a:pt x="79" y="380"/>
                </a:cubicBezTo>
                <a:cubicBezTo>
                  <a:pt x="79" y="381"/>
                  <a:pt x="77" y="383"/>
                  <a:pt x="75" y="384"/>
                </a:cubicBezTo>
                <a:cubicBezTo>
                  <a:pt x="76" y="386"/>
                  <a:pt x="77" y="388"/>
                  <a:pt x="76" y="388"/>
                </a:cubicBezTo>
                <a:cubicBezTo>
                  <a:pt x="75" y="389"/>
                  <a:pt x="75" y="387"/>
                  <a:pt x="74" y="385"/>
                </a:cubicBezTo>
                <a:cubicBezTo>
                  <a:pt x="74" y="385"/>
                  <a:pt x="74" y="385"/>
                  <a:pt x="74" y="385"/>
                </a:cubicBezTo>
                <a:cubicBezTo>
                  <a:pt x="73" y="386"/>
                  <a:pt x="73" y="388"/>
                  <a:pt x="72" y="388"/>
                </a:cubicBezTo>
                <a:cubicBezTo>
                  <a:pt x="71" y="388"/>
                  <a:pt x="69" y="384"/>
                  <a:pt x="67" y="380"/>
                </a:cubicBezTo>
                <a:cubicBezTo>
                  <a:pt x="68" y="385"/>
                  <a:pt x="68" y="392"/>
                  <a:pt x="69" y="397"/>
                </a:cubicBezTo>
                <a:cubicBezTo>
                  <a:pt x="69" y="397"/>
                  <a:pt x="71" y="404"/>
                  <a:pt x="70" y="404"/>
                </a:cubicBezTo>
                <a:cubicBezTo>
                  <a:pt x="69" y="405"/>
                  <a:pt x="69" y="398"/>
                  <a:pt x="69" y="397"/>
                </a:cubicBezTo>
                <a:cubicBezTo>
                  <a:pt x="68" y="391"/>
                  <a:pt x="66" y="381"/>
                  <a:pt x="65" y="375"/>
                </a:cubicBezTo>
                <a:cubicBezTo>
                  <a:pt x="65" y="375"/>
                  <a:pt x="65" y="374"/>
                  <a:pt x="65" y="374"/>
                </a:cubicBezTo>
                <a:cubicBezTo>
                  <a:pt x="65" y="374"/>
                  <a:pt x="65" y="374"/>
                  <a:pt x="66" y="374"/>
                </a:cubicBezTo>
                <a:cubicBezTo>
                  <a:pt x="66" y="374"/>
                  <a:pt x="66" y="375"/>
                  <a:pt x="66" y="375"/>
                </a:cubicBezTo>
                <a:cubicBezTo>
                  <a:pt x="66" y="374"/>
                  <a:pt x="66" y="373"/>
                  <a:pt x="66" y="371"/>
                </a:cubicBezTo>
                <a:cubicBezTo>
                  <a:pt x="65" y="371"/>
                  <a:pt x="64" y="370"/>
                  <a:pt x="64" y="370"/>
                </a:cubicBezTo>
                <a:cubicBezTo>
                  <a:pt x="64" y="369"/>
                  <a:pt x="65" y="369"/>
                  <a:pt x="65" y="369"/>
                </a:cubicBezTo>
                <a:cubicBezTo>
                  <a:pt x="64" y="368"/>
                  <a:pt x="64" y="368"/>
                  <a:pt x="63" y="367"/>
                </a:cubicBezTo>
                <a:cubicBezTo>
                  <a:pt x="62" y="366"/>
                  <a:pt x="62" y="364"/>
                  <a:pt x="62" y="362"/>
                </a:cubicBezTo>
                <a:cubicBezTo>
                  <a:pt x="61" y="361"/>
                  <a:pt x="60" y="359"/>
                  <a:pt x="58" y="357"/>
                </a:cubicBezTo>
                <a:cubicBezTo>
                  <a:pt x="58" y="357"/>
                  <a:pt x="59" y="357"/>
                  <a:pt x="59" y="356"/>
                </a:cubicBezTo>
                <a:cubicBezTo>
                  <a:pt x="58" y="355"/>
                  <a:pt x="55" y="353"/>
                  <a:pt x="55" y="352"/>
                </a:cubicBezTo>
                <a:cubicBezTo>
                  <a:pt x="55" y="352"/>
                  <a:pt x="55" y="351"/>
                  <a:pt x="55" y="350"/>
                </a:cubicBezTo>
                <a:cubicBezTo>
                  <a:pt x="55" y="348"/>
                  <a:pt x="53" y="347"/>
                  <a:pt x="53" y="345"/>
                </a:cubicBezTo>
                <a:cubicBezTo>
                  <a:pt x="52" y="343"/>
                  <a:pt x="51" y="341"/>
                  <a:pt x="51" y="340"/>
                </a:cubicBezTo>
                <a:cubicBezTo>
                  <a:pt x="51" y="340"/>
                  <a:pt x="51" y="340"/>
                  <a:pt x="51" y="340"/>
                </a:cubicBezTo>
                <a:cubicBezTo>
                  <a:pt x="51" y="339"/>
                  <a:pt x="50" y="339"/>
                  <a:pt x="50" y="338"/>
                </a:cubicBezTo>
                <a:cubicBezTo>
                  <a:pt x="50" y="338"/>
                  <a:pt x="50" y="337"/>
                  <a:pt x="50" y="337"/>
                </a:cubicBezTo>
                <a:cubicBezTo>
                  <a:pt x="50" y="336"/>
                  <a:pt x="49" y="336"/>
                  <a:pt x="49" y="336"/>
                </a:cubicBezTo>
                <a:cubicBezTo>
                  <a:pt x="49" y="335"/>
                  <a:pt x="50" y="335"/>
                  <a:pt x="49" y="334"/>
                </a:cubicBezTo>
                <a:cubicBezTo>
                  <a:pt x="49" y="334"/>
                  <a:pt x="48" y="334"/>
                  <a:pt x="48" y="333"/>
                </a:cubicBezTo>
                <a:cubicBezTo>
                  <a:pt x="48" y="333"/>
                  <a:pt x="48" y="332"/>
                  <a:pt x="48" y="332"/>
                </a:cubicBezTo>
                <a:cubicBezTo>
                  <a:pt x="48" y="331"/>
                  <a:pt x="47" y="331"/>
                  <a:pt x="46" y="330"/>
                </a:cubicBezTo>
                <a:cubicBezTo>
                  <a:pt x="45" y="329"/>
                  <a:pt x="46" y="327"/>
                  <a:pt x="45" y="326"/>
                </a:cubicBezTo>
                <a:cubicBezTo>
                  <a:pt x="42" y="323"/>
                  <a:pt x="41" y="319"/>
                  <a:pt x="38" y="315"/>
                </a:cubicBezTo>
                <a:cubicBezTo>
                  <a:pt x="37" y="312"/>
                  <a:pt x="35" y="309"/>
                  <a:pt x="34" y="306"/>
                </a:cubicBezTo>
                <a:cubicBezTo>
                  <a:pt x="34" y="306"/>
                  <a:pt x="34" y="307"/>
                  <a:pt x="33" y="307"/>
                </a:cubicBezTo>
                <a:cubicBezTo>
                  <a:pt x="33" y="310"/>
                  <a:pt x="29" y="311"/>
                  <a:pt x="29" y="312"/>
                </a:cubicBezTo>
                <a:cubicBezTo>
                  <a:pt x="29" y="313"/>
                  <a:pt x="30" y="314"/>
                  <a:pt x="30" y="314"/>
                </a:cubicBezTo>
                <a:cubicBezTo>
                  <a:pt x="30" y="314"/>
                  <a:pt x="30" y="314"/>
                  <a:pt x="30" y="314"/>
                </a:cubicBezTo>
                <a:cubicBezTo>
                  <a:pt x="30" y="314"/>
                  <a:pt x="30" y="314"/>
                  <a:pt x="30" y="315"/>
                </a:cubicBezTo>
                <a:cubicBezTo>
                  <a:pt x="31" y="316"/>
                  <a:pt x="32" y="316"/>
                  <a:pt x="32" y="317"/>
                </a:cubicBezTo>
                <a:cubicBezTo>
                  <a:pt x="33" y="319"/>
                  <a:pt x="32" y="319"/>
                  <a:pt x="32" y="320"/>
                </a:cubicBezTo>
                <a:cubicBezTo>
                  <a:pt x="32" y="320"/>
                  <a:pt x="32" y="320"/>
                  <a:pt x="32" y="320"/>
                </a:cubicBezTo>
                <a:cubicBezTo>
                  <a:pt x="32" y="321"/>
                  <a:pt x="33" y="321"/>
                  <a:pt x="33" y="321"/>
                </a:cubicBezTo>
                <a:cubicBezTo>
                  <a:pt x="34" y="322"/>
                  <a:pt x="34" y="326"/>
                  <a:pt x="33" y="327"/>
                </a:cubicBezTo>
                <a:cubicBezTo>
                  <a:pt x="33" y="327"/>
                  <a:pt x="32" y="326"/>
                  <a:pt x="31" y="325"/>
                </a:cubicBezTo>
                <a:cubicBezTo>
                  <a:pt x="31" y="325"/>
                  <a:pt x="31" y="326"/>
                  <a:pt x="31" y="326"/>
                </a:cubicBezTo>
                <a:cubicBezTo>
                  <a:pt x="31" y="327"/>
                  <a:pt x="31" y="328"/>
                  <a:pt x="31" y="328"/>
                </a:cubicBezTo>
                <a:cubicBezTo>
                  <a:pt x="30" y="334"/>
                  <a:pt x="27" y="336"/>
                  <a:pt x="24" y="332"/>
                </a:cubicBezTo>
                <a:cubicBezTo>
                  <a:pt x="22" y="330"/>
                  <a:pt x="23" y="321"/>
                  <a:pt x="28" y="321"/>
                </a:cubicBezTo>
                <a:cubicBezTo>
                  <a:pt x="30" y="322"/>
                  <a:pt x="29" y="322"/>
                  <a:pt x="28" y="320"/>
                </a:cubicBezTo>
                <a:cubicBezTo>
                  <a:pt x="27" y="317"/>
                  <a:pt x="29" y="315"/>
                  <a:pt x="27" y="314"/>
                </a:cubicBezTo>
                <a:cubicBezTo>
                  <a:pt x="22" y="311"/>
                  <a:pt x="22" y="308"/>
                  <a:pt x="24" y="304"/>
                </a:cubicBezTo>
                <a:cubicBezTo>
                  <a:pt x="22" y="304"/>
                  <a:pt x="23" y="301"/>
                  <a:pt x="23" y="300"/>
                </a:cubicBezTo>
                <a:cubicBezTo>
                  <a:pt x="23" y="300"/>
                  <a:pt x="22" y="299"/>
                  <a:pt x="23" y="299"/>
                </a:cubicBezTo>
                <a:cubicBezTo>
                  <a:pt x="24" y="298"/>
                  <a:pt x="25" y="298"/>
                  <a:pt x="25" y="299"/>
                </a:cubicBezTo>
                <a:cubicBezTo>
                  <a:pt x="26" y="298"/>
                  <a:pt x="27" y="298"/>
                  <a:pt x="29" y="298"/>
                </a:cubicBezTo>
                <a:cubicBezTo>
                  <a:pt x="30" y="298"/>
                  <a:pt x="31" y="298"/>
                  <a:pt x="31" y="299"/>
                </a:cubicBezTo>
                <a:cubicBezTo>
                  <a:pt x="31" y="298"/>
                  <a:pt x="31" y="298"/>
                  <a:pt x="31" y="298"/>
                </a:cubicBezTo>
                <a:cubicBezTo>
                  <a:pt x="30" y="296"/>
                  <a:pt x="31" y="294"/>
                  <a:pt x="30" y="293"/>
                </a:cubicBezTo>
                <a:cubicBezTo>
                  <a:pt x="30" y="291"/>
                  <a:pt x="29" y="291"/>
                  <a:pt x="28" y="289"/>
                </a:cubicBezTo>
                <a:cubicBezTo>
                  <a:pt x="28" y="288"/>
                  <a:pt x="28" y="286"/>
                  <a:pt x="27" y="284"/>
                </a:cubicBezTo>
                <a:cubicBezTo>
                  <a:pt x="27" y="285"/>
                  <a:pt x="26" y="287"/>
                  <a:pt x="26" y="289"/>
                </a:cubicBezTo>
                <a:cubicBezTo>
                  <a:pt x="27" y="286"/>
                  <a:pt x="24" y="287"/>
                  <a:pt x="25" y="288"/>
                </a:cubicBezTo>
                <a:cubicBezTo>
                  <a:pt x="24" y="287"/>
                  <a:pt x="22" y="287"/>
                  <a:pt x="21" y="286"/>
                </a:cubicBezTo>
                <a:cubicBezTo>
                  <a:pt x="21" y="285"/>
                  <a:pt x="21" y="284"/>
                  <a:pt x="22" y="283"/>
                </a:cubicBezTo>
                <a:cubicBezTo>
                  <a:pt x="21" y="283"/>
                  <a:pt x="21" y="281"/>
                  <a:pt x="21" y="281"/>
                </a:cubicBezTo>
                <a:cubicBezTo>
                  <a:pt x="22" y="281"/>
                  <a:pt x="22" y="281"/>
                  <a:pt x="22" y="282"/>
                </a:cubicBezTo>
                <a:cubicBezTo>
                  <a:pt x="23" y="281"/>
                  <a:pt x="24" y="280"/>
                  <a:pt x="25" y="280"/>
                </a:cubicBezTo>
                <a:cubicBezTo>
                  <a:pt x="25" y="279"/>
                  <a:pt x="24" y="278"/>
                  <a:pt x="24" y="277"/>
                </a:cubicBezTo>
                <a:cubicBezTo>
                  <a:pt x="24" y="278"/>
                  <a:pt x="23" y="278"/>
                  <a:pt x="23" y="279"/>
                </a:cubicBezTo>
                <a:cubicBezTo>
                  <a:pt x="22" y="279"/>
                  <a:pt x="20" y="277"/>
                  <a:pt x="21" y="275"/>
                </a:cubicBezTo>
                <a:cubicBezTo>
                  <a:pt x="19" y="275"/>
                  <a:pt x="19" y="273"/>
                  <a:pt x="19" y="271"/>
                </a:cubicBezTo>
                <a:cubicBezTo>
                  <a:pt x="18" y="271"/>
                  <a:pt x="17" y="271"/>
                  <a:pt x="16" y="272"/>
                </a:cubicBezTo>
                <a:cubicBezTo>
                  <a:pt x="16" y="272"/>
                  <a:pt x="17" y="273"/>
                  <a:pt x="17" y="273"/>
                </a:cubicBezTo>
                <a:cubicBezTo>
                  <a:pt x="18" y="275"/>
                  <a:pt x="16" y="278"/>
                  <a:pt x="17" y="279"/>
                </a:cubicBezTo>
                <a:cubicBezTo>
                  <a:pt x="17" y="282"/>
                  <a:pt x="15" y="284"/>
                  <a:pt x="14" y="284"/>
                </a:cubicBezTo>
                <a:cubicBezTo>
                  <a:pt x="14" y="285"/>
                  <a:pt x="13" y="285"/>
                  <a:pt x="13" y="285"/>
                </a:cubicBezTo>
                <a:cubicBezTo>
                  <a:pt x="13" y="285"/>
                  <a:pt x="13" y="285"/>
                  <a:pt x="12" y="284"/>
                </a:cubicBezTo>
                <a:cubicBezTo>
                  <a:pt x="12" y="284"/>
                  <a:pt x="12" y="284"/>
                  <a:pt x="12" y="284"/>
                </a:cubicBezTo>
                <a:cubicBezTo>
                  <a:pt x="12" y="284"/>
                  <a:pt x="11" y="284"/>
                  <a:pt x="12" y="283"/>
                </a:cubicBezTo>
                <a:cubicBezTo>
                  <a:pt x="12" y="283"/>
                  <a:pt x="12" y="283"/>
                  <a:pt x="12" y="283"/>
                </a:cubicBezTo>
                <a:cubicBezTo>
                  <a:pt x="12" y="283"/>
                  <a:pt x="12" y="283"/>
                  <a:pt x="12" y="283"/>
                </a:cubicBezTo>
                <a:cubicBezTo>
                  <a:pt x="12" y="282"/>
                  <a:pt x="12" y="280"/>
                  <a:pt x="12" y="278"/>
                </a:cubicBezTo>
                <a:cubicBezTo>
                  <a:pt x="12" y="278"/>
                  <a:pt x="12" y="277"/>
                  <a:pt x="12" y="277"/>
                </a:cubicBezTo>
                <a:cubicBezTo>
                  <a:pt x="12" y="278"/>
                  <a:pt x="12" y="278"/>
                  <a:pt x="11" y="279"/>
                </a:cubicBezTo>
                <a:cubicBezTo>
                  <a:pt x="9" y="282"/>
                  <a:pt x="7" y="277"/>
                  <a:pt x="8" y="276"/>
                </a:cubicBezTo>
                <a:cubicBezTo>
                  <a:pt x="8" y="275"/>
                  <a:pt x="9" y="274"/>
                  <a:pt x="9" y="274"/>
                </a:cubicBezTo>
                <a:cubicBezTo>
                  <a:pt x="10" y="274"/>
                  <a:pt x="10" y="275"/>
                  <a:pt x="10" y="275"/>
                </a:cubicBezTo>
                <a:cubicBezTo>
                  <a:pt x="11" y="275"/>
                  <a:pt x="11" y="275"/>
                  <a:pt x="11" y="276"/>
                </a:cubicBezTo>
                <a:cubicBezTo>
                  <a:pt x="11" y="275"/>
                  <a:pt x="11" y="275"/>
                  <a:pt x="11" y="275"/>
                </a:cubicBezTo>
                <a:cubicBezTo>
                  <a:pt x="11" y="275"/>
                  <a:pt x="10" y="274"/>
                  <a:pt x="10" y="274"/>
                </a:cubicBezTo>
                <a:cubicBezTo>
                  <a:pt x="10" y="274"/>
                  <a:pt x="10" y="273"/>
                  <a:pt x="10" y="272"/>
                </a:cubicBezTo>
                <a:cubicBezTo>
                  <a:pt x="10" y="273"/>
                  <a:pt x="10" y="273"/>
                  <a:pt x="10" y="273"/>
                </a:cubicBezTo>
                <a:cubicBezTo>
                  <a:pt x="10" y="273"/>
                  <a:pt x="9" y="272"/>
                  <a:pt x="9" y="272"/>
                </a:cubicBezTo>
                <a:cubicBezTo>
                  <a:pt x="10" y="271"/>
                  <a:pt x="11" y="271"/>
                  <a:pt x="11" y="272"/>
                </a:cubicBezTo>
                <a:cubicBezTo>
                  <a:pt x="11" y="271"/>
                  <a:pt x="12" y="270"/>
                  <a:pt x="13" y="269"/>
                </a:cubicBezTo>
                <a:cubicBezTo>
                  <a:pt x="12" y="266"/>
                  <a:pt x="11" y="263"/>
                  <a:pt x="9" y="262"/>
                </a:cubicBezTo>
                <a:cubicBezTo>
                  <a:pt x="9" y="262"/>
                  <a:pt x="8" y="262"/>
                  <a:pt x="7" y="263"/>
                </a:cubicBezTo>
                <a:cubicBezTo>
                  <a:pt x="7" y="263"/>
                  <a:pt x="7" y="263"/>
                  <a:pt x="7" y="263"/>
                </a:cubicBezTo>
                <a:cubicBezTo>
                  <a:pt x="6" y="263"/>
                  <a:pt x="6" y="263"/>
                  <a:pt x="6" y="262"/>
                </a:cubicBezTo>
                <a:cubicBezTo>
                  <a:pt x="6" y="262"/>
                  <a:pt x="7" y="257"/>
                  <a:pt x="9" y="260"/>
                </a:cubicBezTo>
                <a:cubicBezTo>
                  <a:pt x="9" y="260"/>
                  <a:pt x="8" y="261"/>
                  <a:pt x="8" y="261"/>
                </a:cubicBezTo>
                <a:cubicBezTo>
                  <a:pt x="11" y="263"/>
                  <a:pt x="10" y="259"/>
                  <a:pt x="10" y="256"/>
                </a:cubicBezTo>
                <a:cubicBezTo>
                  <a:pt x="11" y="254"/>
                  <a:pt x="12" y="252"/>
                  <a:pt x="13" y="250"/>
                </a:cubicBezTo>
                <a:cubicBezTo>
                  <a:pt x="13" y="250"/>
                  <a:pt x="11" y="245"/>
                  <a:pt x="10" y="243"/>
                </a:cubicBezTo>
                <a:cubicBezTo>
                  <a:pt x="10" y="242"/>
                  <a:pt x="9" y="241"/>
                  <a:pt x="9" y="240"/>
                </a:cubicBezTo>
                <a:cubicBezTo>
                  <a:pt x="9" y="240"/>
                  <a:pt x="9" y="240"/>
                  <a:pt x="9" y="240"/>
                </a:cubicBezTo>
                <a:cubicBezTo>
                  <a:pt x="8" y="239"/>
                  <a:pt x="8" y="239"/>
                  <a:pt x="8" y="239"/>
                </a:cubicBezTo>
                <a:cubicBezTo>
                  <a:pt x="8" y="239"/>
                  <a:pt x="8" y="239"/>
                  <a:pt x="8" y="239"/>
                </a:cubicBezTo>
                <a:cubicBezTo>
                  <a:pt x="8" y="240"/>
                  <a:pt x="8" y="240"/>
                  <a:pt x="7" y="240"/>
                </a:cubicBezTo>
                <a:cubicBezTo>
                  <a:pt x="8" y="240"/>
                  <a:pt x="8" y="238"/>
                  <a:pt x="8" y="237"/>
                </a:cubicBezTo>
                <a:cubicBezTo>
                  <a:pt x="7" y="237"/>
                  <a:pt x="7" y="237"/>
                  <a:pt x="7" y="236"/>
                </a:cubicBezTo>
                <a:cubicBezTo>
                  <a:pt x="7" y="236"/>
                  <a:pt x="7" y="236"/>
                  <a:pt x="7" y="236"/>
                </a:cubicBezTo>
                <a:cubicBezTo>
                  <a:pt x="7" y="236"/>
                  <a:pt x="7" y="236"/>
                  <a:pt x="7" y="235"/>
                </a:cubicBezTo>
                <a:cubicBezTo>
                  <a:pt x="7" y="234"/>
                  <a:pt x="6" y="234"/>
                  <a:pt x="5" y="235"/>
                </a:cubicBezTo>
                <a:cubicBezTo>
                  <a:pt x="6" y="234"/>
                  <a:pt x="5" y="239"/>
                  <a:pt x="4" y="238"/>
                </a:cubicBezTo>
                <a:cubicBezTo>
                  <a:pt x="4" y="238"/>
                  <a:pt x="4" y="235"/>
                  <a:pt x="4" y="233"/>
                </a:cubicBezTo>
                <a:cubicBezTo>
                  <a:pt x="4" y="233"/>
                  <a:pt x="3" y="233"/>
                  <a:pt x="3" y="233"/>
                </a:cubicBezTo>
                <a:cubicBezTo>
                  <a:pt x="3" y="236"/>
                  <a:pt x="3" y="234"/>
                  <a:pt x="2" y="233"/>
                </a:cubicBezTo>
                <a:cubicBezTo>
                  <a:pt x="2" y="233"/>
                  <a:pt x="2" y="233"/>
                  <a:pt x="1" y="233"/>
                </a:cubicBezTo>
                <a:cubicBezTo>
                  <a:pt x="1" y="233"/>
                  <a:pt x="1" y="234"/>
                  <a:pt x="1" y="234"/>
                </a:cubicBezTo>
                <a:cubicBezTo>
                  <a:pt x="1" y="272"/>
                  <a:pt x="1" y="272"/>
                  <a:pt x="1" y="272"/>
                </a:cubicBezTo>
                <a:cubicBezTo>
                  <a:pt x="1" y="273"/>
                  <a:pt x="2" y="274"/>
                  <a:pt x="1" y="275"/>
                </a:cubicBezTo>
                <a:cubicBezTo>
                  <a:pt x="1" y="275"/>
                  <a:pt x="1" y="275"/>
                  <a:pt x="1" y="275"/>
                </a:cubicBezTo>
                <a:cubicBezTo>
                  <a:pt x="1" y="359"/>
                  <a:pt x="1" y="359"/>
                  <a:pt x="1" y="359"/>
                </a:cubicBezTo>
                <a:cubicBezTo>
                  <a:pt x="1" y="359"/>
                  <a:pt x="1" y="359"/>
                  <a:pt x="1" y="359"/>
                </a:cubicBezTo>
                <a:cubicBezTo>
                  <a:pt x="7" y="360"/>
                  <a:pt x="4" y="368"/>
                  <a:pt x="1" y="371"/>
                </a:cubicBezTo>
                <a:cubicBezTo>
                  <a:pt x="1" y="448"/>
                  <a:pt x="1" y="448"/>
                  <a:pt x="1" y="448"/>
                </a:cubicBezTo>
                <a:cubicBezTo>
                  <a:pt x="1" y="448"/>
                  <a:pt x="1" y="449"/>
                  <a:pt x="1" y="451"/>
                </a:cubicBezTo>
                <a:cubicBezTo>
                  <a:pt x="1" y="588"/>
                  <a:pt x="1" y="588"/>
                  <a:pt x="1" y="588"/>
                </a:cubicBezTo>
                <a:cubicBezTo>
                  <a:pt x="302" y="762"/>
                  <a:pt x="302" y="762"/>
                  <a:pt x="302" y="762"/>
                </a:cubicBezTo>
                <a:cubicBezTo>
                  <a:pt x="305" y="760"/>
                  <a:pt x="299" y="759"/>
                  <a:pt x="298" y="758"/>
                </a:cubicBezTo>
                <a:close/>
                <a:moveTo>
                  <a:pt x="435" y="727"/>
                </a:moveTo>
                <a:cubicBezTo>
                  <a:pt x="435" y="728"/>
                  <a:pt x="433" y="728"/>
                  <a:pt x="432" y="727"/>
                </a:cubicBezTo>
                <a:cubicBezTo>
                  <a:pt x="432" y="726"/>
                  <a:pt x="434" y="725"/>
                  <a:pt x="435" y="727"/>
                </a:cubicBezTo>
                <a:close/>
                <a:moveTo>
                  <a:pt x="442" y="708"/>
                </a:moveTo>
                <a:cubicBezTo>
                  <a:pt x="440" y="708"/>
                  <a:pt x="440" y="706"/>
                  <a:pt x="442" y="708"/>
                </a:cubicBezTo>
                <a:close/>
                <a:moveTo>
                  <a:pt x="440" y="704"/>
                </a:moveTo>
                <a:cubicBezTo>
                  <a:pt x="439" y="704"/>
                  <a:pt x="439" y="702"/>
                  <a:pt x="440" y="704"/>
                </a:cubicBezTo>
                <a:close/>
                <a:moveTo>
                  <a:pt x="507" y="674"/>
                </a:moveTo>
                <a:cubicBezTo>
                  <a:pt x="509" y="673"/>
                  <a:pt x="509" y="676"/>
                  <a:pt x="507" y="674"/>
                </a:cubicBezTo>
                <a:close/>
                <a:moveTo>
                  <a:pt x="501" y="668"/>
                </a:moveTo>
                <a:cubicBezTo>
                  <a:pt x="502" y="670"/>
                  <a:pt x="499" y="669"/>
                  <a:pt x="499" y="668"/>
                </a:cubicBezTo>
                <a:cubicBezTo>
                  <a:pt x="499" y="667"/>
                  <a:pt x="501" y="667"/>
                  <a:pt x="501" y="668"/>
                </a:cubicBezTo>
                <a:close/>
                <a:moveTo>
                  <a:pt x="500" y="675"/>
                </a:moveTo>
                <a:cubicBezTo>
                  <a:pt x="499" y="676"/>
                  <a:pt x="498" y="674"/>
                  <a:pt x="498" y="674"/>
                </a:cubicBezTo>
                <a:cubicBezTo>
                  <a:pt x="499" y="674"/>
                  <a:pt x="499" y="675"/>
                  <a:pt x="500" y="675"/>
                </a:cubicBezTo>
                <a:close/>
                <a:moveTo>
                  <a:pt x="510" y="641"/>
                </a:moveTo>
                <a:cubicBezTo>
                  <a:pt x="510" y="641"/>
                  <a:pt x="511" y="641"/>
                  <a:pt x="511" y="641"/>
                </a:cubicBezTo>
                <a:cubicBezTo>
                  <a:pt x="513" y="643"/>
                  <a:pt x="509" y="642"/>
                  <a:pt x="510" y="641"/>
                </a:cubicBezTo>
                <a:close/>
                <a:moveTo>
                  <a:pt x="509" y="646"/>
                </a:moveTo>
                <a:cubicBezTo>
                  <a:pt x="510" y="648"/>
                  <a:pt x="507" y="646"/>
                  <a:pt x="508" y="645"/>
                </a:cubicBezTo>
                <a:cubicBezTo>
                  <a:pt x="509" y="645"/>
                  <a:pt x="509" y="646"/>
                  <a:pt x="509" y="646"/>
                </a:cubicBezTo>
                <a:close/>
                <a:moveTo>
                  <a:pt x="508" y="643"/>
                </a:moveTo>
                <a:cubicBezTo>
                  <a:pt x="509" y="642"/>
                  <a:pt x="509" y="643"/>
                  <a:pt x="509" y="644"/>
                </a:cubicBezTo>
                <a:cubicBezTo>
                  <a:pt x="510" y="645"/>
                  <a:pt x="507" y="644"/>
                  <a:pt x="508" y="643"/>
                </a:cubicBezTo>
                <a:close/>
                <a:moveTo>
                  <a:pt x="500" y="642"/>
                </a:moveTo>
                <a:cubicBezTo>
                  <a:pt x="500" y="642"/>
                  <a:pt x="502" y="645"/>
                  <a:pt x="502" y="646"/>
                </a:cubicBezTo>
                <a:cubicBezTo>
                  <a:pt x="501" y="651"/>
                  <a:pt x="497" y="643"/>
                  <a:pt x="500" y="642"/>
                </a:cubicBezTo>
                <a:close/>
                <a:moveTo>
                  <a:pt x="498" y="644"/>
                </a:moveTo>
                <a:cubicBezTo>
                  <a:pt x="498" y="644"/>
                  <a:pt x="498" y="644"/>
                  <a:pt x="498" y="644"/>
                </a:cubicBezTo>
                <a:cubicBezTo>
                  <a:pt x="498" y="644"/>
                  <a:pt x="496" y="644"/>
                  <a:pt x="498" y="644"/>
                </a:cubicBezTo>
                <a:close/>
                <a:moveTo>
                  <a:pt x="495" y="636"/>
                </a:moveTo>
                <a:cubicBezTo>
                  <a:pt x="496" y="635"/>
                  <a:pt x="497" y="638"/>
                  <a:pt x="495" y="636"/>
                </a:cubicBezTo>
                <a:close/>
                <a:moveTo>
                  <a:pt x="495" y="637"/>
                </a:moveTo>
                <a:cubicBezTo>
                  <a:pt x="496" y="637"/>
                  <a:pt x="496" y="638"/>
                  <a:pt x="496" y="638"/>
                </a:cubicBezTo>
                <a:cubicBezTo>
                  <a:pt x="496" y="639"/>
                  <a:pt x="494" y="638"/>
                  <a:pt x="495" y="637"/>
                </a:cubicBezTo>
                <a:close/>
                <a:moveTo>
                  <a:pt x="493" y="642"/>
                </a:moveTo>
                <a:cubicBezTo>
                  <a:pt x="493" y="642"/>
                  <a:pt x="494" y="643"/>
                  <a:pt x="494" y="643"/>
                </a:cubicBezTo>
                <a:cubicBezTo>
                  <a:pt x="494" y="645"/>
                  <a:pt x="492" y="643"/>
                  <a:pt x="493" y="642"/>
                </a:cubicBezTo>
                <a:close/>
                <a:moveTo>
                  <a:pt x="494" y="650"/>
                </a:moveTo>
                <a:cubicBezTo>
                  <a:pt x="494" y="650"/>
                  <a:pt x="493" y="653"/>
                  <a:pt x="492" y="651"/>
                </a:cubicBezTo>
                <a:cubicBezTo>
                  <a:pt x="492" y="650"/>
                  <a:pt x="494" y="648"/>
                  <a:pt x="494" y="650"/>
                </a:cubicBezTo>
                <a:close/>
                <a:moveTo>
                  <a:pt x="498" y="620"/>
                </a:moveTo>
                <a:cubicBezTo>
                  <a:pt x="498" y="620"/>
                  <a:pt x="498" y="620"/>
                  <a:pt x="498" y="620"/>
                </a:cubicBezTo>
                <a:cubicBezTo>
                  <a:pt x="498" y="620"/>
                  <a:pt x="498" y="620"/>
                  <a:pt x="498" y="620"/>
                </a:cubicBezTo>
                <a:cubicBezTo>
                  <a:pt x="498" y="620"/>
                  <a:pt x="498" y="620"/>
                  <a:pt x="498" y="620"/>
                </a:cubicBezTo>
                <a:close/>
                <a:moveTo>
                  <a:pt x="492" y="624"/>
                </a:moveTo>
                <a:cubicBezTo>
                  <a:pt x="493" y="624"/>
                  <a:pt x="493" y="625"/>
                  <a:pt x="492" y="624"/>
                </a:cubicBezTo>
                <a:close/>
                <a:moveTo>
                  <a:pt x="490" y="621"/>
                </a:moveTo>
                <a:cubicBezTo>
                  <a:pt x="491" y="622"/>
                  <a:pt x="490" y="624"/>
                  <a:pt x="489" y="624"/>
                </a:cubicBezTo>
                <a:cubicBezTo>
                  <a:pt x="489" y="623"/>
                  <a:pt x="490" y="621"/>
                  <a:pt x="490" y="621"/>
                </a:cubicBezTo>
                <a:close/>
                <a:moveTo>
                  <a:pt x="489" y="620"/>
                </a:moveTo>
                <a:cubicBezTo>
                  <a:pt x="490" y="620"/>
                  <a:pt x="487" y="619"/>
                  <a:pt x="489" y="620"/>
                </a:cubicBezTo>
                <a:close/>
                <a:moveTo>
                  <a:pt x="485" y="657"/>
                </a:moveTo>
                <a:cubicBezTo>
                  <a:pt x="486" y="656"/>
                  <a:pt x="487" y="657"/>
                  <a:pt x="487" y="657"/>
                </a:cubicBezTo>
                <a:cubicBezTo>
                  <a:pt x="488" y="659"/>
                  <a:pt x="484" y="658"/>
                  <a:pt x="485" y="657"/>
                </a:cubicBezTo>
                <a:close/>
                <a:moveTo>
                  <a:pt x="485" y="644"/>
                </a:moveTo>
                <a:cubicBezTo>
                  <a:pt x="489" y="644"/>
                  <a:pt x="487" y="647"/>
                  <a:pt x="485" y="644"/>
                </a:cubicBezTo>
                <a:close/>
                <a:moveTo>
                  <a:pt x="484" y="637"/>
                </a:moveTo>
                <a:cubicBezTo>
                  <a:pt x="485" y="636"/>
                  <a:pt x="486" y="637"/>
                  <a:pt x="486" y="637"/>
                </a:cubicBezTo>
                <a:cubicBezTo>
                  <a:pt x="486" y="639"/>
                  <a:pt x="484" y="637"/>
                  <a:pt x="484" y="637"/>
                </a:cubicBezTo>
                <a:close/>
                <a:moveTo>
                  <a:pt x="536" y="658"/>
                </a:moveTo>
                <a:cubicBezTo>
                  <a:pt x="533" y="660"/>
                  <a:pt x="529" y="656"/>
                  <a:pt x="530" y="654"/>
                </a:cubicBezTo>
                <a:cubicBezTo>
                  <a:pt x="531" y="652"/>
                  <a:pt x="537" y="654"/>
                  <a:pt x="538" y="655"/>
                </a:cubicBezTo>
                <a:cubicBezTo>
                  <a:pt x="538" y="655"/>
                  <a:pt x="536" y="658"/>
                  <a:pt x="536" y="658"/>
                </a:cubicBezTo>
                <a:close/>
                <a:moveTo>
                  <a:pt x="555" y="657"/>
                </a:moveTo>
                <a:cubicBezTo>
                  <a:pt x="553" y="657"/>
                  <a:pt x="556" y="658"/>
                  <a:pt x="555" y="657"/>
                </a:cubicBezTo>
                <a:close/>
                <a:moveTo>
                  <a:pt x="551" y="654"/>
                </a:moveTo>
                <a:cubicBezTo>
                  <a:pt x="551" y="654"/>
                  <a:pt x="552" y="654"/>
                  <a:pt x="552" y="654"/>
                </a:cubicBezTo>
                <a:cubicBezTo>
                  <a:pt x="553" y="656"/>
                  <a:pt x="549" y="655"/>
                  <a:pt x="551" y="654"/>
                </a:cubicBezTo>
                <a:close/>
                <a:moveTo>
                  <a:pt x="550" y="653"/>
                </a:moveTo>
                <a:cubicBezTo>
                  <a:pt x="550" y="653"/>
                  <a:pt x="550" y="654"/>
                  <a:pt x="549" y="654"/>
                </a:cubicBezTo>
                <a:cubicBezTo>
                  <a:pt x="549" y="653"/>
                  <a:pt x="550" y="653"/>
                  <a:pt x="550" y="653"/>
                </a:cubicBezTo>
                <a:close/>
                <a:moveTo>
                  <a:pt x="546" y="654"/>
                </a:moveTo>
                <a:cubicBezTo>
                  <a:pt x="547" y="654"/>
                  <a:pt x="548" y="655"/>
                  <a:pt x="547" y="656"/>
                </a:cubicBezTo>
                <a:cubicBezTo>
                  <a:pt x="546" y="656"/>
                  <a:pt x="546" y="654"/>
                  <a:pt x="546" y="654"/>
                </a:cubicBezTo>
                <a:close/>
                <a:moveTo>
                  <a:pt x="543" y="650"/>
                </a:moveTo>
                <a:cubicBezTo>
                  <a:pt x="544" y="649"/>
                  <a:pt x="545" y="650"/>
                  <a:pt x="545" y="650"/>
                </a:cubicBezTo>
                <a:cubicBezTo>
                  <a:pt x="546" y="653"/>
                  <a:pt x="542" y="651"/>
                  <a:pt x="543" y="650"/>
                </a:cubicBezTo>
                <a:close/>
                <a:moveTo>
                  <a:pt x="542" y="658"/>
                </a:moveTo>
                <a:cubicBezTo>
                  <a:pt x="544" y="657"/>
                  <a:pt x="543" y="659"/>
                  <a:pt x="542" y="658"/>
                </a:cubicBezTo>
                <a:close/>
                <a:moveTo>
                  <a:pt x="564" y="640"/>
                </a:moveTo>
                <a:cubicBezTo>
                  <a:pt x="565" y="640"/>
                  <a:pt x="564" y="641"/>
                  <a:pt x="564" y="641"/>
                </a:cubicBezTo>
                <a:cubicBezTo>
                  <a:pt x="564" y="643"/>
                  <a:pt x="562" y="640"/>
                  <a:pt x="564" y="640"/>
                </a:cubicBezTo>
                <a:close/>
                <a:moveTo>
                  <a:pt x="549" y="622"/>
                </a:moveTo>
                <a:cubicBezTo>
                  <a:pt x="549" y="622"/>
                  <a:pt x="549" y="622"/>
                  <a:pt x="549" y="622"/>
                </a:cubicBezTo>
                <a:cubicBezTo>
                  <a:pt x="548" y="621"/>
                  <a:pt x="549" y="622"/>
                  <a:pt x="549" y="622"/>
                </a:cubicBezTo>
                <a:close/>
                <a:moveTo>
                  <a:pt x="541" y="636"/>
                </a:moveTo>
                <a:cubicBezTo>
                  <a:pt x="543" y="634"/>
                  <a:pt x="547" y="636"/>
                  <a:pt x="547" y="638"/>
                </a:cubicBezTo>
                <a:cubicBezTo>
                  <a:pt x="547" y="643"/>
                  <a:pt x="539" y="639"/>
                  <a:pt x="541" y="636"/>
                </a:cubicBezTo>
                <a:close/>
                <a:moveTo>
                  <a:pt x="547" y="620"/>
                </a:moveTo>
                <a:cubicBezTo>
                  <a:pt x="547" y="620"/>
                  <a:pt x="547" y="620"/>
                  <a:pt x="547" y="619"/>
                </a:cubicBezTo>
                <a:cubicBezTo>
                  <a:pt x="546" y="619"/>
                  <a:pt x="546" y="619"/>
                  <a:pt x="546" y="619"/>
                </a:cubicBezTo>
                <a:cubicBezTo>
                  <a:pt x="546" y="619"/>
                  <a:pt x="547" y="620"/>
                  <a:pt x="547" y="620"/>
                </a:cubicBezTo>
                <a:close/>
                <a:moveTo>
                  <a:pt x="546" y="630"/>
                </a:moveTo>
                <a:cubicBezTo>
                  <a:pt x="547" y="633"/>
                  <a:pt x="544" y="631"/>
                  <a:pt x="543" y="630"/>
                </a:cubicBezTo>
                <a:cubicBezTo>
                  <a:pt x="543" y="629"/>
                  <a:pt x="546" y="629"/>
                  <a:pt x="546" y="630"/>
                </a:cubicBezTo>
                <a:close/>
                <a:moveTo>
                  <a:pt x="541" y="625"/>
                </a:moveTo>
                <a:cubicBezTo>
                  <a:pt x="542" y="625"/>
                  <a:pt x="542" y="626"/>
                  <a:pt x="542" y="626"/>
                </a:cubicBezTo>
                <a:cubicBezTo>
                  <a:pt x="543" y="628"/>
                  <a:pt x="540" y="626"/>
                  <a:pt x="541" y="625"/>
                </a:cubicBezTo>
                <a:close/>
                <a:moveTo>
                  <a:pt x="537" y="624"/>
                </a:moveTo>
                <a:cubicBezTo>
                  <a:pt x="537" y="624"/>
                  <a:pt x="538" y="625"/>
                  <a:pt x="538" y="625"/>
                </a:cubicBezTo>
                <a:cubicBezTo>
                  <a:pt x="539" y="626"/>
                  <a:pt x="535" y="625"/>
                  <a:pt x="537" y="624"/>
                </a:cubicBezTo>
                <a:close/>
                <a:moveTo>
                  <a:pt x="546" y="599"/>
                </a:moveTo>
                <a:cubicBezTo>
                  <a:pt x="547" y="598"/>
                  <a:pt x="547" y="601"/>
                  <a:pt x="546" y="599"/>
                </a:cubicBezTo>
                <a:close/>
                <a:moveTo>
                  <a:pt x="541" y="575"/>
                </a:moveTo>
                <a:cubicBezTo>
                  <a:pt x="542" y="576"/>
                  <a:pt x="541" y="573"/>
                  <a:pt x="541" y="575"/>
                </a:cubicBezTo>
                <a:close/>
                <a:moveTo>
                  <a:pt x="537" y="591"/>
                </a:moveTo>
                <a:cubicBezTo>
                  <a:pt x="537" y="591"/>
                  <a:pt x="537" y="591"/>
                  <a:pt x="537" y="591"/>
                </a:cubicBezTo>
                <a:cubicBezTo>
                  <a:pt x="535" y="590"/>
                  <a:pt x="539" y="590"/>
                  <a:pt x="537" y="591"/>
                </a:cubicBezTo>
                <a:close/>
                <a:moveTo>
                  <a:pt x="539" y="565"/>
                </a:moveTo>
                <a:cubicBezTo>
                  <a:pt x="539" y="565"/>
                  <a:pt x="539" y="565"/>
                  <a:pt x="539" y="565"/>
                </a:cubicBezTo>
                <a:cubicBezTo>
                  <a:pt x="539" y="564"/>
                  <a:pt x="539" y="563"/>
                  <a:pt x="539" y="565"/>
                </a:cubicBezTo>
                <a:close/>
                <a:moveTo>
                  <a:pt x="565" y="556"/>
                </a:moveTo>
                <a:cubicBezTo>
                  <a:pt x="564" y="557"/>
                  <a:pt x="564" y="555"/>
                  <a:pt x="565" y="556"/>
                </a:cubicBezTo>
                <a:close/>
                <a:moveTo>
                  <a:pt x="562" y="554"/>
                </a:moveTo>
                <a:cubicBezTo>
                  <a:pt x="564" y="554"/>
                  <a:pt x="562" y="555"/>
                  <a:pt x="562" y="554"/>
                </a:cubicBezTo>
                <a:close/>
                <a:moveTo>
                  <a:pt x="559" y="574"/>
                </a:moveTo>
                <a:cubicBezTo>
                  <a:pt x="559" y="574"/>
                  <a:pt x="559" y="574"/>
                  <a:pt x="560" y="574"/>
                </a:cubicBezTo>
                <a:cubicBezTo>
                  <a:pt x="560" y="574"/>
                  <a:pt x="560" y="574"/>
                  <a:pt x="560" y="574"/>
                </a:cubicBezTo>
                <a:cubicBezTo>
                  <a:pt x="560" y="574"/>
                  <a:pt x="560" y="574"/>
                  <a:pt x="560" y="574"/>
                </a:cubicBezTo>
                <a:cubicBezTo>
                  <a:pt x="559" y="574"/>
                  <a:pt x="559" y="574"/>
                  <a:pt x="559" y="573"/>
                </a:cubicBezTo>
                <a:cubicBezTo>
                  <a:pt x="559" y="573"/>
                  <a:pt x="559" y="574"/>
                  <a:pt x="559" y="574"/>
                </a:cubicBezTo>
                <a:close/>
                <a:moveTo>
                  <a:pt x="554" y="557"/>
                </a:moveTo>
                <a:cubicBezTo>
                  <a:pt x="554" y="558"/>
                  <a:pt x="553" y="554"/>
                  <a:pt x="554" y="557"/>
                </a:cubicBezTo>
                <a:close/>
                <a:moveTo>
                  <a:pt x="551" y="572"/>
                </a:moveTo>
                <a:cubicBezTo>
                  <a:pt x="552" y="572"/>
                  <a:pt x="552" y="574"/>
                  <a:pt x="552" y="574"/>
                </a:cubicBezTo>
                <a:cubicBezTo>
                  <a:pt x="552" y="575"/>
                  <a:pt x="551" y="573"/>
                  <a:pt x="551" y="572"/>
                </a:cubicBezTo>
                <a:close/>
                <a:moveTo>
                  <a:pt x="551" y="559"/>
                </a:moveTo>
                <a:cubicBezTo>
                  <a:pt x="551" y="559"/>
                  <a:pt x="552" y="560"/>
                  <a:pt x="551" y="559"/>
                </a:cubicBezTo>
                <a:cubicBezTo>
                  <a:pt x="551" y="559"/>
                  <a:pt x="551" y="559"/>
                  <a:pt x="551" y="559"/>
                </a:cubicBezTo>
                <a:close/>
                <a:moveTo>
                  <a:pt x="552" y="557"/>
                </a:moveTo>
                <a:cubicBezTo>
                  <a:pt x="552" y="558"/>
                  <a:pt x="553" y="559"/>
                  <a:pt x="552" y="559"/>
                </a:cubicBezTo>
                <a:cubicBezTo>
                  <a:pt x="550" y="560"/>
                  <a:pt x="551" y="555"/>
                  <a:pt x="552" y="557"/>
                </a:cubicBezTo>
                <a:close/>
                <a:moveTo>
                  <a:pt x="551" y="551"/>
                </a:moveTo>
                <a:cubicBezTo>
                  <a:pt x="551" y="552"/>
                  <a:pt x="551" y="550"/>
                  <a:pt x="550" y="550"/>
                </a:cubicBezTo>
                <a:cubicBezTo>
                  <a:pt x="551" y="549"/>
                  <a:pt x="551" y="551"/>
                  <a:pt x="551" y="551"/>
                </a:cubicBezTo>
                <a:close/>
                <a:moveTo>
                  <a:pt x="592" y="604"/>
                </a:moveTo>
                <a:cubicBezTo>
                  <a:pt x="592" y="605"/>
                  <a:pt x="593" y="606"/>
                  <a:pt x="593" y="608"/>
                </a:cubicBezTo>
                <a:cubicBezTo>
                  <a:pt x="592" y="607"/>
                  <a:pt x="591" y="606"/>
                  <a:pt x="592" y="604"/>
                </a:cubicBezTo>
                <a:close/>
                <a:moveTo>
                  <a:pt x="595" y="604"/>
                </a:moveTo>
                <a:cubicBezTo>
                  <a:pt x="596" y="606"/>
                  <a:pt x="594" y="603"/>
                  <a:pt x="595" y="604"/>
                </a:cubicBezTo>
                <a:close/>
                <a:moveTo>
                  <a:pt x="606" y="616"/>
                </a:moveTo>
                <a:cubicBezTo>
                  <a:pt x="606" y="616"/>
                  <a:pt x="606" y="617"/>
                  <a:pt x="606" y="617"/>
                </a:cubicBezTo>
                <a:cubicBezTo>
                  <a:pt x="605" y="618"/>
                  <a:pt x="605" y="616"/>
                  <a:pt x="606" y="616"/>
                </a:cubicBezTo>
                <a:close/>
                <a:moveTo>
                  <a:pt x="679" y="480"/>
                </a:moveTo>
                <a:cubicBezTo>
                  <a:pt x="678" y="480"/>
                  <a:pt x="678" y="480"/>
                  <a:pt x="678" y="479"/>
                </a:cubicBezTo>
                <a:cubicBezTo>
                  <a:pt x="678" y="478"/>
                  <a:pt x="680" y="480"/>
                  <a:pt x="679" y="480"/>
                </a:cubicBezTo>
                <a:close/>
                <a:moveTo>
                  <a:pt x="663" y="546"/>
                </a:moveTo>
                <a:cubicBezTo>
                  <a:pt x="664" y="544"/>
                  <a:pt x="665" y="546"/>
                  <a:pt x="666" y="547"/>
                </a:cubicBezTo>
                <a:cubicBezTo>
                  <a:pt x="666" y="550"/>
                  <a:pt x="661" y="548"/>
                  <a:pt x="663" y="546"/>
                </a:cubicBezTo>
                <a:close/>
                <a:moveTo>
                  <a:pt x="668" y="558"/>
                </a:moveTo>
                <a:cubicBezTo>
                  <a:pt x="668" y="558"/>
                  <a:pt x="668" y="558"/>
                  <a:pt x="667" y="558"/>
                </a:cubicBezTo>
                <a:cubicBezTo>
                  <a:pt x="664" y="557"/>
                  <a:pt x="669" y="555"/>
                  <a:pt x="668" y="558"/>
                </a:cubicBezTo>
                <a:close/>
                <a:moveTo>
                  <a:pt x="668" y="529"/>
                </a:moveTo>
                <a:cubicBezTo>
                  <a:pt x="669" y="528"/>
                  <a:pt x="669" y="529"/>
                  <a:pt x="670" y="529"/>
                </a:cubicBezTo>
                <a:cubicBezTo>
                  <a:pt x="670" y="531"/>
                  <a:pt x="667" y="530"/>
                  <a:pt x="668" y="529"/>
                </a:cubicBezTo>
                <a:close/>
                <a:moveTo>
                  <a:pt x="671" y="547"/>
                </a:moveTo>
                <a:cubicBezTo>
                  <a:pt x="670" y="546"/>
                  <a:pt x="670" y="545"/>
                  <a:pt x="671" y="545"/>
                </a:cubicBezTo>
                <a:cubicBezTo>
                  <a:pt x="671" y="545"/>
                  <a:pt x="673" y="547"/>
                  <a:pt x="671" y="547"/>
                </a:cubicBezTo>
                <a:close/>
                <a:moveTo>
                  <a:pt x="674" y="539"/>
                </a:moveTo>
                <a:cubicBezTo>
                  <a:pt x="674" y="540"/>
                  <a:pt x="675" y="541"/>
                  <a:pt x="674" y="541"/>
                </a:cubicBezTo>
                <a:cubicBezTo>
                  <a:pt x="672" y="541"/>
                  <a:pt x="674" y="537"/>
                  <a:pt x="674" y="539"/>
                </a:cubicBezTo>
                <a:close/>
                <a:moveTo>
                  <a:pt x="674" y="500"/>
                </a:moveTo>
                <a:cubicBezTo>
                  <a:pt x="675" y="501"/>
                  <a:pt x="673" y="501"/>
                  <a:pt x="674" y="500"/>
                </a:cubicBezTo>
                <a:close/>
                <a:moveTo>
                  <a:pt x="674" y="542"/>
                </a:moveTo>
                <a:cubicBezTo>
                  <a:pt x="674" y="542"/>
                  <a:pt x="674" y="543"/>
                  <a:pt x="674" y="544"/>
                </a:cubicBezTo>
                <a:cubicBezTo>
                  <a:pt x="674" y="544"/>
                  <a:pt x="675" y="544"/>
                  <a:pt x="674" y="545"/>
                </a:cubicBezTo>
                <a:cubicBezTo>
                  <a:pt x="674" y="545"/>
                  <a:pt x="674" y="545"/>
                  <a:pt x="674" y="545"/>
                </a:cubicBezTo>
                <a:cubicBezTo>
                  <a:pt x="674" y="546"/>
                  <a:pt x="674" y="547"/>
                  <a:pt x="674" y="549"/>
                </a:cubicBezTo>
                <a:cubicBezTo>
                  <a:pt x="673" y="547"/>
                  <a:pt x="673" y="544"/>
                  <a:pt x="674" y="542"/>
                </a:cubicBezTo>
                <a:close/>
                <a:moveTo>
                  <a:pt x="676" y="552"/>
                </a:moveTo>
                <a:cubicBezTo>
                  <a:pt x="676" y="553"/>
                  <a:pt x="676" y="553"/>
                  <a:pt x="676" y="553"/>
                </a:cubicBezTo>
                <a:cubicBezTo>
                  <a:pt x="675" y="554"/>
                  <a:pt x="675" y="551"/>
                  <a:pt x="676" y="552"/>
                </a:cubicBezTo>
                <a:close/>
                <a:moveTo>
                  <a:pt x="675" y="516"/>
                </a:moveTo>
                <a:cubicBezTo>
                  <a:pt x="676" y="516"/>
                  <a:pt x="676" y="517"/>
                  <a:pt x="676" y="517"/>
                </a:cubicBezTo>
                <a:cubicBezTo>
                  <a:pt x="677" y="519"/>
                  <a:pt x="674" y="517"/>
                  <a:pt x="675" y="516"/>
                </a:cubicBezTo>
                <a:close/>
                <a:moveTo>
                  <a:pt x="674" y="502"/>
                </a:moveTo>
                <a:cubicBezTo>
                  <a:pt x="675" y="502"/>
                  <a:pt x="676" y="504"/>
                  <a:pt x="676" y="505"/>
                </a:cubicBezTo>
                <a:cubicBezTo>
                  <a:pt x="675" y="505"/>
                  <a:pt x="675" y="503"/>
                  <a:pt x="674" y="502"/>
                </a:cubicBezTo>
                <a:close/>
                <a:moveTo>
                  <a:pt x="675" y="481"/>
                </a:moveTo>
                <a:cubicBezTo>
                  <a:pt x="674" y="481"/>
                  <a:pt x="674" y="480"/>
                  <a:pt x="674" y="480"/>
                </a:cubicBezTo>
                <a:cubicBezTo>
                  <a:pt x="675" y="479"/>
                  <a:pt x="675" y="480"/>
                  <a:pt x="675" y="481"/>
                </a:cubicBezTo>
                <a:close/>
                <a:moveTo>
                  <a:pt x="672" y="412"/>
                </a:moveTo>
                <a:cubicBezTo>
                  <a:pt x="675" y="413"/>
                  <a:pt x="672" y="417"/>
                  <a:pt x="670" y="416"/>
                </a:cubicBezTo>
                <a:cubicBezTo>
                  <a:pt x="670" y="416"/>
                  <a:pt x="670" y="411"/>
                  <a:pt x="672" y="412"/>
                </a:cubicBezTo>
                <a:close/>
                <a:moveTo>
                  <a:pt x="668" y="453"/>
                </a:moveTo>
                <a:cubicBezTo>
                  <a:pt x="669" y="453"/>
                  <a:pt x="668" y="454"/>
                  <a:pt x="667" y="453"/>
                </a:cubicBezTo>
                <a:cubicBezTo>
                  <a:pt x="667" y="453"/>
                  <a:pt x="668" y="452"/>
                  <a:pt x="668" y="453"/>
                </a:cubicBezTo>
                <a:close/>
                <a:moveTo>
                  <a:pt x="667" y="446"/>
                </a:moveTo>
                <a:cubicBezTo>
                  <a:pt x="665" y="447"/>
                  <a:pt x="668" y="444"/>
                  <a:pt x="667" y="446"/>
                </a:cubicBezTo>
                <a:close/>
                <a:moveTo>
                  <a:pt x="673" y="492"/>
                </a:moveTo>
                <a:cubicBezTo>
                  <a:pt x="672" y="498"/>
                  <a:pt x="665" y="495"/>
                  <a:pt x="665" y="490"/>
                </a:cubicBezTo>
                <a:cubicBezTo>
                  <a:pt x="665" y="482"/>
                  <a:pt x="674" y="486"/>
                  <a:pt x="673" y="492"/>
                </a:cubicBezTo>
                <a:close/>
                <a:moveTo>
                  <a:pt x="664" y="429"/>
                </a:moveTo>
                <a:cubicBezTo>
                  <a:pt x="665" y="429"/>
                  <a:pt x="665" y="430"/>
                  <a:pt x="664" y="430"/>
                </a:cubicBezTo>
                <a:cubicBezTo>
                  <a:pt x="662" y="430"/>
                  <a:pt x="663" y="427"/>
                  <a:pt x="664" y="429"/>
                </a:cubicBezTo>
                <a:close/>
                <a:moveTo>
                  <a:pt x="663" y="455"/>
                </a:moveTo>
                <a:cubicBezTo>
                  <a:pt x="663" y="455"/>
                  <a:pt x="662" y="456"/>
                  <a:pt x="662" y="456"/>
                </a:cubicBezTo>
                <a:cubicBezTo>
                  <a:pt x="662" y="456"/>
                  <a:pt x="662" y="455"/>
                  <a:pt x="663" y="455"/>
                </a:cubicBezTo>
                <a:close/>
                <a:moveTo>
                  <a:pt x="661" y="411"/>
                </a:moveTo>
                <a:cubicBezTo>
                  <a:pt x="661" y="411"/>
                  <a:pt x="661" y="411"/>
                  <a:pt x="661" y="410"/>
                </a:cubicBezTo>
                <a:cubicBezTo>
                  <a:pt x="661" y="410"/>
                  <a:pt x="661" y="410"/>
                  <a:pt x="661" y="410"/>
                </a:cubicBezTo>
                <a:cubicBezTo>
                  <a:pt x="661" y="410"/>
                  <a:pt x="661" y="411"/>
                  <a:pt x="661" y="411"/>
                </a:cubicBezTo>
                <a:close/>
                <a:moveTo>
                  <a:pt x="633" y="545"/>
                </a:moveTo>
                <a:cubicBezTo>
                  <a:pt x="633" y="545"/>
                  <a:pt x="633" y="545"/>
                  <a:pt x="633" y="545"/>
                </a:cubicBezTo>
                <a:cubicBezTo>
                  <a:pt x="633" y="545"/>
                  <a:pt x="632" y="544"/>
                  <a:pt x="633" y="545"/>
                </a:cubicBezTo>
                <a:close/>
                <a:moveTo>
                  <a:pt x="633" y="509"/>
                </a:moveTo>
                <a:cubicBezTo>
                  <a:pt x="632" y="508"/>
                  <a:pt x="633" y="507"/>
                  <a:pt x="634" y="507"/>
                </a:cubicBezTo>
                <a:cubicBezTo>
                  <a:pt x="635" y="507"/>
                  <a:pt x="635" y="510"/>
                  <a:pt x="633" y="509"/>
                </a:cubicBezTo>
                <a:close/>
                <a:moveTo>
                  <a:pt x="635" y="516"/>
                </a:moveTo>
                <a:cubicBezTo>
                  <a:pt x="634" y="517"/>
                  <a:pt x="634" y="516"/>
                  <a:pt x="634" y="516"/>
                </a:cubicBezTo>
                <a:cubicBezTo>
                  <a:pt x="634" y="515"/>
                  <a:pt x="635" y="516"/>
                  <a:pt x="635" y="516"/>
                </a:cubicBezTo>
                <a:close/>
                <a:moveTo>
                  <a:pt x="637" y="522"/>
                </a:moveTo>
                <a:cubicBezTo>
                  <a:pt x="638" y="522"/>
                  <a:pt x="639" y="528"/>
                  <a:pt x="639" y="529"/>
                </a:cubicBezTo>
                <a:cubicBezTo>
                  <a:pt x="638" y="534"/>
                  <a:pt x="636" y="523"/>
                  <a:pt x="637" y="522"/>
                </a:cubicBezTo>
                <a:close/>
                <a:moveTo>
                  <a:pt x="639" y="541"/>
                </a:moveTo>
                <a:cubicBezTo>
                  <a:pt x="639" y="541"/>
                  <a:pt x="640" y="539"/>
                  <a:pt x="640" y="541"/>
                </a:cubicBezTo>
                <a:cubicBezTo>
                  <a:pt x="640" y="540"/>
                  <a:pt x="640" y="542"/>
                  <a:pt x="639" y="541"/>
                </a:cubicBezTo>
                <a:close/>
                <a:moveTo>
                  <a:pt x="641" y="545"/>
                </a:moveTo>
                <a:cubicBezTo>
                  <a:pt x="638" y="545"/>
                  <a:pt x="640" y="542"/>
                  <a:pt x="642" y="543"/>
                </a:cubicBezTo>
                <a:cubicBezTo>
                  <a:pt x="643" y="543"/>
                  <a:pt x="642" y="546"/>
                  <a:pt x="641" y="545"/>
                </a:cubicBezTo>
                <a:close/>
                <a:moveTo>
                  <a:pt x="652" y="501"/>
                </a:moveTo>
                <a:cubicBezTo>
                  <a:pt x="652" y="501"/>
                  <a:pt x="651" y="499"/>
                  <a:pt x="652" y="500"/>
                </a:cubicBezTo>
                <a:cubicBezTo>
                  <a:pt x="652" y="500"/>
                  <a:pt x="653" y="501"/>
                  <a:pt x="652" y="501"/>
                </a:cubicBezTo>
                <a:close/>
                <a:moveTo>
                  <a:pt x="655" y="533"/>
                </a:moveTo>
                <a:cubicBezTo>
                  <a:pt x="654" y="529"/>
                  <a:pt x="654" y="522"/>
                  <a:pt x="654" y="518"/>
                </a:cubicBezTo>
                <a:cubicBezTo>
                  <a:pt x="654" y="520"/>
                  <a:pt x="654" y="517"/>
                  <a:pt x="654" y="517"/>
                </a:cubicBezTo>
                <a:cubicBezTo>
                  <a:pt x="656" y="517"/>
                  <a:pt x="655" y="519"/>
                  <a:pt x="655" y="521"/>
                </a:cubicBezTo>
                <a:cubicBezTo>
                  <a:pt x="655" y="523"/>
                  <a:pt x="656" y="529"/>
                  <a:pt x="655" y="533"/>
                </a:cubicBezTo>
                <a:close/>
                <a:moveTo>
                  <a:pt x="659" y="476"/>
                </a:moveTo>
                <a:cubicBezTo>
                  <a:pt x="659" y="479"/>
                  <a:pt x="659" y="474"/>
                  <a:pt x="659" y="476"/>
                </a:cubicBezTo>
                <a:close/>
                <a:moveTo>
                  <a:pt x="659" y="479"/>
                </a:moveTo>
                <a:cubicBezTo>
                  <a:pt x="660" y="482"/>
                  <a:pt x="659" y="477"/>
                  <a:pt x="659" y="479"/>
                </a:cubicBezTo>
                <a:close/>
                <a:moveTo>
                  <a:pt x="659" y="492"/>
                </a:moveTo>
                <a:cubicBezTo>
                  <a:pt x="659" y="492"/>
                  <a:pt x="659" y="493"/>
                  <a:pt x="659" y="493"/>
                </a:cubicBezTo>
                <a:cubicBezTo>
                  <a:pt x="660" y="495"/>
                  <a:pt x="658" y="493"/>
                  <a:pt x="659" y="492"/>
                </a:cubicBezTo>
                <a:close/>
                <a:moveTo>
                  <a:pt x="658" y="525"/>
                </a:moveTo>
                <a:cubicBezTo>
                  <a:pt x="659" y="525"/>
                  <a:pt x="659" y="526"/>
                  <a:pt x="658" y="526"/>
                </a:cubicBezTo>
                <a:cubicBezTo>
                  <a:pt x="657" y="526"/>
                  <a:pt x="658" y="525"/>
                  <a:pt x="658" y="525"/>
                </a:cubicBezTo>
                <a:close/>
                <a:moveTo>
                  <a:pt x="655" y="464"/>
                </a:moveTo>
                <a:cubicBezTo>
                  <a:pt x="654" y="464"/>
                  <a:pt x="654" y="461"/>
                  <a:pt x="655" y="461"/>
                </a:cubicBezTo>
                <a:cubicBezTo>
                  <a:pt x="656" y="461"/>
                  <a:pt x="656" y="464"/>
                  <a:pt x="655" y="464"/>
                </a:cubicBezTo>
                <a:close/>
                <a:moveTo>
                  <a:pt x="654" y="423"/>
                </a:moveTo>
                <a:cubicBezTo>
                  <a:pt x="654" y="423"/>
                  <a:pt x="654" y="423"/>
                  <a:pt x="653" y="423"/>
                </a:cubicBezTo>
                <a:cubicBezTo>
                  <a:pt x="653" y="422"/>
                  <a:pt x="653" y="422"/>
                  <a:pt x="653" y="422"/>
                </a:cubicBezTo>
                <a:cubicBezTo>
                  <a:pt x="653" y="422"/>
                  <a:pt x="653" y="423"/>
                  <a:pt x="654" y="423"/>
                </a:cubicBezTo>
                <a:close/>
                <a:moveTo>
                  <a:pt x="655" y="454"/>
                </a:moveTo>
                <a:cubicBezTo>
                  <a:pt x="653" y="452"/>
                  <a:pt x="649" y="448"/>
                  <a:pt x="649" y="445"/>
                </a:cubicBezTo>
                <a:cubicBezTo>
                  <a:pt x="651" y="449"/>
                  <a:pt x="654" y="450"/>
                  <a:pt x="655" y="454"/>
                </a:cubicBezTo>
                <a:close/>
                <a:moveTo>
                  <a:pt x="648" y="439"/>
                </a:moveTo>
                <a:cubicBezTo>
                  <a:pt x="648" y="439"/>
                  <a:pt x="648" y="440"/>
                  <a:pt x="648" y="440"/>
                </a:cubicBezTo>
                <a:cubicBezTo>
                  <a:pt x="647" y="440"/>
                  <a:pt x="647" y="438"/>
                  <a:pt x="648" y="439"/>
                </a:cubicBezTo>
                <a:close/>
                <a:moveTo>
                  <a:pt x="647" y="500"/>
                </a:moveTo>
                <a:cubicBezTo>
                  <a:pt x="648" y="501"/>
                  <a:pt x="648" y="502"/>
                  <a:pt x="647" y="502"/>
                </a:cubicBezTo>
                <a:cubicBezTo>
                  <a:pt x="643" y="503"/>
                  <a:pt x="646" y="496"/>
                  <a:pt x="647" y="500"/>
                </a:cubicBezTo>
                <a:close/>
                <a:moveTo>
                  <a:pt x="646" y="457"/>
                </a:moveTo>
                <a:cubicBezTo>
                  <a:pt x="646" y="457"/>
                  <a:pt x="646" y="458"/>
                  <a:pt x="646" y="458"/>
                </a:cubicBezTo>
                <a:cubicBezTo>
                  <a:pt x="644" y="459"/>
                  <a:pt x="645" y="456"/>
                  <a:pt x="646" y="457"/>
                </a:cubicBezTo>
                <a:close/>
                <a:moveTo>
                  <a:pt x="642" y="405"/>
                </a:moveTo>
                <a:cubicBezTo>
                  <a:pt x="642" y="406"/>
                  <a:pt x="643" y="406"/>
                  <a:pt x="642" y="406"/>
                </a:cubicBezTo>
                <a:cubicBezTo>
                  <a:pt x="642" y="407"/>
                  <a:pt x="642" y="405"/>
                  <a:pt x="642" y="405"/>
                </a:cubicBezTo>
                <a:close/>
                <a:moveTo>
                  <a:pt x="642" y="528"/>
                </a:moveTo>
                <a:cubicBezTo>
                  <a:pt x="645" y="524"/>
                  <a:pt x="650" y="530"/>
                  <a:pt x="651" y="533"/>
                </a:cubicBezTo>
                <a:cubicBezTo>
                  <a:pt x="651" y="543"/>
                  <a:pt x="638" y="533"/>
                  <a:pt x="642" y="528"/>
                </a:cubicBezTo>
                <a:close/>
                <a:moveTo>
                  <a:pt x="641" y="494"/>
                </a:moveTo>
                <a:cubicBezTo>
                  <a:pt x="640" y="493"/>
                  <a:pt x="640" y="491"/>
                  <a:pt x="641" y="490"/>
                </a:cubicBezTo>
                <a:cubicBezTo>
                  <a:pt x="641" y="491"/>
                  <a:pt x="641" y="492"/>
                  <a:pt x="641" y="494"/>
                </a:cubicBezTo>
                <a:close/>
                <a:moveTo>
                  <a:pt x="641" y="488"/>
                </a:moveTo>
                <a:cubicBezTo>
                  <a:pt x="641" y="488"/>
                  <a:pt x="641" y="488"/>
                  <a:pt x="641" y="488"/>
                </a:cubicBezTo>
                <a:cubicBezTo>
                  <a:pt x="641" y="488"/>
                  <a:pt x="641" y="488"/>
                  <a:pt x="641" y="488"/>
                </a:cubicBezTo>
                <a:cubicBezTo>
                  <a:pt x="641" y="488"/>
                  <a:pt x="641" y="488"/>
                  <a:pt x="641" y="488"/>
                </a:cubicBezTo>
                <a:close/>
                <a:moveTo>
                  <a:pt x="641" y="452"/>
                </a:moveTo>
                <a:cubicBezTo>
                  <a:pt x="641" y="452"/>
                  <a:pt x="641" y="452"/>
                  <a:pt x="641" y="452"/>
                </a:cubicBezTo>
                <a:cubicBezTo>
                  <a:pt x="641" y="454"/>
                  <a:pt x="640" y="450"/>
                  <a:pt x="641" y="452"/>
                </a:cubicBezTo>
                <a:close/>
                <a:moveTo>
                  <a:pt x="641" y="478"/>
                </a:moveTo>
                <a:cubicBezTo>
                  <a:pt x="641" y="478"/>
                  <a:pt x="641" y="479"/>
                  <a:pt x="641" y="479"/>
                </a:cubicBezTo>
                <a:cubicBezTo>
                  <a:pt x="641" y="479"/>
                  <a:pt x="641" y="479"/>
                  <a:pt x="641" y="480"/>
                </a:cubicBezTo>
                <a:cubicBezTo>
                  <a:pt x="641" y="480"/>
                  <a:pt x="641" y="481"/>
                  <a:pt x="641" y="480"/>
                </a:cubicBezTo>
                <a:cubicBezTo>
                  <a:pt x="641" y="480"/>
                  <a:pt x="641" y="479"/>
                  <a:pt x="641" y="479"/>
                </a:cubicBezTo>
                <a:cubicBezTo>
                  <a:pt x="641" y="479"/>
                  <a:pt x="641" y="479"/>
                  <a:pt x="641" y="479"/>
                </a:cubicBezTo>
                <a:cubicBezTo>
                  <a:pt x="641" y="479"/>
                  <a:pt x="641" y="478"/>
                  <a:pt x="641" y="478"/>
                </a:cubicBezTo>
                <a:close/>
                <a:moveTo>
                  <a:pt x="641" y="482"/>
                </a:moveTo>
                <a:cubicBezTo>
                  <a:pt x="641" y="483"/>
                  <a:pt x="641" y="485"/>
                  <a:pt x="641" y="487"/>
                </a:cubicBezTo>
                <a:cubicBezTo>
                  <a:pt x="640" y="486"/>
                  <a:pt x="640" y="484"/>
                  <a:pt x="641" y="482"/>
                </a:cubicBezTo>
                <a:close/>
                <a:moveTo>
                  <a:pt x="640" y="442"/>
                </a:moveTo>
                <a:cubicBezTo>
                  <a:pt x="639" y="440"/>
                  <a:pt x="634" y="435"/>
                  <a:pt x="634" y="432"/>
                </a:cubicBezTo>
                <a:cubicBezTo>
                  <a:pt x="636" y="435"/>
                  <a:pt x="639" y="439"/>
                  <a:pt x="640" y="442"/>
                </a:cubicBezTo>
                <a:close/>
                <a:moveTo>
                  <a:pt x="633" y="488"/>
                </a:moveTo>
                <a:cubicBezTo>
                  <a:pt x="634" y="488"/>
                  <a:pt x="634" y="489"/>
                  <a:pt x="634" y="489"/>
                </a:cubicBezTo>
                <a:cubicBezTo>
                  <a:pt x="634" y="492"/>
                  <a:pt x="630" y="488"/>
                  <a:pt x="633" y="488"/>
                </a:cubicBezTo>
                <a:close/>
                <a:moveTo>
                  <a:pt x="633" y="524"/>
                </a:moveTo>
                <a:cubicBezTo>
                  <a:pt x="634" y="524"/>
                  <a:pt x="634" y="526"/>
                  <a:pt x="632" y="526"/>
                </a:cubicBezTo>
                <a:cubicBezTo>
                  <a:pt x="631" y="526"/>
                  <a:pt x="631" y="524"/>
                  <a:pt x="633" y="524"/>
                </a:cubicBezTo>
                <a:close/>
                <a:moveTo>
                  <a:pt x="582" y="488"/>
                </a:moveTo>
                <a:cubicBezTo>
                  <a:pt x="583" y="489"/>
                  <a:pt x="581" y="487"/>
                  <a:pt x="582" y="488"/>
                </a:cubicBezTo>
                <a:close/>
                <a:moveTo>
                  <a:pt x="583" y="573"/>
                </a:moveTo>
                <a:cubicBezTo>
                  <a:pt x="585" y="572"/>
                  <a:pt x="587" y="574"/>
                  <a:pt x="589" y="575"/>
                </a:cubicBezTo>
                <a:cubicBezTo>
                  <a:pt x="587" y="575"/>
                  <a:pt x="585" y="574"/>
                  <a:pt x="583" y="573"/>
                </a:cubicBezTo>
                <a:close/>
                <a:moveTo>
                  <a:pt x="590" y="563"/>
                </a:moveTo>
                <a:cubicBezTo>
                  <a:pt x="591" y="564"/>
                  <a:pt x="590" y="565"/>
                  <a:pt x="590" y="563"/>
                </a:cubicBezTo>
                <a:close/>
                <a:moveTo>
                  <a:pt x="590" y="549"/>
                </a:moveTo>
                <a:cubicBezTo>
                  <a:pt x="588" y="548"/>
                  <a:pt x="590" y="547"/>
                  <a:pt x="590" y="549"/>
                </a:cubicBezTo>
                <a:close/>
                <a:moveTo>
                  <a:pt x="595" y="560"/>
                </a:moveTo>
                <a:cubicBezTo>
                  <a:pt x="594" y="559"/>
                  <a:pt x="594" y="557"/>
                  <a:pt x="595" y="555"/>
                </a:cubicBezTo>
                <a:cubicBezTo>
                  <a:pt x="596" y="556"/>
                  <a:pt x="595" y="558"/>
                  <a:pt x="595" y="560"/>
                </a:cubicBezTo>
                <a:close/>
                <a:moveTo>
                  <a:pt x="603" y="595"/>
                </a:moveTo>
                <a:cubicBezTo>
                  <a:pt x="600" y="596"/>
                  <a:pt x="600" y="592"/>
                  <a:pt x="603" y="595"/>
                </a:cubicBezTo>
                <a:close/>
                <a:moveTo>
                  <a:pt x="607" y="583"/>
                </a:moveTo>
                <a:cubicBezTo>
                  <a:pt x="603" y="584"/>
                  <a:pt x="604" y="579"/>
                  <a:pt x="604" y="577"/>
                </a:cubicBezTo>
                <a:cubicBezTo>
                  <a:pt x="607" y="576"/>
                  <a:pt x="611" y="582"/>
                  <a:pt x="607" y="583"/>
                </a:cubicBezTo>
                <a:close/>
                <a:moveTo>
                  <a:pt x="606" y="564"/>
                </a:moveTo>
                <a:cubicBezTo>
                  <a:pt x="608" y="564"/>
                  <a:pt x="609" y="565"/>
                  <a:pt x="610" y="567"/>
                </a:cubicBezTo>
                <a:cubicBezTo>
                  <a:pt x="610" y="567"/>
                  <a:pt x="610" y="567"/>
                  <a:pt x="610" y="567"/>
                </a:cubicBezTo>
                <a:cubicBezTo>
                  <a:pt x="610" y="567"/>
                  <a:pt x="610" y="567"/>
                  <a:pt x="610" y="567"/>
                </a:cubicBezTo>
                <a:cubicBezTo>
                  <a:pt x="611" y="568"/>
                  <a:pt x="612" y="569"/>
                  <a:pt x="612" y="569"/>
                </a:cubicBezTo>
                <a:cubicBezTo>
                  <a:pt x="613" y="569"/>
                  <a:pt x="613" y="569"/>
                  <a:pt x="613" y="570"/>
                </a:cubicBezTo>
                <a:cubicBezTo>
                  <a:pt x="613" y="570"/>
                  <a:pt x="613" y="570"/>
                  <a:pt x="613" y="570"/>
                </a:cubicBezTo>
                <a:cubicBezTo>
                  <a:pt x="613" y="570"/>
                  <a:pt x="613" y="570"/>
                  <a:pt x="613" y="570"/>
                </a:cubicBezTo>
                <a:cubicBezTo>
                  <a:pt x="613" y="570"/>
                  <a:pt x="613" y="570"/>
                  <a:pt x="613" y="571"/>
                </a:cubicBezTo>
                <a:cubicBezTo>
                  <a:pt x="613" y="570"/>
                  <a:pt x="612" y="570"/>
                  <a:pt x="612" y="570"/>
                </a:cubicBezTo>
                <a:cubicBezTo>
                  <a:pt x="610" y="568"/>
                  <a:pt x="608" y="565"/>
                  <a:pt x="606" y="564"/>
                </a:cubicBezTo>
                <a:close/>
                <a:moveTo>
                  <a:pt x="613" y="568"/>
                </a:moveTo>
                <a:cubicBezTo>
                  <a:pt x="611" y="567"/>
                  <a:pt x="613" y="565"/>
                  <a:pt x="613" y="568"/>
                </a:cubicBezTo>
                <a:close/>
                <a:moveTo>
                  <a:pt x="616" y="579"/>
                </a:moveTo>
                <a:cubicBezTo>
                  <a:pt x="612" y="580"/>
                  <a:pt x="611" y="573"/>
                  <a:pt x="613" y="572"/>
                </a:cubicBezTo>
                <a:cubicBezTo>
                  <a:pt x="616" y="570"/>
                  <a:pt x="618" y="575"/>
                  <a:pt x="618" y="576"/>
                </a:cubicBezTo>
                <a:cubicBezTo>
                  <a:pt x="618" y="578"/>
                  <a:pt x="617" y="579"/>
                  <a:pt x="616" y="579"/>
                </a:cubicBezTo>
                <a:close/>
                <a:moveTo>
                  <a:pt x="615" y="543"/>
                </a:moveTo>
                <a:cubicBezTo>
                  <a:pt x="616" y="543"/>
                  <a:pt x="617" y="543"/>
                  <a:pt x="617" y="544"/>
                </a:cubicBezTo>
                <a:cubicBezTo>
                  <a:pt x="618" y="547"/>
                  <a:pt x="613" y="545"/>
                  <a:pt x="615" y="543"/>
                </a:cubicBezTo>
                <a:close/>
                <a:moveTo>
                  <a:pt x="615" y="515"/>
                </a:moveTo>
                <a:cubicBezTo>
                  <a:pt x="616" y="515"/>
                  <a:pt x="616" y="516"/>
                  <a:pt x="616" y="516"/>
                </a:cubicBezTo>
                <a:cubicBezTo>
                  <a:pt x="617" y="518"/>
                  <a:pt x="614" y="516"/>
                  <a:pt x="615" y="515"/>
                </a:cubicBezTo>
                <a:close/>
                <a:moveTo>
                  <a:pt x="617" y="556"/>
                </a:moveTo>
                <a:cubicBezTo>
                  <a:pt x="617" y="556"/>
                  <a:pt x="617" y="556"/>
                  <a:pt x="617" y="556"/>
                </a:cubicBezTo>
                <a:cubicBezTo>
                  <a:pt x="615" y="555"/>
                  <a:pt x="618" y="555"/>
                  <a:pt x="617" y="556"/>
                </a:cubicBezTo>
                <a:close/>
                <a:moveTo>
                  <a:pt x="618" y="554"/>
                </a:moveTo>
                <a:cubicBezTo>
                  <a:pt x="618" y="553"/>
                  <a:pt x="618" y="555"/>
                  <a:pt x="618" y="555"/>
                </a:cubicBezTo>
                <a:cubicBezTo>
                  <a:pt x="618" y="556"/>
                  <a:pt x="616" y="555"/>
                  <a:pt x="618" y="554"/>
                </a:cubicBezTo>
                <a:close/>
                <a:moveTo>
                  <a:pt x="618" y="537"/>
                </a:moveTo>
                <a:cubicBezTo>
                  <a:pt x="617" y="536"/>
                  <a:pt x="617" y="533"/>
                  <a:pt x="619" y="534"/>
                </a:cubicBezTo>
                <a:cubicBezTo>
                  <a:pt x="620" y="534"/>
                  <a:pt x="620" y="538"/>
                  <a:pt x="618" y="537"/>
                </a:cubicBezTo>
                <a:close/>
                <a:moveTo>
                  <a:pt x="621" y="553"/>
                </a:moveTo>
                <a:cubicBezTo>
                  <a:pt x="619" y="554"/>
                  <a:pt x="620" y="549"/>
                  <a:pt x="621" y="552"/>
                </a:cubicBezTo>
                <a:cubicBezTo>
                  <a:pt x="622" y="552"/>
                  <a:pt x="622" y="553"/>
                  <a:pt x="621" y="553"/>
                </a:cubicBezTo>
                <a:close/>
                <a:moveTo>
                  <a:pt x="623" y="544"/>
                </a:moveTo>
                <a:cubicBezTo>
                  <a:pt x="622" y="543"/>
                  <a:pt x="624" y="543"/>
                  <a:pt x="623" y="544"/>
                </a:cubicBezTo>
                <a:close/>
                <a:moveTo>
                  <a:pt x="624" y="553"/>
                </a:moveTo>
                <a:cubicBezTo>
                  <a:pt x="625" y="554"/>
                  <a:pt x="623" y="551"/>
                  <a:pt x="624" y="553"/>
                </a:cubicBezTo>
                <a:close/>
                <a:moveTo>
                  <a:pt x="624" y="503"/>
                </a:moveTo>
                <a:cubicBezTo>
                  <a:pt x="622" y="502"/>
                  <a:pt x="623" y="497"/>
                  <a:pt x="626" y="497"/>
                </a:cubicBezTo>
                <a:cubicBezTo>
                  <a:pt x="629" y="498"/>
                  <a:pt x="627" y="505"/>
                  <a:pt x="624" y="503"/>
                </a:cubicBezTo>
                <a:close/>
                <a:moveTo>
                  <a:pt x="628" y="419"/>
                </a:moveTo>
                <a:cubicBezTo>
                  <a:pt x="629" y="420"/>
                  <a:pt x="628" y="421"/>
                  <a:pt x="627" y="420"/>
                </a:cubicBezTo>
                <a:cubicBezTo>
                  <a:pt x="627" y="419"/>
                  <a:pt x="628" y="419"/>
                  <a:pt x="628" y="419"/>
                </a:cubicBezTo>
                <a:close/>
                <a:moveTo>
                  <a:pt x="628" y="466"/>
                </a:moveTo>
                <a:cubicBezTo>
                  <a:pt x="629" y="467"/>
                  <a:pt x="627" y="472"/>
                  <a:pt x="624" y="469"/>
                </a:cubicBezTo>
                <a:cubicBezTo>
                  <a:pt x="623" y="468"/>
                  <a:pt x="626" y="465"/>
                  <a:pt x="628" y="466"/>
                </a:cubicBezTo>
                <a:close/>
                <a:moveTo>
                  <a:pt x="624" y="448"/>
                </a:moveTo>
                <a:cubicBezTo>
                  <a:pt x="627" y="450"/>
                  <a:pt x="625" y="451"/>
                  <a:pt x="624" y="448"/>
                </a:cubicBezTo>
                <a:close/>
                <a:moveTo>
                  <a:pt x="624" y="438"/>
                </a:moveTo>
                <a:cubicBezTo>
                  <a:pt x="625" y="439"/>
                  <a:pt x="623" y="437"/>
                  <a:pt x="624" y="438"/>
                </a:cubicBezTo>
                <a:close/>
                <a:moveTo>
                  <a:pt x="625" y="439"/>
                </a:moveTo>
                <a:cubicBezTo>
                  <a:pt x="628" y="439"/>
                  <a:pt x="628" y="444"/>
                  <a:pt x="625" y="444"/>
                </a:cubicBezTo>
                <a:cubicBezTo>
                  <a:pt x="623" y="444"/>
                  <a:pt x="623" y="439"/>
                  <a:pt x="625" y="439"/>
                </a:cubicBezTo>
                <a:close/>
                <a:moveTo>
                  <a:pt x="623" y="483"/>
                </a:moveTo>
                <a:cubicBezTo>
                  <a:pt x="624" y="484"/>
                  <a:pt x="622" y="484"/>
                  <a:pt x="623" y="483"/>
                </a:cubicBezTo>
                <a:close/>
                <a:moveTo>
                  <a:pt x="621" y="454"/>
                </a:moveTo>
                <a:cubicBezTo>
                  <a:pt x="622" y="454"/>
                  <a:pt x="621" y="455"/>
                  <a:pt x="621" y="455"/>
                </a:cubicBezTo>
                <a:cubicBezTo>
                  <a:pt x="620" y="454"/>
                  <a:pt x="621" y="454"/>
                  <a:pt x="621" y="454"/>
                </a:cubicBezTo>
                <a:close/>
                <a:moveTo>
                  <a:pt x="618" y="462"/>
                </a:moveTo>
                <a:cubicBezTo>
                  <a:pt x="618" y="462"/>
                  <a:pt x="619" y="463"/>
                  <a:pt x="619" y="463"/>
                </a:cubicBezTo>
                <a:cubicBezTo>
                  <a:pt x="618" y="464"/>
                  <a:pt x="618" y="461"/>
                  <a:pt x="618" y="462"/>
                </a:cubicBezTo>
                <a:close/>
                <a:moveTo>
                  <a:pt x="615" y="421"/>
                </a:moveTo>
                <a:cubicBezTo>
                  <a:pt x="616" y="421"/>
                  <a:pt x="616" y="422"/>
                  <a:pt x="616" y="422"/>
                </a:cubicBezTo>
                <a:cubicBezTo>
                  <a:pt x="615" y="423"/>
                  <a:pt x="615" y="421"/>
                  <a:pt x="615" y="421"/>
                </a:cubicBezTo>
                <a:close/>
                <a:moveTo>
                  <a:pt x="625" y="495"/>
                </a:moveTo>
                <a:cubicBezTo>
                  <a:pt x="624" y="495"/>
                  <a:pt x="622" y="497"/>
                  <a:pt x="621" y="496"/>
                </a:cubicBezTo>
                <a:cubicBezTo>
                  <a:pt x="620" y="495"/>
                  <a:pt x="622" y="494"/>
                  <a:pt x="621" y="493"/>
                </a:cubicBezTo>
                <a:cubicBezTo>
                  <a:pt x="620" y="490"/>
                  <a:pt x="616" y="488"/>
                  <a:pt x="615" y="485"/>
                </a:cubicBezTo>
                <a:cubicBezTo>
                  <a:pt x="618" y="487"/>
                  <a:pt x="621" y="491"/>
                  <a:pt x="625" y="495"/>
                </a:cubicBezTo>
                <a:close/>
                <a:moveTo>
                  <a:pt x="612" y="402"/>
                </a:moveTo>
                <a:cubicBezTo>
                  <a:pt x="613" y="401"/>
                  <a:pt x="614" y="403"/>
                  <a:pt x="614" y="403"/>
                </a:cubicBezTo>
                <a:cubicBezTo>
                  <a:pt x="614" y="406"/>
                  <a:pt x="610" y="403"/>
                  <a:pt x="612" y="402"/>
                </a:cubicBezTo>
                <a:close/>
                <a:moveTo>
                  <a:pt x="612" y="522"/>
                </a:moveTo>
                <a:cubicBezTo>
                  <a:pt x="613" y="522"/>
                  <a:pt x="613" y="524"/>
                  <a:pt x="612" y="524"/>
                </a:cubicBezTo>
                <a:cubicBezTo>
                  <a:pt x="611" y="523"/>
                  <a:pt x="611" y="522"/>
                  <a:pt x="612" y="522"/>
                </a:cubicBezTo>
                <a:close/>
                <a:moveTo>
                  <a:pt x="612" y="517"/>
                </a:moveTo>
                <a:cubicBezTo>
                  <a:pt x="613" y="519"/>
                  <a:pt x="612" y="516"/>
                  <a:pt x="612" y="517"/>
                </a:cubicBezTo>
                <a:close/>
                <a:moveTo>
                  <a:pt x="613" y="502"/>
                </a:moveTo>
                <a:cubicBezTo>
                  <a:pt x="613" y="503"/>
                  <a:pt x="614" y="504"/>
                  <a:pt x="613" y="505"/>
                </a:cubicBezTo>
                <a:cubicBezTo>
                  <a:pt x="613" y="504"/>
                  <a:pt x="612" y="503"/>
                  <a:pt x="613" y="502"/>
                </a:cubicBezTo>
                <a:close/>
                <a:moveTo>
                  <a:pt x="612" y="484"/>
                </a:moveTo>
                <a:cubicBezTo>
                  <a:pt x="613" y="484"/>
                  <a:pt x="614" y="487"/>
                  <a:pt x="612" y="487"/>
                </a:cubicBezTo>
                <a:cubicBezTo>
                  <a:pt x="610" y="486"/>
                  <a:pt x="611" y="484"/>
                  <a:pt x="612" y="484"/>
                </a:cubicBezTo>
                <a:close/>
                <a:moveTo>
                  <a:pt x="611" y="489"/>
                </a:moveTo>
                <a:cubicBezTo>
                  <a:pt x="612" y="488"/>
                  <a:pt x="612" y="490"/>
                  <a:pt x="612" y="490"/>
                </a:cubicBezTo>
                <a:cubicBezTo>
                  <a:pt x="613" y="493"/>
                  <a:pt x="609" y="489"/>
                  <a:pt x="611" y="489"/>
                </a:cubicBezTo>
                <a:close/>
                <a:moveTo>
                  <a:pt x="609" y="556"/>
                </a:moveTo>
                <a:cubicBezTo>
                  <a:pt x="612" y="553"/>
                  <a:pt x="618" y="559"/>
                  <a:pt x="614" y="562"/>
                </a:cubicBezTo>
                <a:cubicBezTo>
                  <a:pt x="615" y="561"/>
                  <a:pt x="617" y="563"/>
                  <a:pt x="616" y="564"/>
                </a:cubicBezTo>
                <a:cubicBezTo>
                  <a:pt x="615" y="566"/>
                  <a:pt x="612" y="563"/>
                  <a:pt x="614" y="562"/>
                </a:cubicBezTo>
                <a:cubicBezTo>
                  <a:pt x="611" y="563"/>
                  <a:pt x="607" y="558"/>
                  <a:pt x="609" y="556"/>
                </a:cubicBezTo>
                <a:close/>
                <a:moveTo>
                  <a:pt x="607" y="532"/>
                </a:moveTo>
                <a:cubicBezTo>
                  <a:pt x="607" y="532"/>
                  <a:pt x="608" y="533"/>
                  <a:pt x="608" y="533"/>
                </a:cubicBezTo>
                <a:cubicBezTo>
                  <a:pt x="607" y="534"/>
                  <a:pt x="607" y="532"/>
                  <a:pt x="607" y="532"/>
                </a:cubicBezTo>
                <a:close/>
                <a:moveTo>
                  <a:pt x="607" y="517"/>
                </a:moveTo>
                <a:cubicBezTo>
                  <a:pt x="607" y="517"/>
                  <a:pt x="606" y="517"/>
                  <a:pt x="606" y="517"/>
                </a:cubicBezTo>
                <a:cubicBezTo>
                  <a:pt x="606" y="517"/>
                  <a:pt x="606" y="517"/>
                  <a:pt x="606" y="517"/>
                </a:cubicBezTo>
                <a:cubicBezTo>
                  <a:pt x="606" y="517"/>
                  <a:pt x="607" y="517"/>
                  <a:pt x="607" y="517"/>
                </a:cubicBezTo>
                <a:close/>
                <a:moveTo>
                  <a:pt x="606" y="571"/>
                </a:moveTo>
                <a:cubicBezTo>
                  <a:pt x="606" y="570"/>
                  <a:pt x="606" y="570"/>
                  <a:pt x="606" y="570"/>
                </a:cubicBezTo>
                <a:cubicBezTo>
                  <a:pt x="606" y="571"/>
                  <a:pt x="607" y="572"/>
                  <a:pt x="606" y="571"/>
                </a:cubicBezTo>
                <a:close/>
                <a:moveTo>
                  <a:pt x="605" y="461"/>
                </a:moveTo>
                <a:cubicBezTo>
                  <a:pt x="605" y="461"/>
                  <a:pt x="606" y="462"/>
                  <a:pt x="605" y="462"/>
                </a:cubicBezTo>
                <a:cubicBezTo>
                  <a:pt x="605" y="463"/>
                  <a:pt x="605" y="461"/>
                  <a:pt x="605" y="461"/>
                </a:cubicBezTo>
                <a:close/>
                <a:moveTo>
                  <a:pt x="602" y="525"/>
                </a:moveTo>
                <a:cubicBezTo>
                  <a:pt x="603" y="527"/>
                  <a:pt x="604" y="530"/>
                  <a:pt x="604" y="534"/>
                </a:cubicBezTo>
                <a:cubicBezTo>
                  <a:pt x="603" y="531"/>
                  <a:pt x="602" y="528"/>
                  <a:pt x="602" y="525"/>
                </a:cubicBezTo>
                <a:close/>
                <a:moveTo>
                  <a:pt x="604" y="450"/>
                </a:moveTo>
                <a:cubicBezTo>
                  <a:pt x="604" y="450"/>
                  <a:pt x="604" y="450"/>
                  <a:pt x="604" y="450"/>
                </a:cubicBezTo>
                <a:cubicBezTo>
                  <a:pt x="603" y="450"/>
                  <a:pt x="604" y="450"/>
                  <a:pt x="604" y="450"/>
                </a:cubicBezTo>
                <a:close/>
                <a:moveTo>
                  <a:pt x="604" y="477"/>
                </a:moveTo>
                <a:cubicBezTo>
                  <a:pt x="603" y="476"/>
                  <a:pt x="604" y="475"/>
                  <a:pt x="604" y="477"/>
                </a:cubicBezTo>
                <a:close/>
                <a:moveTo>
                  <a:pt x="602" y="450"/>
                </a:moveTo>
                <a:cubicBezTo>
                  <a:pt x="602" y="450"/>
                  <a:pt x="601" y="450"/>
                  <a:pt x="601" y="450"/>
                </a:cubicBezTo>
                <a:cubicBezTo>
                  <a:pt x="599" y="450"/>
                  <a:pt x="603" y="448"/>
                  <a:pt x="602" y="450"/>
                </a:cubicBezTo>
                <a:close/>
                <a:moveTo>
                  <a:pt x="601" y="516"/>
                </a:moveTo>
                <a:cubicBezTo>
                  <a:pt x="602" y="518"/>
                  <a:pt x="602" y="521"/>
                  <a:pt x="602" y="522"/>
                </a:cubicBezTo>
                <a:cubicBezTo>
                  <a:pt x="602" y="522"/>
                  <a:pt x="600" y="518"/>
                  <a:pt x="601" y="516"/>
                </a:cubicBezTo>
                <a:close/>
                <a:moveTo>
                  <a:pt x="597" y="521"/>
                </a:moveTo>
                <a:cubicBezTo>
                  <a:pt x="598" y="521"/>
                  <a:pt x="598" y="522"/>
                  <a:pt x="599" y="522"/>
                </a:cubicBezTo>
                <a:cubicBezTo>
                  <a:pt x="599" y="523"/>
                  <a:pt x="597" y="522"/>
                  <a:pt x="597" y="521"/>
                </a:cubicBezTo>
                <a:close/>
                <a:moveTo>
                  <a:pt x="597" y="542"/>
                </a:moveTo>
                <a:cubicBezTo>
                  <a:pt x="598" y="545"/>
                  <a:pt x="593" y="542"/>
                  <a:pt x="595" y="540"/>
                </a:cubicBezTo>
                <a:cubicBezTo>
                  <a:pt x="596" y="539"/>
                  <a:pt x="597" y="541"/>
                  <a:pt x="597" y="542"/>
                </a:cubicBezTo>
                <a:close/>
                <a:moveTo>
                  <a:pt x="594" y="433"/>
                </a:moveTo>
                <a:cubicBezTo>
                  <a:pt x="593" y="434"/>
                  <a:pt x="594" y="431"/>
                  <a:pt x="594" y="433"/>
                </a:cubicBezTo>
                <a:close/>
                <a:moveTo>
                  <a:pt x="595" y="451"/>
                </a:moveTo>
                <a:cubicBezTo>
                  <a:pt x="595" y="451"/>
                  <a:pt x="595" y="452"/>
                  <a:pt x="596" y="453"/>
                </a:cubicBezTo>
                <a:cubicBezTo>
                  <a:pt x="596" y="455"/>
                  <a:pt x="592" y="452"/>
                  <a:pt x="595" y="451"/>
                </a:cubicBezTo>
                <a:close/>
                <a:moveTo>
                  <a:pt x="595" y="520"/>
                </a:moveTo>
                <a:cubicBezTo>
                  <a:pt x="595" y="520"/>
                  <a:pt x="595" y="520"/>
                  <a:pt x="594" y="519"/>
                </a:cubicBezTo>
                <a:cubicBezTo>
                  <a:pt x="594" y="519"/>
                  <a:pt x="594" y="519"/>
                  <a:pt x="594" y="519"/>
                </a:cubicBezTo>
                <a:cubicBezTo>
                  <a:pt x="594" y="519"/>
                  <a:pt x="595" y="520"/>
                  <a:pt x="595" y="520"/>
                </a:cubicBezTo>
                <a:close/>
                <a:moveTo>
                  <a:pt x="595" y="538"/>
                </a:moveTo>
                <a:cubicBezTo>
                  <a:pt x="595" y="543"/>
                  <a:pt x="590" y="531"/>
                  <a:pt x="590" y="529"/>
                </a:cubicBezTo>
                <a:cubicBezTo>
                  <a:pt x="591" y="532"/>
                  <a:pt x="589" y="528"/>
                  <a:pt x="589" y="527"/>
                </a:cubicBezTo>
                <a:cubicBezTo>
                  <a:pt x="591" y="527"/>
                  <a:pt x="592" y="531"/>
                  <a:pt x="592" y="531"/>
                </a:cubicBezTo>
                <a:cubicBezTo>
                  <a:pt x="593" y="533"/>
                  <a:pt x="595" y="536"/>
                  <a:pt x="595" y="538"/>
                </a:cubicBezTo>
                <a:close/>
                <a:moveTo>
                  <a:pt x="590" y="422"/>
                </a:moveTo>
                <a:cubicBezTo>
                  <a:pt x="589" y="421"/>
                  <a:pt x="591" y="423"/>
                  <a:pt x="590" y="422"/>
                </a:cubicBezTo>
                <a:close/>
                <a:moveTo>
                  <a:pt x="591" y="452"/>
                </a:moveTo>
                <a:cubicBezTo>
                  <a:pt x="591" y="452"/>
                  <a:pt x="591" y="454"/>
                  <a:pt x="590" y="454"/>
                </a:cubicBezTo>
                <a:cubicBezTo>
                  <a:pt x="589" y="454"/>
                  <a:pt x="590" y="452"/>
                  <a:pt x="591" y="452"/>
                </a:cubicBezTo>
                <a:close/>
                <a:moveTo>
                  <a:pt x="588" y="505"/>
                </a:moveTo>
                <a:cubicBezTo>
                  <a:pt x="590" y="505"/>
                  <a:pt x="591" y="509"/>
                  <a:pt x="590" y="510"/>
                </a:cubicBezTo>
                <a:cubicBezTo>
                  <a:pt x="588" y="511"/>
                  <a:pt x="587" y="507"/>
                  <a:pt x="588" y="505"/>
                </a:cubicBezTo>
                <a:close/>
                <a:moveTo>
                  <a:pt x="589" y="546"/>
                </a:moveTo>
                <a:cubicBezTo>
                  <a:pt x="589" y="545"/>
                  <a:pt x="589" y="545"/>
                  <a:pt x="589" y="545"/>
                </a:cubicBezTo>
                <a:cubicBezTo>
                  <a:pt x="589" y="545"/>
                  <a:pt x="589" y="545"/>
                  <a:pt x="589" y="546"/>
                </a:cubicBezTo>
                <a:cubicBezTo>
                  <a:pt x="589" y="546"/>
                  <a:pt x="589" y="546"/>
                  <a:pt x="589" y="546"/>
                </a:cubicBezTo>
                <a:cubicBezTo>
                  <a:pt x="589" y="546"/>
                  <a:pt x="589" y="546"/>
                  <a:pt x="589" y="546"/>
                </a:cubicBezTo>
                <a:close/>
                <a:moveTo>
                  <a:pt x="590" y="552"/>
                </a:moveTo>
                <a:cubicBezTo>
                  <a:pt x="589" y="552"/>
                  <a:pt x="587" y="550"/>
                  <a:pt x="587" y="549"/>
                </a:cubicBezTo>
                <a:cubicBezTo>
                  <a:pt x="589" y="549"/>
                  <a:pt x="588" y="551"/>
                  <a:pt x="590" y="552"/>
                </a:cubicBezTo>
                <a:close/>
                <a:moveTo>
                  <a:pt x="587" y="548"/>
                </a:moveTo>
                <a:cubicBezTo>
                  <a:pt x="586" y="545"/>
                  <a:pt x="587" y="549"/>
                  <a:pt x="587" y="548"/>
                </a:cubicBezTo>
                <a:close/>
                <a:moveTo>
                  <a:pt x="586" y="410"/>
                </a:moveTo>
                <a:cubicBezTo>
                  <a:pt x="586" y="410"/>
                  <a:pt x="586" y="410"/>
                  <a:pt x="586" y="410"/>
                </a:cubicBezTo>
                <a:cubicBezTo>
                  <a:pt x="586" y="410"/>
                  <a:pt x="586" y="410"/>
                  <a:pt x="586" y="410"/>
                </a:cubicBezTo>
                <a:close/>
                <a:moveTo>
                  <a:pt x="586" y="566"/>
                </a:moveTo>
                <a:cubicBezTo>
                  <a:pt x="585" y="565"/>
                  <a:pt x="587" y="568"/>
                  <a:pt x="586" y="566"/>
                </a:cubicBezTo>
                <a:close/>
                <a:moveTo>
                  <a:pt x="585" y="530"/>
                </a:moveTo>
                <a:cubicBezTo>
                  <a:pt x="586" y="530"/>
                  <a:pt x="586" y="532"/>
                  <a:pt x="585" y="531"/>
                </a:cubicBezTo>
                <a:cubicBezTo>
                  <a:pt x="584" y="531"/>
                  <a:pt x="585" y="530"/>
                  <a:pt x="585" y="530"/>
                </a:cubicBezTo>
                <a:close/>
                <a:moveTo>
                  <a:pt x="583" y="469"/>
                </a:moveTo>
                <a:cubicBezTo>
                  <a:pt x="583" y="469"/>
                  <a:pt x="584" y="470"/>
                  <a:pt x="583" y="470"/>
                </a:cubicBezTo>
                <a:cubicBezTo>
                  <a:pt x="583" y="471"/>
                  <a:pt x="583" y="468"/>
                  <a:pt x="583" y="469"/>
                </a:cubicBezTo>
                <a:close/>
                <a:moveTo>
                  <a:pt x="582" y="481"/>
                </a:moveTo>
                <a:cubicBezTo>
                  <a:pt x="582" y="481"/>
                  <a:pt x="582" y="482"/>
                  <a:pt x="582" y="482"/>
                </a:cubicBezTo>
                <a:cubicBezTo>
                  <a:pt x="584" y="484"/>
                  <a:pt x="580" y="480"/>
                  <a:pt x="582" y="481"/>
                </a:cubicBezTo>
                <a:close/>
                <a:moveTo>
                  <a:pt x="574" y="537"/>
                </a:moveTo>
                <a:cubicBezTo>
                  <a:pt x="573" y="535"/>
                  <a:pt x="575" y="538"/>
                  <a:pt x="574" y="537"/>
                </a:cubicBezTo>
                <a:close/>
                <a:moveTo>
                  <a:pt x="577" y="514"/>
                </a:moveTo>
                <a:cubicBezTo>
                  <a:pt x="576" y="514"/>
                  <a:pt x="576" y="510"/>
                  <a:pt x="575" y="509"/>
                </a:cubicBezTo>
                <a:cubicBezTo>
                  <a:pt x="578" y="509"/>
                  <a:pt x="576" y="512"/>
                  <a:pt x="577" y="514"/>
                </a:cubicBezTo>
                <a:close/>
                <a:moveTo>
                  <a:pt x="579" y="552"/>
                </a:moveTo>
                <a:cubicBezTo>
                  <a:pt x="577" y="553"/>
                  <a:pt x="576" y="548"/>
                  <a:pt x="576" y="546"/>
                </a:cubicBezTo>
                <a:cubicBezTo>
                  <a:pt x="578" y="547"/>
                  <a:pt x="581" y="552"/>
                  <a:pt x="579" y="552"/>
                </a:cubicBezTo>
                <a:close/>
                <a:moveTo>
                  <a:pt x="577" y="515"/>
                </a:moveTo>
                <a:cubicBezTo>
                  <a:pt x="578" y="522"/>
                  <a:pt x="580" y="527"/>
                  <a:pt x="581" y="534"/>
                </a:cubicBezTo>
                <a:cubicBezTo>
                  <a:pt x="579" y="528"/>
                  <a:pt x="577" y="522"/>
                  <a:pt x="577" y="515"/>
                </a:cubicBezTo>
                <a:close/>
                <a:moveTo>
                  <a:pt x="580" y="426"/>
                </a:moveTo>
                <a:cubicBezTo>
                  <a:pt x="581" y="426"/>
                  <a:pt x="581" y="427"/>
                  <a:pt x="581" y="427"/>
                </a:cubicBezTo>
                <a:cubicBezTo>
                  <a:pt x="582" y="429"/>
                  <a:pt x="579" y="427"/>
                  <a:pt x="580" y="426"/>
                </a:cubicBezTo>
                <a:close/>
                <a:moveTo>
                  <a:pt x="578" y="464"/>
                </a:moveTo>
                <a:cubicBezTo>
                  <a:pt x="577" y="465"/>
                  <a:pt x="577" y="464"/>
                  <a:pt x="577" y="464"/>
                </a:cubicBezTo>
                <a:cubicBezTo>
                  <a:pt x="578" y="463"/>
                  <a:pt x="578" y="464"/>
                  <a:pt x="578" y="464"/>
                </a:cubicBezTo>
                <a:close/>
                <a:moveTo>
                  <a:pt x="576" y="475"/>
                </a:moveTo>
                <a:cubicBezTo>
                  <a:pt x="576" y="474"/>
                  <a:pt x="577" y="477"/>
                  <a:pt x="576" y="475"/>
                </a:cubicBezTo>
                <a:close/>
                <a:moveTo>
                  <a:pt x="576" y="497"/>
                </a:moveTo>
                <a:cubicBezTo>
                  <a:pt x="576" y="497"/>
                  <a:pt x="576" y="498"/>
                  <a:pt x="576" y="498"/>
                </a:cubicBezTo>
                <a:cubicBezTo>
                  <a:pt x="576" y="499"/>
                  <a:pt x="576" y="497"/>
                  <a:pt x="576" y="497"/>
                </a:cubicBezTo>
                <a:close/>
                <a:moveTo>
                  <a:pt x="576" y="507"/>
                </a:moveTo>
                <a:cubicBezTo>
                  <a:pt x="577" y="507"/>
                  <a:pt x="577" y="508"/>
                  <a:pt x="576" y="508"/>
                </a:cubicBezTo>
                <a:cubicBezTo>
                  <a:pt x="574" y="509"/>
                  <a:pt x="575" y="505"/>
                  <a:pt x="576" y="507"/>
                </a:cubicBezTo>
                <a:close/>
                <a:moveTo>
                  <a:pt x="575" y="486"/>
                </a:moveTo>
                <a:cubicBezTo>
                  <a:pt x="575" y="485"/>
                  <a:pt x="576" y="488"/>
                  <a:pt x="575" y="486"/>
                </a:cubicBezTo>
                <a:close/>
                <a:moveTo>
                  <a:pt x="573" y="519"/>
                </a:moveTo>
                <a:cubicBezTo>
                  <a:pt x="574" y="524"/>
                  <a:pt x="577" y="528"/>
                  <a:pt x="576" y="533"/>
                </a:cubicBezTo>
                <a:cubicBezTo>
                  <a:pt x="573" y="530"/>
                  <a:pt x="572" y="524"/>
                  <a:pt x="573" y="519"/>
                </a:cubicBezTo>
                <a:close/>
                <a:moveTo>
                  <a:pt x="556" y="517"/>
                </a:moveTo>
                <a:cubicBezTo>
                  <a:pt x="556" y="517"/>
                  <a:pt x="556" y="516"/>
                  <a:pt x="556" y="516"/>
                </a:cubicBezTo>
                <a:cubicBezTo>
                  <a:pt x="554" y="516"/>
                  <a:pt x="557" y="515"/>
                  <a:pt x="556" y="517"/>
                </a:cubicBezTo>
                <a:close/>
                <a:moveTo>
                  <a:pt x="559" y="486"/>
                </a:moveTo>
                <a:cubicBezTo>
                  <a:pt x="558" y="486"/>
                  <a:pt x="559" y="485"/>
                  <a:pt x="559" y="485"/>
                </a:cubicBezTo>
                <a:cubicBezTo>
                  <a:pt x="559" y="485"/>
                  <a:pt x="559" y="486"/>
                  <a:pt x="559" y="486"/>
                </a:cubicBezTo>
                <a:close/>
                <a:moveTo>
                  <a:pt x="561" y="516"/>
                </a:moveTo>
                <a:cubicBezTo>
                  <a:pt x="560" y="516"/>
                  <a:pt x="560" y="515"/>
                  <a:pt x="560" y="515"/>
                </a:cubicBezTo>
                <a:cubicBezTo>
                  <a:pt x="562" y="514"/>
                  <a:pt x="563" y="517"/>
                  <a:pt x="561" y="516"/>
                </a:cubicBezTo>
                <a:close/>
                <a:moveTo>
                  <a:pt x="572" y="517"/>
                </a:moveTo>
                <a:cubicBezTo>
                  <a:pt x="572" y="517"/>
                  <a:pt x="567" y="506"/>
                  <a:pt x="569" y="506"/>
                </a:cubicBezTo>
                <a:cubicBezTo>
                  <a:pt x="569" y="505"/>
                  <a:pt x="572" y="514"/>
                  <a:pt x="572" y="515"/>
                </a:cubicBezTo>
                <a:cubicBezTo>
                  <a:pt x="572" y="515"/>
                  <a:pt x="572" y="516"/>
                  <a:pt x="572" y="517"/>
                </a:cubicBezTo>
                <a:close/>
                <a:moveTo>
                  <a:pt x="569" y="480"/>
                </a:moveTo>
                <a:cubicBezTo>
                  <a:pt x="570" y="480"/>
                  <a:pt x="570" y="480"/>
                  <a:pt x="570" y="480"/>
                </a:cubicBezTo>
                <a:cubicBezTo>
                  <a:pt x="571" y="482"/>
                  <a:pt x="567" y="479"/>
                  <a:pt x="569" y="480"/>
                </a:cubicBezTo>
                <a:close/>
                <a:moveTo>
                  <a:pt x="570" y="451"/>
                </a:moveTo>
                <a:cubicBezTo>
                  <a:pt x="570" y="451"/>
                  <a:pt x="570" y="452"/>
                  <a:pt x="570" y="453"/>
                </a:cubicBezTo>
                <a:cubicBezTo>
                  <a:pt x="568" y="454"/>
                  <a:pt x="568" y="449"/>
                  <a:pt x="570" y="451"/>
                </a:cubicBezTo>
                <a:close/>
                <a:moveTo>
                  <a:pt x="569" y="528"/>
                </a:moveTo>
                <a:cubicBezTo>
                  <a:pt x="569" y="528"/>
                  <a:pt x="569" y="529"/>
                  <a:pt x="569" y="529"/>
                </a:cubicBezTo>
                <a:cubicBezTo>
                  <a:pt x="567" y="529"/>
                  <a:pt x="569" y="526"/>
                  <a:pt x="569" y="528"/>
                </a:cubicBezTo>
                <a:close/>
                <a:moveTo>
                  <a:pt x="567" y="520"/>
                </a:moveTo>
                <a:cubicBezTo>
                  <a:pt x="567" y="520"/>
                  <a:pt x="567" y="519"/>
                  <a:pt x="567" y="519"/>
                </a:cubicBezTo>
                <a:cubicBezTo>
                  <a:pt x="568" y="519"/>
                  <a:pt x="567" y="521"/>
                  <a:pt x="567" y="520"/>
                </a:cubicBezTo>
                <a:close/>
                <a:moveTo>
                  <a:pt x="567" y="511"/>
                </a:moveTo>
                <a:cubicBezTo>
                  <a:pt x="566" y="511"/>
                  <a:pt x="566" y="509"/>
                  <a:pt x="566" y="508"/>
                </a:cubicBezTo>
                <a:cubicBezTo>
                  <a:pt x="567" y="509"/>
                  <a:pt x="567" y="510"/>
                  <a:pt x="567" y="511"/>
                </a:cubicBezTo>
                <a:close/>
                <a:moveTo>
                  <a:pt x="566" y="507"/>
                </a:moveTo>
                <a:cubicBezTo>
                  <a:pt x="565" y="506"/>
                  <a:pt x="567" y="504"/>
                  <a:pt x="566" y="507"/>
                </a:cubicBezTo>
                <a:close/>
                <a:moveTo>
                  <a:pt x="565" y="501"/>
                </a:moveTo>
                <a:cubicBezTo>
                  <a:pt x="565" y="501"/>
                  <a:pt x="565" y="501"/>
                  <a:pt x="565" y="501"/>
                </a:cubicBezTo>
                <a:cubicBezTo>
                  <a:pt x="565" y="501"/>
                  <a:pt x="565" y="501"/>
                  <a:pt x="565" y="500"/>
                </a:cubicBezTo>
                <a:cubicBezTo>
                  <a:pt x="565" y="501"/>
                  <a:pt x="565" y="501"/>
                  <a:pt x="565" y="501"/>
                </a:cubicBezTo>
                <a:close/>
                <a:moveTo>
                  <a:pt x="565" y="508"/>
                </a:moveTo>
                <a:cubicBezTo>
                  <a:pt x="566" y="510"/>
                  <a:pt x="562" y="508"/>
                  <a:pt x="564" y="507"/>
                </a:cubicBezTo>
                <a:cubicBezTo>
                  <a:pt x="564" y="507"/>
                  <a:pt x="565" y="507"/>
                  <a:pt x="565" y="508"/>
                </a:cubicBezTo>
                <a:close/>
                <a:moveTo>
                  <a:pt x="564" y="502"/>
                </a:moveTo>
                <a:cubicBezTo>
                  <a:pt x="564" y="502"/>
                  <a:pt x="564" y="503"/>
                  <a:pt x="564" y="503"/>
                </a:cubicBezTo>
                <a:cubicBezTo>
                  <a:pt x="565" y="505"/>
                  <a:pt x="561" y="503"/>
                  <a:pt x="564" y="502"/>
                </a:cubicBezTo>
                <a:close/>
                <a:moveTo>
                  <a:pt x="560" y="494"/>
                </a:moveTo>
                <a:cubicBezTo>
                  <a:pt x="562" y="492"/>
                  <a:pt x="564" y="496"/>
                  <a:pt x="564" y="496"/>
                </a:cubicBezTo>
                <a:cubicBezTo>
                  <a:pt x="565" y="501"/>
                  <a:pt x="557" y="496"/>
                  <a:pt x="560" y="494"/>
                </a:cubicBezTo>
                <a:close/>
                <a:moveTo>
                  <a:pt x="557" y="439"/>
                </a:moveTo>
                <a:cubicBezTo>
                  <a:pt x="557" y="440"/>
                  <a:pt x="556" y="438"/>
                  <a:pt x="557" y="439"/>
                </a:cubicBezTo>
                <a:close/>
                <a:moveTo>
                  <a:pt x="555" y="457"/>
                </a:moveTo>
                <a:cubicBezTo>
                  <a:pt x="556" y="456"/>
                  <a:pt x="558" y="461"/>
                  <a:pt x="558" y="460"/>
                </a:cubicBezTo>
                <a:cubicBezTo>
                  <a:pt x="558" y="462"/>
                  <a:pt x="558" y="464"/>
                  <a:pt x="559" y="467"/>
                </a:cubicBezTo>
                <a:cubicBezTo>
                  <a:pt x="560" y="471"/>
                  <a:pt x="564" y="476"/>
                  <a:pt x="564" y="480"/>
                </a:cubicBezTo>
                <a:cubicBezTo>
                  <a:pt x="560" y="478"/>
                  <a:pt x="561" y="472"/>
                  <a:pt x="559" y="469"/>
                </a:cubicBezTo>
                <a:cubicBezTo>
                  <a:pt x="558" y="468"/>
                  <a:pt x="556" y="462"/>
                  <a:pt x="555" y="459"/>
                </a:cubicBezTo>
                <a:cubicBezTo>
                  <a:pt x="555" y="458"/>
                  <a:pt x="553" y="457"/>
                  <a:pt x="555" y="457"/>
                </a:cubicBezTo>
                <a:close/>
                <a:moveTo>
                  <a:pt x="549" y="528"/>
                </a:moveTo>
                <a:cubicBezTo>
                  <a:pt x="549" y="527"/>
                  <a:pt x="550" y="527"/>
                  <a:pt x="550" y="528"/>
                </a:cubicBezTo>
                <a:cubicBezTo>
                  <a:pt x="551" y="529"/>
                  <a:pt x="549" y="528"/>
                  <a:pt x="549" y="528"/>
                </a:cubicBezTo>
                <a:close/>
                <a:moveTo>
                  <a:pt x="540" y="511"/>
                </a:moveTo>
                <a:cubicBezTo>
                  <a:pt x="540" y="513"/>
                  <a:pt x="539" y="510"/>
                  <a:pt x="540" y="511"/>
                </a:cubicBezTo>
                <a:close/>
                <a:moveTo>
                  <a:pt x="541" y="554"/>
                </a:moveTo>
                <a:cubicBezTo>
                  <a:pt x="543" y="553"/>
                  <a:pt x="546" y="557"/>
                  <a:pt x="546" y="557"/>
                </a:cubicBezTo>
                <a:cubicBezTo>
                  <a:pt x="546" y="563"/>
                  <a:pt x="538" y="556"/>
                  <a:pt x="541" y="554"/>
                </a:cubicBezTo>
                <a:close/>
                <a:moveTo>
                  <a:pt x="541" y="528"/>
                </a:moveTo>
                <a:cubicBezTo>
                  <a:pt x="541" y="527"/>
                  <a:pt x="543" y="529"/>
                  <a:pt x="542" y="529"/>
                </a:cubicBezTo>
                <a:cubicBezTo>
                  <a:pt x="542" y="529"/>
                  <a:pt x="541" y="529"/>
                  <a:pt x="541" y="528"/>
                </a:cubicBezTo>
                <a:close/>
                <a:moveTo>
                  <a:pt x="549" y="540"/>
                </a:moveTo>
                <a:cubicBezTo>
                  <a:pt x="550" y="541"/>
                  <a:pt x="548" y="539"/>
                  <a:pt x="549" y="540"/>
                </a:cubicBezTo>
                <a:close/>
                <a:moveTo>
                  <a:pt x="548" y="494"/>
                </a:moveTo>
                <a:cubicBezTo>
                  <a:pt x="547" y="494"/>
                  <a:pt x="547" y="493"/>
                  <a:pt x="547" y="492"/>
                </a:cubicBezTo>
                <a:cubicBezTo>
                  <a:pt x="547" y="492"/>
                  <a:pt x="548" y="493"/>
                  <a:pt x="548" y="494"/>
                </a:cubicBezTo>
                <a:close/>
                <a:moveTo>
                  <a:pt x="546" y="541"/>
                </a:moveTo>
                <a:cubicBezTo>
                  <a:pt x="546" y="544"/>
                  <a:pt x="543" y="538"/>
                  <a:pt x="546" y="539"/>
                </a:cubicBezTo>
                <a:cubicBezTo>
                  <a:pt x="546" y="539"/>
                  <a:pt x="546" y="540"/>
                  <a:pt x="546" y="541"/>
                </a:cubicBezTo>
                <a:close/>
                <a:moveTo>
                  <a:pt x="545" y="522"/>
                </a:moveTo>
                <a:cubicBezTo>
                  <a:pt x="545" y="521"/>
                  <a:pt x="546" y="522"/>
                  <a:pt x="546" y="522"/>
                </a:cubicBezTo>
                <a:cubicBezTo>
                  <a:pt x="546" y="523"/>
                  <a:pt x="544" y="522"/>
                  <a:pt x="545" y="522"/>
                </a:cubicBezTo>
                <a:close/>
                <a:moveTo>
                  <a:pt x="545" y="470"/>
                </a:moveTo>
                <a:cubicBezTo>
                  <a:pt x="545" y="468"/>
                  <a:pt x="544" y="467"/>
                  <a:pt x="544" y="465"/>
                </a:cubicBezTo>
                <a:cubicBezTo>
                  <a:pt x="545" y="466"/>
                  <a:pt x="546" y="468"/>
                  <a:pt x="545" y="470"/>
                </a:cubicBezTo>
                <a:close/>
                <a:moveTo>
                  <a:pt x="543" y="518"/>
                </a:moveTo>
                <a:cubicBezTo>
                  <a:pt x="543" y="518"/>
                  <a:pt x="543" y="518"/>
                  <a:pt x="544" y="518"/>
                </a:cubicBezTo>
                <a:cubicBezTo>
                  <a:pt x="545" y="517"/>
                  <a:pt x="546" y="522"/>
                  <a:pt x="543" y="521"/>
                </a:cubicBezTo>
                <a:cubicBezTo>
                  <a:pt x="543" y="521"/>
                  <a:pt x="542" y="520"/>
                  <a:pt x="542" y="519"/>
                </a:cubicBezTo>
                <a:cubicBezTo>
                  <a:pt x="542" y="519"/>
                  <a:pt x="541" y="519"/>
                  <a:pt x="541" y="518"/>
                </a:cubicBezTo>
                <a:cubicBezTo>
                  <a:pt x="541" y="517"/>
                  <a:pt x="543" y="517"/>
                  <a:pt x="543" y="518"/>
                </a:cubicBezTo>
                <a:cubicBezTo>
                  <a:pt x="543" y="518"/>
                  <a:pt x="543" y="518"/>
                  <a:pt x="543" y="518"/>
                </a:cubicBezTo>
                <a:close/>
                <a:moveTo>
                  <a:pt x="541" y="454"/>
                </a:moveTo>
                <a:cubicBezTo>
                  <a:pt x="542" y="456"/>
                  <a:pt x="543" y="459"/>
                  <a:pt x="543" y="461"/>
                </a:cubicBezTo>
                <a:cubicBezTo>
                  <a:pt x="542" y="459"/>
                  <a:pt x="541" y="457"/>
                  <a:pt x="541" y="454"/>
                </a:cubicBezTo>
                <a:close/>
                <a:moveTo>
                  <a:pt x="539" y="439"/>
                </a:moveTo>
                <a:cubicBezTo>
                  <a:pt x="541" y="443"/>
                  <a:pt x="541" y="450"/>
                  <a:pt x="542" y="454"/>
                </a:cubicBezTo>
                <a:cubicBezTo>
                  <a:pt x="540" y="450"/>
                  <a:pt x="540" y="445"/>
                  <a:pt x="539" y="439"/>
                </a:cubicBezTo>
                <a:close/>
                <a:moveTo>
                  <a:pt x="539" y="439"/>
                </a:moveTo>
                <a:cubicBezTo>
                  <a:pt x="538" y="438"/>
                  <a:pt x="538" y="436"/>
                  <a:pt x="538" y="434"/>
                </a:cubicBezTo>
                <a:cubicBezTo>
                  <a:pt x="540" y="435"/>
                  <a:pt x="540" y="437"/>
                  <a:pt x="539" y="439"/>
                </a:cubicBezTo>
                <a:close/>
                <a:moveTo>
                  <a:pt x="539" y="432"/>
                </a:moveTo>
                <a:cubicBezTo>
                  <a:pt x="539" y="433"/>
                  <a:pt x="540" y="433"/>
                  <a:pt x="539" y="434"/>
                </a:cubicBezTo>
                <a:cubicBezTo>
                  <a:pt x="538" y="434"/>
                  <a:pt x="538" y="429"/>
                  <a:pt x="539" y="432"/>
                </a:cubicBezTo>
                <a:close/>
                <a:moveTo>
                  <a:pt x="538" y="420"/>
                </a:moveTo>
                <a:cubicBezTo>
                  <a:pt x="538" y="420"/>
                  <a:pt x="539" y="420"/>
                  <a:pt x="538" y="421"/>
                </a:cubicBezTo>
                <a:cubicBezTo>
                  <a:pt x="537" y="421"/>
                  <a:pt x="537" y="418"/>
                  <a:pt x="538" y="420"/>
                </a:cubicBezTo>
                <a:close/>
                <a:moveTo>
                  <a:pt x="537" y="551"/>
                </a:moveTo>
                <a:cubicBezTo>
                  <a:pt x="538" y="550"/>
                  <a:pt x="539" y="551"/>
                  <a:pt x="539" y="552"/>
                </a:cubicBezTo>
                <a:cubicBezTo>
                  <a:pt x="539" y="554"/>
                  <a:pt x="536" y="553"/>
                  <a:pt x="537" y="551"/>
                </a:cubicBezTo>
                <a:close/>
                <a:moveTo>
                  <a:pt x="535" y="409"/>
                </a:moveTo>
                <a:cubicBezTo>
                  <a:pt x="536" y="409"/>
                  <a:pt x="536" y="411"/>
                  <a:pt x="535" y="409"/>
                </a:cubicBezTo>
                <a:close/>
                <a:moveTo>
                  <a:pt x="535" y="418"/>
                </a:moveTo>
                <a:cubicBezTo>
                  <a:pt x="533" y="417"/>
                  <a:pt x="535" y="416"/>
                  <a:pt x="535" y="418"/>
                </a:cubicBezTo>
                <a:close/>
                <a:moveTo>
                  <a:pt x="534" y="460"/>
                </a:moveTo>
                <a:cubicBezTo>
                  <a:pt x="535" y="460"/>
                  <a:pt x="536" y="461"/>
                  <a:pt x="536" y="461"/>
                </a:cubicBezTo>
                <a:cubicBezTo>
                  <a:pt x="537" y="465"/>
                  <a:pt x="533" y="461"/>
                  <a:pt x="534" y="460"/>
                </a:cubicBezTo>
                <a:close/>
                <a:moveTo>
                  <a:pt x="301" y="28"/>
                </a:moveTo>
                <a:cubicBezTo>
                  <a:pt x="300" y="27"/>
                  <a:pt x="303" y="29"/>
                  <a:pt x="301" y="28"/>
                </a:cubicBezTo>
                <a:close/>
                <a:moveTo>
                  <a:pt x="308" y="19"/>
                </a:moveTo>
                <a:cubicBezTo>
                  <a:pt x="310" y="20"/>
                  <a:pt x="312" y="22"/>
                  <a:pt x="314" y="24"/>
                </a:cubicBezTo>
                <a:cubicBezTo>
                  <a:pt x="311" y="23"/>
                  <a:pt x="310" y="21"/>
                  <a:pt x="308" y="19"/>
                </a:cubicBezTo>
                <a:close/>
                <a:moveTo>
                  <a:pt x="314" y="19"/>
                </a:moveTo>
                <a:cubicBezTo>
                  <a:pt x="314" y="19"/>
                  <a:pt x="314" y="19"/>
                  <a:pt x="314" y="19"/>
                </a:cubicBezTo>
                <a:cubicBezTo>
                  <a:pt x="315" y="20"/>
                  <a:pt x="314" y="19"/>
                  <a:pt x="314" y="19"/>
                </a:cubicBezTo>
                <a:close/>
                <a:moveTo>
                  <a:pt x="286" y="38"/>
                </a:moveTo>
                <a:cubicBezTo>
                  <a:pt x="286" y="38"/>
                  <a:pt x="286" y="38"/>
                  <a:pt x="286" y="38"/>
                </a:cubicBezTo>
                <a:cubicBezTo>
                  <a:pt x="286" y="38"/>
                  <a:pt x="287" y="38"/>
                  <a:pt x="287" y="38"/>
                </a:cubicBezTo>
                <a:cubicBezTo>
                  <a:pt x="287" y="38"/>
                  <a:pt x="287" y="38"/>
                  <a:pt x="286" y="38"/>
                </a:cubicBezTo>
                <a:close/>
                <a:moveTo>
                  <a:pt x="290" y="56"/>
                </a:moveTo>
                <a:cubicBezTo>
                  <a:pt x="291" y="55"/>
                  <a:pt x="292" y="57"/>
                  <a:pt x="290" y="56"/>
                </a:cubicBezTo>
                <a:close/>
                <a:moveTo>
                  <a:pt x="294" y="57"/>
                </a:moveTo>
                <a:cubicBezTo>
                  <a:pt x="292" y="57"/>
                  <a:pt x="293" y="55"/>
                  <a:pt x="294" y="57"/>
                </a:cubicBezTo>
                <a:close/>
                <a:moveTo>
                  <a:pt x="292" y="34"/>
                </a:moveTo>
                <a:cubicBezTo>
                  <a:pt x="293" y="33"/>
                  <a:pt x="294" y="34"/>
                  <a:pt x="294" y="35"/>
                </a:cubicBezTo>
                <a:cubicBezTo>
                  <a:pt x="293" y="35"/>
                  <a:pt x="293" y="34"/>
                  <a:pt x="292" y="34"/>
                </a:cubicBezTo>
                <a:close/>
                <a:moveTo>
                  <a:pt x="301" y="46"/>
                </a:moveTo>
                <a:cubicBezTo>
                  <a:pt x="302" y="47"/>
                  <a:pt x="299" y="45"/>
                  <a:pt x="301" y="46"/>
                </a:cubicBezTo>
                <a:close/>
                <a:moveTo>
                  <a:pt x="300" y="50"/>
                </a:moveTo>
                <a:cubicBezTo>
                  <a:pt x="298" y="49"/>
                  <a:pt x="302" y="52"/>
                  <a:pt x="300" y="50"/>
                </a:cubicBezTo>
                <a:close/>
                <a:moveTo>
                  <a:pt x="301" y="48"/>
                </a:moveTo>
                <a:cubicBezTo>
                  <a:pt x="300" y="48"/>
                  <a:pt x="300" y="47"/>
                  <a:pt x="300" y="47"/>
                </a:cubicBezTo>
                <a:cubicBezTo>
                  <a:pt x="301" y="45"/>
                  <a:pt x="304" y="50"/>
                  <a:pt x="301" y="48"/>
                </a:cubicBezTo>
                <a:close/>
                <a:moveTo>
                  <a:pt x="197" y="116"/>
                </a:moveTo>
                <a:cubicBezTo>
                  <a:pt x="197" y="115"/>
                  <a:pt x="196" y="115"/>
                  <a:pt x="197" y="115"/>
                </a:cubicBezTo>
                <a:cubicBezTo>
                  <a:pt x="198" y="114"/>
                  <a:pt x="199" y="117"/>
                  <a:pt x="197" y="116"/>
                </a:cubicBezTo>
                <a:close/>
                <a:moveTo>
                  <a:pt x="204" y="118"/>
                </a:moveTo>
                <a:cubicBezTo>
                  <a:pt x="205" y="118"/>
                  <a:pt x="206" y="119"/>
                  <a:pt x="205" y="119"/>
                </a:cubicBezTo>
                <a:cubicBezTo>
                  <a:pt x="205" y="120"/>
                  <a:pt x="203" y="119"/>
                  <a:pt x="204" y="118"/>
                </a:cubicBezTo>
                <a:close/>
                <a:moveTo>
                  <a:pt x="201" y="107"/>
                </a:moveTo>
                <a:cubicBezTo>
                  <a:pt x="205" y="105"/>
                  <a:pt x="202" y="110"/>
                  <a:pt x="201" y="107"/>
                </a:cubicBezTo>
                <a:cubicBezTo>
                  <a:pt x="201" y="106"/>
                  <a:pt x="201" y="107"/>
                  <a:pt x="201" y="107"/>
                </a:cubicBezTo>
                <a:close/>
                <a:moveTo>
                  <a:pt x="203" y="122"/>
                </a:moveTo>
                <a:cubicBezTo>
                  <a:pt x="203" y="122"/>
                  <a:pt x="202" y="122"/>
                  <a:pt x="202" y="121"/>
                </a:cubicBezTo>
                <a:cubicBezTo>
                  <a:pt x="202" y="121"/>
                  <a:pt x="202" y="121"/>
                  <a:pt x="202" y="121"/>
                </a:cubicBezTo>
                <a:cubicBezTo>
                  <a:pt x="202" y="120"/>
                  <a:pt x="201" y="119"/>
                  <a:pt x="200" y="118"/>
                </a:cubicBezTo>
                <a:cubicBezTo>
                  <a:pt x="202" y="119"/>
                  <a:pt x="203" y="121"/>
                  <a:pt x="205" y="124"/>
                </a:cubicBezTo>
                <a:cubicBezTo>
                  <a:pt x="204" y="123"/>
                  <a:pt x="203" y="123"/>
                  <a:pt x="203" y="122"/>
                </a:cubicBezTo>
                <a:close/>
                <a:moveTo>
                  <a:pt x="205" y="124"/>
                </a:moveTo>
                <a:cubicBezTo>
                  <a:pt x="206" y="123"/>
                  <a:pt x="207" y="128"/>
                  <a:pt x="205" y="126"/>
                </a:cubicBezTo>
                <a:cubicBezTo>
                  <a:pt x="205" y="125"/>
                  <a:pt x="204" y="125"/>
                  <a:pt x="205" y="124"/>
                </a:cubicBezTo>
                <a:close/>
                <a:moveTo>
                  <a:pt x="205" y="140"/>
                </a:moveTo>
                <a:cubicBezTo>
                  <a:pt x="204" y="140"/>
                  <a:pt x="204" y="139"/>
                  <a:pt x="205" y="139"/>
                </a:cubicBezTo>
                <a:cubicBezTo>
                  <a:pt x="206" y="138"/>
                  <a:pt x="207" y="141"/>
                  <a:pt x="205" y="140"/>
                </a:cubicBezTo>
                <a:close/>
                <a:moveTo>
                  <a:pt x="77" y="199"/>
                </a:moveTo>
                <a:cubicBezTo>
                  <a:pt x="79" y="200"/>
                  <a:pt x="77" y="201"/>
                  <a:pt x="77" y="199"/>
                </a:cubicBezTo>
                <a:close/>
                <a:moveTo>
                  <a:pt x="21" y="249"/>
                </a:moveTo>
                <a:cubicBezTo>
                  <a:pt x="20" y="248"/>
                  <a:pt x="22" y="247"/>
                  <a:pt x="21" y="249"/>
                </a:cubicBezTo>
                <a:close/>
                <a:moveTo>
                  <a:pt x="24" y="252"/>
                </a:moveTo>
                <a:cubicBezTo>
                  <a:pt x="23" y="252"/>
                  <a:pt x="23" y="251"/>
                  <a:pt x="24" y="251"/>
                </a:cubicBezTo>
                <a:cubicBezTo>
                  <a:pt x="24" y="250"/>
                  <a:pt x="24" y="252"/>
                  <a:pt x="24" y="252"/>
                </a:cubicBezTo>
                <a:close/>
                <a:moveTo>
                  <a:pt x="23" y="249"/>
                </a:moveTo>
                <a:cubicBezTo>
                  <a:pt x="23" y="249"/>
                  <a:pt x="24" y="248"/>
                  <a:pt x="24" y="248"/>
                </a:cubicBezTo>
                <a:cubicBezTo>
                  <a:pt x="26" y="247"/>
                  <a:pt x="24" y="251"/>
                  <a:pt x="23" y="249"/>
                </a:cubicBezTo>
                <a:close/>
                <a:moveTo>
                  <a:pt x="26" y="245"/>
                </a:moveTo>
                <a:cubicBezTo>
                  <a:pt x="25" y="245"/>
                  <a:pt x="25" y="244"/>
                  <a:pt x="25" y="244"/>
                </a:cubicBezTo>
                <a:cubicBezTo>
                  <a:pt x="26" y="243"/>
                  <a:pt x="26" y="245"/>
                  <a:pt x="26" y="245"/>
                </a:cubicBezTo>
                <a:close/>
                <a:moveTo>
                  <a:pt x="33" y="251"/>
                </a:moveTo>
                <a:cubicBezTo>
                  <a:pt x="34" y="250"/>
                  <a:pt x="34" y="253"/>
                  <a:pt x="33" y="253"/>
                </a:cubicBezTo>
                <a:cubicBezTo>
                  <a:pt x="33" y="252"/>
                  <a:pt x="33" y="251"/>
                  <a:pt x="33" y="251"/>
                </a:cubicBezTo>
                <a:close/>
                <a:moveTo>
                  <a:pt x="28" y="258"/>
                </a:moveTo>
                <a:cubicBezTo>
                  <a:pt x="28" y="259"/>
                  <a:pt x="27" y="257"/>
                  <a:pt x="27" y="257"/>
                </a:cubicBezTo>
                <a:cubicBezTo>
                  <a:pt x="28" y="256"/>
                  <a:pt x="28" y="258"/>
                  <a:pt x="28" y="258"/>
                </a:cubicBezTo>
                <a:close/>
                <a:moveTo>
                  <a:pt x="29" y="249"/>
                </a:moveTo>
                <a:cubicBezTo>
                  <a:pt x="29" y="248"/>
                  <a:pt x="30" y="249"/>
                  <a:pt x="29" y="250"/>
                </a:cubicBezTo>
                <a:cubicBezTo>
                  <a:pt x="29" y="250"/>
                  <a:pt x="28" y="249"/>
                  <a:pt x="29" y="249"/>
                </a:cubicBezTo>
                <a:close/>
                <a:moveTo>
                  <a:pt x="29" y="275"/>
                </a:moveTo>
                <a:cubicBezTo>
                  <a:pt x="29" y="276"/>
                  <a:pt x="30" y="274"/>
                  <a:pt x="29" y="275"/>
                </a:cubicBezTo>
                <a:close/>
                <a:moveTo>
                  <a:pt x="29" y="247"/>
                </a:moveTo>
                <a:cubicBezTo>
                  <a:pt x="29" y="247"/>
                  <a:pt x="28" y="247"/>
                  <a:pt x="29" y="248"/>
                </a:cubicBezTo>
                <a:cubicBezTo>
                  <a:pt x="28" y="247"/>
                  <a:pt x="28" y="246"/>
                  <a:pt x="28" y="246"/>
                </a:cubicBezTo>
                <a:cubicBezTo>
                  <a:pt x="28" y="246"/>
                  <a:pt x="28" y="245"/>
                  <a:pt x="28" y="245"/>
                </a:cubicBezTo>
                <a:cubicBezTo>
                  <a:pt x="28" y="244"/>
                  <a:pt x="25" y="241"/>
                  <a:pt x="27" y="240"/>
                </a:cubicBezTo>
                <a:cubicBezTo>
                  <a:pt x="31" y="239"/>
                  <a:pt x="30" y="243"/>
                  <a:pt x="30" y="244"/>
                </a:cubicBezTo>
                <a:cubicBezTo>
                  <a:pt x="30" y="244"/>
                  <a:pt x="30" y="245"/>
                  <a:pt x="30" y="245"/>
                </a:cubicBezTo>
                <a:cubicBezTo>
                  <a:pt x="31" y="245"/>
                  <a:pt x="31" y="247"/>
                  <a:pt x="30" y="247"/>
                </a:cubicBezTo>
                <a:cubicBezTo>
                  <a:pt x="30" y="247"/>
                  <a:pt x="30" y="247"/>
                  <a:pt x="30" y="247"/>
                </a:cubicBezTo>
                <a:cubicBezTo>
                  <a:pt x="29" y="247"/>
                  <a:pt x="29" y="247"/>
                  <a:pt x="29" y="247"/>
                </a:cubicBezTo>
                <a:close/>
                <a:moveTo>
                  <a:pt x="30" y="259"/>
                </a:moveTo>
                <a:cubicBezTo>
                  <a:pt x="31" y="258"/>
                  <a:pt x="32" y="262"/>
                  <a:pt x="31" y="262"/>
                </a:cubicBezTo>
                <a:cubicBezTo>
                  <a:pt x="30" y="262"/>
                  <a:pt x="29" y="260"/>
                  <a:pt x="30" y="259"/>
                </a:cubicBezTo>
                <a:close/>
                <a:moveTo>
                  <a:pt x="32" y="282"/>
                </a:moveTo>
                <a:cubicBezTo>
                  <a:pt x="32" y="281"/>
                  <a:pt x="33" y="281"/>
                  <a:pt x="33" y="282"/>
                </a:cubicBezTo>
                <a:cubicBezTo>
                  <a:pt x="33" y="284"/>
                  <a:pt x="29" y="282"/>
                  <a:pt x="32" y="282"/>
                </a:cubicBezTo>
                <a:close/>
                <a:moveTo>
                  <a:pt x="33" y="261"/>
                </a:moveTo>
                <a:cubicBezTo>
                  <a:pt x="33" y="261"/>
                  <a:pt x="32" y="260"/>
                  <a:pt x="33" y="259"/>
                </a:cubicBezTo>
                <a:cubicBezTo>
                  <a:pt x="34" y="259"/>
                  <a:pt x="34" y="261"/>
                  <a:pt x="33" y="261"/>
                </a:cubicBezTo>
                <a:close/>
                <a:moveTo>
                  <a:pt x="34" y="281"/>
                </a:moveTo>
                <a:cubicBezTo>
                  <a:pt x="33" y="279"/>
                  <a:pt x="35" y="278"/>
                  <a:pt x="34" y="281"/>
                </a:cubicBezTo>
                <a:close/>
                <a:moveTo>
                  <a:pt x="35" y="279"/>
                </a:moveTo>
                <a:cubicBezTo>
                  <a:pt x="35" y="280"/>
                  <a:pt x="34" y="277"/>
                  <a:pt x="35" y="277"/>
                </a:cubicBezTo>
                <a:cubicBezTo>
                  <a:pt x="36" y="278"/>
                  <a:pt x="36" y="278"/>
                  <a:pt x="35" y="279"/>
                </a:cubicBezTo>
                <a:close/>
                <a:moveTo>
                  <a:pt x="37" y="226"/>
                </a:moveTo>
                <a:cubicBezTo>
                  <a:pt x="37" y="226"/>
                  <a:pt x="37" y="227"/>
                  <a:pt x="37" y="228"/>
                </a:cubicBezTo>
                <a:cubicBezTo>
                  <a:pt x="37" y="228"/>
                  <a:pt x="36" y="227"/>
                  <a:pt x="37" y="226"/>
                </a:cubicBezTo>
                <a:close/>
                <a:moveTo>
                  <a:pt x="38" y="238"/>
                </a:moveTo>
                <a:cubicBezTo>
                  <a:pt x="37" y="238"/>
                  <a:pt x="37" y="236"/>
                  <a:pt x="38" y="236"/>
                </a:cubicBezTo>
                <a:cubicBezTo>
                  <a:pt x="39" y="235"/>
                  <a:pt x="39" y="238"/>
                  <a:pt x="38" y="238"/>
                </a:cubicBezTo>
                <a:close/>
                <a:moveTo>
                  <a:pt x="40" y="226"/>
                </a:moveTo>
                <a:cubicBezTo>
                  <a:pt x="41" y="226"/>
                  <a:pt x="40" y="228"/>
                  <a:pt x="40" y="228"/>
                </a:cubicBezTo>
                <a:cubicBezTo>
                  <a:pt x="39" y="228"/>
                  <a:pt x="38" y="227"/>
                  <a:pt x="40" y="226"/>
                </a:cubicBezTo>
                <a:close/>
                <a:moveTo>
                  <a:pt x="40" y="265"/>
                </a:moveTo>
                <a:cubicBezTo>
                  <a:pt x="39" y="266"/>
                  <a:pt x="40" y="264"/>
                  <a:pt x="40" y="265"/>
                </a:cubicBezTo>
                <a:close/>
                <a:moveTo>
                  <a:pt x="40" y="249"/>
                </a:moveTo>
                <a:cubicBezTo>
                  <a:pt x="40" y="249"/>
                  <a:pt x="41" y="250"/>
                  <a:pt x="41" y="250"/>
                </a:cubicBezTo>
                <a:cubicBezTo>
                  <a:pt x="40" y="250"/>
                  <a:pt x="40" y="250"/>
                  <a:pt x="40" y="249"/>
                </a:cubicBezTo>
                <a:close/>
                <a:moveTo>
                  <a:pt x="41" y="284"/>
                </a:moveTo>
                <a:cubicBezTo>
                  <a:pt x="40" y="284"/>
                  <a:pt x="39" y="281"/>
                  <a:pt x="40" y="281"/>
                </a:cubicBezTo>
                <a:cubicBezTo>
                  <a:pt x="41" y="280"/>
                  <a:pt x="42" y="283"/>
                  <a:pt x="41" y="284"/>
                </a:cubicBezTo>
                <a:close/>
                <a:moveTo>
                  <a:pt x="40" y="241"/>
                </a:moveTo>
                <a:cubicBezTo>
                  <a:pt x="39" y="241"/>
                  <a:pt x="38" y="238"/>
                  <a:pt x="40" y="237"/>
                </a:cubicBezTo>
                <a:cubicBezTo>
                  <a:pt x="42" y="237"/>
                  <a:pt x="41" y="241"/>
                  <a:pt x="40" y="241"/>
                </a:cubicBezTo>
                <a:close/>
                <a:moveTo>
                  <a:pt x="57" y="241"/>
                </a:moveTo>
                <a:cubicBezTo>
                  <a:pt x="57" y="241"/>
                  <a:pt x="56" y="243"/>
                  <a:pt x="56" y="243"/>
                </a:cubicBezTo>
                <a:cubicBezTo>
                  <a:pt x="56" y="243"/>
                  <a:pt x="56" y="241"/>
                  <a:pt x="57" y="241"/>
                </a:cubicBezTo>
                <a:close/>
                <a:moveTo>
                  <a:pt x="53" y="238"/>
                </a:moveTo>
                <a:cubicBezTo>
                  <a:pt x="56" y="242"/>
                  <a:pt x="53" y="244"/>
                  <a:pt x="53" y="238"/>
                </a:cubicBezTo>
                <a:close/>
                <a:moveTo>
                  <a:pt x="47" y="255"/>
                </a:moveTo>
                <a:cubicBezTo>
                  <a:pt x="46" y="254"/>
                  <a:pt x="48" y="253"/>
                  <a:pt x="47" y="255"/>
                </a:cubicBezTo>
                <a:close/>
                <a:moveTo>
                  <a:pt x="46" y="251"/>
                </a:moveTo>
                <a:cubicBezTo>
                  <a:pt x="47" y="251"/>
                  <a:pt x="47" y="253"/>
                  <a:pt x="46" y="253"/>
                </a:cubicBezTo>
                <a:cubicBezTo>
                  <a:pt x="45" y="253"/>
                  <a:pt x="46" y="251"/>
                  <a:pt x="46" y="251"/>
                </a:cubicBezTo>
                <a:close/>
                <a:moveTo>
                  <a:pt x="42" y="252"/>
                </a:moveTo>
                <a:cubicBezTo>
                  <a:pt x="43" y="251"/>
                  <a:pt x="44" y="254"/>
                  <a:pt x="43" y="254"/>
                </a:cubicBezTo>
                <a:cubicBezTo>
                  <a:pt x="42" y="255"/>
                  <a:pt x="42" y="252"/>
                  <a:pt x="42" y="252"/>
                </a:cubicBezTo>
                <a:close/>
                <a:moveTo>
                  <a:pt x="43" y="259"/>
                </a:moveTo>
                <a:cubicBezTo>
                  <a:pt x="43" y="260"/>
                  <a:pt x="44" y="261"/>
                  <a:pt x="43" y="262"/>
                </a:cubicBezTo>
                <a:cubicBezTo>
                  <a:pt x="42" y="261"/>
                  <a:pt x="42" y="260"/>
                  <a:pt x="43" y="259"/>
                </a:cubicBezTo>
                <a:close/>
                <a:moveTo>
                  <a:pt x="43" y="292"/>
                </a:moveTo>
                <a:cubicBezTo>
                  <a:pt x="43" y="292"/>
                  <a:pt x="43" y="292"/>
                  <a:pt x="44" y="292"/>
                </a:cubicBezTo>
                <a:cubicBezTo>
                  <a:pt x="44" y="292"/>
                  <a:pt x="44" y="292"/>
                  <a:pt x="44" y="292"/>
                </a:cubicBezTo>
                <a:cubicBezTo>
                  <a:pt x="44" y="292"/>
                  <a:pt x="43" y="292"/>
                  <a:pt x="43" y="292"/>
                </a:cubicBezTo>
                <a:close/>
                <a:moveTo>
                  <a:pt x="44" y="265"/>
                </a:moveTo>
                <a:cubicBezTo>
                  <a:pt x="44" y="265"/>
                  <a:pt x="43" y="264"/>
                  <a:pt x="44" y="264"/>
                </a:cubicBezTo>
                <a:cubicBezTo>
                  <a:pt x="44" y="263"/>
                  <a:pt x="45" y="264"/>
                  <a:pt x="44" y="265"/>
                </a:cubicBezTo>
                <a:close/>
                <a:moveTo>
                  <a:pt x="47" y="274"/>
                </a:moveTo>
                <a:cubicBezTo>
                  <a:pt x="46" y="275"/>
                  <a:pt x="44" y="270"/>
                  <a:pt x="46" y="269"/>
                </a:cubicBezTo>
                <a:cubicBezTo>
                  <a:pt x="48" y="269"/>
                  <a:pt x="48" y="274"/>
                  <a:pt x="47" y="274"/>
                </a:cubicBezTo>
                <a:close/>
                <a:moveTo>
                  <a:pt x="48" y="282"/>
                </a:moveTo>
                <a:cubicBezTo>
                  <a:pt x="46" y="280"/>
                  <a:pt x="50" y="279"/>
                  <a:pt x="48" y="282"/>
                </a:cubicBezTo>
                <a:close/>
                <a:moveTo>
                  <a:pt x="51" y="287"/>
                </a:moveTo>
                <a:cubicBezTo>
                  <a:pt x="48" y="289"/>
                  <a:pt x="51" y="281"/>
                  <a:pt x="52" y="285"/>
                </a:cubicBezTo>
                <a:cubicBezTo>
                  <a:pt x="52" y="286"/>
                  <a:pt x="51" y="287"/>
                  <a:pt x="51" y="287"/>
                </a:cubicBezTo>
                <a:close/>
                <a:moveTo>
                  <a:pt x="53" y="285"/>
                </a:moveTo>
                <a:cubicBezTo>
                  <a:pt x="54" y="284"/>
                  <a:pt x="54" y="285"/>
                  <a:pt x="54" y="285"/>
                </a:cubicBezTo>
                <a:cubicBezTo>
                  <a:pt x="53" y="286"/>
                  <a:pt x="54" y="285"/>
                  <a:pt x="53" y="285"/>
                </a:cubicBezTo>
                <a:close/>
                <a:moveTo>
                  <a:pt x="55" y="281"/>
                </a:moveTo>
                <a:cubicBezTo>
                  <a:pt x="54" y="282"/>
                  <a:pt x="56" y="280"/>
                  <a:pt x="55" y="281"/>
                </a:cubicBezTo>
                <a:close/>
                <a:moveTo>
                  <a:pt x="57" y="266"/>
                </a:moveTo>
                <a:cubicBezTo>
                  <a:pt x="56" y="266"/>
                  <a:pt x="54" y="265"/>
                  <a:pt x="54" y="265"/>
                </a:cubicBezTo>
                <a:cubicBezTo>
                  <a:pt x="50" y="263"/>
                  <a:pt x="46" y="255"/>
                  <a:pt x="50" y="252"/>
                </a:cubicBezTo>
                <a:cubicBezTo>
                  <a:pt x="52" y="251"/>
                  <a:pt x="56" y="253"/>
                  <a:pt x="56" y="254"/>
                </a:cubicBezTo>
                <a:cubicBezTo>
                  <a:pt x="56" y="255"/>
                  <a:pt x="56" y="256"/>
                  <a:pt x="56" y="257"/>
                </a:cubicBezTo>
                <a:cubicBezTo>
                  <a:pt x="56" y="258"/>
                  <a:pt x="57" y="258"/>
                  <a:pt x="57" y="258"/>
                </a:cubicBezTo>
                <a:cubicBezTo>
                  <a:pt x="58" y="260"/>
                  <a:pt x="57" y="262"/>
                  <a:pt x="57" y="264"/>
                </a:cubicBezTo>
                <a:cubicBezTo>
                  <a:pt x="57" y="265"/>
                  <a:pt x="57" y="265"/>
                  <a:pt x="57" y="266"/>
                </a:cubicBezTo>
                <a:close/>
                <a:moveTo>
                  <a:pt x="58" y="333"/>
                </a:moveTo>
                <a:cubicBezTo>
                  <a:pt x="58" y="333"/>
                  <a:pt x="57" y="333"/>
                  <a:pt x="57" y="332"/>
                </a:cubicBezTo>
                <a:cubicBezTo>
                  <a:pt x="57" y="331"/>
                  <a:pt x="58" y="332"/>
                  <a:pt x="58" y="333"/>
                </a:cubicBezTo>
                <a:close/>
                <a:moveTo>
                  <a:pt x="64" y="334"/>
                </a:moveTo>
                <a:cubicBezTo>
                  <a:pt x="63" y="334"/>
                  <a:pt x="63" y="333"/>
                  <a:pt x="64" y="332"/>
                </a:cubicBezTo>
                <a:cubicBezTo>
                  <a:pt x="64" y="332"/>
                  <a:pt x="65" y="334"/>
                  <a:pt x="64" y="334"/>
                </a:cubicBezTo>
                <a:close/>
                <a:moveTo>
                  <a:pt x="70" y="242"/>
                </a:moveTo>
                <a:cubicBezTo>
                  <a:pt x="71" y="242"/>
                  <a:pt x="72" y="242"/>
                  <a:pt x="72" y="243"/>
                </a:cubicBezTo>
                <a:cubicBezTo>
                  <a:pt x="72" y="245"/>
                  <a:pt x="68" y="243"/>
                  <a:pt x="70" y="242"/>
                </a:cubicBezTo>
                <a:close/>
                <a:moveTo>
                  <a:pt x="71" y="259"/>
                </a:moveTo>
                <a:cubicBezTo>
                  <a:pt x="70" y="259"/>
                  <a:pt x="70" y="258"/>
                  <a:pt x="70" y="258"/>
                </a:cubicBezTo>
                <a:cubicBezTo>
                  <a:pt x="71" y="257"/>
                  <a:pt x="71" y="259"/>
                  <a:pt x="71" y="259"/>
                </a:cubicBezTo>
                <a:close/>
                <a:moveTo>
                  <a:pt x="68" y="253"/>
                </a:moveTo>
                <a:cubicBezTo>
                  <a:pt x="69" y="252"/>
                  <a:pt x="69" y="254"/>
                  <a:pt x="68" y="254"/>
                </a:cubicBezTo>
                <a:cubicBezTo>
                  <a:pt x="68" y="254"/>
                  <a:pt x="67" y="253"/>
                  <a:pt x="68" y="253"/>
                </a:cubicBezTo>
                <a:close/>
                <a:moveTo>
                  <a:pt x="68" y="246"/>
                </a:moveTo>
                <a:cubicBezTo>
                  <a:pt x="68" y="246"/>
                  <a:pt x="69" y="247"/>
                  <a:pt x="68" y="247"/>
                </a:cubicBezTo>
                <a:cubicBezTo>
                  <a:pt x="68" y="247"/>
                  <a:pt x="67" y="247"/>
                  <a:pt x="68" y="246"/>
                </a:cubicBezTo>
                <a:close/>
                <a:moveTo>
                  <a:pt x="69" y="248"/>
                </a:moveTo>
                <a:cubicBezTo>
                  <a:pt x="68" y="246"/>
                  <a:pt x="69" y="250"/>
                  <a:pt x="69" y="248"/>
                </a:cubicBezTo>
                <a:close/>
                <a:moveTo>
                  <a:pt x="67" y="243"/>
                </a:moveTo>
                <a:cubicBezTo>
                  <a:pt x="68" y="244"/>
                  <a:pt x="68" y="245"/>
                  <a:pt x="69" y="246"/>
                </a:cubicBezTo>
                <a:cubicBezTo>
                  <a:pt x="68" y="246"/>
                  <a:pt x="67" y="244"/>
                  <a:pt x="67" y="243"/>
                </a:cubicBezTo>
                <a:close/>
                <a:moveTo>
                  <a:pt x="67" y="277"/>
                </a:moveTo>
                <a:cubicBezTo>
                  <a:pt x="69" y="275"/>
                  <a:pt x="70" y="280"/>
                  <a:pt x="70" y="282"/>
                </a:cubicBezTo>
                <a:cubicBezTo>
                  <a:pt x="68" y="281"/>
                  <a:pt x="66" y="279"/>
                  <a:pt x="67" y="277"/>
                </a:cubicBezTo>
                <a:close/>
                <a:moveTo>
                  <a:pt x="66" y="267"/>
                </a:moveTo>
                <a:cubicBezTo>
                  <a:pt x="65" y="267"/>
                  <a:pt x="65" y="266"/>
                  <a:pt x="66" y="266"/>
                </a:cubicBezTo>
                <a:cubicBezTo>
                  <a:pt x="67" y="265"/>
                  <a:pt x="66" y="267"/>
                  <a:pt x="66" y="267"/>
                </a:cubicBezTo>
                <a:close/>
                <a:moveTo>
                  <a:pt x="64" y="237"/>
                </a:moveTo>
                <a:cubicBezTo>
                  <a:pt x="65" y="236"/>
                  <a:pt x="66" y="239"/>
                  <a:pt x="65" y="239"/>
                </a:cubicBezTo>
                <a:cubicBezTo>
                  <a:pt x="64" y="239"/>
                  <a:pt x="64" y="238"/>
                  <a:pt x="64" y="237"/>
                </a:cubicBezTo>
                <a:close/>
                <a:moveTo>
                  <a:pt x="64" y="255"/>
                </a:moveTo>
                <a:cubicBezTo>
                  <a:pt x="64" y="255"/>
                  <a:pt x="65" y="256"/>
                  <a:pt x="64" y="257"/>
                </a:cubicBezTo>
                <a:cubicBezTo>
                  <a:pt x="64" y="256"/>
                  <a:pt x="64" y="256"/>
                  <a:pt x="64" y="255"/>
                </a:cubicBezTo>
                <a:close/>
                <a:moveTo>
                  <a:pt x="64" y="265"/>
                </a:moveTo>
                <a:cubicBezTo>
                  <a:pt x="64" y="265"/>
                  <a:pt x="64" y="265"/>
                  <a:pt x="64" y="265"/>
                </a:cubicBezTo>
                <a:cubicBezTo>
                  <a:pt x="65" y="264"/>
                  <a:pt x="62" y="267"/>
                  <a:pt x="64" y="265"/>
                </a:cubicBezTo>
                <a:close/>
                <a:moveTo>
                  <a:pt x="63" y="259"/>
                </a:moveTo>
                <a:cubicBezTo>
                  <a:pt x="64" y="258"/>
                  <a:pt x="64" y="259"/>
                  <a:pt x="64" y="259"/>
                </a:cubicBezTo>
                <a:cubicBezTo>
                  <a:pt x="64" y="260"/>
                  <a:pt x="63" y="259"/>
                  <a:pt x="63" y="259"/>
                </a:cubicBezTo>
                <a:close/>
                <a:moveTo>
                  <a:pt x="59" y="265"/>
                </a:moveTo>
                <a:cubicBezTo>
                  <a:pt x="60" y="265"/>
                  <a:pt x="61" y="268"/>
                  <a:pt x="60" y="269"/>
                </a:cubicBezTo>
                <a:cubicBezTo>
                  <a:pt x="59" y="269"/>
                  <a:pt x="58" y="266"/>
                  <a:pt x="59" y="265"/>
                </a:cubicBezTo>
                <a:close/>
                <a:moveTo>
                  <a:pt x="67" y="342"/>
                </a:moveTo>
                <a:cubicBezTo>
                  <a:pt x="66" y="343"/>
                  <a:pt x="65" y="341"/>
                  <a:pt x="66" y="341"/>
                </a:cubicBezTo>
                <a:cubicBezTo>
                  <a:pt x="67" y="341"/>
                  <a:pt x="67" y="342"/>
                  <a:pt x="67" y="342"/>
                </a:cubicBezTo>
                <a:close/>
                <a:moveTo>
                  <a:pt x="70" y="301"/>
                </a:moveTo>
                <a:cubicBezTo>
                  <a:pt x="70" y="301"/>
                  <a:pt x="69" y="301"/>
                  <a:pt x="69" y="301"/>
                </a:cubicBezTo>
                <a:cubicBezTo>
                  <a:pt x="68" y="302"/>
                  <a:pt x="66" y="299"/>
                  <a:pt x="65" y="297"/>
                </a:cubicBezTo>
                <a:cubicBezTo>
                  <a:pt x="65" y="298"/>
                  <a:pt x="65" y="300"/>
                  <a:pt x="65" y="301"/>
                </a:cubicBezTo>
                <a:cubicBezTo>
                  <a:pt x="65" y="306"/>
                  <a:pt x="63" y="297"/>
                  <a:pt x="63" y="297"/>
                </a:cubicBezTo>
                <a:cubicBezTo>
                  <a:pt x="62" y="291"/>
                  <a:pt x="61" y="287"/>
                  <a:pt x="60" y="282"/>
                </a:cubicBezTo>
                <a:cubicBezTo>
                  <a:pt x="60" y="281"/>
                  <a:pt x="59" y="274"/>
                  <a:pt x="60" y="273"/>
                </a:cubicBezTo>
                <a:cubicBezTo>
                  <a:pt x="61" y="272"/>
                  <a:pt x="62" y="281"/>
                  <a:pt x="63" y="284"/>
                </a:cubicBezTo>
                <a:cubicBezTo>
                  <a:pt x="63" y="288"/>
                  <a:pt x="63" y="291"/>
                  <a:pt x="64" y="293"/>
                </a:cubicBezTo>
                <a:cubicBezTo>
                  <a:pt x="64" y="291"/>
                  <a:pt x="65" y="289"/>
                  <a:pt x="68" y="289"/>
                </a:cubicBezTo>
                <a:cubicBezTo>
                  <a:pt x="73" y="289"/>
                  <a:pt x="72" y="297"/>
                  <a:pt x="70" y="301"/>
                </a:cubicBezTo>
                <a:close/>
                <a:moveTo>
                  <a:pt x="72" y="283"/>
                </a:moveTo>
                <a:cubicBezTo>
                  <a:pt x="72" y="283"/>
                  <a:pt x="72" y="283"/>
                  <a:pt x="72" y="283"/>
                </a:cubicBezTo>
                <a:cubicBezTo>
                  <a:pt x="74" y="282"/>
                  <a:pt x="70" y="285"/>
                  <a:pt x="72" y="283"/>
                </a:cubicBezTo>
                <a:close/>
                <a:moveTo>
                  <a:pt x="25" y="317"/>
                </a:moveTo>
                <a:cubicBezTo>
                  <a:pt x="27" y="317"/>
                  <a:pt x="26" y="320"/>
                  <a:pt x="25" y="320"/>
                </a:cubicBezTo>
                <a:cubicBezTo>
                  <a:pt x="24" y="321"/>
                  <a:pt x="23" y="317"/>
                  <a:pt x="25" y="317"/>
                </a:cubicBezTo>
                <a:close/>
                <a:moveTo>
                  <a:pt x="24" y="294"/>
                </a:moveTo>
                <a:cubicBezTo>
                  <a:pt x="26" y="293"/>
                  <a:pt x="25" y="296"/>
                  <a:pt x="24" y="296"/>
                </a:cubicBezTo>
                <a:cubicBezTo>
                  <a:pt x="23" y="296"/>
                  <a:pt x="23" y="295"/>
                  <a:pt x="24" y="294"/>
                </a:cubicBezTo>
                <a:close/>
                <a:moveTo>
                  <a:pt x="8" y="242"/>
                </a:moveTo>
                <a:cubicBezTo>
                  <a:pt x="9" y="241"/>
                  <a:pt x="9" y="244"/>
                  <a:pt x="8" y="243"/>
                </a:cubicBezTo>
                <a:cubicBezTo>
                  <a:pt x="8" y="243"/>
                  <a:pt x="8" y="242"/>
                  <a:pt x="8" y="242"/>
                </a:cubicBezTo>
                <a:close/>
                <a:moveTo>
                  <a:pt x="2" y="238"/>
                </a:moveTo>
                <a:cubicBezTo>
                  <a:pt x="2" y="237"/>
                  <a:pt x="0" y="239"/>
                  <a:pt x="2" y="238"/>
                </a:cubicBezTo>
                <a:close/>
                <a:moveTo>
                  <a:pt x="2" y="242"/>
                </a:moveTo>
                <a:cubicBezTo>
                  <a:pt x="2" y="242"/>
                  <a:pt x="2" y="241"/>
                  <a:pt x="2" y="241"/>
                </a:cubicBezTo>
                <a:cubicBezTo>
                  <a:pt x="3" y="240"/>
                  <a:pt x="3" y="242"/>
                  <a:pt x="2" y="242"/>
                </a:cubicBezTo>
                <a:close/>
                <a:moveTo>
                  <a:pt x="3" y="351"/>
                </a:moveTo>
                <a:cubicBezTo>
                  <a:pt x="2" y="353"/>
                  <a:pt x="4" y="350"/>
                  <a:pt x="3" y="351"/>
                </a:cubicBezTo>
                <a:close/>
                <a:moveTo>
                  <a:pt x="3" y="442"/>
                </a:moveTo>
                <a:cubicBezTo>
                  <a:pt x="3" y="442"/>
                  <a:pt x="3" y="442"/>
                  <a:pt x="3" y="442"/>
                </a:cubicBezTo>
                <a:cubicBezTo>
                  <a:pt x="4" y="441"/>
                  <a:pt x="1" y="445"/>
                  <a:pt x="3" y="442"/>
                </a:cubicBezTo>
                <a:close/>
                <a:moveTo>
                  <a:pt x="11" y="295"/>
                </a:moveTo>
                <a:cubicBezTo>
                  <a:pt x="13" y="295"/>
                  <a:pt x="12" y="300"/>
                  <a:pt x="11" y="299"/>
                </a:cubicBezTo>
                <a:cubicBezTo>
                  <a:pt x="9" y="299"/>
                  <a:pt x="10" y="295"/>
                  <a:pt x="11" y="295"/>
                </a:cubicBezTo>
                <a:close/>
                <a:moveTo>
                  <a:pt x="9" y="283"/>
                </a:moveTo>
                <a:cubicBezTo>
                  <a:pt x="12" y="283"/>
                  <a:pt x="10" y="288"/>
                  <a:pt x="8" y="288"/>
                </a:cubicBezTo>
                <a:cubicBezTo>
                  <a:pt x="6" y="288"/>
                  <a:pt x="7" y="283"/>
                  <a:pt x="9" y="283"/>
                </a:cubicBezTo>
                <a:close/>
                <a:moveTo>
                  <a:pt x="5" y="239"/>
                </a:moveTo>
                <a:cubicBezTo>
                  <a:pt x="6" y="239"/>
                  <a:pt x="6" y="243"/>
                  <a:pt x="5" y="243"/>
                </a:cubicBezTo>
                <a:cubicBezTo>
                  <a:pt x="4" y="243"/>
                  <a:pt x="3" y="239"/>
                  <a:pt x="5" y="239"/>
                </a:cubicBezTo>
                <a:close/>
                <a:moveTo>
                  <a:pt x="5" y="282"/>
                </a:moveTo>
                <a:cubicBezTo>
                  <a:pt x="4" y="281"/>
                  <a:pt x="7" y="281"/>
                  <a:pt x="5" y="282"/>
                </a:cubicBezTo>
                <a:close/>
                <a:moveTo>
                  <a:pt x="6" y="383"/>
                </a:moveTo>
                <a:cubicBezTo>
                  <a:pt x="5" y="382"/>
                  <a:pt x="7" y="381"/>
                  <a:pt x="6" y="383"/>
                </a:cubicBezTo>
                <a:close/>
                <a:moveTo>
                  <a:pt x="7" y="413"/>
                </a:moveTo>
                <a:cubicBezTo>
                  <a:pt x="7" y="414"/>
                  <a:pt x="7" y="414"/>
                  <a:pt x="7" y="413"/>
                </a:cubicBezTo>
                <a:close/>
                <a:moveTo>
                  <a:pt x="7" y="412"/>
                </a:moveTo>
                <a:cubicBezTo>
                  <a:pt x="6" y="411"/>
                  <a:pt x="8" y="410"/>
                  <a:pt x="7" y="412"/>
                </a:cubicBezTo>
                <a:close/>
                <a:moveTo>
                  <a:pt x="11" y="364"/>
                </a:moveTo>
                <a:cubicBezTo>
                  <a:pt x="9" y="362"/>
                  <a:pt x="12" y="361"/>
                  <a:pt x="11" y="364"/>
                </a:cubicBezTo>
                <a:close/>
                <a:moveTo>
                  <a:pt x="11" y="360"/>
                </a:moveTo>
                <a:cubicBezTo>
                  <a:pt x="10" y="360"/>
                  <a:pt x="11" y="359"/>
                  <a:pt x="11" y="358"/>
                </a:cubicBezTo>
                <a:cubicBezTo>
                  <a:pt x="12" y="359"/>
                  <a:pt x="11" y="360"/>
                  <a:pt x="11" y="360"/>
                </a:cubicBezTo>
                <a:close/>
                <a:moveTo>
                  <a:pt x="12" y="342"/>
                </a:moveTo>
                <a:cubicBezTo>
                  <a:pt x="11" y="344"/>
                  <a:pt x="9" y="343"/>
                  <a:pt x="7" y="345"/>
                </a:cubicBezTo>
                <a:cubicBezTo>
                  <a:pt x="4" y="343"/>
                  <a:pt x="3" y="336"/>
                  <a:pt x="6" y="332"/>
                </a:cubicBezTo>
                <a:cubicBezTo>
                  <a:pt x="10" y="324"/>
                  <a:pt x="16" y="336"/>
                  <a:pt x="12" y="342"/>
                </a:cubicBezTo>
                <a:close/>
                <a:moveTo>
                  <a:pt x="13" y="293"/>
                </a:moveTo>
                <a:cubicBezTo>
                  <a:pt x="12" y="293"/>
                  <a:pt x="12" y="291"/>
                  <a:pt x="13" y="291"/>
                </a:cubicBezTo>
                <a:cubicBezTo>
                  <a:pt x="14" y="292"/>
                  <a:pt x="14" y="294"/>
                  <a:pt x="13" y="293"/>
                </a:cubicBezTo>
                <a:close/>
                <a:moveTo>
                  <a:pt x="20" y="292"/>
                </a:moveTo>
                <a:cubicBezTo>
                  <a:pt x="19" y="292"/>
                  <a:pt x="18" y="288"/>
                  <a:pt x="20" y="288"/>
                </a:cubicBezTo>
                <a:cubicBezTo>
                  <a:pt x="22" y="288"/>
                  <a:pt x="21" y="292"/>
                  <a:pt x="20" y="292"/>
                </a:cubicBezTo>
                <a:close/>
                <a:moveTo>
                  <a:pt x="21" y="325"/>
                </a:moveTo>
                <a:cubicBezTo>
                  <a:pt x="21" y="325"/>
                  <a:pt x="20" y="324"/>
                  <a:pt x="21" y="324"/>
                </a:cubicBezTo>
                <a:cubicBezTo>
                  <a:pt x="22" y="324"/>
                  <a:pt x="22" y="325"/>
                  <a:pt x="21" y="325"/>
                </a:cubicBezTo>
                <a:close/>
                <a:moveTo>
                  <a:pt x="22" y="295"/>
                </a:moveTo>
                <a:cubicBezTo>
                  <a:pt x="21" y="296"/>
                  <a:pt x="21" y="293"/>
                  <a:pt x="21" y="293"/>
                </a:cubicBezTo>
                <a:cubicBezTo>
                  <a:pt x="22" y="292"/>
                  <a:pt x="23" y="295"/>
                  <a:pt x="22" y="295"/>
                </a:cubicBezTo>
                <a:close/>
                <a:moveTo>
                  <a:pt x="26" y="373"/>
                </a:moveTo>
                <a:cubicBezTo>
                  <a:pt x="25" y="372"/>
                  <a:pt x="28" y="371"/>
                  <a:pt x="26" y="373"/>
                </a:cubicBezTo>
                <a:close/>
                <a:moveTo>
                  <a:pt x="27" y="459"/>
                </a:moveTo>
                <a:cubicBezTo>
                  <a:pt x="26" y="458"/>
                  <a:pt x="28" y="457"/>
                  <a:pt x="27" y="459"/>
                </a:cubicBezTo>
                <a:close/>
                <a:moveTo>
                  <a:pt x="31" y="330"/>
                </a:moveTo>
                <a:cubicBezTo>
                  <a:pt x="32" y="329"/>
                  <a:pt x="32" y="332"/>
                  <a:pt x="31" y="332"/>
                </a:cubicBezTo>
                <a:cubicBezTo>
                  <a:pt x="31" y="332"/>
                  <a:pt x="31" y="330"/>
                  <a:pt x="31" y="330"/>
                </a:cubicBezTo>
                <a:close/>
                <a:moveTo>
                  <a:pt x="31" y="465"/>
                </a:moveTo>
                <a:cubicBezTo>
                  <a:pt x="30" y="463"/>
                  <a:pt x="30" y="461"/>
                  <a:pt x="31" y="458"/>
                </a:cubicBezTo>
                <a:cubicBezTo>
                  <a:pt x="32" y="460"/>
                  <a:pt x="31" y="463"/>
                  <a:pt x="31" y="465"/>
                </a:cubicBezTo>
                <a:close/>
                <a:moveTo>
                  <a:pt x="33" y="366"/>
                </a:moveTo>
                <a:cubicBezTo>
                  <a:pt x="32" y="360"/>
                  <a:pt x="31" y="354"/>
                  <a:pt x="31" y="348"/>
                </a:cubicBezTo>
                <a:cubicBezTo>
                  <a:pt x="33" y="353"/>
                  <a:pt x="33" y="362"/>
                  <a:pt x="35" y="369"/>
                </a:cubicBezTo>
                <a:cubicBezTo>
                  <a:pt x="36" y="374"/>
                  <a:pt x="33" y="367"/>
                  <a:pt x="33" y="366"/>
                </a:cubicBezTo>
                <a:close/>
                <a:moveTo>
                  <a:pt x="35" y="330"/>
                </a:moveTo>
                <a:cubicBezTo>
                  <a:pt x="36" y="331"/>
                  <a:pt x="35" y="331"/>
                  <a:pt x="35" y="330"/>
                </a:cubicBezTo>
                <a:close/>
                <a:moveTo>
                  <a:pt x="46" y="336"/>
                </a:moveTo>
                <a:cubicBezTo>
                  <a:pt x="46" y="336"/>
                  <a:pt x="46" y="337"/>
                  <a:pt x="46" y="337"/>
                </a:cubicBezTo>
                <a:cubicBezTo>
                  <a:pt x="46" y="338"/>
                  <a:pt x="45" y="337"/>
                  <a:pt x="46" y="336"/>
                </a:cubicBezTo>
                <a:close/>
                <a:moveTo>
                  <a:pt x="39" y="421"/>
                </a:moveTo>
                <a:cubicBezTo>
                  <a:pt x="38" y="420"/>
                  <a:pt x="40" y="419"/>
                  <a:pt x="39" y="421"/>
                </a:cubicBezTo>
                <a:close/>
                <a:moveTo>
                  <a:pt x="40" y="416"/>
                </a:moveTo>
                <a:cubicBezTo>
                  <a:pt x="38" y="417"/>
                  <a:pt x="39" y="414"/>
                  <a:pt x="39" y="414"/>
                </a:cubicBezTo>
                <a:cubicBezTo>
                  <a:pt x="40" y="414"/>
                  <a:pt x="39" y="415"/>
                  <a:pt x="40" y="416"/>
                </a:cubicBezTo>
                <a:close/>
                <a:moveTo>
                  <a:pt x="43" y="333"/>
                </a:moveTo>
                <a:cubicBezTo>
                  <a:pt x="43" y="333"/>
                  <a:pt x="42" y="334"/>
                  <a:pt x="42" y="334"/>
                </a:cubicBezTo>
                <a:cubicBezTo>
                  <a:pt x="41" y="335"/>
                  <a:pt x="42" y="332"/>
                  <a:pt x="43" y="333"/>
                </a:cubicBezTo>
                <a:close/>
                <a:moveTo>
                  <a:pt x="43" y="405"/>
                </a:moveTo>
                <a:cubicBezTo>
                  <a:pt x="43" y="407"/>
                  <a:pt x="44" y="410"/>
                  <a:pt x="43" y="411"/>
                </a:cubicBezTo>
                <a:cubicBezTo>
                  <a:pt x="42" y="411"/>
                  <a:pt x="42" y="407"/>
                  <a:pt x="43" y="405"/>
                </a:cubicBezTo>
                <a:close/>
                <a:moveTo>
                  <a:pt x="43" y="446"/>
                </a:moveTo>
                <a:cubicBezTo>
                  <a:pt x="43" y="447"/>
                  <a:pt x="42" y="448"/>
                  <a:pt x="43" y="446"/>
                </a:cubicBezTo>
                <a:close/>
                <a:moveTo>
                  <a:pt x="43" y="449"/>
                </a:moveTo>
                <a:cubicBezTo>
                  <a:pt x="43" y="449"/>
                  <a:pt x="44" y="450"/>
                  <a:pt x="44" y="450"/>
                </a:cubicBezTo>
                <a:cubicBezTo>
                  <a:pt x="43" y="451"/>
                  <a:pt x="42" y="450"/>
                  <a:pt x="43" y="449"/>
                </a:cubicBezTo>
                <a:close/>
                <a:moveTo>
                  <a:pt x="43" y="404"/>
                </a:moveTo>
                <a:cubicBezTo>
                  <a:pt x="42" y="404"/>
                  <a:pt x="43" y="394"/>
                  <a:pt x="43" y="395"/>
                </a:cubicBezTo>
                <a:cubicBezTo>
                  <a:pt x="44" y="397"/>
                  <a:pt x="45" y="401"/>
                  <a:pt x="43" y="404"/>
                </a:cubicBezTo>
                <a:close/>
                <a:moveTo>
                  <a:pt x="44" y="379"/>
                </a:moveTo>
                <a:cubicBezTo>
                  <a:pt x="44" y="379"/>
                  <a:pt x="44" y="379"/>
                  <a:pt x="44" y="379"/>
                </a:cubicBezTo>
                <a:cubicBezTo>
                  <a:pt x="44" y="379"/>
                  <a:pt x="44" y="379"/>
                  <a:pt x="44" y="379"/>
                </a:cubicBezTo>
                <a:cubicBezTo>
                  <a:pt x="44" y="379"/>
                  <a:pt x="44" y="379"/>
                  <a:pt x="44" y="379"/>
                </a:cubicBezTo>
                <a:close/>
                <a:moveTo>
                  <a:pt x="46" y="410"/>
                </a:moveTo>
                <a:cubicBezTo>
                  <a:pt x="44" y="409"/>
                  <a:pt x="44" y="404"/>
                  <a:pt x="47" y="405"/>
                </a:cubicBezTo>
                <a:cubicBezTo>
                  <a:pt x="49" y="406"/>
                  <a:pt x="48" y="410"/>
                  <a:pt x="46" y="410"/>
                </a:cubicBezTo>
                <a:close/>
                <a:moveTo>
                  <a:pt x="48" y="365"/>
                </a:moveTo>
                <a:cubicBezTo>
                  <a:pt x="45" y="365"/>
                  <a:pt x="45" y="360"/>
                  <a:pt x="47" y="360"/>
                </a:cubicBezTo>
                <a:cubicBezTo>
                  <a:pt x="50" y="360"/>
                  <a:pt x="49" y="365"/>
                  <a:pt x="48" y="365"/>
                </a:cubicBezTo>
                <a:close/>
                <a:moveTo>
                  <a:pt x="52" y="444"/>
                </a:moveTo>
                <a:cubicBezTo>
                  <a:pt x="51" y="444"/>
                  <a:pt x="50" y="442"/>
                  <a:pt x="51" y="441"/>
                </a:cubicBezTo>
                <a:cubicBezTo>
                  <a:pt x="52" y="440"/>
                  <a:pt x="52" y="444"/>
                  <a:pt x="52" y="444"/>
                </a:cubicBezTo>
                <a:close/>
                <a:moveTo>
                  <a:pt x="55" y="387"/>
                </a:moveTo>
                <a:cubicBezTo>
                  <a:pt x="56" y="388"/>
                  <a:pt x="55" y="389"/>
                  <a:pt x="55" y="390"/>
                </a:cubicBezTo>
                <a:cubicBezTo>
                  <a:pt x="55" y="389"/>
                  <a:pt x="54" y="388"/>
                  <a:pt x="55" y="387"/>
                </a:cubicBezTo>
                <a:close/>
                <a:moveTo>
                  <a:pt x="54" y="397"/>
                </a:moveTo>
                <a:cubicBezTo>
                  <a:pt x="55" y="396"/>
                  <a:pt x="55" y="399"/>
                  <a:pt x="54" y="399"/>
                </a:cubicBezTo>
                <a:cubicBezTo>
                  <a:pt x="54" y="400"/>
                  <a:pt x="52" y="397"/>
                  <a:pt x="54" y="397"/>
                </a:cubicBezTo>
                <a:close/>
                <a:moveTo>
                  <a:pt x="55" y="464"/>
                </a:moveTo>
                <a:cubicBezTo>
                  <a:pt x="54" y="459"/>
                  <a:pt x="54" y="453"/>
                  <a:pt x="54" y="448"/>
                </a:cubicBezTo>
                <a:cubicBezTo>
                  <a:pt x="56" y="453"/>
                  <a:pt x="56" y="459"/>
                  <a:pt x="55" y="464"/>
                </a:cubicBezTo>
                <a:close/>
                <a:moveTo>
                  <a:pt x="57" y="480"/>
                </a:moveTo>
                <a:cubicBezTo>
                  <a:pt x="56" y="476"/>
                  <a:pt x="56" y="471"/>
                  <a:pt x="56" y="467"/>
                </a:cubicBezTo>
                <a:cubicBezTo>
                  <a:pt x="56" y="471"/>
                  <a:pt x="58" y="475"/>
                  <a:pt x="57" y="480"/>
                </a:cubicBezTo>
                <a:close/>
                <a:moveTo>
                  <a:pt x="64" y="450"/>
                </a:moveTo>
                <a:cubicBezTo>
                  <a:pt x="63" y="451"/>
                  <a:pt x="64" y="449"/>
                  <a:pt x="64" y="450"/>
                </a:cubicBezTo>
                <a:close/>
                <a:moveTo>
                  <a:pt x="71" y="454"/>
                </a:moveTo>
                <a:cubicBezTo>
                  <a:pt x="72" y="455"/>
                  <a:pt x="70" y="456"/>
                  <a:pt x="71" y="454"/>
                </a:cubicBezTo>
                <a:close/>
                <a:moveTo>
                  <a:pt x="75" y="408"/>
                </a:moveTo>
                <a:cubicBezTo>
                  <a:pt x="75" y="408"/>
                  <a:pt x="75" y="408"/>
                  <a:pt x="75" y="408"/>
                </a:cubicBezTo>
                <a:cubicBezTo>
                  <a:pt x="75" y="408"/>
                  <a:pt x="75" y="408"/>
                  <a:pt x="75" y="408"/>
                </a:cubicBezTo>
                <a:cubicBezTo>
                  <a:pt x="75" y="408"/>
                  <a:pt x="75" y="408"/>
                  <a:pt x="75" y="408"/>
                </a:cubicBezTo>
                <a:close/>
                <a:moveTo>
                  <a:pt x="80" y="382"/>
                </a:moveTo>
                <a:cubicBezTo>
                  <a:pt x="80" y="382"/>
                  <a:pt x="80" y="382"/>
                  <a:pt x="80" y="382"/>
                </a:cubicBezTo>
                <a:cubicBezTo>
                  <a:pt x="80" y="382"/>
                  <a:pt x="80" y="382"/>
                  <a:pt x="80" y="382"/>
                </a:cubicBezTo>
                <a:cubicBezTo>
                  <a:pt x="80" y="382"/>
                  <a:pt x="80" y="382"/>
                  <a:pt x="80" y="382"/>
                </a:cubicBezTo>
                <a:close/>
                <a:moveTo>
                  <a:pt x="78" y="214"/>
                </a:moveTo>
                <a:cubicBezTo>
                  <a:pt x="78" y="214"/>
                  <a:pt x="78" y="212"/>
                  <a:pt x="78" y="212"/>
                </a:cubicBezTo>
                <a:cubicBezTo>
                  <a:pt x="78" y="211"/>
                  <a:pt x="79" y="213"/>
                  <a:pt x="78" y="214"/>
                </a:cubicBezTo>
                <a:close/>
                <a:moveTo>
                  <a:pt x="78" y="214"/>
                </a:moveTo>
                <a:cubicBezTo>
                  <a:pt x="79" y="214"/>
                  <a:pt x="78" y="216"/>
                  <a:pt x="78" y="216"/>
                </a:cubicBezTo>
                <a:cubicBezTo>
                  <a:pt x="78" y="216"/>
                  <a:pt x="77" y="215"/>
                  <a:pt x="78" y="214"/>
                </a:cubicBezTo>
                <a:close/>
                <a:moveTo>
                  <a:pt x="76" y="204"/>
                </a:moveTo>
                <a:cubicBezTo>
                  <a:pt x="77" y="205"/>
                  <a:pt x="77" y="206"/>
                  <a:pt x="77" y="208"/>
                </a:cubicBezTo>
                <a:cubicBezTo>
                  <a:pt x="77" y="207"/>
                  <a:pt x="75" y="206"/>
                  <a:pt x="76" y="204"/>
                </a:cubicBezTo>
                <a:close/>
                <a:moveTo>
                  <a:pt x="76" y="221"/>
                </a:moveTo>
                <a:cubicBezTo>
                  <a:pt x="76" y="221"/>
                  <a:pt x="76" y="221"/>
                  <a:pt x="76" y="221"/>
                </a:cubicBezTo>
                <a:cubicBezTo>
                  <a:pt x="76" y="222"/>
                  <a:pt x="75" y="221"/>
                  <a:pt x="76" y="221"/>
                </a:cubicBezTo>
                <a:close/>
                <a:moveTo>
                  <a:pt x="77" y="253"/>
                </a:moveTo>
                <a:cubicBezTo>
                  <a:pt x="77" y="254"/>
                  <a:pt x="75" y="251"/>
                  <a:pt x="76" y="251"/>
                </a:cubicBezTo>
                <a:cubicBezTo>
                  <a:pt x="77" y="251"/>
                  <a:pt x="78" y="253"/>
                  <a:pt x="77" y="253"/>
                </a:cubicBezTo>
                <a:close/>
                <a:moveTo>
                  <a:pt x="76" y="260"/>
                </a:moveTo>
                <a:cubicBezTo>
                  <a:pt x="79" y="259"/>
                  <a:pt x="79" y="264"/>
                  <a:pt x="77" y="265"/>
                </a:cubicBezTo>
                <a:cubicBezTo>
                  <a:pt x="75" y="266"/>
                  <a:pt x="74" y="261"/>
                  <a:pt x="76" y="260"/>
                </a:cubicBezTo>
                <a:close/>
                <a:moveTo>
                  <a:pt x="78" y="258"/>
                </a:moveTo>
                <a:cubicBezTo>
                  <a:pt x="77" y="257"/>
                  <a:pt x="79" y="256"/>
                  <a:pt x="78" y="258"/>
                </a:cubicBezTo>
                <a:close/>
                <a:moveTo>
                  <a:pt x="76" y="353"/>
                </a:moveTo>
                <a:cubicBezTo>
                  <a:pt x="75" y="353"/>
                  <a:pt x="74" y="351"/>
                  <a:pt x="75" y="351"/>
                </a:cubicBezTo>
                <a:cubicBezTo>
                  <a:pt x="75" y="351"/>
                  <a:pt x="76" y="353"/>
                  <a:pt x="76" y="353"/>
                </a:cubicBezTo>
                <a:close/>
                <a:moveTo>
                  <a:pt x="79" y="279"/>
                </a:moveTo>
                <a:cubicBezTo>
                  <a:pt x="79" y="278"/>
                  <a:pt x="81" y="279"/>
                  <a:pt x="81" y="278"/>
                </a:cubicBezTo>
                <a:cubicBezTo>
                  <a:pt x="81" y="277"/>
                  <a:pt x="80" y="276"/>
                  <a:pt x="79" y="276"/>
                </a:cubicBezTo>
                <a:cubicBezTo>
                  <a:pt x="78" y="276"/>
                  <a:pt x="78" y="278"/>
                  <a:pt x="77" y="277"/>
                </a:cubicBezTo>
                <a:cubicBezTo>
                  <a:pt x="78" y="278"/>
                  <a:pt x="77" y="279"/>
                  <a:pt x="77" y="277"/>
                </a:cubicBezTo>
                <a:cubicBezTo>
                  <a:pt x="76" y="277"/>
                  <a:pt x="77" y="276"/>
                  <a:pt x="77" y="275"/>
                </a:cubicBezTo>
                <a:cubicBezTo>
                  <a:pt x="76" y="274"/>
                  <a:pt x="76" y="274"/>
                  <a:pt x="76" y="272"/>
                </a:cubicBezTo>
                <a:cubicBezTo>
                  <a:pt x="76" y="271"/>
                  <a:pt x="79" y="267"/>
                  <a:pt x="81" y="270"/>
                </a:cubicBezTo>
                <a:cubicBezTo>
                  <a:pt x="82" y="273"/>
                  <a:pt x="83" y="278"/>
                  <a:pt x="81" y="280"/>
                </a:cubicBezTo>
                <a:cubicBezTo>
                  <a:pt x="81" y="281"/>
                  <a:pt x="78" y="281"/>
                  <a:pt x="79" y="279"/>
                </a:cubicBezTo>
                <a:close/>
                <a:moveTo>
                  <a:pt x="82" y="357"/>
                </a:moveTo>
                <a:cubicBezTo>
                  <a:pt x="82" y="358"/>
                  <a:pt x="82" y="358"/>
                  <a:pt x="82" y="359"/>
                </a:cubicBezTo>
                <a:cubicBezTo>
                  <a:pt x="82" y="359"/>
                  <a:pt x="82" y="358"/>
                  <a:pt x="82" y="357"/>
                </a:cubicBezTo>
                <a:close/>
                <a:moveTo>
                  <a:pt x="81" y="298"/>
                </a:moveTo>
                <a:cubicBezTo>
                  <a:pt x="82" y="299"/>
                  <a:pt x="83" y="302"/>
                  <a:pt x="83" y="304"/>
                </a:cubicBezTo>
                <a:cubicBezTo>
                  <a:pt x="81" y="302"/>
                  <a:pt x="82" y="300"/>
                  <a:pt x="81" y="298"/>
                </a:cubicBezTo>
                <a:close/>
                <a:moveTo>
                  <a:pt x="81" y="240"/>
                </a:moveTo>
                <a:cubicBezTo>
                  <a:pt x="83" y="236"/>
                  <a:pt x="78" y="238"/>
                  <a:pt x="77" y="238"/>
                </a:cubicBezTo>
                <a:cubicBezTo>
                  <a:pt x="76" y="236"/>
                  <a:pt x="78" y="233"/>
                  <a:pt x="78" y="230"/>
                </a:cubicBezTo>
                <a:cubicBezTo>
                  <a:pt x="78" y="229"/>
                  <a:pt x="76" y="224"/>
                  <a:pt x="77" y="223"/>
                </a:cubicBezTo>
                <a:cubicBezTo>
                  <a:pt x="79" y="223"/>
                  <a:pt x="79" y="229"/>
                  <a:pt x="79" y="229"/>
                </a:cubicBezTo>
                <a:cubicBezTo>
                  <a:pt x="80" y="230"/>
                  <a:pt x="83" y="226"/>
                  <a:pt x="84" y="226"/>
                </a:cubicBezTo>
                <a:cubicBezTo>
                  <a:pt x="92" y="224"/>
                  <a:pt x="89" y="237"/>
                  <a:pt x="87" y="241"/>
                </a:cubicBezTo>
                <a:cubicBezTo>
                  <a:pt x="84" y="246"/>
                  <a:pt x="86" y="236"/>
                  <a:pt x="81" y="240"/>
                </a:cubicBezTo>
                <a:close/>
                <a:moveTo>
                  <a:pt x="83" y="303"/>
                </a:moveTo>
                <a:cubicBezTo>
                  <a:pt x="83" y="302"/>
                  <a:pt x="85" y="304"/>
                  <a:pt x="84" y="304"/>
                </a:cubicBezTo>
                <a:cubicBezTo>
                  <a:pt x="84" y="304"/>
                  <a:pt x="83" y="303"/>
                  <a:pt x="83" y="303"/>
                </a:cubicBezTo>
                <a:close/>
                <a:moveTo>
                  <a:pt x="84" y="307"/>
                </a:moveTo>
                <a:cubicBezTo>
                  <a:pt x="83" y="306"/>
                  <a:pt x="84" y="305"/>
                  <a:pt x="84" y="307"/>
                </a:cubicBezTo>
                <a:close/>
                <a:moveTo>
                  <a:pt x="85" y="311"/>
                </a:moveTo>
                <a:cubicBezTo>
                  <a:pt x="84" y="311"/>
                  <a:pt x="84" y="309"/>
                  <a:pt x="84" y="308"/>
                </a:cubicBezTo>
                <a:cubicBezTo>
                  <a:pt x="84" y="309"/>
                  <a:pt x="85" y="310"/>
                  <a:pt x="85" y="311"/>
                </a:cubicBezTo>
                <a:close/>
                <a:moveTo>
                  <a:pt x="83" y="365"/>
                </a:moveTo>
                <a:cubicBezTo>
                  <a:pt x="84" y="366"/>
                  <a:pt x="83" y="367"/>
                  <a:pt x="84" y="368"/>
                </a:cubicBezTo>
                <a:cubicBezTo>
                  <a:pt x="83" y="368"/>
                  <a:pt x="83" y="366"/>
                  <a:pt x="83" y="365"/>
                </a:cubicBezTo>
                <a:close/>
                <a:moveTo>
                  <a:pt x="84" y="329"/>
                </a:moveTo>
                <a:cubicBezTo>
                  <a:pt x="85" y="329"/>
                  <a:pt x="86" y="330"/>
                  <a:pt x="85" y="331"/>
                </a:cubicBezTo>
                <a:cubicBezTo>
                  <a:pt x="84" y="331"/>
                  <a:pt x="84" y="329"/>
                  <a:pt x="84" y="329"/>
                </a:cubicBezTo>
                <a:close/>
                <a:moveTo>
                  <a:pt x="85" y="377"/>
                </a:moveTo>
                <a:cubicBezTo>
                  <a:pt x="84" y="377"/>
                  <a:pt x="85" y="376"/>
                  <a:pt x="85" y="375"/>
                </a:cubicBezTo>
                <a:cubicBezTo>
                  <a:pt x="84" y="374"/>
                  <a:pt x="85" y="376"/>
                  <a:pt x="85" y="377"/>
                </a:cubicBezTo>
                <a:close/>
                <a:moveTo>
                  <a:pt x="85" y="378"/>
                </a:moveTo>
                <a:cubicBezTo>
                  <a:pt x="85" y="378"/>
                  <a:pt x="85" y="379"/>
                  <a:pt x="85" y="380"/>
                </a:cubicBezTo>
                <a:cubicBezTo>
                  <a:pt x="85" y="380"/>
                  <a:pt x="85" y="378"/>
                  <a:pt x="85" y="378"/>
                </a:cubicBezTo>
                <a:close/>
                <a:moveTo>
                  <a:pt x="86" y="260"/>
                </a:moveTo>
                <a:cubicBezTo>
                  <a:pt x="84" y="260"/>
                  <a:pt x="83" y="256"/>
                  <a:pt x="87" y="256"/>
                </a:cubicBezTo>
                <a:cubicBezTo>
                  <a:pt x="89" y="256"/>
                  <a:pt x="88" y="261"/>
                  <a:pt x="86" y="260"/>
                </a:cubicBezTo>
                <a:close/>
                <a:moveTo>
                  <a:pt x="90" y="332"/>
                </a:moveTo>
                <a:cubicBezTo>
                  <a:pt x="89" y="332"/>
                  <a:pt x="88" y="328"/>
                  <a:pt x="90" y="328"/>
                </a:cubicBezTo>
                <a:cubicBezTo>
                  <a:pt x="90" y="328"/>
                  <a:pt x="90" y="331"/>
                  <a:pt x="90" y="332"/>
                </a:cubicBezTo>
                <a:close/>
                <a:moveTo>
                  <a:pt x="91" y="222"/>
                </a:moveTo>
                <a:cubicBezTo>
                  <a:pt x="91" y="223"/>
                  <a:pt x="91" y="224"/>
                  <a:pt x="91" y="225"/>
                </a:cubicBezTo>
                <a:cubicBezTo>
                  <a:pt x="90" y="224"/>
                  <a:pt x="90" y="223"/>
                  <a:pt x="91" y="222"/>
                </a:cubicBezTo>
                <a:close/>
                <a:moveTo>
                  <a:pt x="91" y="228"/>
                </a:moveTo>
                <a:cubicBezTo>
                  <a:pt x="91" y="229"/>
                  <a:pt x="90" y="228"/>
                  <a:pt x="91" y="227"/>
                </a:cubicBezTo>
                <a:cubicBezTo>
                  <a:pt x="91" y="227"/>
                  <a:pt x="92" y="228"/>
                  <a:pt x="91" y="228"/>
                </a:cubicBezTo>
                <a:close/>
                <a:moveTo>
                  <a:pt x="158" y="205"/>
                </a:moveTo>
                <a:cubicBezTo>
                  <a:pt x="159" y="205"/>
                  <a:pt x="159" y="208"/>
                  <a:pt x="158" y="208"/>
                </a:cubicBezTo>
                <a:cubicBezTo>
                  <a:pt x="158" y="208"/>
                  <a:pt x="157" y="206"/>
                  <a:pt x="158" y="205"/>
                </a:cubicBezTo>
                <a:close/>
                <a:moveTo>
                  <a:pt x="154" y="169"/>
                </a:moveTo>
                <a:cubicBezTo>
                  <a:pt x="155" y="168"/>
                  <a:pt x="155" y="171"/>
                  <a:pt x="154" y="171"/>
                </a:cubicBezTo>
                <a:cubicBezTo>
                  <a:pt x="154" y="171"/>
                  <a:pt x="153" y="170"/>
                  <a:pt x="154" y="169"/>
                </a:cubicBezTo>
                <a:close/>
                <a:moveTo>
                  <a:pt x="155" y="227"/>
                </a:moveTo>
                <a:cubicBezTo>
                  <a:pt x="154" y="227"/>
                  <a:pt x="153" y="225"/>
                  <a:pt x="154" y="225"/>
                </a:cubicBezTo>
                <a:cubicBezTo>
                  <a:pt x="155" y="224"/>
                  <a:pt x="155" y="227"/>
                  <a:pt x="155" y="227"/>
                </a:cubicBezTo>
                <a:close/>
                <a:moveTo>
                  <a:pt x="154" y="181"/>
                </a:moveTo>
                <a:cubicBezTo>
                  <a:pt x="154" y="181"/>
                  <a:pt x="155" y="182"/>
                  <a:pt x="154" y="182"/>
                </a:cubicBezTo>
                <a:cubicBezTo>
                  <a:pt x="153" y="183"/>
                  <a:pt x="153" y="182"/>
                  <a:pt x="154" y="181"/>
                </a:cubicBezTo>
                <a:close/>
                <a:moveTo>
                  <a:pt x="150" y="242"/>
                </a:moveTo>
                <a:cubicBezTo>
                  <a:pt x="149" y="242"/>
                  <a:pt x="150" y="241"/>
                  <a:pt x="150" y="241"/>
                </a:cubicBezTo>
                <a:cubicBezTo>
                  <a:pt x="150" y="240"/>
                  <a:pt x="150" y="242"/>
                  <a:pt x="150" y="242"/>
                </a:cubicBezTo>
                <a:close/>
                <a:moveTo>
                  <a:pt x="149" y="249"/>
                </a:moveTo>
                <a:cubicBezTo>
                  <a:pt x="149" y="249"/>
                  <a:pt x="150" y="251"/>
                  <a:pt x="150" y="251"/>
                </a:cubicBezTo>
                <a:cubicBezTo>
                  <a:pt x="149" y="251"/>
                  <a:pt x="149" y="249"/>
                  <a:pt x="149" y="249"/>
                </a:cubicBezTo>
                <a:close/>
                <a:moveTo>
                  <a:pt x="150" y="301"/>
                </a:moveTo>
                <a:cubicBezTo>
                  <a:pt x="149" y="300"/>
                  <a:pt x="149" y="299"/>
                  <a:pt x="149" y="299"/>
                </a:cubicBezTo>
                <a:cubicBezTo>
                  <a:pt x="149" y="299"/>
                  <a:pt x="150" y="300"/>
                  <a:pt x="150" y="301"/>
                </a:cubicBezTo>
                <a:close/>
                <a:moveTo>
                  <a:pt x="149" y="200"/>
                </a:moveTo>
                <a:cubicBezTo>
                  <a:pt x="151" y="199"/>
                  <a:pt x="150" y="203"/>
                  <a:pt x="149" y="203"/>
                </a:cubicBezTo>
                <a:cubicBezTo>
                  <a:pt x="148" y="202"/>
                  <a:pt x="148" y="200"/>
                  <a:pt x="149" y="200"/>
                </a:cubicBezTo>
                <a:close/>
                <a:moveTo>
                  <a:pt x="148" y="231"/>
                </a:moveTo>
                <a:cubicBezTo>
                  <a:pt x="148" y="232"/>
                  <a:pt x="147" y="231"/>
                  <a:pt x="147" y="231"/>
                </a:cubicBezTo>
                <a:cubicBezTo>
                  <a:pt x="147" y="231"/>
                  <a:pt x="148" y="231"/>
                  <a:pt x="148" y="231"/>
                </a:cubicBezTo>
                <a:close/>
                <a:moveTo>
                  <a:pt x="147" y="333"/>
                </a:moveTo>
                <a:cubicBezTo>
                  <a:pt x="146" y="334"/>
                  <a:pt x="149" y="333"/>
                  <a:pt x="147" y="333"/>
                </a:cubicBezTo>
                <a:close/>
                <a:moveTo>
                  <a:pt x="146" y="173"/>
                </a:moveTo>
                <a:cubicBezTo>
                  <a:pt x="146" y="173"/>
                  <a:pt x="146" y="172"/>
                  <a:pt x="146" y="172"/>
                </a:cubicBezTo>
                <a:cubicBezTo>
                  <a:pt x="148" y="172"/>
                  <a:pt x="144" y="175"/>
                  <a:pt x="146" y="173"/>
                </a:cubicBezTo>
                <a:close/>
                <a:moveTo>
                  <a:pt x="145" y="190"/>
                </a:moveTo>
                <a:cubicBezTo>
                  <a:pt x="145" y="190"/>
                  <a:pt x="146" y="190"/>
                  <a:pt x="146" y="190"/>
                </a:cubicBezTo>
                <a:cubicBezTo>
                  <a:pt x="148" y="189"/>
                  <a:pt x="144" y="192"/>
                  <a:pt x="145" y="190"/>
                </a:cubicBezTo>
                <a:close/>
                <a:moveTo>
                  <a:pt x="144" y="178"/>
                </a:moveTo>
                <a:cubicBezTo>
                  <a:pt x="145" y="178"/>
                  <a:pt x="145" y="180"/>
                  <a:pt x="144" y="180"/>
                </a:cubicBezTo>
                <a:cubicBezTo>
                  <a:pt x="144" y="180"/>
                  <a:pt x="143" y="178"/>
                  <a:pt x="144" y="178"/>
                </a:cubicBezTo>
                <a:close/>
                <a:moveTo>
                  <a:pt x="145" y="222"/>
                </a:moveTo>
                <a:cubicBezTo>
                  <a:pt x="145" y="221"/>
                  <a:pt x="146" y="220"/>
                  <a:pt x="147" y="221"/>
                </a:cubicBezTo>
                <a:cubicBezTo>
                  <a:pt x="148" y="221"/>
                  <a:pt x="148" y="224"/>
                  <a:pt x="147" y="224"/>
                </a:cubicBezTo>
                <a:cubicBezTo>
                  <a:pt x="146" y="224"/>
                  <a:pt x="146" y="223"/>
                  <a:pt x="145" y="222"/>
                </a:cubicBezTo>
                <a:cubicBezTo>
                  <a:pt x="145" y="222"/>
                  <a:pt x="145" y="222"/>
                  <a:pt x="145" y="222"/>
                </a:cubicBezTo>
                <a:cubicBezTo>
                  <a:pt x="144" y="221"/>
                  <a:pt x="144" y="219"/>
                  <a:pt x="143" y="217"/>
                </a:cubicBezTo>
                <a:cubicBezTo>
                  <a:pt x="144" y="218"/>
                  <a:pt x="145" y="220"/>
                  <a:pt x="145" y="222"/>
                </a:cubicBezTo>
                <a:close/>
                <a:moveTo>
                  <a:pt x="145" y="245"/>
                </a:moveTo>
                <a:cubicBezTo>
                  <a:pt x="147" y="244"/>
                  <a:pt x="146" y="248"/>
                  <a:pt x="145" y="248"/>
                </a:cubicBezTo>
                <a:cubicBezTo>
                  <a:pt x="144" y="248"/>
                  <a:pt x="143" y="246"/>
                  <a:pt x="145" y="245"/>
                </a:cubicBezTo>
                <a:close/>
                <a:moveTo>
                  <a:pt x="145" y="314"/>
                </a:moveTo>
                <a:cubicBezTo>
                  <a:pt x="145" y="314"/>
                  <a:pt x="144" y="313"/>
                  <a:pt x="144" y="312"/>
                </a:cubicBezTo>
                <a:cubicBezTo>
                  <a:pt x="144" y="311"/>
                  <a:pt x="145" y="314"/>
                  <a:pt x="145" y="314"/>
                </a:cubicBezTo>
                <a:close/>
                <a:moveTo>
                  <a:pt x="141" y="194"/>
                </a:moveTo>
                <a:cubicBezTo>
                  <a:pt x="141" y="194"/>
                  <a:pt x="140" y="193"/>
                  <a:pt x="140" y="193"/>
                </a:cubicBezTo>
                <a:cubicBezTo>
                  <a:pt x="140" y="192"/>
                  <a:pt x="142" y="194"/>
                  <a:pt x="141" y="194"/>
                </a:cubicBezTo>
                <a:close/>
                <a:moveTo>
                  <a:pt x="142" y="199"/>
                </a:moveTo>
                <a:cubicBezTo>
                  <a:pt x="141" y="199"/>
                  <a:pt x="141" y="198"/>
                  <a:pt x="141" y="197"/>
                </a:cubicBezTo>
                <a:cubicBezTo>
                  <a:pt x="141" y="197"/>
                  <a:pt x="142" y="198"/>
                  <a:pt x="142" y="199"/>
                </a:cubicBezTo>
                <a:close/>
                <a:moveTo>
                  <a:pt x="142" y="216"/>
                </a:moveTo>
                <a:cubicBezTo>
                  <a:pt x="141" y="214"/>
                  <a:pt x="140" y="211"/>
                  <a:pt x="139" y="209"/>
                </a:cubicBezTo>
                <a:cubicBezTo>
                  <a:pt x="141" y="210"/>
                  <a:pt x="142" y="214"/>
                  <a:pt x="142" y="216"/>
                </a:cubicBezTo>
                <a:close/>
                <a:moveTo>
                  <a:pt x="141" y="232"/>
                </a:moveTo>
                <a:cubicBezTo>
                  <a:pt x="141" y="233"/>
                  <a:pt x="141" y="231"/>
                  <a:pt x="141" y="232"/>
                </a:cubicBezTo>
                <a:close/>
                <a:moveTo>
                  <a:pt x="140" y="226"/>
                </a:moveTo>
                <a:cubicBezTo>
                  <a:pt x="139" y="224"/>
                  <a:pt x="140" y="224"/>
                  <a:pt x="140" y="226"/>
                </a:cubicBezTo>
                <a:close/>
                <a:moveTo>
                  <a:pt x="134" y="215"/>
                </a:moveTo>
                <a:cubicBezTo>
                  <a:pt x="134" y="216"/>
                  <a:pt x="133" y="215"/>
                  <a:pt x="133" y="215"/>
                </a:cubicBezTo>
                <a:cubicBezTo>
                  <a:pt x="133" y="214"/>
                  <a:pt x="134" y="215"/>
                  <a:pt x="134" y="215"/>
                </a:cubicBezTo>
                <a:close/>
                <a:moveTo>
                  <a:pt x="128" y="205"/>
                </a:moveTo>
                <a:cubicBezTo>
                  <a:pt x="128" y="203"/>
                  <a:pt x="128" y="202"/>
                  <a:pt x="130" y="202"/>
                </a:cubicBezTo>
                <a:cubicBezTo>
                  <a:pt x="131" y="202"/>
                  <a:pt x="132" y="206"/>
                  <a:pt x="131" y="207"/>
                </a:cubicBezTo>
                <a:cubicBezTo>
                  <a:pt x="130" y="208"/>
                  <a:pt x="130" y="207"/>
                  <a:pt x="129" y="207"/>
                </a:cubicBezTo>
                <a:cubicBezTo>
                  <a:pt x="129" y="207"/>
                  <a:pt x="129" y="207"/>
                  <a:pt x="129" y="207"/>
                </a:cubicBezTo>
                <a:cubicBezTo>
                  <a:pt x="128" y="207"/>
                  <a:pt x="127" y="205"/>
                  <a:pt x="128" y="205"/>
                </a:cubicBezTo>
                <a:close/>
                <a:moveTo>
                  <a:pt x="131" y="346"/>
                </a:moveTo>
                <a:cubicBezTo>
                  <a:pt x="133" y="346"/>
                  <a:pt x="132" y="348"/>
                  <a:pt x="131" y="346"/>
                </a:cubicBezTo>
                <a:close/>
                <a:moveTo>
                  <a:pt x="128" y="352"/>
                </a:moveTo>
                <a:cubicBezTo>
                  <a:pt x="129" y="352"/>
                  <a:pt x="129" y="353"/>
                  <a:pt x="129" y="353"/>
                </a:cubicBezTo>
                <a:cubicBezTo>
                  <a:pt x="128" y="354"/>
                  <a:pt x="128" y="353"/>
                  <a:pt x="128" y="352"/>
                </a:cubicBezTo>
                <a:close/>
                <a:moveTo>
                  <a:pt x="128" y="244"/>
                </a:moveTo>
                <a:cubicBezTo>
                  <a:pt x="128" y="243"/>
                  <a:pt x="129" y="245"/>
                  <a:pt x="129" y="246"/>
                </a:cubicBezTo>
                <a:cubicBezTo>
                  <a:pt x="128" y="245"/>
                  <a:pt x="129" y="245"/>
                  <a:pt x="128" y="244"/>
                </a:cubicBezTo>
                <a:close/>
                <a:moveTo>
                  <a:pt x="128" y="274"/>
                </a:moveTo>
                <a:cubicBezTo>
                  <a:pt x="129" y="275"/>
                  <a:pt x="129" y="276"/>
                  <a:pt x="130" y="277"/>
                </a:cubicBezTo>
                <a:cubicBezTo>
                  <a:pt x="129" y="277"/>
                  <a:pt x="128" y="275"/>
                  <a:pt x="128" y="274"/>
                </a:cubicBezTo>
                <a:close/>
                <a:moveTo>
                  <a:pt x="129" y="246"/>
                </a:moveTo>
                <a:cubicBezTo>
                  <a:pt x="132" y="246"/>
                  <a:pt x="128" y="249"/>
                  <a:pt x="129" y="247"/>
                </a:cubicBezTo>
                <a:cubicBezTo>
                  <a:pt x="129" y="247"/>
                  <a:pt x="129" y="246"/>
                  <a:pt x="129" y="246"/>
                </a:cubicBezTo>
                <a:close/>
                <a:moveTo>
                  <a:pt x="129" y="241"/>
                </a:moveTo>
                <a:cubicBezTo>
                  <a:pt x="130" y="240"/>
                  <a:pt x="130" y="242"/>
                  <a:pt x="130" y="242"/>
                </a:cubicBezTo>
                <a:cubicBezTo>
                  <a:pt x="130" y="242"/>
                  <a:pt x="129" y="241"/>
                  <a:pt x="129" y="241"/>
                </a:cubicBezTo>
                <a:close/>
                <a:moveTo>
                  <a:pt x="130" y="275"/>
                </a:moveTo>
                <a:cubicBezTo>
                  <a:pt x="129" y="274"/>
                  <a:pt x="130" y="273"/>
                  <a:pt x="130" y="274"/>
                </a:cubicBezTo>
                <a:cubicBezTo>
                  <a:pt x="131" y="274"/>
                  <a:pt x="131" y="275"/>
                  <a:pt x="130" y="275"/>
                </a:cubicBezTo>
                <a:close/>
                <a:moveTo>
                  <a:pt x="128" y="210"/>
                </a:moveTo>
                <a:cubicBezTo>
                  <a:pt x="127" y="210"/>
                  <a:pt x="127" y="208"/>
                  <a:pt x="127" y="207"/>
                </a:cubicBezTo>
                <a:cubicBezTo>
                  <a:pt x="128" y="208"/>
                  <a:pt x="128" y="209"/>
                  <a:pt x="128" y="210"/>
                </a:cubicBezTo>
                <a:close/>
                <a:moveTo>
                  <a:pt x="126" y="269"/>
                </a:moveTo>
                <a:cubicBezTo>
                  <a:pt x="127" y="270"/>
                  <a:pt x="128" y="271"/>
                  <a:pt x="128" y="273"/>
                </a:cubicBezTo>
                <a:cubicBezTo>
                  <a:pt x="127" y="272"/>
                  <a:pt x="126" y="271"/>
                  <a:pt x="126" y="269"/>
                </a:cubicBezTo>
                <a:close/>
                <a:moveTo>
                  <a:pt x="123" y="221"/>
                </a:moveTo>
                <a:cubicBezTo>
                  <a:pt x="123" y="221"/>
                  <a:pt x="124" y="221"/>
                  <a:pt x="124" y="222"/>
                </a:cubicBezTo>
                <a:cubicBezTo>
                  <a:pt x="124" y="222"/>
                  <a:pt x="122" y="222"/>
                  <a:pt x="123" y="221"/>
                </a:cubicBezTo>
                <a:close/>
                <a:moveTo>
                  <a:pt x="125" y="273"/>
                </a:moveTo>
                <a:cubicBezTo>
                  <a:pt x="123" y="272"/>
                  <a:pt x="123" y="271"/>
                  <a:pt x="123" y="270"/>
                </a:cubicBezTo>
                <a:cubicBezTo>
                  <a:pt x="124" y="270"/>
                  <a:pt x="125" y="272"/>
                  <a:pt x="125" y="273"/>
                </a:cubicBezTo>
                <a:close/>
                <a:moveTo>
                  <a:pt x="119" y="230"/>
                </a:moveTo>
                <a:cubicBezTo>
                  <a:pt x="119" y="231"/>
                  <a:pt x="119" y="230"/>
                  <a:pt x="119" y="230"/>
                </a:cubicBezTo>
                <a:cubicBezTo>
                  <a:pt x="116" y="228"/>
                  <a:pt x="120" y="229"/>
                  <a:pt x="119" y="230"/>
                </a:cubicBezTo>
                <a:close/>
                <a:moveTo>
                  <a:pt x="116" y="209"/>
                </a:moveTo>
                <a:cubicBezTo>
                  <a:pt x="117" y="209"/>
                  <a:pt x="117" y="211"/>
                  <a:pt x="117" y="211"/>
                </a:cubicBezTo>
                <a:cubicBezTo>
                  <a:pt x="117" y="211"/>
                  <a:pt x="116" y="210"/>
                  <a:pt x="116" y="209"/>
                </a:cubicBezTo>
                <a:close/>
                <a:moveTo>
                  <a:pt x="117" y="220"/>
                </a:moveTo>
                <a:cubicBezTo>
                  <a:pt x="118" y="221"/>
                  <a:pt x="118" y="223"/>
                  <a:pt x="118" y="224"/>
                </a:cubicBezTo>
                <a:cubicBezTo>
                  <a:pt x="118" y="226"/>
                  <a:pt x="119" y="228"/>
                  <a:pt x="118" y="228"/>
                </a:cubicBezTo>
                <a:cubicBezTo>
                  <a:pt x="118" y="228"/>
                  <a:pt x="118" y="228"/>
                  <a:pt x="118" y="227"/>
                </a:cubicBezTo>
                <a:cubicBezTo>
                  <a:pt x="118" y="228"/>
                  <a:pt x="118" y="228"/>
                  <a:pt x="118" y="228"/>
                </a:cubicBezTo>
                <a:cubicBezTo>
                  <a:pt x="118" y="228"/>
                  <a:pt x="117" y="229"/>
                  <a:pt x="117" y="229"/>
                </a:cubicBezTo>
                <a:cubicBezTo>
                  <a:pt x="116" y="229"/>
                  <a:pt x="111" y="224"/>
                  <a:pt x="112" y="221"/>
                </a:cubicBezTo>
                <a:cubicBezTo>
                  <a:pt x="112" y="219"/>
                  <a:pt x="115" y="218"/>
                  <a:pt x="117" y="220"/>
                </a:cubicBezTo>
                <a:close/>
                <a:moveTo>
                  <a:pt x="114" y="428"/>
                </a:moveTo>
                <a:cubicBezTo>
                  <a:pt x="114" y="430"/>
                  <a:pt x="112" y="427"/>
                  <a:pt x="112" y="425"/>
                </a:cubicBezTo>
                <a:cubicBezTo>
                  <a:pt x="111" y="421"/>
                  <a:pt x="110" y="416"/>
                  <a:pt x="110" y="413"/>
                </a:cubicBezTo>
                <a:cubicBezTo>
                  <a:pt x="110" y="413"/>
                  <a:pt x="110" y="411"/>
                  <a:pt x="110" y="411"/>
                </a:cubicBezTo>
                <a:cubicBezTo>
                  <a:pt x="111" y="411"/>
                  <a:pt x="114" y="426"/>
                  <a:pt x="114" y="428"/>
                </a:cubicBezTo>
                <a:close/>
                <a:moveTo>
                  <a:pt x="111" y="324"/>
                </a:moveTo>
                <a:cubicBezTo>
                  <a:pt x="110" y="325"/>
                  <a:pt x="111" y="323"/>
                  <a:pt x="111" y="324"/>
                </a:cubicBezTo>
                <a:close/>
                <a:moveTo>
                  <a:pt x="113" y="271"/>
                </a:moveTo>
                <a:cubicBezTo>
                  <a:pt x="115" y="271"/>
                  <a:pt x="117" y="274"/>
                  <a:pt x="115" y="276"/>
                </a:cubicBezTo>
                <a:cubicBezTo>
                  <a:pt x="112" y="280"/>
                  <a:pt x="109" y="271"/>
                  <a:pt x="113" y="271"/>
                </a:cubicBezTo>
                <a:close/>
                <a:moveTo>
                  <a:pt x="114" y="252"/>
                </a:moveTo>
                <a:cubicBezTo>
                  <a:pt x="114" y="252"/>
                  <a:pt x="115" y="253"/>
                  <a:pt x="114" y="254"/>
                </a:cubicBezTo>
                <a:cubicBezTo>
                  <a:pt x="113" y="254"/>
                  <a:pt x="113" y="252"/>
                  <a:pt x="114" y="252"/>
                </a:cubicBezTo>
                <a:close/>
                <a:moveTo>
                  <a:pt x="115" y="374"/>
                </a:moveTo>
                <a:cubicBezTo>
                  <a:pt x="117" y="374"/>
                  <a:pt x="117" y="378"/>
                  <a:pt x="115" y="378"/>
                </a:cubicBezTo>
                <a:cubicBezTo>
                  <a:pt x="115" y="378"/>
                  <a:pt x="113" y="375"/>
                  <a:pt x="115" y="374"/>
                </a:cubicBezTo>
                <a:close/>
                <a:moveTo>
                  <a:pt x="115" y="266"/>
                </a:moveTo>
                <a:cubicBezTo>
                  <a:pt x="118" y="267"/>
                  <a:pt x="116" y="270"/>
                  <a:pt x="115" y="266"/>
                </a:cubicBezTo>
                <a:close/>
                <a:moveTo>
                  <a:pt x="110" y="225"/>
                </a:moveTo>
                <a:cubicBezTo>
                  <a:pt x="112" y="225"/>
                  <a:pt x="110" y="226"/>
                  <a:pt x="110" y="225"/>
                </a:cubicBezTo>
                <a:close/>
                <a:moveTo>
                  <a:pt x="108" y="237"/>
                </a:moveTo>
                <a:cubicBezTo>
                  <a:pt x="106" y="236"/>
                  <a:pt x="109" y="235"/>
                  <a:pt x="108" y="237"/>
                </a:cubicBezTo>
                <a:close/>
                <a:moveTo>
                  <a:pt x="106" y="237"/>
                </a:moveTo>
                <a:cubicBezTo>
                  <a:pt x="107" y="236"/>
                  <a:pt x="108" y="238"/>
                  <a:pt x="107" y="239"/>
                </a:cubicBezTo>
                <a:cubicBezTo>
                  <a:pt x="106" y="239"/>
                  <a:pt x="106" y="237"/>
                  <a:pt x="106" y="237"/>
                </a:cubicBezTo>
                <a:close/>
                <a:moveTo>
                  <a:pt x="97" y="223"/>
                </a:moveTo>
                <a:cubicBezTo>
                  <a:pt x="98" y="223"/>
                  <a:pt x="98" y="225"/>
                  <a:pt x="96" y="225"/>
                </a:cubicBezTo>
                <a:cubicBezTo>
                  <a:pt x="95" y="224"/>
                  <a:pt x="96" y="223"/>
                  <a:pt x="97" y="223"/>
                </a:cubicBezTo>
                <a:close/>
                <a:moveTo>
                  <a:pt x="96" y="249"/>
                </a:moveTo>
                <a:cubicBezTo>
                  <a:pt x="97" y="250"/>
                  <a:pt x="96" y="250"/>
                  <a:pt x="96" y="249"/>
                </a:cubicBezTo>
                <a:close/>
                <a:moveTo>
                  <a:pt x="96" y="195"/>
                </a:moveTo>
                <a:cubicBezTo>
                  <a:pt x="96" y="195"/>
                  <a:pt x="96" y="196"/>
                  <a:pt x="96" y="197"/>
                </a:cubicBezTo>
                <a:cubicBezTo>
                  <a:pt x="96" y="197"/>
                  <a:pt x="95" y="196"/>
                  <a:pt x="96" y="195"/>
                </a:cubicBezTo>
                <a:close/>
                <a:moveTo>
                  <a:pt x="93" y="195"/>
                </a:moveTo>
                <a:cubicBezTo>
                  <a:pt x="94" y="195"/>
                  <a:pt x="93" y="195"/>
                  <a:pt x="93" y="195"/>
                </a:cubicBezTo>
                <a:cubicBezTo>
                  <a:pt x="93" y="195"/>
                  <a:pt x="93" y="195"/>
                  <a:pt x="93" y="195"/>
                </a:cubicBezTo>
                <a:close/>
                <a:moveTo>
                  <a:pt x="93" y="195"/>
                </a:moveTo>
                <a:cubicBezTo>
                  <a:pt x="93" y="196"/>
                  <a:pt x="93" y="196"/>
                  <a:pt x="93" y="195"/>
                </a:cubicBezTo>
                <a:close/>
                <a:moveTo>
                  <a:pt x="92" y="212"/>
                </a:moveTo>
                <a:cubicBezTo>
                  <a:pt x="91" y="213"/>
                  <a:pt x="90" y="211"/>
                  <a:pt x="89" y="211"/>
                </a:cubicBezTo>
                <a:cubicBezTo>
                  <a:pt x="88" y="207"/>
                  <a:pt x="94" y="209"/>
                  <a:pt x="92" y="212"/>
                </a:cubicBezTo>
                <a:close/>
                <a:moveTo>
                  <a:pt x="92" y="259"/>
                </a:moveTo>
                <a:cubicBezTo>
                  <a:pt x="91" y="259"/>
                  <a:pt x="93" y="251"/>
                  <a:pt x="92" y="248"/>
                </a:cubicBezTo>
                <a:cubicBezTo>
                  <a:pt x="94" y="249"/>
                  <a:pt x="93" y="260"/>
                  <a:pt x="92" y="259"/>
                </a:cubicBezTo>
                <a:close/>
                <a:moveTo>
                  <a:pt x="93" y="228"/>
                </a:moveTo>
                <a:cubicBezTo>
                  <a:pt x="91" y="227"/>
                  <a:pt x="93" y="226"/>
                  <a:pt x="93" y="228"/>
                </a:cubicBezTo>
                <a:close/>
                <a:moveTo>
                  <a:pt x="92" y="225"/>
                </a:moveTo>
                <a:cubicBezTo>
                  <a:pt x="92" y="225"/>
                  <a:pt x="92" y="223"/>
                  <a:pt x="92" y="223"/>
                </a:cubicBezTo>
                <a:cubicBezTo>
                  <a:pt x="93" y="223"/>
                  <a:pt x="93" y="226"/>
                  <a:pt x="92" y="225"/>
                </a:cubicBezTo>
                <a:close/>
                <a:moveTo>
                  <a:pt x="94" y="198"/>
                </a:moveTo>
                <a:cubicBezTo>
                  <a:pt x="95" y="198"/>
                  <a:pt x="95" y="199"/>
                  <a:pt x="95" y="199"/>
                </a:cubicBezTo>
                <a:cubicBezTo>
                  <a:pt x="95" y="199"/>
                  <a:pt x="93" y="200"/>
                  <a:pt x="93" y="200"/>
                </a:cubicBezTo>
                <a:cubicBezTo>
                  <a:pt x="92" y="200"/>
                  <a:pt x="92" y="198"/>
                  <a:pt x="94" y="198"/>
                </a:cubicBezTo>
                <a:close/>
                <a:moveTo>
                  <a:pt x="94" y="407"/>
                </a:moveTo>
                <a:cubicBezTo>
                  <a:pt x="95" y="409"/>
                  <a:pt x="93" y="409"/>
                  <a:pt x="94" y="407"/>
                </a:cubicBezTo>
                <a:close/>
                <a:moveTo>
                  <a:pt x="96" y="275"/>
                </a:moveTo>
                <a:cubicBezTo>
                  <a:pt x="95" y="275"/>
                  <a:pt x="95" y="273"/>
                  <a:pt x="95" y="272"/>
                </a:cubicBezTo>
                <a:cubicBezTo>
                  <a:pt x="97" y="271"/>
                  <a:pt x="97" y="275"/>
                  <a:pt x="96" y="275"/>
                </a:cubicBezTo>
                <a:close/>
                <a:moveTo>
                  <a:pt x="95" y="257"/>
                </a:moveTo>
                <a:cubicBezTo>
                  <a:pt x="97" y="257"/>
                  <a:pt x="98" y="260"/>
                  <a:pt x="98" y="262"/>
                </a:cubicBezTo>
                <a:cubicBezTo>
                  <a:pt x="97" y="260"/>
                  <a:pt x="96" y="259"/>
                  <a:pt x="95" y="257"/>
                </a:cubicBezTo>
                <a:close/>
                <a:moveTo>
                  <a:pt x="99" y="345"/>
                </a:moveTo>
                <a:cubicBezTo>
                  <a:pt x="98" y="346"/>
                  <a:pt x="98" y="344"/>
                  <a:pt x="98" y="344"/>
                </a:cubicBezTo>
                <a:cubicBezTo>
                  <a:pt x="99" y="344"/>
                  <a:pt x="99" y="345"/>
                  <a:pt x="99" y="345"/>
                </a:cubicBezTo>
                <a:close/>
                <a:moveTo>
                  <a:pt x="99" y="391"/>
                </a:moveTo>
                <a:cubicBezTo>
                  <a:pt x="100" y="393"/>
                  <a:pt x="99" y="393"/>
                  <a:pt x="99" y="391"/>
                </a:cubicBezTo>
                <a:close/>
                <a:moveTo>
                  <a:pt x="98" y="263"/>
                </a:moveTo>
                <a:cubicBezTo>
                  <a:pt x="99" y="265"/>
                  <a:pt x="100" y="266"/>
                  <a:pt x="100" y="268"/>
                </a:cubicBezTo>
                <a:cubicBezTo>
                  <a:pt x="100" y="267"/>
                  <a:pt x="99" y="265"/>
                  <a:pt x="98" y="263"/>
                </a:cubicBezTo>
                <a:close/>
                <a:moveTo>
                  <a:pt x="100" y="245"/>
                </a:moveTo>
                <a:cubicBezTo>
                  <a:pt x="98" y="243"/>
                  <a:pt x="100" y="243"/>
                  <a:pt x="100" y="245"/>
                </a:cubicBezTo>
                <a:close/>
                <a:moveTo>
                  <a:pt x="98" y="231"/>
                </a:moveTo>
                <a:cubicBezTo>
                  <a:pt x="97" y="231"/>
                  <a:pt x="98" y="227"/>
                  <a:pt x="99" y="227"/>
                </a:cubicBezTo>
                <a:cubicBezTo>
                  <a:pt x="101" y="227"/>
                  <a:pt x="101" y="232"/>
                  <a:pt x="98" y="231"/>
                </a:cubicBezTo>
                <a:close/>
                <a:moveTo>
                  <a:pt x="99" y="205"/>
                </a:moveTo>
                <a:cubicBezTo>
                  <a:pt x="99" y="204"/>
                  <a:pt x="100" y="206"/>
                  <a:pt x="99" y="206"/>
                </a:cubicBezTo>
                <a:cubicBezTo>
                  <a:pt x="99" y="206"/>
                  <a:pt x="99" y="205"/>
                  <a:pt x="99" y="205"/>
                </a:cubicBezTo>
                <a:close/>
                <a:moveTo>
                  <a:pt x="102" y="420"/>
                </a:moveTo>
                <a:cubicBezTo>
                  <a:pt x="102" y="420"/>
                  <a:pt x="102" y="420"/>
                  <a:pt x="102" y="420"/>
                </a:cubicBezTo>
                <a:cubicBezTo>
                  <a:pt x="102" y="420"/>
                  <a:pt x="102" y="420"/>
                  <a:pt x="102" y="420"/>
                </a:cubicBezTo>
                <a:cubicBezTo>
                  <a:pt x="102" y="420"/>
                  <a:pt x="102" y="420"/>
                  <a:pt x="102" y="420"/>
                </a:cubicBezTo>
                <a:close/>
                <a:moveTo>
                  <a:pt x="101" y="348"/>
                </a:moveTo>
                <a:cubicBezTo>
                  <a:pt x="99" y="349"/>
                  <a:pt x="102" y="346"/>
                  <a:pt x="102" y="347"/>
                </a:cubicBezTo>
                <a:cubicBezTo>
                  <a:pt x="102" y="348"/>
                  <a:pt x="102" y="348"/>
                  <a:pt x="101" y="348"/>
                </a:cubicBezTo>
                <a:close/>
                <a:moveTo>
                  <a:pt x="102" y="273"/>
                </a:moveTo>
                <a:cubicBezTo>
                  <a:pt x="101" y="273"/>
                  <a:pt x="101" y="271"/>
                  <a:pt x="101" y="270"/>
                </a:cubicBezTo>
                <a:cubicBezTo>
                  <a:pt x="102" y="270"/>
                  <a:pt x="103" y="273"/>
                  <a:pt x="102" y="273"/>
                </a:cubicBezTo>
                <a:close/>
                <a:moveTo>
                  <a:pt x="102" y="211"/>
                </a:moveTo>
                <a:cubicBezTo>
                  <a:pt x="102" y="210"/>
                  <a:pt x="103" y="210"/>
                  <a:pt x="102" y="210"/>
                </a:cubicBezTo>
                <a:cubicBezTo>
                  <a:pt x="102" y="210"/>
                  <a:pt x="102" y="211"/>
                  <a:pt x="102" y="211"/>
                </a:cubicBezTo>
                <a:close/>
                <a:moveTo>
                  <a:pt x="101" y="211"/>
                </a:moveTo>
                <a:cubicBezTo>
                  <a:pt x="101" y="211"/>
                  <a:pt x="101" y="210"/>
                  <a:pt x="101" y="210"/>
                </a:cubicBezTo>
                <a:cubicBezTo>
                  <a:pt x="101" y="211"/>
                  <a:pt x="100" y="212"/>
                  <a:pt x="101" y="211"/>
                </a:cubicBezTo>
                <a:close/>
                <a:moveTo>
                  <a:pt x="103" y="355"/>
                </a:moveTo>
                <a:cubicBezTo>
                  <a:pt x="102" y="355"/>
                  <a:pt x="102" y="354"/>
                  <a:pt x="102" y="353"/>
                </a:cubicBezTo>
                <a:cubicBezTo>
                  <a:pt x="103" y="354"/>
                  <a:pt x="103" y="354"/>
                  <a:pt x="103" y="355"/>
                </a:cubicBezTo>
                <a:close/>
                <a:moveTo>
                  <a:pt x="105" y="290"/>
                </a:moveTo>
                <a:cubicBezTo>
                  <a:pt x="105" y="291"/>
                  <a:pt x="104" y="291"/>
                  <a:pt x="103" y="290"/>
                </a:cubicBezTo>
                <a:cubicBezTo>
                  <a:pt x="101" y="289"/>
                  <a:pt x="106" y="287"/>
                  <a:pt x="105" y="290"/>
                </a:cubicBezTo>
                <a:close/>
                <a:moveTo>
                  <a:pt x="103" y="252"/>
                </a:moveTo>
                <a:cubicBezTo>
                  <a:pt x="104" y="252"/>
                  <a:pt x="103" y="253"/>
                  <a:pt x="103" y="252"/>
                </a:cubicBezTo>
                <a:close/>
                <a:moveTo>
                  <a:pt x="105" y="207"/>
                </a:moveTo>
                <a:cubicBezTo>
                  <a:pt x="104" y="207"/>
                  <a:pt x="103" y="205"/>
                  <a:pt x="102" y="205"/>
                </a:cubicBezTo>
                <a:cubicBezTo>
                  <a:pt x="102" y="206"/>
                  <a:pt x="103" y="207"/>
                  <a:pt x="102" y="207"/>
                </a:cubicBezTo>
                <a:cubicBezTo>
                  <a:pt x="102" y="206"/>
                  <a:pt x="98" y="203"/>
                  <a:pt x="98" y="200"/>
                </a:cubicBezTo>
                <a:cubicBezTo>
                  <a:pt x="98" y="199"/>
                  <a:pt x="99" y="196"/>
                  <a:pt x="102" y="196"/>
                </a:cubicBezTo>
                <a:cubicBezTo>
                  <a:pt x="103" y="197"/>
                  <a:pt x="106" y="201"/>
                  <a:pt x="106" y="203"/>
                </a:cubicBezTo>
                <a:cubicBezTo>
                  <a:pt x="105" y="204"/>
                  <a:pt x="105" y="205"/>
                  <a:pt x="105" y="206"/>
                </a:cubicBezTo>
                <a:cubicBezTo>
                  <a:pt x="105" y="206"/>
                  <a:pt x="106" y="207"/>
                  <a:pt x="105" y="207"/>
                </a:cubicBezTo>
                <a:close/>
                <a:moveTo>
                  <a:pt x="106" y="270"/>
                </a:moveTo>
                <a:cubicBezTo>
                  <a:pt x="105" y="270"/>
                  <a:pt x="106" y="270"/>
                  <a:pt x="106" y="270"/>
                </a:cubicBezTo>
                <a:close/>
                <a:moveTo>
                  <a:pt x="106" y="271"/>
                </a:moveTo>
                <a:cubicBezTo>
                  <a:pt x="106" y="271"/>
                  <a:pt x="106" y="271"/>
                  <a:pt x="106" y="271"/>
                </a:cubicBezTo>
                <a:cubicBezTo>
                  <a:pt x="106" y="271"/>
                  <a:pt x="106" y="271"/>
                  <a:pt x="106" y="271"/>
                </a:cubicBezTo>
                <a:cubicBezTo>
                  <a:pt x="106" y="271"/>
                  <a:pt x="106" y="271"/>
                  <a:pt x="106" y="271"/>
                </a:cubicBezTo>
                <a:close/>
                <a:moveTo>
                  <a:pt x="107" y="250"/>
                </a:moveTo>
                <a:cubicBezTo>
                  <a:pt x="107" y="249"/>
                  <a:pt x="108" y="250"/>
                  <a:pt x="109" y="250"/>
                </a:cubicBezTo>
                <a:cubicBezTo>
                  <a:pt x="112" y="250"/>
                  <a:pt x="112" y="254"/>
                  <a:pt x="111" y="255"/>
                </a:cubicBezTo>
                <a:cubicBezTo>
                  <a:pt x="111" y="255"/>
                  <a:pt x="111" y="255"/>
                  <a:pt x="111" y="255"/>
                </a:cubicBezTo>
                <a:cubicBezTo>
                  <a:pt x="111" y="255"/>
                  <a:pt x="111" y="255"/>
                  <a:pt x="111" y="255"/>
                </a:cubicBezTo>
                <a:cubicBezTo>
                  <a:pt x="111" y="259"/>
                  <a:pt x="102" y="254"/>
                  <a:pt x="107" y="250"/>
                </a:cubicBezTo>
                <a:close/>
                <a:moveTo>
                  <a:pt x="107" y="458"/>
                </a:moveTo>
                <a:cubicBezTo>
                  <a:pt x="108" y="460"/>
                  <a:pt x="106" y="460"/>
                  <a:pt x="107" y="458"/>
                </a:cubicBezTo>
                <a:close/>
                <a:moveTo>
                  <a:pt x="109" y="360"/>
                </a:moveTo>
                <a:cubicBezTo>
                  <a:pt x="111" y="360"/>
                  <a:pt x="110" y="363"/>
                  <a:pt x="109" y="363"/>
                </a:cubicBezTo>
                <a:cubicBezTo>
                  <a:pt x="108" y="362"/>
                  <a:pt x="108" y="361"/>
                  <a:pt x="109" y="360"/>
                </a:cubicBezTo>
                <a:close/>
                <a:moveTo>
                  <a:pt x="109" y="423"/>
                </a:moveTo>
                <a:cubicBezTo>
                  <a:pt x="109" y="423"/>
                  <a:pt x="108" y="420"/>
                  <a:pt x="110" y="422"/>
                </a:cubicBezTo>
                <a:cubicBezTo>
                  <a:pt x="112" y="425"/>
                  <a:pt x="112" y="431"/>
                  <a:pt x="113" y="435"/>
                </a:cubicBezTo>
                <a:cubicBezTo>
                  <a:pt x="111" y="432"/>
                  <a:pt x="109" y="427"/>
                  <a:pt x="109" y="423"/>
                </a:cubicBezTo>
                <a:close/>
                <a:moveTo>
                  <a:pt x="113" y="436"/>
                </a:moveTo>
                <a:cubicBezTo>
                  <a:pt x="115" y="437"/>
                  <a:pt x="117" y="442"/>
                  <a:pt x="117" y="446"/>
                </a:cubicBezTo>
                <a:cubicBezTo>
                  <a:pt x="115" y="443"/>
                  <a:pt x="114" y="439"/>
                  <a:pt x="113" y="436"/>
                </a:cubicBezTo>
                <a:close/>
                <a:moveTo>
                  <a:pt x="116" y="414"/>
                </a:moveTo>
                <a:cubicBezTo>
                  <a:pt x="116" y="415"/>
                  <a:pt x="114" y="414"/>
                  <a:pt x="116" y="414"/>
                </a:cubicBezTo>
                <a:close/>
                <a:moveTo>
                  <a:pt x="117" y="400"/>
                </a:moveTo>
                <a:cubicBezTo>
                  <a:pt x="115" y="401"/>
                  <a:pt x="112" y="391"/>
                  <a:pt x="116" y="392"/>
                </a:cubicBezTo>
                <a:cubicBezTo>
                  <a:pt x="118" y="393"/>
                  <a:pt x="117" y="396"/>
                  <a:pt x="117" y="397"/>
                </a:cubicBezTo>
                <a:cubicBezTo>
                  <a:pt x="117" y="398"/>
                  <a:pt x="116" y="398"/>
                  <a:pt x="116" y="398"/>
                </a:cubicBezTo>
                <a:cubicBezTo>
                  <a:pt x="116" y="398"/>
                  <a:pt x="118" y="400"/>
                  <a:pt x="117" y="400"/>
                </a:cubicBezTo>
                <a:close/>
                <a:moveTo>
                  <a:pt x="119" y="371"/>
                </a:moveTo>
                <a:cubicBezTo>
                  <a:pt x="117" y="370"/>
                  <a:pt x="120" y="368"/>
                  <a:pt x="119" y="371"/>
                </a:cubicBezTo>
                <a:close/>
                <a:moveTo>
                  <a:pt x="118" y="368"/>
                </a:moveTo>
                <a:cubicBezTo>
                  <a:pt x="118" y="368"/>
                  <a:pt x="117" y="366"/>
                  <a:pt x="118" y="366"/>
                </a:cubicBezTo>
                <a:cubicBezTo>
                  <a:pt x="119" y="365"/>
                  <a:pt x="120" y="369"/>
                  <a:pt x="118" y="368"/>
                </a:cubicBezTo>
                <a:close/>
                <a:moveTo>
                  <a:pt x="119" y="278"/>
                </a:moveTo>
                <a:cubicBezTo>
                  <a:pt x="118" y="278"/>
                  <a:pt x="118" y="277"/>
                  <a:pt x="118" y="276"/>
                </a:cubicBezTo>
                <a:cubicBezTo>
                  <a:pt x="121" y="274"/>
                  <a:pt x="122" y="280"/>
                  <a:pt x="119" y="278"/>
                </a:cubicBezTo>
                <a:close/>
                <a:moveTo>
                  <a:pt x="120" y="239"/>
                </a:moveTo>
                <a:cubicBezTo>
                  <a:pt x="119" y="241"/>
                  <a:pt x="117" y="235"/>
                  <a:pt x="119" y="235"/>
                </a:cubicBezTo>
                <a:cubicBezTo>
                  <a:pt x="121" y="234"/>
                  <a:pt x="122" y="238"/>
                  <a:pt x="120" y="239"/>
                </a:cubicBezTo>
                <a:close/>
                <a:moveTo>
                  <a:pt x="133" y="398"/>
                </a:moveTo>
                <a:cubicBezTo>
                  <a:pt x="131" y="392"/>
                  <a:pt x="130" y="386"/>
                  <a:pt x="128" y="380"/>
                </a:cubicBezTo>
                <a:cubicBezTo>
                  <a:pt x="125" y="375"/>
                  <a:pt x="122" y="370"/>
                  <a:pt x="122" y="364"/>
                </a:cubicBezTo>
                <a:cubicBezTo>
                  <a:pt x="122" y="364"/>
                  <a:pt x="123" y="363"/>
                  <a:pt x="123" y="363"/>
                </a:cubicBezTo>
                <a:cubicBezTo>
                  <a:pt x="124" y="363"/>
                  <a:pt x="128" y="373"/>
                  <a:pt x="128" y="376"/>
                </a:cubicBezTo>
                <a:cubicBezTo>
                  <a:pt x="129" y="381"/>
                  <a:pt x="131" y="385"/>
                  <a:pt x="132" y="390"/>
                </a:cubicBezTo>
                <a:cubicBezTo>
                  <a:pt x="132" y="392"/>
                  <a:pt x="136" y="397"/>
                  <a:pt x="135" y="399"/>
                </a:cubicBezTo>
                <a:cubicBezTo>
                  <a:pt x="135" y="403"/>
                  <a:pt x="133" y="398"/>
                  <a:pt x="133" y="398"/>
                </a:cubicBezTo>
                <a:close/>
                <a:moveTo>
                  <a:pt x="134" y="304"/>
                </a:moveTo>
                <a:cubicBezTo>
                  <a:pt x="134" y="304"/>
                  <a:pt x="133" y="304"/>
                  <a:pt x="133" y="303"/>
                </a:cubicBezTo>
                <a:cubicBezTo>
                  <a:pt x="133" y="303"/>
                  <a:pt x="134" y="304"/>
                  <a:pt x="134" y="304"/>
                </a:cubicBezTo>
                <a:close/>
                <a:moveTo>
                  <a:pt x="134" y="250"/>
                </a:moveTo>
                <a:cubicBezTo>
                  <a:pt x="135" y="250"/>
                  <a:pt x="136" y="254"/>
                  <a:pt x="134" y="254"/>
                </a:cubicBezTo>
                <a:cubicBezTo>
                  <a:pt x="134" y="254"/>
                  <a:pt x="132" y="250"/>
                  <a:pt x="134" y="250"/>
                </a:cubicBezTo>
                <a:close/>
                <a:moveTo>
                  <a:pt x="136" y="417"/>
                </a:moveTo>
                <a:cubicBezTo>
                  <a:pt x="137" y="418"/>
                  <a:pt x="137" y="419"/>
                  <a:pt x="138" y="420"/>
                </a:cubicBezTo>
                <a:cubicBezTo>
                  <a:pt x="137" y="420"/>
                  <a:pt x="136" y="418"/>
                  <a:pt x="136" y="417"/>
                </a:cubicBezTo>
                <a:close/>
                <a:moveTo>
                  <a:pt x="137" y="421"/>
                </a:moveTo>
                <a:cubicBezTo>
                  <a:pt x="137" y="422"/>
                  <a:pt x="138" y="420"/>
                  <a:pt x="137" y="421"/>
                </a:cubicBezTo>
                <a:close/>
                <a:moveTo>
                  <a:pt x="135" y="249"/>
                </a:moveTo>
                <a:cubicBezTo>
                  <a:pt x="136" y="248"/>
                  <a:pt x="133" y="247"/>
                  <a:pt x="132" y="246"/>
                </a:cubicBezTo>
                <a:cubicBezTo>
                  <a:pt x="129" y="238"/>
                  <a:pt x="140" y="237"/>
                  <a:pt x="139" y="245"/>
                </a:cubicBezTo>
                <a:cubicBezTo>
                  <a:pt x="139" y="246"/>
                  <a:pt x="138" y="249"/>
                  <a:pt x="135" y="249"/>
                </a:cubicBezTo>
                <a:close/>
                <a:moveTo>
                  <a:pt x="138" y="250"/>
                </a:moveTo>
                <a:cubicBezTo>
                  <a:pt x="138" y="250"/>
                  <a:pt x="138" y="249"/>
                  <a:pt x="138" y="249"/>
                </a:cubicBezTo>
                <a:cubicBezTo>
                  <a:pt x="139" y="248"/>
                  <a:pt x="139" y="250"/>
                  <a:pt x="138" y="250"/>
                </a:cubicBezTo>
                <a:close/>
                <a:moveTo>
                  <a:pt x="140" y="271"/>
                </a:moveTo>
                <a:cubicBezTo>
                  <a:pt x="140" y="271"/>
                  <a:pt x="140" y="270"/>
                  <a:pt x="140" y="271"/>
                </a:cubicBezTo>
                <a:close/>
                <a:moveTo>
                  <a:pt x="139" y="232"/>
                </a:moveTo>
                <a:cubicBezTo>
                  <a:pt x="140" y="232"/>
                  <a:pt x="141" y="232"/>
                  <a:pt x="141" y="232"/>
                </a:cubicBezTo>
                <a:cubicBezTo>
                  <a:pt x="145" y="235"/>
                  <a:pt x="139" y="234"/>
                  <a:pt x="139" y="232"/>
                </a:cubicBezTo>
                <a:close/>
                <a:moveTo>
                  <a:pt x="142" y="304"/>
                </a:moveTo>
                <a:cubicBezTo>
                  <a:pt x="143" y="306"/>
                  <a:pt x="145" y="309"/>
                  <a:pt x="143" y="310"/>
                </a:cubicBezTo>
                <a:cubicBezTo>
                  <a:pt x="144" y="308"/>
                  <a:pt x="142" y="307"/>
                  <a:pt x="142" y="304"/>
                </a:cubicBezTo>
                <a:close/>
                <a:moveTo>
                  <a:pt x="144" y="445"/>
                </a:moveTo>
                <a:cubicBezTo>
                  <a:pt x="144" y="445"/>
                  <a:pt x="144" y="444"/>
                  <a:pt x="144" y="444"/>
                </a:cubicBezTo>
                <a:cubicBezTo>
                  <a:pt x="147" y="445"/>
                  <a:pt x="141" y="446"/>
                  <a:pt x="144" y="445"/>
                </a:cubicBezTo>
                <a:close/>
                <a:moveTo>
                  <a:pt x="144" y="390"/>
                </a:moveTo>
                <a:cubicBezTo>
                  <a:pt x="145" y="390"/>
                  <a:pt x="144" y="391"/>
                  <a:pt x="145" y="391"/>
                </a:cubicBezTo>
                <a:cubicBezTo>
                  <a:pt x="144" y="392"/>
                  <a:pt x="144" y="390"/>
                  <a:pt x="144" y="390"/>
                </a:cubicBezTo>
                <a:close/>
                <a:moveTo>
                  <a:pt x="145" y="345"/>
                </a:moveTo>
                <a:cubicBezTo>
                  <a:pt x="141" y="343"/>
                  <a:pt x="142" y="334"/>
                  <a:pt x="147" y="334"/>
                </a:cubicBezTo>
                <a:cubicBezTo>
                  <a:pt x="153" y="335"/>
                  <a:pt x="151" y="349"/>
                  <a:pt x="145" y="345"/>
                </a:cubicBezTo>
                <a:close/>
                <a:moveTo>
                  <a:pt x="150" y="229"/>
                </a:moveTo>
                <a:cubicBezTo>
                  <a:pt x="151" y="228"/>
                  <a:pt x="152" y="230"/>
                  <a:pt x="151" y="230"/>
                </a:cubicBezTo>
                <a:cubicBezTo>
                  <a:pt x="151" y="231"/>
                  <a:pt x="150" y="229"/>
                  <a:pt x="150" y="229"/>
                </a:cubicBezTo>
                <a:close/>
                <a:moveTo>
                  <a:pt x="152" y="263"/>
                </a:moveTo>
                <a:cubicBezTo>
                  <a:pt x="150" y="260"/>
                  <a:pt x="152" y="259"/>
                  <a:pt x="152" y="263"/>
                </a:cubicBezTo>
                <a:close/>
                <a:moveTo>
                  <a:pt x="156" y="234"/>
                </a:moveTo>
                <a:cubicBezTo>
                  <a:pt x="155" y="233"/>
                  <a:pt x="153" y="230"/>
                  <a:pt x="152" y="229"/>
                </a:cubicBezTo>
                <a:cubicBezTo>
                  <a:pt x="151" y="226"/>
                  <a:pt x="157" y="231"/>
                  <a:pt x="156" y="234"/>
                </a:cubicBezTo>
                <a:close/>
                <a:moveTo>
                  <a:pt x="153" y="303"/>
                </a:moveTo>
                <a:cubicBezTo>
                  <a:pt x="154" y="304"/>
                  <a:pt x="152" y="305"/>
                  <a:pt x="153" y="303"/>
                </a:cubicBezTo>
                <a:close/>
                <a:moveTo>
                  <a:pt x="156" y="299"/>
                </a:moveTo>
                <a:cubicBezTo>
                  <a:pt x="155" y="299"/>
                  <a:pt x="155" y="299"/>
                  <a:pt x="155" y="299"/>
                </a:cubicBezTo>
                <a:cubicBezTo>
                  <a:pt x="155" y="299"/>
                  <a:pt x="156" y="298"/>
                  <a:pt x="156" y="298"/>
                </a:cubicBezTo>
                <a:cubicBezTo>
                  <a:pt x="156" y="298"/>
                  <a:pt x="156" y="298"/>
                  <a:pt x="156" y="299"/>
                </a:cubicBezTo>
                <a:close/>
                <a:moveTo>
                  <a:pt x="157" y="293"/>
                </a:moveTo>
                <a:cubicBezTo>
                  <a:pt x="157" y="293"/>
                  <a:pt x="152" y="289"/>
                  <a:pt x="154" y="288"/>
                </a:cubicBezTo>
                <a:cubicBezTo>
                  <a:pt x="156" y="286"/>
                  <a:pt x="158" y="293"/>
                  <a:pt x="157" y="293"/>
                </a:cubicBezTo>
                <a:close/>
                <a:moveTo>
                  <a:pt x="158" y="227"/>
                </a:moveTo>
                <a:cubicBezTo>
                  <a:pt x="158" y="227"/>
                  <a:pt x="159" y="228"/>
                  <a:pt x="159" y="228"/>
                </a:cubicBezTo>
                <a:cubicBezTo>
                  <a:pt x="158" y="229"/>
                  <a:pt x="158" y="227"/>
                  <a:pt x="158" y="227"/>
                </a:cubicBezTo>
                <a:close/>
                <a:moveTo>
                  <a:pt x="180" y="198"/>
                </a:moveTo>
                <a:cubicBezTo>
                  <a:pt x="180" y="198"/>
                  <a:pt x="179" y="198"/>
                  <a:pt x="179" y="197"/>
                </a:cubicBezTo>
                <a:cubicBezTo>
                  <a:pt x="180" y="197"/>
                  <a:pt x="181" y="198"/>
                  <a:pt x="180" y="198"/>
                </a:cubicBezTo>
                <a:close/>
                <a:moveTo>
                  <a:pt x="177" y="199"/>
                </a:moveTo>
                <a:cubicBezTo>
                  <a:pt x="178" y="199"/>
                  <a:pt x="179" y="201"/>
                  <a:pt x="177" y="200"/>
                </a:cubicBezTo>
                <a:cubicBezTo>
                  <a:pt x="177" y="200"/>
                  <a:pt x="177" y="200"/>
                  <a:pt x="177" y="199"/>
                </a:cubicBezTo>
                <a:close/>
                <a:moveTo>
                  <a:pt x="175" y="198"/>
                </a:moveTo>
                <a:cubicBezTo>
                  <a:pt x="177" y="197"/>
                  <a:pt x="174" y="198"/>
                  <a:pt x="175" y="198"/>
                </a:cubicBezTo>
                <a:close/>
                <a:moveTo>
                  <a:pt x="178" y="260"/>
                </a:moveTo>
                <a:cubicBezTo>
                  <a:pt x="176" y="259"/>
                  <a:pt x="176" y="258"/>
                  <a:pt x="175" y="257"/>
                </a:cubicBezTo>
                <a:cubicBezTo>
                  <a:pt x="176" y="257"/>
                  <a:pt x="178" y="259"/>
                  <a:pt x="178" y="260"/>
                </a:cubicBezTo>
                <a:close/>
                <a:moveTo>
                  <a:pt x="174" y="205"/>
                </a:moveTo>
                <a:cubicBezTo>
                  <a:pt x="173" y="205"/>
                  <a:pt x="175" y="206"/>
                  <a:pt x="174" y="207"/>
                </a:cubicBezTo>
                <a:cubicBezTo>
                  <a:pt x="174" y="207"/>
                  <a:pt x="172" y="205"/>
                  <a:pt x="174" y="205"/>
                </a:cubicBezTo>
                <a:close/>
                <a:moveTo>
                  <a:pt x="173" y="231"/>
                </a:moveTo>
                <a:cubicBezTo>
                  <a:pt x="171" y="230"/>
                  <a:pt x="174" y="232"/>
                  <a:pt x="173" y="231"/>
                </a:cubicBezTo>
                <a:close/>
                <a:moveTo>
                  <a:pt x="170" y="230"/>
                </a:moveTo>
                <a:cubicBezTo>
                  <a:pt x="171" y="230"/>
                  <a:pt x="172" y="233"/>
                  <a:pt x="171" y="234"/>
                </a:cubicBezTo>
                <a:cubicBezTo>
                  <a:pt x="170" y="235"/>
                  <a:pt x="168" y="231"/>
                  <a:pt x="170" y="230"/>
                </a:cubicBezTo>
                <a:close/>
                <a:moveTo>
                  <a:pt x="167" y="193"/>
                </a:moveTo>
                <a:cubicBezTo>
                  <a:pt x="168" y="192"/>
                  <a:pt x="169" y="194"/>
                  <a:pt x="168" y="195"/>
                </a:cubicBezTo>
                <a:cubicBezTo>
                  <a:pt x="167" y="195"/>
                  <a:pt x="167" y="193"/>
                  <a:pt x="167" y="193"/>
                </a:cubicBezTo>
                <a:close/>
                <a:moveTo>
                  <a:pt x="168" y="274"/>
                </a:moveTo>
                <a:cubicBezTo>
                  <a:pt x="167" y="273"/>
                  <a:pt x="167" y="272"/>
                  <a:pt x="166" y="272"/>
                </a:cubicBezTo>
                <a:cubicBezTo>
                  <a:pt x="167" y="272"/>
                  <a:pt x="168" y="273"/>
                  <a:pt x="168" y="274"/>
                </a:cubicBezTo>
                <a:close/>
                <a:moveTo>
                  <a:pt x="166" y="208"/>
                </a:moveTo>
                <a:cubicBezTo>
                  <a:pt x="166" y="208"/>
                  <a:pt x="166" y="208"/>
                  <a:pt x="166" y="207"/>
                </a:cubicBezTo>
                <a:cubicBezTo>
                  <a:pt x="166" y="206"/>
                  <a:pt x="168" y="208"/>
                  <a:pt x="166" y="208"/>
                </a:cubicBezTo>
                <a:close/>
                <a:moveTo>
                  <a:pt x="167" y="224"/>
                </a:moveTo>
                <a:cubicBezTo>
                  <a:pt x="165" y="222"/>
                  <a:pt x="165" y="218"/>
                  <a:pt x="163" y="214"/>
                </a:cubicBezTo>
                <a:cubicBezTo>
                  <a:pt x="166" y="217"/>
                  <a:pt x="166" y="221"/>
                  <a:pt x="167" y="224"/>
                </a:cubicBezTo>
                <a:close/>
                <a:moveTo>
                  <a:pt x="166" y="338"/>
                </a:moveTo>
                <a:cubicBezTo>
                  <a:pt x="164" y="337"/>
                  <a:pt x="166" y="334"/>
                  <a:pt x="166" y="338"/>
                </a:cubicBezTo>
                <a:close/>
                <a:moveTo>
                  <a:pt x="163" y="266"/>
                </a:moveTo>
                <a:cubicBezTo>
                  <a:pt x="165" y="266"/>
                  <a:pt x="165" y="269"/>
                  <a:pt x="166" y="270"/>
                </a:cubicBezTo>
                <a:cubicBezTo>
                  <a:pt x="164" y="270"/>
                  <a:pt x="164" y="267"/>
                  <a:pt x="163" y="266"/>
                </a:cubicBezTo>
                <a:close/>
                <a:moveTo>
                  <a:pt x="161" y="230"/>
                </a:moveTo>
                <a:cubicBezTo>
                  <a:pt x="159" y="230"/>
                  <a:pt x="160" y="228"/>
                  <a:pt x="161" y="230"/>
                </a:cubicBezTo>
                <a:close/>
                <a:moveTo>
                  <a:pt x="162" y="222"/>
                </a:moveTo>
                <a:cubicBezTo>
                  <a:pt x="162" y="222"/>
                  <a:pt x="164" y="223"/>
                  <a:pt x="164" y="223"/>
                </a:cubicBezTo>
                <a:cubicBezTo>
                  <a:pt x="165" y="223"/>
                  <a:pt x="166" y="224"/>
                  <a:pt x="165" y="226"/>
                </a:cubicBezTo>
                <a:cubicBezTo>
                  <a:pt x="165" y="226"/>
                  <a:pt x="164" y="226"/>
                  <a:pt x="164" y="225"/>
                </a:cubicBezTo>
                <a:cubicBezTo>
                  <a:pt x="164" y="226"/>
                  <a:pt x="163" y="229"/>
                  <a:pt x="162" y="229"/>
                </a:cubicBezTo>
                <a:cubicBezTo>
                  <a:pt x="159" y="229"/>
                  <a:pt x="161" y="222"/>
                  <a:pt x="162" y="222"/>
                </a:cubicBezTo>
                <a:close/>
                <a:moveTo>
                  <a:pt x="162" y="231"/>
                </a:moveTo>
                <a:cubicBezTo>
                  <a:pt x="162" y="231"/>
                  <a:pt x="163" y="232"/>
                  <a:pt x="162" y="232"/>
                </a:cubicBezTo>
                <a:cubicBezTo>
                  <a:pt x="162" y="232"/>
                  <a:pt x="162" y="231"/>
                  <a:pt x="162" y="231"/>
                </a:cubicBezTo>
                <a:close/>
                <a:moveTo>
                  <a:pt x="163" y="344"/>
                </a:moveTo>
                <a:cubicBezTo>
                  <a:pt x="164" y="346"/>
                  <a:pt x="166" y="350"/>
                  <a:pt x="167" y="353"/>
                </a:cubicBezTo>
                <a:cubicBezTo>
                  <a:pt x="165" y="351"/>
                  <a:pt x="164" y="347"/>
                  <a:pt x="163" y="344"/>
                </a:cubicBezTo>
                <a:close/>
                <a:moveTo>
                  <a:pt x="167" y="354"/>
                </a:moveTo>
                <a:cubicBezTo>
                  <a:pt x="167" y="353"/>
                  <a:pt x="168" y="355"/>
                  <a:pt x="168" y="355"/>
                </a:cubicBezTo>
                <a:cubicBezTo>
                  <a:pt x="168" y="355"/>
                  <a:pt x="167" y="355"/>
                  <a:pt x="167" y="354"/>
                </a:cubicBezTo>
                <a:close/>
                <a:moveTo>
                  <a:pt x="170" y="358"/>
                </a:moveTo>
                <a:cubicBezTo>
                  <a:pt x="169" y="358"/>
                  <a:pt x="168" y="356"/>
                  <a:pt x="168" y="356"/>
                </a:cubicBezTo>
                <a:cubicBezTo>
                  <a:pt x="168" y="355"/>
                  <a:pt x="171" y="358"/>
                  <a:pt x="170" y="358"/>
                </a:cubicBezTo>
                <a:close/>
                <a:moveTo>
                  <a:pt x="171" y="267"/>
                </a:moveTo>
                <a:cubicBezTo>
                  <a:pt x="169" y="267"/>
                  <a:pt x="170" y="265"/>
                  <a:pt x="171" y="267"/>
                </a:cubicBezTo>
                <a:close/>
                <a:moveTo>
                  <a:pt x="173" y="269"/>
                </a:moveTo>
                <a:cubicBezTo>
                  <a:pt x="171" y="269"/>
                  <a:pt x="172" y="267"/>
                  <a:pt x="173" y="269"/>
                </a:cubicBezTo>
                <a:close/>
                <a:moveTo>
                  <a:pt x="173" y="268"/>
                </a:moveTo>
                <a:cubicBezTo>
                  <a:pt x="172" y="269"/>
                  <a:pt x="170" y="264"/>
                  <a:pt x="173" y="264"/>
                </a:cubicBezTo>
                <a:cubicBezTo>
                  <a:pt x="175" y="264"/>
                  <a:pt x="175" y="268"/>
                  <a:pt x="173" y="268"/>
                </a:cubicBezTo>
                <a:close/>
                <a:moveTo>
                  <a:pt x="177" y="280"/>
                </a:moveTo>
                <a:cubicBezTo>
                  <a:pt x="175" y="280"/>
                  <a:pt x="175" y="278"/>
                  <a:pt x="174" y="277"/>
                </a:cubicBezTo>
                <a:cubicBezTo>
                  <a:pt x="175" y="277"/>
                  <a:pt x="176" y="279"/>
                  <a:pt x="177" y="280"/>
                </a:cubicBezTo>
                <a:close/>
                <a:moveTo>
                  <a:pt x="179" y="434"/>
                </a:moveTo>
                <a:cubicBezTo>
                  <a:pt x="179" y="433"/>
                  <a:pt x="178" y="432"/>
                  <a:pt x="179" y="431"/>
                </a:cubicBezTo>
                <a:cubicBezTo>
                  <a:pt x="179" y="432"/>
                  <a:pt x="179" y="433"/>
                  <a:pt x="179" y="434"/>
                </a:cubicBezTo>
                <a:close/>
                <a:moveTo>
                  <a:pt x="178" y="387"/>
                </a:moveTo>
                <a:cubicBezTo>
                  <a:pt x="177" y="387"/>
                  <a:pt x="174" y="383"/>
                  <a:pt x="176" y="381"/>
                </a:cubicBezTo>
                <a:cubicBezTo>
                  <a:pt x="176" y="381"/>
                  <a:pt x="178" y="381"/>
                  <a:pt x="178" y="381"/>
                </a:cubicBezTo>
                <a:cubicBezTo>
                  <a:pt x="178" y="380"/>
                  <a:pt x="176" y="378"/>
                  <a:pt x="176" y="377"/>
                </a:cubicBezTo>
                <a:cubicBezTo>
                  <a:pt x="176" y="377"/>
                  <a:pt x="179" y="381"/>
                  <a:pt x="179" y="383"/>
                </a:cubicBezTo>
                <a:cubicBezTo>
                  <a:pt x="179" y="383"/>
                  <a:pt x="178" y="387"/>
                  <a:pt x="178" y="387"/>
                </a:cubicBezTo>
                <a:close/>
                <a:moveTo>
                  <a:pt x="178" y="354"/>
                </a:moveTo>
                <a:cubicBezTo>
                  <a:pt x="179" y="353"/>
                  <a:pt x="180" y="356"/>
                  <a:pt x="179" y="356"/>
                </a:cubicBezTo>
                <a:cubicBezTo>
                  <a:pt x="178" y="356"/>
                  <a:pt x="178" y="354"/>
                  <a:pt x="178" y="354"/>
                </a:cubicBezTo>
                <a:close/>
                <a:moveTo>
                  <a:pt x="181" y="290"/>
                </a:moveTo>
                <a:cubicBezTo>
                  <a:pt x="179" y="287"/>
                  <a:pt x="177" y="285"/>
                  <a:pt x="176" y="284"/>
                </a:cubicBezTo>
                <a:cubicBezTo>
                  <a:pt x="176" y="281"/>
                  <a:pt x="179" y="285"/>
                  <a:pt x="179" y="285"/>
                </a:cubicBezTo>
                <a:cubicBezTo>
                  <a:pt x="180" y="287"/>
                  <a:pt x="180" y="288"/>
                  <a:pt x="181" y="290"/>
                </a:cubicBezTo>
                <a:cubicBezTo>
                  <a:pt x="181" y="290"/>
                  <a:pt x="181" y="291"/>
                  <a:pt x="181" y="291"/>
                </a:cubicBezTo>
                <a:cubicBezTo>
                  <a:pt x="181" y="291"/>
                  <a:pt x="181" y="290"/>
                  <a:pt x="181" y="290"/>
                </a:cubicBezTo>
                <a:close/>
                <a:moveTo>
                  <a:pt x="182" y="217"/>
                </a:moveTo>
                <a:cubicBezTo>
                  <a:pt x="182" y="218"/>
                  <a:pt x="181" y="217"/>
                  <a:pt x="181" y="217"/>
                </a:cubicBezTo>
                <a:cubicBezTo>
                  <a:pt x="179" y="215"/>
                  <a:pt x="183" y="216"/>
                  <a:pt x="182" y="217"/>
                </a:cubicBezTo>
                <a:close/>
                <a:moveTo>
                  <a:pt x="310" y="745"/>
                </a:moveTo>
                <a:cubicBezTo>
                  <a:pt x="309" y="747"/>
                  <a:pt x="304" y="748"/>
                  <a:pt x="302" y="747"/>
                </a:cubicBezTo>
                <a:cubicBezTo>
                  <a:pt x="301" y="747"/>
                  <a:pt x="299" y="748"/>
                  <a:pt x="298" y="747"/>
                </a:cubicBezTo>
                <a:cubicBezTo>
                  <a:pt x="297" y="747"/>
                  <a:pt x="298" y="744"/>
                  <a:pt x="296" y="744"/>
                </a:cubicBezTo>
                <a:cubicBezTo>
                  <a:pt x="300" y="744"/>
                  <a:pt x="295" y="742"/>
                  <a:pt x="295" y="742"/>
                </a:cubicBezTo>
                <a:cubicBezTo>
                  <a:pt x="294" y="739"/>
                  <a:pt x="301" y="738"/>
                  <a:pt x="302" y="738"/>
                </a:cubicBezTo>
                <a:cubicBezTo>
                  <a:pt x="304" y="738"/>
                  <a:pt x="311" y="740"/>
                  <a:pt x="310" y="745"/>
                </a:cubicBezTo>
                <a:close/>
                <a:moveTo>
                  <a:pt x="295" y="179"/>
                </a:moveTo>
                <a:cubicBezTo>
                  <a:pt x="292" y="179"/>
                  <a:pt x="292" y="177"/>
                  <a:pt x="295" y="179"/>
                </a:cubicBezTo>
                <a:close/>
                <a:moveTo>
                  <a:pt x="292" y="164"/>
                </a:moveTo>
                <a:cubicBezTo>
                  <a:pt x="292" y="164"/>
                  <a:pt x="292" y="163"/>
                  <a:pt x="292" y="163"/>
                </a:cubicBezTo>
                <a:cubicBezTo>
                  <a:pt x="292" y="162"/>
                  <a:pt x="294" y="164"/>
                  <a:pt x="292" y="164"/>
                </a:cubicBezTo>
                <a:close/>
                <a:moveTo>
                  <a:pt x="295" y="173"/>
                </a:moveTo>
                <a:cubicBezTo>
                  <a:pt x="294" y="173"/>
                  <a:pt x="294" y="171"/>
                  <a:pt x="295" y="172"/>
                </a:cubicBezTo>
                <a:cubicBezTo>
                  <a:pt x="295" y="172"/>
                  <a:pt x="295" y="173"/>
                  <a:pt x="295" y="173"/>
                </a:cubicBezTo>
                <a:close/>
                <a:moveTo>
                  <a:pt x="293" y="108"/>
                </a:moveTo>
                <a:cubicBezTo>
                  <a:pt x="294" y="106"/>
                  <a:pt x="296" y="110"/>
                  <a:pt x="297" y="112"/>
                </a:cubicBezTo>
                <a:cubicBezTo>
                  <a:pt x="295" y="112"/>
                  <a:pt x="292" y="110"/>
                  <a:pt x="293" y="108"/>
                </a:cubicBezTo>
                <a:close/>
                <a:moveTo>
                  <a:pt x="296" y="183"/>
                </a:moveTo>
                <a:cubicBezTo>
                  <a:pt x="298" y="182"/>
                  <a:pt x="300" y="186"/>
                  <a:pt x="298" y="187"/>
                </a:cubicBezTo>
                <a:cubicBezTo>
                  <a:pt x="296" y="189"/>
                  <a:pt x="294" y="184"/>
                  <a:pt x="296" y="183"/>
                </a:cubicBezTo>
                <a:close/>
                <a:moveTo>
                  <a:pt x="297" y="144"/>
                </a:moveTo>
                <a:cubicBezTo>
                  <a:pt x="299" y="144"/>
                  <a:pt x="298" y="146"/>
                  <a:pt x="297" y="144"/>
                </a:cubicBezTo>
                <a:close/>
                <a:moveTo>
                  <a:pt x="300" y="188"/>
                </a:moveTo>
                <a:cubicBezTo>
                  <a:pt x="299" y="187"/>
                  <a:pt x="301" y="189"/>
                  <a:pt x="300" y="188"/>
                </a:cubicBezTo>
                <a:close/>
                <a:moveTo>
                  <a:pt x="301" y="225"/>
                </a:moveTo>
                <a:cubicBezTo>
                  <a:pt x="301" y="225"/>
                  <a:pt x="300" y="224"/>
                  <a:pt x="300" y="224"/>
                </a:cubicBezTo>
                <a:cubicBezTo>
                  <a:pt x="301" y="224"/>
                  <a:pt x="302" y="225"/>
                  <a:pt x="301" y="225"/>
                </a:cubicBezTo>
                <a:close/>
                <a:moveTo>
                  <a:pt x="300" y="518"/>
                </a:moveTo>
                <a:cubicBezTo>
                  <a:pt x="301" y="519"/>
                  <a:pt x="299" y="517"/>
                  <a:pt x="299" y="517"/>
                </a:cubicBezTo>
                <a:cubicBezTo>
                  <a:pt x="299" y="516"/>
                  <a:pt x="300" y="517"/>
                  <a:pt x="300" y="518"/>
                </a:cubicBezTo>
                <a:close/>
                <a:moveTo>
                  <a:pt x="300" y="733"/>
                </a:moveTo>
                <a:cubicBezTo>
                  <a:pt x="301" y="733"/>
                  <a:pt x="299" y="734"/>
                  <a:pt x="299" y="734"/>
                </a:cubicBezTo>
                <a:cubicBezTo>
                  <a:pt x="298" y="733"/>
                  <a:pt x="300" y="733"/>
                  <a:pt x="300" y="733"/>
                </a:cubicBezTo>
                <a:close/>
                <a:moveTo>
                  <a:pt x="298" y="724"/>
                </a:moveTo>
                <a:cubicBezTo>
                  <a:pt x="298" y="723"/>
                  <a:pt x="300" y="725"/>
                  <a:pt x="298" y="724"/>
                </a:cubicBezTo>
                <a:close/>
                <a:moveTo>
                  <a:pt x="297" y="681"/>
                </a:moveTo>
                <a:cubicBezTo>
                  <a:pt x="297" y="681"/>
                  <a:pt x="297" y="681"/>
                  <a:pt x="297" y="681"/>
                </a:cubicBezTo>
                <a:cubicBezTo>
                  <a:pt x="298" y="681"/>
                  <a:pt x="298" y="682"/>
                  <a:pt x="297" y="681"/>
                </a:cubicBezTo>
                <a:close/>
                <a:moveTo>
                  <a:pt x="303" y="683"/>
                </a:moveTo>
                <a:cubicBezTo>
                  <a:pt x="303" y="683"/>
                  <a:pt x="304" y="682"/>
                  <a:pt x="305" y="683"/>
                </a:cubicBezTo>
                <a:cubicBezTo>
                  <a:pt x="305" y="683"/>
                  <a:pt x="303" y="683"/>
                  <a:pt x="303" y="683"/>
                </a:cubicBezTo>
                <a:close/>
                <a:moveTo>
                  <a:pt x="304" y="731"/>
                </a:moveTo>
                <a:cubicBezTo>
                  <a:pt x="305" y="731"/>
                  <a:pt x="302" y="730"/>
                  <a:pt x="304" y="731"/>
                </a:cubicBezTo>
                <a:close/>
                <a:moveTo>
                  <a:pt x="303" y="675"/>
                </a:moveTo>
                <a:cubicBezTo>
                  <a:pt x="305" y="673"/>
                  <a:pt x="305" y="677"/>
                  <a:pt x="303" y="675"/>
                </a:cubicBezTo>
                <a:close/>
                <a:moveTo>
                  <a:pt x="302" y="671"/>
                </a:moveTo>
                <a:cubicBezTo>
                  <a:pt x="302" y="669"/>
                  <a:pt x="304" y="669"/>
                  <a:pt x="305" y="670"/>
                </a:cubicBezTo>
                <a:cubicBezTo>
                  <a:pt x="306" y="671"/>
                  <a:pt x="302" y="672"/>
                  <a:pt x="302" y="671"/>
                </a:cubicBezTo>
                <a:close/>
                <a:moveTo>
                  <a:pt x="304" y="158"/>
                </a:moveTo>
                <a:cubicBezTo>
                  <a:pt x="304" y="158"/>
                  <a:pt x="303" y="158"/>
                  <a:pt x="304" y="157"/>
                </a:cubicBezTo>
                <a:cubicBezTo>
                  <a:pt x="304" y="157"/>
                  <a:pt x="305" y="158"/>
                  <a:pt x="304" y="158"/>
                </a:cubicBezTo>
                <a:close/>
                <a:moveTo>
                  <a:pt x="304" y="613"/>
                </a:moveTo>
                <a:cubicBezTo>
                  <a:pt x="305" y="615"/>
                  <a:pt x="301" y="614"/>
                  <a:pt x="302" y="612"/>
                </a:cubicBezTo>
                <a:cubicBezTo>
                  <a:pt x="302" y="612"/>
                  <a:pt x="304" y="612"/>
                  <a:pt x="304" y="613"/>
                </a:cubicBezTo>
                <a:close/>
                <a:moveTo>
                  <a:pt x="305" y="735"/>
                </a:moveTo>
                <a:cubicBezTo>
                  <a:pt x="307" y="734"/>
                  <a:pt x="308" y="736"/>
                  <a:pt x="305" y="735"/>
                </a:cubicBezTo>
                <a:close/>
                <a:moveTo>
                  <a:pt x="307" y="737"/>
                </a:moveTo>
                <a:cubicBezTo>
                  <a:pt x="307" y="737"/>
                  <a:pt x="308" y="737"/>
                  <a:pt x="309" y="737"/>
                </a:cubicBezTo>
                <a:cubicBezTo>
                  <a:pt x="308" y="737"/>
                  <a:pt x="308" y="737"/>
                  <a:pt x="307" y="737"/>
                </a:cubicBezTo>
                <a:close/>
                <a:moveTo>
                  <a:pt x="311" y="752"/>
                </a:moveTo>
                <a:cubicBezTo>
                  <a:pt x="311" y="752"/>
                  <a:pt x="311" y="752"/>
                  <a:pt x="311" y="752"/>
                </a:cubicBezTo>
                <a:cubicBezTo>
                  <a:pt x="313" y="752"/>
                  <a:pt x="312" y="753"/>
                  <a:pt x="311" y="752"/>
                </a:cubicBezTo>
                <a:close/>
                <a:moveTo>
                  <a:pt x="314" y="737"/>
                </a:moveTo>
                <a:cubicBezTo>
                  <a:pt x="315" y="736"/>
                  <a:pt x="316" y="737"/>
                  <a:pt x="316" y="738"/>
                </a:cubicBezTo>
                <a:cubicBezTo>
                  <a:pt x="317" y="739"/>
                  <a:pt x="313" y="738"/>
                  <a:pt x="314" y="737"/>
                </a:cubicBezTo>
                <a:close/>
                <a:moveTo>
                  <a:pt x="313" y="737"/>
                </a:moveTo>
                <a:cubicBezTo>
                  <a:pt x="309" y="737"/>
                  <a:pt x="308" y="733"/>
                  <a:pt x="302" y="734"/>
                </a:cubicBezTo>
                <a:cubicBezTo>
                  <a:pt x="303" y="733"/>
                  <a:pt x="305" y="733"/>
                  <a:pt x="306" y="732"/>
                </a:cubicBezTo>
                <a:cubicBezTo>
                  <a:pt x="306" y="732"/>
                  <a:pt x="305" y="731"/>
                  <a:pt x="305" y="732"/>
                </a:cubicBezTo>
                <a:cubicBezTo>
                  <a:pt x="305" y="731"/>
                  <a:pt x="306" y="731"/>
                  <a:pt x="306" y="731"/>
                </a:cubicBezTo>
                <a:cubicBezTo>
                  <a:pt x="307" y="729"/>
                  <a:pt x="304" y="729"/>
                  <a:pt x="306" y="728"/>
                </a:cubicBezTo>
                <a:cubicBezTo>
                  <a:pt x="307" y="727"/>
                  <a:pt x="308" y="728"/>
                  <a:pt x="310" y="728"/>
                </a:cubicBezTo>
                <a:cubicBezTo>
                  <a:pt x="310" y="728"/>
                  <a:pt x="313" y="728"/>
                  <a:pt x="315" y="729"/>
                </a:cubicBezTo>
                <a:cubicBezTo>
                  <a:pt x="319" y="730"/>
                  <a:pt x="318" y="736"/>
                  <a:pt x="313" y="737"/>
                </a:cubicBezTo>
                <a:close/>
                <a:moveTo>
                  <a:pt x="306" y="205"/>
                </a:moveTo>
                <a:cubicBezTo>
                  <a:pt x="307" y="205"/>
                  <a:pt x="306" y="206"/>
                  <a:pt x="306" y="206"/>
                </a:cubicBezTo>
                <a:cubicBezTo>
                  <a:pt x="304" y="205"/>
                  <a:pt x="306" y="204"/>
                  <a:pt x="306" y="205"/>
                </a:cubicBezTo>
                <a:close/>
                <a:moveTo>
                  <a:pt x="305" y="103"/>
                </a:moveTo>
                <a:cubicBezTo>
                  <a:pt x="307" y="102"/>
                  <a:pt x="308" y="105"/>
                  <a:pt x="306" y="104"/>
                </a:cubicBezTo>
                <a:cubicBezTo>
                  <a:pt x="305" y="104"/>
                  <a:pt x="305" y="103"/>
                  <a:pt x="305" y="103"/>
                </a:cubicBezTo>
                <a:close/>
                <a:moveTo>
                  <a:pt x="311" y="167"/>
                </a:moveTo>
                <a:cubicBezTo>
                  <a:pt x="311" y="167"/>
                  <a:pt x="311" y="167"/>
                  <a:pt x="311" y="167"/>
                </a:cubicBezTo>
                <a:cubicBezTo>
                  <a:pt x="311" y="167"/>
                  <a:pt x="311" y="167"/>
                  <a:pt x="312" y="167"/>
                </a:cubicBezTo>
                <a:cubicBezTo>
                  <a:pt x="312" y="167"/>
                  <a:pt x="311" y="167"/>
                  <a:pt x="311" y="167"/>
                </a:cubicBezTo>
                <a:close/>
                <a:moveTo>
                  <a:pt x="310" y="638"/>
                </a:moveTo>
                <a:cubicBezTo>
                  <a:pt x="314" y="639"/>
                  <a:pt x="311" y="641"/>
                  <a:pt x="310" y="638"/>
                </a:cubicBezTo>
                <a:close/>
                <a:moveTo>
                  <a:pt x="311" y="123"/>
                </a:moveTo>
                <a:cubicBezTo>
                  <a:pt x="309" y="123"/>
                  <a:pt x="312" y="124"/>
                  <a:pt x="311" y="123"/>
                </a:cubicBezTo>
                <a:close/>
                <a:moveTo>
                  <a:pt x="310" y="111"/>
                </a:moveTo>
                <a:cubicBezTo>
                  <a:pt x="311" y="111"/>
                  <a:pt x="312" y="112"/>
                  <a:pt x="311" y="112"/>
                </a:cubicBezTo>
                <a:cubicBezTo>
                  <a:pt x="311" y="112"/>
                  <a:pt x="310" y="112"/>
                  <a:pt x="310" y="111"/>
                </a:cubicBezTo>
                <a:close/>
                <a:moveTo>
                  <a:pt x="308" y="612"/>
                </a:moveTo>
                <a:cubicBezTo>
                  <a:pt x="308" y="611"/>
                  <a:pt x="310" y="612"/>
                  <a:pt x="310" y="612"/>
                </a:cubicBezTo>
                <a:cubicBezTo>
                  <a:pt x="311" y="614"/>
                  <a:pt x="308" y="613"/>
                  <a:pt x="308" y="612"/>
                </a:cubicBezTo>
                <a:close/>
                <a:moveTo>
                  <a:pt x="316" y="436"/>
                </a:moveTo>
                <a:cubicBezTo>
                  <a:pt x="317" y="435"/>
                  <a:pt x="318" y="436"/>
                  <a:pt x="318" y="437"/>
                </a:cubicBezTo>
                <a:cubicBezTo>
                  <a:pt x="320" y="439"/>
                  <a:pt x="316" y="436"/>
                  <a:pt x="316" y="436"/>
                </a:cubicBezTo>
                <a:close/>
                <a:moveTo>
                  <a:pt x="317" y="526"/>
                </a:moveTo>
                <a:cubicBezTo>
                  <a:pt x="317" y="526"/>
                  <a:pt x="318" y="527"/>
                  <a:pt x="319" y="528"/>
                </a:cubicBezTo>
                <a:cubicBezTo>
                  <a:pt x="319" y="529"/>
                  <a:pt x="317" y="527"/>
                  <a:pt x="317" y="526"/>
                </a:cubicBezTo>
                <a:close/>
                <a:moveTo>
                  <a:pt x="316" y="682"/>
                </a:moveTo>
                <a:cubicBezTo>
                  <a:pt x="318" y="683"/>
                  <a:pt x="316" y="684"/>
                  <a:pt x="316" y="682"/>
                </a:cubicBezTo>
                <a:close/>
                <a:moveTo>
                  <a:pt x="315" y="197"/>
                </a:moveTo>
                <a:cubicBezTo>
                  <a:pt x="315" y="196"/>
                  <a:pt x="317" y="197"/>
                  <a:pt x="316" y="198"/>
                </a:cubicBezTo>
                <a:cubicBezTo>
                  <a:pt x="316" y="198"/>
                  <a:pt x="315" y="197"/>
                  <a:pt x="315" y="197"/>
                </a:cubicBezTo>
                <a:close/>
                <a:moveTo>
                  <a:pt x="315" y="98"/>
                </a:moveTo>
                <a:cubicBezTo>
                  <a:pt x="313" y="97"/>
                  <a:pt x="318" y="96"/>
                  <a:pt x="317" y="98"/>
                </a:cubicBezTo>
                <a:cubicBezTo>
                  <a:pt x="316" y="98"/>
                  <a:pt x="316" y="98"/>
                  <a:pt x="315" y="98"/>
                </a:cubicBezTo>
                <a:close/>
                <a:moveTo>
                  <a:pt x="314" y="99"/>
                </a:moveTo>
                <a:cubicBezTo>
                  <a:pt x="317" y="99"/>
                  <a:pt x="315" y="102"/>
                  <a:pt x="314" y="99"/>
                </a:cubicBezTo>
                <a:close/>
                <a:moveTo>
                  <a:pt x="314" y="129"/>
                </a:moveTo>
                <a:cubicBezTo>
                  <a:pt x="314" y="129"/>
                  <a:pt x="314" y="129"/>
                  <a:pt x="314" y="129"/>
                </a:cubicBezTo>
                <a:cubicBezTo>
                  <a:pt x="311" y="127"/>
                  <a:pt x="317" y="129"/>
                  <a:pt x="314" y="129"/>
                </a:cubicBezTo>
                <a:close/>
                <a:moveTo>
                  <a:pt x="313" y="166"/>
                </a:moveTo>
                <a:cubicBezTo>
                  <a:pt x="315" y="165"/>
                  <a:pt x="313" y="168"/>
                  <a:pt x="313" y="166"/>
                </a:cubicBezTo>
                <a:cubicBezTo>
                  <a:pt x="312" y="166"/>
                  <a:pt x="313" y="166"/>
                  <a:pt x="313" y="166"/>
                </a:cubicBezTo>
                <a:close/>
                <a:moveTo>
                  <a:pt x="313" y="636"/>
                </a:moveTo>
                <a:cubicBezTo>
                  <a:pt x="313" y="636"/>
                  <a:pt x="314" y="637"/>
                  <a:pt x="314" y="637"/>
                </a:cubicBezTo>
                <a:cubicBezTo>
                  <a:pt x="316" y="639"/>
                  <a:pt x="311" y="637"/>
                  <a:pt x="313" y="636"/>
                </a:cubicBezTo>
                <a:close/>
                <a:moveTo>
                  <a:pt x="316" y="540"/>
                </a:moveTo>
                <a:cubicBezTo>
                  <a:pt x="317" y="539"/>
                  <a:pt x="318" y="540"/>
                  <a:pt x="319" y="541"/>
                </a:cubicBezTo>
                <a:cubicBezTo>
                  <a:pt x="319" y="542"/>
                  <a:pt x="316" y="541"/>
                  <a:pt x="316" y="540"/>
                </a:cubicBezTo>
                <a:close/>
                <a:moveTo>
                  <a:pt x="318" y="161"/>
                </a:moveTo>
                <a:cubicBezTo>
                  <a:pt x="318" y="162"/>
                  <a:pt x="317" y="161"/>
                  <a:pt x="317" y="161"/>
                </a:cubicBezTo>
                <a:cubicBezTo>
                  <a:pt x="315" y="158"/>
                  <a:pt x="320" y="159"/>
                  <a:pt x="318" y="161"/>
                </a:cubicBezTo>
                <a:close/>
                <a:moveTo>
                  <a:pt x="317" y="121"/>
                </a:moveTo>
                <a:cubicBezTo>
                  <a:pt x="319" y="122"/>
                  <a:pt x="316" y="121"/>
                  <a:pt x="317" y="121"/>
                </a:cubicBezTo>
                <a:close/>
                <a:moveTo>
                  <a:pt x="318" y="139"/>
                </a:moveTo>
                <a:cubicBezTo>
                  <a:pt x="319" y="138"/>
                  <a:pt x="320" y="141"/>
                  <a:pt x="319" y="140"/>
                </a:cubicBezTo>
                <a:cubicBezTo>
                  <a:pt x="319" y="140"/>
                  <a:pt x="318" y="140"/>
                  <a:pt x="318" y="139"/>
                </a:cubicBezTo>
                <a:close/>
                <a:moveTo>
                  <a:pt x="318" y="103"/>
                </a:moveTo>
                <a:cubicBezTo>
                  <a:pt x="319" y="103"/>
                  <a:pt x="319" y="104"/>
                  <a:pt x="319" y="104"/>
                </a:cubicBezTo>
                <a:cubicBezTo>
                  <a:pt x="319" y="104"/>
                  <a:pt x="319" y="104"/>
                  <a:pt x="319" y="104"/>
                </a:cubicBezTo>
                <a:cubicBezTo>
                  <a:pt x="319" y="103"/>
                  <a:pt x="318" y="103"/>
                  <a:pt x="318" y="103"/>
                </a:cubicBezTo>
                <a:close/>
                <a:moveTo>
                  <a:pt x="319" y="603"/>
                </a:moveTo>
                <a:cubicBezTo>
                  <a:pt x="320" y="602"/>
                  <a:pt x="321" y="603"/>
                  <a:pt x="321" y="603"/>
                </a:cubicBezTo>
                <a:cubicBezTo>
                  <a:pt x="321" y="605"/>
                  <a:pt x="318" y="603"/>
                  <a:pt x="319" y="603"/>
                </a:cubicBezTo>
                <a:close/>
                <a:moveTo>
                  <a:pt x="322" y="158"/>
                </a:moveTo>
                <a:cubicBezTo>
                  <a:pt x="321" y="159"/>
                  <a:pt x="320" y="157"/>
                  <a:pt x="321" y="157"/>
                </a:cubicBezTo>
                <a:cubicBezTo>
                  <a:pt x="322" y="157"/>
                  <a:pt x="322" y="158"/>
                  <a:pt x="322" y="158"/>
                </a:cubicBezTo>
                <a:close/>
                <a:moveTo>
                  <a:pt x="322" y="131"/>
                </a:moveTo>
                <a:cubicBezTo>
                  <a:pt x="323" y="132"/>
                  <a:pt x="321" y="131"/>
                  <a:pt x="322" y="131"/>
                </a:cubicBezTo>
                <a:close/>
                <a:moveTo>
                  <a:pt x="321" y="762"/>
                </a:moveTo>
                <a:cubicBezTo>
                  <a:pt x="322" y="762"/>
                  <a:pt x="323" y="762"/>
                  <a:pt x="324" y="763"/>
                </a:cubicBezTo>
                <a:cubicBezTo>
                  <a:pt x="325" y="766"/>
                  <a:pt x="316" y="764"/>
                  <a:pt x="321" y="762"/>
                </a:cubicBezTo>
                <a:close/>
                <a:moveTo>
                  <a:pt x="328" y="213"/>
                </a:moveTo>
                <a:cubicBezTo>
                  <a:pt x="328" y="213"/>
                  <a:pt x="327" y="213"/>
                  <a:pt x="327" y="212"/>
                </a:cubicBezTo>
                <a:cubicBezTo>
                  <a:pt x="325" y="210"/>
                  <a:pt x="330" y="211"/>
                  <a:pt x="328" y="213"/>
                </a:cubicBezTo>
                <a:close/>
                <a:moveTo>
                  <a:pt x="326" y="141"/>
                </a:moveTo>
                <a:cubicBezTo>
                  <a:pt x="326" y="141"/>
                  <a:pt x="327" y="142"/>
                  <a:pt x="327" y="142"/>
                </a:cubicBezTo>
                <a:cubicBezTo>
                  <a:pt x="327" y="142"/>
                  <a:pt x="326" y="142"/>
                  <a:pt x="326" y="141"/>
                </a:cubicBezTo>
                <a:close/>
                <a:moveTo>
                  <a:pt x="340" y="128"/>
                </a:moveTo>
                <a:cubicBezTo>
                  <a:pt x="342" y="128"/>
                  <a:pt x="347" y="132"/>
                  <a:pt x="349" y="135"/>
                </a:cubicBezTo>
                <a:cubicBezTo>
                  <a:pt x="349" y="135"/>
                  <a:pt x="351" y="135"/>
                  <a:pt x="350" y="136"/>
                </a:cubicBezTo>
                <a:cubicBezTo>
                  <a:pt x="349" y="137"/>
                  <a:pt x="345" y="134"/>
                  <a:pt x="346" y="135"/>
                </a:cubicBezTo>
                <a:cubicBezTo>
                  <a:pt x="344" y="134"/>
                  <a:pt x="343" y="131"/>
                  <a:pt x="342" y="130"/>
                </a:cubicBezTo>
                <a:cubicBezTo>
                  <a:pt x="338" y="126"/>
                  <a:pt x="333" y="125"/>
                  <a:pt x="330" y="121"/>
                </a:cubicBezTo>
                <a:cubicBezTo>
                  <a:pt x="334" y="121"/>
                  <a:pt x="336" y="126"/>
                  <a:pt x="340" y="128"/>
                </a:cubicBezTo>
                <a:close/>
                <a:moveTo>
                  <a:pt x="331" y="113"/>
                </a:moveTo>
                <a:cubicBezTo>
                  <a:pt x="332" y="112"/>
                  <a:pt x="332" y="114"/>
                  <a:pt x="332" y="114"/>
                </a:cubicBezTo>
                <a:cubicBezTo>
                  <a:pt x="331" y="114"/>
                  <a:pt x="331" y="113"/>
                  <a:pt x="331" y="113"/>
                </a:cubicBezTo>
                <a:close/>
                <a:moveTo>
                  <a:pt x="335" y="82"/>
                </a:moveTo>
                <a:cubicBezTo>
                  <a:pt x="334" y="81"/>
                  <a:pt x="337" y="82"/>
                  <a:pt x="335" y="82"/>
                </a:cubicBezTo>
                <a:close/>
                <a:moveTo>
                  <a:pt x="337" y="101"/>
                </a:moveTo>
                <a:cubicBezTo>
                  <a:pt x="338" y="100"/>
                  <a:pt x="338" y="102"/>
                  <a:pt x="339" y="101"/>
                </a:cubicBezTo>
                <a:cubicBezTo>
                  <a:pt x="339" y="102"/>
                  <a:pt x="337" y="102"/>
                  <a:pt x="337" y="101"/>
                </a:cubicBezTo>
                <a:close/>
                <a:moveTo>
                  <a:pt x="355" y="124"/>
                </a:moveTo>
                <a:cubicBezTo>
                  <a:pt x="354" y="123"/>
                  <a:pt x="352" y="122"/>
                  <a:pt x="351" y="120"/>
                </a:cubicBezTo>
                <a:cubicBezTo>
                  <a:pt x="353" y="121"/>
                  <a:pt x="354" y="122"/>
                  <a:pt x="355" y="124"/>
                </a:cubicBezTo>
                <a:close/>
                <a:moveTo>
                  <a:pt x="353" y="90"/>
                </a:moveTo>
                <a:cubicBezTo>
                  <a:pt x="353" y="90"/>
                  <a:pt x="353" y="90"/>
                  <a:pt x="353" y="90"/>
                </a:cubicBezTo>
                <a:cubicBezTo>
                  <a:pt x="355" y="92"/>
                  <a:pt x="353" y="90"/>
                  <a:pt x="353" y="90"/>
                </a:cubicBezTo>
                <a:close/>
                <a:moveTo>
                  <a:pt x="366" y="123"/>
                </a:moveTo>
                <a:cubicBezTo>
                  <a:pt x="365" y="124"/>
                  <a:pt x="364" y="123"/>
                  <a:pt x="364" y="123"/>
                </a:cubicBezTo>
                <a:cubicBezTo>
                  <a:pt x="361" y="121"/>
                  <a:pt x="367" y="121"/>
                  <a:pt x="366" y="123"/>
                </a:cubicBezTo>
                <a:close/>
                <a:moveTo>
                  <a:pt x="365" y="109"/>
                </a:moveTo>
                <a:cubicBezTo>
                  <a:pt x="365" y="109"/>
                  <a:pt x="365" y="109"/>
                  <a:pt x="365" y="109"/>
                </a:cubicBezTo>
                <a:cubicBezTo>
                  <a:pt x="363" y="108"/>
                  <a:pt x="367" y="109"/>
                  <a:pt x="365" y="109"/>
                </a:cubicBezTo>
                <a:close/>
                <a:moveTo>
                  <a:pt x="364" y="93"/>
                </a:moveTo>
                <a:cubicBezTo>
                  <a:pt x="363" y="94"/>
                  <a:pt x="363" y="93"/>
                  <a:pt x="363" y="93"/>
                </a:cubicBezTo>
                <a:cubicBezTo>
                  <a:pt x="361" y="92"/>
                  <a:pt x="364" y="92"/>
                  <a:pt x="364" y="93"/>
                </a:cubicBezTo>
                <a:close/>
                <a:moveTo>
                  <a:pt x="363" y="131"/>
                </a:moveTo>
                <a:cubicBezTo>
                  <a:pt x="361" y="130"/>
                  <a:pt x="359" y="128"/>
                  <a:pt x="358" y="126"/>
                </a:cubicBezTo>
                <a:cubicBezTo>
                  <a:pt x="360" y="127"/>
                  <a:pt x="361" y="129"/>
                  <a:pt x="363" y="131"/>
                </a:cubicBezTo>
                <a:close/>
                <a:moveTo>
                  <a:pt x="368" y="604"/>
                </a:moveTo>
                <a:cubicBezTo>
                  <a:pt x="365" y="603"/>
                  <a:pt x="367" y="602"/>
                  <a:pt x="368" y="604"/>
                </a:cubicBezTo>
                <a:close/>
                <a:moveTo>
                  <a:pt x="367" y="364"/>
                </a:moveTo>
                <a:cubicBezTo>
                  <a:pt x="369" y="364"/>
                  <a:pt x="370" y="367"/>
                  <a:pt x="371" y="368"/>
                </a:cubicBezTo>
                <a:cubicBezTo>
                  <a:pt x="369" y="368"/>
                  <a:pt x="368" y="365"/>
                  <a:pt x="367" y="364"/>
                </a:cubicBezTo>
                <a:close/>
                <a:moveTo>
                  <a:pt x="367" y="638"/>
                </a:moveTo>
                <a:cubicBezTo>
                  <a:pt x="368" y="637"/>
                  <a:pt x="368" y="639"/>
                  <a:pt x="367" y="638"/>
                </a:cubicBezTo>
                <a:close/>
                <a:moveTo>
                  <a:pt x="373" y="642"/>
                </a:moveTo>
                <a:cubicBezTo>
                  <a:pt x="375" y="643"/>
                  <a:pt x="376" y="644"/>
                  <a:pt x="376" y="646"/>
                </a:cubicBezTo>
                <a:cubicBezTo>
                  <a:pt x="377" y="652"/>
                  <a:pt x="365" y="646"/>
                  <a:pt x="365" y="645"/>
                </a:cubicBezTo>
                <a:cubicBezTo>
                  <a:pt x="365" y="644"/>
                  <a:pt x="372" y="642"/>
                  <a:pt x="373" y="642"/>
                </a:cubicBezTo>
                <a:close/>
                <a:moveTo>
                  <a:pt x="374" y="562"/>
                </a:moveTo>
                <a:cubicBezTo>
                  <a:pt x="375" y="563"/>
                  <a:pt x="372" y="562"/>
                  <a:pt x="373" y="561"/>
                </a:cubicBezTo>
                <a:cubicBezTo>
                  <a:pt x="374" y="561"/>
                  <a:pt x="374" y="562"/>
                  <a:pt x="374" y="562"/>
                </a:cubicBezTo>
                <a:close/>
                <a:moveTo>
                  <a:pt x="374" y="444"/>
                </a:moveTo>
                <a:cubicBezTo>
                  <a:pt x="373" y="445"/>
                  <a:pt x="373" y="442"/>
                  <a:pt x="374" y="444"/>
                </a:cubicBezTo>
                <a:close/>
                <a:moveTo>
                  <a:pt x="372" y="582"/>
                </a:moveTo>
                <a:cubicBezTo>
                  <a:pt x="375" y="582"/>
                  <a:pt x="372" y="584"/>
                  <a:pt x="372" y="582"/>
                </a:cubicBezTo>
                <a:close/>
                <a:moveTo>
                  <a:pt x="371" y="374"/>
                </a:moveTo>
                <a:cubicBezTo>
                  <a:pt x="372" y="373"/>
                  <a:pt x="372" y="375"/>
                  <a:pt x="371" y="374"/>
                </a:cubicBezTo>
                <a:close/>
                <a:moveTo>
                  <a:pt x="365" y="654"/>
                </a:moveTo>
                <a:cubicBezTo>
                  <a:pt x="366" y="652"/>
                  <a:pt x="367" y="655"/>
                  <a:pt x="365" y="654"/>
                </a:cubicBezTo>
                <a:close/>
                <a:moveTo>
                  <a:pt x="366" y="661"/>
                </a:moveTo>
                <a:cubicBezTo>
                  <a:pt x="369" y="661"/>
                  <a:pt x="370" y="659"/>
                  <a:pt x="371" y="661"/>
                </a:cubicBezTo>
                <a:cubicBezTo>
                  <a:pt x="372" y="661"/>
                  <a:pt x="371" y="662"/>
                  <a:pt x="372" y="663"/>
                </a:cubicBezTo>
                <a:cubicBezTo>
                  <a:pt x="375" y="666"/>
                  <a:pt x="386" y="664"/>
                  <a:pt x="386" y="668"/>
                </a:cubicBezTo>
                <a:cubicBezTo>
                  <a:pt x="387" y="671"/>
                  <a:pt x="373" y="665"/>
                  <a:pt x="372" y="664"/>
                </a:cubicBezTo>
                <a:cubicBezTo>
                  <a:pt x="369" y="662"/>
                  <a:pt x="364" y="662"/>
                  <a:pt x="362" y="661"/>
                </a:cubicBezTo>
                <a:cubicBezTo>
                  <a:pt x="362" y="660"/>
                  <a:pt x="361" y="660"/>
                  <a:pt x="361" y="659"/>
                </a:cubicBezTo>
                <a:cubicBezTo>
                  <a:pt x="362" y="657"/>
                  <a:pt x="364" y="661"/>
                  <a:pt x="366" y="661"/>
                </a:cubicBezTo>
                <a:close/>
                <a:moveTo>
                  <a:pt x="377" y="623"/>
                </a:moveTo>
                <a:cubicBezTo>
                  <a:pt x="379" y="623"/>
                  <a:pt x="377" y="625"/>
                  <a:pt x="377" y="623"/>
                </a:cubicBezTo>
                <a:close/>
                <a:moveTo>
                  <a:pt x="385" y="646"/>
                </a:moveTo>
                <a:cubicBezTo>
                  <a:pt x="385" y="645"/>
                  <a:pt x="387" y="645"/>
                  <a:pt x="387" y="646"/>
                </a:cubicBezTo>
                <a:cubicBezTo>
                  <a:pt x="387" y="647"/>
                  <a:pt x="385" y="647"/>
                  <a:pt x="385" y="646"/>
                </a:cubicBezTo>
                <a:close/>
                <a:moveTo>
                  <a:pt x="387" y="661"/>
                </a:moveTo>
                <a:cubicBezTo>
                  <a:pt x="389" y="662"/>
                  <a:pt x="384" y="662"/>
                  <a:pt x="385" y="661"/>
                </a:cubicBezTo>
                <a:cubicBezTo>
                  <a:pt x="385" y="660"/>
                  <a:pt x="387" y="660"/>
                  <a:pt x="387" y="661"/>
                </a:cubicBezTo>
                <a:close/>
                <a:moveTo>
                  <a:pt x="385" y="654"/>
                </a:moveTo>
                <a:cubicBezTo>
                  <a:pt x="388" y="654"/>
                  <a:pt x="385" y="656"/>
                  <a:pt x="385" y="654"/>
                </a:cubicBezTo>
                <a:close/>
                <a:moveTo>
                  <a:pt x="380" y="671"/>
                </a:moveTo>
                <a:cubicBezTo>
                  <a:pt x="382" y="672"/>
                  <a:pt x="380" y="673"/>
                  <a:pt x="380" y="671"/>
                </a:cubicBezTo>
                <a:close/>
                <a:moveTo>
                  <a:pt x="379" y="676"/>
                </a:moveTo>
                <a:cubicBezTo>
                  <a:pt x="379" y="676"/>
                  <a:pt x="380" y="675"/>
                  <a:pt x="380" y="675"/>
                </a:cubicBezTo>
                <a:cubicBezTo>
                  <a:pt x="380" y="676"/>
                  <a:pt x="380" y="677"/>
                  <a:pt x="379" y="676"/>
                </a:cubicBezTo>
                <a:close/>
                <a:moveTo>
                  <a:pt x="378" y="669"/>
                </a:moveTo>
                <a:cubicBezTo>
                  <a:pt x="377" y="669"/>
                  <a:pt x="377" y="666"/>
                  <a:pt x="378" y="668"/>
                </a:cubicBezTo>
                <a:cubicBezTo>
                  <a:pt x="378" y="668"/>
                  <a:pt x="378" y="669"/>
                  <a:pt x="378" y="669"/>
                </a:cubicBezTo>
                <a:close/>
                <a:moveTo>
                  <a:pt x="366" y="677"/>
                </a:moveTo>
                <a:cubicBezTo>
                  <a:pt x="369" y="676"/>
                  <a:pt x="367" y="673"/>
                  <a:pt x="368" y="672"/>
                </a:cubicBezTo>
                <a:cubicBezTo>
                  <a:pt x="370" y="671"/>
                  <a:pt x="373" y="675"/>
                  <a:pt x="372" y="677"/>
                </a:cubicBezTo>
                <a:cubicBezTo>
                  <a:pt x="371" y="678"/>
                  <a:pt x="368" y="676"/>
                  <a:pt x="366" y="677"/>
                </a:cubicBezTo>
                <a:close/>
                <a:moveTo>
                  <a:pt x="369" y="695"/>
                </a:moveTo>
                <a:cubicBezTo>
                  <a:pt x="369" y="694"/>
                  <a:pt x="371" y="694"/>
                  <a:pt x="371" y="695"/>
                </a:cubicBezTo>
                <a:cubicBezTo>
                  <a:pt x="372" y="696"/>
                  <a:pt x="369" y="696"/>
                  <a:pt x="369" y="695"/>
                </a:cubicBezTo>
                <a:close/>
                <a:moveTo>
                  <a:pt x="365" y="733"/>
                </a:moveTo>
                <a:cubicBezTo>
                  <a:pt x="365" y="731"/>
                  <a:pt x="367" y="731"/>
                  <a:pt x="368" y="732"/>
                </a:cubicBezTo>
                <a:cubicBezTo>
                  <a:pt x="369" y="733"/>
                  <a:pt x="365" y="733"/>
                  <a:pt x="365" y="733"/>
                </a:cubicBezTo>
                <a:close/>
                <a:moveTo>
                  <a:pt x="364" y="734"/>
                </a:moveTo>
                <a:cubicBezTo>
                  <a:pt x="365" y="734"/>
                  <a:pt x="366" y="734"/>
                  <a:pt x="366" y="734"/>
                </a:cubicBezTo>
                <a:cubicBezTo>
                  <a:pt x="367" y="736"/>
                  <a:pt x="363" y="735"/>
                  <a:pt x="364" y="734"/>
                </a:cubicBezTo>
                <a:close/>
                <a:moveTo>
                  <a:pt x="363" y="683"/>
                </a:moveTo>
                <a:cubicBezTo>
                  <a:pt x="365" y="682"/>
                  <a:pt x="364" y="684"/>
                  <a:pt x="363" y="683"/>
                </a:cubicBezTo>
                <a:close/>
                <a:moveTo>
                  <a:pt x="361" y="684"/>
                </a:moveTo>
                <a:cubicBezTo>
                  <a:pt x="360" y="685"/>
                  <a:pt x="360" y="682"/>
                  <a:pt x="361" y="684"/>
                </a:cubicBezTo>
                <a:close/>
                <a:moveTo>
                  <a:pt x="360" y="465"/>
                </a:moveTo>
                <a:cubicBezTo>
                  <a:pt x="360" y="465"/>
                  <a:pt x="361" y="466"/>
                  <a:pt x="361" y="466"/>
                </a:cubicBezTo>
                <a:cubicBezTo>
                  <a:pt x="362" y="468"/>
                  <a:pt x="358" y="466"/>
                  <a:pt x="360" y="465"/>
                </a:cubicBezTo>
                <a:close/>
                <a:moveTo>
                  <a:pt x="361" y="695"/>
                </a:moveTo>
                <a:cubicBezTo>
                  <a:pt x="360" y="696"/>
                  <a:pt x="361" y="694"/>
                  <a:pt x="361" y="695"/>
                </a:cubicBezTo>
                <a:close/>
                <a:moveTo>
                  <a:pt x="364" y="650"/>
                </a:moveTo>
                <a:cubicBezTo>
                  <a:pt x="365" y="652"/>
                  <a:pt x="361" y="651"/>
                  <a:pt x="362" y="649"/>
                </a:cubicBezTo>
                <a:cubicBezTo>
                  <a:pt x="363" y="649"/>
                  <a:pt x="364" y="650"/>
                  <a:pt x="364" y="650"/>
                </a:cubicBezTo>
                <a:close/>
                <a:moveTo>
                  <a:pt x="365" y="376"/>
                </a:moveTo>
                <a:cubicBezTo>
                  <a:pt x="363" y="376"/>
                  <a:pt x="364" y="373"/>
                  <a:pt x="365" y="376"/>
                </a:cubicBezTo>
                <a:close/>
                <a:moveTo>
                  <a:pt x="361" y="355"/>
                </a:moveTo>
                <a:cubicBezTo>
                  <a:pt x="362" y="354"/>
                  <a:pt x="363" y="356"/>
                  <a:pt x="363" y="357"/>
                </a:cubicBezTo>
                <a:cubicBezTo>
                  <a:pt x="362" y="356"/>
                  <a:pt x="362" y="356"/>
                  <a:pt x="361" y="355"/>
                </a:cubicBezTo>
                <a:close/>
                <a:moveTo>
                  <a:pt x="356" y="702"/>
                </a:moveTo>
                <a:cubicBezTo>
                  <a:pt x="359" y="702"/>
                  <a:pt x="356" y="704"/>
                  <a:pt x="356" y="702"/>
                </a:cubicBezTo>
                <a:close/>
                <a:moveTo>
                  <a:pt x="356" y="683"/>
                </a:moveTo>
                <a:cubicBezTo>
                  <a:pt x="356" y="682"/>
                  <a:pt x="357" y="683"/>
                  <a:pt x="357" y="683"/>
                </a:cubicBezTo>
                <a:cubicBezTo>
                  <a:pt x="358" y="684"/>
                  <a:pt x="355" y="683"/>
                  <a:pt x="356" y="683"/>
                </a:cubicBezTo>
                <a:close/>
                <a:moveTo>
                  <a:pt x="359" y="708"/>
                </a:moveTo>
                <a:cubicBezTo>
                  <a:pt x="360" y="710"/>
                  <a:pt x="356" y="709"/>
                  <a:pt x="356" y="708"/>
                </a:cubicBezTo>
                <a:cubicBezTo>
                  <a:pt x="356" y="707"/>
                  <a:pt x="359" y="707"/>
                  <a:pt x="359" y="708"/>
                </a:cubicBezTo>
                <a:close/>
                <a:moveTo>
                  <a:pt x="358" y="153"/>
                </a:moveTo>
                <a:cubicBezTo>
                  <a:pt x="356" y="152"/>
                  <a:pt x="359" y="153"/>
                  <a:pt x="358" y="153"/>
                </a:cubicBezTo>
                <a:close/>
                <a:moveTo>
                  <a:pt x="358" y="538"/>
                </a:moveTo>
                <a:cubicBezTo>
                  <a:pt x="358" y="539"/>
                  <a:pt x="357" y="539"/>
                  <a:pt x="357" y="539"/>
                </a:cubicBezTo>
                <a:cubicBezTo>
                  <a:pt x="356" y="538"/>
                  <a:pt x="357" y="537"/>
                  <a:pt x="358" y="538"/>
                </a:cubicBezTo>
                <a:close/>
                <a:moveTo>
                  <a:pt x="359" y="673"/>
                </a:moveTo>
                <a:cubicBezTo>
                  <a:pt x="360" y="674"/>
                  <a:pt x="356" y="674"/>
                  <a:pt x="356" y="673"/>
                </a:cubicBezTo>
                <a:cubicBezTo>
                  <a:pt x="357" y="673"/>
                  <a:pt x="358" y="672"/>
                  <a:pt x="359" y="673"/>
                </a:cubicBezTo>
                <a:close/>
                <a:moveTo>
                  <a:pt x="359" y="678"/>
                </a:moveTo>
                <a:cubicBezTo>
                  <a:pt x="359" y="678"/>
                  <a:pt x="356" y="681"/>
                  <a:pt x="355" y="681"/>
                </a:cubicBezTo>
                <a:cubicBezTo>
                  <a:pt x="354" y="682"/>
                  <a:pt x="349" y="681"/>
                  <a:pt x="349" y="680"/>
                </a:cubicBezTo>
                <a:cubicBezTo>
                  <a:pt x="348" y="680"/>
                  <a:pt x="348" y="677"/>
                  <a:pt x="348" y="675"/>
                </a:cubicBezTo>
                <a:cubicBezTo>
                  <a:pt x="349" y="674"/>
                  <a:pt x="352" y="674"/>
                  <a:pt x="355" y="675"/>
                </a:cubicBezTo>
                <a:cubicBezTo>
                  <a:pt x="356" y="675"/>
                  <a:pt x="359" y="677"/>
                  <a:pt x="359" y="678"/>
                </a:cubicBezTo>
                <a:close/>
                <a:moveTo>
                  <a:pt x="354" y="738"/>
                </a:moveTo>
                <a:cubicBezTo>
                  <a:pt x="355" y="738"/>
                  <a:pt x="356" y="738"/>
                  <a:pt x="356" y="739"/>
                </a:cubicBezTo>
                <a:cubicBezTo>
                  <a:pt x="357" y="741"/>
                  <a:pt x="353" y="739"/>
                  <a:pt x="354" y="738"/>
                </a:cubicBezTo>
                <a:close/>
                <a:moveTo>
                  <a:pt x="354" y="757"/>
                </a:moveTo>
                <a:cubicBezTo>
                  <a:pt x="354" y="757"/>
                  <a:pt x="356" y="757"/>
                  <a:pt x="356" y="757"/>
                </a:cubicBezTo>
                <a:cubicBezTo>
                  <a:pt x="357" y="759"/>
                  <a:pt x="353" y="759"/>
                  <a:pt x="354" y="757"/>
                </a:cubicBezTo>
                <a:close/>
                <a:moveTo>
                  <a:pt x="349" y="683"/>
                </a:moveTo>
                <a:cubicBezTo>
                  <a:pt x="350" y="681"/>
                  <a:pt x="354" y="683"/>
                  <a:pt x="354" y="685"/>
                </a:cubicBezTo>
                <a:cubicBezTo>
                  <a:pt x="355" y="688"/>
                  <a:pt x="347" y="685"/>
                  <a:pt x="349" y="683"/>
                </a:cubicBezTo>
                <a:close/>
                <a:moveTo>
                  <a:pt x="348" y="704"/>
                </a:moveTo>
                <a:cubicBezTo>
                  <a:pt x="350" y="703"/>
                  <a:pt x="349" y="705"/>
                  <a:pt x="348" y="704"/>
                </a:cubicBezTo>
                <a:close/>
                <a:moveTo>
                  <a:pt x="352" y="646"/>
                </a:moveTo>
                <a:cubicBezTo>
                  <a:pt x="355" y="644"/>
                  <a:pt x="355" y="648"/>
                  <a:pt x="352" y="646"/>
                </a:cubicBezTo>
                <a:close/>
                <a:moveTo>
                  <a:pt x="354" y="388"/>
                </a:moveTo>
                <a:cubicBezTo>
                  <a:pt x="354" y="388"/>
                  <a:pt x="355" y="389"/>
                  <a:pt x="355" y="389"/>
                </a:cubicBezTo>
                <a:cubicBezTo>
                  <a:pt x="355" y="390"/>
                  <a:pt x="354" y="389"/>
                  <a:pt x="354" y="388"/>
                </a:cubicBezTo>
                <a:close/>
                <a:moveTo>
                  <a:pt x="354" y="626"/>
                </a:moveTo>
                <a:cubicBezTo>
                  <a:pt x="354" y="629"/>
                  <a:pt x="352" y="631"/>
                  <a:pt x="350" y="630"/>
                </a:cubicBezTo>
                <a:cubicBezTo>
                  <a:pt x="350" y="630"/>
                  <a:pt x="349" y="629"/>
                  <a:pt x="349" y="629"/>
                </a:cubicBezTo>
                <a:cubicBezTo>
                  <a:pt x="348" y="630"/>
                  <a:pt x="348" y="632"/>
                  <a:pt x="346" y="632"/>
                </a:cubicBezTo>
                <a:cubicBezTo>
                  <a:pt x="343" y="632"/>
                  <a:pt x="342" y="629"/>
                  <a:pt x="341" y="626"/>
                </a:cubicBezTo>
                <a:cubicBezTo>
                  <a:pt x="341" y="626"/>
                  <a:pt x="340" y="625"/>
                  <a:pt x="339" y="624"/>
                </a:cubicBezTo>
                <a:cubicBezTo>
                  <a:pt x="340" y="625"/>
                  <a:pt x="339" y="621"/>
                  <a:pt x="340" y="621"/>
                </a:cubicBezTo>
                <a:cubicBezTo>
                  <a:pt x="340" y="621"/>
                  <a:pt x="341" y="621"/>
                  <a:pt x="341" y="621"/>
                </a:cubicBezTo>
                <a:cubicBezTo>
                  <a:pt x="342" y="621"/>
                  <a:pt x="341" y="619"/>
                  <a:pt x="342" y="619"/>
                </a:cubicBezTo>
                <a:cubicBezTo>
                  <a:pt x="348" y="618"/>
                  <a:pt x="354" y="623"/>
                  <a:pt x="354" y="626"/>
                </a:cubicBezTo>
                <a:close/>
                <a:moveTo>
                  <a:pt x="346" y="657"/>
                </a:moveTo>
                <a:cubicBezTo>
                  <a:pt x="347" y="656"/>
                  <a:pt x="348" y="658"/>
                  <a:pt x="346" y="657"/>
                </a:cubicBezTo>
                <a:close/>
                <a:moveTo>
                  <a:pt x="341" y="652"/>
                </a:moveTo>
                <a:cubicBezTo>
                  <a:pt x="342" y="652"/>
                  <a:pt x="344" y="653"/>
                  <a:pt x="344" y="653"/>
                </a:cubicBezTo>
                <a:cubicBezTo>
                  <a:pt x="344" y="655"/>
                  <a:pt x="340" y="654"/>
                  <a:pt x="341" y="652"/>
                </a:cubicBezTo>
                <a:close/>
                <a:moveTo>
                  <a:pt x="332" y="599"/>
                </a:moveTo>
                <a:cubicBezTo>
                  <a:pt x="331" y="600"/>
                  <a:pt x="329" y="598"/>
                  <a:pt x="328" y="598"/>
                </a:cubicBezTo>
                <a:cubicBezTo>
                  <a:pt x="330" y="597"/>
                  <a:pt x="331" y="599"/>
                  <a:pt x="332" y="599"/>
                </a:cubicBezTo>
                <a:close/>
                <a:moveTo>
                  <a:pt x="328" y="470"/>
                </a:moveTo>
                <a:cubicBezTo>
                  <a:pt x="328" y="470"/>
                  <a:pt x="329" y="470"/>
                  <a:pt x="329" y="471"/>
                </a:cubicBezTo>
                <a:cubicBezTo>
                  <a:pt x="330" y="473"/>
                  <a:pt x="326" y="471"/>
                  <a:pt x="328" y="470"/>
                </a:cubicBezTo>
                <a:close/>
                <a:moveTo>
                  <a:pt x="331" y="572"/>
                </a:moveTo>
                <a:cubicBezTo>
                  <a:pt x="331" y="573"/>
                  <a:pt x="331" y="573"/>
                  <a:pt x="331" y="573"/>
                </a:cubicBezTo>
                <a:cubicBezTo>
                  <a:pt x="331" y="573"/>
                  <a:pt x="331" y="573"/>
                  <a:pt x="331" y="573"/>
                </a:cubicBezTo>
                <a:cubicBezTo>
                  <a:pt x="331" y="572"/>
                  <a:pt x="331" y="572"/>
                  <a:pt x="331" y="572"/>
                </a:cubicBezTo>
                <a:close/>
                <a:moveTo>
                  <a:pt x="334" y="652"/>
                </a:moveTo>
                <a:cubicBezTo>
                  <a:pt x="335" y="654"/>
                  <a:pt x="331" y="654"/>
                  <a:pt x="331" y="652"/>
                </a:cubicBezTo>
                <a:cubicBezTo>
                  <a:pt x="332" y="651"/>
                  <a:pt x="333" y="652"/>
                  <a:pt x="334" y="652"/>
                </a:cubicBezTo>
                <a:close/>
                <a:moveTo>
                  <a:pt x="334" y="375"/>
                </a:moveTo>
                <a:cubicBezTo>
                  <a:pt x="333" y="374"/>
                  <a:pt x="334" y="377"/>
                  <a:pt x="334" y="375"/>
                </a:cubicBezTo>
                <a:close/>
                <a:moveTo>
                  <a:pt x="331" y="609"/>
                </a:moveTo>
                <a:cubicBezTo>
                  <a:pt x="332" y="609"/>
                  <a:pt x="332" y="611"/>
                  <a:pt x="331" y="609"/>
                </a:cubicBezTo>
                <a:close/>
                <a:moveTo>
                  <a:pt x="331" y="720"/>
                </a:moveTo>
                <a:cubicBezTo>
                  <a:pt x="336" y="719"/>
                  <a:pt x="336" y="723"/>
                  <a:pt x="331" y="720"/>
                </a:cubicBezTo>
                <a:close/>
                <a:moveTo>
                  <a:pt x="332" y="660"/>
                </a:moveTo>
                <a:cubicBezTo>
                  <a:pt x="333" y="659"/>
                  <a:pt x="335" y="661"/>
                  <a:pt x="337" y="662"/>
                </a:cubicBezTo>
                <a:cubicBezTo>
                  <a:pt x="335" y="663"/>
                  <a:pt x="333" y="661"/>
                  <a:pt x="332" y="660"/>
                </a:cubicBezTo>
                <a:close/>
                <a:moveTo>
                  <a:pt x="334" y="653"/>
                </a:moveTo>
                <a:cubicBezTo>
                  <a:pt x="334" y="651"/>
                  <a:pt x="339" y="651"/>
                  <a:pt x="339" y="653"/>
                </a:cubicBezTo>
                <a:cubicBezTo>
                  <a:pt x="340" y="657"/>
                  <a:pt x="334" y="655"/>
                  <a:pt x="334" y="653"/>
                </a:cubicBezTo>
                <a:close/>
                <a:moveTo>
                  <a:pt x="337" y="184"/>
                </a:moveTo>
                <a:cubicBezTo>
                  <a:pt x="338" y="185"/>
                  <a:pt x="336" y="183"/>
                  <a:pt x="337" y="184"/>
                </a:cubicBezTo>
                <a:close/>
                <a:moveTo>
                  <a:pt x="338" y="594"/>
                </a:moveTo>
                <a:cubicBezTo>
                  <a:pt x="339" y="594"/>
                  <a:pt x="337" y="594"/>
                  <a:pt x="337" y="594"/>
                </a:cubicBezTo>
                <a:cubicBezTo>
                  <a:pt x="337" y="593"/>
                  <a:pt x="338" y="593"/>
                  <a:pt x="338" y="594"/>
                </a:cubicBezTo>
                <a:close/>
                <a:moveTo>
                  <a:pt x="337" y="603"/>
                </a:moveTo>
                <a:cubicBezTo>
                  <a:pt x="338" y="605"/>
                  <a:pt x="334" y="603"/>
                  <a:pt x="335" y="602"/>
                </a:cubicBezTo>
                <a:cubicBezTo>
                  <a:pt x="336" y="601"/>
                  <a:pt x="337" y="602"/>
                  <a:pt x="337" y="603"/>
                </a:cubicBezTo>
                <a:close/>
                <a:moveTo>
                  <a:pt x="342" y="350"/>
                </a:moveTo>
                <a:cubicBezTo>
                  <a:pt x="343" y="353"/>
                  <a:pt x="337" y="349"/>
                  <a:pt x="339" y="348"/>
                </a:cubicBezTo>
                <a:cubicBezTo>
                  <a:pt x="340" y="347"/>
                  <a:pt x="342" y="350"/>
                  <a:pt x="342" y="350"/>
                </a:cubicBezTo>
                <a:close/>
                <a:moveTo>
                  <a:pt x="339" y="147"/>
                </a:moveTo>
                <a:cubicBezTo>
                  <a:pt x="340" y="146"/>
                  <a:pt x="343" y="150"/>
                  <a:pt x="340" y="149"/>
                </a:cubicBezTo>
                <a:cubicBezTo>
                  <a:pt x="340" y="148"/>
                  <a:pt x="339" y="148"/>
                  <a:pt x="339" y="147"/>
                </a:cubicBezTo>
                <a:close/>
                <a:moveTo>
                  <a:pt x="340" y="607"/>
                </a:moveTo>
                <a:cubicBezTo>
                  <a:pt x="343" y="607"/>
                  <a:pt x="340" y="609"/>
                  <a:pt x="340" y="607"/>
                </a:cubicBezTo>
                <a:close/>
                <a:moveTo>
                  <a:pt x="339" y="475"/>
                </a:moveTo>
                <a:cubicBezTo>
                  <a:pt x="340" y="474"/>
                  <a:pt x="341" y="475"/>
                  <a:pt x="341" y="475"/>
                </a:cubicBezTo>
                <a:cubicBezTo>
                  <a:pt x="342" y="477"/>
                  <a:pt x="339" y="476"/>
                  <a:pt x="339" y="475"/>
                </a:cubicBezTo>
                <a:close/>
                <a:moveTo>
                  <a:pt x="339" y="735"/>
                </a:moveTo>
                <a:cubicBezTo>
                  <a:pt x="340" y="735"/>
                  <a:pt x="340" y="736"/>
                  <a:pt x="339" y="735"/>
                </a:cubicBezTo>
                <a:cubicBezTo>
                  <a:pt x="339" y="735"/>
                  <a:pt x="339" y="735"/>
                  <a:pt x="339" y="735"/>
                </a:cubicBezTo>
                <a:close/>
                <a:moveTo>
                  <a:pt x="344" y="348"/>
                </a:moveTo>
                <a:cubicBezTo>
                  <a:pt x="344" y="348"/>
                  <a:pt x="343" y="346"/>
                  <a:pt x="344" y="347"/>
                </a:cubicBezTo>
                <a:cubicBezTo>
                  <a:pt x="344" y="347"/>
                  <a:pt x="345" y="348"/>
                  <a:pt x="344" y="348"/>
                </a:cubicBezTo>
                <a:close/>
                <a:moveTo>
                  <a:pt x="346" y="610"/>
                </a:moveTo>
                <a:cubicBezTo>
                  <a:pt x="345" y="612"/>
                  <a:pt x="344" y="609"/>
                  <a:pt x="342" y="609"/>
                </a:cubicBezTo>
                <a:cubicBezTo>
                  <a:pt x="344" y="608"/>
                  <a:pt x="345" y="610"/>
                  <a:pt x="346" y="610"/>
                </a:cubicBezTo>
                <a:close/>
                <a:moveTo>
                  <a:pt x="344" y="176"/>
                </a:moveTo>
                <a:cubicBezTo>
                  <a:pt x="343" y="176"/>
                  <a:pt x="343" y="176"/>
                  <a:pt x="342" y="175"/>
                </a:cubicBezTo>
                <a:cubicBezTo>
                  <a:pt x="341" y="174"/>
                  <a:pt x="344" y="174"/>
                  <a:pt x="344" y="176"/>
                </a:cubicBezTo>
                <a:close/>
                <a:moveTo>
                  <a:pt x="347" y="192"/>
                </a:moveTo>
                <a:cubicBezTo>
                  <a:pt x="347" y="192"/>
                  <a:pt x="347" y="192"/>
                  <a:pt x="347" y="192"/>
                </a:cubicBezTo>
                <a:cubicBezTo>
                  <a:pt x="347" y="192"/>
                  <a:pt x="347" y="192"/>
                  <a:pt x="347" y="192"/>
                </a:cubicBezTo>
                <a:close/>
                <a:moveTo>
                  <a:pt x="348" y="594"/>
                </a:moveTo>
                <a:cubicBezTo>
                  <a:pt x="348" y="593"/>
                  <a:pt x="349" y="594"/>
                  <a:pt x="349" y="594"/>
                </a:cubicBezTo>
                <a:cubicBezTo>
                  <a:pt x="350" y="596"/>
                  <a:pt x="347" y="595"/>
                  <a:pt x="348" y="594"/>
                </a:cubicBezTo>
                <a:close/>
                <a:moveTo>
                  <a:pt x="348" y="564"/>
                </a:moveTo>
                <a:cubicBezTo>
                  <a:pt x="349" y="563"/>
                  <a:pt x="351" y="564"/>
                  <a:pt x="351" y="565"/>
                </a:cubicBezTo>
                <a:cubicBezTo>
                  <a:pt x="352" y="569"/>
                  <a:pt x="347" y="566"/>
                  <a:pt x="348" y="564"/>
                </a:cubicBezTo>
                <a:close/>
                <a:moveTo>
                  <a:pt x="349" y="471"/>
                </a:moveTo>
                <a:cubicBezTo>
                  <a:pt x="350" y="472"/>
                  <a:pt x="349" y="470"/>
                  <a:pt x="349" y="471"/>
                </a:cubicBezTo>
                <a:close/>
                <a:moveTo>
                  <a:pt x="348" y="85"/>
                </a:moveTo>
                <a:cubicBezTo>
                  <a:pt x="349" y="85"/>
                  <a:pt x="350" y="87"/>
                  <a:pt x="351" y="87"/>
                </a:cubicBezTo>
                <a:cubicBezTo>
                  <a:pt x="350" y="87"/>
                  <a:pt x="349" y="86"/>
                  <a:pt x="348" y="85"/>
                </a:cubicBezTo>
                <a:close/>
                <a:moveTo>
                  <a:pt x="330" y="414"/>
                </a:moveTo>
                <a:cubicBezTo>
                  <a:pt x="331" y="414"/>
                  <a:pt x="331" y="415"/>
                  <a:pt x="330" y="416"/>
                </a:cubicBezTo>
                <a:cubicBezTo>
                  <a:pt x="325" y="416"/>
                  <a:pt x="329" y="409"/>
                  <a:pt x="330" y="414"/>
                </a:cubicBezTo>
                <a:close/>
                <a:moveTo>
                  <a:pt x="328" y="177"/>
                </a:moveTo>
                <a:cubicBezTo>
                  <a:pt x="328" y="176"/>
                  <a:pt x="329" y="178"/>
                  <a:pt x="328" y="177"/>
                </a:cubicBezTo>
                <a:close/>
                <a:moveTo>
                  <a:pt x="328" y="658"/>
                </a:moveTo>
                <a:cubicBezTo>
                  <a:pt x="327" y="658"/>
                  <a:pt x="326" y="657"/>
                  <a:pt x="326" y="657"/>
                </a:cubicBezTo>
                <a:cubicBezTo>
                  <a:pt x="327" y="657"/>
                  <a:pt x="327" y="657"/>
                  <a:pt x="328" y="658"/>
                </a:cubicBezTo>
                <a:close/>
                <a:moveTo>
                  <a:pt x="326" y="743"/>
                </a:moveTo>
                <a:cubicBezTo>
                  <a:pt x="325" y="744"/>
                  <a:pt x="324" y="742"/>
                  <a:pt x="326" y="743"/>
                </a:cubicBezTo>
                <a:close/>
                <a:moveTo>
                  <a:pt x="325" y="755"/>
                </a:moveTo>
                <a:cubicBezTo>
                  <a:pt x="325" y="755"/>
                  <a:pt x="326" y="755"/>
                  <a:pt x="326" y="756"/>
                </a:cubicBezTo>
                <a:cubicBezTo>
                  <a:pt x="326" y="758"/>
                  <a:pt x="324" y="753"/>
                  <a:pt x="325" y="755"/>
                </a:cubicBezTo>
                <a:close/>
                <a:moveTo>
                  <a:pt x="325" y="738"/>
                </a:moveTo>
                <a:cubicBezTo>
                  <a:pt x="325" y="737"/>
                  <a:pt x="327" y="737"/>
                  <a:pt x="327" y="738"/>
                </a:cubicBezTo>
                <a:cubicBezTo>
                  <a:pt x="328" y="739"/>
                  <a:pt x="326" y="738"/>
                  <a:pt x="325" y="738"/>
                </a:cubicBezTo>
                <a:close/>
                <a:moveTo>
                  <a:pt x="325" y="124"/>
                </a:moveTo>
                <a:cubicBezTo>
                  <a:pt x="325" y="124"/>
                  <a:pt x="325" y="124"/>
                  <a:pt x="325" y="124"/>
                </a:cubicBezTo>
                <a:cubicBezTo>
                  <a:pt x="323" y="123"/>
                  <a:pt x="328" y="123"/>
                  <a:pt x="325" y="124"/>
                </a:cubicBezTo>
                <a:close/>
                <a:moveTo>
                  <a:pt x="326" y="382"/>
                </a:moveTo>
                <a:cubicBezTo>
                  <a:pt x="326" y="383"/>
                  <a:pt x="325" y="381"/>
                  <a:pt x="326" y="382"/>
                </a:cubicBezTo>
                <a:close/>
                <a:moveTo>
                  <a:pt x="326" y="596"/>
                </a:moveTo>
                <a:cubicBezTo>
                  <a:pt x="327" y="597"/>
                  <a:pt x="323" y="595"/>
                  <a:pt x="324" y="595"/>
                </a:cubicBezTo>
                <a:cubicBezTo>
                  <a:pt x="325" y="594"/>
                  <a:pt x="326" y="596"/>
                  <a:pt x="326" y="596"/>
                </a:cubicBezTo>
                <a:close/>
                <a:moveTo>
                  <a:pt x="326" y="759"/>
                </a:moveTo>
                <a:cubicBezTo>
                  <a:pt x="327" y="760"/>
                  <a:pt x="323" y="760"/>
                  <a:pt x="324" y="758"/>
                </a:cubicBezTo>
                <a:cubicBezTo>
                  <a:pt x="324" y="758"/>
                  <a:pt x="326" y="758"/>
                  <a:pt x="326" y="759"/>
                </a:cubicBezTo>
                <a:close/>
                <a:moveTo>
                  <a:pt x="321" y="769"/>
                </a:moveTo>
                <a:cubicBezTo>
                  <a:pt x="321" y="768"/>
                  <a:pt x="323" y="769"/>
                  <a:pt x="323" y="769"/>
                </a:cubicBezTo>
                <a:cubicBezTo>
                  <a:pt x="323" y="770"/>
                  <a:pt x="322" y="769"/>
                  <a:pt x="321" y="769"/>
                </a:cubicBezTo>
                <a:close/>
                <a:moveTo>
                  <a:pt x="323" y="770"/>
                </a:moveTo>
                <a:cubicBezTo>
                  <a:pt x="324" y="768"/>
                  <a:pt x="330" y="767"/>
                  <a:pt x="330" y="770"/>
                </a:cubicBezTo>
                <a:cubicBezTo>
                  <a:pt x="330" y="773"/>
                  <a:pt x="323" y="772"/>
                  <a:pt x="323" y="770"/>
                </a:cubicBezTo>
                <a:close/>
                <a:moveTo>
                  <a:pt x="336" y="777"/>
                </a:moveTo>
                <a:cubicBezTo>
                  <a:pt x="337" y="778"/>
                  <a:pt x="335" y="776"/>
                  <a:pt x="336" y="777"/>
                </a:cubicBezTo>
                <a:close/>
                <a:moveTo>
                  <a:pt x="326" y="757"/>
                </a:moveTo>
                <a:cubicBezTo>
                  <a:pt x="327" y="757"/>
                  <a:pt x="326" y="754"/>
                  <a:pt x="326" y="755"/>
                </a:cubicBezTo>
                <a:cubicBezTo>
                  <a:pt x="326" y="753"/>
                  <a:pt x="333" y="752"/>
                  <a:pt x="335" y="754"/>
                </a:cubicBezTo>
                <a:cubicBezTo>
                  <a:pt x="335" y="754"/>
                  <a:pt x="336" y="757"/>
                  <a:pt x="337" y="757"/>
                </a:cubicBezTo>
                <a:cubicBezTo>
                  <a:pt x="336" y="758"/>
                  <a:pt x="328" y="759"/>
                  <a:pt x="326" y="757"/>
                </a:cubicBezTo>
                <a:close/>
                <a:moveTo>
                  <a:pt x="335" y="748"/>
                </a:moveTo>
                <a:cubicBezTo>
                  <a:pt x="335" y="747"/>
                  <a:pt x="337" y="747"/>
                  <a:pt x="337" y="748"/>
                </a:cubicBezTo>
                <a:cubicBezTo>
                  <a:pt x="338" y="749"/>
                  <a:pt x="336" y="749"/>
                  <a:pt x="335" y="748"/>
                </a:cubicBezTo>
                <a:close/>
                <a:moveTo>
                  <a:pt x="328" y="744"/>
                </a:moveTo>
                <a:cubicBezTo>
                  <a:pt x="328" y="743"/>
                  <a:pt x="329" y="742"/>
                  <a:pt x="329" y="741"/>
                </a:cubicBezTo>
                <a:cubicBezTo>
                  <a:pt x="329" y="742"/>
                  <a:pt x="332" y="740"/>
                  <a:pt x="332" y="740"/>
                </a:cubicBezTo>
                <a:cubicBezTo>
                  <a:pt x="334" y="740"/>
                  <a:pt x="339" y="741"/>
                  <a:pt x="337" y="745"/>
                </a:cubicBezTo>
                <a:cubicBezTo>
                  <a:pt x="336" y="748"/>
                  <a:pt x="329" y="746"/>
                  <a:pt x="328" y="744"/>
                </a:cubicBezTo>
                <a:close/>
                <a:moveTo>
                  <a:pt x="339" y="774"/>
                </a:moveTo>
                <a:cubicBezTo>
                  <a:pt x="339" y="773"/>
                  <a:pt x="337" y="773"/>
                  <a:pt x="337" y="772"/>
                </a:cubicBezTo>
                <a:cubicBezTo>
                  <a:pt x="338" y="770"/>
                  <a:pt x="344" y="770"/>
                  <a:pt x="344" y="772"/>
                </a:cubicBezTo>
                <a:cubicBezTo>
                  <a:pt x="345" y="775"/>
                  <a:pt x="339" y="775"/>
                  <a:pt x="339" y="774"/>
                </a:cubicBezTo>
                <a:close/>
                <a:moveTo>
                  <a:pt x="353" y="716"/>
                </a:moveTo>
                <a:cubicBezTo>
                  <a:pt x="351" y="716"/>
                  <a:pt x="346" y="715"/>
                  <a:pt x="345" y="713"/>
                </a:cubicBezTo>
                <a:cubicBezTo>
                  <a:pt x="348" y="714"/>
                  <a:pt x="350" y="715"/>
                  <a:pt x="353" y="716"/>
                </a:cubicBezTo>
                <a:close/>
                <a:moveTo>
                  <a:pt x="345" y="744"/>
                </a:moveTo>
                <a:cubicBezTo>
                  <a:pt x="345" y="743"/>
                  <a:pt x="348" y="743"/>
                  <a:pt x="348" y="744"/>
                </a:cubicBezTo>
                <a:cubicBezTo>
                  <a:pt x="349" y="745"/>
                  <a:pt x="345" y="744"/>
                  <a:pt x="345" y="744"/>
                </a:cubicBezTo>
                <a:close/>
                <a:moveTo>
                  <a:pt x="345" y="734"/>
                </a:moveTo>
                <a:cubicBezTo>
                  <a:pt x="346" y="733"/>
                  <a:pt x="349" y="733"/>
                  <a:pt x="349" y="735"/>
                </a:cubicBezTo>
                <a:cubicBezTo>
                  <a:pt x="350" y="737"/>
                  <a:pt x="345" y="735"/>
                  <a:pt x="345" y="734"/>
                </a:cubicBezTo>
                <a:close/>
                <a:moveTo>
                  <a:pt x="349" y="764"/>
                </a:moveTo>
                <a:cubicBezTo>
                  <a:pt x="349" y="763"/>
                  <a:pt x="350" y="763"/>
                  <a:pt x="350" y="764"/>
                </a:cubicBezTo>
                <a:cubicBezTo>
                  <a:pt x="351" y="764"/>
                  <a:pt x="349" y="765"/>
                  <a:pt x="349" y="764"/>
                </a:cubicBezTo>
                <a:close/>
                <a:moveTo>
                  <a:pt x="350" y="725"/>
                </a:moveTo>
                <a:cubicBezTo>
                  <a:pt x="350" y="724"/>
                  <a:pt x="353" y="724"/>
                  <a:pt x="354" y="725"/>
                </a:cubicBezTo>
                <a:cubicBezTo>
                  <a:pt x="355" y="727"/>
                  <a:pt x="350" y="727"/>
                  <a:pt x="350" y="725"/>
                </a:cubicBezTo>
                <a:close/>
                <a:moveTo>
                  <a:pt x="353" y="770"/>
                </a:moveTo>
                <a:cubicBezTo>
                  <a:pt x="353" y="769"/>
                  <a:pt x="358" y="767"/>
                  <a:pt x="359" y="769"/>
                </a:cubicBezTo>
                <a:cubicBezTo>
                  <a:pt x="359" y="772"/>
                  <a:pt x="354" y="771"/>
                  <a:pt x="353" y="770"/>
                </a:cubicBezTo>
                <a:close/>
                <a:moveTo>
                  <a:pt x="359" y="772"/>
                </a:moveTo>
                <a:cubicBezTo>
                  <a:pt x="359" y="772"/>
                  <a:pt x="359" y="771"/>
                  <a:pt x="360" y="771"/>
                </a:cubicBezTo>
                <a:cubicBezTo>
                  <a:pt x="360" y="771"/>
                  <a:pt x="359" y="772"/>
                  <a:pt x="359" y="772"/>
                </a:cubicBezTo>
                <a:close/>
                <a:moveTo>
                  <a:pt x="360" y="723"/>
                </a:moveTo>
                <a:cubicBezTo>
                  <a:pt x="360" y="723"/>
                  <a:pt x="360" y="723"/>
                  <a:pt x="360" y="723"/>
                </a:cubicBezTo>
                <a:cubicBezTo>
                  <a:pt x="360" y="723"/>
                  <a:pt x="359" y="722"/>
                  <a:pt x="360" y="723"/>
                </a:cubicBezTo>
                <a:close/>
                <a:moveTo>
                  <a:pt x="361" y="721"/>
                </a:moveTo>
                <a:cubicBezTo>
                  <a:pt x="363" y="719"/>
                  <a:pt x="365" y="722"/>
                  <a:pt x="361" y="721"/>
                </a:cubicBezTo>
                <a:close/>
                <a:moveTo>
                  <a:pt x="356" y="717"/>
                </a:moveTo>
                <a:cubicBezTo>
                  <a:pt x="358" y="718"/>
                  <a:pt x="362" y="717"/>
                  <a:pt x="364" y="719"/>
                </a:cubicBezTo>
                <a:cubicBezTo>
                  <a:pt x="367" y="721"/>
                  <a:pt x="356" y="719"/>
                  <a:pt x="356" y="717"/>
                </a:cubicBezTo>
                <a:close/>
                <a:moveTo>
                  <a:pt x="365" y="760"/>
                </a:moveTo>
                <a:cubicBezTo>
                  <a:pt x="364" y="760"/>
                  <a:pt x="365" y="759"/>
                  <a:pt x="366" y="760"/>
                </a:cubicBezTo>
                <a:cubicBezTo>
                  <a:pt x="366" y="760"/>
                  <a:pt x="365" y="760"/>
                  <a:pt x="365" y="760"/>
                </a:cubicBezTo>
                <a:close/>
                <a:moveTo>
                  <a:pt x="368" y="740"/>
                </a:moveTo>
                <a:cubicBezTo>
                  <a:pt x="368" y="740"/>
                  <a:pt x="369" y="739"/>
                  <a:pt x="369" y="740"/>
                </a:cubicBezTo>
                <a:cubicBezTo>
                  <a:pt x="370" y="741"/>
                  <a:pt x="368" y="741"/>
                  <a:pt x="368" y="740"/>
                </a:cubicBezTo>
                <a:close/>
                <a:moveTo>
                  <a:pt x="364" y="737"/>
                </a:moveTo>
                <a:cubicBezTo>
                  <a:pt x="364" y="735"/>
                  <a:pt x="369" y="735"/>
                  <a:pt x="369" y="737"/>
                </a:cubicBezTo>
                <a:cubicBezTo>
                  <a:pt x="371" y="739"/>
                  <a:pt x="364" y="738"/>
                  <a:pt x="364" y="737"/>
                </a:cubicBezTo>
                <a:close/>
                <a:moveTo>
                  <a:pt x="370" y="740"/>
                </a:moveTo>
                <a:cubicBezTo>
                  <a:pt x="370" y="739"/>
                  <a:pt x="372" y="739"/>
                  <a:pt x="373" y="740"/>
                </a:cubicBezTo>
                <a:cubicBezTo>
                  <a:pt x="374" y="741"/>
                  <a:pt x="370" y="741"/>
                  <a:pt x="370" y="740"/>
                </a:cubicBezTo>
                <a:close/>
                <a:moveTo>
                  <a:pt x="371" y="748"/>
                </a:moveTo>
                <a:cubicBezTo>
                  <a:pt x="371" y="748"/>
                  <a:pt x="372" y="747"/>
                  <a:pt x="373" y="748"/>
                </a:cubicBezTo>
                <a:cubicBezTo>
                  <a:pt x="374" y="750"/>
                  <a:pt x="371" y="749"/>
                  <a:pt x="371" y="748"/>
                </a:cubicBezTo>
                <a:close/>
                <a:moveTo>
                  <a:pt x="373" y="754"/>
                </a:moveTo>
                <a:cubicBezTo>
                  <a:pt x="373" y="753"/>
                  <a:pt x="375" y="755"/>
                  <a:pt x="373" y="754"/>
                </a:cubicBezTo>
                <a:close/>
                <a:moveTo>
                  <a:pt x="375" y="726"/>
                </a:moveTo>
                <a:cubicBezTo>
                  <a:pt x="376" y="725"/>
                  <a:pt x="376" y="728"/>
                  <a:pt x="375" y="726"/>
                </a:cubicBezTo>
                <a:close/>
                <a:moveTo>
                  <a:pt x="375" y="708"/>
                </a:moveTo>
                <a:cubicBezTo>
                  <a:pt x="378" y="708"/>
                  <a:pt x="375" y="710"/>
                  <a:pt x="375" y="708"/>
                </a:cubicBezTo>
                <a:close/>
                <a:moveTo>
                  <a:pt x="376" y="704"/>
                </a:moveTo>
                <a:cubicBezTo>
                  <a:pt x="377" y="703"/>
                  <a:pt x="380" y="704"/>
                  <a:pt x="380" y="706"/>
                </a:cubicBezTo>
                <a:cubicBezTo>
                  <a:pt x="381" y="709"/>
                  <a:pt x="375" y="706"/>
                  <a:pt x="376" y="704"/>
                </a:cubicBezTo>
                <a:close/>
                <a:moveTo>
                  <a:pt x="380" y="746"/>
                </a:moveTo>
                <a:cubicBezTo>
                  <a:pt x="380" y="747"/>
                  <a:pt x="378" y="746"/>
                  <a:pt x="379" y="746"/>
                </a:cubicBezTo>
                <a:cubicBezTo>
                  <a:pt x="380" y="745"/>
                  <a:pt x="380" y="746"/>
                  <a:pt x="380" y="746"/>
                </a:cubicBezTo>
                <a:close/>
                <a:moveTo>
                  <a:pt x="378" y="716"/>
                </a:moveTo>
                <a:cubicBezTo>
                  <a:pt x="378" y="716"/>
                  <a:pt x="378" y="715"/>
                  <a:pt x="379" y="715"/>
                </a:cubicBezTo>
                <a:cubicBezTo>
                  <a:pt x="382" y="714"/>
                  <a:pt x="380" y="718"/>
                  <a:pt x="378" y="716"/>
                </a:cubicBezTo>
                <a:close/>
                <a:moveTo>
                  <a:pt x="380" y="749"/>
                </a:moveTo>
                <a:cubicBezTo>
                  <a:pt x="380" y="749"/>
                  <a:pt x="381" y="748"/>
                  <a:pt x="382" y="748"/>
                </a:cubicBezTo>
                <a:cubicBezTo>
                  <a:pt x="383" y="749"/>
                  <a:pt x="380" y="750"/>
                  <a:pt x="380" y="749"/>
                </a:cubicBezTo>
                <a:close/>
                <a:moveTo>
                  <a:pt x="381" y="734"/>
                </a:moveTo>
                <a:cubicBezTo>
                  <a:pt x="382" y="734"/>
                  <a:pt x="383" y="734"/>
                  <a:pt x="383" y="735"/>
                </a:cubicBezTo>
                <a:cubicBezTo>
                  <a:pt x="384" y="738"/>
                  <a:pt x="378" y="736"/>
                  <a:pt x="381" y="734"/>
                </a:cubicBezTo>
                <a:close/>
                <a:moveTo>
                  <a:pt x="384" y="754"/>
                </a:moveTo>
                <a:cubicBezTo>
                  <a:pt x="384" y="754"/>
                  <a:pt x="384" y="754"/>
                  <a:pt x="385" y="754"/>
                </a:cubicBezTo>
                <a:cubicBezTo>
                  <a:pt x="385" y="755"/>
                  <a:pt x="384" y="755"/>
                  <a:pt x="384" y="754"/>
                </a:cubicBezTo>
                <a:close/>
                <a:moveTo>
                  <a:pt x="386" y="712"/>
                </a:moveTo>
                <a:cubicBezTo>
                  <a:pt x="386" y="712"/>
                  <a:pt x="386" y="712"/>
                  <a:pt x="386" y="712"/>
                </a:cubicBezTo>
                <a:cubicBezTo>
                  <a:pt x="388" y="712"/>
                  <a:pt x="387" y="713"/>
                  <a:pt x="386" y="712"/>
                </a:cubicBezTo>
                <a:close/>
                <a:moveTo>
                  <a:pt x="387" y="722"/>
                </a:moveTo>
                <a:cubicBezTo>
                  <a:pt x="387" y="722"/>
                  <a:pt x="390" y="721"/>
                  <a:pt x="390" y="723"/>
                </a:cubicBezTo>
                <a:cubicBezTo>
                  <a:pt x="390" y="724"/>
                  <a:pt x="388" y="723"/>
                  <a:pt x="387" y="722"/>
                </a:cubicBezTo>
                <a:close/>
                <a:moveTo>
                  <a:pt x="389" y="709"/>
                </a:moveTo>
                <a:cubicBezTo>
                  <a:pt x="387" y="709"/>
                  <a:pt x="387" y="707"/>
                  <a:pt x="389" y="709"/>
                </a:cubicBezTo>
                <a:close/>
                <a:moveTo>
                  <a:pt x="391" y="719"/>
                </a:moveTo>
                <a:cubicBezTo>
                  <a:pt x="391" y="719"/>
                  <a:pt x="391" y="720"/>
                  <a:pt x="391" y="720"/>
                </a:cubicBezTo>
                <a:cubicBezTo>
                  <a:pt x="390" y="720"/>
                  <a:pt x="391" y="719"/>
                  <a:pt x="391" y="719"/>
                </a:cubicBezTo>
                <a:close/>
                <a:moveTo>
                  <a:pt x="391" y="736"/>
                </a:moveTo>
                <a:cubicBezTo>
                  <a:pt x="389" y="735"/>
                  <a:pt x="393" y="737"/>
                  <a:pt x="391" y="736"/>
                </a:cubicBezTo>
                <a:close/>
                <a:moveTo>
                  <a:pt x="390" y="565"/>
                </a:moveTo>
                <a:cubicBezTo>
                  <a:pt x="391" y="567"/>
                  <a:pt x="389" y="563"/>
                  <a:pt x="390" y="565"/>
                </a:cubicBezTo>
                <a:close/>
                <a:moveTo>
                  <a:pt x="390" y="396"/>
                </a:moveTo>
                <a:cubicBezTo>
                  <a:pt x="389" y="395"/>
                  <a:pt x="391" y="397"/>
                  <a:pt x="390" y="396"/>
                </a:cubicBezTo>
                <a:close/>
                <a:moveTo>
                  <a:pt x="398" y="675"/>
                </a:moveTo>
                <a:cubicBezTo>
                  <a:pt x="398" y="675"/>
                  <a:pt x="397" y="676"/>
                  <a:pt x="397" y="677"/>
                </a:cubicBezTo>
                <a:cubicBezTo>
                  <a:pt x="397" y="679"/>
                  <a:pt x="403" y="680"/>
                  <a:pt x="405" y="682"/>
                </a:cubicBezTo>
                <a:cubicBezTo>
                  <a:pt x="408" y="684"/>
                  <a:pt x="411" y="686"/>
                  <a:pt x="413" y="688"/>
                </a:cubicBezTo>
                <a:cubicBezTo>
                  <a:pt x="407" y="687"/>
                  <a:pt x="401" y="679"/>
                  <a:pt x="396" y="677"/>
                </a:cubicBezTo>
                <a:cubicBezTo>
                  <a:pt x="392" y="676"/>
                  <a:pt x="389" y="677"/>
                  <a:pt x="390" y="671"/>
                </a:cubicBezTo>
                <a:cubicBezTo>
                  <a:pt x="392" y="673"/>
                  <a:pt x="397" y="671"/>
                  <a:pt x="398" y="675"/>
                </a:cubicBezTo>
                <a:close/>
                <a:moveTo>
                  <a:pt x="391" y="523"/>
                </a:moveTo>
                <a:cubicBezTo>
                  <a:pt x="392" y="523"/>
                  <a:pt x="392" y="524"/>
                  <a:pt x="393" y="525"/>
                </a:cubicBezTo>
                <a:cubicBezTo>
                  <a:pt x="392" y="525"/>
                  <a:pt x="391" y="523"/>
                  <a:pt x="391" y="523"/>
                </a:cubicBezTo>
                <a:close/>
                <a:moveTo>
                  <a:pt x="402" y="645"/>
                </a:moveTo>
                <a:cubicBezTo>
                  <a:pt x="402" y="646"/>
                  <a:pt x="397" y="644"/>
                  <a:pt x="398" y="644"/>
                </a:cubicBezTo>
                <a:cubicBezTo>
                  <a:pt x="399" y="643"/>
                  <a:pt x="401" y="645"/>
                  <a:pt x="402" y="645"/>
                </a:cubicBezTo>
                <a:close/>
                <a:moveTo>
                  <a:pt x="401" y="387"/>
                </a:moveTo>
                <a:cubicBezTo>
                  <a:pt x="402" y="388"/>
                  <a:pt x="400" y="385"/>
                  <a:pt x="401" y="387"/>
                </a:cubicBezTo>
                <a:close/>
                <a:moveTo>
                  <a:pt x="408" y="130"/>
                </a:moveTo>
                <a:cubicBezTo>
                  <a:pt x="407" y="131"/>
                  <a:pt x="406" y="130"/>
                  <a:pt x="406" y="129"/>
                </a:cubicBezTo>
                <a:cubicBezTo>
                  <a:pt x="407" y="129"/>
                  <a:pt x="407" y="130"/>
                  <a:pt x="408" y="130"/>
                </a:cubicBezTo>
                <a:close/>
                <a:moveTo>
                  <a:pt x="406" y="94"/>
                </a:moveTo>
                <a:cubicBezTo>
                  <a:pt x="407" y="94"/>
                  <a:pt x="407" y="94"/>
                  <a:pt x="408" y="95"/>
                </a:cubicBezTo>
                <a:cubicBezTo>
                  <a:pt x="407" y="95"/>
                  <a:pt x="406" y="95"/>
                  <a:pt x="406" y="94"/>
                </a:cubicBezTo>
                <a:close/>
                <a:moveTo>
                  <a:pt x="412" y="602"/>
                </a:moveTo>
                <a:cubicBezTo>
                  <a:pt x="413" y="605"/>
                  <a:pt x="408" y="603"/>
                  <a:pt x="407" y="602"/>
                </a:cubicBezTo>
                <a:cubicBezTo>
                  <a:pt x="407" y="599"/>
                  <a:pt x="412" y="600"/>
                  <a:pt x="412" y="602"/>
                </a:cubicBezTo>
                <a:close/>
                <a:moveTo>
                  <a:pt x="409" y="131"/>
                </a:moveTo>
                <a:cubicBezTo>
                  <a:pt x="409" y="132"/>
                  <a:pt x="408" y="130"/>
                  <a:pt x="409" y="131"/>
                </a:cubicBezTo>
                <a:close/>
                <a:moveTo>
                  <a:pt x="421" y="663"/>
                </a:moveTo>
                <a:cubicBezTo>
                  <a:pt x="423" y="664"/>
                  <a:pt x="437" y="669"/>
                  <a:pt x="438" y="671"/>
                </a:cubicBezTo>
                <a:cubicBezTo>
                  <a:pt x="438" y="673"/>
                  <a:pt x="434" y="671"/>
                  <a:pt x="433" y="670"/>
                </a:cubicBezTo>
                <a:cubicBezTo>
                  <a:pt x="431" y="669"/>
                  <a:pt x="417" y="663"/>
                  <a:pt x="417" y="661"/>
                </a:cubicBezTo>
                <a:cubicBezTo>
                  <a:pt x="416" y="659"/>
                  <a:pt x="421" y="663"/>
                  <a:pt x="421" y="663"/>
                </a:cubicBezTo>
                <a:close/>
                <a:moveTo>
                  <a:pt x="420" y="624"/>
                </a:moveTo>
                <a:cubicBezTo>
                  <a:pt x="420" y="623"/>
                  <a:pt x="421" y="624"/>
                  <a:pt x="421" y="625"/>
                </a:cubicBezTo>
                <a:cubicBezTo>
                  <a:pt x="421" y="626"/>
                  <a:pt x="419" y="624"/>
                  <a:pt x="420" y="624"/>
                </a:cubicBezTo>
                <a:close/>
                <a:moveTo>
                  <a:pt x="422" y="659"/>
                </a:moveTo>
                <a:cubicBezTo>
                  <a:pt x="422" y="659"/>
                  <a:pt x="423" y="659"/>
                  <a:pt x="423" y="659"/>
                </a:cubicBezTo>
                <a:cubicBezTo>
                  <a:pt x="423" y="661"/>
                  <a:pt x="421" y="659"/>
                  <a:pt x="422" y="659"/>
                </a:cubicBezTo>
                <a:close/>
                <a:moveTo>
                  <a:pt x="435" y="515"/>
                </a:moveTo>
                <a:cubicBezTo>
                  <a:pt x="435" y="516"/>
                  <a:pt x="435" y="517"/>
                  <a:pt x="436" y="518"/>
                </a:cubicBezTo>
                <a:cubicBezTo>
                  <a:pt x="437" y="521"/>
                  <a:pt x="441" y="526"/>
                  <a:pt x="445" y="530"/>
                </a:cubicBezTo>
                <a:cubicBezTo>
                  <a:pt x="448" y="533"/>
                  <a:pt x="451" y="534"/>
                  <a:pt x="453" y="537"/>
                </a:cubicBezTo>
                <a:cubicBezTo>
                  <a:pt x="453" y="537"/>
                  <a:pt x="453" y="538"/>
                  <a:pt x="453" y="539"/>
                </a:cubicBezTo>
                <a:cubicBezTo>
                  <a:pt x="452" y="539"/>
                  <a:pt x="447" y="534"/>
                  <a:pt x="446" y="532"/>
                </a:cubicBezTo>
                <a:cubicBezTo>
                  <a:pt x="444" y="530"/>
                  <a:pt x="442" y="528"/>
                  <a:pt x="440" y="526"/>
                </a:cubicBezTo>
                <a:cubicBezTo>
                  <a:pt x="438" y="524"/>
                  <a:pt x="437" y="519"/>
                  <a:pt x="434" y="518"/>
                </a:cubicBezTo>
                <a:cubicBezTo>
                  <a:pt x="434" y="518"/>
                  <a:pt x="432" y="519"/>
                  <a:pt x="431" y="519"/>
                </a:cubicBezTo>
                <a:cubicBezTo>
                  <a:pt x="427" y="517"/>
                  <a:pt x="431" y="510"/>
                  <a:pt x="435" y="515"/>
                </a:cubicBezTo>
                <a:close/>
                <a:moveTo>
                  <a:pt x="434" y="370"/>
                </a:moveTo>
                <a:cubicBezTo>
                  <a:pt x="435" y="370"/>
                  <a:pt x="436" y="372"/>
                  <a:pt x="436" y="373"/>
                </a:cubicBezTo>
                <a:cubicBezTo>
                  <a:pt x="435" y="373"/>
                  <a:pt x="435" y="371"/>
                  <a:pt x="434" y="370"/>
                </a:cubicBezTo>
                <a:close/>
                <a:moveTo>
                  <a:pt x="437" y="135"/>
                </a:moveTo>
                <a:cubicBezTo>
                  <a:pt x="437" y="135"/>
                  <a:pt x="438" y="135"/>
                  <a:pt x="438" y="136"/>
                </a:cubicBezTo>
                <a:cubicBezTo>
                  <a:pt x="438" y="136"/>
                  <a:pt x="437" y="136"/>
                  <a:pt x="437" y="135"/>
                </a:cubicBezTo>
                <a:close/>
                <a:moveTo>
                  <a:pt x="448" y="408"/>
                </a:moveTo>
                <a:cubicBezTo>
                  <a:pt x="449" y="411"/>
                  <a:pt x="445" y="407"/>
                  <a:pt x="446" y="406"/>
                </a:cubicBezTo>
                <a:cubicBezTo>
                  <a:pt x="447" y="406"/>
                  <a:pt x="448" y="408"/>
                  <a:pt x="448" y="408"/>
                </a:cubicBezTo>
                <a:close/>
                <a:moveTo>
                  <a:pt x="448" y="167"/>
                </a:moveTo>
                <a:cubicBezTo>
                  <a:pt x="449" y="168"/>
                  <a:pt x="446" y="166"/>
                  <a:pt x="448" y="167"/>
                </a:cubicBezTo>
                <a:close/>
                <a:moveTo>
                  <a:pt x="447" y="435"/>
                </a:moveTo>
                <a:cubicBezTo>
                  <a:pt x="448" y="435"/>
                  <a:pt x="449" y="436"/>
                  <a:pt x="449" y="438"/>
                </a:cubicBezTo>
                <a:cubicBezTo>
                  <a:pt x="449" y="439"/>
                  <a:pt x="448" y="440"/>
                  <a:pt x="447" y="440"/>
                </a:cubicBezTo>
                <a:cubicBezTo>
                  <a:pt x="442" y="441"/>
                  <a:pt x="444" y="433"/>
                  <a:pt x="447" y="435"/>
                </a:cubicBezTo>
                <a:close/>
                <a:moveTo>
                  <a:pt x="446" y="515"/>
                </a:moveTo>
                <a:cubicBezTo>
                  <a:pt x="446" y="514"/>
                  <a:pt x="446" y="515"/>
                  <a:pt x="446" y="515"/>
                </a:cubicBezTo>
                <a:close/>
                <a:moveTo>
                  <a:pt x="445" y="441"/>
                </a:moveTo>
                <a:cubicBezTo>
                  <a:pt x="445" y="443"/>
                  <a:pt x="444" y="439"/>
                  <a:pt x="445" y="441"/>
                </a:cubicBezTo>
                <a:close/>
                <a:moveTo>
                  <a:pt x="445" y="494"/>
                </a:moveTo>
                <a:cubicBezTo>
                  <a:pt x="445" y="494"/>
                  <a:pt x="444" y="495"/>
                  <a:pt x="444" y="495"/>
                </a:cubicBezTo>
                <a:cubicBezTo>
                  <a:pt x="443" y="494"/>
                  <a:pt x="444" y="493"/>
                  <a:pt x="445" y="494"/>
                </a:cubicBezTo>
                <a:close/>
                <a:moveTo>
                  <a:pt x="452" y="150"/>
                </a:moveTo>
                <a:cubicBezTo>
                  <a:pt x="452" y="150"/>
                  <a:pt x="452" y="150"/>
                  <a:pt x="452" y="150"/>
                </a:cubicBezTo>
                <a:cubicBezTo>
                  <a:pt x="452" y="150"/>
                  <a:pt x="452" y="150"/>
                  <a:pt x="452" y="150"/>
                </a:cubicBezTo>
                <a:cubicBezTo>
                  <a:pt x="452" y="150"/>
                  <a:pt x="452" y="150"/>
                  <a:pt x="452" y="150"/>
                </a:cubicBezTo>
                <a:close/>
                <a:moveTo>
                  <a:pt x="456" y="548"/>
                </a:moveTo>
                <a:cubicBezTo>
                  <a:pt x="455" y="548"/>
                  <a:pt x="454" y="546"/>
                  <a:pt x="454" y="546"/>
                </a:cubicBezTo>
                <a:cubicBezTo>
                  <a:pt x="455" y="546"/>
                  <a:pt x="455" y="547"/>
                  <a:pt x="456" y="548"/>
                </a:cubicBezTo>
                <a:close/>
                <a:moveTo>
                  <a:pt x="454" y="436"/>
                </a:moveTo>
                <a:cubicBezTo>
                  <a:pt x="454" y="436"/>
                  <a:pt x="454" y="436"/>
                  <a:pt x="454" y="436"/>
                </a:cubicBezTo>
                <a:cubicBezTo>
                  <a:pt x="455" y="437"/>
                  <a:pt x="454" y="436"/>
                  <a:pt x="454" y="436"/>
                </a:cubicBezTo>
                <a:close/>
                <a:moveTo>
                  <a:pt x="459" y="622"/>
                </a:moveTo>
                <a:cubicBezTo>
                  <a:pt x="459" y="623"/>
                  <a:pt x="459" y="624"/>
                  <a:pt x="457" y="623"/>
                </a:cubicBezTo>
                <a:cubicBezTo>
                  <a:pt x="455" y="622"/>
                  <a:pt x="448" y="615"/>
                  <a:pt x="448" y="614"/>
                </a:cubicBezTo>
                <a:cubicBezTo>
                  <a:pt x="450" y="613"/>
                  <a:pt x="451" y="617"/>
                  <a:pt x="452" y="617"/>
                </a:cubicBezTo>
                <a:cubicBezTo>
                  <a:pt x="454" y="619"/>
                  <a:pt x="459" y="619"/>
                  <a:pt x="459" y="622"/>
                </a:cubicBezTo>
                <a:close/>
                <a:moveTo>
                  <a:pt x="458" y="565"/>
                </a:moveTo>
                <a:cubicBezTo>
                  <a:pt x="456" y="564"/>
                  <a:pt x="457" y="563"/>
                  <a:pt x="458" y="565"/>
                </a:cubicBezTo>
                <a:close/>
                <a:moveTo>
                  <a:pt x="459" y="565"/>
                </a:moveTo>
                <a:cubicBezTo>
                  <a:pt x="460" y="565"/>
                  <a:pt x="458" y="567"/>
                  <a:pt x="459" y="565"/>
                </a:cubicBezTo>
                <a:close/>
                <a:moveTo>
                  <a:pt x="459" y="642"/>
                </a:moveTo>
                <a:cubicBezTo>
                  <a:pt x="459" y="642"/>
                  <a:pt x="458" y="641"/>
                  <a:pt x="458" y="641"/>
                </a:cubicBezTo>
                <a:cubicBezTo>
                  <a:pt x="458" y="640"/>
                  <a:pt x="459" y="641"/>
                  <a:pt x="459" y="642"/>
                </a:cubicBezTo>
                <a:close/>
                <a:moveTo>
                  <a:pt x="454" y="648"/>
                </a:moveTo>
                <a:cubicBezTo>
                  <a:pt x="455" y="648"/>
                  <a:pt x="457" y="649"/>
                  <a:pt x="457" y="649"/>
                </a:cubicBezTo>
                <a:cubicBezTo>
                  <a:pt x="458" y="652"/>
                  <a:pt x="453" y="650"/>
                  <a:pt x="454" y="648"/>
                </a:cubicBezTo>
                <a:close/>
                <a:moveTo>
                  <a:pt x="454" y="659"/>
                </a:moveTo>
                <a:cubicBezTo>
                  <a:pt x="454" y="659"/>
                  <a:pt x="455" y="658"/>
                  <a:pt x="456" y="659"/>
                </a:cubicBezTo>
                <a:cubicBezTo>
                  <a:pt x="457" y="659"/>
                  <a:pt x="455" y="660"/>
                  <a:pt x="454" y="659"/>
                </a:cubicBezTo>
                <a:close/>
                <a:moveTo>
                  <a:pt x="452" y="632"/>
                </a:moveTo>
                <a:cubicBezTo>
                  <a:pt x="452" y="632"/>
                  <a:pt x="453" y="632"/>
                  <a:pt x="453" y="633"/>
                </a:cubicBezTo>
                <a:cubicBezTo>
                  <a:pt x="454" y="635"/>
                  <a:pt x="450" y="634"/>
                  <a:pt x="452" y="632"/>
                </a:cubicBezTo>
                <a:close/>
                <a:moveTo>
                  <a:pt x="449" y="622"/>
                </a:moveTo>
                <a:cubicBezTo>
                  <a:pt x="449" y="622"/>
                  <a:pt x="450" y="622"/>
                  <a:pt x="450" y="623"/>
                </a:cubicBezTo>
                <a:cubicBezTo>
                  <a:pt x="451" y="624"/>
                  <a:pt x="449" y="623"/>
                  <a:pt x="449" y="622"/>
                </a:cubicBezTo>
                <a:close/>
                <a:moveTo>
                  <a:pt x="446" y="640"/>
                </a:moveTo>
                <a:cubicBezTo>
                  <a:pt x="446" y="640"/>
                  <a:pt x="444" y="639"/>
                  <a:pt x="444" y="639"/>
                </a:cubicBezTo>
                <a:cubicBezTo>
                  <a:pt x="445" y="639"/>
                  <a:pt x="446" y="640"/>
                  <a:pt x="446" y="640"/>
                </a:cubicBezTo>
                <a:close/>
                <a:moveTo>
                  <a:pt x="445" y="602"/>
                </a:moveTo>
                <a:cubicBezTo>
                  <a:pt x="447" y="601"/>
                  <a:pt x="447" y="603"/>
                  <a:pt x="445" y="602"/>
                </a:cubicBezTo>
                <a:close/>
                <a:moveTo>
                  <a:pt x="444" y="571"/>
                </a:moveTo>
                <a:cubicBezTo>
                  <a:pt x="446" y="569"/>
                  <a:pt x="449" y="573"/>
                  <a:pt x="449" y="574"/>
                </a:cubicBezTo>
                <a:cubicBezTo>
                  <a:pt x="449" y="579"/>
                  <a:pt x="441" y="574"/>
                  <a:pt x="444" y="571"/>
                </a:cubicBezTo>
                <a:close/>
                <a:moveTo>
                  <a:pt x="429" y="648"/>
                </a:moveTo>
                <a:cubicBezTo>
                  <a:pt x="432" y="648"/>
                  <a:pt x="434" y="647"/>
                  <a:pt x="436" y="649"/>
                </a:cubicBezTo>
                <a:cubicBezTo>
                  <a:pt x="437" y="650"/>
                  <a:pt x="437" y="652"/>
                  <a:pt x="437" y="652"/>
                </a:cubicBezTo>
                <a:cubicBezTo>
                  <a:pt x="438" y="654"/>
                  <a:pt x="441" y="652"/>
                  <a:pt x="442" y="654"/>
                </a:cubicBezTo>
                <a:cubicBezTo>
                  <a:pt x="443" y="657"/>
                  <a:pt x="439" y="658"/>
                  <a:pt x="439" y="658"/>
                </a:cubicBezTo>
                <a:cubicBezTo>
                  <a:pt x="436" y="659"/>
                  <a:pt x="435" y="653"/>
                  <a:pt x="431" y="654"/>
                </a:cubicBezTo>
                <a:cubicBezTo>
                  <a:pt x="430" y="654"/>
                  <a:pt x="429" y="655"/>
                  <a:pt x="428" y="654"/>
                </a:cubicBezTo>
                <a:cubicBezTo>
                  <a:pt x="432" y="653"/>
                  <a:pt x="424" y="648"/>
                  <a:pt x="429" y="648"/>
                </a:cubicBezTo>
                <a:close/>
                <a:moveTo>
                  <a:pt x="428" y="646"/>
                </a:moveTo>
                <a:cubicBezTo>
                  <a:pt x="428" y="646"/>
                  <a:pt x="428" y="646"/>
                  <a:pt x="428" y="646"/>
                </a:cubicBezTo>
                <a:cubicBezTo>
                  <a:pt x="430" y="647"/>
                  <a:pt x="426" y="646"/>
                  <a:pt x="428" y="646"/>
                </a:cubicBezTo>
                <a:close/>
                <a:moveTo>
                  <a:pt x="426" y="638"/>
                </a:moveTo>
                <a:cubicBezTo>
                  <a:pt x="427" y="637"/>
                  <a:pt x="427" y="638"/>
                  <a:pt x="427" y="638"/>
                </a:cubicBezTo>
                <a:cubicBezTo>
                  <a:pt x="428" y="639"/>
                  <a:pt x="426" y="639"/>
                  <a:pt x="426" y="638"/>
                </a:cubicBezTo>
                <a:close/>
                <a:moveTo>
                  <a:pt x="429" y="628"/>
                </a:moveTo>
                <a:cubicBezTo>
                  <a:pt x="429" y="627"/>
                  <a:pt x="431" y="628"/>
                  <a:pt x="432" y="627"/>
                </a:cubicBezTo>
                <a:cubicBezTo>
                  <a:pt x="433" y="625"/>
                  <a:pt x="437" y="628"/>
                  <a:pt x="437" y="630"/>
                </a:cubicBezTo>
                <a:cubicBezTo>
                  <a:pt x="437" y="634"/>
                  <a:pt x="435" y="632"/>
                  <a:pt x="433" y="633"/>
                </a:cubicBezTo>
                <a:cubicBezTo>
                  <a:pt x="434" y="633"/>
                  <a:pt x="432" y="634"/>
                  <a:pt x="432" y="634"/>
                </a:cubicBezTo>
                <a:cubicBezTo>
                  <a:pt x="430" y="633"/>
                  <a:pt x="428" y="630"/>
                  <a:pt x="429" y="628"/>
                </a:cubicBezTo>
                <a:close/>
                <a:moveTo>
                  <a:pt x="429" y="579"/>
                </a:moveTo>
                <a:cubicBezTo>
                  <a:pt x="430" y="579"/>
                  <a:pt x="429" y="581"/>
                  <a:pt x="429" y="580"/>
                </a:cubicBezTo>
                <a:cubicBezTo>
                  <a:pt x="429" y="580"/>
                  <a:pt x="429" y="579"/>
                  <a:pt x="429" y="579"/>
                </a:cubicBezTo>
                <a:close/>
                <a:moveTo>
                  <a:pt x="430" y="612"/>
                </a:moveTo>
                <a:cubicBezTo>
                  <a:pt x="431" y="612"/>
                  <a:pt x="431" y="613"/>
                  <a:pt x="432" y="613"/>
                </a:cubicBezTo>
                <a:cubicBezTo>
                  <a:pt x="431" y="614"/>
                  <a:pt x="430" y="613"/>
                  <a:pt x="430" y="612"/>
                </a:cubicBezTo>
                <a:close/>
                <a:moveTo>
                  <a:pt x="433" y="549"/>
                </a:moveTo>
                <a:cubicBezTo>
                  <a:pt x="434" y="549"/>
                  <a:pt x="434" y="549"/>
                  <a:pt x="434" y="550"/>
                </a:cubicBezTo>
                <a:cubicBezTo>
                  <a:pt x="435" y="551"/>
                  <a:pt x="432" y="549"/>
                  <a:pt x="433" y="549"/>
                </a:cubicBezTo>
                <a:close/>
                <a:moveTo>
                  <a:pt x="443" y="617"/>
                </a:moveTo>
                <a:cubicBezTo>
                  <a:pt x="442" y="618"/>
                  <a:pt x="443" y="618"/>
                  <a:pt x="443" y="618"/>
                </a:cubicBezTo>
                <a:cubicBezTo>
                  <a:pt x="444" y="619"/>
                  <a:pt x="442" y="618"/>
                  <a:pt x="443" y="617"/>
                </a:cubicBezTo>
                <a:close/>
                <a:moveTo>
                  <a:pt x="443" y="632"/>
                </a:moveTo>
                <a:cubicBezTo>
                  <a:pt x="443" y="632"/>
                  <a:pt x="443" y="632"/>
                  <a:pt x="443" y="632"/>
                </a:cubicBezTo>
                <a:cubicBezTo>
                  <a:pt x="442" y="632"/>
                  <a:pt x="443" y="632"/>
                  <a:pt x="443" y="632"/>
                </a:cubicBezTo>
                <a:close/>
                <a:moveTo>
                  <a:pt x="442" y="613"/>
                </a:moveTo>
                <a:cubicBezTo>
                  <a:pt x="442" y="612"/>
                  <a:pt x="443" y="613"/>
                  <a:pt x="443" y="613"/>
                </a:cubicBezTo>
                <a:cubicBezTo>
                  <a:pt x="443" y="615"/>
                  <a:pt x="441" y="613"/>
                  <a:pt x="442" y="613"/>
                </a:cubicBezTo>
                <a:close/>
                <a:moveTo>
                  <a:pt x="443" y="582"/>
                </a:moveTo>
                <a:cubicBezTo>
                  <a:pt x="443" y="583"/>
                  <a:pt x="443" y="583"/>
                  <a:pt x="443" y="583"/>
                </a:cubicBezTo>
                <a:cubicBezTo>
                  <a:pt x="443" y="585"/>
                  <a:pt x="442" y="581"/>
                  <a:pt x="443" y="582"/>
                </a:cubicBezTo>
                <a:close/>
                <a:moveTo>
                  <a:pt x="441" y="554"/>
                </a:moveTo>
                <a:cubicBezTo>
                  <a:pt x="442" y="553"/>
                  <a:pt x="447" y="555"/>
                  <a:pt x="446" y="558"/>
                </a:cubicBezTo>
                <a:cubicBezTo>
                  <a:pt x="445" y="558"/>
                  <a:pt x="440" y="556"/>
                  <a:pt x="441" y="554"/>
                </a:cubicBezTo>
                <a:close/>
                <a:moveTo>
                  <a:pt x="441" y="609"/>
                </a:moveTo>
                <a:cubicBezTo>
                  <a:pt x="442" y="610"/>
                  <a:pt x="440" y="608"/>
                  <a:pt x="441" y="609"/>
                </a:cubicBezTo>
                <a:close/>
                <a:moveTo>
                  <a:pt x="440" y="534"/>
                </a:moveTo>
                <a:cubicBezTo>
                  <a:pt x="441" y="534"/>
                  <a:pt x="441" y="535"/>
                  <a:pt x="441" y="535"/>
                </a:cubicBezTo>
                <a:cubicBezTo>
                  <a:pt x="441" y="536"/>
                  <a:pt x="440" y="535"/>
                  <a:pt x="440" y="534"/>
                </a:cubicBezTo>
                <a:close/>
                <a:moveTo>
                  <a:pt x="442" y="648"/>
                </a:moveTo>
                <a:cubicBezTo>
                  <a:pt x="442" y="651"/>
                  <a:pt x="437" y="649"/>
                  <a:pt x="438" y="646"/>
                </a:cubicBezTo>
                <a:cubicBezTo>
                  <a:pt x="438" y="645"/>
                  <a:pt x="442" y="646"/>
                  <a:pt x="442" y="648"/>
                </a:cubicBezTo>
                <a:close/>
                <a:moveTo>
                  <a:pt x="435" y="615"/>
                </a:moveTo>
                <a:cubicBezTo>
                  <a:pt x="437" y="617"/>
                  <a:pt x="438" y="618"/>
                  <a:pt x="440" y="619"/>
                </a:cubicBezTo>
                <a:cubicBezTo>
                  <a:pt x="439" y="620"/>
                  <a:pt x="436" y="617"/>
                  <a:pt x="435" y="615"/>
                </a:cubicBezTo>
                <a:close/>
                <a:moveTo>
                  <a:pt x="437" y="603"/>
                </a:moveTo>
                <a:cubicBezTo>
                  <a:pt x="436" y="604"/>
                  <a:pt x="436" y="602"/>
                  <a:pt x="437" y="603"/>
                </a:cubicBezTo>
                <a:close/>
                <a:moveTo>
                  <a:pt x="436" y="529"/>
                </a:moveTo>
                <a:cubicBezTo>
                  <a:pt x="438" y="528"/>
                  <a:pt x="438" y="531"/>
                  <a:pt x="439" y="532"/>
                </a:cubicBezTo>
                <a:cubicBezTo>
                  <a:pt x="438" y="531"/>
                  <a:pt x="437" y="529"/>
                  <a:pt x="436" y="529"/>
                </a:cubicBezTo>
                <a:close/>
                <a:moveTo>
                  <a:pt x="435" y="525"/>
                </a:moveTo>
                <a:cubicBezTo>
                  <a:pt x="435" y="526"/>
                  <a:pt x="435" y="527"/>
                  <a:pt x="436" y="527"/>
                </a:cubicBezTo>
                <a:cubicBezTo>
                  <a:pt x="435" y="528"/>
                  <a:pt x="434" y="526"/>
                  <a:pt x="435" y="525"/>
                </a:cubicBezTo>
                <a:close/>
                <a:moveTo>
                  <a:pt x="432" y="638"/>
                </a:moveTo>
                <a:cubicBezTo>
                  <a:pt x="432" y="637"/>
                  <a:pt x="436" y="638"/>
                  <a:pt x="436" y="639"/>
                </a:cubicBezTo>
                <a:cubicBezTo>
                  <a:pt x="437" y="642"/>
                  <a:pt x="432" y="639"/>
                  <a:pt x="432" y="638"/>
                </a:cubicBezTo>
                <a:close/>
                <a:moveTo>
                  <a:pt x="435" y="641"/>
                </a:moveTo>
                <a:cubicBezTo>
                  <a:pt x="435" y="641"/>
                  <a:pt x="436" y="641"/>
                  <a:pt x="436" y="642"/>
                </a:cubicBezTo>
                <a:cubicBezTo>
                  <a:pt x="437" y="643"/>
                  <a:pt x="434" y="643"/>
                  <a:pt x="435" y="641"/>
                </a:cubicBezTo>
                <a:close/>
                <a:moveTo>
                  <a:pt x="444" y="668"/>
                </a:moveTo>
                <a:cubicBezTo>
                  <a:pt x="444" y="669"/>
                  <a:pt x="443" y="670"/>
                  <a:pt x="442" y="668"/>
                </a:cubicBezTo>
                <a:cubicBezTo>
                  <a:pt x="442" y="668"/>
                  <a:pt x="444" y="666"/>
                  <a:pt x="444" y="668"/>
                </a:cubicBezTo>
                <a:close/>
                <a:moveTo>
                  <a:pt x="449" y="565"/>
                </a:moveTo>
                <a:cubicBezTo>
                  <a:pt x="450" y="564"/>
                  <a:pt x="451" y="565"/>
                  <a:pt x="451" y="566"/>
                </a:cubicBezTo>
                <a:cubicBezTo>
                  <a:pt x="453" y="568"/>
                  <a:pt x="448" y="567"/>
                  <a:pt x="449" y="565"/>
                </a:cubicBezTo>
                <a:close/>
                <a:moveTo>
                  <a:pt x="455" y="614"/>
                </a:moveTo>
                <a:cubicBezTo>
                  <a:pt x="456" y="615"/>
                  <a:pt x="454" y="614"/>
                  <a:pt x="454" y="614"/>
                </a:cubicBezTo>
                <a:cubicBezTo>
                  <a:pt x="454" y="613"/>
                  <a:pt x="455" y="613"/>
                  <a:pt x="455" y="614"/>
                </a:cubicBezTo>
                <a:close/>
                <a:moveTo>
                  <a:pt x="452" y="555"/>
                </a:moveTo>
                <a:cubicBezTo>
                  <a:pt x="453" y="554"/>
                  <a:pt x="454" y="555"/>
                  <a:pt x="454" y="556"/>
                </a:cubicBezTo>
                <a:cubicBezTo>
                  <a:pt x="456" y="559"/>
                  <a:pt x="450" y="556"/>
                  <a:pt x="452" y="555"/>
                </a:cubicBezTo>
                <a:close/>
                <a:moveTo>
                  <a:pt x="451" y="548"/>
                </a:moveTo>
                <a:cubicBezTo>
                  <a:pt x="453" y="547"/>
                  <a:pt x="455" y="549"/>
                  <a:pt x="455" y="550"/>
                </a:cubicBezTo>
                <a:cubicBezTo>
                  <a:pt x="455" y="553"/>
                  <a:pt x="450" y="550"/>
                  <a:pt x="451" y="548"/>
                </a:cubicBezTo>
                <a:close/>
                <a:moveTo>
                  <a:pt x="454" y="498"/>
                </a:moveTo>
                <a:cubicBezTo>
                  <a:pt x="454" y="498"/>
                  <a:pt x="454" y="499"/>
                  <a:pt x="454" y="499"/>
                </a:cubicBezTo>
                <a:cubicBezTo>
                  <a:pt x="453" y="499"/>
                  <a:pt x="452" y="496"/>
                  <a:pt x="454" y="498"/>
                </a:cubicBezTo>
                <a:close/>
                <a:moveTo>
                  <a:pt x="454" y="414"/>
                </a:moveTo>
                <a:cubicBezTo>
                  <a:pt x="454" y="416"/>
                  <a:pt x="453" y="412"/>
                  <a:pt x="454" y="414"/>
                </a:cubicBezTo>
                <a:close/>
                <a:moveTo>
                  <a:pt x="452" y="462"/>
                </a:moveTo>
                <a:cubicBezTo>
                  <a:pt x="454" y="463"/>
                  <a:pt x="452" y="464"/>
                  <a:pt x="452" y="462"/>
                </a:cubicBezTo>
                <a:close/>
                <a:moveTo>
                  <a:pt x="453" y="501"/>
                </a:moveTo>
                <a:cubicBezTo>
                  <a:pt x="452" y="500"/>
                  <a:pt x="453" y="502"/>
                  <a:pt x="453" y="501"/>
                </a:cubicBezTo>
                <a:close/>
                <a:moveTo>
                  <a:pt x="429" y="475"/>
                </a:moveTo>
                <a:cubicBezTo>
                  <a:pt x="429" y="474"/>
                  <a:pt x="430" y="475"/>
                  <a:pt x="430" y="476"/>
                </a:cubicBezTo>
                <a:cubicBezTo>
                  <a:pt x="431" y="478"/>
                  <a:pt x="427" y="476"/>
                  <a:pt x="429" y="475"/>
                </a:cubicBezTo>
                <a:close/>
                <a:moveTo>
                  <a:pt x="429" y="611"/>
                </a:moveTo>
                <a:cubicBezTo>
                  <a:pt x="429" y="612"/>
                  <a:pt x="426" y="610"/>
                  <a:pt x="427" y="610"/>
                </a:cubicBezTo>
                <a:cubicBezTo>
                  <a:pt x="427" y="609"/>
                  <a:pt x="428" y="610"/>
                  <a:pt x="429" y="611"/>
                </a:cubicBezTo>
                <a:close/>
                <a:moveTo>
                  <a:pt x="427" y="634"/>
                </a:moveTo>
                <a:cubicBezTo>
                  <a:pt x="428" y="633"/>
                  <a:pt x="429" y="634"/>
                  <a:pt x="429" y="634"/>
                </a:cubicBezTo>
                <a:cubicBezTo>
                  <a:pt x="431" y="637"/>
                  <a:pt x="425" y="636"/>
                  <a:pt x="427" y="634"/>
                </a:cubicBezTo>
                <a:close/>
                <a:moveTo>
                  <a:pt x="425" y="607"/>
                </a:moveTo>
                <a:cubicBezTo>
                  <a:pt x="426" y="606"/>
                  <a:pt x="426" y="607"/>
                  <a:pt x="426" y="607"/>
                </a:cubicBezTo>
                <a:cubicBezTo>
                  <a:pt x="427" y="609"/>
                  <a:pt x="424" y="607"/>
                  <a:pt x="425" y="607"/>
                </a:cubicBezTo>
                <a:close/>
                <a:moveTo>
                  <a:pt x="426" y="620"/>
                </a:moveTo>
                <a:cubicBezTo>
                  <a:pt x="426" y="622"/>
                  <a:pt x="423" y="620"/>
                  <a:pt x="423" y="619"/>
                </a:cubicBezTo>
                <a:cubicBezTo>
                  <a:pt x="423" y="618"/>
                  <a:pt x="426" y="619"/>
                  <a:pt x="426" y="620"/>
                </a:cubicBezTo>
                <a:close/>
                <a:moveTo>
                  <a:pt x="420" y="690"/>
                </a:moveTo>
                <a:cubicBezTo>
                  <a:pt x="420" y="689"/>
                  <a:pt x="411" y="686"/>
                  <a:pt x="416" y="684"/>
                </a:cubicBezTo>
                <a:cubicBezTo>
                  <a:pt x="417" y="683"/>
                  <a:pt x="420" y="684"/>
                  <a:pt x="420" y="685"/>
                </a:cubicBezTo>
                <a:cubicBezTo>
                  <a:pt x="421" y="687"/>
                  <a:pt x="418" y="688"/>
                  <a:pt x="423" y="689"/>
                </a:cubicBezTo>
                <a:cubicBezTo>
                  <a:pt x="421" y="689"/>
                  <a:pt x="420" y="689"/>
                  <a:pt x="420" y="690"/>
                </a:cubicBezTo>
                <a:close/>
                <a:moveTo>
                  <a:pt x="418" y="700"/>
                </a:moveTo>
                <a:cubicBezTo>
                  <a:pt x="417" y="701"/>
                  <a:pt x="418" y="702"/>
                  <a:pt x="417" y="702"/>
                </a:cubicBezTo>
                <a:cubicBezTo>
                  <a:pt x="416" y="703"/>
                  <a:pt x="406" y="701"/>
                  <a:pt x="406" y="698"/>
                </a:cubicBezTo>
                <a:cubicBezTo>
                  <a:pt x="406" y="697"/>
                  <a:pt x="408" y="696"/>
                  <a:pt x="406" y="695"/>
                </a:cubicBezTo>
                <a:cubicBezTo>
                  <a:pt x="405" y="694"/>
                  <a:pt x="416" y="695"/>
                  <a:pt x="419" y="696"/>
                </a:cubicBezTo>
                <a:cubicBezTo>
                  <a:pt x="417" y="696"/>
                  <a:pt x="420" y="699"/>
                  <a:pt x="420" y="699"/>
                </a:cubicBezTo>
                <a:cubicBezTo>
                  <a:pt x="420" y="700"/>
                  <a:pt x="419" y="699"/>
                  <a:pt x="418" y="700"/>
                </a:cubicBezTo>
                <a:close/>
                <a:moveTo>
                  <a:pt x="420" y="714"/>
                </a:moveTo>
                <a:cubicBezTo>
                  <a:pt x="422" y="716"/>
                  <a:pt x="416" y="715"/>
                  <a:pt x="418" y="714"/>
                </a:cubicBezTo>
                <a:cubicBezTo>
                  <a:pt x="418" y="714"/>
                  <a:pt x="419" y="714"/>
                  <a:pt x="420" y="714"/>
                </a:cubicBezTo>
                <a:close/>
                <a:moveTo>
                  <a:pt x="410" y="719"/>
                </a:moveTo>
                <a:cubicBezTo>
                  <a:pt x="410" y="718"/>
                  <a:pt x="411" y="718"/>
                  <a:pt x="411" y="719"/>
                </a:cubicBezTo>
                <a:cubicBezTo>
                  <a:pt x="412" y="720"/>
                  <a:pt x="410" y="719"/>
                  <a:pt x="410" y="719"/>
                </a:cubicBezTo>
                <a:close/>
                <a:moveTo>
                  <a:pt x="403" y="686"/>
                </a:moveTo>
                <a:cubicBezTo>
                  <a:pt x="403" y="685"/>
                  <a:pt x="408" y="686"/>
                  <a:pt x="408" y="687"/>
                </a:cubicBezTo>
                <a:cubicBezTo>
                  <a:pt x="409" y="690"/>
                  <a:pt x="403" y="687"/>
                  <a:pt x="403" y="686"/>
                </a:cubicBezTo>
                <a:close/>
                <a:moveTo>
                  <a:pt x="406" y="697"/>
                </a:moveTo>
                <a:cubicBezTo>
                  <a:pt x="404" y="698"/>
                  <a:pt x="402" y="697"/>
                  <a:pt x="403" y="695"/>
                </a:cubicBezTo>
                <a:cubicBezTo>
                  <a:pt x="404" y="696"/>
                  <a:pt x="405" y="697"/>
                  <a:pt x="406" y="697"/>
                </a:cubicBezTo>
                <a:close/>
                <a:moveTo>
                  <a:pt x="414" y="652"/>
                </a:moveTo>
                <a:cubicBezTo>
                  <a:pt x="415" y="651"/>
                  <a:pt x="417" y="653"/>
                  <a:pt x="417" y="653"/>
                </a:cubicBezTo>
                <a:cubicBezTo>
                  <a:pt x="418" y="656"/>
                  <a:pt x="412" y="653"/>
                  <a:pt x="414" y="652"/>
                </a:cubicBezTo>
                <a:close/>
                <a:moveTo>
                  <a:pt x="418" y="679"/>
                </a:moveTo>
                <a:cubicBezTo>
                  <a:pt x="418" y="679"/>
                  <a:pt x="415" y="680"/>
                  <a:pt x="415" y="678"/>
                </a:cubicBezTo>
                <a:cubicBezTo>
                  <a:pt x="414" y="677"/>
                  <a:pt x="418" y="676"/>
                  <a:pt x="418" y="679"/>
                </a:cubicBezTo>
                <a:close/>
                <a:moveTo>
                  <a:pt x="414" y="669"/>
                </a:moveTo>
                <a:cubicBezTo>
                  <a:pt x="413" y="667"/>
                  <a:pt x="415" y="670"/>
                  <a:pt x="414" y="669"/>
                </a:cubicBezTo>
                <a:close/>
                <a:moveTo>
                  <a:pt x="411" y="641"/>
                </a:moveTo>
                <a:cubicBezTo>
                  <a:pt x="412" y="639"/>
                  <a:pt x="414" y="640"/>
                  <a:pt x="414" y="641"/>
                </a:cubicBezTo>
                <a:cubicBezTo>
                  <a:pt x="415" y="643"/>
                  <a:pt x="411" y="642"/>
                  <a:pt x="411" y="641"/>
                </a:cubicBezTo>
                <a:close/>
                <a:moveTo>
                  <a:pt x="420" y="682"/>
                </a:moveTo>
                <a:cubicBezTo>
                  <a:pt x="419" y="681"/>
                  <a:pt x="420" y="682"/>
                  <a:pt x="421" y="682"/>
                </a:cubicBezTo>
                <a:cubicBezTo>
                  <a:pt x="421" y="683"/>
                  <a:pt x="420" y="683"/>
                  <a:pt x="420" y="682"/>
                </a:cubicBezTo>
                <a:close/>
                <a:moveTo>
                  <a:pt x="422" y="683"/>
                </a:moveTo>
                <a:cubicBezTo>
                  <a:pt x="423" y="683"/>
                  <a:pt x="424" y="684"/>
                  <a:pt x="425" y="684"/>
                </a:cubicBezTo>
                <a:cubicBezTo>
                  <a:pt x="424" y="685"/>
                  <a:pt x="422" y="684"/>
                  <a:pt x="422" y="683"/>
                </a:cubicBezTo>
                <a:close/>
                <a:moveTo>
                  <a:pt x="425" y="673"/>
                </a:moveTo>
                <a:cubicBezTo>
                  <a:pt x="426" y="672"/>
                  <a:pt x="427" y="673"/>
                  <a:pt x="428" y="673"/>
                </a:cubicBezTo>
                <a:cubicBezTo>
                  <a:pt x="429" y="676"/>
                  <a:pt x="424" y="674"/>
                  <a:pt x="425" y="673"/>
                </a:cubicBezTo>
                <a:close/>
                <a:moveTo>
                  <a:pt x="426" y="681"/>
                </a:moveTo>
                <a:cubicBezTo>
                  <a:pt x="427" y="680"/>
                  <a:pt x="427" y="683"/>
                  <a:pt x="426" y="681"/>
                </a:cubicBezTo>
                <a:close/>
                <a:moveTo>
                  <a:pt x="427" y="693"/>
                </a:moveTo>
                <a:cubicBezTo>
                  <a:pt x="427" y="693"/>
                  <a:pt x="427" y="694"/>
                  <a:pt x="427" y="694"/>
                </a:cubicBezTo>
                <a:cubicBezTo>
                  <a:pt x="424" y="696"/>
                  <a:pt x="425" y="691"/>
                  <a:pt x="427" y="693"/>
                </a:cubicBezTo>
                <a:close/>
                <a:moveTo>
                  <a:pt x="426" y="685"/>
                </a:moveTo>
                <a:cubicBezTo>
                  <a:pt x="427" y="686"/>
                  <a:pt x="429" y="686"/>
                  <a:pt x="430" y="687"/>
                </a:cubicBezTo>
                <a:cubicBezTo>
                  <a:pt x="428" y="686"/>
                  <a:pt x="426" y="686"/>
                  <a:pt x="426" y="685"/>
                </a:cubicBezTo>
                <a:close/>
                <a:moveTo>
                  <a:pt x="416" y="649"/>
                </a:moveTo>
                <a:cubicBezTo>
                  <a:pt x="420" y="650"/>
                  <a:pt x="417" y="652"/>
                  <a:pt x="416" y="649"/>
                </a:cubicBezTo>
                <a:close/>
                <a:moveTo>
                  <a:pt x="418" y="563"/>
                </a:moveTo>
                <a:cubicBezTo>
                  <a:pt x="417" y="563"/>
                  <a:pt x="417" y="562"/>
                  <a:pt x="416" y="562"/>
                </a:cubicBezTo>
                <a:cubicBezTo>
                  <a:pt x="417" y="561"/>
                  <a:pt x="418" y="562"/>
                  <a:pt x="418" y="563"/>
                </a:cubicBezTo>
                <a:close/>
                <a:moveTo>
                  <a:pt x="414" y="556"/>
                </a:moveTo>
                <a:cubicBezTo>
                  <a:pt x="415" y="555"/>
                  <a:pt x="417" y="556"/>
                  <a:pt x="417" y="557"/>
                </a:cubicBezTo>
                <a:cubicBezTo>
                  <a:pt x="417" y="558"/>
                  <a:pt x="414" y="557"/>
                  <a:pt x="414" y="556"/>
                </a:cubicBezTo>
                <a:close/>
                <a:moveTo>
                  <a:pt x="415" y="631"/>
                </a:moveTo>
                <a:cubicBezTo>
                  <a:pt x="416" y="633"/>
                  <a:pt x="415" y="635"/>
                  <a:pt x="414" y="635"/>
                </a:cubicBezTo>
                <a:cubicBezTo>
                  <a:pt x="414" y="635"/>
                  <a:pt x="410" y="636"/>
                  <a:pt x="409" y="635"/>
                </a:cubicBezTo>
                <a:cubicBezTo>
                  <a:pt x="408" y="634"/>
                  <a:pt x="411" y="632"/>
                  <a:pt x="410" y="631"/>
                </a:cubicBezTo>
                <a:cubicBezTo>
                  <a:pt x="409" y="631"/>
                  <a:pt x="407" y="632"/>
                  <a:pt x="407" y="631"/>
                </a:cubicBezTo>
                <a:cubicBezTo>
                  <a:pt x="405" y="627"/>
                  <a:pt x="414" y="627"/>
                  <a:pt x="415" y="631"/>
                </a:cubicBezTo>
                <a:close/>
                <a:moveTo>
                  <a:pt x="410" y="640"/>
                </a:moveTo>
                <a:cubicBezTo>
                  <a:pt x="410" y="642"/>
                  <a:pt x="408" y="641"/>
                  <a:pt x="408" y="639"/>
                </a:cubicBezTo>
                <a:cubicBezTo>
                  <a:pt x="408" y="638"/>
                  <a:pt x="411" y="637"/>
                  <a:pt x="410" y="640"/>
                </a:cubicBezTo>
                <a:close/>
                <a:moveTo>
                  <a:pt x="408" y="660"/>
                </a:moveTo>
                <a:cubicBezTo>
                  <a:pt x="407" y="661"/>
                  <a:pt x="407" y="658"/>
                  <a:pt x="408" y="659"/>
                </a:cubicBezTo>
                <a:cubicBezTo>
                  <a:pt x="408" y="660"/>
                  <a:pt x="408" y="660"/>
                  <a:pt x="408" y="660"/>
                </a:cubicBezTo>
                <a:close/>
                <a:moveTo>
                  <a:pt x="407" y="611"/>
                </a:moveTo>
                <a:cubicBezTo>
                  <a:pt x="408" y="611"/>
                  <a:pt x="408" y="611"/>
                  <a:pt x="408" y="611"/>
                </a:cubicBezTo>
                <a:cubicBezTo>
                  <a:pt x="409" y="613"/>
                  <a:pt x="406" y="612"/>
                  <a:pt x="407" y="611"/>
                </a:cubicBezTo>
                <a:close/>
                <a:moveTo>
                  <a:pt x="408" y="568"/>
                </a:moveTo>
                <a:cubicBezTo>
                  <a:pt x="407" y="567"/>
                  <a:pt x="409" y="569"/>
                  <a:pt x="408" y="568"/>
                </a:cubicBezTo>
                <a:close/>
                <a:moveTo>
                  <a:pt x="408" y="164"/>
                </a:moveTo>
                <a:cubicBezTo>
                  <a:pt x="406" y="164"/>
                  <a:pt x="406" y="162"/>
                  <a:pt x="405" y="162"/>
                </a:cubicBezTo>
                <a:cubicBezTo>
                  <a:pt x="406" y="161"/>
                  <a:pt x="407" y="163"/>
                  <a:pt x="408" y="164"/>
                </a:cubicBezTo>
                <a:close/>
                <a:moveTo>
                  <a:pt x="405" y="462"/>
                </a:moveTo>
                <a:cubicBezTo>
                  <a:pt x="407" y="463"/>
                  <a:pt x="405" y="464"/>
                  <a:pt x="405" y="462"/>
                </a:cubicBezTo>
                <a:close/>
                <a:moveTo>
                  <a:pt x="404" y="93"/>
                </a:moveTo>
                <a:cubicBezTo>
                  <a:pt x="405" y="93"/>
                  <a:pt x="405" y="93"/>
                  <a:pt x="406" y="94"/>
                </a:cubicBezTo>
                <a:cubicBezTo>
                  <a:pt x="405" y="94"/>
                  <a:pt x="404" y="94"/>
                  <a:pt x="404" y="93"/>
                </a:cubicBezTo>
                <a:close/>
                <a:moveTo>
                  <a:pt x="404" y="393"/>
                </a:moveTo>
                <a:cubicBezTo>
                  <a:pt x="403" y="393"/>
                  <a:pt x="404" y="392"/>
                  <a:pt x="403" y="391"/>
                </a:cubicBezTo>
                <a:cubicBezTo>
                  <a:pt x="403" y="391"/>
                  <a:pt x="404" y="392"/>
                  <a:pt x="404" y="393"/>
                </a:cubicBezTo>
                <a:close/>
                <a:moveTo>
                  <a:pt x="408" y="622"/>
                </a:moveTo>
                <a:cubicBezTo>
                  <a:pt x="408" y="626"/>
                  <a:pt x="401" y="622"/>
                  <a:pt x="402" y="620"/>
                </a:cubicBezTo>
                <a:cubicBezTo>
                  <a:pt x="403" y="617"/>
                  <a:pt x="408" y="620"/>
                  <a:pt x="408" y="622"/>
                </a:cubicBezTo>
                <a:close/>
                <a:moveTo>
                  <a:pt x="406" y="655"/>
                </a:moveTo>
                <a:cubicBezTo>
                  <a:pt x="407" y="657"/>
                  <a:pt x="403" y="656"/>
                  <a:pt x="403" y="655"/>
                </a:cubicBezTo>
                <a:cubicBezTo>
                  <a:pt x="403" y="654"/>
                  <a:pt x="405" y="655"/>
                  <a:pt x="406" y="655"/>
                </a:cubicBezTo>
                <a:close/>
                <a:moveTo>
                  <a:pt x="403" y="640"/>
                </a:moveTo>
                <a:cubicBezTo>
                  <a:pt x="402" y="641"/>
                  <a:pt x="402" y="639"/>
                  <a:pt x="403" y="639"/>
                </a:cubicBezTo>
                <a:cubicBezTo>
                  <a:pt x="403" y="640"/>
                  <a:pt x="403" y="640"/>
                  <a:pt x="403" y="640"/>
                </a:cubicBezTo>
                <a:close/>
                <a:moveTo>
                  <a:pt x="402" y="649"/>
                </a:moveTo>
                <a:cubicBezTo>
                  <a:pt x="402" y="651"/>
                  <a:pt x="398" y="649"/>
                  <a:pt x="399" y="648"/>
                </a:cubicBezTo>
                <a:cubicBezTo>
                  <a:pt x="400" y="647"/>
                  <a:pt x="402" y="649"/>
                  <a:pt x="402" y="649"/>
                </a:cubicBezTo>
                <a:close/>
                <a:moveTo>
                  <a:pt x="402" y="492"/>
                </a:moveTo>
                <a:cubicBezTo>
                  <a:pt x="403" y="493"/>
                  <a:pt x="401" y="490"/>
                  <a:pt x="402" y="492"/>
                </a:cubicBezTo>
                <a:close/>
                <a:moveTo>
                  <a:pt x="397" y="651"/>
                </a:moveTo>
                <a:cubicBezTo>
                  <a:pt x="397" y="650"/>
                  <a:pt x="398" y="651"/>
                  <a:pt x="398" y="651"/>
                </a:cubicBezTo>
                <a:cubicBezTo>
                  <a:pt x="399" y="652"/>
                  <a:pt x="397" y="651"/>
                  <a:pt x="397" y="651"/>
                </a:cubicBezTo>
                <a:close/>
                <a:moveTo>
                  <a:pt x="396" y="629"/>
                </a:moveTo>
                <a:cubicBezTo>
                  <a:pt x="397" y="628"/>
                  <a:pt x="398" y="630"/>
                  <a:pt x="398" y="630"/>
                </a:cubicBezTo>
                <a:cubicBezTo>
                  <a:pt x="398" y="631"/>
                  <a:pt x="397" y="629"/>
                  <a:pt x="396" y="629"/>
                </a:cubicBezTo>
                <a:close/>
                <a:moveTo>
                  <a:pt x="402" y="683"/>
                </a:moveTo>
                <a:cubicBezTo>
                  <a:pt x="401" y="683"/>
                  <a:pt x="401" y="683"/>
                  <a:pt x="400" y="682"/>
                </a:cubicBezTo>
                <a:cubicBezTo>
                  <a:pt x="400" y="682"/>
                  <a:pt x="402" y="683"/>
                  <a:pt x="402" y="683"/>
                </a:cubicBezTo>
                <a:close/>
                <a:moveTo>
                  <a:pt x="399" y="681"/>
                </a:moveTo>
                <a:cubicBezTo>
                  <a:pt x="400" y="682"/>
                  <a:pt x="397" y="681"/>
                  <a:pt x="399" y="681"/>
                </a:cubicBezTo>
                <a:close/>
                <a:moveTo>
                  <a:pt x="394" y="689"/>
                </a:moveTo>
                <a:cubicBezTo>
                  <a:pt x="394" y="688"/>
                  <a:pt x="396" y="689"/>
                  <a:pt x="396" y="689"/>
                </a:cubicBezTo>
                <a:cubicBezTo>
                  <a:pt x="397" y="690"/>
                  <a:pt x="395" y="689"/>
                  <a:pt x="394" y="689"/>
                </a:cubicBezTo>
                <a:close/>
                <a:moveTo>
                  <a:pt x="393" y="724"/>
                </a:moveTo>
                <a:cubicBezTo>
                  <a:pt x="394" y="724"/>
                  <a:pt x="390" y="723"/>
                  <a:pt x="393" y="724"/>
                </a:cubicBezTo>
                <a:close/>
                <a:moveTo>
                  <a:pt x="391" y="742"/>
                </a:moveTo>
                <a:cubicBezTo>
                  <a:pt x="391" y="740"/>
                  <a:pt x="392" y="742"/>
                  <a:pt x="393" y="742"/>
                </a:cubicBezTo>
                <a:cubicBezTo>
                  <a:pt x="394" y="743"/>
                  <a:pt x="391" y="742"/>
                  <a:pt x="391" y="742"/>
                </a:cubicBezTo>
                <a:close/>
                <a:moveTo>
                  <a:pt x="399" y="697"/>
                </a:moveTo>
                <a:cubicBezTo>
                  <a:pt x="399" y="701"/>
                  <a:pt x="393" y="699"/>
                  <a:pt x="393" y="697"/>
                </a:cubicBezTo>
                <a:cubicBezTo>
                  <a:pt x="393" y="695"/>
                  <a:pt x="399" y="695"/>
                  <a:pt x="399" y="697"/>
                </a:cubicBezTo>
                <a:close/>
                <a:moveTo>
                  <a:pt x="394" y="717"/>
                </a:moveTo>
                <a:cubicBezTo>
                  <a:pt x="394" y="717"/>
                  <a:pt x="394" y="716"/>
                  <a:pt x="394" y="717"/>
                </a:cubicBezTo>
                <a:cubicBezTo>
                  <a:pt x="394" y="717"/>
                  <a:pt x="394" y="717"/>
                  <a:pt x="394" y="717"/>
                </a:cubicBezTo>
                <a:close/>
                <a:moveTo>
                  <a:pt x="394" y="727"/>
                </a:moveTo>
                <a:cubicBezTo>
                  <a:pt x="393" y="727"/>
                  <a:pt x="394" y="726"/>
                  <a:pt x="394" y="726"/>
                </a:cubicBezTo>
                <a:cubicBezTo>
                  <a:pt x="395" y="726"/>
                  <a:pt x="394" y="728"/>
                  <a:pt x="394" y="727"/>
                </a:cubicBezTo>
                <a:close/>
                <a:moveTo>
                  <a:pt x="395" y="745"/>
                </a:moveTo>
                <a:cubicBezTo>
                  <a:pt x="396" y="746"/>
                  <a:pt x="393" y="745"/>
                  <a:pt x="395" y="745"/>
                </a:cubicBezTo>
                <a:close/>
                <a:moveTo>
                  <a:pt x="396" y="726"/>
                </a:moveTo>
                <a:cubicBezTo>
                  <a:pt x="396" y="726"/>
                  <a:pt x="397" y="726"/>
                  <a:pt x="397" y="726"/>
                </a:cubicBezTo>
                <a:cubicBezTo>
                  <a:pt x="397" y="729"/>
                  <a:pt x="395" y="723"/>
                  <a:pt x="396" y="726"/>
                </a:cubicBezTo>
                <a:close/>
                <a:moveTo>
                  <a:pt x="404" y="726"/>
                </a:moveTo>
                <a:cubicBezTo>
                  <a:pt x="404" y="725"/>
                  <a:pt x="405" y="725"/>
                  <a:pt x="405" y="726"/>
                </a:cubicBezTo>
                <a:cubicBezTo>
                  <a:pt x="406" y="727"/>
                  <a:pt x="404" y="726"/>
                  <a:pt x="404" y="726"/>
                </a:cubicBezTo>
                <a:close/>
                <a:moveTo>
                  <a:pt x="399" y="722"/>
                </a:moveTo>
                <a:cubicBezTo>
                  <a:pt x="404" y="727"/>
                  <a:pt x="392" y="723"/>
                  <a:pt x="394" y="719"/>
                </a:cubicBezTo>
                <a:cubicBezTo>
                  <a:pt x="394" y="719"/>
                  <a:pt x="395" y="719"/>
                  <a:pt x="396" y="719"/>
                </a:cubicBezTo>
                <a:cubicBezTo>
                  <a:pt x="396" y="719"/>
                  <a:pt x="396" y="716"/>
                  <a:pt x="396" y="715"/>
                </a:cubicBezTo>
                <a:cubicBezTo>
                  <a:pt x="396" y="715"/>
                  <a:pt x="399" y="714"/>
                  <a:pt x="400" y="714"/>
                </a:cubicBezTo>
                <a:cubicBezTo>
                  <a:pt x="404" y="713"/>
                  <a:pt x="405" y="717"/>
                  <a:pt x="408" y="718"/>
                </a:cubicBezTo>
                <a:cubicBezTo>
                  <a:pt x="406" y="720"/>
                  <a:pt x="403" y="723"/>
                  <a:pt x="399" y="722"/>
                </a:cubicBezTo>
                <a:close/>
                <a:moveTo>
                  <a:pt x="409" y="735"/>
                </a:moveTo>
                <a:cubicBezTo>
                  <a:pt x="408" y="733"/>
                  <a:pt x="410" y="736"/>
                  <a:pt x="409" y="735"/>
                </a:cubicBezTo>
                <a:close/>
                <a:moveTo>
                  <a:pt x="415" y="738"/>
                </a:moveTo>
                <a:cubicBezTo>
                  <a:pt x="415" y="739"/>
                  <a:pt x="413" y="737"/>
                  <a:pt x="415" y="738"/>
                </a:cubicBezTo>
                <a:close/>
                <a:moveTo>
                  <a:pt x="408" y="727"/>
                </a:moveTo>
                <a:cubicBezTo>
                  <a:pt x="408" y="724"/>
                  <a:pt x="415" y="723"/>
                  <a:pt x="415" y="727"/>
                </a:cubicBezTo>
                <a:cubicBezTo>
                  <a:pt x="416" y="731"/>
                  <a:pt x="408" y="729"/>
                  <a:pt x="408" y="727"/>
                </a:cubicBezTo>
                <a:close/>
                <a:moveTo>
                  <a:pt x="417" y="733"/>
                </a:moveTo>
                <a:cubicBezTo>
                  <a:pt x="415" y="733"/>
                  <a:pt x="417" y="731"/>
                  <a:pt x="417" y="733"/>
                </a:cubicBezTo>
                <a:close/>
                <a:moveTo>
                  <a:pt x="419" y="726"/>
                </a:moveTo>
                <a:cubicBezTo>
                  <a:pt x="419" y="727"/>
                  <a:pt x="419" y="727"/>
                  <a:pt x="418" y="727"/>
                </a:cubicBezTo>
                <a:cubicBezTo>
                  <a:pt x="418" y="727"/>
                  <a:pt x="418" y="726"/>
                  <a:pt x="418" y="726"/>
                </a:cubicBezTo>
                <a:cubicBezTo>
                  <a:pt x="415" y="724"/>
                  <a:pt x="411" y="721"/>
                  <a:pt x="411" y="721"/>
                </a:cubicBezTo>
                <a:cubicBezTo>
                  <a:pt x="412" y="720"/>
                  <a:pt x="418" y="725"/>
                  <a:pt x="421" y="726"/>
                </a:cubicBezTo>
                <a:cubicBezTo>
                  <a:pt x="421" y="726"/>
                  <a:pt x="420" y="726"/>
                  <a:pt x="419" y="726"/>
                </a:cubicBezTo>
                <a:close/>
                <a:moveTo>
                  <a:pt x="420" y="705"/>
                </a:moveTo>
                <a:cubicBezTo>
                  <a:pt x="420" y="704"/>
                  <a:pt x="423" y="707"/>
                  <a:pt x="423" y="707"/>
                </a:cubicBezTo>
                <a:cubicBezTo>
                  <a:pt x="423" y="710"/>
                  <a:pt x="417" y="706"/>
                  <a:pt x="420" y="705"/>
                </a:cubicBezTo>
                <a:close/>
                <a:moveTo>
                  <a:pt x="422" y="709"/>
                </a:moveTo>
                <a:cubicBezTo>
                  <a:pt x="420" y="708"/>
                  <a:pt x="423" y="710"/>
                  <a:pt x="422" y="709"/>
                </a:cubicBezTo>
                <a:close/>
                <a:moveTo>
                  <a:pt x="422" y="712"/>
                </a:moveTo>
                <a:cubicBezTo>
                  <a:pt x="422" y="711"/>
                  <a:pt x="423" y="711"/>
                  <a:pt x="423" y="711"/>
                </a:cubicBezTo>
                <a:cubicBezTo>
                  <a:pt x="423" y="710"/>
                  <a:pt x="423" y="708"/>
                  <a:pt x="425" y="711"/>
                </a:cubicBezTo>
                <a:cubicBezTo>
                  <a:pt x="425" y="711"/>
                  <a:pt x="425" y="711"/>
                  <a:pt x="425" y="711"/>
                </a:cubicBezTo>
                <a:cubicBezTo>
                  <a:pt x="424" y="712"/>
                  <a:pt x="424" y="712"/>
                  <a:pt x="424" y="712"/>
                </a:cubicBezTo>
                <a:cubicBezTo>
                  <a:pt x="424" y="712"/>
                  <a:pt x="424" y="712"/>
                  <a:pt x="424" y="712"/>
                </a:cubicBezTo>
                <a:cubicBezTo>
                  <a:pt x="425" y="715"/>
                  <a:pt x="420" y="713"/>
                  <a:pt x="422" y="712"/>
                </a:cubicBezTo>
                <a:close/>
                <a:moveTo>
                  <a:pt x="425" y="708"/>
                </a:moveTo>
                <a:cubicBezTo>
                  <a:pt x="425" y="707"/>
                  <a:pt x="426" y="707"/>
                  <a:pt x="426" y="708"/>
                </a:cubicBezTo>
                <a:cubicBezTo>
                  <a:pt x="427" y="709"/>
                  <a:pt x="424" y="709"/>
                  <a:pt x="425" y="708"/>
                </a:cubicBezTo>
                <a:close/>
                <a:moveTo>
                  <a:pt x="426" y="712"/>
                </a:moveTo>
                <a:cubicBezTo>
                  <a:pt x="428" y="712"/>
                  <a:pt x="428" y="714"/>
                  <a:pt x="426" y="712"/>
                </a:cubicBezTo>
                <a:close/>
                <a:moveTo>
                  <a:pt x="422" y="722"/>
                </a:moveTo>
                <a:cubicBezTo>
                  <a:pt x="422" y="721"/>
                  <a:pt x="424" y="722"/>
                  <a:pt x="424" y="722"/>
                </a:cubicBezTo>
                <a:cubicBezTo>
                  <a:pt x="425" y="724"/>
                  <a:pt x="421" y="723"/>
                  <a:pt x="422" y="722"/>
                </a:cubicBezTo>
                <a:close/>
                <a:moveTo>
                  <a:pt x="429" y="731"/>
                </a:moveTo>
                <a:cubicBezTo>
                  <a:pt x="425" y="733"/>
                  <a:pt x="428" y="726"/>
                  <a:pt x="428" y="730"/>
                </a:cubicBezTo>
                <a:cubicBezTo>
                  <a:pt x="428" y="730"/>
                  <a:pt x="429" y="731"/>
                  <a:pt x="429" y="731"/>
                </a:cubicBezTo>
                <a:close/>
                <a:moveTo>
                  <a:pt x="428" y="722"/>
                </a:moveTo>
                <a:cubicBezTo>
                  <a:pt x="428" y="721"/>
                  <a:pt x="430" y="723"/>
                  <a:pt x="429" y="723"/>
                </a:cubicBezTo>
                <a:cubicBezTo>
                  <a:pt x="429" y="724"/>
                  <a:pt x="427" y="723"/>
                  <a:pt x="428" y="722"/>
                </a:cubicBezTo>
                <a:cubicBezTo>
                  <a:pt x="427" y="723"/>
                  <a:pt x="424" y="722"/>
                  <a:pt x="424" y="720"/>
                </a:cubicBezTo>
                <a:cubicBezTo>
                  <a:pt x="424" y="720"/>
                  <a:pt x="426" y="718"/>
                  <a:pt x="425" y="718"/>
                </a:cubicBezTo>
                <a:cubicBezTo>
                  <a:pt x="426" y="718"/>
                  <a:pt x="429" y="721"/>
                  <a:pt x="428" y="722"/>
                </a:cubicBezTo>
                <a:close/>
                <a:moveTo>
                  <a:pt x="427" y="702"/>
                </a:moveTo>
                <a:cubicBezTo>
                  <a:pt x="427" y="702"/>
                  <a:pt x="428" y="702"/>
                  <a:pt x="428" y="702"/>
                </a:cubicBezTo>
                <a:cubicBezTo>
                  <a:pt x="428" y="704"/>
                  <a:pt x="426" y="702"/>
                  <a:pt x="427" y="702"/>
                </a:cubicBezTo>
                <a:close/>
                <a:moveTo>
                  <a:pt x="424" y="697"/>
                </a:moveTo>
                <a:cubicBezTo>
                  <a:pt x="425" y="697"/>
                  <a:pt x="429" y="698"/>
                  <a:pt x="430" y="699"/>
                </a:cubicBezTo>
                <a:cubicBezTo>
                  <a:pt x="430" y="700"/>
                  <a:pt x="425" y="699"/>
                  <a:pt x="424" y="697"/>
                </a:cubicBezTo>
                <a:close/>
                <a:moveTo>
                  <a:pt x="430" y="690"/>
                </a:moveTo>
                <a:cubicBezTo>
                  <a:pt x="430" y="690"/>
                  <a:pt x="431" y="690"/>
                  <a:pt x="431" y="690"/>
                </a:cubicBezTo>
                <a:cubicBezTo>
                  <a:pt x="432" y="691"/>
                  <a:pt x="429" y="691"/>
                  <a:pt x="430" y="690"/>
                </a:cubicBezTo>
                <a:close/>
                <a:moveTo>
                  <a:pt x="435" y="698"/>
                </a:moveTo>
                <a:cubicBezTo>
                  <a:pt x="435" y="698"/>
                  <a:pt x="436" y="698"/>
                  <a:pt x="436" y="698"/>
                </a:cubicBezTo>
                <a:cubicBezTo>
                  <a:pt x="436" y="699"/>
                  <a:pt x="435" y="699"/>
                  <a:pt x="435" y="698"/>
                </a:cubicBezTo>
                <a:close/>
                <a:moveTo>
                  <a:pt x="437" y="693"/>
                </a:moveTo>
                <a:cubicBezTo>
                  <a:pt x="435" y="692"/>
                  <a:pt x="438" y="694"/>
                  <a:pt x="437" y="693"/>
                </a:cubicBezTo>
                <a:close/>
                <a:moveTo>
                  <a:pt x="438" y="696"/>
                </a:moveTo>
                <a:cubicBezTo>
                  <a:pt x="439" y="697"/>
                  <a:pt x="437" y="694"/>
                  <a:pt x="438" y="696"/>
                </a:cubicBezTo>
                <a:close/>
                <a:moveTo>
                  <a:pt x="432" y="689"/>
                </a:moveTo>
                <a:cubicBezTo>
                  <a:pt x="429" y="687"/>
                  <a:pt x="433" y="688"/>
                  <a:pt x="434" y="689"/>
                </a:cubicBezTo>
                <a:cubicBezTo>
                  <a:pt x="437" y="690"/>
                  <a:pt x="443" y="691"/>
                  <a:pt x="443" y="693"/>
                </a:cubicBezTo>
                <a:cubicBezTo>
                  <a:pt x="440" y="691"/>
                  <a:pt x="436" y="691"/>
                  <a:pt x="432" y="689"/>
                </a:cubicBezTo>
                <a:close/>
                <a:moveTo>
                  <a:pt x="439" y="682"/>
                </a:moveTo>
                <a:cubicBezTo>
                  <a:pt x="439" y="682"/>
                  <a:pt x="439" y="682"/>
                  <a:pt x="439" y="682"/>
                </a:cubicBezTo>
                <a:cubicBezTo>
                  <a:pt x="438" y="684"/>
                  <a:pt x="437" y="680"/>
                  <a:pt x="439" y="682"/>
                </a:cubicBezTo>
                <a:close/>
                <a:moveTo>
                  <a:pt x="446" y="681"/>
                </a:moveTo>
                <a:cubicBezTo>
                  <a:pt x="446" y="681"/>
                  <a:pt x="447" y="681"/>
                  <a:pt x="447" y="681"/>
                </a:cubicBezTo>
                <a:cubicBezTo>
                  <a:pt x="447" y="682"/>
                  <a:pt x="445" y="682"/>
                  <a:pt x="446" y="681"/>
                </a:cubicBezTo>
                <a:close/>
                <a:moveTo>
                  <a:pt x="442" y="678"/>
                </a:moveTo>
                <a:cubicBezTo>
                  <a:pt x="440" y="677"/>
                  <a:pt x="440" y="675"/>
                  <a:pt x="440" y="674"/>
                </a:cubicBezTo>
                <a:cubicBezTo>
                  <a:pt x="439" y="674"/>
                  <a:pt x="436" y="675"/>
                  <a:pt x="437" y="673"/>
                </a:cubicBezTo>
                <a:cubicBezTo>
                  <a:pt x="438" y="672"/>
                  <a:pt x="438" y="674"/>
                  <a:pt x="439" y="673"/>
                </a:cubicBezTo>
                <a:cubicBezTo>
                  <a:pt x="441" y="673"/>
                  <a:pt x="441" y="672"/>
                  <a:pt x="442" y="672"/>
                </a:cubicBezTo>
                <a:cubicBezTo>
                  <a:pt x="444" y="671"/>
                  <a:pt x="447" y="673"/>
                  <a:pt x="447" y="675"/>
                </a:cubicBezTo>
                <a:cubicBezTo>
                  <a:pt x="447" y="678"/>
                  <a:pt x="445" y="679"/>
                  <a:pt x="442" y="678"/>
                </a:cubicBezTo>
                <a:close/>
                <a:moveTo>
                  <a:pt x="445" y="642"/>
                </a:moveTo>
                <a:cubicBezTo>
                  <a:pt x="446" y="641"/>
                  <a:pt x="447" y="641"/>
                  <a:pt x="447" y="642"/>
                </a:cubicBezTo>
                <a:cubicBezTo>
                  <a:pt x="448" y="643"/>
                  <a:pt x="445" y="642"/>
                  <a:pt x="445" y="642"/>
                </a:cubicBezTo>
                <a:close/>
                <a:moveTo>
                  <a:pt x="447" y="580"/>
                </a:moveTo>
                <a:cubicBezTo>
                  <a:pt x="448" y="579"/>
                  <a:pt x="449" y="581"/>
                  <a:pt x="449" y="581"/>
                </a:cubicBezTo>
                <a:cubicBezTo>
                  <a:pt x="450" y="583"/>
                  <a:pt x="446" y="581"/>
                  <a:pt x="447" y="580"/>
                </a:cubicBezTo>
                <a:close/>
                <a:moveTo>
                  <a:pt x="448" y="651"/>
                </a:moveTo>
                <a:cubicBezTo>
                  <a:pt x="448" y="651"/>
                  <a:pt x="447" y="651"/>
                  <a:pt x="447" y="651"/>
                </a:cubicBezTo>
                <a:cubicBezTo>
                  <a:pt x="448" y="651"/>
                  <a:pt x="448" y="651"/>
                  <a:pt x="448" y="651"/>
                </a:cubicBezTo>
                <a:cubicBezTo>
                  <a:pt x="448" y="651"/>
                  <a:pt x="448" y="651"/>
                  <a:pt x="448" y="651"/>
                </a:cubicBezTo>
                <a:close/>
                <a:moveTo>
                  <a:pt x="448" y="640"/>
                </a:moveTo>
                <a:cubicBezTo>
                  <a:pt x="448" y="640"/>
                  <a:pt x="449" y="640"/>
                  <a:pt x="450" y="641"/>
                </a:cubicBezTo>
                <a:cubicBezTo>
                  <a:pt x="450" y="642"/>
                  <a:pt x="448" y="641"/>
                  <a:pt x="448" y="640"/>
                </a:cubicBezTo>
                <a:close/>
                <a:moveTo>
                  <a:pt x="450" y="636"/>
                </a:moveTo>
                <a:cubicBezTo>
                  <a:pt x="451" y="636"/>
                  <a:pt x="451" y="636"/>
                  <a:pt x="451" y="636"/>
                </a:cubicBezTo>
                <a:cubicBezTo>
                  <a:pt x="452" y="638"/>
                  <a:pt x="449" y="636"/>
                  <a:pt x="450" y="636"/>
                </a:cubicBezTo>
                <a:close/>
                <a:moveTo>
                  <a:pt x="451" y="642"/>
                </a:moveTo>
                <a:cubicBezTo>
                  <a:pt x="452" y="641"/>
                  <a:pt x="453" y="642"/>
                  <a:pt x="454" y="643"/>
                </a:cubicBezTo>
                <a:cubicBezTo>
                  <a:pt x="456" y="646"/>
                  <a:pt x="448" y="644"/>
                  <a:pt x="451" y="642"/>
                </a:cubicBezTo>
                <a:close/>
                <a:moveTo>
                  <a:pt x="451" y="666"/>
                </a:moveTo>
                <a:cubicBezTo>
                  <a:pt x="452" y="665"/>
                  <a:pt x="452" y="666"/>
                  <a:pt x="453" y="666"/>
                </a:cubicBezTo>
                <a:cubicBezTo>
                  <a:pt x="454" y="668"/>
                  <a:pt x="450" y="666"/>
                  <a:pt x="451" y="666"/>
                </a:cubicBezTo>
                <a:close/>
                <a:moveTo>
                  <a:pt x="453" y="682"/>
                </a:moveTo>
                <a:cubicBezTo>
                  <a:pt x="453" y="682"/>
                  <a:pt x="453" y="682"/>
                  <a:pt x="453" y="681"/>
                </a:cubicBezTo>
                <a:cubicBezTo>
                  <a:pt x="454" y="681"/>
                  <a:pt x="454" y="683"/>
                  <a:pt x="453" y="682"/>
                </a:cubicBezTo>
                <a:close/>
                <a:moveTo>
                  <a:pt x="456" y="685"/>
                </a:moveTo>
                <a:cubicBezTo>
                  <a:pt x="456" y="684"/>
                  <a:pt x="457" y="685"/>
                  <a:pt x="458" y="685"/>
                </a:cubicBezTo>
                <a:cubicBezTo>
                  <a:pt x="459" y="686"/>
                  <a:pt x="456" y="686"/>
                  <a:pt x="456" y="685"/>
                </a:cubicBezTo>
                <a:close/>
                <a:moveTo>
                  <a:pt x="458" y="702"/>
                </a:moveTo>
                <a:cubicBezTo>
                  <a:pt x="458" y="701"/>
                  <a:pt x="459" y="701"/>
                  <a:pt x="459" y="702"/>
                </a:cubicBezTo>
                <a:cubicBezTo>
                  <a:pt x="460" y="704"/>
                  <a:pt x="456" y="703"/>
                  <a:pt x="458" y="702"/>
                </a:cubicBezTo>
                <a:close/>
                <a:moveTo>
                  <a:pt x="460" y="691"/>
                </a:moveTo>
                <a:cubicBezTo>
                  <a:pt x="460" y="689"/>
                  <a:pt x="464" y="690"/>
                  <a:pt x="464" y="690"/>
                </a:cubicBezTo>
                <a:cubicBezTo>
                  <a:pt x="466" y="692"/>
                  <a:pt x="460" y="691"/>
                  <a:pt x="460" y="691"/>
                </a:cubicBezTo>
                <a:close/>
                <a:moveTo>
                  <a:pt x="466" y="690"/>
                </a:moveTo>
                <a:cubicBezTo>
                  <a:pt x="465" y="692"/>
                  <a:pt x="465" y="689"/>
                  <a:pt x="466" y="690"/>
                </a:cubicBezTo>
                <a:close/>
                <a:moveTo>
                  <a:pt x="459" y="679"/>
                </a:moveTo>
                <a:cubicBezTo>
                  <a:pt x="459" y="678"/>
                  <a:pt x="459" y="677"/>
                  <a:pt x="459" y="677"/>
                </a:cubicBezTo>
                <a:cubicBezTo>
                  <a:pt x="457" y="676"/>
                  <a:pt x="456" y="677"/>
                  <a:pt x="454" y="677"/>
                </a:cubicBezTo>
                <a:cubicBezTo>
                  <a:pt x="460" y="675"/>
                  <a:pt x="449" y="672"/>
                  <a:pt x="453" y="669"/>
                </a:cubicBezTo>
                <a:cubicBezTo>
                  <a:pt x="454" y="668"/>
                  <a:pt x="457" y="670"/>
                  <a:pt x="457" y="667"/>
                </a:cubicBezTo>
                <a:cubicBezTo>
                  <a:pt x="457" y="671"/>
                  <a:pt x="461" y="666"/>
                  <a:pt x="465" y="667"/>
                </a:cubicBezTo>
                <a:cubicBezTo>
                  <a:pt x="467" y="668"/>
                  <a:pt x="469" y="671"/>
                  <a:pt x="469" y="673"/>
                </a:cubicBezTo>
                <a:cubicBezTo>
                  <a:pt x="469" y="673"/>
                  <a:pt x="462" y="681"/>
                  <a:pt x="459" y="679"/>
                </a:cubicBezTo>
                <a:close/>
                <a:moveTo>
                  <a:pt x="460" y="633"/>
                </a:moveTo>
                <a:cubicBezTo>
                  <a:pt x="461" y="633"/>
                  <a:pt x="458" y="632"/>
                  <a:pt x="460" y="633"/>
                </a:cubicBezTo>
                <a:close/>
                <a:moveTo>
                  <a:pt x="460" y="643"/>
                </a:moveTo>
                <a:cubicBezTo>
                  <a:pt x="459" y="644"/>
                  <a:pt x="459" y="641"/>
                  <a:pt x="460" y="643"/>
                </a:cubicBezTo>
                <a:close/>
                <a:moveTo>
                  <a:pt x="471" y="641"/>
                </a:moveTo>
                <a:cubicBezTo>
                  <a:pt x="467" y="642"/>
                  <a:pt x="468" y="638"/>
                  <a:pt x="471" y="641"/>
                </a:cubicBezTo>
                <a:close/>
                <a:moveTo>
                  <a:pt x="469" y="656"/>
                </a:moveTo>
                <a:cubicBezTo>
                  <a:pt x="470" y="656"/>
                  <a:pt x="467" y="655"/>
                  <a:pt x="469" y="656"/>
                </a:cubicBezTo>
                <a:close/>
                <a:moveTo>
                  <a:pt x="467" y="622"/>
                </a:moveTo>
                <a:cubicBezTo>
                  <a:pt x="467" y="621"/>
                  <a:pt x="468" y="622"/>
                  <a:pt x="468" y="622"/>
                </a:cubicBezTo>
                <a:cubicBezTo>
                  <a:pt x="469" y="624"/>
                  <a:pt x="466" y="622"/>
                  <a:pt x="467" y="622"/>
                </a:cubicBezTo>
                <a:close/>
                <a:moveTo>
                  <a:pt x="466" y="598"/>
                </a:moveTo>
                <a:cubicBezTo>
                  <a:pt x="467" y="598"/>
                  <a:pt x="467" y="599"/>
                  <a:pt x="467" y="599"/>
                </a:cubicBezTo>
                <a:cubicBezTo>
                  <a:pt x="468" y="601"/>
                  <a:pt x="465" y="599"/>
                  <a:pt x="466" y="598"/>
                </a:cubicBezTo>
                <a:close/>
                <a:moveTo>
                  <a:pt x="470" y="684"/>
                </a:moveTo>
                <a:cubicBezTo>
                  <a:pt x="472" y="686"/>
                  <a:pt x="466" y="685"/>
                  <a:pt x="467" y="683"/>
                </a:cubicBezTo>
                <a:cubicBezTo>
                  <a:pt x="468" y="682"/>
                  <a:pt x="470" y="683"/>
                  <a:pt x="470" y="684"/>
                </a:cubicBezTo>
                <a:close/>
                <a:moveTo>
                  <a:pt x="469" y="666"/>
                </a:moveTo>
                <a:cubicBezTo>
                  <a:pt x="469" y="665"/>
                  <a:pt x="470" y="665"/>
                  <a:pt x="470" y="666"/>
                </a:cubicBezTo>
                <a:cubicBezTo>
                  <a:pt x="471" y="667"/>
                  <a:pt x="469" y="666"/>
                  <a:pt x="469" y="666"/>
                </a:cubicBezTo>
                <a:close/>
                <a:moveTo>
                  <a:pt x="470" y="689"/>
                </a:moveTo>
                <a:cubicBezTo>
                  <a:pt x="475" y="693"/>
                  <a:pt x="467" y="695"/>
                  <a:pt x="467" y="690"/>
                </a:cubicBezTo>
                <a:cubicBezTo>
                  <a:pt x="467" y="690"/>
                  <a:pt x="468" y="687"/>
                  <a:pt x="468" y="687"/>
                </a:cubicBezTo>
                <a:cubicBezTo>
                  <a:pt x="472" y="685"/>
                  <a:pt x="474" y="691"/>
                  <a:pt x="470" y="689"/>
                </a:cubicBezTo>
                <a:close/>
                <a:moveTo>
                  <a:pt x="472" y="667"/>
                </a:moveTo>
                <a:cubicBezTo>
                  <a:pt x="472" y="667"/>
                  <a:pt x="473" y="668"/>
                  <a:pt x="473" y="668"/>
                </a:cubicBezTo>
                <a:cubicBezTo>
                  <a:pt x="475" y="670"/>
                  <a:pt x="470" y="668"/>
                  <a:pt x="472" y="667"/>
                </a:cubicBezTo>
                <a:close/>
                <a:moveTo>
                  <a:pt x="474" y="664"/>
                </a:moveTo>
                <a:cubicBezTo>
                  <a:pt x="474" y="664"/>
                  <a:pt x="475" y="664"/>
                  <a:pt x="475" y="665"/>
                </a:cubicBezTo>
                <a:cubicBezTo>
                  <a:pt x="476" y="667"/>
                  <a:pt x="472" y="665"/>
                  <a:pt x="474" y="664"/>
                </a:cubicBezTo>
                <a:close/>
                <a:moveTo>
                  <a:pt x="476" y="687"/>
                </a:moveTo>
                <a:cubicBezTo>
                  <a:pt x="475" y="687"/>
                  <a:pt x="475" y="684"/>
                  <a:pt x="476" y="685"/>
                </a:cubicBezTo>
                <a:cubicBezTo>
                  <a:pt x="476" y="685"/>
                  <a:pt x="476" y="686"/>
                  <a:pt x="476" y="687"/>
                </a:cubicBezTo>
                <a:close/>
                <a:moveTo>
                  <a:pt x="476" y="673"/>
                </a:moveTo>
                <a:cubicBezTo>
                  <a:pt x="476" y="673"/>
                  <a:pt x="477" y="672"/>
                  <a:pt x="477" y="673"/>
                </a:cubicBezTo>
                <a:cubicBezTo>
                  <a:pt x="478" y="674"/>
                  <a:pt x="476" y="674"/>
                  <a:pt x="476" y="673"/>
                </a:cubicBezTo>
                <a:close/>
                <a:moveTo>
                  <a:pt x="481" y="671"/>
                </a:moveTo>
                <a:cubicBezTo>
                  <a:pt x="477" y="671"/>
                  <a:pt x="479" y="668"/>
                  <a:pt x="481" y="671"/>
                </a:cubicBezTo>
                <a:close/>
                <a:moveTo>
                  <a:pt x="482" y="658"/>
                </a:moveTo>
                <a:cubicBezTo>
                  <a:pt x="477" y="657"/>
                  <a:pt x="479" y="654"/>
                  <a:pt x="482" y="658"/>
                </a:cubicBezTo>
                <a:close/>
                <a:moveTo>
                  <a:pt x="480" y="668"/>
                </a:moveTo>
                <a:cubicBezTo>
                  <a:pt x="481" y="667"/>
                  <a:pt x="481" y="669"/>
                  <a:pt x="480" y="668"/>
                </a:cubicBezTo>
                <a:close/>
                <a:moveTo>
                  <a:pt x="487" y="691"/>
                </a:moveTo>
                <a:cubicBezTo>
                  <a:pt x="488" y="690"/>
                  <a:pt x="489" y="692"/>
                  <a:pt x="489" y="692"/>
                </a:cubicBezTo>
                <a:cubicBezTo>
                  <a:pt x="490" y="695"/>
                  <a:pt x="486" y="693"/>
                  <a:pt x="487" y="691"/>
                </a:cubicBezTo>
                <a:close/>
                <a:moveTo>
                  <a:pt x="493" y="686"/>
                </a:moveTo>
                <a:cubicBezTo>
                  <a:pt x="493" y="686"/>
                  <a:pt x="493" y="686"/>
                  <a:pt x="493" y="686"/>
                </a:cubicBezTo>
                <a:cubicBezTo>
                  <a:pt x="493" y="686"/>
                  <a:pt x="493" y="686"/>
                  <a:pt x="493" y="686"/>
                </a:cubicBezTo>
                <a:cubicBezTo>
                  <a:pt x="493" y="686"/>
                  <a:pt x="493" y="686"/>
                  <a:pt x="493" y="686"/>
                </a:cubicBezTo>
                <a:close/>
                <a:moveTo>
                  <a:pt x="495" y="682"/>
                </a:moveTo>
                <a:cubicBezTo>
                  <a:pt x="497" y="683"/>
                  <a:pt x="494" y="681"/>
                  <a:pt x="495" y="682"/>
                </a:cubicBezTo>
                <a:close/>
                <a:moveTo>
                  <a:pt x="497" y="681"/>
                </a:moveTo>
                <a:cubicBezTo>
                  <a:pt x="497" y="681"/>
                  <a:pt x="497" y="681"/>
                  <a:pt x="497" y="681"/>
                </a:cubicBezTo>
                <a:cubicBezTo>
                  <a:pt x="496" y="680"/>
                  <a:pt x="497" y="681"/>
                  <a:pt x="497" y="681"/>
                </a:cubicBezTo>
                <a:close/>
                <a:moveTo>
                  <a:pt x="496" y="673"/>
                </a:moveTo>
                <a:cubicBezTo>
                  <a:pt x="497" y="674"/>
                  <a:pt x="494" y="674"/>
                  <a:pt x="495" y="673"/>
                </a:cubicBezTo>
                <a:cubicBezTo>
                  <a:pt x="495" y="673"/>
                  <a:pt x="496" y="672"/>
                  <a:pt x="496" y="673"/>
                </a:cubicBezTo>
                <a:close/>
                <a:moveTo>
                  <a:pt x="494" y="670"/>
                </a:moveTo>
                <a:cubicBezTo>
                  <a:pt x="494" y="670"/>
                  <a:pt x="495" y="669"/>
                  <a:pt x="495" y="670"/>
                </a:cubicBezTo>
                <a:cubicBezTo>
                  <a:pt x="496" y="671"/>
                  <a:pt x="492" y="670"/>
                  <a:pt x="494" y="670"/>
                </a:cubicBezTo>
                <a:close/>
                <a:moveTo>
                  <a:pt x="492" y="681"/>
                </a:moveTo>
                <a:cubicBezTo>
                  <a:pt x="492" y="682"/>
                  <a:pt x="494" y="684"/>
                  <a:pt x="494" y="685"/>
                </a:cubicBezTo>
                <a:cubicBezTo>
                  <a:pt x="493" y="685"/>
                  <a:pt x="489" y="685"/>
                  <a:pt x="492" y="682"/>
                </a:cubicBezTo>
                <a:cubicBezTo>
                  <a:pt x="488" y="683"/>
                  <a:pt x="489" y="680"/>
                  <a:pt x="492" y="681"/>
                </a:cubicBezTo>
                <a:close/>
                <a:moveTo>
                  <a:pt x="488" y="684"/>
                </a:moveTo>
                <a:cubicBezTo>
                  <a:pt x="488" y="684"/>
                  <a:pt x="490" y="685"/>
                  <a:pt x="490" y="685"/>
                </a:cubicBezTo>
                <a:cubicBezTo>
                  <a:pt x="491" y="687"/>
                  <a:pt x="486" y="686"/>
                  <a:pt x="488" y="684"/>
                </a:cubicBezTo>
                <a:close/>
                <a:moveTo>
                  <a:pt x="485" y="687"/>
                </a:moveTo>
                <a:cubicBezTo>
                  <a:pt x="485" y="686"/>
                  <a:pt x="486" y="685"/>
                  <a:pt x="487" y="687"/>
                </a:cubicBezTo>
                <a:cubicBezTo>
                  <a:pt x="489" y="688"/>
                  <a:pt x="485" y="688"/>
                  <a:pt x="485" y="687"/>
                </a:cubicBezTo>
                <a:close/>
                <a:moveTo>
                  <a:pt x="485" y="684"/>
                </a:moveTo>
                <a:cubicBezTo>
                  <a:pt x="485" y="683"/>
                  <a:pt x="486" y="683"/>
                  <a:pt x="486" y="683"/>
                </a:cubicBezTo>
                <a:cubicBezTo>
                  <a:pt x="487" y="685"/>
                  <a:pt x="485" y="684"/>
                  <a:pt x="485" y="684"/>
                </a:cubicBezTo>
                <a:close/>
                <a:moveTo>
                  <a:pt x="485" y="683"/>
                </a:moveTo>
                <a:cubicBezTo>
                  <a:pt x="480" y="684"/>
                  <a:pt x="485" y="678"/>
                  <a:pt x="487" y="680"/>
                </a:cubicBezTo>
                <a:cubicBezTo>
                  <a:pt x="487" y="680"/>
                  <a:pt x="485" y="683"/>
                  <a:pt x="485" y="683"/>
                </a:cubicBezTo>
                <a:close/>
                <a:moveTo>
                  <a:pt x="484" y="665"/>
                </a:moveTo>
                <a:cubicBezTo>
                  <a:pt x="484" y="665"/>
                  <a:pt x="485" y="666"/>
                  <a:pt x="485" y="666"/>
                </a:cubicBezTo>
                <a:cubicBezTo>
                  <a:pt x="486" y="667"/>
                  <a:pt x="483" y="666"/>
                  <a:pt x="484" y="665"/>
                </a:cubicBezTo>
                <a:close/>
                <a:moveTo>
                  <a:pt x="486" y="676"/>
                </a:moveTo>
                <a:cubicBezTo>
                  <a:pt x="485" y="676"/>
                  <a:pt x="483" y="672"/>
                  <a:pt x="481" y="672"/>
                </a:cubicBezTo>
                <a:cubicBezTo>
                  <a:pt x="484" y="671"/>
                  <a:pt x="487" y="675"/>
                  <a:pt x="486" y="676"/>
                </a:cubicBezTo>
                <a:close/>
                <a:moveTo>
                  <a:pt x="484" y="651"/>
                </a:moveTo>
                <a:cubicBezTo>
                  <a:pt x="482" y="653"/>
                  <a:pt x="480" y="649"/>
                  <a:pt x="479" y="648"/>
                </a:cubicBezTo>
                <a:cubicBezTo>
                  <a:pt x="480" y="648"/>
                  <a:pt x="485" y="650"/>
                  <a:pt x="484" y="651"/>
                </a:cubicBezTo>
                <a:close/>
                <a:moveTo>
                  <a:pt x="482" y="644"/>
                </a:moveTo>
                <a:cubicBezTo>
                  <a:pt x="484" y="644"/>
                  <a:pt x="483" y="646"/>
                  <a:pt x="482" y="644"/>
                </a:cubicBezTo>
                <a:close/>
                <a:moveTo>
                  <a:pt x="482" y="639"/>
                </a:moveTo>
                <a:cubicBezTo>
                  <a:pt x="483" y="642"/>
                  <a:pt x="477" y="641"/>
                  <a:pt x="478" y="639"/>
                </a:cubicBezTo>
                <a:cubicBezTo>
                  <a:pt x="479" y="637"/>
                  <a:pt x="482" y="638"/>
                  <a:pt x="482" y="639"/>
                </a:cubicBezTo>
                <a:close/>
                <a:moveTo>
                  <a:pt x="481" y="637"/>
                </a:moveTo>
                <a:cubicBezTo>
                  <a:pt x="480" y="636"/>
                  <a:pt x="481" y="635"/>
                  <a:pt x="481" y="637"/>
                </a:cubicBezTo>
                <a:close/>
                <a:moveTo>
                  <a:pt x="482" y="621"/>
                </a:moveTo>
                <a:cubicBezTo>
                  <a:pt x="481" y="622"/>
                  <a:pt x="481" y="621"/>
                  <a:pt x="480" y="621"/>
                </a:cubicBezTo>
                <a:cubicBezTo>
                  <a:pt x="481" y="620"/>
                  <a:pt x="481" y="621"/>
                  <a:pt x="482" y="621"/>
                </a:cubicBezTo>
                <a:close/>
                <a:moveTo>
                  <a:pt x="480" y="622"/>
                </a:moveTo>
                <a:cubicBezTo>
                  <a:pt x="481" y="622"/>
                  <a:pt x="480" y="623"/>
                  <a:pt x="479" y="622"/>
                </a:cubicBezTo>
                <a:cubicBezTo>
                  <a:pt x="479" y="622"/>
                  <a:pt x="480" y="621"/>
                  <a:pt x="480" y="622"/>
                </a:cubicBezTo>
                <a:close/>
                <a:moveTo>
                  <a:pt x="479" y="615"/>
                </a:moveTo>
                <a:cubicBezTo>
                  <a:pt x="480" y="616"/>
                  <a:pt x="477" y="615"/>
                  <a:pt x="477" y="615"/>
                </a:cubicBezTo>
                <a:cubicBezTo>
                  <a:pt x="477" y="614"/>
                  <a:pt x="479" y="614"/>
                  <a:pt x="479" y="615"/>
                </a:cubicBezTo>
                <a:close/>
                <a:moveTo>
                  <a:pt x="477" y="640"/>
                </a:moveTo>
                <a:cubicBezTo>
                  <a:pt x="478" y="641"/>
                  <a:pt x="476" y="638"/>
                  <a:pt x="477" y="640"/>
                </a:cubicBezTo>
                <a:close/>
                <a:moveTo>
                  <a:pt x="477" y="654"/>
                </a:moveTo>
                <a:cubicBezTo>
                  <a:pt x="478" y="655"/>
                  <a:pt x="476" y="654"/>
                  <a:pt x="476" y="654"/>
                </a:cubicBezTo>
                <a:cubicBezTo>
                  <a:pt x="475" y="653"/>
                  <a:pt x="477" y="654"/>
                  <a:pt x="477" y="654"/>
                </a:cubicBezTo>
                <a:close/>
                <a:moveTo>
                  <a:pt x="476" y="611"/>
                </a:moveTo>
                <a:cubicBezTo>
                  <a:pt x="477" y="612"/>
                  <a:pt x="475" y="609"/>
                  <a:pt x="476" y="611"/>
                </a:cubicBezTo>
                <a:close/>
                <a:moveTo>
                  <a:pt x="476" y="642"/>
                </a:moveTo>
                <a:cubicBezTo>
                  <a:pt x="475" y="643"/>
                  <a:pt x="475" y="640"/>
                  <a:pt x="476" y="642"/>
                </a:cubicBezTo>
                <a:close/>
                <a:moveTo>
                  <a:pt x="474" y="617"/>
                </a:moveTo>
                <a:cubicBezTo>
                  <a:pt x="475" y="617"/>
                  <a:pt x="474" y="618"/>
                  <a:pt x="473" y="617"/>
                </a:cubicBezTo>
                <a:cubicBezTo>
                  <a:pt x="473" y="617"/>
                  <a:pt x="474" y="616"/>
                  <a:pt x="474" y="617"/>
                </a:cubicBezTo>
                <a:close/>
                <a:moveTo>
                  <a:pt x="476" y="646"/>
                </a:moveTo>
                <a:cubicBezTo>
                  <a:pt x="475" y="645"/>
                  <a:pt x="474" y="644"/>
                  <a:pt x="473" y="644"/>
                </a:cubicBezTo>
                <a:cubicBezTo>
                  <a:pt x="474" y="644"/>
                  <a:pt x="476" y="645"/>
                  <a:pt x="476" y="646"/>
                </a:cubicBezTo>
                <a:close/>
                <a:moveTo>
                  <a:pt x="475" y="654"/>
                </a:moveTo>
                <a:cubicBezTo>
                  <a:pt x="475" y="654"/>
                  <a:pt x="474" y="657"/>
                  <a:pt x="473" y="656"/>
                </a:cubicBezTo>
                <a:cubicBezTo>
                  <a:pt x="471" y="655"/>
                  <a:pt x="474" y="651"/>
                  <a:pt x="475" y="654"/>
                </a:cubicBezTo>
                <a:close/>
                <a:moveTo>
                  <a:pt x="474" y="661"/>
                </a:moveTo>
                <a:cubicBezTo>
                  <a:pt x="476" y="667"/>
                  <a:pt x="462" y="660"/>
                  <a:pt x="467" y="656"/>
                </a:cubicBezTo>
                <a:cubicBezTo>
                  <a:pt x="466" y="657"/>
                  <a:pt x="470" y="657"/>
                  <a:pt x="469" y="657"/>
                </a:cubicBezTo>
                <a:cubicBezTo>
                  <a:pt x="470" y="657"/>
                  <a:pt x="474" y="660"/>
                  <a:pt x="474" y="661"/>
                </a:cubicBezTo>
                <a:close/>
                <a:moveTo>
                  <a:pt x="468" y="591"/>
                </a:moveTo>
                <a:cubicBezTo>
                  <a:pt x="466" y="590"/>
                  <a:pt x="467" y="589"/>
                  <a:pt x="466" y="588"/>
                </a:cubicBezTo>
                <a:cubicBezTo>
                  <a:pt x="466" y="587"/>
                  <a:pt x="465" y="586"/>
                  <a:pt x="465" y="585"/>
                </a:cubicBezTo>
                <a:cubicBezTo>
                  <a:pt x="466" y="581"/>
                  <a:pt x="472" y="585"/>
                  <a:pt x="471" y="589"/>
                </a:cubicBezTo>
                <a:cubicBezTo>
                  <a:pt x="471" y="590"/>
                  <a:pt x="470" y="593"/>
                  <a:pt x="468" y="591"/>
                </a:cubicBezTo>
                <a:close/>
                <a:moveTo>
                  <a:pt x="466" y="483"/>
                </a:moveTo>
                <a:cubicBezTo>
                  <a:pt x="468" y="484"/>
                  <a:pt x="467" y="485"/>
                  <a:pt x="469" y="486"/>
                </a:cubicBezTo>
                <a:cubicBezTo>
                  <a:pt x="468" y="486"/>
                  <a:pt x="466" y="485"/>
                  <a:pt x="466" y="483"/>
                </a:cubicBezTo>
                <a:close/>
                <a:moveTo>
                  <a:pt x="475" y="566"/>
                </a:moveTo>
                <a:cubicBezTo>
                  <a:pt x="476" y="565"/>
                  <a:pt x="478" y="567"/>
                  <a:pt x="478" y="567"/>
                </a:cubicBezTo>
                <a:cubicBezTo>
                  <a:pt x="479" y="569"/>
                  <a:pt x="474" y="567"/>
                  <a:pt x="475" y="566"/>
                </a:cubicBezTo>
                <a:close/>
                <a:moveTo>
                  <a:pt x="477" y="592"/>
                </a:moveTo>
                <a:cubicBezTo>
                  <a:pt x="477" y="592"/>
                  <a:pt x="476" y="591"/>
                  <a:pt x="477" y="592"/>
                </a:cubicBezTo>
                <a:cubicBezTo>
                  <a:pt x="477" y="593"/>
                  <a:pt x="477" y="592"/>
                  <a:pt x="477" y="592"/>
                </a:cubicBezTo>
                <a:close/>
                <a:moveTo>
                  <a:pt x="477" y="587"/>
                </a:moveTo>
                <a:cubicBezTo>
                  <a:pt x="478" y="586"/>
                  <a:pt x="479" y="588"/>
                  <a:pt x="480" y="588"/>
                </a:cubicBezTo>
                <a:cubicBezTo>
                  <a:pt x="480" y="591"/>
                  <a:pt x="475" y="588"/>
                  <a:pt x="477" y="587"/>
                </a:cubicBezTo>
                <a:close/>
                <a:moveTo>
                  <a:pt x="479" y="454"/>
                </a:moveTo>
                <a:cubicBezTo>
                  <a:pt x="478" y="453"/>
                  <a:pt x="480" y="456"/>
                  <a:pt x="479" y="454"/>
                </a:cubicBezTo>
                <a:close/>
                <a:moveTo>
                  <a:pt x="496" y="587"/>
                </a:moveTo>
                <a:cubicBezTo>
                  <a:pt x="497" y="588"/>
                  <a:pt x="495" y="587"/>
                  <a:pt x="495" y="586"/>
                </a:cubicBezTo>
                <a:cubicBezTo>
                  <a:pt x="496" y="586"/>
                  <a:pt x="496" y="586"/>
                  <a:pt x="496" y="587"/>
                </a:cubicBezTo>
                <a:close/>
                <a:moveTo>
                  <a:pt x="496" y="580"/>
                </a:moveTo>
                <a:cubicBezTo>
                  <a:pt x="495" y="578"/>
                  <a:pt x="496" y="582"/>
                  <a:pt x="496" y="580"/>
                </a:cubicBezTo>
                <a:close/>
                <a:moveTo>
                  <a:pt x="496" y="559"/>
                </a:moveTo>
                <a:cubicBezTo>
                  <a:pt x="496" y="559"/>
                  <a:pt x="496" y="559"/>
                  <a:pt x="496" y="560"/>
                </a:cubicBezTo>
                <a:cubicBezTo>
                  <a:pt x="497" y="561"/>
                  <a:pt x="496" y="560"/>
                  <a:pt x="496" y="559"/>
                </a:cubicBezTo>
                <a:close/>
                <a:moveTo>
                  <a:pt x="496" y="596"/>
                </a:moveTo>
                <a:cubicBezTo>
                  <a:pt x="495" y="595"/>
                  <a:pt x="497" y="597"/>
                  <a:pt x="496" y="596"/>
                </a:cubicBezTo>
                <a:close/>
                <a:moveTo>
                  <a:pt x="496" y="590"/>
                </a:moveTo>
                <a:cubicBezTo>
                  <a:pt x="497" y="589"/>
                  <a:pt x="498" y="592"/>
                  <a:pt x="496" y="592"/>
                </a:cubicBezTo>
                <a:cubicBezTo>
                  <a:pt x="495" y="593"/>
                  <a:pt x="495" y="591"/>
                  <a:pt x="496" y="590"/>
                </a:cubicBezTo>
                <a:close/>
                <a:moveTo>
                  <a:pt x="499" y="609"/>
                </a:moveTo>
                <a:cubicBezTo>
                  <a:pt x="502" y="612"/>
                  <a:pt x="502" y="609"/>
                  <a:pt x="504" y="609"/>
                </a:cubicBezTo>
                <a:cubicBezTo>
                  <a:pt x="504" y="609"/>
                  <a:pt x="506" y="610"/>
                  <a:pt x="506" y="611"/>
                </a:cubicBezTo>
                <a:cubicBezTo>
                  <a:pt x="508" y="615"/>
                  <a:pt x="499" y="614"/>
                  <a:pt x="499" y="609"/>
                </a:cubicBezTo>
                <a:close/>
                <a:moveTo>
                  <a:pt x="505" y="598"/>
                </a:moveTo>
                <a:cubicBezTo>
                  <a:pt x="505" y="600"/>
                  <a:pt x="503" y="601"/>
                  <a:pt x="501" y="601"/>
                </a:cubicBezTo>
                <a:cubicBezTo>
                  <a:pt x="498" y="601"/>
                  <a:pt x="497" y="598"/>
                  <a:pt x="497" y="595"/>
                </a:cubicBezTo>
                <a:cubicBezTo>
                  <a:pt x="497" y="595"/>
                  <a:pt x="497" y="594"/>
                  <a:pt x="496" y="594"/>
                </a:cubicBezTo>
                <a:cubicBezTo>
                  <a:pt x="497" y="593"/>
                  <a:pt x="500" y="593"/>
                  <a:pt x="500" y="593"/>
                </a:cubicBezTo>
                <a:cubicBezTo>
                  <a:pt x="501" y="591"/>
                  <a:pt x="496" y="591"/>
                  <a:pt x="497" y="589"/>
                </a:cubicBezTo>
                <a:cubicBezTo>
                  <a:pt x="498" y="587"/>
                  <a:pt x="500" y="590"/>
                  <a:pt x="500" y="591"/>
                </a:cubicBezTo>
                <a:cubicBezTo>
                  <a:pt x="502" y="592"/>
                  <a:pt x="503" y="590"/>
                  <a:pt x="503" y="593"/>
                </a:cubicBezTo>
                <a:cubicBezTo>
                  <a:pt x="503" y="594"/>
                  <a:pt x="506" y="597"/>
                  <a:pt x="506" y="597"/>
                </a:cubicBezTo>
                <a:cubicBezTo>
                  <a:pt x="507" y="597"/>
                  <a:pt x="507" y="595"/>
                  <a:pt x="508" y="597"/>
                </a:cubicBezTo>
                <a:cubicBezTo>
                  <a:pt x="508" y="596"/>
                  <a:pt x="507" y="600"/>
                  <a:pt x="508" y="600"/>
                </a:cubicBezTo>
                <a:cubicBezTo>
                  <a:pt x="507" y="600"/>
                  <a:pt x="506" y="600"/>
                  <a:pt x="505" y="598"/>
                </a:cubicBezTo>
                <a:close/>
                <a:moveTo>
                  <a:pt x="499" y="528"/>
                </a:moveTo>
                <a:cubicBezTo>
                  <a:pt x="500" y="528"/>
                  <a:pt x="500" y="529"/>
                  <a:pt x="501" y="529"/>
                </a:cubicBezTo>
                <a:cubicBezTo>
                  <a:pt x="502" y="530"/>
                  <a:pt x="498" y="529"/>
                  <a:pt x="499" y="528"/>
                </a:cubicBezTo>
                <a:close/>
                <a:moveTo>
                  <a:pt x="501" y="521"/>
                </a:moveTo>
                <a:cubicBezTo>
                  <a:pt x="502" y="520"/>
                  <a:pt x="502" y="522"/>
                  <a:pt x="502" y="522"/>
                </a:cubicBezTo>
                <a:cubicBezTo>
                  <a:pt x="502" y="523"/>
                  <a:pt x="500" y="521"/>
                  <a:pt x="501" y="521"/>
                </a:cubicBezTo>
                <a:close/>
                <a:moveTo>
                  <a:pt x="509" y="616"/>
                </a:moveTo>
                <a:cubicBezTo>
                  <a:pt x="508" y="616"/>
                  <a:pt x="507" y="614"/>
                  <a:pt x="508" y="614"/>
                </a:cubicBezTo>
                <a:cubicBezTo>
                  <a:pt x="510" y="614"/>
                  <a:pt x="510" y="616"/>
                  <a:pt x="509" y="616"/>
                </a:cubicBezTo>
                <a:close/>
                <a:moveTo>
                  <a:pt x="510" y="615"/>
                </a:moveTo>
                <a:cubicBezTo>
                  <a:pt x="510" y="615"/>
                  <a:pt x="511" y="615"/>
                  <a:pt x="511" y="616"/>
                </a:cubicBezTo>
                <a:cubicBezTo>
                  <a:pt x="512" y="617"/>
                  <a:pt x="510" y="616"/>
                  <a:pt x="510" y="615"/>
                </a:cubicBezTo>
                <a:close/>
                <a:moveTo>
                  <a:pt x="515" y="611"/>
                </a:moveTo>
                <a:cubicBezTo>
                  <a:pt x="514" y="610"/>
                  <a:pt x="516" y="610"/>
                  <a:pt x="515" y="611"/>
                </a:cubicBezTo>
                <a:close/>
                <a:moveTo>
                  <a:pt x="518" y="606"/>
                </a:moveTo>
                <a:cubicBezTo>
                  <a:pt x="517" y="604"/>
                  <a:pt x="519" y="603"/>
                  <a:pt x="518" y="606"/>
                </a:cubicBezTo>
                <a:close/>
                <a:moveTo>
                  <a:pt x="518" y="567"/>
                </a:moveTo>
                <a:cubicBezTo>
                  <a:pt x="517" y="568"/>
                  <a:pt x="518" y="565"/>
                  <a:pt x="518" y="567"/>
                </a:cubicBezTo>
                <a:close/>
                <a:moveTo>
                  <a:pt x="520" y="607"/>
                </a:moveTo>
                <a:cubicBezTo>
                  <a:pt x="519" y="607"/>
                  <a:pt x="520" y="607"/>
                  <a:pt x="520" y="607"/>
                </a:cubicBezTo>
                <a:close/>
                <a:moveTo>
                  <a:pt x="520" y="607"/>
                </a:moveTo>
                <a:cubicBezTo>
                  <a:pt x="520" y="608"/>
                  <a:pt x="520" y="608"/>
                  <a:pt x="520" y="608"/>
                </a:cubicBezTo>
                <a:cubicBezTo>
                  <a:pt x="520" y="608"/>
                  <a:pt x="520" y="608"/>
                  <a:pt x="520" y="608"/>
                </a:cubicBezTo>
                <a:cubicBezTo>
                  <a:pt x="520" y="608"/>
                  <a:pt x="520" y="608"/>
                  <a:pt x="520" y="607"/>
                </a:cubicBezTo>
                <a:close/>
                <a:moveTo>
                  <a:pt x="520" y="587"/>
                </a:moveTo>
                <a:cubicBezTo>
                  <a:pt x="520" y="587"/>
                  <a:pt x="521" y="588"/>
                  <a:pt x="521" y="588"/>
                </a:cubicBezTo>
                <a:cubicBezTo>
                  <a:pt x="522" y="589"/>
                  <a:pt x="519" y="588"/>
                  <a:pt x="520" y="587"/>
                </a:cubicBezTo>
                <a:close/>
                <a:moveTo>
                  <a:pt x="524" y="590"/>
                </a:moveTo>
                <a:cubicBezTo>
                  <a:pt x="523" y="591"/>
                  <a:pt x="524" y="588"/>
                  <a:pt x="524" y="590"/>
                </a:cubicBezTo>
                <a:close/>
                <a:moveTo>
                  <a:pt x="525" y="609"/>
                </a:moveTo>
                <a:cubicBezTo>
                  <a:pt x="528" y="610"/>
                  <a:pt x="527" y="613"/>
                  <a:pt x="529" y="615"/>
                </a:cubicBezTo>
                <a:cubicBezTo>
                  <a:pt x="527" y="614"/>
                  <a:pt x="526" y="611"/>
                  <a:pt x="525" y="609"/>
                </a:cubicBezTo>
                <a:close/>
                <a:moveTo>
                  <a:pt x="525" y="580"/>
                </a:moveTo>
                <a:cubicBezTo>
                  <a:pt x="525" y="582"/>
                  <a:pt x="522" y="580"/>
                  <a:pt x="523" y="579"/>
                </a:cubicBezTo>
                <a:cubicBezTo>
                  <a:pt x="524" y="578"/>
                  <a:pt x="525" y="579"/>
                  <a:pt x="525" y="580"/>
                </a:cubicBezTo>
                <a:close/>
                <a:moveTo>
                  <a:pt x="524" y="565"/>
                </a:moveTo>
                <a:cubicBezTo>
                  <a:pt x="524" y="564"/>
                  <a:pt x="525" y="566"/>
                  <a:pt x="525" y="566"/>
                </a:cubicBezTo>
                <a:cubicBezTo>
                  <a:pt x="525" y="568"/>
                  <a:pt x="523" y="566"/>
                  <a:pt x="524" y="565"/>
                </a:cubicBezTo>
                <a:close/>
                <a:moveTo>
                  <a:pt x="524" y="549"/>
                </a:moveTo>
                <a:cubicBezTo>
                  <a:pt x="525" y="547"/>
                  <a:pt x="529" y="549"/>
                  <a:pt x="529" y="551"/>
                </a:cubicBezTo>
                <a:cubicBezTo>
                  <a:pt x="530" y="557"/>
                  <a:pt x="524" y="550"/>
                  <a:pt x="524" y="549"/>
                </a:cubicBezTo>
                <a:close/>
                <a:moveTo>
                  <a:pt x="525" y="541"/>
                </a:moveTo>
                <a:cubicBezTo>
                  <a:pt x="523" y="541"/>
                  <a:pt x="525" y="539"/>
                  <a:pt x="525" y="541"/>
                </a:cubicBezTo>
                <a:close/>
                <a:moveTo>
                  <a:pt x="526" y="576"/>
                </a:moveTo>
                <a:cubicBezTo>
                  <a:pt x="526" y="576"/>
                  <a:pt x="526" y="576"/>
                  <a:pt x="526" y="576"/>
                </a:cubicBezTo>
                <a:cubicBezTo>
                  <a:pt x="526" y="574"/>
                  <a:pt x="526" y="576"/>
                  <a:pt x="526" y="576"/>
                </a:cubicBezTo>
                <a:close/>
                <a:moveTo>
                  <a:pt x="530" y="596"/>
                </a:moveTo>
                <a:cubicBezTo>
                  <a:pt x="530" y="596"/>
                  <a:pt x="530" y="597"/>
                  <a:pt x="531" y="597"/>
                </a:cubicBezTo>
                <a:cubicBezTo>
                  <a:pt x="531" y="599"/>
                  <a:pt x="528" y="596"/>
                  <a:pt x="530" y="596"/>
                </a:cubicBezTo>
                <a:close/>
                <a:moveTo>
                  <a:pt x="527" y="595"/>
                </a:moveTo>
                <a:cubicBezTo>
                  <a:pt x="526" y="594"/>
                  <a:pt x="528" y="590"/>
                  <a:pt x="530" y="591"/>
                </a:cubicBezTo>
                <a:cubicBezTo>
                  <a:pt x="532" y="592"/>
                  <a:pt x="531" y="598"/>
                  <a:pt x="527" y="595"/>
                </a:cubicBezTo>
                <a:close/>
                <a:moveTo>
                  <a:pt x="533" y="617"/>
                </a:moveTo>
                <a:cubicBezTo>
                  <a:pt x="533" y="618"/>
                  <a:pt x="532" y="616"/>
                  <a:pt x="533" y="617"/>
                </a:cubicBezTo>
                <a:close/>
                <a:moveTo>
                  <a:pt x="533" y="600"/>
                </a:moveTo>
                <a:cubicBezTo>
                  <a:pt x="534" y="601"/>
                  <a:pt x="531" y="600"/>
                  <a:pt x="532" y="599"/>
                </a:cubicBezTo>
                <a:cubicBezTo>
                  <a:pt x="532" y="598"/>
                  <a:pt x="533" y="599"/>
                  <a:pt x="533" y="600"/>
                </a:cubicBezTo>
                <a:close/>
                <a:moveTo>
                  <a:pt x="531" y="579"/>
                </a:moveTo>
                <a:cubicBezTo>
                  <a:pt x="530" y="577"/>
                  <a:pt x="529" y="575"/>
                  <a:pt x="529" y="572"/>
                </a:cubicBezTo>
                <a:cubicBezTo>
                  <a:pt x="530" y="574"/>
                  <a:pt x="531" y="576"/>
                  <a:pt x="531" y="579"/>
                </a:cubicBezTo>
                <a:close/>
                <a:moveTo>
                  <a:pt x="532" y="541"/>
                </a:moveTo>
                <a:cubicBezTo>
                  <a:pt x="533" y="541"/>
                  <a:pt x="530" y="540"/>
                  <a:pt x="532" y="541"/>
                </a:cubicBezTo>
                <a:close/>
                <a:moveTo>
                  <a:pt x="531" y="502"/>
                </a:moveTo>
                <a:cubicBezTo>
                  <a:pt x="529" y="501"/>
                  <a:pt x="529" y="499"/>
                  <a:pt x="529" y="498"/>
                </a:cubicBezTo>
                <a:cubicBezTo>
                  <a:pt x="530" y="499"/>
                  <a:pt x="530" y="500"/>
                  <a:pt x="531" y="502"/>
                </a:cubicBezTo>
                <a:close/>
                <a:moveTo>
                  <a:pt x="526" y="400"/>
                </a:moveTo>
                <a:cubicBezTo>
                  <a:pt x="528" y="399"/>
                  <a:pt x="530" y="401"/>
                  <a:pt x="529" y="402"/>
                </a:cubicBezTo>
                <a:cubicBezTo>
                  <a:pt x="529" y="406"/>
                  <a:pt x="525" y="401"/>
                  <a:pt x="526" y="400"/>
                </a:cubicBezTo>
                <a:close/>
                <a:moveTo>
                  <a:pt x="529" y="495"/>
                </a:moveTo>
                <a:cubicBezTo>
                  <a:pt x="528" y="491"/>
                  <a:pt x="529" y="498"/>
                  <a:pt x="529" y="495"/>
                </a:cubicBezTo>
                <a:close/>
                <a:moveTo>
                  <a:pt x="528" y="472"/>
                </a:moveTo>
                <a:cubicBezTo>
                  <a:pt x="528" y="473"/>
                  <a:pt x="528" y="472"/>
                  <a:pt x="528" y="473"/>
                </a:cubicBezTo>
                <a:cubicBezTo>
                  <a:pt x="529" y="474"/>
                  <a:pt x="526" y="471"/>
                  <a:pt x="528" y="472"/>
                </a:cubicBezTo>
                <a:close/>
                <a:moveTo>
                  <a:pt x="527" y="451"/>
                </a:moveTo>
                <a:cubicBezTo>
                  <a:pt x="527" y="452"/>
                  <a:pt x="527" y="453"/>
                  <a:pt x="527" y="454"/>
                </a:cubicBezTo>
                <a:cubicBezTo>
                  <a:pt x="527" y="452"/>
                  <a:pt x="527" y="452"/>
                  <a:pt x="527" y="451"/>
                </a:cubicBezTo>
                <a:close/>
                <a:moveTo>
                  <a:pt x="526" y="427"/>
                </a:moveTo>
                <a:cubicBezTo>
                  <a:pt x="525" y="428"/>
                  <a:pt x="526" y="425"/>
                  <a:pt x="526" y="427"/>
                </a:cubicBezTo>
                <a:close/>
                <a:moveTo>
                  <a:pt x="525" y="423"/>
                </a:moveTo>
                <a:cubicBezTo>
                  <a:pt x="525" y="424"/>
                  <a:pt x="526" y="425"/>
                  <a:pt x="525" y="426"/>
                </a:cubicBezTo>
                <a:cubicBezTo>
                  <a:pt x="525" y="425"/>
                  <a:pt x="524" y="424"/>
                  <a:pt x="525" y="423"/>
                </a:cubicBezTo>
                <a:close/>
                <a:moveTo>
                  <a:pt x="523" y="458"/>
                </a:moveTo>
                <a:cubicBezTo>
                  <a:pt x="523" y="458"/>
                  <a:pt x="523" y="458"/>
                  <a:pt x="523" y="458"/>
                </a:cubicBezTo>
                <a:cubicBezTo>
                  <a:pt x="523" y="458"/>
                  <a:pt x="523" y="458"/>
                  <a:pt x="523" y="458"/>
                </a:cubicBezTo>
                <a:cubicBezTo>
                  <a:pt x="523" y="458"/>
                  <a:pt x="523" y="458"/>
                  <a:pt x="523" y="458"/>
                </a:cubicBezTo>
                <a:close/>
                <a:moveTo>
                  <a:pt x="530" y="536"/>
                </a:moveTo>
                <a:cubicBezTo>
                  <a:pt x="527" y="532"/>
                  <a:pt x="525" y="528"/>
                  <a:pt x="523" y="523"/>
                </a:cubicBezTo>
                <a:cubicBezTo>
                  <a:pt x="526" y="527"/>
                  <a:pt x="529" y="531"/>
                  <a:pt x="530" y="536"/>
                </a:cubicBezTo>
                <a:close/>
                <a:moveTo>
                  <a:pt x="525" y="586"/>
                </a:moveTo>
                <a:cubicBezTo>
                  <a:pt x="525" y="586"/>
                  <a:pt x="525" y="587"/>
                  <a:pt x="524" y="587"/>
                </a:cubicBezTo>
                <a:cubicBezTo>
                  <a:pt x="520" y="589"/>
                  <a:pt x="523" y="581"/>
                  <a:pt x="525" y="586"/>
                </a:cubicBezTo>
                <a:close/>
                <a:moveTo>
                  <a:pt x="521" y="487"/>
                </a:moveTo>
                <a:cubicBezTo>
                  <a:pt x="522" y="487"/>
                  <a:pt x="522" y="487"/>
                  <a:pt x="522" y="487"/>
                </a:cubicBezTo>
                <a:cubicBezTo>
                  <a:pt x="523" y="489"/>
                  <a:pt x="520" y="487"/>
                  <a:pt x="521" y="487"/>
                </a:cubicBezTo>
                <a:close/>
                <a:moveTo>
                  <a:pt x="520" y="406"/>
                </a:moveTo>
                <a:cubicBezTo>
                  <a:pt x="519" y="407"/>
                  <a:pt x="519" y="405"/>
                  <a:pt x="519" y="404"/>
                </a:cubicBezTo>
                <a:cubicBezTo>
                  <a:pt x="520" y="404"/>
                  <a:pt x="520" y="406"/>
                  <a:pt x="520" y="406"/>
                </a:cubicBezTo>
                <a:close/>
                <a:moveTo>
                  <a:pt x="518" y="118"/>
                </a:moveTo>
                <a:cubicBezTo>
                  <a:pt x="516" y="117"/>
                  <a:pt x="520" y="119"/>
                  <a:pt x="518" y="118"/>
                </a:cubicBezTo>
                <a:close/>
                <a:moveTo>
                  <a:pt x="520" y="517"/>
                </a:moveTo>
                <a:cubicBezTo>
                  <a:pt x="520" y="517"/>
                  <a:pt x="523" y="522"/>
                  <a:pt x="521" y="521"/>
                </a:cubicBezTo>
                <a:cubicBezTo>
                  <a:pt x="519" y="520"/>
                  <a:pt x="518" y="514"/>
                  <a:pt x="517" y="511"/>
                </a:cubicBezTo>
                <a:cubicBezTo>
                  <a:pt x="518" y="512"/>
                  <a:pt x="519" y="515"/>
                  <a:pt x="520" y="517"/>
                </a:cubicBezTo>
                <a:close/>
                <a:moveTo>
                  <a:pt x="517" y="510"/>
                </a:moveTo>
                <a:cubicBezTo>
                  <a:pt x="516" y="508"/>
                  <a:pt x="515" y="507"/>
                  <a:pt x="515" y="506"/>
                </a:cubicBezTo>
                <a:cubicBezTo>
                  <a:pt x="516" y="506"/>
                  <a:pt x="517" y="508"/>
                  <a:pt x="517" y="510"/>
                </a:cubicBezTo>
                <a:close/>
                <a:moveTo>
                  <a:pt x="517" y="585"/>
                </a:moveTo>
                <a:cubicBezTo>
                  <a:pt x="516" y="585"/>
                  <a:pt x="516" y="584"/>
                  <a:pt x="516" y="584"/>
                </a:cubicBezTo>
                <a:cubicBezTo>
                  <a:pt x="517" y="584"/>
                  <a:pt x="517" y="585"/>
                  <a:pt x="517" y="585"/>
                </a:cubicBezTo>
                <a:close/>
                <a:moveTo>
                  <a:pt x="513" y="496"/>
                </a:moveTo>
                <a:cubicBezTo>
                  <a:pt x="514" y="498"/>
                  <a:pt x="515" y="500"/>
                  <a:pt x="516" y="502"/>
                </a:cubicBezTo>
                <a:cubicBezTo>
                  <a:pt x="516" y="502"/>
                  <a:pt x="513" y="498"/>
                  <a:pt x="513" y="496"/>
                </a:cubicBezTo>
                <a:close/>
                <a:moveTo>
                  <a:pt x="513" y="532"/>
                </a:moveTo>
                <a:cubicBezTo>
                  <a:pt x="513" y="532"/>
                  <a:pt x="513" y="531"/>
                  <a:pt x="513" y="532"/>
                </a:cubicBezTo>
                <a:cubicBezTo>
                  <a:pt x="513" y="532"/>
                  <a:pt x="513" y="532"/>
                  <a:pt x="513" y="532"/>
                </a:cubicBezTo>
                <a:close/>
                <a:moveTo>
                  <a:pt x="514" y="115"/>
                </a:moveTo>
                <a:cubicBezTo>
                  <a:pt x="514" y="116"/>
                  <a:pt x="512" y="115"/>
                  <a:pt x="512" y="114"/>
                </a:cubicBezTo>
                <a:cubicBezTo>
                  <a:pt x="513" y="114"/>
                  <a:pt x="513" y="115"/>
                  <a:pt x="514" y="115"/>
                </a:cubicBezTo>
                <a:close/>
                <a:moveTo>
                  <a:pt x="513" y="495"/>
                </a:moveTo>
                <a:cubicBezTo>
                  <a:pt x="513" y="496"/>
                  <a:pt x="512" y="493"/>
                  <a:pt x="513" y="495"/>
                </a:cubicBezTo>
                <a:close/>
                <a:moveTo>
                  <a:pt x="515" y="592"/>
                </a:moveTo>
                <a:cubicBezTo>
                  <a:pt x="516" y="594"/>
                  <a:pt x="518" y="595"/>
                  <a:pt x="518" y="598"/>
                </a:cubicBezTo>
                <a:cubicBezTo>
                  <a:pt x="514" y="592"/>
                  <a:pt x="511" y="585"/>
                  <a:pt x="507" y="580"/>
                </a:cubicBezTo>
                <a:cubicBezTo>
                  <a:pt x="504" y="575"/>
                  <a:pt x="511" y="583"/>
                  <a:pt x="512" y="584"/>
                </a:cubicBezTo>
                <a:cubicBezTo>
                  <a:pt x="513" y="586"/>
                  <a:pt x="514" y="590"/>
                  <a:pt x="515" y="592"/>
                </a:cubicBezTo>
                <a:close/>
                <a:moveTo>
                  <a:pt x="509" y="537"/>
                </a:moveTo>
                <a:cubicBezTo>
                  <a:pt x="509" y="539"/>
                  <a:pt x="507" y="537"/>
                  <a:pt x="508" y="537"/>
                </a:cubicBezTo>
                <a:cubicBezTo>
                  <a:pt x="508" y="536"/>
                  <a:pt x="509" y="537"/>
                  <a:pt x="509" y="537"/>
                </a:cubicBezTo>
                <a:close/>
                <a:moveTo>
                  <a:pt x="508" y="484"/>
                </a:moveTo>
                <a:cubicBezTo>
                  <a:pt x="509" y="485"/>
                  <a:pt x="508" y="483"/>
                  <a:pt x="508" y="484"/>
                </a:cubicBezTo>
                <a:close/>
                <a:moveTo>
                  <a:pt x="510" y="544"/>
                </a:moveTo>
                <a:cubicBezTo>
                  <a:pt x="510" y="544"/>
                  <a:pt x="510" y="545"/>
                  <a:pt x="510" y="545"/>
                </a:cubicBezTo>
                <a:cubicBezTo>
                  <a:pt x="507" y="546"/>
                  <a:pt x="508" y="541"/>
                  <a:pt x="510" y="544"/>
                </a:cubicBezTo>
                <a:close/>
                <a:moveTo>
                  <a:pt x="507" y="463"/>
                </a:moveTo>
                <a:cubicBezTo>
                  <a:pt x="508" y="467"/>
                  <a:pt x="511" y="471"/>
                  <a:pt x="511" y="476"/>
                </a:cubicBezTo>
                <a:cubicBezTo>
                  <a:pt x="509" y="472"/>
                  <a:pt x="508" y="468"/>
                  <a:pt x="507" y="463"/>
                </a:cubicBezTo>
                <a:close/>
                <a:moveTo>
                  <a:pt x="508" y="387"/>
                </a:moveTo>
                <a:cubicBezTo>
                  <a:pt x="506" y="384"/>
                  <a:pt x="505" y="381"/>
                  <a:pt x="505" y="378"/>
                </a:cubicBezTo>
                <a:cubicBezTo>
                  <a:pt x="506" y="381"/>
                  <a:pt x="507" y="383"/>
                  <a:pt x="508" y="387"/>
                </a:cubicBezTo>
                <a:close/>
                <a:moveTo>
                  <a:pt x="507" y="528"/>
                </a:moveTo>
                <a:cubicBezTo>
                  <a:pt x="506" y="529"/>
                  <a:pt x="505" y="527"/>
                  <a:pt x="504" y="526"/>
                </a:cubicBezTo>
                <a:cubicBezTo>
                  <a:pt x="506" y="525"/>
                  <a:pt x="506" y="528"/>
                  <a:pt x="507" y="528"/>
                </a:cubicBezTo>
                <a:close/>
                <a:moveTo>
                  <a:pt x="504" y="525"/>
                </a:moveTo>
                <a:cubicBezTo>
                  <a:pt x="504" y="525"/>
                  <a:pt x="502" y="524"/>
                  <a:pt x="503" y="523"/>
                </a:cubicBezTo>
                <a:cubicBezTo>
                  <a:pt x="504" y="523"/>
                  <a:pt x="503" y="524"/>
                  <a:pt x="504" y="525"/>
                </a:cubicBezTo>
                <a:close/>
                <a:moveTo>
                  <a:pt x="503" y="434"/>
                </a:moveTo>
                <a:cubicBezTo>
                  <a:pt x="502" y="434"/>
                  <a:pt x="502" y="433"/>
                  <a:pt x="502" y="432"/>
                </a:cubicBezTo>
                <a:cubicBezTo>
                  <a:pt x="503" y="433"/>
                  <a:pt x="503" y="434"/>
                  <a:pt x="503" y="434"/>
                </a:cubicBezTo>
                <a:close/>
                <a:moveTo>
                  <a:pt x="501" y="431"/>
                </a:moveTo>
                <a:cubicBezTo>
                  <a:pt x="502" y="430"/>
                  <a:pt x="502" y="432"/>
                  <a:pt x="501" y="431"/>
                </a:cubicBezTo>
                <a:close/>
                <a:moveTo>
                  <a:pt x="500" y="448"/>
                </a:moveTo>
                <a:cubicBezTo>
                  <a:pt x="500" y="447"/>
                  <a:pt x="501" y="447"/>
                  <a:pt x="501" y="447"/>
                </a:cubicBezTo>
                <a:cubicBezTo>
                  <a:pt x="502" y="448"/>
                  <a:pt x="500" y="448"/>
                  <a:pt x="500" y="448"/>
                </a:cubicBezTo>
                <a:close/>
                <a:moveTo>
                  <a:pt x="501" y="429"/>
                </a:moveTo>
                <a:cubicBezTo>
                  <a:pt x="500" y="429"/>
                  <a:pt x="499" y="427"/>
                  <a:pt x="499" y="426"/>
                </a:cubicBezTo>
                <a:cubicBezTo>
                  <a:pt x="500" y="427"/>
                  <a:pt x="500" y="428"/>
                  <a:pt x="501" y="429"/>
                </a:cubicBezTo>
                <a:close/>
                <a:moveTo>
                  <a:pt x="499" y="566"/>
                </a:moveTo>
                <a:cubicBezTo>
                  <a:pt x="500" y="568"/>
                  <a:pt x="495" y="566"/>
                  <a:pt x="497" y="565"/>
                </a:cubicBezTo>
                <a:cubicBezTo>
                  <a:pt x="498" y="564"/>
                  <a:pt x="499" y="565"/>
                  <a:pt x="499" y="566"/>
                </a:cubicBezTo>
                <a:close/>
                <a:moveTo>
                  <a:pt x="498" y="149"/>
                </a:moveTo>
                <a:cubicBezTo>
                  <a:pt x="497" y="149"/>
                  <a:pt x="496" y="149"/>
                  <a:pt x="495" y="148"/>
                </a:cubicBezTo>
                <a:cubicBezTo>
                  <a:pt x="496" y="147"/>
                  <a:pt x="497" y="149"/>
                  <a:pt x="498" y="149"/>
                </a:cubicBezTo>
                <a:close/>
                <a:moveTo>
                  <a:pt x="494" y="480"/>
                </a:moveTo>
                <a:cubicBezTo>
                  <a:pt x="495" y="480"/>
                  <a:pt x="494" y="482"/>
                  <a:pt x="494" y="481"/>
                </a:cubicBezTo>
                <a:cubicBezTo>
                  <a:pt x="494" y="481"/>
                  <a:pt x="494" y="480"/>
                  <a:pt x="494" y="480"/>
                </a:cubicBezTo>
                <a:close/>
                <a:moveTo>
                  <a:pt x="487" y="591"/>
                </a:moveTo>
                <a:cubicBezTo>
                  <a:pt x="488" y="592"/>
                  <a:pt x="491" y="594"/>
                  <a:pt x="491" y="595"/>
                </a:cubicBezTo>
                <a:cubicBezTo>
                  <a:pt x="491" y="596"/>
                  <a:pt x="487" y="593"/>
                  <a:pt x="487" y="591"/>
                </a:cubicBezTo>
                <a:close/>
                <a:moveTo>
                  <a:pt x="487" y="573"/>
                </a:moveTo>
                <a:cubicBezTo>
                  <a:pt x="486" y="573"/>
                  <a:pt x="488" y="573"/>
                  <a:pt x="487" y="573"/>
                </a:cubicBezTo>
                <a:close/>
                <a:moveTo>
                  <a:pt x="490" y="482"/>
                </a:moveTo>
                <a:cubicBezTo>
                  <a:pt x="490" y="485"/>
                  <a:pt x="485" y="482"/>
                  <a:pt x="487" y="481"/>
                </a:cubicBezTo>
                <a:cubicBezTo>
                  <a:pt x="488" y="480"/>
                  <a:pt x="490" y="482"/>
                  <a:pt x="490" y="482"/>
                </a:cubicBezTo>
                <a:close/>
                <a:moveTo>
                  <a:pt x="487" y="468"/>
                </a:moveTo>
                <a:cubicBezTo>
                  <a:pt x="487" y="469"/>
                  <a:pt x="486" y="466"/>
                  <a:pt x="487" y="468"/>
                </a:cubicBezTo>
                <a:close/>
                <a:moveTo>
                  <a:pt x="486" y="380"/>
                </a:moveTo>
                <a:cubicBezTo>
                  <a:pt x="486" y="379"/>
                  <a:pt x="488" y="382"/>
                  <a:pt x="486" y="380"/>
                </a:cubicBezTo>
                <a:close/>
                <a:moveTo>
                  <a:pt x="486" y="467"/>
                </a:moveTo>
                <a:cubicBezTo>
                  <a:pt x="486" y="466"/>
                  <a:pt x="485" y="466"/>
                  <a:pt x="485" y="465"/>
                </a:cubicBezTo>
                <a:cubicBezTo>
                  <a:pt x="486" y="465"/>
                  <a:pt x="486" y="466"/>
                  <a:pt x="486" y="467"/>
                </a:cubicBezTo>
                <a:close/>
                <a:moveTo>
                  <a:pt x="486" y="560"/>
                </a:moveTo>
                <a:cubicBezTo>
                  <a:pt x="485" y="561"/>
                  <a:pt x="485" y="558"/>
                  <a:pt x="486" y="560"/>
                </a:cubicBezTo>
                <a:close/>
                <a:moveTo>
                  <a:pt x="484" y="463"/>
                </a:moveTo>
                <a:cubicBezTo>
                  <a:pt x="485" y="463"/>
                  <a:pt x="485" y="464"/>
                  <a:pt x="485" y="464"/>
                </a:cubicBezTo>
                <a:cubicBezTo>
                  <a:pt x="485" y="464"/>
                  <a:pt x="484" y="464"/>
                  <a:pt x="484" y="463"/>
                </a:cubicBezTo>
                <a:close/>
                <a:moveTo>
                  <a:pt x="484" y="462"/>
                </a:moveTo>
                <a:cubicBezTo>
                  <a:pt x="483" y="461"/>
                  <a:pt x="484" y="460"/>
                  <a:pt x="484" y="462"/>
                </a:cubicBezTo>
                <a:close/>
                <a:moveTo>
                  <a:pt x="484" y="465"/>
                </a:moveTo>
                <a:cubicBezTo>
                  <a:pt x="483" y="465"/>
                  <a:pt x="483" y="464"/>
                  <a:pt x="483" y="463"/>
                </a:cubicBezTo>
                <a:cubicBezTo>
                  <a:pt x="484" y="463"/>
                  <a:pt x="484" y="464"/>
                  <a:pt x="484" y="465"/>
                </a:cubicBezTo>
                <a:close/>
                <a:moveTo>
                  <a:pt x="483" y="460"/>
                </a:moveTo>
                <a:cubicBezTo>
                  <a:pt x="482" y="459"/>
                  <a:pt x="481" y="458"/>
                  <a:pt x="482" y="456"/>
                </a:cubicBezTo>
                <a:cubicBezTo>
                  <a:pt x="482" y="457"/>
                  <a:pt x="483" y="458"/>
                  <a:pt x="483" y="460"/>
                </a:cubicBezTo>
                <a:close/>
                <a:moveTo>
                  <a:pt x="482" y="461"/>
                </a:moveTo>
                <a:cubicBezTo>
                  <a:pt x="483" y="462"/>
                  <a:pt x="481" y="460"/>
                  <a:pt x="482" y="461"/>
                </a:cubicBezTo>
                <a:close/>
                <a:moveTo>
                  <a:pt x="486" y="590"/>
                </a:moveTo>
                <a:cubicBezTo>
                  <a:pt x="484" y="587"/>
                  <a:pt x="482" y="585"/>
                  <a:pt x="481" y="582"/>
                </a:cubicBezTo>
                <a:cubicBezTo>
                  <a:pt x="483" y="584"/>
                  <a:pt x="485" y="587"/>
                  <a:pt x="486" y="590"/>
                </a:cubicBezTo>
                <a:close/>
                <a:moveTo>
                  <a:pt x="480" y="457"/>
                </a:moveTo>
                <a:cubicBezTo>
                  <a:pt x="480" y="457"/>
                  <a:pt x="479" y="454"/>
                  <a:pt x="480" y="457"/>
                </a:cubicBezTo>
                <a:close/>
                <a:moveTo>
                  <a:pt x="479" y="414"/>
                </a:moveTo>
                <a:cubicBezTo>
                  <a:pt x="479" y="413"/>
                  <a:pt x="478" y="413"/>
                  <a:pt x="479" y="412"/>
                </a:cubicBezTo>
                <a:cubicBezTo>
                  <a:pt x="479" y="413"/>
                  <a:pt x="480" y="413"/>
                  <a:pt x="479" y="414"/>
                </a:cubicBezTo>
                <a:close/>
                <a:moveTo>
                  <a:pt x="478" y="401"/>
                </a:moveTo>
                <a:cubicBezTo>
                  <a:pt x="477" y="400"/>
                  <a:pt x="475" y="397"/>
                  <a:pt x="475" y="394"/>
                </a:cubicBezTo>
                <a:cubicBezTo>
                  <a:pt x="477" y="396"/>
                  <a:pt x="480" y="404"/>
                  <a:pt x="478" y="401"/>
                </a:cubicBezTo>
                <a:close/>
                <a:moveTo>
                  <a:pt x="474" y="393"/>
                </a:moveTo>
                <a:cubicBezTo>
                  <a:pt x="474" y="393"/>
                  <a:pt x="474" y="393"/>
                  <a:pt x="474" y="393"/>
                </a:cubicBezTo>
                <a:cubicBezTo>
                  <a:pt x="474" y="393"/>
                  <a:pt x="474" y="393"/>
                  <a:pt x="474" y="393"/>
                </a:cubicBezTo>
                <a:cubicBezTo>
                  <a:pt x="474" y="393"/>
                  <a:pt x="474" y="393"/>
                  <a:pt x="474" y="393"/>
                </a:cubicBezTo>
                <a:close/>
                <a:moveTo>
                  <a:pt x="469" y="488"/>
                </a:moveTo>
                <a:cubicBezTo>
                  <a:pt x="471" y="488"/>
                  <a:pt x="472" y="491"/>
                  <a:pt x="473" y="493"/>
                </a:cubicBezTo>
                <a:cubicBezTo>
                  <a:pt x="471" y="492"/>
                  <a:pt x="470" y="489"/>
                  <a:pt x="469" y="488"/>
                </a:cubicBezTo>
                <a:close/>
                <a:moveTo>
                  <a:pt x="472" y="391"/>
                </a:moveTo>
                <a:cubicBezTo>
                  <a:pt x="471" y="389"/>
                  <a:pt x="470" y="388"/>
                  <a:pt x="469" y="385"/>
                </a:cubicBezTo>
                <a:cubicBezTo>
                  <a:pt x="471" y="386"/>
                  <a:pt x="472" y="389"/>
                  <a:pt x="472" y="391"/>
                </a:cubicBezTo>
                <a:close/>
                <a:moveTo>
                  <a:pt x="469" y="124"/>
                </a:moveTo>
                <a:cubicBezTo>
                  <a:pt x="469" y="125"/>
                  <a:pt x="467" y="124"/>
                  <a:pt x="467" y="124"/>
                </a:cubicBezTo>
                <a:cubicBezTo>
                  <a:pt x="464" y="122"/>
                  <a:pt x="470" y="123"/>
                  <a:pt x="469" y="124"/>
                </a:cubicBezTo>
                <a:close/>
                <a:moveTo>
                  <a:pt x="466" y="430"/>
                </a:moveTo>
                <a:cubicBezTo>
                  <a:pt x="466" y="434"/>
                  <a:pt x="471" y="437"/>
                  <a:pt x="470" y="440"/>
                </a:cubicBezTo>
                <a:cubicBezTo>
                  <a:pt x="470" y="440"/>
                  <a:pt x="465" y="433"/>
                  <a:pt x="466" y="430"/>
                </a:cubicBezTo>
                <a:close/>
                <a:moveTo>
                  <a:pt x="465" y="555"/>
                </a:moveTo>
                <a:cubicBezTo>
                  <a:pt x="465" y="555"/>
                  <a:pt x="466" y="556"/>
                  <a:pt x="466" y="556"/>
                </a:cubicBezTo>
                <a:cubicBezTo>
                  <a:pt x="467" y="557"/>
                  <a:pt x="464" y="556"/>
                  <a:pt x="465" y="555"/>
                </a:cubicBezTo>
                <a:close/>
                <a:moveTo>
                  <a:pt x="465" y="575"/>
                </a:moveTo>
                <a:cubicBezTo>
                  <a:pt x="465" y="575"/>
                  <a:pt x="465" y="575"/>
                  <a:pt x="466" y="576"/>
                </a:cubicBezTo>
                <a:cubicBezTo>
                  <a:pt x="467" y="577"/>
                  <a:pt x="464" y="576"/>
                  <a:pt x="465" y="575"/>
                </a:cubicBezTo>
                <a:close/>
                <a:moveTo>
                  <a:pt x="463" y="584"/>
                </a:moveTo>
                <a:cubicBezTo>
                  <a:pt x="464" y="583"/>
                  <a:pt x="464" y="584"/>
                  <a:pt x="465" y="585"/>
                </a:cubicBezTo>
                <a:cubicBezTo>
                  <a:pt x="465" y="586"/>
                  <a:pt x="463" y="585"/>
                  <a:pt x="463" y="584"/>
                </a:cubicBezTo>
                <a:close/>
                <a:moveTo>
                  <a:pt x="464" y="655"/>
                </a:moveTo>
                <a:cubicBezTo>
                  <a:pt x="464" y="656"/>
                  <a:pt x="462" y="656"/>
                  <a:pt x="462" y="655"/>
                </a:cubicBezTo>
                <a:cubicBezTo>
                  <a:pt x="462" y="655"/>
                  <a:pt x="464" y="654"/>
                  <a:pt x="464" y="655"/>
                </a:cubicBezTo>
                <a:close/>
                <a:moveTo>
                  <a:pt x="463" y="619"/>
                </a:moveTo>
                <a:cubicBezTo>
                  <a:pt x="462" y="620"/>
                  <a:pt x="461" y="619"/>
                  <a:pt x="461" y="618"/>
                </a:cubicBezTo>
                <a:cubicBezTo>
                  <a:pt x="462" y="619"/>
                  <a:pt x="462" y="619"/>
                  <a:pt x="463" y="619"/>
                </a:cubicBezTo>
                <a:close/>
                <a:moveTo>
                  <a:pt x="461" y="536"/>
                </a:moveTo>
                <a:cubicBezTo>
                  <a:pt x="462" y="537"/>
                  <a:pt x="458" y="535"/>
                  <a:pt x="459" y="534"/>
                </a:cubicBezTo>
                <a:cubicBezTo>
                  <a:pt x="461" y="533"/>
                  <a:pt x="461" y="535"/>
                  <a:pt x="461" y="536"/>
                </a:cubicBezTo>
                <a:close/>
                <a:moveTo>
                  <a:pt x="454" y="150"/>
                </a:moveTo>
                <a:cubicBezTo>
                  <a:pt x="456" y="152"/>
                  <a:pt x="459" y="152"/>
                  <a:pt x="460" y="154"/>
                </a:cubicBezTo>
                <a:cubicBezTo>
                  <a:pt x="458" y="154"/>
                  <a:pt x="456" y="152"/>
                  <a:pt x="454" y="150"/>
                </a:cubicBezTo>
                <a:close/>
                <a:moveTo>
                  <a:pt x="459" y="122"/>
                </a:moveTo>
                <a:cubicBezTo>
                  <a:pt x="457" y="120"/>
                  <a:pt x="461" y="123"/>
                  <a:pt x="459" y="122"/>
                </a:cubicBezTo>
                <a:close/>
                <a:moveTo>
                  <a:pt x="453" y="94"/>
                </a:moveTo>
                <a:cubicBezTo>
                  <a:pt x="451" y="92"/>
                  <a:pt x="455" y="96"/>
                  <a:pt x="453" y="94"/>
                </a:cubicBezTo>
                <a:close/>
                <a:moveTo>
                  <a:pt x="451" y="96"/>
                </a:moveTo>
                <a:cubicBezTo>
                  <a:pt x="455" y="93"/>
                  <a:pt x="458" y="100"/>
                  <a:pt x="454" y="100"/>
                </a:cubicBezTo>
                <a:cubicBezTo>
                  <a:pt x="453" y="101"/>
                  <a:pt x="452" y="100"/>
                  <a:pt x="451" y="98"/>
                </a:cubicBezTo>
                <a:cubicBezTo>
                  <a:pt x="450" y="97"/>
                  <a:pt x="450" y="96"/>
                  <a:pt x="451" y="96"/>
                </a:cubicBezTo>
                <a:close/>
                <a:moveTo>
                  <a:pt x="447" y="103"/>
                </a:moveTo>
                <a:cubicBezTo>
                  <a:pt x="447" y="103"/>
                  <a:pt x="447" y="103"/>
                  <a:pt x="447" y="103"/>
                </a:cubicBezTo>
                <a:cubicBezTo>
                  <a:pt x="446" y="103"/>
                  <a:pt x="447" y="103"/>
                  <a:pt x="447" y="103"/>
                </a:cubicBezTo>
                <a:close/>
                <a:moveTo>
                  <a:pt x="444" y="145"/>
                </a:moveTo>
                <a:cubicBezTo>
                  <a:pt x="446" y="145"/>
                  <a:pt x="449" y="147"/>
                  <a:pt x="451" y="149"/>
                </a:cubicBezTo>
                <a:cubicBezTo>
                  <a:pt x="448" y="149"/>
                  <a:pt x="441" y="143"/>
                  <a:pt x="444" y="145"/>
                </a:cubicBezTo>
                <a:close/>
                <a:moveTo>
                  <a:pt x="442" y="515"/>
                </a:moveTo>
                <a:cubicBezTo>
                  <a:pt x="440" y="516"/>
                  <a:pt x="441" y="513"/>
                  <a:pt x="442" y="515"/>
                </a:cubicBezTo>
                <a:close/>
                <a:moveTo>
                  <a:pt x="436" y="80"/>
                </a:moveTo>
                <a:cubicBezTo>
                  <a:pt x="434" y="80"/>
                  <a:pt x="435" y="78"/>
                  <a:pt x="436" y="80"/>
                </a:cubicBezTo>
                <a:close/>
                <a:moveTo>
                  <a:pt x="440" y="114"/>
                </a:moveTo>
                <a:cubicBezTo>
                  <a:pt x="438" y="111"/>
                  <a:pt x="432" y="110"/>
                  <a:pt x="431" y="107"/>
                </a:cubicBezTo>
                <a:cubicBezTo>
                  <a:pt x="432" y="108"/>
                  <a:pt x="439" y="111"/>
                  <a:pt x="440" y="114"/>
                </a:cubicBezTo>
                <a:close/>
                <a:moveTo>
                  <a:pt x="433" y="179"/>
                </a:moveTo>
                <a:cubicBezTo>
                  <a:pt x="431" y="177"/>
                  <a:pt x="428" y="175"/>
                  <a:pt x="426" y="172"/>
                </a:cubicBezTo>
                <a:cubicBezTo>
                  <a:pt x="429" y="174"/>
                  <a:pt x="432" y="176"/>
                  <a:pt x="433" y="179"/>
                </a:cubicBezTo>
                <a:close/>
                <a:moveTo>
                  <a:pt x="425" y="594"/>
                </a:moveTo>
                <a:cubicBezTo>
                  <a:pt x="425" y="595"/>
                  <a:pt x="426" y="595"/>
                  <a:pt x="426" y="595"/>
                </a:cubicBezTo>
                <a:cubicBezTo>
                  <a:pt x="426" y="596"/>
                  <a:pt x="424" y="595"/>
                  <a:pt x="425" y="594"/>
                </a:cubicBezTo>
                <a:close/>
                <a:moveTo>
                  <a:pt x="426" y="549"/>
                </a:moveTo>
                <a:cubicBezTo>
                  <a:pt x="426" y="550"/>
                  <a:pt x="425" y="548"/>
                  <a:pt x="426" y="549"/>
                </a:cubicBezTo>
                <a:close/>
                <a:moveTo>
                  <a:pt x="426" y="468"/>
                </a:moveTo>
                <a:cubicBezTo>
                  <a:pt x="423" y="467"/>
                  <a:pt x="426" y="466"/>
                  <a:pt x="426" y="468"/>
                </a:cubicBezTo>
                <a:close/>
                <a:moveTo>
                  <a:pt x="425" y="542"/>
                </a:moveTo>
                <a:cubicBezTo>
                  <a:pt x="424" y="541"/>
                  <a:pt x="424" y="539"/>
                  <a:pt x="424" y="538"/>
                </a:cubicBezTo>
                <a:cubicBezTo>
                  <a:pt x="426" y="538"/>
                  <a:pt x="425" y="541"/>
                  <a:pt x="425" y="542"/>
                </a:cubicBezTo>
                <a:close/>
                <a:moveTo>
                  <a:pt x="423" y="592"/>
                </a:moveTo>
                <a:cubicBezTo>
                  <a:pt x="421" y="592"/>
                  <a:pt x="420" y="590"/>
                  <a:pt x="418" y="589"/>
                </a:cubicBezTo>
                <a:cubicBezTo>
                  <a:pt x="420" y="590"/>
                  <a:pt x="419" y="589"/>
                  <a:pt x="420" y="588"/>
                </a:cubicBezTo>
                <a:cubicBezTo>
                  <a:pt x="423" y="587"/>
                  <a:pt x="425" y="591"/>
                  <a:pt x="423" y="592"/>
                </a:cubicBezTo>
                <a:close/>
                <a:moveTo>
                  <a:pt x="420" y="499"/>
                </a:moveTo>
                <a:cubicBezTo>
                  <a:pt x="419" y="500"/>
                  <a:pt x="417" y="496"/>
                  <a:pt x="416" y="494"/>
                </a:cubicBezTo>
                <a:cubicBezTo>
                  <a:pt x="418" y="496"/>
                  <a:pt x="419" y="497"/>
                  <a:pt x="420" y="499"/>
                </a:cubicBezTo>
                <a:close/>
                <a:moveTo>
                  <a:pt x="417" y="100"/>
                </a:moveTo>
                <a:cubicBezTo>
                  <a:pt x="418" y="101"/>
                  <a:pt x="415" y="99"/>
                  <a:pt x="417" y="100"/>
                </a:cubicBezTo>
                <a:close/>
                <a:moveTo>
                  <a:pt x="416" y="49"/>
                </a:moveTo>
                <a:cubicBezTo>
                  <a:pt x="416" y="49"/>
                  <a:pt x="415" y="49"/>
                  <a:pt x="416" y="49"/>
                </a:cubicBezTo>
                <a:cubicBezTo>
                  <a:pt x="416" y="48"/>
                  <a:pt x="418" y="50"/>
                  <a:pt x="416" y="49"/>
                </a:cubicBezTo>
                <a:close/>
                <a:moveTo>
                  <a:pt x="413" y="491"/>
                </a:moveTo>
                <a:cubicBezTo>
                  <a:pt x="414" y="491"/>
                  <a:pt x="414" y="493"/>
                  <a:pt x="416" y="494"/>
                </a:cubicBezTo>
                <a:cubicBezTo>
                  <a:pt x="415" y="494"/>
                  <a:pt x="413" y="492"/>
                  <a:pt x="413" y="491"/>
                </a:cubicBezTo>
                <a:close/>
                <a:moveTo>
                  <a:pt x="415" y="46"/>
                </a:moveTo>
                <a:cubicBezTo>
                  <a:pt x="417" y="47"/>
                  <a:pt x="414" y="45"/>
                  <a:pt x="415" y="46"/>
                </a:cubicBezTo>
                <a:close/>
                <a:moveTo>
                  <a:pt x="414" y="98"/>
                </a:moveTo>
                <a:cubicBezTo>
                  <a:pt x="414" y="97"/>
                  <a:pt x="417" y="100"/>
                  <a:pt x="414" y="98"/>
                </a:cubicBezTo>
                <a:close/>
                <a:moveTo>
                  <a:pt x="414" y="134"/>
                </a:moveTo>
                <a:cubicBezTo>
                  <a:pt x="413" y="134"/>
                  <a:pt x="412" y="133"/>
                  <a:pt x="411" y="133"/>
                </a:cubicBezTo>
                <a:cubicBezTo>
                  <a:pt x="411" y="132"/>
                  <a:pt x="413" y="133"/>
                  <a:pt x="414" y="134"/>
                </a:cubicBezTo>
                <a:close/>
                <a:moveTo>
                  <a:pt x="413" y="99"/>
                </a:moveTo>
                <a:cubicBezTo>
                  <a:pt x="412" y="99"/>
                  <a:pt x="411" y="98"/>
                  <a:pt x="411" y="97"/>
                </a:cubicBezTo>
                <a:cubicBezTo>
                  <a:pt x="412" y="98"/>
                  <a:pt x="413" y="98"/>
                  <a:pt x="413" y="99"/>
                </a:cubicBezTo>
                <a:close/>
                <a:moveTo>
                  <a:pt x="411" y="96"/>
                </a:moveTo>
                <a:cubicBezTo>
                  <a:pt x="409" y="95"/>
                  <a:pt x="412" y="96"/>
                  <a:pt x="411" y="96"/>
                </a:cubicBezTo>
                <a:close/>
                <a:moveTo>
                  <a:pt x="412" y="68"/>
                </a:moveTo>
                <a:cubicBezTo>
                  <a:pt x="411" y="68"/>
                  <a:pt x="410" y="67"/>
                  <a:pt x="409" y="67"/>
                </a:cubicBezTo>
                <a:cubicBezTo>
                  <a:pt x="410" y="66"/>
                  <a:pt x="412" y="67"/>
                  <a:pt x="412" y="68"/>
                </a:cubicBezTo>
                <a:close/>
                <a:moveTo>
                  <a:pt x="408" y="95"/>
                </a:moveTo>
                <a:cubicBezTo>
                  <a:pt x="410" y="96"/>
                  <a:pt x="409" y="97"/>
                  <a:pt x="408" y="95"/>
                </a:cubicBezTo>
                <a:close/>
                <a:moveTo>
                  <a:pt x="406" y="93"/>
                </a:moveTo>
                <a:cubicBezTo>
                  <a:pt x="407" y="93"/>
                  <a:pt x="408" y="94"/>
                  <a:pt x="409" y="95"/>
                </a:cubicBezTo>
                <a:cubicBezTo>
                  <a:pt x="408" y="94"/>
                  <a:pt x="407" y="94"/>
                  <a:pt x="406" y="93"/>
                </a:cubicBezTo>
                <a:close/>
                <a:moveTo>
                  <a:pt x="408" y="66"/>
                </a:moveTo>
                <a:cubicBezTo>
                  <a:pt x="406" y="66"/>
                  <a:pt x="404" y="64"/>
                  <a:pt x="402" y="63"/>
                </a:cubicBezTo>
                <a:cubicBezTo>
                  <a:pt x="404" y="63"/>
                  <a:pt x="406" y="65"/>
                  <a:pt x="408" y="66"/>
                </a:cubicBezTo>
                <a:close/>
                <a:moveTo>
                  <a:pt x="403" y="92"/>
                </a:moveTo>
                <a:cubicBezTo>
                  <a:pt x="402" y="91"/>
                  <a:pt x="404" y="94"/>
                  <a:pt x="403" y="92"/>
                </a:cubicBezTo>
                <a:close/>
                <a:moveTo>
                  <a:pt x="402" y="116"/>
                </a:moveTo>
                <a:cubicBezTo>
                  <a:pt x="402" y="116"/>
                  <a:pt x="401" y="117"/>
                  <a:pt x="401" y="117"/>
                </a:cubicBezTo>
                <a:cubicBezTo>
                  <a:pt x="400" y="117"/>
                  <a:pt x="401" y="115"/>
                  <a:pt x="402" y="116"/>
                </a:cubicBezTo>
                <a:close/>
                <a:moveTo>
                  <a:pt x="404" y="171"/>
                </a:moveTo>
                <a:cubicBezTo>
                  <a:pt x="403" y="173"/>
                  <a:pt x="400" y="171"/>
                  <a:pt x="400" y="170"/>
                </a:cubicBezTo>
                <a:cubicBezTo>
                  <a:pt x="398" y="167"/>
                  <a:pt x="404" y="169"/>
                  <a:pt x="404" y="171"/>
                </a:cubicBezTo>
                <a:close/>
                <a:moveTo>
                  <a:pt x="398" y="513"/>
                </a:moveTo>
                <a:cubicBezTo>
                  <a:pt x="398" y="512"/>
                  <a:pt x="399" y="513"/>
                  <a:pt x="400" y="513"/>
                </a:cubicBezTo>
                <a:cubicBezTo>
                  <a:pt x="401" y="516"/>
                  <a:pt x="396" y="514"/>
                  <a:pt x="398" y="513"/>
                </a:cubicBezTo>
                <a:close/>
                <a:moveTo>
                  <a:pt x="397" y="471"/>
                </a:moveTo>
                <a:cubicBezTo>
                  <a:pt x="396" y="472"/>
                  <a:pt x="396" y="469"/>
                  <a:pt x="397" y="470"/>
                </a:cubicBezTo>
                <a:cubicBezTo>
                  <a:pt x="397" y="470"/>
                  <a:pt x="397" y="471"/>
                  <a:pt x="397" y="471"/>
                </a:cubicBezTo>
                <a:close/>
                <a:moveTo>
                  <a:pt x="397" y="427"/>
                </a:moveTo>
                <a:cubicBezTo>
                  <a:pt x="398" y="428"/>
                  <a:pt x="394" y="427"/>
                  <a:pt x="396" y="426"/>
                </a:cubicBezTo>
                <a:cubicBezTo>
                  <a:pt x="396" y="426"/>
                  <a:pt x="397" y="427"/>
                  <a:pt x="397" y="427"/>
                </a:cubicBezTo>
                <a:close/>
                <a:moveTo>
                  <a:pt x="396" y="81"/>
                </a:moveTo>
                <a:cubicBezTo>
                  <a:pt x="396" y="82"/>
                  <a:pt x="393" y="82"/>
                  <a:pt x="393" y="81"/>
                </a:cubicBezTo>
                <a:cubicBezTo>
                  <a:pt x="391" y="79"/>
                  <a:pt x="397" y="79"/>
                  <a:pt x="396" y="81"/>
                </a:cubicBezTo>
                <a:close/>
                <a:moveTo>
                  <a:pt x="393" y="150"/>
                </a:moveTo>
                <a:cubicBezTo>
                  <a:pt x="392" y="150"/>
                  <a:pt x="391" y="149"/>
                  <a:pt x="391" y="148"/>
                </a:cubicBezTo>
                <a:cubicBezTo>
                  <a:pt x="392" y="148"/>
                  <a:pt x="393" y="149"/>
                  <a:pt x="393" y="150"/>
                </a:cubicBezTo>
                <a:close/>
                <a:moveTo>
                  <a:pt x="395" y="400"/>
                </a:moveTo>
                <a:cubicBezTo>
                  <a:pt x="394" y="403"/>
                  <a:pt x="389" y="398"/>
                  <a:pt x="390" y="397"/>
                </a:cubicBezTo>
                <a:cubicBezTo>
                  <a:pt x="392" y="395"/>
                  <a:pt x="395" y="399"/>
                  <a:pt x="395" y="400"/>
                </a:cubicBezTo>
                <a:close/>
                <a:moveTo>
                  <a:pt x="391" y="167"/>
                </a:moveTo>
                <a:cubicBezTo>
                  <a:pt x="390" y="168"/>
                  <a:pt x="389" y="166"/>
                  <a:pt x="391" y="167"/>
                </a:cubicBezTo>
                <a:close/>
                <a:moveTo>
                  <a:pt x="390" y="147"/>
                </a:moveTo>
                <a:cubicBezTo>
                  <a:pt x="390" y="146"/>
                  <a:pt x="391" y="149"/>
                  <a:pt x="390" y="147"/>
                </a:cubicBezTo>
                <a:close/>
                <a:moveTo>
                  <a:pt x="390" y="84"/>
                </a:moveTo>
                <a:cubicBezTo>
                  <a:pt x="390" y="85"/>
                  <a:pt x="390" y="85"/>
                  <a:pt x="390" y="85"/>
                </a:cubicBezTo>
                <a:cubicBezTo>
                  <a:pt x="389" y="86"/>
                  <a:pt x="389" y="84"/>
                  <a:pt x="390" y="84"/>
                </a:cubicBezTo>
                <a:close/>
                <a:moveTo>
                  <a:pt x="391" y="691"/>
                </a:moveTo>
                <a:cubicBezTo>
                  <a:pt x="391" y="691"/>
                  <a:pt x="391" y="691"/>
                  <a:pt x="391" y="692"/>
                </a:cubicBezTo>
                <a:cubicBezTo>
                  <a:pt x="388" y="691"/>
                  <a:pt x="382" y="691"/>
                  <a:pt x="384" y="687"/>
                </a:cubicBezTo>
                <a:cubicBezTo>
                  <a:pt x="384" y="687"/>
                  <a:pt x="387" y="686"/>
                  <a:pt x="388" y="687"/>
                </a:cubicBezTo>
                <a:cubicBezTo>
                  <a:pt x="391" y="688"/>
                  <a:pt x="388" y="691"/>
                  <a:pt x="391" y="691"/>
                </a:cubicBezTo>
                <a:close/>
                <a:moveTo>
                  <a:pt x="381" y="643"/>
                </a:moveTo>
                <a:cubicBezTo>
                  <a:pt x="381" y="642"/>
                  <a:pt x="381" y="641"/>
                  <a:pt x="381" y="641"/>
                </a:cubicBezTo>
                <a:cubicBezTo>
                  <a:pt x="381" y="641"/>
                  <a:pt x="379" y="641"/>
                  <a:pt x="379" y="640"/>
                </a:cubicBezTo>
                <a:cubicBezTo>
                  <a:pt x="380" y="637"/>
                  <a:pt x="387" y="642"/>
                  <a:pt x="388" y="643"/>
                </a:cubicBezTo>
                <a:cubicBezTo>
                  <a:pt x="387" y="642"/>
                  <a:pt x="383" y="646"/>
                  <a:pt x="381" y="643"/>
                </a:cubicBezTo>
                <a:close/>
                <a:moveTo>
                  <a:pt x="382" y="615"/>
                </a:moveTo>
                <a:cubicBezTo>
                  <a:pt x="383" y="616"/>
                  <a:pt x="381" y="614"/>
                  <a:pt x="382" y="615"/>
                </a:cubicBezTo>
                <a:close/>
                <a:moveTo>
                  <a:pt x="383" y="159"/>
                </a:moveTo>
                <a:cubicBezTo>
                  <a:pt x="383" y="158"/>
                  <a:pt x="385" y="161"/>
                  <a:pt x="383" y="160"/>
                </a:cubicBezTo>
                <a:cubicBezTo>
                  <a:pt x="383" y="160"/>
                  <a:pt x="382" y="159"/>
                  <a:pt x="383" y="159"/>
                </a:cubicBezTo>
                <a:close/>
                <a:moveTo>
                  <a:pt x="387" y="432"/>
                </a:moveTo>
                <a:cubicBezTo>
                  <a:pt x="387" y="432"/>
                  <a:pt x="387" y="433"/>
                  <a:pt x="387" y="433"/>
                </a:cubicBezTo>
                <a:cubicBezTo>
                  <a:pt x="386" y="434"/>
                  <a:pt x="386" y="432"/>
                  <a:pt x="387" y="432"/>
                </a:cubicBezTo>
                <a:close/>
                <a:moveTo>
                  <a:pt x="387" y="159"/>
                </a:moveTo>
                <a:cubicBezTo>
                  <a:pt x="388" y="159"/>
                  <a:pt x="387" y="161"/>
                  <a:pt x="387" y="159"/>
                </a:cubicBezTo>
                <a:close/>
                <a:moveTo>
                  <a:pt x="388" y="106"/>
                </a:moveTo>
                <a:cubicBezTo>
                  <a:pt x="384" y="103"/>
                  <a:pt x="381" y="102"/>
                  <a:pt x="378" y="97"/>
                </a:cubicBezTo>
                <a:cubicBezTo>
                  <a:pt x="382" y="99"/>
                  <a:pt x="385" y="103"/>
                  <a:pt x="388" y="106"/>
                </a:cubicBezTo>
                <a:close/>
                <a:moveTo>
                  <a:pt x="377" y="583"/>
                </a:moveTo>
                <a:cubicBezTo>
                  <a:pt x="379" y="584"/>
                  <a:pt x="377" y="585"/>
                  <a:pt x="377" y="583"/>
                </a:cubicBezTo>
                <a:close/>
                <a:moveTo>
                  <a:pt x="376" y="149"/>
                </a:moveTo>
                <a:cubicBezTo>
                  <a:pt x="376" y="149"/>
                  <a:pt x="375" y="149"/>
                  <a:pt x="376" y="148"/>
                </a:cubicBezTo>
                <a:cubicBezTo>
                  <a:pt x="376" y="147"/>
                  <a:pt x="378" y="151"/>
                  <a:pt x="376" y="149"/>
                </a:cubicBezTo>
                <a:close/>
                <a:moveTo>
                  <a:pt x="376" y="89"/>
                </a:moveTo>
                <a:cubicBezTo>
                  <a:pt x="375" y="89"/>
                  <a:pt x="377" y="90"/>
                  <a:pt x="376" y="89"/>
                </a:cubicBezTo>
                <a:close/>
                <a:moveTo>
                  <a:pt x="376" y="119"/>
                </a:moveTo>
                <a:cubicBezTo>
                  <a:pt x="376" y="119"/>
                  <a:pt x="376" y="119"/>
                  <a:pt x="376" y="119"/>
                </a:cubicBezTo>
                <a:cubicBezTo>
                  <a:pt x="376" y="119"/>
                  <a:pt x="377" y="119"/>
                  <a:pt x="376" y="119"/>
                </a:cubicBezTo>
                <a:close/>
                <a:moveTo>
                  <a:pt x="377" y="127"/>
                </a:moveTo>
                <a:cubicBezTo>
                  <a:pt x="376" y="126"/>
                  <a:pt x="376" y="126"/>
                  <a:pt x="375" y="125"/>
                </a:cubicBezTo>
                <a:cubicBezTo>
                  <a:pt x="376" y="126"/>
                  <a:pt x="377" y="126"/>
                  <a:pt x="377" y="127"/>
                </a:cubicBezTo>
                <a:close/>
                <a:moveTo>
                  <a:pt x="376" y="147"/>
                </a:moveTo>
                <a:cubicBezTo>
                  <a:pt x="374" y="147"/>
                  <a:pt x="373" y="146"/>
                  <a:pt x="372" y="144"/>
                </a:cubicBezTo>
                <a:cubicBezTo>
                  <a:pt x="374" y="144"/>
                  <a:pt x="375" y="146"/>
                  <a:pt x="376" y="147"/>
                </a:cubicBezTo>
                <a:close/>
                <a:moveTo>
                  <a:pt x="362" y="132"/>
                </a:moveTo>
                <a:cubicBezTo>
                  <a:pt x="366" y="134"/>
                  <a:pt x="369" y="139"/>
                  <a:pt x="372" y="143"/>
                </a:cubicBezTo>
                <a:cubicBezTo>
                  <a:pt x="369" y="141"/>
                  <a:pt x="365" y="135"/>
                  <a:pt x="362" y="132"/>
                </a:cubicBezTo>
                <a:close/>
                <a:moveTo>
                  <a:pt x="367" y="82"/>
                </a:moveTo>
                <a:cubicBezTo>
                  <a:pt x="366" y="81"/>
                  <a:pt x="368" y="83"/>
                  <a:pt x="367" y="82"/>
                </a:cubicBezTo>
                <a:close/>
                <a:moveTo>
                  <a:pt x="366" y="81"/>
                </a:moveTo>
                <a:cubicBezTo>
                  <a:pt x="364" y="81"/>
                  <a:pt x="362" y="79"/>
                  <a:pt x="360" y="77"/>
                </a:cubicBezTo>
                <a:cubicBezTo>
                  <a:pt x="361" y="78"/>
                  <a:pt x="365" y="79"/>
                  <a:pt x="366" y="81"/>
                </a:cubicBezTo>
                <a:close/>
                <a:moveTo>
                  <a:pt x="364" y="54"/>
                </a:moveTo>
                <a:cubicBezTo>
                  <a:pt x="363" y="54"/>
                  <a:pt x="362" y="53"/>
                  <a:pt x="362" y="53"/>
                </a:cubicBezTo>
                <a:cubicBezTo>
                  <a:pt x="362" y="52"/>
                  <a:pt x="364" y="53"/>
                  <a:pt x="364" y="54"/>
                </a:cubicBezTo>
                <a:close/>
                <a:moveTo>
                  <a:pt x="361" y="47"/>
                </a:moveTo>
                <a:cubicBezTo>
                  <a:pt x="361" y="47"/>
                  <a:pt x="360" y="47"/>
                  <a:pt x="360" y="47"/>
                </a:cubicBezTo>
                <a:cubicBezTo>
                  <a:pt x="358" y="46"/>
                  <a:pt x="362" y="45"/>
                  <a:pt x="361" y="47"/>
                </a:cubicBezTo>
                <a:close/>
                <a:moveTo>
                  <a:pt x="361" y="52"/>
                </a:moveTo>
                <a:cubicBezTo>
                  <a:pt x="360" y="53"/>
                  <a:pt x="360" y="52"/>
                  <a:pt x="359" y="52"/>
                </a:cubicBezTo>
                <a:cubicBezTo>
                  <a:pt x="359" y="51"/>
                  <a:pt x="361" y="52"/>
                  <a:pt x="361" y="52"/>
                </a:cubicBezTo>
                <a:close/>
                <a:moveTo>
                  <a:pt x="359" y="74"/>
                </a:moveTo>
                <a:cubicBezTo>
                  <a:pt x="359" y="74"/>
                  <a:pt x="357" y="73"/>
                  <a:pt x="356" y="71"/>
                </a:cubicBezTo>
                <a:cubicBezTo>
                  <a:pt x="357" y="72"/>
                  <a:pt x="358" y="72"/>
                  <a:pt x="359" y="74"/>
                </a:cubicBezTo>
                <a:close/>
                <a:moveTo>
                  <a:pt x="356" y="12"/>
                </a:moveTo>
                <a:cubicBezTo>
                  <a:pt x="357" y="11"/>
                  <a:pt x="358" y="13"/>
                  <a:pt x="356" y="12"/>
                </a:cubicBezTo>
                <a:close/>
                <a:moveTo>
                  <a:pt x="358" y="51"/>
                </a:moveTo>
                <a:cubicBezTo>
                  <a:pt x="357" y="52"/>
                  <a:pt x="356" y="51"/>
                  <a:pt x="355" y="50"/>
                </a:cubicBezTo>
                <a:cubicBezTo>
                  <a:pt x="355" y="49"/>
                  <a:pt x="357" y="51"/>
                  <a:pt x="358" y="51"/>
                </a:cubicBezTo>
                <a:close/>
                <a:moveTo>
                  <a:pt x="350" y="44"/>
                </a:moveTo>
                <a:cubicBezTo>
                  <a:pt x="349" y="44"/>
                  <a:pt x="349" y="44"/>
                  <a:pt x="349" y="43"/>
                </a:cubicBezTo>
                <a:cubicBezTo>
                  <a:pt x="348" y="43"/>
                  <a:pt x="350" y="43"/>
                  <a:pt x="350" y="44"/>
                </a:cubicBezTo>
                <a:close/>
                <a:moveTo>
                  <a:pt x="348" y="18"/>
                </a:moveTo>
                <a:cubicBezTo>
                  <a:pt x="346" y="17"/>
                  <a:pt x="349" y="18"/>
                  <a:pt x="348" y="18"/>
                </a:cubicBezTo>
                <a:close/>
                <a:moveTo>
                  <a:pt x="348" y="50"/>
                </a:moveTo>
                <a:cubicBezTo>
                  <a:pt x="347" y="50"/>
                  <a:pt x="347" y="50"/>
                  <a:pt x="347" y="50"/>
                </a:cubicBezTo>
                <a:cubicBezTo>
                  <a:pt x="348" y="50"/>
                  <a:pt x="348" y="51"/>
                  <a:pt x="348" y="50"/>
                </a:cubicBezTo>
                <a:close/>
                <a:moveTo>
                  <a:pt x="347" y="64"/>
                </a:moveTo>
                <a:cubicBezTo>
                  <a:pt x="349" y="64"/>
                  <a:pt x="352" y="68"/>
                  <a:pt x="355" y="71"/>
                </a:cubicBezTo>
                <a:cubicBezTo>
                  <a:pt x="353" y="70"/>
                  <a:pt x="351" y="68"/>
                  <a:pt x="349" y="66"/>
                </a:cubicBezTo>
                <a:cubicBezTo>
                  <a:pt x="349" y="66"/>
                  <a:pt x="344" y="64"/>
                  <a:pt x="347" y="64"/>
                </a:cubicBezTo>
                <a:close/>
                <a:moveTo>
                  <a:pt x="345" y="38"/>
                </a:moveTo>
                <a:cubicBezTo>
                  <a:pt x="345" y="38"/>
                  <a:pt x="344" y="38"/>
                  <a:pt x="344" y="37"/>
                </a:cubicBezTo>
                <a:cubicBezTo>
                  <a:pt x="345" y="35"/>
                  <a:pt x="347" y="40"/>
                  <a:pt x="345" y="38"/>
                </a:cubicBezTo>
                <a:close/>
                <a:moveTo>
                  <a:pt x="345" y="14"/>
                </a:moveTo>
                <a:cubicBezTo>
                  <a:pt x="345" y="15"/>
                  <a:pt x="343" y="14"/>
                  <a:pt x="343" y="14"/>
                </a:cubicBezTo>
                <a:cubicBezTo>
                  <a:pt x="341" y="12"/>
                  <a:pt x="346" y="12"/>
                  <a:pt x="345" y="14"/>
                </a:cubicBezTo>
                <a:close/>
                <a:moveTo>
                  <a:pt x="333" y="49"/>
                </a:moveTo>
                <a:cubicBezTo>
                  <a:pt x="335" y="48"/>
                  <a:pt x="334" y="50"/>
                  <a:pt x="333" y="49"/>
                </a:cubicBezTo>
                <a:close/>
                <a:moveTo>
                  <a:pt x="344" y="63"/>
                </a:moveTo>
                <a:cubicBezTo>
                  <a:pt x="339" y="61"/>
                  <a:pt x="335" y="59"/>
                  <a:pt x="331" y="56"/>
                </a:cubicBezTo>
                <a:cubicBezTo>
                  <a:pt x="336" y="57"/>
                  <a:pt x="340" y="60"/>
                  <a:pt x="344" y="63"/>
                </a:cubicBezTo>
                <a:close/>
                <a:moveTo>
                  <a:pt x="331" y="76"/>
                </a:moveTo>
                <a:cubicBezTo>
                  <a:pt x="331" y="77"/>
                  <a:pt x="329" y="78"/>
                  <a:pt x="329" y="77"/>
                </a:cubicBezTo>
                <a:cubicBezTo>
                  <a:pt x="329" y="77"/>
                  <a:pt x="329" y="77"/>
                  <a:pt x="329" y="77"/>
                </a:cubicBezTo>
                <a:cubicBezTo>
                  <a:pt x="329" y="78"/>
                  <a:pt x="329" y="78"/>
                  <a:pt x="328" y="78"/>
                </a:cubicBezTo>
                <a:cubicBezTo>
                  <a:pt x="327" y="79"/>
                  <a:pt x="324" y="75"/>
                  <a:pt x="327" y="75"/>
                </a:cubicBezTo>
                <a:cubicBezTo>
                  <a:pt x="328" y="75"/>
                  <a:pt x="329" y="75"/>
                  <a:pt x="329" y="76"/>
                </a:cubicBezTo>
                <a:cubicBezTo>
                  <a:pt x="329" y="76"/>
                  <a:pt x="330" y="75"/>
                  <a:pt x="331" y="76"/>
                </a:cubicBezTo>
                <a:close/>
                <a:moveTo>
                  <a:pt x="327" y="52"/>
                </a:moveTo>
                <a:cubicBezTo>
                  <a:pt x="326" y="52"/>
                  <a:pt x="329" y="52"/>
                  <a:pt x="327" y="52"/>
                </a:cubicBezTo>
                <a:close/>
                <a:moveTo>
                  <a:pt x="325" y="23"/>
                </a:moveTo>
                <a:cubicBezTo>
                  <a:pt x="325" y="22"/>
                  <a:pt x="326" y="24"/>
                  <a:pt x="325" y="23"/>
                </a:cubicBezTo>
                <a:close/>
                <a:moveTo>
                  <a:pt x="330" y="41"/>
                </a:moveTo>
                <a:cubicBezTo>
                  <a:pt x="330" y="43"/>
                  <a:pt x="325" y="43"/>
                  <a:pt x="324" y="42"/>
                </a:cubicBezTo>
                <a:cubicBezTo>
                  <a:pt x="321" y="38"/>
                  <a:pt x="330" y="41"/>
                  <a:pt x="330" y="41"/>
                </a:cubicBezTo>
                <a:close/>
                <a:moveTo>
                  <a:pt x="326" y="75"/>
                </a:moveTo>
                <a:cubicBezTo>
                  <a:pt x="326" y="76"/>
                  <a:pt x="325" y="76"/>
                  <a:pt x="325" y="75"/>
                </a:cubicBezTo>
                <a:cubicBezTo>
                  <a:pt x="324" y="75"/>
                  <a:pt x="326" y="74"/>
                  <a:pt x="326" y="75"/>
                </a:cubicBezTo>
                <a:close/>
                <a:moveTo>
                  <a:pt x="324" y="68"/>
                </a:moveTo>
                <a:cubicBezTo>
                  <a:pt x="324" y="67"/>
                  <a:pt x="325" y="67"/>
                  <a:pt x="325" y="68"/>
                </a:cubicBezTo>
                <a:cubicBezTo>
                  <a:pt x="326" y="69"/>
                  <a:pt x="324" y="68"/>
                  <a:pt x="324" y="68"/>
                </a:cubicBezTo>
                <a:close/>
                <a:moveTo>
                  <a:pt x="327" y="107"/>
                </a:moveTo>
                <a:cubicBezTo>
                  <a:pt x="326" y="109"/>
                  <a:pt x="322" y="107"/>
                  <a:pt x="322" y="107"/>
                </a:cubicBezTo>
                <a:cubicBezTo>
                  <a:pt x="319" y="103"/>
                  <a:pt x="328" y="104"/>
                  <a:pt x="327" y="107"/>
                </a:cubicBezTo>
                <a:close/>
                <a:moveTo>
                  <a:pt x="322" y="27"/>
                </a:moveTo>
                <a:cubicBezTo>
                  <a:pt x="321" y="28"/>
                  <a:pt x="320" y="27"/>
                  <a:pt x="320" y="27"/>
                </a:cubicBezTo>
                <a:cubicBezTo>
                  <a:pt x="319" y="25"/>
                  <a:pt x="322" y="26"/>
                  <a:pt x="322" y="27"/>
                </a:cubicBezTo>
                <a:close/>
                <a:moveTo>
                  <a:pt x="319" y="102"/>
                </a:moveTo>
                <a:cubicBezTo>
                  <a:pt x="319" y="102"/>
                  <a:pt x="318" y="102"/>
                  <a:pt x="318" y="101"/>
                </a:cubicBezTo>
                <a:cubicBezTo>
                  <a:pt x="316" y="100"/>
                  <a:pt x="321" y="100"/>
                  <a:pt x="319" y="102"/>
                </a:cubicBezTo>
                <a:close/>
                <a:moveTo>
                  <a:pt x="319" y="85"/>
                </a:moveTo>
                <a:cubicBezTo>
                  <a:pt x="321" y="85"/>
                  <a:pt x="318" y="87"/>
                  <a:pt x="318" y="85"/>
                </a:cubicBezTo>
                <a:cubicBezTo>
                  <a:pt x="318" y="85"/>
                  <a:pt x="319" y="85"/>
                  <a:pt x="319" y="85"/>
                </a:cubicBezTo>
                <a:close/>
                <a:moveTo>
                  <a:pt x="319" y="73"/>
                </a:moveTo>
                <a:cubicBezTo>
                  <a:pt x="319" y="73"/>
                  <a:pt x="318" y="73"/>
                  <a:pt x="318" y="73"/>
                </a:cubicBezTo>
                <a:cubicBezTo>
                  <a:pt x="316" y="73"/>
                  <a:pt x="318" y="72"/>
                  <a:pt x="319" y="73"/>
                </a:cubicBezTo>
                <a:close/>
                <a:moveTo>
                  <a:pt x="317" y="46"/>
                </a:moveTo>
                <a:cubicBezTo>
                  <a:pt x="317" y="47"/>
                  <a:pt x="315" y="47"/>
                  <a:pt x="315" y="46"/>
                </a:cubicBezTo>
                <a:cubicBezTo>
                  <a:pt x="314" y="45"/>
                  <a:pt x="317" y="44"/>
                  <a:pt x="317" y="46"/>
                </a:cubicBezTo>
                <a:close/>
                <a:moveTo>
                  <a:pt x="315" y="61"/>
                </a:moveTo>
                <a:cubicBezTo>
                  <a:pt x="315" y="61"/>
                  <a:pt x="315" y="60"/>
                  <a:pt x="315" y="60"/>
                </a:cubicBezTo>
                <a:cubicBezTo>
                  <a:pt x="313" y="57"/>
                  <a:pt x="319" y="61"/>
                  <a:pt x="315" y="61"/>
                </a:cubicBezTo>
                <a:close/>
                <a:moveTo>
                  <a:pt x="314" y="88"/>
                </a:moveTo>
                <a:cubicBezTo>
                  <a:pt x="315" y="88"/>
                  <a:pt x="316" y="89"/>
                  <a:pt x="315" y="89"/>
                </a:cubicBezTo>
                <a:cubicBezTo>
                  <a:pt x="315" y="90"/>
                  <a:pt x="313" y="89"/>
                  <a:pt x="314" y="88"/>
                </a:cubicBezTo>
                <a:close/>
                <a:moveTo>
                  <a:pt x="314" y="98"/>
                </a:moveTo>
                <a:cubicBezTo>
                  <a:pt x="313" y="98"/>
                  <a:pt x="312" y="97"/>
                  <a:pt x="312" y="96"/>
                </a:cubicBezTo>
                <a:cubicBezTo>
                  <a:pt x="313" y="96"/>
                  <a:pt x="313" y="97"/>
                  <a:pt x="314" y="98"/>
                </a:cubicBezTo>
                <a:close/>
                <a:moveTo>
                  <a:pt x="313" y="62"/>
                </a:moveTo>
                <a:cubicBezTo>
                  <a:pt x="311" y="61"/>
                  <a:pt x="314" y="62"/>
                  <a:pt x="313" y="62"/>
                </a:cubicBezTo>
                <a:close/>
                <a:moveTo>
                  <a:pt x="308" y="35"/>
                </a:moveTo>
                <a:cubicBezTo>
                  <a:pt x="307" y="34"/>
                  <a:pt x="310" y="37"/>
                  <a:pt x="308" y="35"/>
                </a:cubicBezTo>
                <a:close/>
                <a:moveTo>
                  <a:pt x="305" y="53"/>
                </a:moveTo>
                <a:cubicBezTo>
                  <a:pt x="305" y="52"/>
                  <a:pt x="306" y="54"/>
                  <a:pt x="306" y="54"/>
                </a:cubicBezTo>
                <a:cubicBezTo>
                  <a:pt x="306" y="54"/>
                  <a:pt x="306" y="53"/>
                  <a:pt x="305" y="53"/>
                </a:cubicBezTo>
                <a:close/>
                <a:moveTo>
                  <a:pt x="306" y="45"/>
                </a:moveTo>
                <a:cubicBezTo>
                  <a:pt x="304" y="40"/>
                  <a:pt x="314" y="43"/>
                  <a:pt x="312" y="46"/>
                </a:cubicBezTo>
                <a:cubicBezTo>
                  <a:pt x="311" y="48"/>
                  <a:pt x="307" y="45"/>
                  <a:pt x="306" y="45"/>
                </a:cubicBezTo>
                <a:close/>
                <a:moveTo>
                  <a:pt x="307" y="88"/>
                </a:moveTo>
                <a:cubicBezTo>
                  <a:pt x="308" y="88"/>
                  <a:pt x="307" y="89"/>
                  <a:pt x="307" y="89"/>
                </a:cubicBezTo>
                <a:cubicBezTo>
                  <a:pt x="307" y="89"/>
                  <a:pt x="306" y="87"/>
                  <a:pt x="307" y="88"/>
                </a:cubicBezTo>
                <a:close/>
                <a:moveTo>
                  <a:pt x="313" y="101"/>
                </a:moveTo>
                <a:cubicBezTo>
                  <a:pt x="313" y="102"/>
                  <a:pt x="306" y="96"/>
                  <a:pt x="305" y="95"/>
                </a:cubicBezTo>
                <a:cubicBezTo>
                  <a:pt x="305" y="95"/>
                  <a:pt x="305" y="94"/>
                  <a:pt x="305" y="93"/>
                </a:cubicBezTo>
                <a:cubicBezTo>
                  <a:pt x="305" y="93"/>
                  <a:pt x="314" y="100"/>
                  <a:pt x="313" y="101"/>
                </a:cubicBezTo>
                <a:close/>
                <a:moveTo>
                  <a:pt x="306" y="102"/>
                </a:moveTo>
                <a:cubicBezTo>
                  <a:pt x="304" y="103"/>
                  <a:pt x="303" y="99"/>
                  <a:pt x="302" y="98"/>
                </a:cubicBezTo>
                <a:cubicBezTo>
                  <a:pt x="303" y="98"/>
                  <a:pt x="305" y="101"/>
                  <a:pt x="306" y="102"/>
                </a:cubicBezTo>
                <a:close/>
                <a:moveTo>
                  <a:pt x="301" y="81"/>
                </a:moveTo>
                <a:cubicBezTo>
                  <a:pt x="302" y="80"/>
                  <a:pt x="303" y="84"/>
                  <a:pt x="301" y="82"/>
                </a:cubicBezTo>
                <a:cubicBezTo>
                  <a:pt x="301" y="82"/>
                  <a:pt x="301" y="82"/>
                  <a:pt x="301" y="81"/>
                </a:cubicBezTo>
                <a:close/>
                <a:moveTo>
                  <a:pt x="303" y="92"/>
                </a:moveTo>
                <a:cubicBezTo>
                  <a:pt x="299" y="88"/>
                  <a:pt x="295" y="86"/>
                  <a:pt x="293" y="81"/>
                </a:cubicBezTo>
                <a:cubicBezTo>
                  <a:pt x="297" y="83"/>
                  <a:pt x="301" y="88"/>
                  <a:pt x="303" y="92"/>
                </a:cubicBezTo>
                <a:close/>
                <a:moveTo>
                  <a:pt x="293" y="77"/>
                </a:moveTo>
                <a:cubicBezTo>
                  <a:pt x="293" y="77"/>
                  <a:pt x="293" y="77"/>
                  <a:pt x="293" y="77"/>
                </a:cubicBezTo>
                <a:cubicBezTo>
                  <a:pt x="293" y="77"/>
                  <a:pt x="293" y="77"/>
                  <a:pt x="293" y="77"/>
                </a:cubicBezTo>
                <a:cubicBezTo>
                  <a:pt x="293" y="77"/>
                  <a:pt x="293" y="77"/>
                  <a:pt x="293" y="77"/>
                </a:cubicBezTo>
                <a:close/>
                <a:moveTo>
                  <a:pt x="302" y="98"/>
                </a:moveTo>
                <a:cubicBezTo>
                  <a:pt x="297" y="92"/>
                  <a:pt x="293" y="88"/>
                  <a:pt x="288" y="83"/>
                </a:cubicBezTo>
                <a:cubicBezTo>
                  <a:pt x="293" y="87"/>
                  <a:pt x="298" y="91"/>
                  <a:pt x="302" y="98"/>
                </a:cubicBezTo>
                <a:close/>
                <a:moveTo>
                  <a:pt x="295" y="198"/>
                </a:moveTo>
                <a:cubicBezTo>
                  <a:pt x="291" y="196"/>
                  <a:pt x="287" y="194"/>
                  <a:pt x="284" y="192"/>
                </a:cubicBezTo>
                <a:cubicBezTo>
                  <a:pt x="286" y="193"/>
                  <a:pt x="293" y="196"/>
                  <a:pt x="295" y="198"/>
                </a:cubicBezTo>
                <a:close/>
                <a:moveTo>
                  <a:pt x="287" y="663"/>
                </a:moveTo>
                <a:cubicBezTo>
                  <a:pt x="288" y="663"/>
                  <a:pt x="289" y="664"/>
                  <a:pt x="289" y="664"/>
                </a:cubicBezTo>
                <a:cubicBezTo>
                  <a:pt x="290" y="665"/>
                  <a:pt x="286" y="664"/>
                  <a:pt x="287" y="663"/>
                </a:cubicBezTo>
                <a:close/>
                <a:moveTo>
                  <a:pt x="283" y="230"/>
                </a:moveTo>
                <a:cubicBezTo>
                  <a:pt x="284" y="231"/>
                  <a:pt x="281" y="228"/>
                  <a:pt x="283" y="230"/>
                </a:cubicBezTo>
                <a:close/>
                <a:moveTo>
                  <a:pt x="282" y="216"/>
                </a:moveTo>
                <a:cubicBezTo>
                  <a:pt x="282" y="216"/>
                  <a:pt x="282" y="216"/>
                  <a:pt x="282" y="216"/>
                </a:cubicBezTo>
                <a:cubicBezTo>
                  <a:pt x="283" y="216"/>
                  <a:pt x="283" y="216"/>
                  <a:pt x="283" y="216"/>
                </a:cubicBezTo>
                <a:cubicBezTo>
                  <a:pt x="283" y="216"/>
                  <a:pt x="282" y="216"/>
                  <a:pt x="282" y="216"/>
                </a:cubicBezTo>
                <a:close/>
                <a:moveTo>
                  <a:pt x="283" y="165"/>
                </a:moveTo>
                <a:cubicBezTo>
                  <a:pt x="280" y="165"/>
                  <a:pt x="280" y="160"/>
                  <a:pt x="284" y="161"/>
                </a:cubicBezTo>
                <a:cubicBezTo>
                  <a:pt x="286" y="162"/>
                  <a:pt x="285" y="166"/>
                  <a:pt x="283" y="165"/>
                </a:cubicBezTo>
                <a:close/>
                <a:moveTo>
                  <a:pt x="279" y="199"/>
                </a:moveTo>
                <a:cubicBezTo>
                  <a:pt x="279" y="199"/>
                  <a:pt x="278" y="198"/>
                  <a:pt x="279" y="198"/>
                </a:cubicBezTo>
                <a:cubicBezTo>
                  <a:pt x="279" y="198"/>
                  <a:pt x="280" y="199"/>
                  <a:pt x="279" y="199"/>
                </a:cubicBezTo>
                <a:close/>
                <a:moveTo>
                  <a:pt x="278" y="184"/>
                </a:moveTo>
                <a:cubicBezTo>
                  <a:pt x="278" y="184"/>
                  <a:pt x="278" y="185"/>
                  <a:pt x="278" y="185"/>
                </a:cubicBezTo>
                <a:cubicBezTo>
                  <a:pt x="277" y="183"/>
                  <a:pt x="280" y="185"/>
                  <a:pt x="278" y="184"/>
                </a:cubicBezTo>
                <a:close/>
                <a:moveTo>
                  <a:pt x="270" y="138"/>
                </a:moveTo>
                <a:cubicBezTo>
                  <a:pt x="271" y="139"/>
                  <a:pt x="272" y="136"/>
                  <a:pt x="273" y="136"/>
                </a:cubicBezTo>
                <a:cubicBezTo>
                  <a:pt x="275" y="137"/>
                  <a:pt x="273" y="138"/>
                  <a:pt x="274" y="139"/>
                </a:cubicBezTo>
                <a:cubicBezTo>
                  <a:pt x="277" y="141"/>
                  <a:pt x="282" y="141"/>
                  <a:pt x="284" y="143"/>
                </a:cubicBezTo>
                <a:cubicBezTo>
                  <a:pt x="280" y="142"/>
                  <a:pt x="275" y="140"/>
                  <a:pt x="270" y="138"/>
                </a:cubicBezTo>
                <a:close/>
                <a:moveTo>
                  <a:pt x="278" y="148"/>
                </a:moveTo>
                <a:cubicBezTo>
                  <a:pt x="276" y="148"/>
                  <a:pt x="278" y="147"/>
                  <a:pt x="278" y="148"/>
                </a:cubicBezTo>
                <a:close/>
                <a:moveTo>
                  <a:pt x="265" y="190"/>
                </a:moveTo>
                <a:cubicBezTo>
                  <a:pt x="268" y="190"/>
                  <a:pt x="273" y="192"/>
                  <a:pt x="275" y="194"/>
                </a:cubicBezTo>
                <a:cubicBezTo>
                  <a:pt x="271" y="192"/>
                  <a:pt x="268" y="192"/>
                  <a:pt x="265" y="190"/>
                </a:cubicBezTo>
                <a:close/>
                <a:moveTo>
                  <a:pt x="273" y="554"/>
                </a:moveTo>
                <a:cubicBezTo>
                  <a:pt x="273" y="554"/>
                  <a:pt x="273" y="553"/>
                  <a:pt x="273" y="554"/>
                </a:cubicBezTo>
                <a:cubicBezTo>
                  <a:pt x="273" y="554"/>
                  <a:pt x="273" y="554"/>
                  <a:pt x="273" y="554"/>
                </a:cubicBezTo>
                <a:close/>
                <a:moveTo>
                  <a:pt x="271" y="230"/>
                </a:moveTo>
                <a:cubicBezTo>
                  <a:pt x="272" y="230"/>
                  <a:pt x="274" y="234"/>
                  <a:pt x="272" y="235"/>
                </a:cubicBezTo>
                <a:cubicBezTo>
                  <a:pt x="269" y="235"/>
                  <a:pt x="269" y="231"/>
                  <a:pt x="271" y="230"/>
                </a:cubicBezTo>
                <a:close/>
                <a:moveTo>
                  <a:pt x="270" y="215"/>
                </a:moveTo>
                <a:cubicBezTo>
                  <a:pt x="271" y="214"/>
                  <a:pt x="272" y="217"/>
                  <a:pt x="270" y="216"/>
                </a:cubicBezTo>
                <a:cubicBezTo>
                  <a:pt x="270" y="216"/>
                  <a:pt x="269" y="215"/>
                  <a:pt x="270" y="215"/>
                </a:cubicBezTo>
                <a:close/>
                <a:moveTo>
                  <a:pt x="267" y="262"/>
                </a:moveTo>
                <a:cubicBezTo>
                  <a:pt x="269" y="261"/>
                  <a:pt x="268" y="263"/>
                  <a:pt x="267" y="262"/>
                </a:cubicBezTo>
                <a:close/>
                <a:moveTo>
                  <a:pt x="258" y="254"/>
                </a:moveTo>
                <a:cubicBezTo>
                  <a:pt x="260" y="255"/>
                  <a:pt x="261" y="257"/>
                  <a:pt x="263" y="258"/>
                </a:cubicBezTo>
                <a:cubicBezTo>
                  <a:pt x="261" y="258"/>
                  <a:pt x="260" y="256"/>
                  <a:pt x="258" y="254"/>
                </a:cubicBezTo>
                <a:close/>
                <a:moveTo>
                  <a:pt x="261" y="509"/>
                </a:moveTo>
                <a:cubicBezTo>
                  <a:pt x="261" y="510"/>
                  <a:pt x="260" y="509"/>
                  <a:pt x="260" y="509"/>
                </a:cubicBezTo>
                <a:cubicBezTo>
                  <a:pt x="260" y="508"/>
                  <a:pt x="261" y="509"/>
                  <a:pt x="261" y="509"/>
                </a:cubicBezTo>
                <a:close/>
                <a:moveTo>
                  <a:pt x="258" y="191"/>
                </a:moveTo>
                <a:cubicBezTo>
                  <a:pt x="258" y="191"/>
                  <a:pt x="259" y="193"/>
                  <a:pt x="258" y="193"/>
                </a:cubicBezTo>
                <a:cubicBezTo>
                  <a:pt x="257" y="193"/>
                  <a:pt x="258" y="192"/>
                  <a:pt x="258" y="191"/>
                </a:cubicBezTo>
                <a:close/>
                <a:moveTo>
                  <a:pt x="260" y="233"/>
                </a:moveTo>
                <a:cubicBezTo>
                  <a:pt x="262" y="233"/>
                  <a:pt x="258" y="234"/>
                  <a:pt x="260" y="233"/>
                </a:cubicBezTo>
                <a:close/>
                <a:moveTo>
                  <a:pt x="260" y="231"/>
                </a:moveTo>
                <a:cubicBezTo>
                  <a:pt x="261" y="233"/>
                  <a:pt x="263" y="236"/>
                  <a:pt x="264" y="238"/>
                </a:cubicBezTo>
                <a:cubicBezTo>
                  <a:pt x="262" y="237"/>
                  <a:pt x="261" y="233"/>
                  <a:pt x="260" y="231"/>
                </a:cubicBezTo>
                <a:close/>
                <a:moveTo>
                  <a:pt x="260" y="229"/>
                </a:moveTo>
                <a:cubicBezTo>
                  <a:pt x="260" y="229"/>
                  <a:pt x="261" y="230"/>
                  <a:pt x="261" y="230"/>
                </a:cubicBezTo>
                <a:cubicBezTo>
                  <a:pt x="261" y="230"/>
                  <a:pt x="260" y="229"/>
                  <a:pt x="260" y="229"/>
                </a:cubicBezTo>
                <a:close/>
                <a:moveTo>
                  <a:pt x="261" y="154"/>
                </a:moveTo>
                <a:cubicBezTo>
                  <a:pt x="262" y="155"/>
                  <a:pt x="263" y="157"/>
                  <a:pt x="263" y="158"/>
                </a:cubicBezTo>
                <a:cubicBezTo>
                  <a:pt x="262" y="157"/>
                  <a:pt x="261" y="156"/>
                  <a:pt x="261" y="154"/>
                </a:cubicBezTo>
                <a:close/>
                <a:moveTo>
                  <a:pt x="263" y="68"/>
                </a:moveTo>
                <a:cubicBezTo>
                  <a:pt x="264" y="69"/>
                  <a:pt x="265" y="70"/>
                  <a:pt x="266" y="72"/>
                </a:cubicBezTo>
                <a:cubicBezTo>
                  <a:pt x="264" y="72"/>
                  <a:pt x="264" y="69"/>
                  <a:pt x="263" y="68"/>
                </a:cubicBezTo>
                <a:close/>
                <a:moveTo>
                  <a:pt x="266" y="63"/>
                </a:moveTo>
                <a:cubicBezTo>
                  <a:pt x="264" y="62"/>
                  <a:pt x="265" y="61"/>
                  <a:pt x="266" y="63"/>
                </a:cubicBezTo>
                <a:close/>
                <a:moveTo>
                  <a:pt x="267" y="132"/>
                </a:moveTo>
                <a:cubicBezTo>
                  <a:pt x="269" y="132"/>
                  <a:pt x="271" y="137"/>
                  <a:pt x="268" y="137"/>
                </a:cubicBezTo>
                <a:cubicBezTo>
                  <a:pt x="266" y="138"/>
                  <a:pt x="263" y="132"/>
                  <a:pt x="267" y="132"/>
                </a:cubicBezTo>
                <a:close/>
                <a:moveTo>
                  <a:pt x="267" y="108"/>
                </a:moveTo>
                <a:cubicBezTo>
                  <a:pt x="268" y="108"/>
                  <a:pt x="268" y="109"/>
                  <a:pt x="268" y="109"/>
                </a:cubicBezTo>
                <a:cubicBezTo>
                  <a:pt x="267" y="110"/>
                  <a:pt x="265" y="108"/>
                  <a:pt x="267" y="108"/>
                </a:cubicBezTo>
                <a:close/>
                <a:moveTo>
                  <a:pt x="270" y="113"/>
                </a:moveTo>
                <a:cubicBezTo>
                  <a:pt x="268" y="113"/>
                  <a:pt x="271" y="114"/>
                  <a:pt x="270" y="113"/>
                </a:cubicBezTo>
                <a:close/>
                <a:moveTo>
                  <a:pt x="267" y="149"/>
                </a:moveTo>
                <a:cubicBezTo>
                  <a:pt x="266" y="150"/>
                  <a:pt x="266" y="149"/>
                  <a:pt x="265" y="148"/>
                </a:cubicBezTo>
                <a:cubicBezTo>
                  <a:pt x="264" y="146"/>
                  <a:pt x="269" y="148"/>
                  <a:pt x="267" y="149"/>
                </a:cubicBezTo>
                <a:close/>
                <a:moveTo>
                  <a:pt x="264" y="161"/>
                </a:moveTo>
                <a:cubicBezTo>
                  <a:pt x="265" y="161"/>
                  <a:pt x="265" y="162"/>
                  <a:pt x="265" y="162"/>
                </a:cubicBezTo>
                <a:cubicBezTo>
                  <a:pt x="265" y="162"/>
                  <a:pt x="263" y="158"/>
                  <a:pt x="264" y="161"/>
                </a:cubicBezTo>
                <a:close/>
                <a:moveTo>
                  <a:pt x="266" y="512"/>
                </a:moveTo>
                <a:cubicBezTo>
                  <a:pt x="264" y="513"/>
                  <a:pt x="264" y="510"/>
                  <a:pt x="266" y="512"/>
                </a:cubicBezTo>
                <a:close/>
                <a:moveTo>
                  <a:pt x="271" y="181"/>
                </a:moveTo>
                <a:cubicBezTo>
                  <a:pt x="272" y="180"/>
                  <a:pt x="273" y="183"/>
                  <a:pt x="272" y="182"/>
                </a:cubicBezTo>
                <a:cubicBezTo>
                  <a:pt x="271" y="182"/>
                  <a:pt x="271" y="182"/>
                  <a:pt x="271" y="181"/>
                </a:cubicBezTo>
                <a:close/>
                <a:moveTo>
                  <a:pt x="283" y="92"/>
                </a:moveTo>
                <a:cubicBezTo>
                  <a:pt x="280" y="90"/>
                  <a:pt x="285" y="92"/>
                  <a:pt x="284" y="93"/>
                </a:cubicBezTo>
                <a:cubicBezTo>
                  <a:pt x="284" y="94"/>
                  <a:pt x="281" y="91"/>
                  <a:pt x="280" y="91"/>
                </a:cubicBezTo>
                <a:cubicBezTo>
                  <a:pt x="279" y="90"/>
                  <a:pt x="275" y="89"/>
                  <a:pt x="274" y="87"/>
                </a:cubicBezTo>
                <a:cubicBezTo>
                  <a:pt x="272" y="83"/>
                  <a:pt x="282" y="91"/>
                  <a:pt x="283" y="92"/>
                </a:cubicBezTo>
                <a:close/>
                <a:moveTo>
                  <a:pt x="273" y="75"/>
                </a:moveTo>
                <a:cubicBezTo>
                  <a:pt x="275" y="75"/>
                  <a:pt x="274" y="77"/>
                  <a:pt x="273" y="75"/>
                </a:cubicBezTo>
                <a:close/>
                <a:moveTo>
                  <a:pt x="283" y="102"/>
                </a:moveTo>
                <a:cubicBezTo>
                  <a:pt x="283" y="102"/>
                  <a:pt x="283" y="102"/>
                  <a:pt x="284" y="103"/>
                </a:cubicBezTo>
                <a:cubicBezTo>
                  <a:pt x="284" y="103"/>
                  <a:pt x="284" y="103"/>
                  <a:pt x="284" y="103"/>
                </a:cubicBezTo>
                <a:cubicBezTo>
                  <a:pt x="284" y="102"/>
                  <a:pt x="283" y="102"/>
                  <a:pt x="283" y="102"/>
                </a:cubicBezTo>
                <a:close/>
                <a:moveTo>
                  <a:pt x="285" y="137"/>
                </a:moveTo>
                <a:cubicBezTo>
                  <a:pt x="285" y="138"/>
                  <a:pt x="284" y="137"/>
                  <a:pt x="283" y="137"/>
                </a:cubicBezTo>
                <a:cubicBezTo>
                  <a:pt x="282" y="134"/>
                  <a:pt x="287" y="136"/>
                  <a:pt x="285" y="137"/>
                </a:cubicBezTo>
                <a:close/>
                <a:moveTo>
                  <a:pt x="276" y="104"/>
                </a:moveTo>
                <a:cubicBezTo>
                  <a:pt x="276" y="104"/>
                  <a:pt x="280" y="107"/>
                  <a:pt x="280" y="109"/>
                </a:cubicBezTo>
                <a:cubicBezTo>
                  <a:pt x="279" y="108"/>
                  <a:pt x="276" y="105"/>
                  <a:pt x="276" y="104"/>
                </a:cubicBezTo>
                <a:close/>
                <a:moveTo>
                  <a:pt x="277" y="127"/>
                </a:moveTo>
                <a:cubicBezTo>
                  <a:pt x="276" y="126"/>
                  <a:pt x="276" y="126"/>
                  <a:pt x="275" y="125"/>
                </a:cubicBezTo>
                <a:cubicBezTo>
                  <a:pt x="276" y="125"/>
                  <a:pt x="277" y="126"/>
                  <a:pt x="277" y="127"/>
                </a:cubicBezTo>
                <a:close/>
                <a:moveTo>
                  <a:pt x="279" y="102"/>
                </a:moveTo>
                <a:cubicBezTo>
                  <a:pt x="278" y="102"/>
                  <a:pt x="281" y="102"/>
                  <a:pt x="281" y="102"/>
                </a:cubicBezTo>
                <a:cubicBezTo>
                  <a:pt x="280" y="103"/>
                  <a:pt x="279" y="102"/>
                  <a:pt x="279" y="102"/>
                </a:cubicBezTo>
                <a:close/>
                <a:moveTo>
                  <a:pt x="275" y="111"/>
                </a:moveTo>
                <a:cubicBezTo>
                  <a:pt x="275" y="111"/>
                  <a:pt x="275" y="111"/>
                  <a:pt x="274" y="110"/>
                </a:cubicBezTo>
                <a:cubicBezTo>
                  <a:pt x="275" y="111"/>
                  <a:pt x="275" y="111"/>
                  <a:pt x="275" y="111"/>
                </a:cubicBezTo>
                <a:cubicBezTo>
                  <a:pt x="275" y="111"/>
                  <a:pt x="275" y="111"/>
                  <a:pt x="275" y="111"/>
                </a:cubicBezTo>
                <a:close/>
                <a:moveTo>
                  <a:pt x="287" y="142"/>
                </a:moveTo>
                <a:cubicBezTo>
                  <a:pt x="286" y="143"/>
                  <a:pt x="284" y="140"/>
                  <a:pt x="286" y="140"/>
                </a:cubicBezTo>
                <a:cubicBezTo>
                  <a:pt x="287" y="139"/>
                  <a:pt x="288" y="141"/>
                  <a:pt x="287" y="142"/>
                </a:cubicBezTo>
                <a:close/>
                <a:moveTo>
                  <a:pt x="286" y="87"/>
                </a:moveTo>
                <a:cubicBezTo>
                  <a:pt x="287" y="87"/>
                  <a:pt x="287" y="88"/>
                  <a:pt x="286" y="89"/>
                </a:cubicBezTo>
                <a:cubicBezTo>
                  <a:pt x="286" y="89"/>
                  <a:pt x="285" y="88"/>
                  <a:pt x="286" y="87"/>
                </a:cubicBezTo>
                <a:close/>
                <a:moveTo>
                  <a:pt x="280" y="66"/>
                </a:moveTo>
                <a:cubicBezTo>
                  <a:pt x="282" y="65"/>
                  <a:pt x="285" y="69"/>
                  <a:pt x="286" y="70"/>
                </a:cubicBezTo>
                <a:cubicBezTo>
                  <a:pt x="284" y="71"/>
                  <a:pt x="279" y="68"/>
                  <a:pt x="280" y="66"/>
                </a:cubicBezTo>
                <a:close/>
                <a:moveTo>
                  <a:pt x="276" y="74"/>
                </a:moveTo>
                <a:cubicBezTo>
                  <a:pt x="278" y="76"/>
                  <a:pt x="275" y="73"/>
                  <a:pt x="276" y="74"/>
                </a:cubicBezTo>
                <a:close/>
                <a:moveTo>
                  <a:pt x="276" y="77"/>
                </a:moveTo>
                <a:cubicBezTo>
                  <a:pt x="276" y="77"/>
                  <a:pt x="276" y="77"/>
                  <a:pt x="276" y="77"/>
                </a:cubicBezTo>
                <a:cubicBezTo>
                  <a:pt x="276" y="77"/>
                  <a:pt x="276" y="77"/>
                  <a:pt x="275" y="77"/>
                </a:cubicBezTo>
                <a:cubicBezTo>
                  <a:pt x="276" y="77"/>
                  <a:pt x="276" y="77"/>
                  <a:pt x="276" y="77"/>
                </a:cubicBezTo>
                <a:close/>
                <a:moveTo>
                  <a:pt x="275" y="74"/>
                </a:moveTo>
                <a:cubicBezTo>
                  <a:pt x="274" y="74"/>
                  <a:pt x="273" y="72"/>
                  <a:pt x="271" y="72"/>
                </a:cubicBezTo>
                <a:cubicBezTo>
                  <a:pt x="272" y="71"/>
                  <a:pt x="274" y="73"/>
                  <a:pt x="275" y="74"/>
                </a:cubicBezTo>
                <a:close/>
                <a:moveTo>
                  <a:pt x="273" y="85"/>
                </a:moveTo>
                <a:cubicBezTo>
                  <a:pt x="273" y="86"/>
                  <a:pt x="271" y="85"/>
                  <a:pt x="270" y="85"/>
                </a:cubicBezTo>
                <a:cubicBezTo>
                  <a:pt x="268" y="83"/>
                  <a:pt x="274" y="82"/>
                  <a:pt x="273" y="85"/>
                </a:cubicBezTo>
                <a:close/>
                <a:moveTo>
                  <a:pt x="275" y="102"/>
                </a:moveTo>
                <a:cubicBezTo>
                  <a:pt x="272" y="100"/>
                  <a:pt x="270" y="98"/>
                  <a:pt x="268" y="95"/>
                </a:cubicBezTo>
                <a:cubicBezTo>
                  <a:pt x="271" y="97"/>
                  <a:pt x="273" y="99"/>
                  <a:pt x="275" y="102"/>
                </a:cubicBezTo>
                <a:close/>
                <a:moveTo>
                  <a:pt x="268" y="117"/>
                </a:moveTo>
                <a:cubicBezTo>
                  <a:pt x="268" y="118"/>
                  <a:pt x="267" y="117"/>
                  <a:pt x="267" y="116"/>
                </a:cubicBezTo>
                <a:cubicBezTo>
                  <a:pt x="265" y="115"/>
                  <a:pt x="269" y="116"/>
                  <a:pt x="268" y="117"/>
                </a:cubicBezTo>
                <a:close/>
                <a:moveTo>
                  <a:pt x="268" y="58"/>
                </a:moveTo>
                <a:cubicBezTo>
                  <a:pt x="269" y="59"/>
                  <a:pt x="266" y="57"/>
                  <a:pt x="268" y="58"/>
                </a:cubicBezTo>
                <a:close/>
                <a:moveTo>
                  <a:pt x="267" y="98"/>
                </a:moveTo>
                <a:cubicBezTo>
                  <a:pt x="267" y="98"/>
                  <a:pt x="265" y="98"/>
                  <a:pt x="265" y="97"/>
                </a:cubicBezTo>
                <a:cubicBezTo>
                  <a:pt x="265" y="97"/>
                  <a:pt x="267" y="98"/>
                  <a:pt x="267" y="98"/>
                </a:cubicBezTo>
                <a:close/>
                <a:moveTo>
                  <a:pt x="266" y="51"/>
                </a:moveTo>
                <a:cubicBezTo>
                  <a:pt x="265" y="52"/>
                  <a:pt x="262" y="52"/>
                  <a:pt x="260" y="51"/>
                </a:cubicBezTo>
                <a:cubicBezTo>
                  <a:pt x="262" y="50"/>
                  <a:pt x="264" y="51"/>
                  <a:pt x="266" y="51"/>
                </a:cubicBezTo>
                <a:close/>
                <a:moveTo>
                  <a:pt x="260" y="153"/>
                </a:moveTo>
                <a:cubicBezTo>
                  <a:pt x="260" y="153"/>
                  <a:pt x="260" y="153"/>
                  <a:pt x="260" y="153"/>
                </a:cubicBezTo>
                <a:cubicBezTo>
                  <a:pt x="260" y="153"/>
                  <a:pt x="260" y="153"/>
                  <a:pt x="260" y="153"/>
                </a:cubicBezTo>
                <a:cubicBezTo>
                  <a:pt x="260" y="153"/>
                  <a:pt x="260" y="153"/>
                  <a:pt x="260" y="153"/>
                </a:cubicBezTo>
                <a:close/>
                <a:moveTo>
                  <a:pt x="260" y="181"/>
                </a:moveTo>
                <a:cubicBezTo>
                  <a:pt x="261" y="181"/>
                  <a:pt x="262" y="183"/>
                  <a:pt x="261" y="183"/>
                </a:cubicBezTo>
                <a:cubicBezTo>
                  <a:pt x="261" y="184"/>
                  <a:pt x="259" y="182"/>
                  <a:pt x="260" y="181"/>
                </a:cubicBezTo>
                <a:close/>
                <a:moveTo>
                  <a:pt x="260" y="152"/>
                </a:moveTo>
                <a:cubicBezTo>
                  <a:pt x="259" y="152"/>
                  <a:pt x="259" y="152"/>
                  <a:pt x="260" y="152"/>
                </a:cubicBezTo>
                <a:close/>
                <a:moveTo>
                  <a:pt x="259" y="202"/>
                </a:moveTo>
                <a:cubicBezTo>
                  <a:pt x="261" y="201"/>
                  <a:pt x="259" y="205"/>
                  <a:pt x="259" y="202"/>
                </a:cubicBezTo>
                <a:close/>
                <a:moveTo>
                  <a:pt x="259" y="152"/>
                </a:moveTo>
                <a:cubicBezTo>
                  <a:pt x="258" y="151"/>
                  <a:pt x="257" y="150"/>
                  <a:pt x="257" y="148"/>
                </a:cubicBezTo>
                <a:cubicBezTo>
                  <a:pt x="258" y="149"/>
                  <a:pt x="259" y="150"/>
                  <a:pt x="259" y="152"/>
                </a:cubicBezTo>
                <a:close/>
                <a:moveTo>
                  <a:pt x="255" y="100"/>
                </a:moveTo>
                <a:cubicBezTo>
                  <a:pt x="256" y="100"/>
                  <a:pt x="257" y="102"/>
                  <a:pt x="255" y="103"/>
                </a:cubicBezTo>
                <a:cubicBezTo>
                  <a:pt x="254" y="103"/>
                  <a:pt x="252" y="100"/>
                  <a:pt x="255" y="100"/>
                </a:cubicBezTo>
                <a:close/>
                <a:moveTo>
                  <a:pt x="255" y="196"/>
                </a:moveTo>
                <a:cubicBezTo>
                  <a:pt x="256" y="196"/>
                  <a:pt x="255" y="198"/>
                  <a:pt x="255" y="198"/>
                </a:cubicBezTo>
                <a:cubicBezTo>
                  <a:pt x="254" y="198"/>
                  <a:pt x="254" y="196"/>
                  <a:pt x="255" y="196"/>
                </a:cubicBezTo>
                <a:close/>
                <a:moveTo>
                  <a:pt x="253" y="79"/>
                </a:moveTo>
                <a:cubicBezTo>
                  <a:pt x="252" y="82"/>
                  <a:pt x="243" y="80"/>
                  <a:pt x="246" y="76"/>
                </a:cubicBezTo>
                <a:cubicBezTo>
                  <a:pt x="245" y="77"/>
                  <a:pt x="242" y="76"/>
                  <a:pt x="242" y="75"/>
                </a:cubicBezTo>
                <a:cubicBezTo>
                  <a:pt x="243" y="73"/>
                  <a:pt x="247" y="74"/>
                  <a:pt x="246" y="76"/>
                </a:cubicBezTo>
                <a:cubicBezTo>
                  <a:pt x="247" y="74"/>
                  <a:pt x="253" y="76"/>
                  <a:pt x="253" y="79"/>
                </a:cubicBezTo>
                <a:close/>
                <a:moveTo>
                  <a:pt x="249" y="118"/>
                </a:moveTo>
                <a:cubicBezTo>
                  <a:pt x="248" y="119"/>
                  <a:pt x="247" y="117"/>
                  <a:pt x="248" y="116"/>
                </a:cubicBezTo>
                <a:cubicBezTo>
                  <a:pt x="249" y="116"/>
                  <a:pt x="250" y="118"/>
                  <a:pt x="249" y="118"/>
                </a:cubicBezTo>
                <a:close/>
                <a:moveTo>
                  <a:pt x="244" y="88"/>
                </a:moveTo>
                <a:cubicBezTo>
                  <a:pt x="244" y="88"/>
                  <a:pt x="243" y="87"/>
                  <a:pt x="244" y="87"/>
                </a:cubicBezTo>
                <a:cubicBezTo>
                  <a:pt x="245" y="85"/>
                  <a:pt x="247" y="90"/>
                  <a:pt x="244" y="88"/>
                </a:cubicBezTo>
                <a:close/>
                <a:moveTo>
                  <a:pt x="244" y="70"/>
                </a:moveTo>
                <a:cubicBezTo>
                  <a:pt x="246" y="70"/>
                  <a:pt x="244" y="73"/>
                  <a:pt x="244" y="70"/>
                </a:cubicBezTo>
                <a:close/>
                <a:moveTo>
                  <a:pt x="248" y="64"/>
                </a:moveTo>
                <a:cubicBezTo>
                  <a:pt x="249" y="65"/>
                  <a:pt x="246" y="64"/>
                  <a:pt x="248" y="64"/>
                </a:cubicBezTo>
                <a:close/>
                <a:moveTo>
                  <a:pt x="243" y="69"/>
                </a:moveTo>
                <a:cubicBezTo>
                  <a:pt x="246" y="69"/>
                  <a:pt x="249" y="70"/>
                  <a:pt x="251" y="71"/>
                </a:cubicBezTo>
                <a:cubicBezTo>
                  <a:pt x="250" y="71"/>
                  <a:pt x="248" y="70"/>
                  <a:pt x="246" y="70"/>
                </a:cubicBezTo>
                <a:cubicBezTo>
                  <a:pt x="246" y="70"/>
                  <a:pt x="246" y="70"/>
                  <a:pt x="246" y="70"/>
                </a:cubicBezTo>
                <a:cubicBezTo>
                  <a:pt x="246" y="70"/>
                  <a:pt x="246" y="70"/>
                  <a:pt x="246" y="70"/>
                </a:cubicBezTo>
                <a:cubicBezTo>
                  <a:pt x="245" y="69"/>
                  <a:pt x="244" y="69"/>
                  <a:pt x="243" y="69"/>
                </a:cubicBezTo>
                <a:cubicBezTo>
                  <a:pt x="243" y="69"/>
                  <a:pt x="243" y="70"/>
                  <a:pt x="242" y="69"/>
                </a:cubicBezTo>
                <a:cubicBezTo>
                  <a:pt x="242" y="69"/>
                  <a:pt x="242" y="69"/>
                  <a:pt x="242" y="69"/>
                </a:cubicBezTo>
                <a:cubicBezTo>
                  <a:pt x="242" y="69"/>
                  <a:pt x="242" y="69"/>
                  <a:pt x="242" y="69"/>
                </a:cubicBezTo>
                <a:cubicBezTo>
                  <a:pt x="242" y="68"/>
                  <a:pt x="242" y="68"/>
                  <a:pt x="242" y="68"/>
                </a:cubicBezTo>
                <a:cubicBezTo>
                  <a:pt x="242" y="68"/>
                  <a:pt x="243" y="68"/>
                  <a:pt x="243" y="69"/>
                </a:cubicBezTo>
                <a:close/>
                <a:moveTo>
                  <a:pt x="242" y="89"/>
                </a:moveTo>
                <a:cubicBezTo>
                  <a:pt x="241" y="88"/>
                  <a:pt x="243" y="90"/>
                  <a:pt x="242" y="89"/>
                </a:cubicBezTo>
                <a:close/>
                <a:moveTo>
                  <a:pt x="234" y="66"/>
                </a:moveTo>
                <a:cubicBezTo>
                  <a:pt x="234" y="64"/>
                  <a:pt x="234" y="63"/>
                  <a:pt x="235" y="62"/>
                </a:cubicBezTo>
                <a:cubicBezTo>
                  <a:pt x="238" y="60"/>
                  <a:pt x="242" y="65"/>
                  <a:pt x="241" y="67"/>
                </a:cubicBezTo>
                <a:cubicBezTo>
                  <a:pt x="240" y="69"/>
                  <a:pt x="235" y="67"/>
                  <a:pt x="234" y="66"/>
                </a:cubicBezTo>
                <a:close/>
                <a:moveTo>
                  <a:pt x="246" y="122"/>
                </a:moveTo>
                <a:cubicBezTo>
                  <a:pt x="245" y="123"/>
                  <a:pt x="241" y="118"/>
                  <a:pt x="241" y="117"/>
                </a:cubicBezTo>
                <a:cubicBezTo>
                  <a:pt x="239" y="112"/>
                  <a:pt x="247" y="121"/>
                  <a:pt x="246" y="122"/>
                </a:cubicBezTo>
                <a:close/>
                <a:moveTo>
                  <a:pt x="242" y="252"/>
                </a:moveTo>
                <a:cubicBezTo>
                  <a:pt x="242" y="252"/>
                  <a:pt x="245" y="257"/>
                  <a:pt x="243" y="256"/>
                </a:cubicBezTo>
                <a:cubicBezTo>
                  <a:pt x="242" y="256"/>
                  <a:pt x="242" y="251"/>
                  <a:pt x="242" y="251"/>
                </a:cubicBezTo>
                <a:cubicBezTo>
                  <a:pt x="240" y="247"/>
                  <a:pt x="237" y="245"/>
                  <a:pt x="237" y="241"/>
                </a:cubicBezTo>
                <a:cubicBezTo>
                  <a:pt x="240" y="242"/>
                  <a:pt x="242" y="250"/>
                  <a:pt x="242" y="252"/>
                </a:cubicBezTo>
                <a:close/>
                <a:moveTo>
                  <a:pt x="241" y="246"/>
                </a:moveTo>
                <a:cubicBezTo>
                  <a:pt x="242" y="246"/>
                  <a:pt x="243" y="248"/>
                  <a:pt x="242" y="248"/>
                </a:cubicBezTo>
                <a:cubicBezTo>
                  <a:pt x="242" y="248"/>
                  <a:pt x="241" y="247"/>
                  <a:pt x="241" y="246"/>
                </a:cubicBezTo>
                <a:close/>
                <a:moveTo>
                  <a:pt x="244" y="213"/>
                </a:moveTo>
                <a:cubicBezTo>
                  <a:pt x="243" y="213"/>
                  <a:pt x="243" y="213"/>
                  <a:pt x="243" y="213"/>
                </a:cubicBezTo>
                <a:cubicBezTo>
                  <a:pt x="241" y="212"/>
                  <a:pt x="244" y="211"/>
                  <a:pt x="244" y="213"/>
                </a:cubicBezTo>
                <a:close/>
                <a:moveTo>
                  <a:pt x="241" y="158"/>
                </a:moveTo>
                <a:cubicBezTo>
                  <a:pt x="240" y="157"/>
                  <a:pt x="243" y="158"/>
                  <a:pt x="242" y="159"/>
                </a:cubicBezTo>
                <a:cubicBezTo>
                  <a:pt x="242" y="159"/>
                  <a:pt x="242" y="158"/>
                  <a:pt x="241" y="158"/>
                </a:cubicBezTo>
                <a:close/>
                <a:moveTo>
                  <a:pt x="243" y="148"/>
                </a:moveTo>
                <a:cubicBezTo>
                  <a:pt x="244" y="147"/>
                  <a:pt x="245" y="149"/>
                  <a:pt x="244" y="149"/>
                </a:cubicBezTo>
                <a:cubicBezTo>
                  <a:pt x="244" y="149"/>
                  <a:pt x="243" y="148"/>
                  <a:pt x="243" y="148"/>
                </a:cubicBezTo>
                <a:close/>
                <a:moveTo>
                  <a:pt x="244" y="215"/>
                </a:moveTo>
                <a:cubicBezTo>
                  <a:pt x="244" y="215"/>
                  <a:pt x="246" y="216"/>
                  <a:pt x="245" y="216"/>
                </a:cubicBezTo>
                <a:cubicBezTo>
                  <a:pt x="244" y="216"/>
                  <a:pt x="244" y="216"/>
                  <a:pt x="244" y="215"/>
                </a:cubicBezTo>
                <a:close/>
                <a:moveTo>
                  <a:pt x="230" y="166"/>
                </a:moveTo>
                <a:cubicBezTo>
                  <a:pt x="228" y="160"/>
                  <a:pt x="236" y="159"/>
                  <a:pt x="238" y="164"/>
                </a:cubicBezTo>
                <a:cubicBezTo>
                  <a:pt x="242" y="171"/>
                  <a:pt x="232" y="172"/>
                  <a:pt x="230" y="166"/>
                </a:cubicBezTo>
                <a:close/>
                <a:moveTo>
                  <a:pt x="236" y="177"/>
                </a:moveTo>
                <a:cubicBezTo>
                  <a:pt x="236" y="178"/>
                  <a:pt x="235" y="177"/>
                  <a:pt x="234" y="177"/>
                </a:cubicBezTo>
                <a:cubicBezTo>
                  <a:pt x="235" y="176"/>
                  <a:pt x="236" y="177"/>
                  <a:pt x="236" y="177"/>
                </a:cubicBezTo>
                <a:close/>
                <a:moveTo>
                  <a:pt x="234" y="190"/>
                </a:moveTo>
                <a:cubicBezTo>
                  <a:pt x="233" y="190"/>
                  <a:pt x="234" y="188"/>
                  <a:pt x="234" y="190"/>
                </a:cubicBezTo>
                <a:close/>
                <a:moveTo>
                  <a:pt x="230" y="190"/>
                </a:moveTo>
                <a:cubicBezTo>
                  <a:pt x="231" y="189"/>
                  <a:pt x="233" y="191"/>
                  <a:pt x="233" y="191"/>
                </a:cubicBezTo>
                <a:cubicBezTo>
                  <a:pt x="232" y="192"/>
                  <a:pt x="230" y="190"/>
                  <a:pt x="230" y="190"/>
                </a:cubicBezTo>
                <a:close/>
                <a:moveTo>
                  <a:pt x="232" y="199"/>
                </a:moveTo>
                <a:cubicBezTo>
                  <a:pt x="232" y="200"/>
                  <a:pt x="231" y="198"/>
                  <a:pt x="232" y="198"/>
                </a:cubicBezTo>
                <a:cubicBezTo>
                  <a:pt x="232" y="199"/>
                  <a:pt x="232" y="199"/>
                  <a:pt x="232" y="199"/>
                </a:cubicBezTo>
                <a:close/>
                <a:moveTo>
                  <a:pt x="232" y="179"/>
                </a:moveTo>
                <a:cubicBezTo>
                  <a:pt x="232" y="179"/>
                  <a:pt x="233" y="179"/>
                  <a:pt x="233" y="180"/>
                </a:cubicBezTo>
                <a:cubicBezTo>
                  <a:pt x="233" y="180"/>
                  <a:pt x="231" y="180"/>
                  <a:pt x="232" y="179"/>
                </a:cubicBezTo>
                <a:close/>
                <a:moveTo>
                  <a:pt x="238" y="100"/>
                </a:moveTo>
                <a:cubicBezTo>
                  <a:pt x="238" y="100"/>
                  <a:pt x="238" y="100"/>
                  <a:pt x="238" y="100"/>
                </a:cubicBezTo>
                <a:cubicBezTo>
                  <a:pt x="238" y="100"/>
                  <a:pt x="239" y="101"/>
                  <a:pt x="238" y="100"/>
                </a:cubicBezTo>
                <a:close/>
                <a:moveTo>
                  <a:pt x="235" y="107"/>
                </a:moveTo>
                <a:cubicBezTo>
                  <a:pt x="235" y="107"/>
                  <a:pt x="234" y="109"/>
                  <a:pt x="234" y="107"/>
                </a:cubicBezTo>
                <a:cubicBezTo>
                  <a:pt x="234" y="108"/>
                  <a:pt x="233" y="106"/>
                  <a:pt x="235" y="107"/>
                </a:cubicBezTo>
                <a:close/>
                <a:moveTo>
                  <a:pt x="231" y="104"/>
                </a:moveTo>
                <a:cubicBezTo>
                  <a:pt x="233" y="103"/>
                  <a:pt x="233" y="107"/>
                  <a:pt x="231" y="107"/>
                </a:cubicBezTo>
                <a:cubicBezTo>
                  <a:pt x="230" y="107"/>
                  <a:pt x="229" y="104"/>
                  <a:pt x="231" y="104"/>
                </a:cubicBezTo>
                <a:close/>
                <a:moveTo>
                  <a:pt x="238" y="120"/>
                </a:moveTo>
                <a:cubicBezTo>
                  <a:pt x="238" y="124"/>
                  <a:pt x="230" y="122"/>
                  <a:pt x="229" y="120"/>
                </a:cubicBezTo>
                <a:cubicBezTo>
                  <a:pt x="223" y="112"/>
                  <a:pt x="239" y="113"/>
                  <a:pt x="238" y="120"/>
                </a:cubicBezTo>
                <a:close/>
                <a:moveTo>
                  <a:pt x="233" y="134"/>
                </a:moveTo>
                <a:cubicBezTo>
                  <a:pt x="233" y="133"/>
                  <a:pt x="234" y="135"/>
                  <a:pt x="234" y="135"/>
                </a:cubicBezTo>
                <a:cubicBezTo>
                  <a:pt x="232" y="136"/>
                  <a:pt x="232" y="133"/>
                  <a:pt x="231" y="132"/>
                </a:cubicBezTo>
                <a:cubicBezTo>
                  <a:pt x="230" y="130"/>
                  <a:pt x="226" y="126"/>
                  <a:pt x="225" y="122"/>
                </a:cubicBezTo>
                <a:cubicBezTo>
                  <a:pt x="228" y="124"/>
                  <a:pt x="232" y="131"/>
                  <a:pt x="233" y="134"/>
                </a:cubicBezTo>
                <a:close/>
                <a:moveTo>
                  <a:pt x="226" y="205"/>
                </a:moveTo>
                <a:cubicBezTo>
                  <a:pt x="227" y="204"/>
                  <a:pt x="227" y="206"/>
                  <a:pt x="227" y="206"/>
                </a:cubicBezTo>
                <a:cubicBezTo>
                  <a:pt x="226" y="206"/>
                  <a:pt x="226" y="205"/>
                  <a:pt x="226" y="205"/>
                </a:cubicBezTo>
                <a:close/>
                <a:moveTo>
                  <a:pt x="226" y="130"/>
                </a:moveTo>
                <a:cubicBezTo>
                  <a:pt x="226" y="130"/>
                  <a:pt x="225" y="129"/>
                  <a:pt x="226" y="129"/>
                </a:cubicBezTo>
                <a:cubicBezTo>
                  <a:pt x="226" y="129"/>
                  <a:pt x="226" y="130"/>
                  <a:pt x="226" y="130"/>
                </a:cubicBezTo>
                <a:close/>
                <a:moveTo>
                  <a:pt x="226" y="159"/>
                </a:moveTo>
                <a:cubicBezTo>
                  <a:pt x="224" y="159"/>
                  <a:pt x="226" y="158"/>
                  <a:pt x="226" y="159"/>
                </a:cubicBezTo>
                <a:close/>
                <a:moveTo>
                  <a:pt x="225" y="158"/>
                </a:moveTo>
                <a:cubicBezTo>
                  <a:pt x="224" y="159"/>
                  <a:pt x="222" y="157"/>
                  <a:pt x="221" y="157"/>
                </a:cubicBezTo>
                <a:cubicBezTo>
                  <a:pt x="222" y="156"/>
                  <a:pt x="224" y="158"/>
                  <a:pt x="225" y="158"/>
                </a:cubicBezTo>
                <a:close/>
                <a:moveTo>
                  <a:pt x="224" y="169"/>
                </a:moveTo>
                <a:cubicBezTo>
                  <a:pt x="225" y="170"/>
                  <a:pt x="224" y="174"/>
                  <a:pt x="225" y="175"/>
                </a:cubicBezTo>
                <a:cubicBezTo>
                  <a:pt x="226" y="178"/>
                  <a:pt x="226" y="177"/>
                  <a:pt x="223" y="179"/>
                </a:cubicBezTo>
                <a:cubicBezTo>
                  <a:pt x="221" y="182"/>
                  <a:pt x="216" y="182"/>
                  <a:pt x="217" y="178"/>
                </a:cubicBezTo>
                <a:cubicBezTo>
                  <a:pt x="222" y="179"/>
                  <a:pt x="215" y="177"/>
                  <a:pt x="214" y="175"/>
                </a:cubicBezTo>
                <a:cubicBezTo>
                  <a:pt x="213" y="175"/>
                  <a:pt x="213" y="169"/>
                  <a:pt x="214" y="168"/>
                </a:cubicBezTo>
                <a:cubicBezTo>
                  <a:pt x="217" y="164"/>
                  <a:pt x="222" y="166"/>
                  <a:pt x="224" y="169"/>
                </a:cubicBezTo>
                <a:close/>
                <a:moveTo>
                  <a:pt x="212" y="179"/>
                </a:moveTo>
                <a:cubicBezTo>
                  <a:pt x="213" y="179"/>
                  <a:pt x="213" y="182"/>
                  <a:pt x="212" y="181"/>
                </a:cubicBezTo>
                <a:cubicBezTo>
                  <a:pt x="211" y="181"/>
                  <a:pt x="211" y="180"/>
                  <a:pt x="212" y="179"/>
                </a:cubicBezTo>
                <a:close/>
                <a:moveTo>
                  <a:pt x="211" y="154"/>
                </a:moveTo>
                <a:cubicBezTo>
                  <a:pt x="212" y="153"/>
                  <a:pt x="213" y="154"/>
                  <a:pt x="213" y="155"/>
                </a:cubicBezTo>
                <a:cubicBezTo>
                  <a:pt x="213" y="155"/>
                  <a:pt x="212" y="154"/>
                  <a:pt x="211" y="154"/>
                </a:cubicBezTo>
                <a:close/>
                <a:moveTo>
                  <a:pt x="214" y="225"/>
                </a:moveTo>
                <a:cubicBezTo>
                  <a:pt x="213" y="224"/>
                  <a:pt x="212" y="223"/>
                  <a:pt x="212" y="221"/>
                </a:cubicBezTo>
                <a:cubicBezTo>
                  <a:pt x="212" y="223"/>
                  <a:pt x="214" y="223"/>
                  <a:pt x="214" y="225"/>
                </a:cubicBezTo>
                <a:close/>
                <a:moveTo>
                  <a:pt x="213" y="174"/>
                </a:moveTo>
                <a:cubicBezTo>
                  <a:pt x="212" y="176"/>
                  <a:pt x="218" y="182"/>
                  <a:pt x="216" y="182"/>
                </a:cubicBezTo>
                <a:cubicBezTo>
                  <a:pt x="215" y="182"/>
                  <a:pt x="211" y="176"/>
                  <a:pt x="213" y="174"/>
                </a:cubicBezTo>
                <a:close/>
                <a:moveTo>
                  <a:pt x="219" y="185"/>
                </a:moveTo>
                <a:cubicBezTo>
                  <a:pt x="218" y="186"/>
                  <a:pt x="216" y="185"/>
                  <a:pt x="216" y="184"/>
                </a:cubicBezTo>
                <a:cubicBezTo>
                  <a:pt x="214" y="182"/>
                  <a:pt x="220" y="182"/>
                  <a:pt x="219" y="185"/>
                </a:cubicBezTo>
                <a:close/>
                <a:moveTo>
                  <a:pt x="217" y="156"/>
                </a:moveTo>
                <a:cubicBezTo>
                  <a:pt x="217" y="156"/>
                  <a:pt x="217" y="156"/>
                  <a:pt x="217" y="156"/>
                </a:cubicBezTo>
                <a:cubicBezTo>
                  <a:pt x="215" y="155"/>
                  <a:pt x="219" y="156"/>
                  <a:pt x="217" y="156"/>
                </a:cubicBezTo>
                <a:close/>
                <a:moveTo>
                  <a:pt x="216" y="132"/>
                </a:moveTo>
                <a:cubicBezTo>
                  <a:pt x="216" y="133"/>
                  <a:pt x="215" y="133"/>
                  <a:pt x="214" y="132"/>
                </a:cubicBezTo>
                <a:cubicBezTo>
                  <a:pt x="213" y="131"/>
                  <a:pt x="216" y="130"/>
                  <a:pt x="216" y="132"/>
                </a:cubicBezTo>
                <a:close/>
                <a:moveTo>
                  <a:pt x="216" y="146"/>
                </a:moveTo>
                <a:cubicBezTo>
                  <a:pt x="216" y="147"/>
                  <a:pt x="215" y="146"/>
                  <a:pt x="215" y="146"/>
                </a:cubicBezTo>
                <a:cubicBezTo>
                  <a:pt x="213" y="145"/>
                  <a:pt x="216" y="145"/>
                  <a:pt x="216" y="146"/>
                </a:cubicBezTo>
                <a:close/>
                <a:moveTo>
                  <a:pt x="220" y="156"/>
                </a:moveTo>
                <a:cubicBezTo>
                  <a:pt x="217" y="155"/>
                  <a:pt x="214" y="154"/>
                  <a:pt x="211" y="152"/>
                </a:cubicBezTo>
                <a:cubicBezTo>
                  <a:pt x="214" y="152"/>
                  <a:pt x="218" y="154"/>
                  <a:pt x="220" y="156"/>
                </a:cubicBezTo>
                <a:close/>
                <a:moveTo>
                  <a:pt x="212" y="115"/>
                </a:moveTo>
                <a:cubicBezTo>
                  <a:pt x="212" y="117"/>
                  <a:pt x="209" y="116"/>
                  <a:pt x="209" y="115"/>
                </a:cubicBezTo>
                <a:cubicBezTo>
                  <a:pt x="207" y="112"/>
                  <a:pt x="212" y="112"/>
                  <a:pt x="212" y="115"/>
                </a:cubicBezTo>
                <a:close/>
                <a:moveTo>
                  <a:pt x="210" y="146"/>
                </a:moveTo>
                <a:cubicBezTo>
                  <a:pt x="209" y="146"/>
                  <a:pt x="209" y="145"/>
                  <a:pt x="209" y="144"/>
                </a:cubicBezTo>
                <a:cubicBezTo>
                  <a:pt x="209" y="144"/>
                  <a:pt x="210" y="146"/>
                  <a:pt x="210" y="146"/>
                </a:cubicBezTo>
                <a:close/>
                <a:moveTo>
                  <a:pt x="209" y="150"/>
                </a:moveTo>
                <a:cubicBezTo>
                  <a:pt x="207" y="148"/>
                  <a:pt x="210" y="149"/>
                  <a:pt x="209" y="150"/>
                </a:cubicBezTo>
                <a:close/>
                <a:moveTo>
                  <a:pt x="207" y="167"/>
                </a:moveTo>
                <a:cubicBezTo>
                  <a:pt x="207" y="167"/>
                  <a:pt x="207" y="167"/>
                  <a:pt x="207" y="167"/>
                </a:cubicBezTo>
                <a:cubicBezTo>
                  <a:pt x="209" y="166"/>
                  <a:pt x="206" y="169"/>
                  <a:pt x="207" y="167"/>
                </a:cubicBezTo>
                <a:close/>
                <a:moveTo>
                  <a:pt x="204" y="221"/>
                </a:moveTo>
                <a:cubicBezTo>
                  <a:pt x="205" y="220"/>
                  <a:pt x="206" y="222"/>
                  <a:pt x="205" y="222"/>
                </a:cubicBezTo>
                <a:cubicBezTo>
                  <a:pt x="204" y="222"/>
                  <a:pt x="204" y="221"/>
                  <a:pt x="204" y="221"/>
                </a:cubicBezTo>
                <a:close/>
                <a:moveTo>
                  <a:pt x="204" y="239"/>
                </a:moveTo>
                <a:cubicBezTo>
                  <a:pt x="205" y="239"/>
                  <a:pt x="206" y="241"/>
                  <a:pt x="205" y="242"/>
                </a:cubicBezTo>
                <a:cubicBezTo>
                  <a:pt x="204" y="242"/>
                  <a:pt x="202" y="240"/>
                  <a:pt x="204" y="239"/>
                </a:cubicBezTo>
                <a:close/>
                <a:moveTo>
                  <a:pt x="203" y="346"/>
                </a:moveTo>
                <a:cubicBezTo>
                  <a:pt x="205" y="346"/>
                  <a:pt x="205" y="348"/>
                  <a:pt x="203" y="346"/>
                </a:cubicBezTo>
                <a:close/>
                <a:moveTo>
                  <a:pt x="202" y="233"/>
                </a:moveTo>
                <a:cubicBezTo>
                  <a:pt x="202" y="233"/>
                  <a:pt x="203" y="235"/>
                  <a:pt x="202" y="235"/>
                </a:cubicBezTo>
                <a:cubicBezTo>
                  <a:pt x="202" y="235"/>
                  <a:pt x="201" y="233"/>
                  <a:pt x="202" y="233"/>
                </a:cubicBezTo>
                <a:close/>
                <a:moveTo>
                  <a:pt x="202" y="232"/>
                </a:moveTo>
                <a:cubicBezTo>
                  <a:pt x="200" y="232"/>
                  <a:pt x="202" y="231"/>
                  <a:pt x="202" y="232"/>
                </a:cubicBezTo>
                <a:close/>
                <a:moveTo>
                  <a:pt x="202" y="345"/>
                </a:moveTo>
                <a:cubicBezTo>
                  <a:pt x="204" y="347"/>
                  <a:pt x="201" y="343"/>
                  <a:pt x="202" y="345"/>
                </a:cubicBezTo>
                <a:close/>
                <a:moveTo>
                  <a:pt x="201" y="171"/>
                </a:moveTo>
                <a:cubicBezTo>
                  <a:pt x="201" y="172"/>
                  <a:pt x="203" y="172"/>
                  <a:pt x="202" y="173"/>
                </a:cubicBezTo>
                <a:cubicBezTo>
                  <a:pt x="202" y="174"/>
                  <a:pt x="200" y="171"/>
                  <a:pt x="201" y="171"/>
                </a:cubicBezTo>
                <a:close/>
                <a:moveTo>
                  <a:pt x="200" y="182"/>
                </a:moveTo>
                <a:cubicBezTo>
                  <a:pt x="201" y="181"/>
                  <a:pt x="202" y="184"/>
                  <a:pt x="201" y="184"/>
                </a:cubicBezTo>
                <a:cubicBezTo>
                  <a:pt x="199" y="185"/>
                  <a:pt x="200" y="182"/>
                  <a:pt x="200" y="182"/>
                </a:cubicBezTo>
                <a:close/>
                <a:moveTo>
                  <a:pt x="199" y="304"/>
                </a:moveTo>
                <a:cubicBezTo>
                  <a:pt x="198" y="304"/>
                  <a:pt x="198" y="302"/>
                  <a:pt x="199" y="302"/>
                </a:cubicBezTo>
                <a:cubicBezTo>
                  <a:pt x="200" y="302"/>
                  <a:pt x="200" y="304"/>
                  <a:pt x="199" y="304"/>
                </a:cubicBezTo>
                <a:close/>
                <a:moveTo>
                  <a:pt x="200" y="321"/>
                </a:moveTo>
                <a:cubicBezTo>
                  <a:pt x="200" y="321"/>
                  <a:pt x="200" y="321"/>
                  <a:pt x="200" y="321"/>
                </a:cubicBezTo>
                <a:cubicBezTo>
                  <a:pt x="200" y="321"/>
                  <a:pt x="200" y="321"/>
                  <a:pt x="200" y="321"/>
                </a:cubicBezTo>
                <a:cubicBezTo>
                  <a:pt x="200" y="321"/>
                  <a:pt x="200" y="321"/>
                  <a:pt x="200" y="321"/>
                </a:cubicBezTo>
                <a:close/>
                <a:moveTo>
                  <a:pt x="198" y="238"/>
                </a:moveTo>
                <a:cubicBezTo>
                  <a:pt x="199" y="239"/>
                  <a:pt x="200" y="240"/>
                  <a:pt x="201" y="242"/>
                </a:cubicBezTo>
                <a:cubicBezTo>
                  <a:pt x="199" y="241"/>
                  <a:pt x="198" y="240"/>
                  <a:pt x="198" y="238"/>
                </a:cubicBezTo>
                <a:close/>
                <a:moveTo>
                  <a:pt x="198" y="266"/>
                </a:moveTo>
                <a:cubicBezTo>
                  <a:pt x="197" y="267"/>
                  <a:pt x="197" y="265"/>
                  <a:pt x="197" y="265"/>
                </a:cubicBezTo>
                <a:cubicBezTo>
                  <a:pt x="197" y="265"/>
                  <a:pt x="199" y="266"/>
                  <a:pt x="198" y="266"/>
                </a:cubicBezTo>
                <a:close/>
                <a:moveTo>
                  <a:pt x="199" y="228"/>
                </a:moveTo>
                <a:cubicBezTo>
                  <a:pt x="197" y="229"/>
                  <a:pt x="195" y="222"/>
                  <a:pt x="198" y="222"/>
                </a:cubicBezTo>
                <a:cubicBezTo>
                  <a:pt x="201" y="222"/>
                  <a:pt x="201" y="228"/>
                  <a:pt x="199" y="228"/>
                </a:cubicBezTo>
                <a:close/>
                <a:moveTo>
                  <a:pt x="197" y="165"/>
                </a:moveTo>
                <a:cubicBezTo>
                  <a:pt x="198" y="165"/>
                  <a:pt x="201" y="171"/>
                  <a:pt x="198" y="172"/>
                </a:cubicBezTo>
                <a:cubicBezTo>
                  <a:pt x="194" y="173"/>
                  <a:pt x="192" y="164"/>
                  <a:pt x="197" y="165"/>
                </a:cubicBezTo>
                <a:close/>
                <a:moveTo>
                  <a:pt x="196" y="264"/>
                </a:moveTo>
                <a:cubicBezTo>
                  <a:pt x="195" y="263"/>
                  <a:pt x="195" y="262"/>
                  <a:pt x="194" y="261"/>
                </a:cubicBezTo>
                <a:cubicBezTo>
                  <a:pt x="195" y="261"/>
                  <a:pt x="196" y="263"/>
                  <a:pt x="196" y="264"/>
                </a:cubicBezTo>
                <a:close/>
                <a:moveTo>
                  <a:pt x="194" y="242"/>
                </a:moveTo>
                <a:cubicBezTo>
                  <a:pt x="194" y="242"/>
                  <a:pt x="194" y="242"/>
                  <a:pt x="194" y="242"/>
                </a:cubicBezTo>
                <a:cubicBezTo>
                  <a:pt x="196" y="241"/>
                  <a:pt x="192" y="244"/>
                  <a:pt x="194" y="242"/>
                </a:cubicBezTo>
                <a:close/>
                <a:moveTo>
                  <a:pt x="194" y="188"/>
                </a:moveTo>
                <a:cubicBezTo>
                  <a:pt x="195" y="188"/>
                  <a:pt x="195" y="191"/>
                  <a:pt x="194" y="191"/>
                </a:cubicBezTo>
                <a:cubicBezTo>
                  <a:pt x="193" y="191"/>
                  <a:pt x="192" y="188"/>
                  <a:pt x="194" y="188"/>
                </a:cubicBezTo>
                <a:close/>
                <a:moveTo>
                  <a:pt x="192" y="192"/>
                </a:moveTo>
                <a:cubicBezTo>
                  <a:pt x="190" y="193"/>
                  <a:pt x="193" y="192"/>
                  <a:pt x="192" y="192"/>
                </a:cubicBezTo>
                <a:close/>
                <a:moveTo>
                  <a:pt x="191" y="224"/>
                </a:moveTo>
                <a:cubicBezTo>
                  <a:pt x="191" y="225"/>
                  <a:pt x="190" y="223"/>
                  <a:pt x="190" y="223"/>
                </a:cubicBezTo>
                <a:cubicBezTo>
                  <a:pt x="191" y="222"/>
                  <a:pt x="192" y="224"/>
                  <a:pt x="191" y="224"/>
                </a:cubicBezTo>
                <a:close/>
                <a:moveTo>
                  <a:pt x="191" y="190"/>
                </a:moveTo>
                <a:cubicBezTo>
                  <a:pt x="191" y="189"/>
                  <a:pt x="191" y="189"/>
                  <a:pt x="190" y="188"/>
                </a:cubicBezTo>
                <a:cubicBezTo>
                  <a:pt x="191" y="188"/>
                  <a:pt x="191" y="189"/>
                  <a:pt x="191" y="190"/>
                </a:cubicBezTo>
                <a:close/>
                <a:moveTo>
                  <a:pt x="192" y="243"/>
                </a:moveTo>
                <a:cubicBezTo>
                  <a:pt x="192" y="241"/>
                  <a:pt x="191" y="242"/>
                  <a:pt x="190" y="243"/>
                </a:cubicBezTo>
                <a:cubicBezTo>
                  <a:pt x="188" y="243"/>
                  <a:pt x="184" y="239"/>
                  <a:pt x="186" y="235"/>
                </a:cubicBezTo>
                <a:cubicBezTo>
                  <a:pt x="189" y="230"/>
                  <a:pt x="196" y="237"/>
                  <a:pt x="192" y="243"/>
                </a:cubicBezTo>
                <a:close/>
                <a:moveTo>
                  <a:pt x="192" y="254"/>
                </a:moveTo>
                <a:cubicBezTo>
                  <a:pt x="191" y="255"/>
                  <a:pt x="191" y="253"/>
                  <a:pt x="191" y="253"/>
                </a:cubicBezTo>
                <a:cubicBezTo>
                  <a:pt x="192" y="252"/>
                  <a:pt x="192" y="254"/>
                  <a:pt x="192" y="254"/>
                </a:cubicBezTo>
                <a:close/>
                <a:moveTo>
                  <a:pt x="190" y="274"/>
                </a:moveTo>
                <a:cubicBezTo>
                  <a:pt x="190" y="274"/>
                  <a:pt x="189" y="272"/>
                  <a:pt x="190" y="272"/>
                </a:cubicBezTo>
                <a:cubicBezTo>
                  <a:pt x="191" y="271"/>
                  <a:pt x="191" y="274"/>
                  <a:pt x="190" y="274"/>
                </a:cubicBezTo>
                <a:close/>
                <a:moveTo>
                  <a:pt x="186" y="193"/>
                </a:moveTo>
                <a:cubicBezTo>
                  <a:pt x="189" y="193"/>
                  <a:pt x="188" y="197"/>
                  <a:pt x="187" y="197"/>
                </a:cubicBezTo>
                <a:cubicBezTo>
                  <a:pt x="185" y="197"/>
                  <a:pt x="185" y="193"/>
                  <a:pt x="186" y="193"/>
                </a:cubicBezTo>
                <a:close/>
                <a:moveTo>
                  <a:pt x="185" y="198"/>
                </a:moveTo>
                <a:cubicBezTo>
                  <a:pt x="187" y="198"/>
                  <a:pt x="186" y="200"/>
                  <a:pt x="185" y="198"/>
                </a:cubicBezTo>
                <a:close/>
                <a:moveTo>
                  <a:pt x="183" y="252"/>
                </a:moveTo>
                <a:cubicBezTo>
                  <a:pt x="184" y="252"/>
                  <a:pt x="184" y="254"/>
                  <a:pt x="183" y="253"/>
                </a:cubicBezTo>
                <a:cubicBezTo>
                  <a:pt x="183" y="253"/>
                  <a:pt x="183" y="253"/>
                  <a:pt x="183" y="252"/>
                </a:cubicBezTo>
                <a:close/>
                <a:moveTo>
                  <a:pt x="184" y="268"/>
                </a:moveTo>
                <a:cubicBezTo>
                  <a:pt x="184" y="268"/>
                  <a:pt x="185" y="269"/>
                  <a:pt x="184" y="269"/>
                </a:cubicBezTo>
                <a:cubicBezTo>
                  <a:pt x="184" y="270"/>
                  <a:pt x="182" y="268"/>
                  <a:pt x="184" y="268"/>
                </a:cubicBezTo>
                <a:close/>
                <a:moveTo>
                  <a:pt x="184" y="309"/>
                </a:moveTo>
                <a:cubicBezTo>
                  <a:pt x="183" y="309"/>
                  <a:pt x="182" y="307"/>
                  <a:pt x="183" y="306"/>
                </a:cubicBezTo>
                <a:cubicBezTo>
                  <a:pt x="185" y="305"/>
                  <a:pt x="185" y="309"/>
                  <a:pt x="184" y="309"/>
                </a:cubicBezTo>
                <a:close/>
                <a:moveTo>
                  <a:pt x="184" y="256"/>
                </a:moveTo>
                <a:cubicBezTo>
                  <a:pt x="183" y="256"/>
                  <a:pt x="182" y="254"/>
                  <a:pt x="184" y="254"/>
                </a:cubicBezTo>
                <a:cubicBezTo>
                  <a:pt x="185" y="254"/>
                  <a:pt x="185" y="256"/>
                  <a:pt x="184" y="256"/>
                </a:cubicBezTo>
                <a:close/>
                <a:moveTo>
                  <a:pt x="186" y="272"/>
                </a:moveTo>
                <a:cubicBezTo>
                  <a:pt x="190" y="271"/>
                  <a:pt x="189" y="278"/>
                  <a:pt x="187" y="278"/>
                </a:cubicBezTo>
                <a:cubicBezTo>
                  <a:pt x="185" y="278"/>
                  <a:pt x="184" y="273"/>
                  <a:pt x="186" y="272"/>
                </a:cubicBezTo>
                <a:close/>
                <a:moveTo>
                  <a:pt x="189" y="304"/>
                </a:moveTo>
                <a:cubicBezTo>
                  <a:pt x="193" y="304"/>
                  <a:pt x="193" y="312"/>
                  <a:pt x="190" y="312"/>
                </a:cubicBezTo>
                <a:cubicBezTo>
                  <a:pt x="187" y="312"/>
                  <a:pt x="185" y="305"/>
                  <a:pt x="189" y="304"/>
                </a:cubicBezTo>
                <a:close/>
                <a:moveTo>
                  <a:pt x="193" y="375"/>
                </a:moveTo>
                <a:cubicBezTo>
                  <a:pt x="193" y="375"/>
                  <a:pt x="192" y="374"/>
                  <a:pt x="193" y="374"/>
                </a:cubicBezTo>
                <a:cubicBezTo>
                  <a:pt x="193" y="374"/>
                  <a:pt x="194" y="375"/>
                  <a:pt x="193" y="375"/>
                </a:cubicBezTo>
                <a:close/>
                <a:moveTo>
                  <a:pt x="205" y="365"/>
                </a:moveTo>
                <a:cubicBezTo>
                  <a:pt x="205" y="366"/>
                  <a:pt x="203" y="362"/>
                  <a:pt x="204" y="364"/>
                </a:cubicBezTo>
                <a:cubicBezTo>
                  <a:pt x="199" y="355"/>
                  <a:pt x="192" y="344"/>
                  <a:pt x="189" y="335"/>
                </a:cubicBezTo>
                <a:cubicBezTo>
                  <a:pt x="195" y="343"/>
                  <a:pt x="199" y="352"/>
                  <a:pt x="204" y="362"/>
                </a:cubicBezTo>
                <a:cubicBezTo>
                  <a:pt x="204" y="362"/>
                  <a:pt x="206" y="364"/>
                  <a:pt x="205" y="365"/>
                </a:cubicBezTo>
                <a:close/>
                <a:moveTo>
                  <a:pt x="206" y="165"/>
                </a:moveTo>
                <a:cubicBezTo>
                  <a:pt x="204" y="165"/>
                  <a:pt x="205" y="163"/>
                  <a:pt x="206" y="165"/>
                </a:cubicBezTo>
                <a:close/>
                <a:moveTo>
                  <a:pt x="212" y="221"/>
                </a:moveTo>
                <a:cubicBezTo>
                  <a:pt x="210" y="220"/>
                  <a:pt x="208" y="217"/>
                  <a:pt x="206" y="215"/>
                </a:cubicBezTo>
                <a:cubicBezTo>
                  <a:pt x="209" y="216"/>
                  <a:pt x="210" y="219"/>
                  <a:pt x="212" y="221"/>
                </a:cubicBezTo>
                <a:close/>
                <a:moveTo>
                  <a:pt x="207" y="224"/>
                </a:moveTo>
                <a:cubicBezTo>
                  <a:pt x="205" y="222"/>
                  <a:pt x="211" y="223"/>
                  <a:pt x="209" y="225"/>
                </a:cubicBezTo>
                <a:cubicBezTo>
                  <a:pt x="209" y="226"/>
                  <a:pt x="208" y="225"/>
                  <a:pt x="207" y="224"/>
                </a:cubicBezTo>
                <a:close/>
                <a:moveTo>
                  <a:pt x="209" y="243"/>
                </a:moveTo>
                <a:cubicBezTo>
                  <a:pt x="210" y="243"/>
                  <a:pt x="211" y="244"/>
                  <a:pt x="211" y="244"/>
                </a:cubicBezTo>
                <a:cubicBezTo>
                  <a:pt x="211" y="247"/>
                  <a:pt x="208" y="245"/>
                  <a:pt x="209" y="243"/>
                </a:cubicBezTo>
                <a:close/>
                <a:moveTo>
                  <a:pt x="214" y="405"/>
                </a:moveTo>
                <a:cubicBezTo>
                  <a:pt x="214" y="405"/>
                  <a:pt x="215" y="405"/>
                  <a:pt x="215" y="405"/>
                </a:cubicBezTo>
                <a:cubicBezTo>
                  <a:pt x="216" y="406"/>
                  <a:pt x="213" y="406"/>
                  <a:pt x="214" y="405"/>
                </a:cubicBezTo>
                <a:close/>
                <a:moveTo>
                  <a:pt x="211" y="256"/>
                </a:moveTo>
                <a:cubicBezTo>
                  <a:pt x="211" y="256"/>
                  <a:pt x="210" y="254"/>
                  <a:pt x="211" y="254"/>
                </a:cubicBezTo>
                <a:cubicBezTo>
                  <a:pt x="214" y="256"/>
                  <a:pt x="216" y="261"/>
                  <a:pt x="217" y="264"/>
                </a:cubicBezTo>
                <a:cubicBezTo>
                  <a:pt x="215" y="261"/>
                  <a:pt x="212" y="258"/>
                  <a:pt x="211" y="256"/>
                </a:cubicBezTo>
                <a:close/>
                <a:moveTo>
                  <a:pt x="219" y="262"/>
                </a:moveTo>
                <a:cubicBezTo>
                  <a:pt x="218" y="262"/>
                  <a:pt x="217" y="260"/>
                  <a:pt x="219" y="260"/>
                </a:cubicBezTo>
                <a:cubicBezTo>
                  <a:pt x="219" y="260"/>
                  <a:pt x="220" y="261"/>
                  <a:pt x="219" y="262"/>
                </a:cubicBezTo>
                <a:close/>
                <a:moveTo>
                  <a:pt x="221" y="386"/>
                </a:moveTo>
                <a:cubicBezTo>
                  <a:pt x="221" y="385"/>
                  <a:pt x="222" y="386"/>
                  <a:pt x="222" y="386"/>
                </a:cubicBezTo>
                <a:cubicBezTo>
                  <a:pt x="221" y="387"/>
                  <a:pt x="220" y="387"/>
                  <a:pt x="221" y="386"/>
                </a:cubicBezTo>
                <a:close/>
                <a:moveTo>
                  <a:pt x="222" y="327"/>
                </a:moveTo>
                <a:cubicBezTo>
                  <a:pt x="220" y="326"/>
                  <a:pt x="222" y="326"/>
                  <a:pt x="222" y="327"/>
                </a:cubicBezTo>
                <a:close/>
                <a:moveTo>
                  <a:pt x="224" y="204"/>
                </a:moveTo>
                <a:cubicBezTo>
                  <a:pt x="223" y="205"/>
                  <a:pt x="222" y="205"/>
                  <a:pt x="222" y="205"/>
                </a:cubicBezTo>
                <a:cubicBezTo>
                  <a:pt x="221" y="204"/>
                  <a:pt x="221" y="203"/>
                  <a:pt x="222" y="203"/>
                </a:cubicBezTo>
                <a:cubicBezTo>
                  <a:pt x="222" y="202"/>
                  <a:pt x="222" y="201"/>
                  <a:pt x="222" y="201"/>
                </a:cubicBezTo>
                <a:cubicBezTo>
                  <a:pt x="221" y="200"/>
                  <a:pt x="215" y="194"/>
                  <a:pt x="216" y="194"/>
                </a:cubicBezTo>
                <a:cubicBezTo>
                  <a:pt x="218" y="192"/>
                  <a:pt x="222" y="201"/>
                  <a:pt x="223" y="202"/>
                </a:cubicBezTo>
                <a:cubicBezTo>
                  <a:pt x="224" y="203"/>
                  <a:pt x="225" y="204"/>
                  <a:pt x="224" y="204"/>
                </a:cubicBezTo>
                <a:cubicBezTo>
                  <a:pt x="224" y="204"/>
                  <a:pt x="224" y="204"/>
                  <a:pt x="224" y="204"/>
                </a:cubicBezTo>
                <a:cubicBezTo>
                  <a:pt x="224" y="204"/>
                  <a:pt x="224" y="204"/>
                  <a:pt x="224" y="204"/>
                </a:cubicBezTo>
                <a:close/>
                <a:moveTo>
                  <a:pt x="227" y="215"/>
                </a:moveTo>
                <a:cubicBezTo>
                  <a:pt x="224" y="216"/>
                  <a:pt x="222" y="210"/>
                  <a:pt x="225" y="210"/>
                </a:cubicBezTo>
                <a:cubicBezTo>
                  <a:pt x="227" y="210"/>
                  <a:pt x="228" y="214"/>
                  <a:pt x="227" y="215"/>
                </a:cubicBezTo>
                <a:close/>
                <a:moveTo>
                  <a:pt x="230" y="252"/>
                </a:moveTo>
                <a:cubicBezTo>
                  <a:pt x="230" y="251"/>
                  <a:pt x="231" y="252"/>
                  <a:pt x="231" y="252"/>
                </a:cubicBezTo>
                <a:cubicBezTo>
                  <a:pt x="231" y="252"/>
                  <a:pt x="230" y="252"/>
                  <a:pt x="230" y="252"/>
                </a:cubicBezTo>
                <a:close/>
                <a:moveTo>
                  <a:pt x="232" y="218"/>
                </a:moveTo>
                <a:cubicBezTo>
                  <a:pt x="232" y="218"/>
                  <a:pt x="232" y="218"/>
                  <a:pt x="232" y="218"/>
                </a:cubicBezTo>
                <a:cubicBezTo>
                  <a:pt x="231" y="217"/>
                  <a:pt x="230" y="216"/>
                  <a:pt x="229" y="216"/>
                </a:cubicBezTo>
                <a:cubicBezTo>
                  <a:pt x="229" y="216"/>
                  <a:pt x="230" y="215"/>
                  <a:pt x="230" y="215"/>
                </a:cubicBezTo>
                <a:cubicBezTo>
                  <a:pt x="230" y="214"/>
                  <a:pt x="232" y="217"/>
                  <a:pt x="234" y="218"/>
                </a:cubicBezTo>
                <a:cubicBezTo>
                  <a:pt x="235" y="219"/>
                  <a:pt x="242" y="224"/>
                  <a:pt x="243" y="226"/>
                </a:cubicBezTo>
                <a:cubicBezTo>
                  <a:pt x="244" y="228"/>
                  <a:pt x="241" y="224"/>
                  <a:pt x="240" y="224"/>
                </a:cubicBezTo>
                <a:cubicBezTo>
                  <a:pt x="239" y="222"/>
                  <a:pt x="235" y="220"/>
                  <a:pt x="232" y="218"/>
                </a:cubicBezTo>
                <a:cubicBezTo>
                  <a:pt x="233" y="219"/>
                  <a:pt x="233" y="219"/>
                  <a:pt x="232" y="219"/>
                </a:cubicBezTo>
                <a:cubicBezTo>
                  <a:pt x="232" y="219"/>
                  <a:pt x="232" y="218"/>
                  <a:pt x="232" y="218"/>
                </a:cubicBezTo>
                <a:close/>
                <a:moveTo>
                  <a:pt x="233" y="254"/>
                </a:moveTo>
                <a:cubicBezTo>
                  <a:pt x="233" y="254"/>
                  <a:pt x="232" y="253"/>
                  <a:pt x="232" y="253"/>
                </a:cubicBezTo>
                <a:cubicBezTo>
                  <a:pt x="232" y="253"/>
                  <a:pt x="234" y="253"/>
                  <a:pt x="233" y="254"/>
                </a:cubicBezTo>
                <a:close/>
                <a:moveTo>
                  <a:pt x="233" y="257"/>
                </a:moveTo>
                <a:cubicBezTo>
                  <a:pt x="232" y="257"/>
                  <a:pt x="232" y="255"/>
                  <a:pt x="233" y="255"/>
                </a:cubicBezTo>
                <a:cubicBezTo>
                  <a:pt x="234" y="254"/>
                  <a:pt x="234" y="257"/>
                  <a:pt x="233" y="257"/>
                </a:cubicBezTo>
                <a:close/>
                <a:moveTo>
                  <a:pt x="234" y="240"/>
                </a:moveTo>
                <a:cubicBezTo>
                  <a:pt x="234" y="240"/>
                  <a:pt x="234" y="240"/>
                  <a:pt x="234" y="239"/>
                </a:cubicBezTo>
                <a:cubicBezTo>
                  <a:pt x="235" y="237"/>
                  <a:pt x="237" y="243"/>
                  <a:pt x="234" y="240"/>
                </a:cubicBezTo>
                <a:close/>
                <a:moveTo>
                  <a:pt x="239" y="261"/>
                </a:moveTo>
                <a:cubicBezTo>
                  <a:pt x="240" y="261"/>
                  <a:pt x="242" y="263"/>
                  <a:pt x="240" y="264"/>
                </a:cubicBezTo>
                <a:cubicBezTo>
                  <a:pt x="238" y="266"/>
                  <a:pt x="235" y="260"/>
                  <a:pt x="239" y="261"/>
                </a:cubicBezTo>
                <a:close/>
                <a:moveTo>
                  <a:pt x="243" y="722"/>
                </a:moveTo>
                <a:cubicBezTo>
                  <a:pt x="243" y="722"/>
                  <a:pt x="243" y="722"/>
                  <a:pt x="243" y="722"/>
                </a:cubicBezTo>
                <a:cubicBezTo>
                  <a:pt x="244" y="724"/>
                  <a:pt x="241" y="719"/>
                  <a:pt x="243" y="722"/>
                </a:cubicBezTo>
                <a:close/>
                <a:moveTo>
                  <a:pt x="240" y="314"/>
                </a:moveTo>
                <a:cubicBezTo>
                  <a:pt x="242" y="315"/>
                  <a:pt x="242" y="318"/>
                  <a:pt x="244" y="319"/>
                </a:cubicBezTo>
                <a:cubicBezTo>
                  <a:pt x="242" y="318"/>
                  <a:pt x="241" y="316"/>
                  <a:pt x="240" y="314"/>
                </a:cubicBezTo>
                <a:close/>
                <a:moveTo>
                  <a:pt x="245" y="274"/>
                </a:moveTo>
                <a:cubicBezTo>
                  <a:pt x="247" y="273"/>
                  <a:pt x="246" y="276"/>
                  <a:pt x="245" y="276"/>
                </a:cubicBezTo>
                <a:cubicBezTo>
                  <a:pt x="244" y="277"/>
                  <a:pt x="243" y="274"/>
                  <a:pt x="245" y="274"/>
                </a:cubicBezTo>
                <a:close/>
                <a:moveTo>
                  <a:pt x="246" y="680"/>
                </a:moveTo>
                <a:cubicBezTo>
                  <a:pt x="244" y="679"/>
                  <a:pt x="247" y="680"/>
                  <a:pt x="246" y="680"/>
                </a:cubicBezTo>
                <a:close/>
                <a:moveTo>
                  <a:pt x="245" y="321"/>
                </a:moveTo>
                <a:cubicBezTo>
                  <a:pt x="248" y="323"/>
                  <a:pt x="245" y="324"/>
                  <a:pt x="245" y="321"/>
                </a:cubicBezTo>
                <a:close/>
                <a:moveTo>
                  <a:pt x="247" y="85"/>
                </a:moveTo>
                <a:cubicBezTo>
                  <a:pt x="246" y="86"/>
                  <a:pt x="245" y="85"/>
                  <a:pt x="245" y="84"/>
                </a:cubicBezTo>
                <a:cubicBezTo>
                  <a:pt x="244" y="83"/>
                  <a:pt x="247" y="83"/>
                  <a:pt x="247" y="85"/>
                </a:cubicBezTo>
                <a:close/>
                <a:moveTo>
                  <a:pt x="246" y="83"/>
                </a:moveTo>
                <a:cubicBezTo>
                  <a:pt x="246" y="82"/>
                  <a:pt x="246" y="83"/>
                  <a:pt x="246" y="83"/>
                </a:cubicBezTo>
                <a:cubicBezTo>
                  <a:pt x="248" y="82"/>
                  <a:pt x="245" y="84"/>
                  <a:pt x="246" y="83"/>
                </a:cubicBezTo>
                <a:close/>
                <a:moveTo>
                  <a:pt x="247" y="96"/>
                </a:moveTo>
                <a:cubicBezTo>
                  <a:pt x="248" y="97"/>
                  <a:pt x="247" y="97"/>
                  <a:pt x="247" y="96"/>
                </a:cubicBezTo>
                <a:close/>
                <a:moveTo>
                  <a:pt x="249" y="170"/>
                </a:moveTo>
                <a:cubicBezTo>
                  <a:pt x="247" y="168"/>
                  <a:pt x="250" y="172"/>
                  <a:pt x="249" y="170"/>
                </a:cubicBezTo>
                <a:close/>
                <a:moveTo>
                  <a:pt x="248" y="146"/>
                </a:moveTo>
                <a:cubicBezTo>
                  <a:pt x="248" y="146"/>
                  <a:pt x="247" y="145"/>
                  <a:pt x="248" y="144"/>
                </a:cubicBezTo>
                <a:cubicBezTo>
                  <a:pt x="250" y="141"/>
                  <a:pt x="251" y="149"/>
                  <a:pt x="248" y="146"/>
                </a:cubicBezTo>
                <a:close/>
                <a:moveTo>
                  <a:pt x="251" y="173"/>
                </a:moveTo>
                <a:cubicBezTo>
                  <a:pt x="249" y="171"/>
                  <a:pt x="252" y="175"/>
                  <a:pt x="251" y="173"/>
                </a:cubicBezTo>
                <a:close/>
                <a:moveTo>
                  <a:pt x="251" y="126"/>
                </a:moveTo>
                <a:cubicBezTo>
                  <a:pt x="251" y="125"/>
                  <a:pt x="252" y="126"/>
                  <a:pt x="252" y="126"/>
                </a:cubicBezTo>
                <a:cubicBezTo>
                  <a:pt x="252" y="126"/>
                  <a:pt x="251" y="126"/>
                  <a:pt x="251" y="126"/>
                </a:cubicBezTo>
                <a:close/>
                <a:moveTo>
                  <a:pt x="254" y="93"/>
                </a:moveTo>
                <a:cubicBezTo>
                  <a:pt x="254" y="93"/>
                  <a:pt x="253" y="93"/>
                  <a:pt x="252" y="93"/>
                </a:cubicBezTo>
                <a:cubicBezTo>
                  <a:pt x="250" y="91"/>
                  <a:pt x="255" y="90"/>
                  <a:pt x="254" y="93"/>
                </a:cubicBezTo>
                <a:close/>
                <a:moveTo>
                  <a:pt x="253" y="639"/>
                </a:moveTo>
                <a:cubicBezTo>
                  <a:pt x="253" y="638"/>
                  <a:pt x="255" y="639"/>
                  <a:pt x="255" y="639"/>
                </a:cubicBezTo>
                <a:cubicBezTo>
                  <a:pt x="256" y="641"/>
                  <a:pt x="252" y="640"/>
                  <a:pt x="253" y="639"/>
                </a:cubicBezTo>
                <a:close/>
                <a:moveTo>
                  <a:pt x="254" y="281"/>
                </a:moveTo>
                <a:cubicBezTo>
                  <a:pt x="256" y="282"/>
                  <a:pt x="255" y="284"/>
                  <a:pt x="254" y="281"/>
                </a:cubicBezTo>
                <a:close/>
                <a:moveTo>
                  <a:pt x="256" y="131"/>
                </a:moveTo>
                <a:cubicBezTo>
                  <a:pt x="258" y="131"/>
                  <a:pt x="257" y="133"/>
                  <a:pt x="256" y="133"/>
                </a:cubicBezTo>
                <a:cubicBezTo>
                  <a:pt x="255" y="133"/>
                  <a:pt x="254" y="131"/>
                  <a:pt x="256" y="131"/>
                </a:cubicBezTo>
                <a:close/>
                <a:moveTo>
                  <a:pt x="256" y="252"/>
                </a:moveTo>
                <a:cubicBezTo>
                  <a:pt x="256" y="252"/>
                  <a:pt x="258" y="254"/>
                  <a:pt x="258" y="254"/>
                </a:cubicBezTo>
                <a:cubicBezTo>
                  <a:pt x="258" y="254"/>
                  <a:pt x="256" y="253"/>
                  <a:pt x="256" y="252"/>
                </a:cubicBezTo>
                <a:close/>
                <a:moveTo>
                  <a:pt x="257" y="723"/>
                </a:moveTo>
                <a:cubicBezTo>
                  <a:pt x="257" y="723"/>
                  <a:pt x="258" y="723"/>
                  <a:pt x="258" y="723"/>
                </a:cubicBezTo>
                <a:cubicBezTo>
                  <a:pt x="260" y="724"/>
                  <a:pt x="256" y="723"/>
                  <a:pt x="257" y="723"/>
                </a:cubicBezTo>
                <a:close/>
                <a:moveTo>
                  <a:pt x="257" y="608"/>
                </a:moveTo>
                <a:cubicBezTo>
                  <a:pt x="258" y="607"/>
                  <a:pt x="261" y="610"/>
                  <a:pt x="260" y="610"/>
                </a:cubicBezTo>
                <a:cubicBezTo>
                  <a:pt x="265" y="613"/>
                  <a:pt x="273" y="615"/>
                  <a:pt x="279" y="618"/>
                </a:cubicBezTo>
                <a:cubicBezTo>
                  <a:pt x="279" y="618"/>
                  <a:pt x="281" y="619"/>
                  <a:pt x="281" y="619"/>
                </a:cubicBezTo>
                <a:cubicBezTo>
                  <a:pt x="282" y="621"/>
                  <a:pt x="264" y="613"/>
                  <a:pt x="261" y="611"/>
                </a:cubicBezTo>
                <a:cubicBezTo>
                  <a:pt x="261" y="611"/>
                  <a:pt x="256" y="609"/>
                  <a:pt x="257" y="608"/>
                </a:cubicBezTo>
                <a:close/>
                <a:moveTo>
                  <a:pt x="271" y="686"/>
                </a:moveTo>
                <a:cubicBezTo>
                  <a:pt x="271" y="688"/>
                  <a:pt x="269" y="684"/>
                  <a:pt x="270" y="686"/>
                </a:cubicBezTo>
                <a:cubicBezTo>
                  <a:pt x="270" y="686"/>
                  <a:pt x="271" y="686"/>
                  <a:pt x="271" y="686"/>
                </a:cubicBezTo>
                <a:close/>
                <a:moveTo>
                  <a:pt x="270" y="730"/>
                </a:moveTo>
                <a:cubicBezTo>
                  <a:pt x="270" y="731"/>
                  <a:pt x="268" y="729"/>
                  <a:pt x="270" y="730"/>
                </a:cubicBezTo>
                <a:close/>
                <a:moveTo>
                  <a:pt x="269" y="705"/>
                </a:moveTo>
                <a:cubicBezTo>
                  <a:pt x="269" y="705"/>
                  <a:pt x="271" y="705"/>
                  <a:pt x="271" y="705"/>
                </a:cubicBezTo>
                <a:cubicBezTo>
                  <a:pt x="272" y="707"/>
                  <a:pt x="268" y="706"/>
                  <a:pt x="269" y="705"/>
                </a:cubicBezTo>
                <a:close/>
                <a:moveTo>
                  <a:pt x="270" y="699"/>
                </a:moveTo>
                <a:cubicBezTo>
                  <a:pt x="272" y="697"/>
                  <a:pt x="273" y="701"/>
                  <a:pt x="270" y="699"/>
                </a:cubicBezTo>
                <a:close/>
                <a:moveTo>
                  <a:pt x="277" y="747"/>
                </a:moveTo>
                <a:cubicBezTo>
                  <a:pt x="275" y="746"/>
                  <a:pt x="279" y="748"/>
                  <a:pt x="277" y="747"/>
                </a:cubicBezTo>
                <a:close/>
                <a:moveTo>
                  <a:pt x="277" y="671"/>
                </a:moveTo>
                <a:cubicBezTo>
                  <a:pt x="279" y="670"/>
                  <a:pt x="279" y="671"/>
                  <a:pt x="279" y="671"/>
                </a:cubicBezTo>
                <a:cubicBezTo>
                  <a:pt x="281" y="673"/>
                  <a:pt x="276" y="671"/>
                  <a:pt x="277" y="671"/>
                </a:cubicBezTo>
                <a:close/>
                <a:moveTo>
                  <a:pt x="280" y="741"/>
                </a:moveTo>
                <a:cubicBezTo>
                  <a:pt x="280" y="740"/>
                  <a:pt x="284" y="740"/>
                  <a:pt x="285" y="741"/>
                </a:cubicBezTo>
                <a:cubicBezTo>
                  <a:pt x="285" y="743"/>
                  <a:pt x="280" y="742"/>
                  <a:pt x="280" y="741"/>
                </a:cubicBezTo>
                <a:close/>
                <a:moveTo>
                  <a:pt x="284" y="510"/>
                </a:moveTo>
                <a:cubicBezTo>
                  <a:pt x="284" y="510"/>
                  <a:pt x="285" y="510"/>
                  <a:pt x="286" y="510"/>
                </a:cubicBezTo>
                <a:cubicBezTo>
                  <a:pt x="287" y="512"/>
                  <a:pt x="283" y="512"/>
                  <a:pt x="284" y="510"/>
                </a:cubicBezTo>
                <a:close/>
                <a:moveTo>
                  <a:pt x="286" y="669"/>
                </a:moveTo>
                <a:cubicBezTo>
                  <a:pt x="286" y="667"/>
                  <a:pt x="289" y="668"/>
                  <a:pt x="289" y="669"/>
                </a:cubicBezTo>
                <a:cubicBezTo>
                  <a:pt x="290" y="671"/>
                  <a:pt x="286" y="670"/>
                  <a:pt x="286" y="669"/>
                </a:cubicBezTo>
                <a:close/>
                <a:moveTo>
                  <a:pt x="308" y="749"/>
                </a:moveTo>
                <a:cubicBezTo>
                  <a:pt x="302" y="750"/>
                  <a:pt x="295" y="748"/>
                  <a:pt x="288" y="746"/>
                </a:cubicBezTo>
                <a:cubicBezTo>
                  <a:pt x="294" y="747"/>
                  <a:pt x="301" y="748"/>
                  <a:pt x="308" y="749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06687C07-D572-4BDD-AF05-8839FE38A9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03E03-D9DE-4D95-8BE5-ECE555D348CA}" type="datetimeFigureOut">
              <a:rPr lang="en-ID" smtClean="0"/>
              <a:pPr/>
              <a:t>6/27/2020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FFFDE6E-A88B-4348-BA11-7F6EFF6BC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92FCD6D3-0714-4CD4-8FAD-B88D6D4BE7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89122-6C24-49FD-BEBC-7A811562A5F5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8185194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101848FE-3BE6-47D8-A73F-3AC1091699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03E03-D9DE-4D95-8BE5-ECE555D348CA}" type="datetimeFigureOut">
              <a:rPr lang="en-ID" smtClean="0"/>
              <a:pPr/>
              <a:t>6/27/2020</a:t>
            </a:fld>
            <a:endParaRPr lang="en-ID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951364B1-66FA-45AA-BDA0-9A00CCB5A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39F00CE6-E859-45E8-9350-376399712F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89122-6C24-49FD-BEBC-7A811562A5F5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5654396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FC17D0E9-C435-406C-AE20-077099197F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24FBBE2A-2D09-49CF-9578-0757EB248A9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9063B6F5-B555-48C9-92CA-A8C0ABF807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ABEB7C1A-45CA-41CC-9A24-977B048EF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03E03-D9DE-4D95-8BE5-ECE555D348CA}" type="datetimeFigureOut">
              <a:rPr lang="en-ID" smtClean="0"/>
              <a:pPr/>
              <a:t>6/27/2020</a:t>
            </a:fld>
            <a:endParaRPr lang="en-ID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F488666A-C8DD-4BF2-A652-2DC4723D05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11399146-1991-4AA8-B1BF-8D2D962BDE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89122-6C24-49FD-BEBC-7A811562A5F5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39247900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3CEE7BE-ACE9-4C6B-AF76-B973114DF2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34989F62-166F-457C-9B63-6FDC7859DA8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49B01E04-4220-4BB8-9A40-37E8D782B8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B03E03-D9DE-4D95-8BE5-ECE555D348CA}" type="datetimeFigureOut">
              <a:rPr lang="en-ID" smtClean="0"/>
              <a:pPr/>
              <a:t>6/27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A83DF76-F785-4F89-B847-F1ADAC5AD5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4DB47C1-5CA4-48DB-88A1-24808B5FF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89122-6C24-49FD-BEBC-7A811562A5F5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4095330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7D1E446B-A9B3-4C01-AD22-D576FCB259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7B036E8C-F64A-4784-B0B3-79D5BD035D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E193E2B7-33C2-4062-914F-BE7DB96719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B03E03-D9DE-4D95-8BE5-ECE555D348CA}" type="datetimeFigureOut">
              <a:rPr lang="en-ID" smtClean="0"/>
              <a:pPr/>
              <a:t>6/27/2020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460CF44-E083-49BB-B849-81171C7C47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E671B075-C7FB-4E8C-8E0B-88AA837736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F89122-6C24-49FD-BEBC-7A811562A5F5}" type="slidenum">
              <a:rPr lang="en-ID" smtClean="0"/>
              <a:pPr/>
              <a:t>‹#›</a:t>
            </a:fld>
            <a:endParaRPr lang="en-ID"/>
          </a:p>
        </p:txBody>
      </p:sp>
    </p:spTree>
    <p:extLst>
      <p:ext uri="{BB962C8B-B14F-4D97-AF65-F5344CB8AC3E}">
        <p14:creationId xmlns="" xmlns:p14="http://schemas.microsoft.com/office/powerpoint/2010/main" val="762058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7" r:id="rId8"/>
    <p:sldLayoutId id="2147483658" r:id="rId9"/>
    <p:sldLayoutId id="2147483659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Rectangle 134">
            <a:extLst>
              <a:ext uri="{FF2B5EF4-FFF2-40B4-BE49-F238E27FC236}">
                <a16:creationId xmlns="" xmlns:a16="http://schemas.microsoft.com/office/drawing/2014/main" id="{65948572-934F-4876-96DE-8C1436DEF572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tx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34" name="Freeform 131">
            <a:extLst>
              <a:ext uri="{FF2B5EF4-FFF2-40B4-BE49-F238E27FC236}">
                <a16:creationId xmlns="" xmlns:a16="http://schemas.microsoft.com/office/drawing/2014/main" id="{F04BFBE0-7B0C-4F4A-A96D-225E1D206BA4}"/>
              </a:ext>
            </a:extLst>
          </p:cNvPr>
          <p:cNvSpPr>
            <a:spLocks noEditPoints="1"/>
          </p:cNvSpPr>
          <p:nvPr/>
        </p:nvSpPr>
        <p:spPr bwMode="auto">
          <a:xfrm>
            <a:off x="6475308" y="3567113"/>
            <a:ext cx="5716692" cy="6581774"/>
          </a:xfrm>
          <a:custGeom>
            <a:avLst/>
            <a:gdLst>
              <a:gd name="T0" fmla="*/ 472 w 680"/>
              <a:gd name="T1" fmla="*/ 703 h 784"/>
              <a:gd name="T2" fmla="*/ 510 w 680"/>
              <a:gd name="T3" fmla="*/ 633 h 784"/>
              <a:gd name="T4" fmla="*/ 527 w 680"/>
              <a:gd name="T5" fmla="*/ 618 h 784"/>
              <a:gd name="T6" fmla="*/ 559 w 680"/>
              <a:gd name="T7" fmla="*/ 657 h 784"/>
              <a:gd name="T8" fmla="*/ 551 w 680"/>
              <a:gd name="T9" fmla="*/ 603 h 784"/>
              <a:gd name="T10" fmla="*/ 581 w 680"/>
              <a:gd name="T11" fmla="*/ 564 h 784"/>
              <a:gd name="T12" fmla="*/ 625 w 680"/>
              <a:gd name="T13" fmla="*/ 572 h 784"/>
              <a:gd name="T14" fmla="*/ 679 w 680"/>
              <a:gd name="T15" fmla="*/ 423 h 784"/>
              <a:gd name="T16" fmla="*/ 245 w 680"/>
              <a:gd name="T17" fmla="*/ 55 h 784"/>
              <a:gd name="T18" fmla="*/ 197 w 680"/>
              <a:gd name="T19" fmla="*/ 116 h 784"/>
              <a:gd name="T20" fmla="*/ 139 w 680"/>
              <a:gd name="T21" fmla="*/ 176 h 784"/>
              <a:gd name="T22" fmla="*/ 91 w 680"/>
              <a:gd name="T23" fmla="*/ 199 h 784"/>
              <a:gd name="T24" fmla="*/ 61 w 680"/>
              <a:gd name="T25" fmla="*/ 218 h 784"/>
              <a:gd name="T26" fmla="*/ 38 w 680"/>
              <a:gd name="T27" fmla="*/ 290 h 784"/>
              <a:gd name="T28" fmla="*/ 55 w 680"/>
              <a:gd name="T29" fmla="*/ 350 h 784"/>
              <a:gd name="T30" fmla="*/ 6 w 680"/>
              <a:gd name="T31" fmla="*/ 262 h 784"/>
              <a:gd name="T32" fmla="*/ 492 w 680"/>
              <a:gd name="T33" fmla="*/ 624 h 784"/>
              <a:gd name="T34" fmla="*/ 552 w 680"/>
              <a:gd name="T35" fmla="*/ 574 h 784"/>
              <a:gd name="T36" fmla="*/ 633 w 680"/>
              <a:gd name="T37" fmla="*/ 545 h 784"/>
              <a:gd name="T38" fmla="*/ 641 w 680"/>
              <a:gd name="T39" fmla="*/ 482 h 784"/>
              <a:gd name="T40" fmla="*/ 625 w 680"/>
              <a:gd name="T41" fmla="*/ 439 h 784"/>
              <a:gd name="T42" fmla="*/ 595 w 680"/>
              <a:gd name="T43" fmla="*/ 520 h 784"/>
              <a:gd name="T44" fmla="*/ 561 w 680"/>
              <a:gd name="T45" fmla="*/ 516 h 784"/>
              <a:gd name="T46" fmla="*/ 539 w 680"/>
              <a:gd name="T47" fmla="*/ 439 h 784"/>
              <a:gd name="T48" fmla="*/ 26 w 680"/>
              <a:gd name="T49" fmla="*/ 245 h 784"/>
              <a:gd name="T50" fmla="*/ 44 w 680"/>
              <a:gd name="T51" fmla="*/ 264 h 784"/>
              <a:gd name="T52" fmla="*/ 68 w 680"/>
              <a:gd name="T53" fmla="*/ 289 h 784"/>
              <a:gd name="T54" fmla="*/ 46 w 680"/>
              <a:gd name="T55" fmla="*/ 337 h 784"/>
              <a:gd name="T56" fmla="*/ 75 w 680"/>
              <a:gd name="T57" fmla="*/ 351 h 784"/>
              <a:gd name="T58" fmla="*/ 149 w 680"/>
              <a:gd name="T59" fmla="*/ 200 h 784"/>
              <a:gd name="T60" fmla="*/ 124 w 680"/>
              <a:gd name="T61" fmla="*/ 222 h 784"/>
              <a:gd name="T62" fmla="*/ 95 w 680"/>
              <a:gd name="T63" fmla="*/ 257 h 784"/>
              <a:gd name="T64" fmla="*/ 117 w 680"/>
              <a:gd name="T65" fmla="*/ 400 h 784"/>
              <a:gd name="T66" fmla="*/ 177 w 680"/>
              <a:gd name="T67" fmla="*/ 200 h 784"/>
              <a:gd name="T68" fmla="*/ 181 w 680"/>
              <a:gd name="T69" fmla="*/ 290 h 784"/>
              <a:gd name="T70" fmla="*/ 306 w 680"/>
              <a:gd name="T71" fmla="*/ 205 h 784"/>
              <a:gd name="T72" fmla="*/ 350 w 680"/>
              <a:gd name="T73" fmla="*/ 136 h 784"/>
              <a:gd name="T74" fmla="*/ 366 w 680"/>
              <a:gd name="T75" fmla="*/ 677 h 784"/>
              <a:gd name="T76" fmla="*/ 346 w 680"/>
              <a:gd name="T77" fmla="*/ 657 h 784"/>
              <a:gd name="T78" fmla="*/ 328 w 680"/>
              <a:gd name="T79" fmla="*/ 658 h 784"/>
              <a:gd name="T80" fmla="*/ 368 w 680"/>
              <a:gd name="T81" fmla="*/ 740 h 784"/>
              <a:gd name="T82" fmla="*/ 421 w 680"/>
              <a:gd name="T83" fmla="*/ 663 h 784"/>
              <a:gd name="T84" fmla="*/ 446 w 680"/>
              <a:gd name="T85" fmla="*/ 640 h 784"/>
              <a:gd name="T86" fmla="*/ 451 w 680"/>
              <a:gd name="T87" fmla="*/ 566 h 784"/>
              <a:gd name="T88" fmla="*/ 426 w 680"/>
              <a:gd name="T89" fmla="*/ 681 h 784"/>
              <a:gd name="T90" fmla="*/ 399 w 680"/>
              <a:gd name="T91" fmla="*/ 697 h 784"/>
              <a:gd name="T92" fmla="*/ 437 w 680"/>
              <a:gd name="T93" fmla="*/ 693 h 784"/>
              <a:gd name="T94" fmla="*/ 467 w 680"/>
              <a:gd name="T95" fmla="*/ 683 h 784"/>
              <a:gd name="T96" fmla="*/ 482 w 680"/>
              <a:gd name="T97" fmla="*/ 621 h 784"/>
              <a:gd name="T98" fmla="*/ 499 w 680"/>
              <a:gd name="T99" fmla="*/ 528 h 784"/>
              <a:gd name="T100" fmla="*/ 523 w 680"/>
              <a:gd name="T101" fmla="*/ 458 h 784"/>
              <a:gd name="T102" fmla="*/ 495 w 680"/>
              <a:gd name="T103" fmla="*/ 148 h 784"/>
              <a:gd name="T104" fmla="*/ 461 w 680"/>
              <a:gd name="T105" fmla="*/ 536 h 784"/>
              <a:gd name="T106" fmla="*/ 401 w 680"/>
              <a:gd name="T107" fmla="*/ 117 h 784"/>
              <a:gd name="T108" fmla="*/ 364 w 680"/>
              <a:gd name="T109" fmla="*/ 54 h 784"/>
              <a:gd name="T110" fmla="*/ 314 w 680"/>
              <a:gd name="T111" fmla="*/ 88 h 784"/>
              <a:gd name="T112" fmla="*/ 267 w 680"/>
              <a:gd name="T113" fmla="*/ 262 h 784"/>
              <a:gd name="T114" fmla="*/ 280 w 680"/>
              <a:gd name="T115" fmla="*/ 66 h 784"/>
              <a:gd name="T116" fmla="*/ 241 w 680"/>
              <a:gd name="T117" fmla="*/ 67 h 784"/>
              <a:gd name="T118" fmla="*/ 212 w 680"/>
              <a:gd name="T119" fmla="*/ 179 h 784"/>
              <a:gd name="T120" fmla="*/ 194 w 680"/>
              <a:gd name="T121" fmla="*/ 242 h 784"/>
              <a:gd name="T122" fmla="*/ 222 w 680"/>
              <a:gd name="T123" fmla="*/ 327 h 784"/>
              <a:gd name="T124" fmla="*/ 256 w 680"/>
              <a:gd name="T125" fmla="*/ 133 h 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80" h="784">
                <a:moveTo>
                  <a:pt x="298" y="758"/>
                </a:moveTo>
                <a:cubicBezTo>
                  <a:pt x="300" y="757"/>
                  <a:pt x="304" y="758"/>
                  <a:pt x="305" y="756"/>
                </a:cubicBezTo>
                <a:cubicBezTo>
                  <a:pt x="305" y="756"/>
                  <a:pt x="304" y="755"/>
                  <a:pt x="305" y="755"/>
                </a:cubicBezTo>
                <a:cubicBezTo>
                  <a:pt x="307" y="753"/>
                  <a:pt x="311" y="754"/>
                  <a:pt x="312" y="754"/>
                </a:cubicBezTo>
                <a:cubicBezTo>
                  <a:pt x="324" y="757"/>
                  <a:pt x="318" y="767"/>
                  <a:pt x="306" y="764"/>
                </a:cubicBezTo>
                <a:cubicBezTo>
                  <a:pt x="304" y="763"/>
                  <a:pt x="305" y="762"/>
                  <a:pt x="302" y="762"/>
                </a:cubicBezTo>
                <a:cubicBezTo>
                  <a:pt x="340" y="784"/>
                  <a:pt x="340" y="784"/>
                  <a:pt x="340" y="784"/>
                </a:cubicBezTo>
                <a:cubicBezTo>
                  <a:pt x="340" y="783"/>
                  <a:pt x="341" y="783"/>
                  <a:pt x="341" y="783"/>
                </a:cubicBezTo>
                <a:cubicBezTo>
                  <a:pt x="344" y="782"/>
                  <a:pt x="344" y="782"/>
                  <a:pt x="344" y="782"/>
                </a:cubicBezTo>
                <a:cubicBezTo>
                  <a:pt x="344" y="782"/>
                  <a:pt x="343" y="782"/>
                  <a:pt x="343" y="781"/>
                </a:cubicBezTo>
                <a:cubicBezTo>
                  <a:pt x="344" y="781"/>
                  <a:pt x="344" y="781"/>
                  <a:pt x="344" y="782"/>
                </a:cubicBezTo>
                <a:cubicBezTo>
                  <a:pt x="346" y="781"/>
                  <a:pt x="346" y="781"/>
                  <a:pt x="346" y="781"/>
                </a:cubicBezTo>
                <a:cubicBezTo>
                  <a:pt x="346" y="780"/>
                  <a:pt x="345" y="780"/>
                  <a:pt x="345" y="779"/>
                </a:cubicBezTo>
                <a:cubicBezTo>
                  <a:pt x="345" y="777"/>
                  <a:pt x="351" y="775"/>
                  <a:pt x="354" y="776"/>
                </a:cubicBezTo>
                <a:cubicBezTo>
                  <a:pt x="363" y="770"/>
                  <a:pt x="363" y="770"/>
                  <a:pt x="363" y="770"/>
                </a:cubicBezTo>
                <a:cubicBezTo>
                  <a:pt x="363" y="770"/>
                  <a:pt x="363" y="770"/>
                  <a:pt x="363" y="770"/>
                </a:cubicBezTo>
                <a:cubicBezTo>
                  <a:pt x="363" y="770"/>
                  <a:pt x="360" y="768"/>
                  <a:pt x="361" y="766"/>
                </a:cubicBezTo>
                <a:cubicBezTo>
                  <a:pt x="361" y="765"/>
                  <a:pt x="364" y="765"/>
                  <a:pt x="364" y="765"/>
                </a:cubicBezTo>
                <a:cubicBezTo>
                  <a:pt x="366" y="762"/>
                  <a:pt x="364" y="765"/>
                  <a:pt x="366" y="764"/>
                </a:cubicBezTo>
                <a:cubicBezTo>
                  <a:pt x="366" y="764"/>
                  <a:pt x="367" y="763"/>
                  <a:pt x="367" y="763"/>
                </a:cubicBezTo>
                <a:cubicBezTo>
                  <a:pt x="369" y="763"/>
                  <a:pt x="371" y="764"/>
                  <a:pt x="372" y="766"/>
                </a:cubicBezTo>
                <a:cubicBezTo>
                  <a:pt x="420" y="738"/>
                  <a:pt x="420" y="738"/>
                  <a:pt x="420" y="738"/>
                </a:cubicBezTo>
                <a:cubicBezTo>
                  <a:pt x="420" y="737"/>
                  <a:pt x="419" y="737"/>
                  <a:pt x="419" y="737"/>
                </a:cubicBezTo>
                <a:cubicBezTo>
                  <a:pt x="419" y="735"/>
                  <a:pt x="420" y="737"/>
                  <a:pt x="421" y="737"/>
                </a:cubicBezTo>
                <a:cubicBezTo>
                  <a:pt x="419" y="734"/>
                  <a:pt x="424" y="734"/>
                  <a:pt x="423" y="732"/>
                </a:cubicBezTo>
                <a:cubicBezTo>
                  <a:pt x="425" y="733"/>
                  <a:pt x="426" y="733"/>
                  <a:pt x="428" y="733"/>
                </a:cubicBezTo>
                <a:cubicBezTo>
                  <a:pt x="444" y="724"/>
                  <a:pt x="444" y="724"/>
                  <a:pt x="444" y="724"/>
                </a:cubicBezTo>
                <a:cubicBezTo>
                  <a:pt x="442" y="723"/>
                  <a:pt x="441" y="723"/>
                  <a:pt x="440" y="723"/>
                </a:cubicBezTo>
                <a:cubicBezTo>
                  <a:pt x="439" y="723"/>
                  <a:pt x="439" y="724"/>
                  <a:pt x="438" y="724"/>
                </a:cubicBezTo>
                <a:cubicBezTo>
                  <a:pt x="438" y="724"/>
                  <a:pt x="431" y="722"/>
                  <a:pt x="431" y="721"/>
                </a:cubicBezTo>
                <a:cubicBezTo>
                  <a:pt x="430" y="721"/>
                  <a:pt x="429" y="718"/>
                  <a:pt x="429" y="718"/>
                </a:cubicBezTo>
                <a:cubicBezTo>
                  <a:pt x="429" y="718"/>
                  <a:pt x="428" y="718"/>
                  <a:pt x="428" y="717"/>
                </a:cubicBezTo>
                <a:cubicBezTo>
                  <a:pt x="428" y="716"/>
                  <a:pt x="432" y="715"/>
                  <a:pt x="436" y="715"/>
                </a:cubicBezTo>
                <a:cubicBezTo>
                  <a:pt x="436" y="715"/>
                  <a:pt x="436" y="715"/>
                  <a:pt x="436" y="715"/>
                </a:cubicBezTo>
                <a:cubicBezTo>
                  <a:pt x="436" y="715"/>
                  <a:pt x="436" y="715"/>
                  <a:pt x="436" y="715"/>
                </a:cubicBezTo>
                <a:cubicBezTo>
                  <a:pt x="437" y="715"/>
                  <a:pt x="437" y="715"/>
                  <a:pt x="438" y="715"/>
                </a:cubicBezTo>
                <a:cubicBezTo>
                  <a:pt x="440" y="714"/>
                  <a:pt x="442" y="713"/>
                  <a:pt x="440" y="711"/>
                </a:cubicBezTo>
                <a:cubicBezTo>
                  <a:pt x="441" y="712"/>
                  <a:pt x="437" y="712"/>
                  <a:pt x="437" y="711"/>
                </a:cubicBezTo>
                <a:cubicBezTo>
                  <a:pt x="437" y="711"/>
                  <a:pt x="444" y="710"/>
                  <a:pt x="443" y="708"/>
                </a:cubicBezTo>
                <a:cubicBezTo>
                  <a:pt x="443" y="709"/>
                  <a:pt x="440" y="706"/>
                  <a:pt x="441" y="706"/>
                </a:cubicBezTo>
                <a:cubicBezTo>
                  <a:pt x="441" y="705"/>
                  <a:pt x="444" y="705"/>
                  <a:pt x="446" y="705"/>
                </a:cubicBezTo>
                <a:cubicBezTo>
                  <a:pt x="446" y="705"/>
                  <a:pt x="446" y="704"/>
                  <a:pt x="446" y="704"/>
                </a:cubicBezTo>
                <a:cubicBezTo>
                  <a:pt x="446" y="704"/>
                  <a:pt x="446" y="703"/>
                  <a:pt x="446" y="703"/>
                </a:cubicBezTo>
                <a:cubicBezTo>
                  <a:pt x="445" y="702"/>
                  <a:pt x="444" y="703"/>
                  <a:pt x="445" y="701"/>
                </a:cubicBezTo>
                <a:cubicBezTo>
                  <a:pt x="443" y="702"/>
                  <a:pt x="442" y="702"/>
                  <a:pt x="440" y="703"/>
                </a:cubicBezTo>
                <a:cubicBezTo>
                  <a:pt x="442" y="703"/>
                  <a:pt x="442" y="700"/>
                  <a:pt x="443" y="700"/>
                </a:cubicBezTo>
                <a:cubicBezTo>
                  <a:pt x="446" y="700"/>
                  <a:pt x="443" y="700"/>
                  <a:pt x="442" y="698"/>
                </a:cubicBezTo>
                <a:cubicBezTo>
                  <a:pt x="441" y="699"/>
                  <a:pt x="442" y="699"/>
                  <a:pt x="442" y="700"/>
                </a:cubicBezTo>
                <a:cubicBezTo>
                  <a:pt x="440" y="705"/>
                  <a:pt x="434" y="698"/>
                  <a:pt x="437" y="696"/>
                </a:cubicBezTo>
                <a:cubicBezTo>
                  <a:pt x="438" y="696"/>
                  <a:pt x="441" y="698"/>
                  <a:pt x="441" y="697"/>
                </a:cubicBezTo>
                <a:cubicBezTo>
                  <a:pt x="443" y="697"/>
                  <a:pt x="443" y="696"/>
                  <a:pt x="443" y="694"/>
                </a:cubicBezTo>
                <a:cubicBezTo>
                  <a:pt x="444" y="694"/>
                  <a:pt x="445" y="695"/>
                  <a:pt x="447" y="695"/>
                </a:cubicBezTo>
                <a:cubicBezTo>
                  <a:pt x="447" y="695"/>
                  <a:pt x="446" y="694"/>
                  <a:pt x="447" y="694"/>
                </a:cubicBezTo>
                <a:cubicBezTo>
                  <a:pt x="448" y="692"/>
                  <a:pt x="454" y="695"/>
                  <a:pt x="453" y="693"/>
                </a:cubicBezTo>
                <a:cubicBezTo>
                  <a:pt x="454" y="693"/>
                  <a:pt x="454" y="693"/>
                  <a:pt x="454" y="693"/>
                </a:cubicBezTo>
                <a:cubicBezTo>
                  <a:pt x="454" y="693"/>
                  <a:pt x="454" y="693"/>
                  <a:pt x="454" y="693"/>
                </a:cubicBezTo>
                <a:cubicBezTo>
                  <a:pt x="455" y="693"/>
                  <a:pt x="455" y="693"/>
                  <a:pt x="455" y="693"/>
                </a:cubicBezTo>
                <a:cubicBezTo>
                  <a:pt x="454" y="693"/>
                  <a:pt x="454" y="693"/>
                  <a:pt x="454" y="693"/>
                </a:cubicBezTo>
                <a:cubicBezTo>
                  <a:pt x="455" y="694"/>
                  <a:pt x="456" y="697"/>
                  <a:pt x="457" y="699"/>
                </a:cubicBezTo>
                <a:cubicBezTo>
                  <a:pt x="457" y="700"/>
                  <a:pt x="458" y="700"/>
                  <a:pt x="458" y="701"/>
                </a:cubicBezTo>
                <a:cubicBezTo>
                  <a:pt x="457" y="702"/>
                  <a:pt x="455" y="700"/>
                  <a:pt x="455" y="702"/>
                </a:cubicBezTo>
                <a:cubicBezTo>
                  <a:pt x="455" y="706"/>
                  <a:pt x="463" y="704"/>
                  <a:pt x="461" y="698"/>
                </a:cubicBezTo>
                <a:cubicBezTo>
                  <a:pt x="463" y="700"/>
                  <a:pt x="465" y="701"/>
                  <a:pt x="466" y="703"/>
                </a:cubicBezTo>
                <a:cubicBezTo>
                  <a:pt x="466" y="702"/>
                  <a:pt x="468" y="702"/>
                  <a:pt x="468" y="703"/>
                </a:cubicBezTo>
                <a:cubicBezTo>
                  <a:pt x="469" y="704"/>
                  <a:pt x="467" y="704"/>
                  <a:pt x="466" y="703"/>
                </a:cubicBezTo>
                <a:cubicBezTo>
                  <a:pt x="467" y="704"/>
                  <a:pt x="467" y="704"/>
                  <a:pt x="467" y="705"/>
                </a:cubicBezTo>
                <a:cubicBezTo>
                  <a:pt x="467" y="705"/>
                  <a:pt x="468" y="704"/>
                  <a:pt x="468" y="705"/>
                </a:cubicBezTo>
                <a:cubicBezTo>
                  <a:pt x="468" y="706"/>
                  <a:pt x="467" y="706"/>
                  <a:pt x="467" y="705"/>
                </a:cubicBezTo>
                <a:cubicBezTo>
                  <a:pt x="467" y="706"/>
                  <a:pt x="467" y="706"/>
                  <a:pt x="467" y="707"/>
                </a:cubicBezTo>
                <a:cubicBezTo>
                  <a:pt x="467" y="706"/>
                  <a:pt x="469" y="707"/>
                  <a:pt x="471" y="706"/>
                </a:cubicBezTo>
                <a:cubicBezTo>
                  <a:pt x="471" y="706"/>
                  <a:pt x="471" y="706"/>
                  <a:pt x="471" y="706"/>
                </a:cubicBezTo>
                <a:cubicBezTo>
                  <a:pt x="472" y="706"/>
                  <a:pt x="472" y="706"/>
                  <a:pt x="472" y="706"/>
                </a:cubicBezTo>
                <a:cubicBezTo>
                  <a:pt x="472" y="706"/>
                  <a:pt x="472" y="706"/>
                  <a:pt x="472" y="706"/>
                </a:cubicBezTo>
                <a:cubicBezTo>
                  <a:pt x="472" y="706"/>
                  <a:pt x="473" y="706"/>
                  <a:pt x="474" y="706"/>
                </a:cubicBezTo>
                <a:cubicBezTo>
                  <a:pt x="474" y="706"/>
                  <a:pt x="474" y="705"/>
                  <a:pt x="472" y="705"/>
                </a:cubicBezTo>
                <a:cubicBezTo>
                  <a:pt x="472" y="704"/>
                  <a:pt x="475" y="705"/>
                  <a:pt x="476" y="705"/>
                </a:cubicBezTo>
                <a:cubicBezTo>
                  <a:pt x="476" y="705"/>
                  <a:pt x="476" y="705"/>
                  <a:pt x="476" y="705"/>
                </a:cubicBezTo>
                <a:cubicBezTo>
                  <a:pt x="476" y="705"/>
                  <a:pt x="475" y="704"/>
                  <a:pt x="475" y="704"/>
                </a:cubicBezTo>
                <a:cubicBezTo>
                  <a:pt x="474" y="705"/>
                  <a:pt x="471" y="704"/>
                  <a:pt x="472" y="703"/>
                </a:cubicBezTo>
                <a:cubicBezTo>
                  <a:pt x="473" y="703"/>
                  <a:pt x="473" y="703"/>
                  <a:pt x="473" y="703"/>
                </a:cubicBezTo>
                <a:cubicBezTo>
                  <a:pt x="473" y="703"/>
                  <a:pt x="473" y="703"/>
                  <a:pt x="473" y="702"/>
                </a:cubicBezTo>
                <a:cubicBezTo>
                  <a:pt x="473" y="703"/>
                  <a:pt x="475" y="702"/>
                  <a:pt x="475" y="703"/>
                </a:cubicBezTo>
                <a:cubicBezTo>
                  <a:pt x="474" y="701"/>
                  <a:pt x="472" y="701"/>
                  <a:pt x="472" y="700"/>
                </a:cubicBezTo>
                <a:cubicBezTo>
                  <a:pt x="474" y="698"/>
                  <a:pt x="477" y="703"/>
                  <a:pt x="479" y="702"/>
                </a:cubicBezTo>
                <a:cubicBezTo>
                  <a:pt x="479" y="702"/>
                  <a:pt x="479" y="702"/>
                  <a:pt x="479" y="702"/>
                </a:cubicBezTo>
                <a:cubicBezTo>
                  <a:pt x="479" y="702"/>
                  <a:pt x="479" y="702"/>
                  <a:pt x="479" y="702"/>
                </a:cubicBezTo>
                <a:cubicBezTo>
                  <a:pt x="477" y="700"/>
                  <a:pt x="473" y="698"/>
                  <a:pt x="476" y="697"/>
                </a:cubicBezTo>
                <a:cubicBezTo>
                  <a:pt x="475" y="697"/>
                  <a:pt x="475" y="697"/>
                  <a:pt x="474" y="696"/>
                </a:cubicBezTo>
                <a:cubicBezTo>
                  <a:pt x="474" y="696"/>
                  <a:pt x="474" y="695"/>
                  <a:pt x="474" y="695"/>
                </a:cubicBezTo>
                <a:cubicBezTo>
                  <a:pt x="474" y="695"/>
                  <a:pt x="474" y="695"/>
                  <a:pt x="474" y="695"/>
                </a:cubicBezTo>
                <a:cubicBezTo>
                  <a:pt x="474" y="694"/>
                  <a:pt x="476" y="693"/>
                  <a:pt x="476" y="694"/>
                </a:cubicBezTo>
                <a:cubicBezTo>
                  <a:pt x="479" y="694"/>
                  <a:pt x="485" y="695"/>
                  <a:pt x="481" y="692"/>
                </a:cubicBezTo>
                <a:cubicBezTo>
                  <a:pt x="482" y="693"/>
                  <a:pt x="485" y="690"/>
                  <a:pt x="487" y="693"/>
                </a:cubicBezTo>
                <a:cubicBezTo>
                  <a:pt x="487" y="693"/>
                  <a:pt x="486" y="694"/>
                  <a:pt x="486" y="694"/>
                </a:cubicBezTo>
                <a:cubicBezTo>
                  <a:pt x="487" y="694"/>
                  <a:pt x="494" y="692"/>
                  <a:pt x="494" y="691"/>
                </a:cubicBezTo>
                <a:cubicBezTo>
                  <a:pt x="494" y="691"/>
                  <a:pt x="488" y="688"/>
                  <a:pt x="492" y="687"/>
                </a:cubicBezTo>
                <a:cubicBezTo>
                  <a:pt x="494" y="687"/>
                  <a:pt x="496" y="689"/>
                  <a:pt x="496" y="690"/>
                </a:cubicBezTo>
                <a:cubicBezTo>
                  <a:pt x="496" y="693"/>
                  <a:pt x="499" y="688"/>
                  <a:pt x="499" y="688"/>
                </a:cubicBezTo>
                <a:cubicBezTo>
                  <a:pt x="498" y="686"/>
                  <a:pt x="497" y="688"/>
                  <a:pt x="497" y="686"/>
                </a:cubicBezTo>
                <a:cubicBezTo>
                  <a:pt x="497" y="687"/>
                  <a:pt x="500" y="684"/>
                  <a:pt x="500" y="684"/>
                </a:cubicBezTo>
                <a:cubicBezTo>
                  <a:pt x="501" y="683"/>
                  <a:pt x="500" y="682"/>
                  <a:pt x="503" y="683"/>
                </a:cubicBezTo>
                <a:cubicBezTo>
                  <a:pt x="502" y="683"/>
                  <a:pt x="501" y="682"/>
                  <a:pt x="501" y="681"/>
                </a:cubicBezTo>
                <a:cubicBezTo>
                  <a:pt x="500" y="680"/>
                  <a:pt x="499" y="679"/>
                  <a:pt x="500" y="679"/>
                </a:cubicBezTo>
                <a:cubicBezTo>
                  <a:pt x="500" y="678"/>
                  <a:pt x="500" y="678"/>
                  <a:pt x="501" y="678"/>
                </a:cubicBezTo>
                <a:cubicBezTo>
                  <a:pt x="501" y="678"/>
                  <a:pt x="501" y="678"/>
                  <a:pt x="501" y="678"/>
                </a:cubicBezTo>
                <a:cubicBezTo>
                  <a:pt x="502" y="679"/>
                  <a:pt x="503" y="679"/>
                  <a:pt x="503" y="680"/>
                </a:cubicBezTo>
                <a:cubicBezTo>
                  <a:pt x="503" y="680"/>
                  <a:pt x="503" y="680"/>
                  <a:pt x="504" y="680"/>
                </a:cubicBezTo>
                <a:cubicBezTo>
                  <a:pt x="504" y="680"/>
                  <a:pt x="504" y="680"/>
                  <a:pt x="505" y="679"/>
                </a:cubicBezTo>
                <a:cubicBezTo>
                  <a:pt x="504" y="679"/>
                  <a:pt x="504" y="678"/>
                  <a:pt x="504" y="678"/>
                </a:cubicBezTo>
                <a:cubicBezTo>
                  <a:pt x="505" y="676"/>
                  <a:pt x="508" y="676"/>
                  <a:pt x="509" y="678"/>
                </a:cubicBezTo>
                <a:cubicBezTo>
                  <a:pt x="509" y="677"/>
                  <a:pt x="510" y="677"/>
                  <a:pt x="510" y="677"/>
                </a:cubicBezTo>
                <a:cubicBezTo>
                  <a:pt x="510" y="678"/>
                  <a:pt x="512" y="680"/>
                  <a:pt x="513" y="680"/>
                </a:cubicBezTo>
                <a:cubicBezTo>
                  <a:pt x="513" y="680"/>
                  <a:pt x="513" y="681"/>
                  <a:pt x="513" y="681"/>
                </a:cubicBezTo>
                <a:cubicBezTo>
                  <a:pt x="513" y="681"/>
                  <a:pt x="513" y="681"/>
                  <a:pt x="513" y="682"/>
                </a:cubicBezTo>
                <a:cubicBezTo>
                  <a:pt x="513" y="682"/>
                  <a:pt x="513" y="682"/>
                  <a:pt x="513" y="682"/>
                </a:cubicBezTo>
                <a:cubicBezTo>
                  <a:pt x="516" y="683"/>
                  <a:pt x="514" y="677"/>
                  <a:pt x="517" y="678"/>
                </a:cubicBezTo>
                <a:cubicBezTo>
                  <a:pt x="515" y="678"/>
                  <a:pt x="514" y="677"/>
                  <a:pt x="514" y="676"/>
                </a:cubicBezTo>
                <a:cubicBezTo>
                  <a:pt x="512" y="676"/>
                  <a:pt x="510" y="674"/>
                  <a:pt x="511" y="673"/>
                </a:cubicBezTo>
                <a:cubicBezTo>
                  <a:pt x="509" y="673"/>
                  <a:pt x="506" y="673"/>
                  <a:pt x="507" y="670"/>
                </a:cubicBezTo>
                <a:cubicBezTo>
                  <a:pt x="507" y="670"/>
                  <a:pt x="506" y="670"/>
                  <a:pt x="506" y="670"/>
                </a:cubicBezTo>
                <a:cubicBezTo>
                  <a:pt x="508" y="672"/>
                  <a:pt x="505" y="672"/>
                  <a:pt x="504" y="671"/>
                </a:cubicBezTo>
                <a:cubicBezTo>
                  <a:pt x="504" y="670"/>
                  <a:pt x="505" y="670"/>
                  <a:pt x="505" y="670"/>
                </a:cubicBezTo>
                <a:cubicBezTo>
                  <a:pt x="505" y="669"/>
                  <a:pt x="503" y="669"/>
                  <a:pt x="503" y="668"/>
                </a:cubicBezTo>
                <a:cubicBezTo>
                  <a:pt x="501" y="666"/>
                  <a:pt x="502" y="664"/>
                  <a:pt x="499" y="664"/>
                </a:cubicBezTo>
                <a:cubicBezTo>
                  <a:pt x="496" y="664"/>
                  <a:pt x="496" y="661"/>
                  <a:pt x="494" y="661"/>
                </a:cubicBezTo>
                <a:cubicBezTo>
                  <a:pt x="493" y="662"/>
                  <a:pt x="493" y="669"/>
                  <a:pt x="489" y="666"/>
                </a:cubicBezTo>
                <a:cubicBezTo>
                  <a:pt x="488" y="665"/>
                  <a:pt x="489" y="665"/>
                  <a:pt x="488" y="665"/>
                </a:cubicBezTo>
                <a:cubicBezTo>
                  <a:pt x="486" y="665"/>
                  <a:pt x="480" y="661"/>
                  <a:pt x="486" y="661"/>
                </a:cubicBezTo>
                <a:cubicBezTo>
                  <a:pt x="487" y="661"/>
                  <a:pt x="488" y="662"/>
                  <a:pt x="488" y="662"/>
                </a:cubicBezTo>
                <a:cubicBezTo>
                  <a:pt x="490" y="663"/>
                  <a:pt x="490" y="661"/>
                  <a:pt x="492" y="660"/>
                </a:cubicBezTo>
                <a:cubicBezTo>
                  <a:pt x="493" y="660"/>
                  <a:pt x="493" y="662"/>
                  <a:pt x="494" y="661"/>
                </a:cubicBezTo>
                <a:cubicBezTo>
                  <a:pt x="495" y="659"/>
                  <a:pt x="491" y="658"/>
                  <a:pt x="491" y="658"/>
                </a:cubicBezTo>
                <a:cubicBezTo>
                  <a:pt x="490" y="658"/>
                  <a:pt x="490" y="661"/>
                  <a:pt x="489" y="659"/>
                </a:cubicBezTo>
                <a:cubicBezTo>
                  <a:pt x="489" y="658"/>
                  <a:pt x="491" y="655"/>
                  <a:pt x="491" y="655"/>
                </a:cubicBezTo>
                <a:cubicBezTo>
                  <a:pt x="492" y="652"/>
                  <a:pt x="491" y="653"/>
                  <a:pt x="494" y="652"/>
                </a:cubicBezTo>
                <a:cubicBezTo>
                  <a:pt x="496" y="652"/>
                  <a:pt x="499" y="654"/>
                  <a:pt x="499" y="655"/>
                </a:cubicBezTo>
                <a:cubicBezTo>
                  <a:pt x="501" y="658"/>
                  <a:pt x="500" y="655"/>
                  <a:pt x="501" y="654"/>
                </a:cubicBezTo>
                <a:cubicBezTo>
                  <a:pt x="502" y="653"/>
                  <a:pt x="504" y="653"/>
                  <a:pt x="506" y="654"/>
                </a:cubicBezTo>
                <a:cubicBezTo>
                  <a:pt x="506" y="652"/>
                  <a:pt x="506" y="651"/>
                  <a:pt x="507" y="651"/>
                </a:cubicBezTo>
                <a:cubicBezTo>
                  <a:pt x="507" y="651"/>
                  <a:pt x="507" y="651"/>
                  <a:pt x="506" y="650"/>
                </a:cubicBezTo>
                <a:cubicBezTo>
                  <a:pt x="507" y="650"/>
                  <a:pt x="507" y="651"/>
                  <a:pt x="507" y="651"/>
                </a:cubicBezTo>
                <a:cubicBezTo>
                  <a:pt x="507" y="651"/>
                  <a:pt x="508" y="651"/>
                  <a:pt x="508" y="651"/>
                </a:cubicBezTo>
                <a:cubicBezTo>
                  <a:pt x="505" y="650"/>
                  <a:pt x="516" y="648"/>
                  <a:pt x="513" y="646"/>
                </a:cubicBezTo>
                <a:cubicBezTo>
                  <a:pt x="513" y="645"/>
                  <a:pt x="513" y="645"/>
                  <a:pt x="512" y="645"/>
                </a:cubicBezTo>
                <a:cubicBezTo>
                  <a:pt x="512" y="645"/>
                  <a:pt x="513" y="645"/>
                  <a:pt x="513" y="644"/>
                </a:cubicBezTo>
                <a:cubicBezTo>
                  <a:pt x="513" y="644"/>
                  <a:pt x="513" y="644"/>
                  <a:pt x="513" y="644"/>
                </a:cubicBezTo>
                <a:cubicBezTo>
                  <a:pt x="513" y="643"/>
                  <a:pt x="512" y="642"/>
                  <a:pt x="512" y="641"/>
                </a:cubicBezTo>
                <a:cubicBezTo>
                  <a:pt x="512" y="640"/>
                  <a:pt x="511" y="640"/>
                  <a:pt x="512" y="639"/>
                </a:cubicBezTo>
                <a:cubicBezTo>
                  <a:pt x="512" y="638"/>
                  <a:pt x="513" y="637"/>
                  <a:pt x="515" y="637"/>
                </a:cubicBezTo>
                <a:cubicBezTo>
                  <a:pt x="518" y="636"/>
                  <a:pt x="513" y="635"/>
                  <a:pt x="512" y="636"/>
                </a:cubicBezTo>
                <a:cubicBezTo>
                  <a:pt x="512" y="637"/>
                  <a:pt x="512" y="637"/>
                  <a:pt x="511" y="637"/>
                </a:cubicBezTo>
                <a:cubicBezTo>
                  <a:pt x="511" y="637"/>
                  <a:pt x="510" y="637"/>
                  <a:pt x="510" y="636"/>
                </a:cubicBezTo>
                <a:cubicBezTo>
                  <a:pt x="508" y="636"/>
                  <a:pt x="506" y="635"/>
                  <a:pt x="505" y="635"/>
                </a:cubicBezTo>
                <a:cubicBezTo>
                  <a:pt x="507" y="635"/>
                  <a:pt x="508" y="635"/>
                  <a:pt x="510" y="635"/>
                </a:cubicBezTo>
                <a:cubicBezTo>
                  <a:pt x="510" y="634"/>
                  <a:pt x="510" y="634"/>
                  <a:pt x="510" y="634"/>
                </a:cubicBezTo>
                <a:cubicBezTo>
                  <a:pt x="510" y="634"/>
                  <a:pt x="511" y="634"/>
                  <a:pt x="511" y="635"/>
                </a:cubicBezTo>
                <a:cubicBezTo>
                  <a:pt x="511" y="635"/>
                  <a:pt x="512" y="635"/>
                  <a:pt x="512" y="635"/>
                </a:cubicBezTo>
                <a:cubicBezTo>
                  <a:pt x="512" y="634"/>
                  <a:pt x="510" y="634"/>
                  <a:pt x="510" y="633"/>
                </a:cubicBezTo>
                <a:cubicBezTo>
                  <a:pt x="511" y="634"/>
                  <a:pt x="512" y="634"/>
                  <a:pt x="513" y="633"/>
                </a:cubicBezTo>
                <a:cubicBezTo>
                  <a:pt x="513" y="633"/>
                  <a:pt x="513" y="633"/>
                  <a:pt x="514" y="633"/>
                </a:cubicBezTo>
                <a:cubicBezTo>
                  <a:pt x="514" y="633"/>
                  <a:pt x="514" y="633"/>
                  <a:pt x="514" y="633"/>
                </a:cubicBezTo>
                <a:cubicBezTo>
                  <a:pt x="514" y="632"/>
                  <a:pt x="514" y="632"/>
                  <a:pt x="513" y="631"/>
                </a:cubicBezTo>
                <a:cubicBezTo>
                  <a:pt x="513" y="631"/>
                  <a:pt x="513" y="631"/>
                  <a:pt x="513" y="631"/>
                </a:cubicBezTo>
                <a:cubicBezTo>
                  <a:pt x="513" y="631"/>
                  <a:pt x="513" y="632"/>
                  <a:pt x="513" y="632"/>
                </a:cubicBezTo>
                <a:cubicBezTo>
                  <a:pt x="513" y="632"/>
                  <a:pt x="513" y="632"/>
                  <a:pt x="513" y="632"/>
                </a:cubicBezTo>
                <a:cubicBezTo>
                  <a:pt x="513" y="632"/>
                  <a:pt x="513" y="632"/>
                  <a:pt x="513" y="633"/>
                </a:cubicBezTo>
                <a:cubicBezTo>
                  <a:pt x="513" y="633"/>
                  <a:pt x="513" y="632"/>
                  <a:pt x="512" y="632"/>
                </a:cubicBezTo>
                <a:cubicBezTo>
                  <a:pt x="512" y="632"/>
                  <a:pt x="512" y="632"/>
                  <a:pt x="512" y="632"/>
                </a:cubicBezTo>
                <a:cubicBezTo>
                  <a:pt x="512" y="631"/>
                  <a:pt x="512" y="631"/>
                  <a:pt x="512" y="631"/>
                </a:cubicBezTo>
                <a:cubicBezTo>
                  <a:pt x="511" y="631"/>
                  <a:pt x="510" y="630"/>
                  <a:pt x="510" y="630"/>
                </a:cubicBezTo>
                <a:cubicBezTo>
                  <a:pt x="510" y="630"/>
                  <a:pt x="509" y="631"/>
                  <a:pt x="509" y="632"/>
                </a:cubicBezTo>
                <a:cubicBezTo>
                  <a:pt x="509" y="633"/>
                  <a:pt x="510" y="634"/>
                  <a:pt x="509" y="634"/>
                </a:cubicBezTo>
                <a:cubicBezTo>
                  <a:pt x="509" y="634"/>
                  <a:pt x="509" y="634"/>
                  <a:pt x="508" y="633"/>
                </a:cubicBezTo>
                <a:cubicBezTo>
                  <a:pt x="508" y="634"/>
                  <a:pt x="508" y="634"/>
                  <a:pt x="508" y="634"/>
                </a:cubicBezTo>
                <a:cubicBezTo>
                  <a:pt x="507" y="634"/>
                  <a:pt x="505" y="633"/>
                  <a:pt x="504" y="632"/>
                </a:cubicBezTo>
                <a:cubicBezTo>
                  <a:pt x="504" y="634"/>
                  <a:pt x="503" y="634"/>
                  <a:pt x="500" y="634"/>
                </a:cubicBezTo>
                <a:cubicBezTo>
                  <a:pt x="500" y="634"/>
                  <a:pt x="500" y="634"/>
                  <a:pt x="500" y="634"/>
                </a:cubicBezTo>
                <a:cubicBezTo>
                  <a:pt x="501" y="635"/>
                  <a:pt x="504" y="638"/>
                  <a:pt x="506" y="638"/>
                </a:cubicBezTo>
                <a:cubicBezTo>
                  <a:pt x="506" y="638"/>
                  <a:pt x="511" y="638"/>
                  <a:pt x="508" y="640"/>
                </a:cubicBezTo>
                <a:cubicBezTo>
                  <a:pt x="506" y="640"/>
                  <a:pt x="503" y="636"/>
                  <a:pt x="499" y="635"/>
                </a:cubicBezTo>
                <a:cubicBezTo>
                  <a:pt x="499" y="635"/>
                  <a:pt x="498" y="636"/>
                  <a:pt x="498" y="636"/>
                </a:cubicBezTo>
                <a:cubicBezTo>
                  <a:pt x="497" y="635"/>
                  <a:pt x="497" y="635"/>
                  <a:pt x="497" y="634"/>
                </a:cubicBezTo>
                <a:cubicBezTo>
                  <a:pt x="496" y="634"/>
                  <a:pt x="496" y="634"/>
                  <a:pt x="495" y="633"/>
                </a:cubicBezTo>
                <a:cubicBezTo>
                  <a:pt x="494" y="633"/>
                  <a:pt x="494" y="635"/>
                  <a:pt x="494" y="635"/>
                </a:cubicBezTo>
                <a:cubicBezTo>
                  <a:pt x="494" y="635"/>
                  <a:pt x="491" y="636"/>
                  <a:pt x="491" y="636"/>
                </a:cubicBezTo>
                <a:cubicBezTo>
                  <a:pt x="489" y="635"/>
                  <a:pt x="491" y="632"/>
                  <a:pt x="493" y="632"/>
                </a:cubicBezTo>
                <a:cubicBezTo>
                  <a:pt x="491" y="632"/>
                  <a:pt x="493" y="631"/>
                  <a:pt x="492" y="629"/>
                </a:cubicBezTo>
                <a:cubicBezTo>
                  <a:pt x="492" y="630"/>
                  <a:pt x="487" y="627"/>
                  <a:pt x="488" y="626"/>
                </a:cubicBezTo>
                <a:cubicBezTo>
                  <a:pt x="489" y="625"/>
                  <a:pt x="491" y="627"/>
                  <a:pt x="492" y="628"/>
                </a:cubicBezTo>
                <a:cubicBezTo>
                  <a:pt x="492" y="628"/>
                  <a:pt x="492" y="628"/>
                  <a:pt x="493" y="627"/>
                </a:cubicBezTo>
                <a:cubicBezTo>
                  <a:pt x="492" y="627"/>
                  <a:pt x="492" y="627"/>
                  <a:pt x="492" y="626"/>
                </a:cubicBezTo>
                <a:cubicBezTo>
                  <a:pt x="493" y="626"/>
                  <a:pt x="494" y="626"/>
                  <a:pt x="494" y="626"/>
                </a:cubicBezTo>
                <a:cubicBezTo>
                  <a:pt x="494" y="626"/>
                  <a:pt x="494" y="626"/>
                  <a:pt x="494" y="626"/>
                </a:cubicBezTo>
                <a:cubicBezTo>
                  <a:pt x="495" y="626"/>
                  <a:pt x="495" y="627"/>
                  <a:pt x="495" y="628"/>
                </a:cubicBezTo>
                <a:cubicBezTo>
                  <a:pt x="495" y="630"/>
                  <a:pt x="496" y="629"/>
                  <a:pt x="497" y="628"/>
                </a:cubicBezTo>
                <a:cubicBezTo>
                  <a:pt x="497" y="627"/>
                  <a:pt x="497" y="627"/>
                  <a:pt x="497" y="627"/>
                </a:cubicBezTo>
                <a:cubicBezTo>
                  <a:pt x="498" y="627"/>
                  <a:pt x="498" y="627"/>
                  <a:pt x="498" y="627"/>
                </a:cubicBezTo>
                <a:cubicBezTo>
                  <a:pt x="499" y="627"/>
                  <a:pt x="499" y="627"/>
                  <a:pt x="500" y="627"/>
                </a:cubicBezTo>
                <a:cubicBezTo>
                  <a:pt x="501" y="627"/>
                  <a:pt x="500" y="626"/>
                  <a:pt x="500" y="625"/>
                </a:cubicBezTo>
                <a:cubicBezTo>
                  <a:pt x="501" y="624"/>
                  <a:pt x="502" y="625"/>
                  <a:pt x="503" y="624"/>
                </a:cubicBezTo>
                <a:cubicBezTo>
                  <a:pt x="503" y="624"/>
                  <a:pt x="503" y="624"/>
                  <a:pt x="503" y="624"/>
                </a:cubicBezTo>
                <a:cubicBezTo>
                  <a:pt x="501" y="621"/>
                  <a:pt x="497" y="616"/>
                  <a:pt x="496" y="621"/>
                </a:cubicBezTo>
                <a:cubicBezTo>
                  <a:pt x="496" y="617"/>
                  <a:pt x="492" y="620"/>
                  <a:pt x="491" y="621"/>
                </a:cubicBezTo>
                <a:cubicBezTo>
                  <a:pt x="489" y="621"/>
                  <a:pt x="492" y="620"/>
                  <a:pt x="492" y="620"/>
                </a:cubicBezTo>
                <a:cubicBezTo>
                  <a:pt x="491" y="618"/>
                  <a:pt x="488" y="620"/>
                  <a:pt x="486" y="618"/>
                </a:cubicBezTo>
                <a:cubicBezTo>
                  <a:pt x="486" y="618"/>
                  <a:pt x="485" y="615"/>
                  <a:pt x="485" y="616"/>
                </a:cubicBezTo>
                <a:cubicBezTo>
                  <a:pt x="483" y="615"/>
                  <a:pt x="482" y="617"/>
                  <a:pt x="483" y="615"/>
                </a:cubicBezTo>
                <a:cubicBezTo>
                  <a:pt x="483" y="612"/>
                  <a:pt x="480" y="610"/>
                  <a:pt x="479" y="609"/>
                </a:cubicBezTo>
                <a:cubicBezTo>
                  <a:pt x="479" y="609"/>
                  <a:pt x="480" y="605"/>
                  <a:pt x="478" y="604"/>
                </a:cubicBezTo>
                <a:cubicBezTo>
                  <a:pt x="480" y="609"/>
                  <a:pt x="474" y="610"/>
                  <a:pt x="474" y="608"/>
                </a:cubicBezTo>
                <a:cubicBezTo>
                  <a:pt x="474" y="608"/>
                  <a:pt x="471" y="608"/>
                  <a:pt x="471" y="605"/>
                </a:cubicBezTo>
                <a:cubicBezTo>
                  <a:pt x="472" y="603"/>
                  <a:pt x="472" y="604"/>
                  <a:pt x="471" y="601"/>
                </a:cubicBezTo>
                <a:cubicBezTo>
                  <a:pt x="470" y="599"/>
                  <a:pt x="478" y="604"/>
                  <a:pt x="479" y="603"/>
                </a:cubicBezTo>
                <a:cubicBezTo>
                  <a:pt x="481" y="603"/>
                  <a:pt x="478" y="601"/>
                  <a:pt x="481" y="602"/>
                </a:cubicBezTo>
                <a:cubicBezTo>
                  <a:pt x="487" y="603"/>
                  <a:pt x="499" y="603"/>
                  <a:pt x="499" y="612"/>
                </a:cubicBezTo>
                <a:cubicBezTo>
                  <a:pt x="499" y="614"/>
                  <a:pt x="497" y="615"/>
                  <a:pt x="498" y="617"/>
                </a:cubicBezTo>
                <a:cubicBezTo>
                  <a:pt x="499" y="619"/>
                  <a:pt x="501" y="621"/>
                  <a:pt x="503" y="622"/>
                </a:cubicBezTo>
                <a:cubicBezTo>
                  <a:pt x="503" y="622"/>
                  <a:pt x="503" y="622"/>
                  <a:pt x="503" y="622"/>
                </a:cubicBezTo>
                <a:cubicBezTo>
                  <a:pt x="504" y="622"/>
                  <a:pt x="505" y="623"/>
                  <a:pt x="505" y="622"/>
                </a:cubicBezTo>
                <a:cubicBezTo>
                  <a:pt x="506" y="622"/>
                  <a:pt x="506" y="621"/>
                  <a:pt x="506" y="621"/>
                </a:cubicBezTo>
                <a:cubicBezTo>
                  <a:pt x="506" y="620"/>
                  <a:pt x="505" y="619"/>
                  <a:pt x="506" y="619"/>
                </a:cubicBezTo>
                <a:cubicBezTo>
                  <a:pt x="506" y="619"/>
                  <a:pt x="506" y="619"/>
                  <a:pt x="506" y="619"/>
                </a:cubicBezTo>
                <a:cubicBezTo>
                  <a:pt x="507" y="619"/>
                  <a:pt x="507" y="619"/>
                  <a:pt x="507" y="619"/>
                </a:cubicBezTo>
                <a:cubicBezTo>
                  <a:pt x="508" y="618"/>
                  <a:pt x="510" y="620"/>
                  <a:pt x="510" y="618"/>
                </a:cubicBezTo>
                <a:cubicBezTo>
                  <a:pt x="510" y="619"/>
                  <a:pt x="512" y="620"/>
                  <a:pt x="513" y="620"/>
                </a:cubicBezTo>
                <a:cubicBezTo>
                  <a:pt x="513" y="620"/>
                  <a:pt x="514" y="620"/>
                  <a:pt x="514" y="620"/>
                </a:cubicBezTo>
                <a:cubicBezTo>
                  <a:pt x="514" y="619"/>
                  <a:pt x="513" y="617"/>
                  <a:pt x="513" y="617"/>
                </a:cubicBezTo>
                <a:cubicBezTo>
                  <a:pt x="514" y="616"/>
                  <a:pt x="516" y="618"/>
                  <a:pt x="517" y="620"/>
                </a:cubicBezTo>
                <a:cubicBezTo>
                  <a:pt x="517" y="620"/>
                  <a:pt x="518" y="621"/>
                  <a:pt x="518" y="620"/>
                </a:cubicBezTo>
                <a:cubicBezTo>
                  <a:pt x="518" y="620"/>
                  <a:pt x="514" y="615"/>
                  <a:pt x="517" y="615"/>
                </a:cubicBezTo>
                <a:cubicBezTo>
                  <a:pt x="517" y="615"/>
                  <a:pt x="517" y="615"/>
                  <a:pt x="517" y="614"/>
                </a:cubicBezTo>
                <a:cubicBezTo>
                  <a:pt x="517" y="615"/>
                  <a:pt x="516" y="612"/>
                  <a:pt x="516" y="612"/>
                </a:cubicBezTo>
                <a:cubicBezTo>
                  <a:pt x="518" y="610"/>
                  <a:pt x="520" y="614"/>
                  <a:pt x="522" y="615"/>
                </a:cubicBezTo>
                <a:cubicBezTo>
                  <a:pt x="523" y="614"/>
                  <a:pt x="524" y="613"/>
                  <a:pt x="525" y="614"/>
                </a:cubicBezTo>
                <a:cubicBezTo>
                  <a:pt x="525" y="614"/>
                  <a:pt x="526" y="615"/>
                  <a:pt x="526" y="615"/>
                </a:cubicBezTo>
                <a:cubicBezTo>
                  <a:pt x="526" y="615"/>
                  <a:pt x="526" y="615"/>
                  <a:pt x="527" y="616"/>
                </a:cubicBezTo>
                <a:cubicBezTo>
                  <a:pt x="527" y="616"/>
                  <a:pt x="527" y="617"/>
                  <a:pt x="527" y="618"/>
                </a:cubicBezTo>
                <a:cubicBezTo>
                  <a:pt x="526" y="618"/>
                  <a:pt x="526" y="618"/>
                  <a:pt x="525" y="618"/>
                </a:cubicBezTo>
                <a:cubicBezTo>
                  <a:pt x="525" y="618"/>
                  <a:pt x="525" y="618"/>
                  <a:pt x="525" y="618"/>
                </a:cubicBezTo>
                <a:cubicBezTo>
                  <a:pt x="527" y="619"/>
                  <a:pt x="529" y="619"/>
                  <a:pt x="530" y="621"/>
                </a:cubicBezTo>
                <a:cubicBezTo>
                  <a:pt x="531" y="622"/>
                  <a:pt x="531" y="622"/>
                  <a:pt x="531" y="622"/>
                </a:cubicBezTo>
                <a:cubicBezTo>
                  <a:pt x="532" y="622"/>
                  <a:pt x="532" y="622"/>
                  <a:pt x="532" y="621"/>
                </a:cubicBezTo>
                <a:cubicBezTo>
                  <a:pt x="531" y="620"/>
                  <a:pt x="531" y="619"/>
                  <a:pt x="530" y="617"/>
                </a:cubicBezTo>
                <a:cubicBezTo>
                  <a:pt x="531" y="618"/>
                  <a:pt x="532" y="620"/>
                  <a:pt x="533" y="621"/>
                </a:cubicBezTo>
                <a:cubicBezTo>
                  <a:pt x="533" y="621"/>
                  <a:pt x="533" y="621"/>
                  <a:pt x="533" y="621"/>
                </a:cubicBezTo>
                <a:cubicBezTo>
                  <a:pt x="533" y="621"/>
                  <a:pt x="533" y="620"/>
                  <a:pt x="533" y="620"/>
                </a:cubicBezTo>
                <a:cubicBezTo>
                  <a:pt x="534" y="620"/>
                  <a:pt x="534" y="622"/>
                  <a:pt x="534" y="622"/>
                </a:cubicBezTo>
                <a:cubicBezTo>
                  <a:pt x="535" y="623"/>
                  <a:pt x="536" y="627"/>
                  <a:pt x="537" y="628"/>
                </a:cubicBezTo>
                <a:cubicBezTo>
                  <a:pt x="537" y="628"/>
                  <a:pt x="537" y="627"/>
                  <a:pt x="537" y="627"/>
                </a:cubicBezTo>
                <a:cubicBezTo>
                  <a:pt x="538" y="626"/>
                  <a:pt x="539" y="627"/>
                  <a:pt x="540" y="627"/>
                </a:cubicBezTo>
                <a:cubicBezTo>
                  <a:pt x="540" y="627"/>
                  <a:pt x="540" y="627"/>
                  <a:pt x="541" y="627"/>
                </a:cubicBezTo>
                <a:cubicBezTo>
                  <a:pt x="542" y="628"/>
                  <a:pt x="543" y="630"/>
                  <a:pt x="543" y="631"/>
                </a:cubicBezTo>
                <a:cubicBezTo>
                  <a:pt x="543" y="631"/>
                  <a:pt x="542" y="631"/>
                  <a:pt x="542" y="631"/>
                </a:cubicBezTo>
                <a:cubicBezTo>
                  <a:pt x="542" y="631"/>
                  <a:pt x="542" y="631"/>
                  <a:pt x="542" y="631"/>
                </a:cubicBezTo>
                <a:cubicBezTo>
                  <a:pt x="542" y="631"/>
                  <a:pt x="542" y="632"/>
                  <a:pt x="542" y="632"/>
                </a:cubicBezTo>
                <a:cubicBezTo>
                  <a:pt x="540" y="633"/>
                  <a:pt x="541" y="631"/>
                  <a:pt x="541" y="630"/>
                </a:cubicBezTo>
                <a:cubicBezTo>
                  <a:pt x="541" y="630"/>
                  <a:pt x="540" y="630"/>
                  <a:pt x="540" y="630"/>
                </a:cubicBezTo>
                <a:cubicBezTo>
                  <a:pt x="540" y="631"/>
                  <a:pt x="540" y="631"/>
                  <a:pt x="540" y="632"/>
                </a:cubicBezTo>
                <a:cubicBezTo>
                  <a:pt x="541" y="633"/>
                  <a:pt x="540" y="633"/>
                  <a:pt x="539" y="632"/>
                </a:cubicBezTo>
                <a:cubicBezTo>
                  <a:pt x="538" y="635"/>
                  <a:pt x="537" y="640"/>
                  <a:pt x="537" y="640"/>
                </a:cubicBezTo>
                <a:cubicBezTo>
                  <a:pt x="537" y="641"/>
                  <a:pt x="544" y="646"/>
                  <a:pt x="539" y="644"/>
                </a:cubicBezTo>
                <a:cubicBezTo>
                  <a:pt x="539" y="644"/>
                  <a:pt x="539" y="645"/>
                  <a:pt x="539" y="645"/>
                </a:cubicBezTo>
                <a:cubicBezTo>
                  <a:pt x="539" y="645"/>
                  <a:pt x="539" y="645"/>
                  <a:pt x="539" y="645"/>
                </a:cubicBezTo>
                <a:cubicBezTo>
                  <a:pt x="540" y="645"/>
                  <a:pt x="540" y="646"/>
                  <a:pt x="539" y="646"/>
                </a:cubicBezTo>
                <a:cubicBezTo>
                  <a:pt x="539" y="646"/>
                  <a:pt x="540" y="646"/>
                  <a:pt x="540" y="646"/>
                </a:cubicBezTo>
                <a:cubicBezTo>
                  <a:pt x="540" y="647"/>
                  <a:pt x="539" y="648"/>
                  <a:pt x="538" y="647"/>
                </a:cubicBezTo>
                <a:cubicBezTo>
                  <a:pt x="537" y="648"/>
                  <a:pt x="537" y="648"/>
                  <a:pt x="536" y="649"/>
                </a:cubicBezTo>
                <a:cubicBezTo>
                  <a:pt x="536" y="648"/>
                  <a:pt x="535" y="651"/>
                  <a:pt x="535" y="650"/>
                </a:cubicBezTo>
                <a:cubicBezTo>
                  <a:pt x="534" y="651"/>
                  <a:pt x="532" y="649"/>
                  <a:pt x="532" y="649"/>
                </a:cubicBezTo>
                <a:cubicBezTo>
                  <a:pt x="532" y="648"/>
                  <a:pt x="531" y="648"/>
                  <a:pt x="530" y="648"/>
                </a:cubicBezTo>
                <a:cubicBezTo>
                  <a:pt x="532" y="649"/>
                  <a:pt x="532" y="649"/>
                  <a:pt x="531" y="651"/>
                </a:cubicBezTo>
                <a:cubicBezTo>
                  <a:pt x="531" y="651"/>
                  <a:pt x="531" y="651"/>
                  <a:pt x="530" y="651"/>
                </a:cubicBezTo>
                <a:cubicBezTo>
                  <a:pt x="530" y="653"/>
                  <a:pt x="529" y="653"/>
                  <a:pt x="527" y="652"/>
                </a:cubicBezTo>
                <a:cubicBezTo>
                  <a:pt x="527" y="652"/>
                  <a:pt x="527" y="651"/>
                  <a:pt x="527" y="650"/>
                </a:cubicBezTo>
                <a:cubicBezTo>
                  <a:pt x="527" y="650"/>
                  <a:pt x="525" y="649"/>
                  <a:pt x="525" y="648"/>
                </a:cubicBezTo>
                <a:cubicBezTo>
                  <a:pt x="526" y="648"/>
                  <a:pt x="527" y="647"/>
                  <a:pt x="527" y="647"/>
                </a:cubicBezTo>
                <a:cubicBezTo>
                  <a:pt x="527" y="645"/>
                  <a:pt x="524" y="647"/>
                  <a:pt x="525" y="644"/>
                </a:cubicBezTo>
                <a:cubicBezTo>
                  <a:pt x="524" y="646"/>
                  <a:pt x="521" y="646"/>
                  <a:pt x="520" y="649"/>
                </a:cubicBezTo>
                <a:cubicBezTo>
                  <a:pt x="520" y="649"/>
                  <a:pt x="520" y="654"/>
                  <a:pt x="521" y="655"/>
                </a:cubicBezTo>
                <a:cubicBezTo>
                  <a:pt x="522" y="655"/>
                  <a:pt x="522" y="654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6"/>
                  <a:pt x="521" y="658"/>
                  <a:pt x="522" y="660"/>
                </a:cubicBezTo>
                <a:cubicBezTo>
                  <a:pt x="522" y="659"/>
                  <a:pt x="523" y="661"/>
                  <a:pt x="523" y="661"/>
                </a:cubicBezTo>
                <a:cubicBezTo>
                  <a:pt x="524" y="661"/>
                  <a:pt x="524" y="660"/>
                  <a:pt x="523" y="660"/>
                </a:cubicBezTo>
                <a:cubicBezTo>
                  <a:pt x="523" y="659"/>
                  <a:pt x="522" y="659"/>
                  <a:pt x="522" y="658"/>
                </a:cubicBezTo>
                <a:cubicBezTo>
                  <a:pt x="523" y="658"/>
                  <a:pt x="523" y="658"/>
                  <a:pt x="524" y="659"/>
                </a:cubicBezTo>
                <a:cubicBezTo>
                  <a:pt x="525" y="658"/>
                  <a:pt x="526" y="660"/>
                  <a:pt x="527" y="660"/>
                </a:cubicBezTo>
                <a:cubicBezTo>
                  <a:pt x="529" y="660"/>
                  <a:pt x="528" y="659"/>
                  <a:pt x="530" y="659"/>
                </a:cubicBezTo>
                <a:cubicBezTo>
                  <a:pt x="528" y="661"/>
                  <a:pt x="529" y="660"/>
                  <a:pt x="531" y="661"/>
                </a:cubicBezTo>
                <a:cubicBezTo>
                  <a:pt x="531" y="660"/>
                  <a:pt x="531" y="660"/>
                  <a:pt x="531" y="661"/>
                </a:cubicBezTo>
                <a:cubicBezTo>
                  <a:pt x="531" y="661"/>
                  <a:pt x="532" y="661"/>
                  <a:pt x="532" y="661"/>
                </a:cubicBezTo>
                <a:cubicBezTo>
                  <a:pt x="532" y="661"/>
                  <a:pt x="532" y="661"/>
                  <a:pt x="532" y="661"/>
                </a:cubicBezTo>
                <a:cubicBezTo>
                  <a:pt x="532" y="661"/>
                  <a:pt x="532" y="661"/>
                  <a:pt x="532" y="661"/>
                </a:cubicBezTo>
                <a:cubicBezTo>
                  <a:pt x="534" y="662"/>
                  <a:pt x="535" y="664"/>
                  <a:pt x="536" y="664"/>
                </a:cubicBezTo>
                <a:cubicBezTo>
                  <a:pt x="537" y="664"/>
                  <a:pt x="537" y="664"/>
                  <a:pt x="537" y="664"/>
                </a:cubicBezTo>
                <a:cubicBezTo>
                  <a:pt x="537" y="664"/>
                  <a:pt x="537" y="664"/>
                  <a:pt x="538" y="665"/>
                </a:cubicBezTo>
                <a:cubicBezTo>
                  <a:pt x="538" y="665"/>
                  <a:pt x="538" y="665"/>
                  <a:pt x="539" y="666"/>
                </a:cubicBezTo>
                <a:cubicBezTo>
                  <a:pt x="538" y="665"/>
                  <a:pt x="538" y="663"/>
                  <a:pt x="539" y="662"/>
                </a:cubicBezTo>
                <a:cubicBezTo>
                  <a:pt x="541" y="661"/>
                  <a:pt x="542" y="663"/>
                  <a:pt x="544" y="663"/>
                </a:cubicBezTo>
                <a:cubicBezTo>
                  <a:pt x="544" y="663"/>
                  <a:pt x="545" y="661"/>
                  <a:pt x="546" y="661"/>
                </a:cubicBezTo>
                <a:cubicBezTo>
                  <a:pt x="546" y="660"/>
                  <a:pt x="545" y="658"/>
                  <a:pt x="545" y="656"/>
                </a:cubicBezTo>
                <a:cubicBezTo>
                  <a:pt x="546" y="656"/>
                  <a:pt x="546" y="659"/>
                  <a:pt x="547" y="659"/>
                </a:cubicBezTo>
                <a:cubicBezTo>
                  <a:pt x="547" y="659"/>
                  <a:pt x="547" y="658"/>
                  <a:pt x="547" y="658"/>
                </a:cubicBezTo>
                <a:cubicBezTo>
                  <a:pt x="547" y="658"/>
                  <a:pt x="547" y="658"/>
                  <a:pt x="547" y="658"/>
                </a:cubicBezTo>
                <a:cubicBezTo>
                  <a:pt x="547" y="658"/>
                  <a:pt x="546" y="657"/>
                  <a:pt x="546" y="656"/>
                </a:cubicBezTo>
                <a:cubicBezTo>
                  <a:pt x="547" y="655"/>
                  <a:pt x="548" y="655"/>
                  <a:pt x="548" y="656"/>
                </a:cubicBezTo>
                <a:cubicBezTo>
                  <a:pt x="549" y="655"/>
                  <a:pt x="550" y="655"/>
                  <a:pt x="551" y="656"/>
                </a:cubicBezTo>
                <a:cubicBezTo>
                  <a:pt x="552" y="656"/>
                  <a:pt x="552" y="656"/>
                  <a:pt x="552" y="657"/>
                </a:cubicBezTo>
                <a:cubicBezTo>
                  <a:pt x="552" y="658"/>
                  <a:pt x="552" y="659"/>
                  <a:pt x="552" y="660"/>
                </a:cubicBezTo>
                <a:cubicBezTo>
                  <a:pt x="552" y="660"/>
                  <a:pt x="552" y="661"/>
                  <a:pt x="552" y="661"/>
                </a:cubicBezTo>
                <a:cubicBezTo>
                  <a:pt x="556" y="659"/>
                  <a:pt x="556" y="659"/>
                  <a:pt x="556" y="659"/>
                </a:cubicBezTo>
                <a:cubicBezTo>
                  <a:pt x="556" y="659"/>
                  <a:pt x="556" y="659"/>
                  <a:pt x="557" y="659"/>
                </a:cubicBezTo>
                <a:cubicBezTo>
                  <a:pt x="559" y="657"/>
                  <a:pt x="559" y="657"/>
                  <a:pt x="559" y="657"/>
                </a:cubicBezTo>
                <a:cubicBezTo>
                  <a:pt x="559" y="657"/>
                  <a:pt x="559" y="656"/>
                  <a:pt x="558" y="656"/>
                </a:cubicBezTo>
                <a:cubicBezTo>
                  <a:pt x="558" y="656"/>
                  <a:pt x="557" y="656"/>
                  <a:pt x="556" y="655"/>
                </a:cubicBezTo>
                <a:cubicBezTo>
                  <a:pt x="556" y="655"/>
                  <a:pt x="556" y="655"/>
                  <a:pt x="555" y="656"/>
                </a:cubicBezTo>
                <a:cubicBezTo>
                  <a:pt x="556" y="656"/>
                  <a:pt x="556" y="655"/>
                  <a:pt x="556" y="655"/>
                </a:cubicBezTo>
                <a:cubicBezTo>
                  <a:pt x="556" y="655"/>
                  <a:pt x="555" y="655"/>
                  <a:pt x="555" y="654"/>
                </a:cubicBezTo>
                <a:cubicBezTo>
                  <a:pt x="555" y="654"/>
                  <a:pt x="557" y="653"/>
                  <a:pt x="557" y="653"/>
                </a:cubicBezTo>
                <a:cubicBezTo>
                  <a:pt x="557" y="652"/>
                  <a:pt x="556" y="651"/>
                  <a:pt x="556" y="650"/>
                </a:cubicBezTo>
                <a:cubicBezTo>
                  <a:pt x="555" y="651"/>
                  <a:pt x="554" y="652"/>
                  <a:pt x="553" y="652"/>
                </a:cubicBezTo>
                <a:cubicBezTo>
                  <a:pt x="553" y="652"/>
                  <a:pt x="553" y="653"/>
                  <a:pt x="553" y="653"/>
                </a:cubicBezTo>
                <a:cubicBezTo>
                  <a:pt x="552" y="653"/>
                  <a:pt x="552" y="652"/>
                  <a:pt x="552" y="652"/>
                </a:cubicBezTo>
                <a:cubicBezTo>
                  <a:pt x="552" y="652"/>
                  <a:pt x="551" y="652"/>
                  <a:pt x="551" y="652"/>
                </a:cubicBezTo>
                <a:cubicBezTo>
                  <a:pt x="551" y="652"/>
                  <a:pt x="551" y="652"/>
                  <a:pt x="551" y="652"/>
                </a:cubicBezTo>
                <a:cubicBezTo>
                  <a:pt x="551" y="653"/>
                  <a:pt x="550" y="653"/>
                  <a:pt x="550" y="653"/>
                </a:cubicBezTo>
                <a:cubicBezTo>
                  <a:pt x="550" y="653"/>
                  <a:pt x="550" y="652"/>
                  <a:pt x="550" y="652"/>
                </a:cubicBezTo>
                <a:cubicBezTo>
                  <a:pt x="548" y="652"/>
                  <a:pt x="546" y="651"/>
                  <a:pt x="545" y="649"/>
                </a:cubicBezTo>
                <a:cubicBezTo>
                  <a:pt x="544" y="648"/>
                  <a:pt x="544" y="647"/>
                  <a:pt x="544" y="646"/>
                </a:cubicBezTo>
                <a:cubicBezTo>
                  <a:pt x="543" y="646"/>
                  <a:pt x="541" y="644"/>
                  <a:pt x="542" y="643"/>
                </a:cubicBezTo>
                <a:cubicBezTo>
                  <a:pt x="543" y="643"/>
                  <a:pt x="544" y="643"/>
                  <a:pt x="544" y="644"/>
                </a:cubicBezTo>
                <a:cubicBezTo>
                  <a:pt x="544" y="644"/>
                  <a:pt x="544" y="644"/>
                  <a:pt x="544" y="643"/>
                </a:cubicBezTo>
                <a:cubicBezTo>
                  <a:pt x="544" y="643"/>
                  <a:pt x="544" y="643"/>
                  <a:pt x="544" y="643"/>
                </a:cubicBezTo>
                <a:cubicBezTo>
                  <a:pt x="545" y="641"/>
                  <a:pt x="546" y="640"/>
                  <a:pt x="548" y="638"/>
                </a:cubicBezTo>
                <a:cubicBezTo>
                  <a:pt x="548" y="638"/>
                  <a:pt x="548" y="638"/>
                  <a:pt x="548" y="638"/>
                </a:cubicBezTo>
                <a:cubicBezTo>
                  <a:pt x="548" y="638"/>
                  <a:pt x="548" y="638"/>
                  <a:pt x="548" y="638"/>
                </a:cubicBezTo>
                <a:cubicBezTo>
                  <a:pt x="549" y="637"/>
                  <a:pt x="549" y="637"/>
                  <a:pt x="549" y="638"/>
                </a:cubicBezTo>
                <a:cubicBezTo>
                  <a:pt x="551" y="637"/>
                  <a:pt x="554" y="636"/>
                  <a:pt x="556" y="638"/>
                </a:cubicBezTo>
                <a:cubicBezTo>
                  <a:pt x="556" y="638"/>
                  <a:pt x="558" y="640"/>
                  <a:pt x="558" y="640"/>
                </a:cubicBezTo>
                <a:cubicBezTo>
                  <a:pt x="558" y="640"/>
                  <a:pt x="557" y="642"/>
                  <a:pt x="557" y="642"/>
                </a:cubicBezTo>
                <a:cubicBezTo>
                  <a:pt x="557" y="642"/>
                  <a:pt x="557" y="642"/>
                  <a:pt x="557" y="642"/>
                </a:cubicBezTo>
                <a:cubicBezTo>
                  <a:pt x="558" y="642"/>
                  <a:pt x="558" y="643"/>
                  <a:pt x="559" y="644"/>
                </a:cubicBezTo>
                <a:cubicBezTo>
                  <a:pt x="559" y="643"/>
                  <a:pt x="559" y="643"/>
                  <a:pt x="559" y="643"/>
                </a:cubicBezTo>
                <a:cubicBezTo>
                  <a:pt x="560" y="642"/>
                  <a:pt x="561" y="644"/>
                  <a:pt x="560" y="644"/>
                </a:cubicBezTo>
                <a:cubicBezTo>
                  <a:pt x="559" y="644"/>
                  <a:pt x="559" y="644"/>
                  <a:pt x="559" y="644"/>
                </a:cubicBezTo>
                <a:cubicBezTo>
                  <a:pt x="560" y="645"/>
                  <a:pt x="561" y="646"/>
                  <a:pt x="562" y="645"/>
                </a:cubicBezTo>
                <a:cubicBezTo>
                  <a:pt x="563" y="645"/>
                  <a:pt x="561" y="642"/>
                  <a:pt x="564" y="642"/>
                </a:cubicBezTo>
                <a:cubicBezTo>
                  <a:pt x="562" y="645"/>
                  <a:pt x="564" y="643"/>
                  <a:pt x="567" y="645"/>
                </a:cubicBezTo>
                <a:cubicBezTo>
                  <a:pt x="570" y="646"/>
                  <a:pt x="569" y="646"/>
                  <a:pt x="567" y="643"/>
                </a:cubicBezTo>
                <a:cubicBezTo>
                  <a:pt x="566" y="641"/>
                  <a:pt x="568" y="642"/>
                  <a:pt x="566" y="640"/>
                </a:cubicBezTo>
                <a:cubicBezTo>
                  <a:pt x="566" y="639"/>
                  <a:pt x="564" y="638"/>
                  <a:pt x="562" y="638"/>
                </a:cubicBezTo>
                <a:cubicBezTo>
                  <a:pt x="562" y="638"/>
                  <a:pt x="562" y="638"/>
                  <a:pt x="562" y="638"/>
                </a:cubicBezTo>
                <a:cubicBezTo>
                  <a:pt x="561" y="638"/>
                  <a:pt x="560" y="638"/>
                  <a:pt x="560" y="638"/>
                </a:cubicBezTo>
                <a:cubicBezTo>
                  <a:pt x="562" y="637"/>
                  <a:pt x="558" y="640"/>
                  <a:pt x="558" y="639"/>
                </a:cubicBezTo>
                <a:cubicBezTo>
                  <a:pt x="558" y="638"/>
                  <a:pt x="558" y="638"/>
                  <a:pt x="558" y="637"/>
                </a:cubicBezTo>
                <a:cubicBezTo>
                  <a:pt x="557" y="637"/>
                  <a:pt x="554" y="634"/>
                  <a:pt x="554" y="634"/>
                </a:cubicBezTo>
                <a:cubicBezTo>
                  <a:pt x="551" y="632"/>
                  <a:pt x="551" y="631"/>
                  <a:pt x="554" y="633"/>
                </a:cubicBezTo>
                <a:cubicBezTo>
                  <a:pt x="555" y="634"/>
                  <a:pt x="557" y="635"/>
                  <a:pt x="558" y="636"/>
                </a:cubicBezTo>
                <a:cubicBezTo>
                  <a:pt x="558" y="634"/>
                  <a:pt x="556" y="635"/>
                  <a:pt x="555" y="634"/>
                </a:cubicBezTo>
                <a:cubicBezTo>
                  <a:pt x="555" y="633"/>
                  <a:pt x="554" y="632"/>
                  <a:pt x="554" y="630"/>
                </a:cubicBezTo>
                <a:cubicBezTo>
                  <a:pt x="554" y="630"/>
                  <a:pt x="553" y="629"/>
                  <a:pt x="553" y="629"/>
                </a:cubicBezTo>
                <a:cubicBezTo>
                  <a:pt x="553" y="629"/>
                  <a:pt x="553" y="629"/>
                  <a:pt x="553" y="628"/>
                </a:cubicBezTo>
                <a:cubicBezTo>
                  <a:pt x="553" y="628"/>
                  <a:pt x="553" y="628"/>
                  <a:pt x="553" y="628"/>
                </a:cubicBezTo>
                <a:cubicBezTo>
                  <a:pt x="551" y="629"/>
                  <a:pt x="552" y="625"/>
                  <a:pt x="553" y="626"/>
                </a:cubicBezTo>
                <a:cubicBezTo>
                  <a:pt x="553" y="626"/>
                  <a:pt x="553" y="625"/>
                  <a:pt x="553" y="625"/>
                </a:cubicBezTo>
                <a:cubicBezTo>
                  <a:pt x="554" y="625"/>
                  <a:pt x="554" y="625"/>
                  <a:pt x="554" y="625"/>
                </a:cubicBezTo>
                <a:cubicBezTo>
                  <a:pt x="554" y="625"/>
                  <a:pt x="554" y="625"/>
                  <a:pt x="554" y="625"/>
                </a:cubicBezTo>
                <a:cubicBezTo>
                  <a:pt x="554" y="625"/>
                  <a:pt x="557" y="625"/>
                  <a:pt x="559" y="624"/>
                </a:cubicBezTo>
                <a:cubicBezTo>
                  <a:pt x="558" y="624"/>
                  <a:pt x="559" y="623"/>
                  <a:pt x="559" y="623"/>
                </a:cubicBezTo>
                <a:cubicBezTo>
                  <a:pt x="559" y="623"/>
                  <a:pt x="560" y="623"/>
                  <a:pt x="560" y="623"/>
                </a:cubicBezTo>
                <a:cubicBezTo>
                  <a:pt x="560" y="623"/>
                  <a:pt x="560" y="622"/>
                  <a:pt x="559" y="621"/>
                </a:cubicBezTo>
                <a:cubicBezTo>
                  <a:pt x="559" y="621"/>
                  <a:pt x="559" y="621"/>
                  <a:pt x="558" y="621"/>
                </a:cubicBezTo>
                <a:cubicBezTo>
                  <a:pt x="559" y="620"/>
                  <a:pt x="561" y="613"/>
                  <a:pt x="557" y="616"/>
                </a:cubicBezTo>
                <a:cubicBezTo>
                  <a:pt x="557" y="616"/>
                  <a:pt x="558" y="617"/>
                  <a:pt x="558" y="617"/>
                </a:cubicBezTo>
                <a:cubicBezTo>
                  <a:pt x="558" y="617"/>
                  <a:pt x="557" y="617"/>
                  <a:pt x="557" y="617"/>
                </a:cubicBezTo>
                <a:cubicBezTo>
                  <a:pt x="556" y="618"/>
                  <a:pt x="558" y="620"/>
                  <a:pt x="557" y="621"/>
                </a:cubicBezTo>
                <a:cubicBezTo>
                  <a:pt x="557" y="619"/>
                  <a:pt x="553" y="620"/>
                  <a:pt x="553" y="618"/>
                </a:cubicBezTo>
                <a:cubicBezTo>
                  <a:pt x="553" y="616"/>
                  <a:pt x="557" y="615"/>
                  <a:pt x="558" y="613"/>
                </a:cubicBezTo>
                <a:cubicBezTo>
                  <a:pt x="559" y="611"/>
                  <a:pt x="557" y="609"/>
                  <a:pt x="555" y="607"/>
                </a:cubicBezTo>
                <a:cubicBezTo>
                  <a:pt x="555" y="608"/>
                  <a:pt x="555" y="610"/>
                  <a:pt x="554" y="611"/>
                </a:cubicBezTo>
                <a:cubicBezTo>
                  <a:pt x="554" y="612"/>
                  <a:pt x="555" y="613"/>
                  <a:pt x="552" y="614"/>
                </a:cubicBezTo>
                <a:cubicBezTo>
                  <a:pt x="550" y="614"/>
                  <a:pt x="546" y="617"/>
                  <a:pt x="545" y="614"/>
                </a:cubicBezTo>
                <a:cubicBezTo>
                  <a:pt x="543" y="610"/>
                  <a:pt x="541" y="602"/>
                  <a:pt x="536" y="600"/>
                </a:cubicBezTo>
                <a:cubicBezTo>
                  <a:pt x="539" y="606"/>
                  <a:pt x="533" y="604"/>
                  <a:pt x="534" y="599"/>
                </a:cubicBezTo>
                <a:cubicBezTo>
                  <a:pt x="535" y="601"/>
                  <a:pt x="535" y="598"/>
                  <a:pt x="536" y="597"/>
                </a:cubicBezTo>
                <a:cubicBezTo>
                  <a:pt x="537" y="597"/>
                  <a:pt x="537" y="598"/>
                  <a:pt x="537" y="598"/>
                </a:cubicBezTo>
                <a:cubicBezTo>
                  <a:pt x="537" y="598"/>
                  <a:pt x="537" y="598"/>
                  <a:pt x="537" y="598"/>
                </a:cubicBezTo>
                <a:cubicBezTo>
                  <a:pt x="539" y="596"/>
                  <a:pt x="541" y="601"/>
                  <a:pt x="538" y="599"/>
                </a:cubicBezTo>
                <a:cubicBezTo>
                  <a:pt x="538" y="599"/>
                  <a:pt x="538" y="599"/>
                  <a:pt x="538" y="599"/>
                </a:cubicBezTo>
                <a:cubicBezTo>
                  <a:pt x="539" y="600"/>
                  <a:pt x="539" y="600"/>
                  <a:pt x="540" y="601"/>
                </a:cubicBezTo>
                <a:cubicBezTo>
                  <a:pt x="542" y="603"/>
                  <a:pt x="546" y="604"/>
                  <a:pt x="549" y="604"/>
                </a:cubicBezTo>
                <a:cubicBezTo>
                  <a:pt x="550" y="603"/>
                  <a:pt x="550" y="603"/>
                  <a:pt x="551" y="603"/>
                </a:cubicBezTo>
                <a:cubicBezTo>
                  <a:pt x="551" y="603"/>
                  <a:pt x="552" y="603"/>
                  <a:pt x="552" y="603"/>
                </a:cubicBezTo>
                <a:cubicBezTo>
                  <a:pt x="553" y="602"/>
                  <a:pt x="553" y="601"/>
                  <a:pt x="550" y="598"/>
                </a:cubicBezTo>
                <a:cubicBezTo>
                  <a:pt x="557" y="600"/>
                  <a:pt x="550" y="591"/>
                  <a:pt x="548" y="592"/>
                </a:cubicBezTo>
                <a:cubicBezTo>
                  <a:pt x="548" y="592"/>
                  <a:pt x="547" y="594"/>
                  <a:pt x="546" y="594"/>
                </a:cubicBezTo>
                <a:cubicBezTo>
                  <a:pt x="545" y="594"/>
                  <a:pt x="543" y="592"/>
                  <a:pt x="542" y="591"/>
                </a:cubicBezTo>
                <a:cubicBezTo>
                  <a:pt x="541" y="590"/>
                  <a:pt x="536" y="584"/>
                  <a:pt x="540" y="587"/>
                </a:cubicBezTo>
                <a:cubicBezTo>
                  <a:pt x="542" y="588"/>
                  <a:pt x="543" y="589"/>
                  <a:pt x="545" y="589"/>
                </a:cubicBezTo>
                <a:cubicBezTo>
                  <a:pt x="545" y="589"/>
                  <a:pt x="544" y="588"/>
                  <a:pt x="545" y="589"/>
                </a:cubicBezTo>
                <a:cubicBezTo>
                  <a:pt x="545" y="589"/>
                  <a:pt x="545" y="589"/>
                  <a:pt x="545" y="589"/>
                </a:cubicBezTo>
                <a:cubicBezTo>
                  <a:pt x="546" y="590"/>
                  <a:pt x="547" y="590"/>
                  <a:pt x="549" y="591"/>
                </a:cubicBezTo>
                <a:cubicBezTo>
                  <a:pt x="551" y="592"/>
                  <a:pt x="552" y="594"/>
                  <a:pt x="553" y="594"/>
                </a:cubicBezTo>
                <a:cubicBezTo>
                  <a:pt x="553" y="594"/>
                  <a:pt x="553" y="594"/>
                  <a:pt x="554" y="593"/>
                </a:cubicBezTo>
                <a:cubicBezTo>
                  <a:pt x="554" y="593"/>
                  <a:pt x="555" y="593"/>
                  <a:pt x="555" y="593"/>
                </a:cubicBezTo>
                <a:cubicBezTo>
                  <a:pt x="555" y="594"/>
                  <a:pt x="555" y="594"/>
                  <a:pt x="556" y="594"/>
                </a:cubicBezTo>
                <a:cubicBezTo>
                  <a:pt x="556" y="594"/>
                  <a:pt x="556" y="594"/>
                  <a:pt x="556" y="594"/>
                </a:cubicBezTo>
                <a:cubicBezTo>
                  <a:pt x="557" y="591"/>
                  <a:pt x="549" y="589"/>
                  <a:pt x="546" y="588"/>
                </a:cubicBezTo>
                <a:cubicBezTo>
                  <a:pt x="547" y="588"/>
                  <a:pt x="547" y="588"/>
                  <a:pt x="546" y="588"/>
                </a:cubicBezTo>
                <a:cubicBezTo>
                  <a:pt x="546" y="589"/>
                  <a:pt x="545" y="588"/>
                  <a:pt x="546" y="587"/>
                </a:cubicBezTo>
                <a:cubicBezTo>
                  <a:pt x="546" y="587"/>
                  <a:pt x="546" y="587"/>
                  <a:pt x="545" y="587"/>
                </a:cubicBezTo>
                <a:cubicBezTo>
                  <a:pt x="545" y="587"/>
                  <a:pt x="545" y="587"/>
                  <a:pt x="544" y="586"/>
                </a:cubicBezTo>
                <a:cubicBezTo>
                  <a:pt x="544" y="586"/>
                  <a:pt x="544" y="586"/>
                  <a:pt x="544" y="586"/>
                </a:cubicBezTo>
                <a:cubicBezTo>
                  <a:pt x="543" y="586"/>
                  <a:pt x="543" y="586"/>
                  <a:pt x="543" y="586"/>
                </a:cubicBezTo>
                <a:cubicBezTo>
                  <a:pt x="541" y="585"/>
                  <a:pt x="539" y="583"/>
                  <a:pt x="539" y="583"/>
                </a:cubicBezTo>
                <a:cubicBezTo>
                  <a:pt x="538" y="579"/>
                  <a:pt x="551" y="590"/>
                  <a:pt x="548" y="583"/>
                </a:cubicBezTo>
                <a:cubicBezTo>
                  <a:pt x="548" y="582"/>
                  <a:pt x="546" y="576"/>
                  <a:pt x="545" y="576"/>
                </a:cubicBezTo>
                <a:cubicBezTo>
                  <a:pt x="544" y="576"/>
                  <a:pt x="545" y="579"/>
                  <a:pt x="544" y="579"/>
                </a:cubicBezTo>
                <a:cubicBezTo>
                  <a:pt x="543" y="580"/>
                  <a:pt x="540" y="578"/>
                  <a:pt x="540" y="577"/>
                </a:cubicBezTo>
                <a:cubicBezTo>
                  <a:pt x="540" y="575"/>
                  <a:pt x="542" y="576"/>
                  <a:pt x="542" y="575"/>
                </a:cubicBezTo>
                <a:cubicBezTo>
                  <a:pt x="542" y="573"/>
                  <a:pt x="541" y="572"/>
                  <a:pt x="539" y="570"/>
                </a:cubicBezTo>
                <a:cubicBezTo>
                  <a:pt x="539" y="571"/>
                  <a:pt x="539" y="571"/>
                  <a:pt x="539" y="571"/>
                </a:cubicBezTo>
                <a:cubicBezTo>
                  <a:pt x="539" y="571"/>
                  <a:pt x="539" y="570"/>
                  <a:pt x="539" y="570"/>
                </a:cubicBezTo>
                <a:cubicBezTo>
                  <a:pt x="537" y="569"/>
                  <a:pt x="536" y="568"/>
                  <a:pt x="535" y="566"/>
                </a:cubicBezTo>
                <a:cubicBezTo>
                  <a:pt x="533" y="563"/>
                  <a:pt x="530" y="561"/>
                  <a:pt x="530" y="561"/>
                </a:cubicBezTo>
                <a:cubicBezTo>
                  <a:pt x="530" y="560"/>
                  <a:pt x="533" y="559"/>
                  <a:pt x="534" y="558"/>
                </a:cubicBezTo>
                <a:cubicBezTo>
                  <a:pt x="534" y="556"/>
                  <a:pt x="532" y="555"/>
                  <a:pt x="535" y="556"/>
                </a:cubicBezTo>
                <a:cubicBezTo>
                  <a:pt x="537" y="556"/>
                  <a:pt x="535" y="554"/>
                  <a:pt x="537" y="556"/>
                </a:cubicBezTo>
                <a:cubicBezTo>
                  <a:pt x="539" y="556"/>
                  <a:pt x="543" y="561"/>
                  <a:pt x="540" y="563"/>
                </a:cubicBezTo>
                <a:cubicBezTo>
                  <a:pt x="539" y="564"/>
                  <a:pt x="536" y="564"/>
                  <a:pt x="538" y="566"/>
                </a:cubicBezTo>
                <a:cubicBezTo>
                  <a:pt x="539" y="567"/>
                  <a:pt x="541" y="567"/>
                  <a:pt x="542" y="568"/>
                </a:cubicBezTo>
                <a:cubicBezTo>
                  <a:pt x="544" y="570"/>
                  <a:pt x="546" y="575"/>
                  <a:pt x="548" y="577"/>
                </a:cubicBezTo>
                <a:cubicBezTo>
                  <a:pt x="550" y="579"/>
                  <a:pt x="553" y="580"/>
                  <a:pt x="555" y="582"/>
                </a:cubicBezTo>
                <a:cubicBezTo>
                  <a:pt x="556" y="584"/>
                  <a:pt x="557" y="590"/>
                  <a:pt x="559" y="591"/>
                </a:cubicBezTo>
                <a:cubicBezTo>
                  <a:pt x="560" y="591"/>
                  <a:pt x="561" y="591"/>
                  <a:pt x="561" y="590"/>
                </a:cubicBezTo>
                <a:cubicBezTo>
                  <a:pt x="562" y="590"/>
                  <a:pt x="562" y="590"/>
                  <a:pt x="562" y="590"/>
                </a:cubicBezTo>
                <a:cubicBezTo>
                  <a:pt x="562" y="590"/>
                  <a:pt x="562" y="590"/>
                  <a:pt x="562" y="590"/>
                </a:cubicBezTo>
                <a:cubicBezTo>
                  <a:pt x="565" y="589"/>
                  <a:pt x="567" y="585"/>
                  <a:pt x="567" y="582"/>
                </a:cubicBezTo>
                <a:cubicBezTo>
                  <a:pt x="567" y="582"/>
                  <a:pt x="567" y="582"/>
                  <a:pt x="567" y="582"/>
                </a:cubicBezTo>
                <a:cubicBezTo>
                  <a:pt x="566" y="582"/>
                  <a:pt x="565" y="581"/>
                  <a:pt x="565" y="581"/>
                </a:cubicBezTo>
                <a:cubicBezTo>
                  <a:pt x="561" y="578"/>
                  <a:pt x="560" y="569"/>
                  <a:pt x="565" y="567"/>
                </a:cubicBezTo>
                <a:cubicBezTo>
                  <a:pt x="565" y="567"/>
                  <a:pt x="565" y="567"/>
                  <a:pt x="565" y="567"/>
                </a:cubicBezTo>
                <a:cubicBezTo>
                  <a:pt x="565" y="566"/>
                  <a:pt x="565" y="566"/>
                  <a:pt x="565" y="566"/>
                </a:cubicBezTo>
                <a:cubicBezTo>
                  <a:pt x="564" y="565"/>
                  <a:pt x="565" y="566"/>
                  <a:pt x="565" y="567"/>
                </a:cubicBezTo>
                <a:cubicBezTo>
                  <a:pt x="566" y="566"/>
                  <a:pt x="566" y="566"/>
                  <a:pt x="566" y="566"/>
                </a:cubicBezTo>
                <a:cubicBezTo>
                  <a:pt x="566" y="565"/>
                  <a:pt x="566" y="564"/>
                  <a:pt x="565" y="564"/>
                </a:cubicBezTo>
                <a:cubicBezTo>
                  <a:pt x="567" y="563"/>
                  <a:pt x="565" y="561"/>
                  <a:pt x="565" y="559"/>
                </a:cubicBezTo>
                <a:cubicBezTo>
                  <a:pt x="565" y="558"/>
                  <a:pt x="568" y="557"/>
                  <a:pt x="566" y="556"/>
                </a:cubicBezTo>
                <a:cubicBezTo>
                  <a:pt x="570" y="558"/>
                  <a:pt x="566" y="547"/>
                  <a:pt x="564" y="546"/>
                </a:cubicBezTo>
                <a:cubicBezTo>
                  <a:pt x="565" y="547"/>
                  <a:pt x="561" y="552"/>
                  <a:pt x="562" y="552"/>
                </a:cubicBezTo>
                <a:cubicBezTo>
                  <a:pt x="562" y="552"/>
                  <a:pt x="562" y="552"/>
                  <a:pt x="562" y="552"/>
                </a:cubicBezTo>
                <a:cubicBezTo>
                  <a:pt x="562" y="552"/>
                  <a:pt x="562" y="552"/>
                  <a:pt x="562" y="553"/>
                </a:cubicBezTo>
                <a:cubicBezTo>
                  <a:pt x="562" y="553"/>
                  <a:pt x="563" y="554"/>
                  <a:pt x="562" y="554"/>
                </a:cubicBezTo>
                <a:cubicBezTo>
                  <a:pt x="560" y="555"/>
                  <a:pt x="561" y="553"/>
                  <a:pt x="560" y="552"/>
                </a:cubicBezTo>
                <a:cubicBezTo>
                  <a:pt x="560" y="552"/>
                  <a:pt x="560" y="552"/>
                  <a:pt x="559" y="552"/>
                </a:cubicBezTo>
                <a:cubicBezTo>
                  <a:pt x="559" y="553"/>
                  <a:pt x="558" y="553"/>
                  <a:pt x="557" y="552"/>
                </a:cubicBezTo>
                <a:cubicBezTo>
                  <a:pt x="557" y="552"/>
                  <a:pt x="557" y="552"/>
                  <a:pt x="557" y="552"/>
                </a:cubicBezTo>
                <a:cubicBezTo>
                  <a:pt x="556" y="552"/>
                  <a:pt x="555" y="552"/>
                  <a:pt x="555" y="552"/>
                </a:cubicBezTo>
                <a:cubicBezTo>
                  <a:pt x="555" y="552"/>
                  <a:pt x="553" y="548"/>
                  <a:pt x="553" y="547"/>
                </a:cubicBezTo>
                <a:cubicBezTo>
                  <a:pt x="552" y="547"/>
                  <a:pt x="548" y="543"/>
                  <a:pt x="549" y="542"/>
                </a:cubicBezTo>
                <a:cubicBezTo>
                  <a:pt x="551" y="540"/>
                  <a:pt x="551" y="543"/>
                  <a:pt x="552" y="543"/>
                </a:cubicBezTo>
                <a:cubicBezTo>
                  <a:pt x="553" y="543"/>
                  <a:pt x="553" y="540"/>
                  <a:pt x="554" y="540"/>
                </a:cubicBezTo>
                <a:cubicBezTo>
                  <a:pt x="554" y="539"/>
                  <a:pt x="556" y="541"/>
                  <a:pt x="557" y="540"/>
                </a:cubicBezTo>
                <a:cubicBezTo>
                  <a:pt x="556" y="540"/>
                  <a:pt x="556" y="537"/>
                  <a:pt x="558" y="537"/>
                </a:cubicBezTo>
                <a:cubicBezTo>
                  <a:pt x="560" y="537"/>
                  <a:pt x="558" y="539"/>
                  <a:pt x="559" y="540"/>
                </a:cubicBezTo>
                <a:cubicBezTo>
                  <a:pt x="559" y="541"/>
                  <a:pt x="561" y="540"/>
                  <a:pt x="561" y="540"/>
                </a:cubicBezTo>
                <a:cubicBezTo>
                  <a:pt x="562" y="540"/>
                  <a:pt x="561" y="542"/>
                  <a:pt x="563" y="543"/>
                </a:cubicBezTo>
                <a:cubicBezTo>
                  <a:pt x="563" y="543"/>
                  <a:pt x="565" y="543"/>
                  <a:pt x="565" y="543"/>
                </a:cubicBezTo>
                <a:cubicBezTo>
                  <a:pt x="567" y="546"/>
                  <a:pt x="567" y="553"/>
                  <a:pt x="572" y="553"/>
                </a:cubicBezTo>
                <a:cubicBezTo>
                  <a:pt x="573" y="554"/>
                  <a:pt x="573" y="552"/>
                  <a:pt x="573" y="551"/>
                </a:cubicBezTo>
                <a:cubicBezTo>
                  <a:pt x="575" y="553"/>
                  <a:pt x="582" y="559"/>
                  <a:pt x="581" y="564"/>
                </a:cubicBezTo>
                <a:cubicBezTo>
                  <a:pt x="581" y="564"/>
                  <a:pt x="579" y="567"/>
                  <a:pt x="579" y="567"/>
                </a:cubicBezTo>
                <a:cubicBezTo>
                  <a:pt x="578" y="568"/>
                  <a:pt x="577" y="568"/>
                  <a:pt x="576" y="568"/>
                </a:cubicBezTo>
                <a:cubicBezTo>
                  <a:pt x="576" y="569"/>
                  <a:pt x="575" y="569"/>
                  <a:pt x="575" y="569"/>
                </a:cubicBezTo>
                <a:cubicBezTo>
                  <a:pt x="575" y="569"/>
                  <a:pt x="575" y="569"/>
                  <a:pt x="575" y="569"/>
                </a:cubicBezTo>
                <a:cubicBezTo>
                  <a:pt x="574" y="569"/>
                  <a:pt x="574" y="569"/>
                  <a:pt x="573" y="569"/>
                </a:cubicBezTo>
                <a:cubicBezTo>
                  <a:pt x="574" y="571"/>
                  <a:pt x="575" y="573"/>
                  <a:pt x="575" y="574"/>
                </a:cubicBezTo>
                <a:cubicBezTo>
                  <a:pt x="577" y="574"/>
                  <a:pt x="576" y="572"/>
                  <a:pt x="576" y="571"/>
                </a:cubicBezTo>
                <a:cubicBezTo>
                  <a:pt x="577" y="572"/>
                  <a:pt x="577" y="572"/>
                  <a:pt x="577" y="572"/>
                </a:cubicBezTo>
                <a:cubicBezTo>
                  <a:pt x="578" y="571"/>
                  <a:pt x="578" y="570"/>
                  <a:pt x="579" y="570"/>
                </a:cubicBezTo>
                <a:cubicBezTo>
                  <a:pt x="580" y="570"/>
                  <a:pt x="579" y="572"/>
                  <a:pt x="580" y="572"/>
                </a:cubicBezTo>
                <a:cubicBezTo>
                  <a:pt x="581" y="573"/>
                  <a:pt x="580" y="571"/>
                  <a:pt x="582" y="573"/>
                </a:cubicBezTo>
                <a:cubicBezTo>
                  <a:pt x="583" y="575"/>
                  <a:pt x="581" y="577"/>
                  <a:pt x="582" y="579"/>
                </a:cubicBezTo>
                <a:cubicBezTo>
                  <a:pt x="582" y="579"/>
                  <a:pt x="582" y="579"/>
                  <a:pt x="582" y="579"/>
                </a:cubicBezTo>
                <a:cubicBezTo>
                  <a:pt x="583" y="579"/>
                  <a:pt x="584" y="578"/>
                  <a:pt x="584" y="578"/>
                </a:cubicBezTo>
                <a:cubicBezTo>
                  <a:pt x="584" y="578"/>
                  <a:pt x="585" y="580"/>
                  <a:pt x="587" y="580"/>
                </a:cubicBezTo>
                <a:cubicBezTo>
                  <a:pt x="588" y="580"/>
                  <a:pt x="587" y="579"/>
                  <a:pt x="587" y="579"/>
                </a:cubicBezTo>
                <a:cubicBezTo>
                  <a:pt x="588" y="579"/>
                  <a:pt x="592" y="580"/>
                  <a:pt x="592" y="579"/>
                </a:cubicBezTo>
                <a:cubicBezTo>
                  <a:pt x="593" y="581"/>
                  <a:pt x="591" y="582"/>
                  <a:pt x="591" y="584"/>
                </a:cubicBezTo>
                <a:cubicBezTo>
                  <a:pt x="591" y="584"/>
                  <a:pt x="592" y="588"/>
                  <a:pt x="592" y="588"/>
                </a:cubicBezTo>
                <a:cubicBezTo>
                  <a:pt x="592" y="588"/>
                  <a:pt x="594" y="587"/>
                  <a:pt x="595" y="588"/>
                </a:cubicBezTo>
                <a:cubicBezTo>
                  <a:pt x="596" y="589"/>
                  <a:pt x="596" y="591"/>
                  <a:pt x="598" y="592"/>
                </a:cubicBezTo>
                <a:cubicBezTo>
                  <a:pt x="599" y="592"/>
                  <a:pt x="601" y="596"/>
                  <a:pt x="601" y="598"/>
                </a:cubicBezTo>
                <a:cubicBezTo>
                  <a:pt x="599" y="602"/>
                  <a:pt x="593" y="597"/>
                  <a:pt x="592" y="604"/>
                </a:cubicBezTo>
                <a:cubicBezTo>
                  <a:pt x="587" y="602"/>
                  <a:pt x="595" y="611"/>
                  <a:pt x="594" y="612"/>
                </a:cubicBezTo>
                <a:cubicBezTo>
                  <a:pt x="594" y="612"/>
                  <a:pt x="594" y="612"/>
                  <a:pt x="594" y="612"/>
                </a:cubicBezTo>
                <a:cubicBezTo>
                  <a:pt x="595" y="612"/>
                  <a:pt x="595" y="613"/>
                  <a:pt x="594" y="613"/>
                </a:cubicBezTo>
                <a:cubicBezTo>
                  <a:pt x="594" y="613"/>
                  <a:pt x="594" y="613"/>
                  <a:pt x="594" y="613"/>
                </a:cubicBezTo>
                <a:cubicBezTo>
                  <a:pt x="592" y="613"/>
                  <a:pt x="593" y="612"/>
                  <a:pt x="594" y="612"/>
                </a:cubicBezTo>
                <a:cubicBezTo>
                  <a:pt x="592" y="612"/>
                  <a:pt x="589" y="606"/>
                  <a:pt x="589" y="611"/>
                </a:cubicBezTo>
                <a:cubicBezTo>
                  <a:pt x="589" y="613"/>
                  <a:pt x="592" y="612"/>
                  <a:pt x="593" y="613"/>
                </a:cubicBezTo>
                <a:cubicBezTo>
                  <a:pt x="593" y="615"/>
                  <a:pt x="591" y="617"/>
                  <a:pt x="591" y="619"/>
                </a:cubicBezTo>
                <a:cubicBezTo>
                  <a:pt x="591" y="619"/>
                  <a:pt x="593" y="622"/>
                  <a:pt x="594" y="622"/>
                </a:cubicBezTo>
                <a:cubicBezTo>
                  <a:pt x="596" y="622"/>
                  <a:pt x="596" y="620"/>
                  <a:pt x="598" y="622"/>
                </a:cubicBezTo>
                <a:cubicBezTo>
                  <a:pt x="599" y="622"/>
                  <a:pt x="597" y="621"/>
                  <a:pt x="598" y="621"/>
                </a:cubicBezTo>
                <a:cubicBezTo>
                  <a:pt x="598" y="623"/>
                  <a:pt x="600" y="622"/>
                  <a:pt x="599" y="620"/>
                </a:cubicBezTo>
                <a:cubicBezTo>
                  <a:pt x="601" y="623"/>
                  <a:pt x="600" y="626"/>
                  <a:pt x="603" y="625"/>
                </a:cubicBezTo>
                <a:cubicBezTo>
                  <a:pt x="603" y="625"/>
                  <a:pt x="608" y="621"/>
                  <a:pt x="608" y="621"/>
                </a:cubicBezTo>
                <a:cubicBezTo>
                  <a:pt x="608" y="617"/>
                  <a:pt x="604" y="622"/>
                  <a:pt x="601" y="620"/>
                </a:cubicBezTo>
                <a:cubicBezTo>
                  <a:pt x="599" y="618"/>
                  <a:pt x="606" y="619"/>
                  <a:pt x="607" y="618"/>
                </a:cubicBezTo>
                <a:cubicBezTo>
                  <a:pt x="608" y="617"/>
                  <a:pt x="606" y="617"/>
                  <a:pt x="607" y="616"/>
                </a:cubicBezTo>
                <a:cubicBezTo>
                  <a:pt x="607" y="615"/>
                  <a:pt x="610" y="614"/>
                  <a:pt x="609" y="613"/>
                </a:cubicBezTo>
                <a:cubicBezTo>
                  <a:pt x="608" y="613"/>
                  <a:pt x="607" y="616"/>
                  <a:pt x="606" y="614"/>
                </a:cubicBezTo>
                <a:cubicBezTo>
                  <a:pt x="605" y="613"/>
                  <a:pt x="608" y="611"/>
                  <a:pt x="608" y="612"/>
                </a:cubicBezTo>
                <a:cubicBezTo>
                  <a:pt x="609" y="610"/>
                  <a:pt x="609" y="610"/>
                  <a:pt x="610" y="609"/>
                </a:cubicBezTo>
                <a:cubicBezTo>
                  <a:pt x="610" y="609"/>
                  <a:pt x="609" y="608"/>
                  <a:pt x="609" y="608"/>
                </a:cubicBezTo>
                <a:cubicBezTo>
                  <a:pt x="610" y="608"/>
                  <a:pt x="611" y="609"/>
                  <a:pt x="611" y="609"/>
                </a:cubicBezTo>
                <a:cubicBezTo>
                  <a:pt x="613" y="610"/>
                  <a:pt x="615" y="611"/>
                  <a:pt x="616" y="612"/>
                </a:cubicBezTo>
                <a:cubicBezTo>
                  <a:pt x="616" y="612"/>
                  <a:pt x="616" y="612"/>
                  <a:pt x="616" y="612"/>
                </a:cubicBezTo>
                <a:cubicBezTo>
                  <a:pt x="617" y="611"/>
                  <a:pt x="616" y="611"/>
                  <a:pt x="616" y="610"/>
                </a:cubicBezTo>
                <a:cubicBezTo>
                  <a:pt x="616" y="610"/>
                  <a:pt x="617" y="609"/>
                  <a:pt x="617" y="609"/>
                </a:cubicBezTo>
                <a:cubicBezTo>
                  <a:pt x="615" y="608"/>
                  <a:pt x="613" y="606"/>
                  <a:pt x="613" y="605"/>
                </a:cubicBezTo>
                <a:cubicBezTo>
                  <a:pt x="613" y="603"/>
                  <a:pt x="616" y="603"/>
                  <a:pt x="614" y="601"/>
                </a:cubicBezTo>
                <a:cubicBezTo>
                  <a:pt x="613" y="601"/>
                  <a:pt x="610" y="602"/>
                  <a:pt x="610" y="602"/>
                </a:cubicBezTo>
                <a:cubicBezTo>
                  <a:pt x="610" y="602"/>
                  <a:pt x="608" y="602"/>
                  <a:pt x="608" y="602"/>
                </a:cubicBezTo>
                <a:cubicBezTo>
                  <a:pt x="607" y="603"/>
                  <a:pt x="608" y="605"/>
                  <a:pt x="608" y="606"/>
                </a:cubicBezTo>
                <a:cubicBezTo>
                  <a:pt x="606" y="607"/>
                  <a:pt x="605" y="604"/>
                  <a:pt x="604" y="603"/>
                </a:cubicBezTo>
                <a:cubicBezTo>
                  <a:pt x="608" y="604"/>
                  <a:pt x="605" y="600"/>
                  <a:pt x="605" y="598"/>
                </a:cubicBezTo>
                <a:cubicBezTo>
                  <a:pt x="604" y="597"/>
                  <a:pt x="605" y="595"/>
                  <a:pt x="605" y="594"/>
                </a:cubicBezTo>
                <a:cubicBezTo>
                  <a:pt x="604" y="593"/>
                  <a:pt x="602" y="594"/>
                  <a:pt x="602" y="592"/>
                </a:cubicBezTo>
                <a:cubicBezTo>
                  <a:pt x="603" y="591"/>
                  <a:pt x="604" y="592"/>
                  <a:pt x="604" y="592"/>
                </a:cubicBezTo>
                <a:cubicBezTo>
                  <a:pt x="605" y="592"/>
                  <a:pt x="603" y="589"/>
                  <a:pt x="605" y="588"/>
                </a:cubicBezTo>
                <a:cubicBezTo>
                  <a:pt x="605" y="588"/>
                  <a:pt x="607" y="589"/>
                  <a:pt x="608" y="590"/>
                </a:cubicBezTo>
                <a:cubicBezTo>
                  <a:pt x="609" y="590"/>
                  <a:pt x="610" y="590"/>
                  <a:pt x="611" y="591"/>
                </a:cubicBezTo>
                <a:cubicBezTo>
                  <a:pt x="611" y="588"/>
                  <a:pt x="613" y="584"/>
                  <a:pt x="614" y="584"/>
                </a:cubicBezTo>
                <a:cubicBezTo>
                  <a:pt x="615" y="582"/>
                  <a:pt x="617" y="585"/>
                  <a:pt x="617" y="582"/>
                </a:cubicBezTo>
                <a:cubicBezTo>
                  <a:pt x="618" y="585"/>
                  <a:pt x="621" y="582"/>
                  <a:pt x="622" y="582"/>
                </a:cubicBezTo>
                <a:cubicBezTo>
                  <a:pt x="623" y="582"/>
                  <a:pt x="622" y="584"/>
                  <a:pt x="623" y="584"/>
                </a:cubicBezTo>
                <a:cubicBezTo>
                  <a:pt x="623" y="585"/>
                  <a:pt x="624" y="584"/>
                  <a:pt x="625" y="585"/>
                </a:cubicBezTo>
                <a:cubicBezTo>
                  <a:pt x="625" y="585"/>
                  <a:pt x="625" y="585"/>
                  <a:pt x="625" y="585"/>
                </a:cubicBezTo>
                <a:cubicBezTo>
                  <a:pt x="626" y="585"/>
                  <a:pt x="628" y="585"/>
                  <a:pt x="629" y="585"/>
                </a:cubicBezTo>
                <a:cubicBezTo>
                  <a:pt x="629" y="585"/>
                  <a:pt x="629" y="584"/>
                  <a:pt x="630" y="584"/>
                </a:cubicBezTo>
                <a:cubicBezTo>
                  <a:pt x="629" y="584"/>
                  <a:pt x="628" y="584"/>
                  <a:pt x="628" y="584"/>
                </a:cubicBezTo>
                <a:cubicBezTo>
                  <a:pt x="627" y="583"/>
                  <a:pt x="626" y="583"/>
                  <a:pt x="626" y="582"/>
                </a:cubicBezTo>
                <a:cubicBezTo>
                  <a:pt x="626" y="581"/>
                  <a:pt x="625" y="581"/>
                  <a:pt x="625" y="580"/>
                </a:cubicBezTo>
                <a:cubicBezTo>
                  <a:pt x="625" y="580"/>
                  <a:pt x="625" y="580"/>
                  <a:pt x="624" y="580"/>
                </a:cubicBezTo>
                <a:cubicBezTo>
                  <a:pt x="624" y="580"/>
                  <a:pt x="624" y="579"/>
                  <a:pt x="624" y="579"/>
                </a:cubicBezTo>
                <a:cubicBezTo>
                  <a:pt x="624" y="577"/>
                  <a:pt x="624" y="575"/>
                  <a:pt x="622" y="574"/>
                </a:cubicBezTo>
                <a:cubicBezTo>
                  <a:pt x="624" y="576"/>
                  <a:pt x="625" y="573"/>
                  <a:pt x="625" y="573"/>
                </a:cubicBezTo>
                <a:cubicBezTo>
                  <a:pt x="625" y="573"/>
                  <a:pt x="625" y="573"/>
                  <a:pt x="625" y="572"/>
                </a:cubicBezTo>
                <a:cubicBezTo>
                  <a:pt x="625" y="572"/>
                  <a:pt x="625" y="572"/>
                  <a:pt x="625" y="572"/>
                </a:cubicBezTo>
                <a:cubicBezTo>
                  <a:pt x="625" y="572"/>
                  <a:pt x="625" y="573"/>
                  <a:pt x="625" y="573"/>
                </a:cubicBezTo>
                <a:cubicBezTo>
                  <a:pt x="623" y="574"/>
                  <a:pt x="619" y="571"/>
                  <a:pt x="619" y="570"/>
                </a:cubicBezTo>
                <a:cubicBezTo>
                  <a:pt x="619" y="569"/>
                  <a:pt x="619" y="570"/>
                  <a:pt x="620" y="569"/>
                </a:cubicBezTo>
                <a:cubicBezTo>
                  <a:pt x="620" y="567"/>
                  <a:pt x="618" y="565"/>
                  <a:pt x="620" y="562"/>
                </a:cubicBezTo>
                <a:cubicBezTo>
                  <a:pt x="621" y="563"/>
                  <a:pt x="620" y="565"/>
                  <a:pt x="621" y="566"/>
                </a:cubicBezTo>
                <a:cubicBezTo>
                  <a:pt x="621" y="567"/>
                  <a:pt x="622" y="565"/>
                  <a:pt x="622" y="565"/>
                </a:cubicBezTo>
                <a:cubicBezTo>
                  <a:pt x="624" y="565"/>
                  <a:pt x="627" y="568"/>
                  <a:pt x="626" y="571"/>
                </a:cubicBezTo>
                <a:cubicBezTo>
                  <a:pt x="627" y="572"/>
                  <a:pt x="628" y="572"/>
                  <a:pt x="628" y="573"/>
                </a:cubicBezTo>
                <a:cubicBezTo>
                  <a:pt x="629" y="573"/>
                  <a:pt x="629" y="572"/>
                  <a:pt x="629" y="572"/>
                </a:cubicBezTo>
                <a:cubicBezTo>
                  <a:pt x="628" y="570"/>
                  <a:pt x="628" y="568"/>
                  <a:pt x="627" y="566"/>
                </a:cubicBezTo>
                <a:cubicBezTo>
                  <a:pt x="626" y="565"/>
                  <a:pt x="625" y="565"/>
                  <a:pt x="624" y="565"/>
                </a:cubicBezTo>
                <a:cubicBezTo>
                  <a:pt x="624" y="564"/>
                  <a:pt x="624" y="563"/>
                  <a:pt x="623" y="563"/>
                </a:cubicBezTo>
                <a:cubicBezTo>
                  <a:pt x="622" y="562"/>
                  <a:pt x="622" y="564"/>
                  <a:pt x="621" y="563"/>
                </a:cubicBezTo>
                <a:cubicBezTo>
                  <a:pt x="620" y="562"/>
                  <a:pt x="621" y="561"/>
                  <a:pt x="621" y="561"/>
                </a:cubicBezTo>
                <a:cubicBezTo>
                  <a:pt x="622" y="560"/>
                  <a:pt x="624" y="562"/>
                  <a:pt x="625" y="562"/>
                </a:cubicBezTo>
                <a:cubicBezTo>
                  <a:pt x="626" y="561"/>
                  <a:pt x="626" y="560"/>
                  <a:pt x="627" y="559"/>
                </a:cubicBezTo>
                <a:cubicBezTo>
                  <a:pt x="628" y="558"/>
                  <a:pt x="630" y="559"/>
                  <a:pt x="629" y="555"/>
                </a:cubicBezTo>
                <a:cubicBezTo>
                  <a:pt x="631" y="560"/>
                  <a:pt x="631" y="555"/>
                  <a:pt x="632" y="554"/>
                </a:cubicBezTo>
                <a:cubicBezTo>
                  <a:pt x="632" y="555"/>
                  <a:pt x="638" y="557"/>
                  <a:pt x="639" y="557"/>
                </a:cubicBezTo>
                <a:cubicBezTo>
                  <a:pt x="640" y="557"/>
                  <a:pt x="641" y="560"/>
                  <a:pt x="643" y="561"/>
                </a:cubicBezTo>
                <a:cubicBezTo>
                  <a:pt x="643" y="560"/>
                  <a:pt x="643" y="560"/>
                  <a:pt x="642" y="560"/>
                </a:cubicBezTo>
                <a:cubicBezTo>
                  <a:pt x="643" y="560"/>
                  <a:pt x="644" y="560"/>
                  <a:pt x="644" y="561"/>
                </a:cubicBezTo>
                <a:cubicBezTo>
                  <a:pt x="644" y="561"/>
                  <a:pt x="644" y="561"/>
                  <a:pt x="645" y="561"/>
                </a:cubicBezTo>
                <a:cubicBezTo>
                  <a:pt x="644" y="561"/>
                  <a:pt x="644" y="561"/>
                  <a:pt x="644" y="560"/>
                </a:cubicBezTo>
                <a:cubicBezTo>
                  <a:pt x="644" y="560"/>
                  <a:pt x="644" y="560"/>
                  <a:pt x="644" y="559"/>
                </a:cubicBezTo>
                <a:cubicBezTo>
                  <a:pt x="644" y="559"/>
                  <a:pt x="644" y="559"/>
                  <a:pt x="644" y="559"/>
                </a:cubicBezTo>
                <a:cubicBezTo>
                  <a:pt x="644" y="559"/>
                  <a:pt x="644" y="559"/>
                  <a:pt x="644" y="559"/>
                </a:cubicBezTo>
                <a:cubicBezTo>
                  <a:pt x="644" y="557"/>
                  <a:pt x="646" y="551"/>
                  <a:pt x="647" y="548"/>
                </a:cubicBezTo>
                <a:cubicBezTo>
                  <a:pt x="646" y="547"/>
                  <a:pt x="646" y="547"/>
                  <a:pt x="646" y="546"/>
                </a:cubicBezTo>
                <a:cubicBezTo>
                  <a:pt x="646" y="545"/>
                  <a:pt x="647" y="546"/>
                  <a:pt x="648" y="546"/>
                </a:cubicBezTo>
                <a:cubicBezTo>
                  <a:pt x="648" y="546"/>
                  <a:pt x="649" y="545"/>
                  <a:pt x="649" y="546"/>
                </a:cubicBezTo>
                <a:cubicBezTo>
                  <a:pt x="650" y="546"/>
                  <a:pt x="650" y="547"/>
                  <a:pt x="650" y="549"/>
                </a:cubicBezTo>
                <a:cubicBezTo>
                  <a:pt x="650" y="548"/>
                  <a:pt x="651" y="548"/>
                  <a:pt x="651" y="548"/>
                </a:cubicBezTo>
                <a:cubicBezTo>
                  <a:pt x="652" y="548"/>
                  <a:pt x="653" y="550"/>
                  <a:pt x="653" y="551"/>
                </a:cubicBezTo>
                <a:cubicBezTo>
                  <a:pt x="654" y="551"/>
                  <a:pt x="655" y="551"/>
                  <a:pt x="655" y="552"/>
                </a:cubicBezTo>
                <a:cubicBezTo>
                  <a:pt x="656" y="553"/>
                  <a:pt x="655" y="554"/>
                  <a:pt x="655" y="555"/>
                </a:cubicBezTo>
                <a:cubicBezTo>
                  <a:pt x="655" y="555"/>
                  <a:pt x="656" y="554"/>
                  <a:pt x="656" y="552"/>
                </a:cubicBezTo>
                <a:cubicBezTo>
                  <a:pt x="656" y="551"/>
                  <a:pt x="654" y="549"/>
                  <a:pt x="654" y="548"/>
                </a:cubicBezTo>
                <a:cubicBezTo>
                  <a:pt x="654" y="548"/>
                  <a:pt x="653" y="548"/>
                  <a:pt x="653" y="548"/>
                </a:cubicBezTo>
                <a:cubicBezTo>
                  <a:pt x="654" y="544"/>
                  <a:pt x="661" y="548"/>
                  <a:pt x="659" y="550"/>
                </a:cubicBezTo>
                <a:cubicBezTo>
                  <a:pt x="659" y="550"/>
                  <a:pt x="657" y="550"/>
                  <a:pt x="657" y="550"/>
                </a:cubicBezTo>
                <a:cubicBezTo>
                  <a:pt x="657" y="551"/>
                  <a:pt x="659" y="555"/>
                  <a:pt x="659" y="557"/>
                </a:cubicBezTo>
                <a:cubicBezTo>
                  <a:pt x="659" y="558"/>
                  <a:pt x="659" y="559"/>
                  <a:pt x="659" y="559"/>
                </a:cubicBezTo>
                <a:cubicBezTo>
                  <a:pt x="660" y="560"/>
                  <a:pt x="662" y="559"/>
                  <a:pt x="663" y="560"/>
                </a:cubicBezTo>
                <a:cubicBezTo>
                  <a:pt x="663" y="560"/>
                  <a:pt x="663" y="561"/>
                  <a:pt x="663" y="561"/>
                </a:cubicBezTo>
                <a:cubicBezTo>
                  <a:pt x="664" y="562"/>
                  <a:pt x="666" y="564"/>
                  <a:pt x="666" y="564"/>
                </a:cubicBezTo>
                <a:cubicBezTo>
                  <a:pt x="667" y="564"/>
                  <a:pt x="667" y="562"/>
                  <a:pt x="666" y="562"/>
                </a:cubicBezTo>
                <a:cubicBezTo>
                  <a:pt x="666" y="562"/>
                  <a:pt x="669" y="561"/>
                  <a:pt x="669" y="563"/>
                </a:cubicBezTo>
                <a:cubicBezTo>
                  <a:pt x="669" y="563"/>
                  <a:pt x="669" y="563"/>
                  <a:pt x="669" y="564"/>
                </a:cubicBezTo>
                <a:cubicBezTo>
                  <a:pt x="670" y="563"/>
                  <a:pt x="670" y="563"/>
                  <a:pt x="671" y="563"/>
                </a:cubicBezTo>
                <a:cubicBezTo>
                  <a:pt x="670" y="562"/>
                  <a:pt x="669" y="562"/>
                  <a:pt x="669" y="561"/>
                </a:cubicBezTo>
                <a:cubicBezTo>
                  <a:pt x="669" y="561"/>
                  <a:pt x="669" y="562"/>
                  <a:pt x="668" y="562"/>
                </a:cubicBezTo>
                <a:cubicBezTo>
                  <a:pt x="668" y="562"/>
                  <a:pt x="667" y="562"/>
                  <a:pt x="667" y="561"/>
                </a:cubicBezTo>
                <a:cubicBezTo>
                  <a:pt x="667" y="561"/>
                  <a:pt x="666" y="560"/>
                  <a:pt x="667" y="559"/>
                </a:cubicBezTo>
                <a:cubicBezTo>
                  <a:pt x="668" y="559"/>
                  <a:pt x="668" y="560"/>
                  <a:pt x="668" y="560"/>
                </a:cubicBezTo>
                <a:cubicBezTo>
                  <a:pt x="668" y="560"/>
                  <a:pt x="668" y="560"/>
                  <a:pt x="668" y="560"/>
                </a:cubicBezTo>
                <a:cubicBezTo>
                  <a:pt x="668" y="560"/>
                  <a:pt x="668" y="560"/>
                  <a:pt x="668" y="560"/>
                </a:cubicBezTo>
                <a:cubicBezTo>
                  <a:pt x="668" y="560"/>
                  <a:pt x="669" y="560"/>
                  <a:pt x="669" y="560"/>
                </a:cubicBezTo>
                <a:cubicBezTo>
                  <a:pt x="668" y="559"/>
                  <a:pt x="669" y="558"/>
                  <a:pt x="671" y="557"/>
                </a:cubicBezTo>
                <a:cubicBezTo>
                  <a:pt x="672" y="557"/>
                  <a:pt x="673" y="558"/>
                  <a:pt x="674" y="559"/>
                </a:cubicBezTo>
                <a:cubicBezTo>
                  <a:pt x="673" y="559"/>
                  <a:pt x="673" y="559"/>
                  <a:pt x="674" y="559"/>
                </a:cubicBezTo>
                <a:cubicBezTo>
                  <a:pt x="674" y="557"/>
                  <a:pt x="674" y="559"/>
                  <a:pt x="675" y="559"/>
                </a:cubicBezTo>
                <a:cubicBezTo>
                  <a:pt x="675" y="558"/>
                  <a:pt x="675" y="558"/>
                  <a:pt x="675" y="557"/>
                </a:cubicBezTo>
                <a:cubicBezTo>
                  <a:pt x="675" y="557"/>
                  <a:pt x="675" y="557"/>
                  <a:pt x="675" y="557"/>
                </a:cubicBezTo>
                <a:cubicBezTo>
                  <a:pt x="675" y="557"/>
                  <a:pt x="675" y="556"/>
                  <a:pt x="675" y="556"/>
                </a:cubicBezTo>
                <a:cubicBezTo>
                  <a:pt x="677" y="554"/>
                  <a:pt x="678" y="556"/>
                  <a:pt x="679" y="557"/>
                </a:cubicBezTo>
                <a:cubicBezTo>
                  <a:pt x="679" y="553"/>
                  <a:pt x="679" y="553"/>
                  <a:pt x="679" y="553"/>
                </a:cubicBezTo>
                <a:cubicBezTo>
                  <a:pt x="679" y="553"/>
                  <a:pt x="678" y="553"/>
                  <a:pt x="677" y="552"/>
                </a:cubicBezTo>
                <a:cubicBezTo>
                  <a:pt x="673" y="549"/>
                  <a:pt x="676" y="544"/>
                  <a:pt x="679" y="544"/>
                </a:cubicBezTo>
                <a:cubicBezTo>
                  <a:pt x="679" y="543"/>
                  <a:pt x="679" y="543"/>
                  <a:pt x="679" y="543"/>
                </a:cubicBezTo>
                <a:cubicBezTo>
                  <a:pt x="679" y="543"/>
                  <a:pt x="679" y="542"/>
                  <a:pt x="679" y="542"/>
                </a:cubicBezTo>
                <a:cubicBezTo>
                  <a:pt x="679" y="542"/>
                  <a:pt x="679" y="543"/>
                  <a:pt x="679" y="543"/>
                </a:cubicBezTo>
                <a:cubicBezTo>
                  <a:pt x="679" y="511"/>
                  <a:pt x="679" y="511"/>
                  <a:pt x="679" y="511"/>
                </a:cubicBezTo>
                <a:cubicBezTo>
                  <a:pt x="678" y="509"/>
                  <a:pt x="677" y="507"/>
                  <a:pt x="677" y="506"/>
                </a:cubicBezTo>
                <a:cubicBezTo>
                  <a:pt x="678" y="507"/>
                  <a:pt x="679" y="508"/>
                  <a:pt x="679" y="509"/>
                </a:cubicBezTo>
                <a:cubicBezTo>
                  <a:pt x="679" y="508"/>
                  <a:pt x="679" y="508"/>
                  <a:pt x="679" y="508"/>
                </a:cubicBezTo>
                <a:cubicBezTo>
                  <a:pt x="679" y="507"/>
                  <a:pt x="678" y="507"/>
                  <a:pt x="679" y="507"/>
                </a:cubicBezTo>
                <a:cubicBezTo>
                  <a:pt x="679" y="423"/>
                  <a:pt x="679" y="423"/>
                  <a:pt x="679" y="423"/>
                </a:cubicBezTo>
                <a:cubicBezTo>
                  <a:pt x="679" y="423"/>
                  <a:pt x="679" y="422"/>
                  <a:pt x="679" y="422"/>
                </a:cubicBezTo>
                <a:cubicBezTo>
                  <a:pt x="679" y="422"/>
                  <a:pt x="679" y="422"/>
                  <a:pt x="679" y="422"/>
                </a:cubicBezTo>
                <a:cubicBezTo>
                  <a:pt x="679" y="196"/>
                  <a:pt x="679" y="196"/>
                  <a:pt x="679" y="196"/>
                </a:cubicBezTo>
                <a:cubicBezTo>
                  <a:pt x="521" y="105"/>
                  <a:pt x="521" y="105"/>
                  <a:pt x="521" y="105"/>
                </a:cubicBezTo>
                <a:cubicBezTo>
                  <a:pt x="520" y="105"/>
                  <a:pt x="517" y="104"/>
                  <a:pt x="516" y="103"/>
                </a:cubicBezTo>
                <a:cubicBezTo>
                  <a:pt x="516" y="103"/>
                  <a:pt x="517" y="102"/>
                  <a:pt x="517" y="102"/>
                </a:cubicBezTo>
                <a:cubicBezTo>
                  <a:pt x="340" y="0"/>
                  <a:pt x="340" y="0"/>
                  <a:pt x="340" y="0"/>
                </a:cubicBezTo>
                <a:cubicBezTo>
                  <a:pt x="329" y="7"/>
                  <a:pt x="329" y="7"/>
                  <a:pt x="329" y="7"/>
                </a:cubicBezTo>
                <a:cubicBezTo>
                  <a:pt x="330" y="7"/>
                  <a:pt x="330" y="7"/>
                  <a:pt x="328" y="7"/>
                </a:cubicBezTo>
                <a:cubicBezTo>
                  <a:pt x="315" y="15"/>
                  <a:pt x="315" y="15"/>
                  <a:pt x="315" y="15"/>
                </a:cubicBezTo>
                <a:cubicBezTo>
                  <a:pt x="315" y="15"/>
                  <a:pt x="315" y="15"/>
                  <a:pt x="315" y="15"/>
                </a:cubicBezTo>
                <a:cubicBezTo>
                  <a:pt x="315" y="15"/>
                  <a:pt x="314" y="15"/>
                  <a:pt x="314" y="15"/>
                </a:cubicBezTo>
                <a:cubicBezTo>
                  <a:pt x="298" y="25"/>
                  <a:pt x="298" y="25"/>
                  <a:pt x="298" y="25"/>
                </a:cubicBezTo>
                <a:cubicBezTo>
                  <a:pt x="299" y="24"/>
                  <a:pt x="301" y="24"/>
                  <a:pt x="301" y="25"/>
                </a:cubicBezTo>
                <a:cubicBezTo>
                  <a:pt x="302" y="27"/>
                  <a:pt x="300" y="27"/>
                  <a:pt x="301" y="28"/>
                </a:cubicBezTo>
                <a:cubicBezTo>
                  <a:pt x="301" y="30"/>
                  <a:pt x="303" y="30"/>
                  <a:pt x="306" y="31"/>
                </a:cubicBezTo>
                <a:cubicBezTo>
                  <a:pt x="305" y="30"/>
                  <a:pt x="305" y="30"/>
                  <a:pt x="305" y="30"/>
                </a:cubicBezTo>
                <a:cubicBezTo>
                  <a:pt x="306" y="30"/>
                  <a:pt x="306" y="30"/>
                  <a:pt x="306" y="31"/>
                </a:cubicBezTo>
                <a:cubicBezTo>
                  <a:pt x="308" y="31"/>
                  <a:pt x="310" y="31"/>
                  <a:pt x="311" y="32"/>
                </a:cubicBezTo>
                <a:cubicBezTo>
                  <a:pt x="314" y="34"/>
                  <a:pt x="318" y="34"/>
                  <a:pt x="318" y="34"/>
                </a:cubicBezTo>
                <a:cubicBezTo>
                  <a:pt x="318" y="35"/>
                  <a:pt x="316" y="37"/>
                  <a:pt x="317" y="39"/>
                </a:cubicBezTo>
                <a:cubicBezTo>
                  <a:pt x="317" y="41"/>
                  <a:pt x="319" y="40"/>
                  <a:pt x="317" y="41"/>
                </a:cubicBezTo>
                <a:cubicBezTo>
                  <a:pt x="315" y="42"/>
                  <a:pt x="318" y="42"/>
                  <a:pt x="315" y="42"/>
                </a:cubicBezTo>
                <a:cubicBezTo>
                  <a:pt x="313" y="42"/>
                  <a:pt x="307" y="41"/>
                  <a:pt x="309" y="37"/>
                </a:cubicBezTo>
                <a:cubicBezTo>
                  <a:pt x="309" y="36"/>
                  <a:pt x="311" y="35"/>
                  <a:pt x="309" y="34"/>
                </a:cubicBezTo>
                <a:cubicBezTo>
                  <a:pt x="308" y="34"/>
                  <a:pt x="306" y="35"/>
                  <a:pt x="305" y="34"/>
                </a:cubicBezTo>
                <a:cubicBezTo>
                  <a:pt x="302" y="33"/>
                  <a:pt x="298" y="30"/>
                  <a:pt x="295" y="29"/>
                </a:cubicBezTo>
                <a:cubicBezTo>
                  <a:pt x="293" y="29"/>
                  <a:pt x="292" y="29"/>
                  <a:pt x="290" y="29"/>
                </a:cubicBezTo>
                <a:cubicBezTo>
                  <a:pt x="280" y="35"/>
                  <a:pt x="280" y="35"/>
                  <a:pt x="280" y="35"/>
                </a:cubicBezTo>
                <a:cubicBezTo>
                  <a:pt x="284" y="37"/>
                  <a:pt x="288" y="43"/>
                  <a:pt x="285" y="47"/>
                </a:cubicBezTo>
                <a:cubicBezTo>
                  <a:pt x="286" y="47"/>
                  <a:pt x="285" y="47"/>
                  <a:pt x="285" y="47"/>
                </a:cubicBezTo>
                <a:cubicBezTo>
                  <a:pt x="285" y="47"/>
                  <a:pt x="285" y="47"/>
                  <a:pt x="285" y="47"/>
                </a:cubicBezTo>
                <a:cubicBezTo>
                  <a:pt x="286" y="48"/>
                  <a:pt x="285" y="47"/>
                  <a:pt x="285" y="47"/>
                </a:cubicBezTo>
                <a:cubicBezTo>
                  <a:pt x="285" y="47"/>
                  <a:pt x="285" y="48"/>
                  <a:pt x="284" y="48"/>
                </a:cubicBezTo>
                <a:cubicBezTo>
                  <a:pt x="285" y="49"/>
                  <a:pt x="286" y="50"/>
                  <a:pt x="286" y="49"/>
                </a:cubicBezTo>
                <a:cubicBezTo>
                  <a:pt x="285" y="51"/>
                  <a:pt x="288" y="52"/>
                  <a:pt x="289" y="53"/>
                </a:cubicBezTo>
                <a:cubicBezTo>
                  <a:pt x="290" y="54"/>
                  <a:pt x="288" y="56"/>
                  <a:pt x="290" y="56"/>
                </a:cubicBezTo>
                <a:cubicBezTo>
                  <a:pt x="285" y="57"/>
                  <a:pt x="295" y="64"/>
                  <a:pt x="296" y="64"/>
                </a:cubicBezTo>
                <a:cubicBezTo>
                  <a:pt x="296" y="64"/>
                  <a:pt x="296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7"/>
                  <a:pt x="295" y="57"/>
                </a:cubicBezTo>
                <a:cubicBezTo>
                  <a:pt x="295" y="57"/>
                  <a:pt x="294" y="56"/>
                  <a:pt x="294" y="56"/>
                </a:cubicBezTo>
                <a:cubicBezTo>
                  <a:pt x="296" y="54"/>
                  <a:pt x="296" y="57"/>
                  <a:pt x="297" y="57"/>
                </a:cubicBezTo>
                <a:cubicBezTo>
                  <a:pt x="297" y="57"/>
                  <a:pt x="297" y="57"/>
                  <a:pt x="297" y="57"/>
                </a:cubicBezTo>
                <a:cubicBezTo>
                  <a:pt x="297" y="56"/>
                  <a:pt x="298" y="55"/>
                  <a:pt x="299" y="55"/>
                </a:cubicBezTo>
                <a:cubicBezTo>
                  <a:pt x="299" y="55"/>
                  <a:pt x="299" y="55"/>
                  <a:pt x="299" y="55"/>
                </a:cubicBezTo>
                <a:cubicBezTo>
                  <a:pt x="300" y="55"/>
                  <a:pt x="301" y="54"/>
                  <a:pt x="302" y="54"/>
                </a:cubicBezTo>
                <a:cubicBezTo>
                  <a:pt x="302" y="54"/>
                  <a:pt x="305" y="57"/>
                  <a:pt x="306" y="57"/>
                </a:cubicBezTo>
                <a:cubicBezTo>
                  <a:pt x="306" y="58"/>
                  <a:pt x="312" y="59"/>
                  <a:pt x="311" y="60"/>
                </a:cubicBezTo>
                <a:cubicBezTo>
                  <a:pt x="311" y="62"/>
                  <a:pt x="309" y="60"/>
                  <a:pt x="308" y="61"/>
                </a:cubicBezTo>
                <a:cubicBezTo>
                  <a:pt x="307" y="61"/>
                  <a:pt x="309" y="63"/>
                  <a:pt x="309" y="64"/>
                </a:cubicBezTo>
                <a:cubicBezTo>
                  <a:pt x="308" y="65"/>
                  <a:pt x="307" y="65"/>
                  <a:pt x="306" y="66"/>
                </a:cubicBezTo>
                <a:cubicBezTo>
                  <a:pt x="306" y="65"/>
                  <a:pt x="308" y="68"/>
                  <a:pt x="306" y="69"/>
                </a:cubicBezTo>
                <a:cubicBezTo>
                  <a:pt x="304" y="70"/>
                  <a:pt x="305" y="67"/>
                  <a:pt x="304" y="67"/>
                </a:cubicBezTo>
                <a:cubicBezTo>
                  <a:pt x="303" y="66"/>
                  <a:pt x="303" y="68"/>
                  <a:pt x="302" y="68"/>
                </a:cubicBezTo>
                <a:cubicBezTo>
                  <a:pt x="301" y="68"/>
                  <a:pt x="301" y="66"/>
                  <a:pt x="299" y="66"/>
                </a:cubicBezTo>
                <a:cubicBezTo>
                  <a:pt x="298" y="66"/>
                  <a:pt x="298" y="67"/>
                  <a:pt x="297" y="67"/>
                </a:cubicBezTo>
                <a:cubicBezTo>
                  <a:pt x="294" y="65"/>
                  <a:pt x="291" y="60"/>
                  <a:pt x="286" y="62"/>
                </a:cubicBezTo>
                <a:cubicBezTo>
                  <a:pt x="285" y="62"/>
                  <a:pt x="286" y="63"/>
                  <a:pt x="287" y="64"/>
                </a:cubicBezTo>
                <a:cubicBezTo>
                  <a:pt x="283" y="64"/>
                  <a:pt x="275" y="63"/>
                  <a:pt x="273" y="57"/>
                </a:cubicBezTo>
                <a:cubicBezTo>
                  <a:pt x="273" y="57"/>
                  <a:pt x="273" y="54"/>
                  <a:pt x="273" y="53"/>
                </a:cubicBezTo>
                <a:cubicBezTo>
                  <a:pt x="273" y="53"/>
                  <a:pt x="274" y="52"/>
                  <a:pt x="275" y="51"/>
                </a:cubicBezTo>
                <a:cubicBezTo>
                  <a:pt x="275" y="51"/>
                  <a:pt x="275" y="50"/>
                  <a:pt x="276" y="50"/>
                </a:cubicBezTo>
                <a:cubicBezTo>
                  <a:pt x="276" y="50"/>
                  <a:pt x="276" y="50"/>
                  <a:pt x="276" y="50"/>
                </a:cubicBezTo>
                <a:cubicBezTo>
                  <a:pt x="276" y="50"/>
                  <a:pt x="276" y="49"/>
                  <a:pt x="277" y="49"/>
                </a:cubicBezTo>
                <a:cubicBezTo>
                  <a:pt x="275" y="48"/>
                  <a:pt x="274" y="46"/>
                  <a:pt x="273" y="45"/>
                </a:cubicBezTo>
                <a:cubicBezTo>
                  <a:pt x="271" y="47"/>
                  <a:pt x="273" y="48"/>
                  <a:pt x="273" y="49"/>
                </a:cubicBezTo>
                <a:cubicBezTo>
                  <a:pt x="273" y="49"/>
                  <a:pt x="272" y="48"/>
                  <a:pt x="272" y="48"/>
                </a:cubicBezTo>
                <a:cubicBezTo>
                  <a:pt x="272" y="49"/>
                  <a:pt x="272" y="50"/>
                  <a:pt x="271" y="51"/>
                </a:cubicBezTo>
                <a:cubicBezTo>
                  <a:pt x="270" y="51"/>
                  <a:pt x="270" y="50"/>
                  <a:pt x="270" y="50"/>
                </a:cubicBezTo>
                <a:cubicBezTo>
                  <a:pt x="268" y="49"/>
                  <a:pt x="270" y="51"/>
                  <a:pt x="267" y="50"/>
                </a:cubicBezTo>
                <a:cubicBezTo>
                  <a:pt x="266" y="49"/>
                  <a:pt x="266" y="46"/>
                  <a:pt x="265" y="45"/>
                </a:cubicBezTo>
                <a:cubicBezTo>
                  <a:pt x="265" y="45"/>
                  <a:pt x="264" y="45"/>
                  <a:pt x="264" y="45"/>
                </a:cubicBezTo>
                <a:cubicBezTo>
                  <a:pt x="264" y="46"/>
                  <a:pt x="263" y="47"/>
                  <a:pt x="263" y="47"/>
                </a:cubicBezTo>
                <a:cubicBezTo>
                  <a:pt x="263" y="47"/>
                  <a:pt x="261" y="45"/>
                  <a:pt x="260" y="47"/>
                </a:cubicBezTo>
                <a:cubicBezTo>
                  <a:pt x="259" y="47"/>
                  <a:pt x="260" y="48"/>
                  <a:pt x="260" y="48"/>
                </a:cubicBezTo>
                <a:cubicBezTo>
                  <a:pt x="259" y="48"/>
                  <a:pt x="255" y="50"/>
                  <a:pt x="256" y="50"/>
                </a:cubicBezTo>
                <a:cubicBezTo>
                  <a:pt x="255" y="50"/>
                  <a:pt x="255" y="49"/>
                  <a:pt x="255" y="49"/>
                </a:cubicBezTo>
                <a:cubicBezTo>
                  <a:pt x="245" y="55"/>
                  <a:pt x="245" y="55"/>
                  <a:pt x="245" y="55"/>
                </a:cubicBezTo>
                <a:cubicBezTo>
                  <a:pt x="246" y="56"/>
                  <a:pt x="246" y="57"/>
                  <a:pt x="247" y="58"/>
                </a:cubicBezTo>
                <a:cubicBezTo>
                  <a:pt x="245" y="59"/>
                  <a:pt x="243" y="58"/>
                  <a:pt x="241" y="57"/>
                </a:cubicBezTo>
                <a:cubicBezTo>
                  <a:pt x="227" y="66"/>
                  <a:pt x="227" y="66"/>
                  <a:pt x="227" y="66"/>
                </a:cubicBezTo>
                <a:cubicBezTo>
                  <a:pt x="227" y="66"/>
                  <a:pt x="227" y="66"/>
                  <a:pt x="227" y="66"/>
                </a:cubicBezTo>
                <a:cubicBezTo>
                  <a:pt x="227" y="66"/>
                  <a:pt x="227" y="66"/>
                  <a:pt x="227" y="66"/>
                </a:cubicBezTo>
                <a:cubicBezTo>
                  <a:pt x="228" y="65"/>
                  <a:pt x="228" y="66"/>
                  <a:pt x="228" y="66"/>
                </a:cubicBezTo>
                <a:cubicBezTo>
                  <a:pt x="229" y="68"/>
                  <a:pt x="230" y="69"/>
                  <a:pt x="232" y="70"/>
                </a:cubicBezTo>
                <a:cubicBezTo>
                  <a:pt x="229" y="69"/>
                  <a:pt x="231" y="72"/>
                  <a:pt x="230" y="73"/>
                </a:cubicBezTo>
                <a:cubicBezTo>
                  <a:pt x="230" y="73"/>
                  <a:pt x="230" y="73"/>
                  <a:pt x="230" y="73"/>
                </a:cubicBezTo>
                <a:cubicBezTo>
                  <a:pt x="230" y="73"/>
                  <a:pt x="230" y="73"/>
                  <a:pt x="230" y="73"/>
                </a:cubicBezTo>
                <a:cubicBezTo>
                  <a:pt x="231" y="73"/>
                  <a:pt x="231" y="72"/>
                  <a:pt x="231" y="72"/>
                </a:cubicBezTo>
                <a:cubicBezTo>
                  <a:pt x="232" y="70"/>
                  <a:pt x="236" y="71"/>
                  <a:pt x="237" y="71"/>
                </a:cubicBezTo>
                <a:cubicBezTo>
                  <a:pt x="238" y="72"/>
                  <a:pt x="237" y="72"/>
                  <a:pt x="237" y="73"/>
                </a:cubicBezTo>
                <a:cubicBezTo>
                  <a:pt x="237" y="74"/>
                  <a:pt x="241" y="76"/>
                  <a:pt x="240" y="79"/>
                </a:cubicBezTo>
                <a:cubicBezTo>
                  <a:pt x="239" y="78"/>
                  <a:pt x="239" y="76"/>
                  <a:pt x="238" y="76"/>
                </a:cubicBezTo>
                <a:cubicBezTo>
                  <a:pt x="237" y="76"/>
                  <a:pt x="237" y="77"/>
                  <a:pt x="237" y="78"/>
                </a:cubicBezTo>
                <a:cubicBezTo>
                  <a:pt x="236" y="79"/>
                  <a:pt x="231" y="77"/>
                  <a:pt x="230" y="74"/>
                </a:cubicBezTo>
                <a:cubicBezTo>
                  <a:pt x="229" y="74"/>
                  <a:pt x="229" y="74"/>
                  <a:pt x="228" y="74"/>
                </a:cubicBezTo>
                <a:cubicBezTo>
                  <a:pt x="227" y="74"/>
                  <a:pt x="227" y="74"/>
                  <a:pt x="227" y="75"/>
                </a:cubicBezTo>
                <a:cubicBezTo>
                  <a:pt x="229" y="76"/>
                  <a:pt x="230" y="78"/>
                  <a:pt x="232" y="79"/>
                </a:cubicBezTo>
                <a:cubicBezTo>
                  <a:pt x="233" y="79"/>
                  <a:pt x="234" y="79"/>
                  <a:pt x="235" y="79"/>
                </a:cubicBezTo>
                <a:cubicBezTo>
                  <a:pt x="236" y="79"/>
                  <a:pt x="236" y="80"/>
                  <a:pt x="237" y="80"/>
                </a:cubicBezTo>
                <a:cubicBezTo>
                  <a:pt x="239" y="80"/>
                  <a:pt x="237" y="78"/>
                  <a:pt x="239" y="79"/>
                </a:cubicBezTo>
                <a:cubicBezTo>
                  <a:pt x="240" y="79"/>
                  <a:pt x="240" y="80"/>
                  <a:pt x="240" y="81"/>
                </a:cubicBezTo>
                <a:cubicBezTo>
                  <a:pt x="240" y="82"/>
                  <a:pt x="237" y="81"/>
                  <a:pt x="236" y="82"/>
                </a:cubicBezTo>
                <a:cubicBezTo>
                  <a:pt x="236" y="82"/>
                  <a:pt x="236" y="84"/>
                  <a:pt x="236" y="85"/>
                </a:cubicBezTo>
                <a:cubicBezTo>
                  <a:pt x="235" y="87"/>
                  <a:pt x="233" y="86"/>
                  <a:pt x="236" y="89"/>
                </a:cubicBezTo>
                <a:cubicBezTo>
                  <a:pt x="232" y="86"/>
                  <a:pt x="234" y="91"/>
                  <a:pt x="234" y="92"/>
                </a:cubicBezTo>
                <a:cubicBezTo>
                  <a:pt x="234" y="91"/>
                  <a:pt x="227" y="93"/>
                  <a:pt x="227" y="93"/>
                </a:cubicBezTo>
                <a:cubicBezTo>
                  <a:pt x="226" y="93"/>
                  <a:pt x="223" y="92"/>
                  <a:pt x="221" y="92"/>
                </a:cubicBezTo>
                <a:cubicBezTo>
                  <a:pt x="221" y="92"/>
                  <a:pt x="222" y="92"/>
                  <a:pt x="222" y="92"/>
                </a:cubicBezTo>
                <a:cubicBezTo>
                  <a:pt x="221" y="93"/>
                  <a:pt x="221" y="92"/>
                  <a:pt x="220" y="92"/>
                </a:cubicBezTo>
                <a:cubicBezTo>
                  <a:pt x="220" y="92"/>
                  <a:pt x="220" y="92"/>
                  <a:pt x="220" y="92"/>
                </a:cubicBezTo>
                <a:cubicBezTo>
                  <a:pt x="220" y="92"/>
                  <a:pt x="220" y="92"/>
                  <a:pt x="221" y="93"/>
                </a:cubicBezTo>
                <a:cubicBezTo>
                  <a:pt x="221" y="93"/>
                  <a:pt x="221" y="93"/>
                  <a:pt x="221" y="93"/>
                </a:cubicBezTo>
                <a:cubicBezTo>
                  <a:pt x="221" y="93"/>
                  <a:pt x="221" y="93"/>
                  <a:pt x="221" y="93"/>
                </a:cubicBezTo>
                <a:cubicBezTo>
                  <a:pt x="221" y="93"/>
                  <a:pt x="221" y="93"/>
                  <a:pt x="221" y="93"/>
                </a:cubicBezTo>
                <a:cubicBezTo>
                  <a:pt x="223" y="96"/>
                  <a:pt x="224" y="101"/>
                  <a:pt x="224" y="105"/>
                </a:cubicBezTo>
                <a:cubicBezTo>
                  <a:pt x="225" y="105"/>
                  <a:pt x="226" y="105"/>
                  <a:pt x="226" y="106"/>
                </a:cubicBezTo>
                <a:cubicBezTo>
                  <a:pt x="226" y="107"/>
                  <a:pt x="225" y="107"/>
                  <a:pt x="224" y="107"/>
                </a:cubicBezTo>
                <a:cubicBezTo>
                  <a:pt x="224" y="107"/>
                  <a:pt x="224" y="108"/>
                  <a:pt x="224" y="108"/>
                </a:cubicBezTo>
                <a:cubicBezTo>
                  <a:pt x="223" y="108"/>
                  <a:pt x="222" y="107"/>
                  <a:pt x="221" y="106"/>
                </a:cubicBezTo>
                <a:cubicBezTo>
                  <a:pt x="221" y="106"/>
                  <a:pt x="221" y="107"/>
                  <a:pt x="221" y="107"/>
                </a:cubicBezTo>
                <a:cubicBezTo>
                  <a:pt x="219" y="107"/>
                  <a:pt x="218" y="106"/>
                  <a:pt x="218" y="105"/>
                </a:cubicBezTo>
                <a:cubicBezTo>
                  <a:pt x="217" y="106"/>
                  <a:pt x="216" y="106"/>
                  <a:pt x="215" y="105"/>
                </a:cubicBezTo>
                <a:cubicBezTo>
                  <a:pt x="214" y="105"/>
                  <a:pt x="214" y="104"/>
                  <a:pt x="214" y="103"/>
                </a:cubicBezTo>
                <a:cubicBezTo>
                  <a:pt x="214" y="103"/>
                  <a:pt x="213" y="104"/>
                  <a:pt x="214" y="105"/>
                </a:cubicBezTo>
                <a:cubicBezTo>
                  <a:pt x="215" y="106"/>
                  <a:pt x="218" y="108"/>
                  <a:pt x="218" y="108"/>
                </a:cubicBezTo>
                <a:cubicBezTo>
                  <a:pt x="218" y="108"/>
                  <a:pt x="219" y="108"/>
                  <a:pt x="219" y="108"/>
                </a:cubicBezTo>
                <a:cubicBezTo>
                  <a:pt x="220" y="111"/>
                  <a:pt x="212" y="112"/>
                  <a:pt x="213" y="109"/>
                </a:cubicBezTo>
                <a:cubicBezTo>
                  <a:pt x="213" y="109"/>
                  <a:pt x="214" y="108"/>
                  <a:pt x="214" y="108"/>
                </a:cubicBezTo>
                <a:cubicBezTo>
                  <a:pt x="214" y="107"/>
                  <a:pt x="210" y="104"/>
                  <a:pt x="209" y="103"/>
                </a:cubicBezTo>
                <a:cubicBezTo>
                  <a:pt x="209" y="102"/>
                  <a:pt x="208" y="102"/>
                  <a:pt x="208" y="101"/>
                </a:cubicBezTo>
                <a:cubicBezTo>
                  <a:pt x="207" y="101"/>
                  <a:pt x="206" y="103"/>
                  <a:pt x="205" y="103"/>
                </a:cubicBezTo>
                <a:cubicBezTo>
                  <a:pt x="204" y="103"/>
                  <a:pt x="204" y="102"/>
                  <a:pt x="203" y="101"/>
                </a:cubicBezTo>
                <a:cubicBezTo>
                  <a:pt x="203" y="101"/>
                  <a:pt x="200" y="100"/>
                  <a:pt x="199" y="101"/>
                </a:cubicBezTo>
                <a:cubicBezTo>
                  <a:pt x="199" y="101"/>
                  <a:pt x="200" y="103"/>
                  <a:pt x="200" y="102"/>
                </a:cubicBezTo>
                <a:cubicBezTo>
                  <a:pt x="200" y="102"/>
                  <a:pt x="199" y="104"/>
                  <a:pt x="197" y="103"/>
                </a:cubicBezTo>
                <a:cubicBezTo>
                  <a:pt x="197" y="103"/>
                  <a:pt x="197" y="103"/>
                  <a:pt x="197" y="103"/>
                </a:cubicBezTo>
                <a:cubicBezTo>
                  <a:pt x="197" y="103"/>
                  <a:pt x="197" y="103"/>
                  <a:pt x="196" y="104"/>
                </a:cubicBezTo>
                <a:cubicBezTo>
                  <a:pt x="197" y="104"/>
                  <a:pt x="198" y="104"/>
                  <a:pt x="199" y="105"/>
                </a:cubicBezTo>
                <a:cubicBezTo>
                  <a:pt x="198" y="104"/>
                  <a:pt x="198" y="104"/>
                  <a:pt x="199" y="104"/>
                </a:cubicBezTo>
                <a:cubicBezTo>
                  <a:pt x="199" y="103"/>
                  <a:pt x="200" y="103"/>
                  <a:pt x="200" y="104"/>
                </a:cubicBezTo>
                <a:cubicBezTo>
                  <a:pt x="201" y="104"/>
                  <a:pt x="202" y="104"/>
                  <a:pt x="201" y="105"/>
                </a:cubicBezTo>
                <a:cubicBezTo>
                  <a:pt x="201" y="106"/>
                  <a:pt x="200" y="105"/>
                  <a:pt x="200" y="105"/>
                </a:cubicBezTo>
                <a:cubicBezTo>
                  <a:pt x="200" y="105"/>
                  <a:pt x="200" y="105"/>
                  <a:pt x="200" y="105"/>
                </a:cubicBezTo>
                <a:cubicBezTo>
                  <a:pt x="200" y="105"/>
                  <a:pt x="200" y="105"/>
                  <a:pt x="200" y="105"/>
                </a:cubicBezTo>
                <a:cubicBezTo>
                  <a:pt x="200" y="105"/>
                  <a:pt x="199" y="105"/>
                  <a:pt x="199" y="105"/>
                </a:cubicBezTo>
                <a:cubicBezTo>
                  <a:pt x="200" y="106"/>
                  <a:pt x="201" y="107"/>
                  <a:pt x="199" y="109"/>
                </a:cubicBezTo>
                <a:cubicBezTo>
                  <a:pt x="198" y="110"/>
                  <a:pt x="197" y="109"/>
                  <a:pt x="196" y="108"/>
                </a:cubicBezTo>
                <a:cubicBezTo>
                  <a:pt x="196" y="109"/>
                  <a:pt x="196" y="109"/>
                  <a:pt x="196" y="109"/>
                </a:cubicBezTo>
                <a:cubicBezTo>
                  <a:pt x="196" y="111"/>
                  <a:pt x="195" y="109"/>
                  <a:pt x="195" y="110"/>
                </a:cubicBezTo>
                <a:cubicBezTo>
                  <a:pt x="194" y="110"/>
                  <a:pt x="195" y="110"/>
                  <a:pt x="195" y="111"/>
                </a:cubicBezTo>
                <a:cubicBezTo>
                  <a:pt x="196" y="111"/>
                  <a:pt x="196" y="111"/>
                  <a:pt x="195" y="111"/>
                </a:cubicBezTo>
                <a:cubicBezTo>
                  <a:pt x="196" y="111"/>
                  <a:pt x="196" y="112"/>
                  <a:pt x="196" y="112"/>
                </a:cubicBezTo>
                <a:cubicBezTo>
                  <a:pt x="195" y="115"/>
                  <a:pt x="191" y="113"/>
                  <a:pt x="189" y="114"/>
                </a:cubicBezTo>
                <a:cubicBezTo>
                  <a:pt x="190" y="115"/>
                  <a:pt x="190" y="117"/>
                  <a:pt x="190" y="117"/>
                </a:cubicBezTo>
                <a:cubicBezTo>
                  <a:pt x="191" y="118"/>
                  <a:pt x="192" y="118"/>
                  <a:pt x="193" y="118"/>
                </a:cubicBezTo>
                <a:cubicBezTo>
                  <a:pt x="194" y="117"/>
                  <a:pt x="195" y="116"/>
                  <a:pt x="197" y="116"/>
                </a:cubicBezTo>
                <a:cubicBezTo>
                  <a:pt x="201" y="117"/>
                  <a:pt x="201" y="123"/>
                  <a:pt x="198" y="125"/>
                </a:cubicBezTo>
                <a:cubicBezTo>
                  <a:pt x="198" y="125"/>
                  <a:pt x="198" y="126"/>
                  <a:pt x="200" y="126"/>
                </a:cubicBezTo>
                <a:cubicBezTo>
                  <a:pt x="199" y="126"/>
                  <a:pt x="199" y="126"/>
                  <a:pt x="198" y="126"/>
                </a:cubicBezTo>
                <a:cubicBezTo>
                  <a:pt x="200" y="127"/>
                  <a:pt x="201" y="130"/>
                  <a:pt x="200" y="132"/>
                </a:cubicBezTo>
                <a:cubicBezTo>
                  <a:pt x="201" y="133"/>
                  <a:pt x="202" y="134"/>
                  <a:pt x="201" y="135"/>
                </a:cubicBezTo>
                <a:cubicBezTo>
                  <a:pt x="201" y="135"/>
                  <a:pt x="200" y="134"/>
                  <a:pt x="200" y="133"/>
                </a:cubicBezTo>
                <a:cubicBezTo>
                  <a:pt x="200" y="133"/>
                  <a:pt x="200" y="133"/>
                  <a:pt x="199" y="133"/>
                </a:cubicBezTo>
                <a:cubicBezTo>
                  <a:pt x="199" y="134"/>
                  <a:pt x="198" y="134"/>
                  <a:pt x="197" y="134"/>
                </a:cubicBezTo>
                <a:cubicBezTo>
                  <a:pt x="196" y="136"/>
                  <a:pt x="196" y="138"/>
                  <a:pt x="193" y="136"/>
                </a:cubicBezTo>
                <a:cubicBezTo>
                  <a:pt x="191" y="136"/>
                  <a:pt x="190" y="137"/>
                  <a:pt x="189" y="137"/>
                </a:cubicBezTo>
                <a:cubicBezTo>
                  <a:pt x="189" y="137"/>
                  <a:pt x="188" y="136"/>
                  <a:pt x="187" y="136"/>
                </a:cubicBezTo>
                <a:cubicBezTo>
                  <a:pt x="189" y="138"/>
                  <a:pt x="191" y="139"/>
                  <a:pt x="193" y="141"/>
                </a:cubicBezTo>
                <a:cubicBezTo>
                  <a:pt x="195" y="138"/>
                  <a:pt x="197" y="136"/>
                  <a:pt x="199" y="140"/>
                </a:cubicBezTo>
                <a:cubicBezTo>
                  <a:pt x="200" y="140"/>
                  <a:pt x="200" y="141"/>
                  <a:pt x="200" y="142"/>
                </a:cubicBezTo>
                <a:cubicBezTo>
                  <a:pt x="200" y="140"/>
                  <a:pt x="205" y="140"/>
                  <a:pt x="203" y="143"/>
                </a:cubicBezTo>
                <a:cubicBezTo>
                  <a:pt x="203" y="144"/>
                  <a:pt x="202" y="143"/>
                  <a:pt x="201" y="143"/>
                </a:cubicBezTo>
                <a:cubicBezTo>
                  <a:pt x="201" y="143"/>
                  <a:pt x="201" y="142"/>
                  <a:pt x="200" y="142"/>
                </a:cubicBezTo>
                <a:cubicBezTo>
                  <a:pt x="201" y="144"/>
                  <a:pt x="202" y="147"/>
                  <a:pt x="203" y="147"/>
                </a:cubicBezTo>
                <a:cubicBezTo>
                  <a:pt x="205" y="149"/>
                  <a:pt x="205" y="148"/>
                  <a:pt x="204" y="150"/>
                </a:cubicBezTo>
                <a:cubicBezTo>
                  <a:pt x="204" y="151"/>
                  <a:pt x="203" y="152"/>
                  <a:pt x="204" y="153"/>
                </a:cubicBezTo>
                <a:cubicBezTo>
                  <a:pt x="204" y="153"/>
                  <a:pt x="209" y="155"/>
                  <a:pt x="206" y="156"/>
                </a:cubicBezTo>
                <a:cubicBezTo>
                  <a:pt x="205" y="156"/>
                  <a:pt x="205" y="155"/>
                  <a:pt x="204" y="155"/>
                </a:cubicBezTo>
                <a:cubicBezTo>
                  <a:pt x="203" y="156"/>
                  <a:pt x="204" y="159"/>
                  <a:pt x="204" y="160"/>
                </a:cubicBezTo>
                <a:cubicBezTo>
                  <a:pt x="203" y="160"/>
                  <a:pt x="200" y="156"/>
                  <a:pt x="199" y="159"/>
                </a:cubicBezTo>
                <a:cubicBezTo>
                  <a:pt x="198" y="160"/>
                  <a:pt x="198" y="160"/>
                  <a:pt x="198" y="160"/>
                </a:cubicBezTo>
                <a:cubicBezTo>
                  <a:pt x="198" y="160"/>
                  <a:pt x="198" y="160"/>
                  <a:pt x="198" y="160"/>
                </a:cubicBezTo>
                <a:cubicBezTo>
                  <a:pt x="196" y="159"/>
                  <a:pt x="196" y="159"/>
                  <a:pt x="195" y="160"/>
                </a:cubicBezTo>
                <a:cubicBezTo>
                  <a:pt x="196" y="161"/>
                  <a:pt x="196" y="162"/>
                  <a:pt x="195" y="163"/>
                </a:cubicBezTo>
                <a:cubicBezTo>
                  <a:pt x="194" y="163"/>
                  <a:pt x="194" y="162"/>
                  <a:pt x="193" y="162"/>
                </a:cubicBezTo>
                <a:cubicBezTo>
                  <a:pt x="193" y="161"/>
                  <a:pt x="193" y="161"/>
                  <a:pt x="193" y="161"/>
                </a:cubicBezTo>
                <a:cubicBezTo>
                  <a:pt x="192" y="162"/>
                  <a:pt x="192" y="163"/>
                  <a:pt x="192" y="164"/>
                </a:cubicBezTo>
                <a:cubicBezTo>
                  <a:pt x="191" y="165"/>
                  <a:pt x="189" y="163"/>
                  <a:pt x="188" y="163"/>
                </a:cubicBezTo>
                <a:cubicBezTo>
                  <a:pt x="185" y="165"/>
                  <a:pt x="189" y="167"/>
                  <a:pt x="189" y="170"/>
                </a:cubicBezTo>
                <a:cubicBezTo>
                  <a:pt x="189" y="170"/>
                  <a:pt x="187" y="172"/>
                  <a:pt x="189" y="173"/>
                </a:cubicBezTo>
                <a:cubicBezTo>
                  <a:pt x="190" y="174"/>
                  <a:pt x="192" y="172"/>
                  <a:pt x="194" y="176"/>
                </a:cubicBezTo>
                <a:cubicBezTo>
                  <a:pt x="194" y="177"/>
                  <a:pt x="197" y="182"/>
                  <a:pt x="195" y="183"/>
                </a:cubicBezTo>
                <a:cubicBezTo>
                  <a:pt x="194" y="183"/>
                  <a:pt x="194" y="181"/>
                  <a:pt x="194" y="181"/>
                </a:cubicBezTo>
                <a:cubicBezTo>
                  <a:pt x="193" y="180"/>
                  <a:pt x="190" y="182"/>
                  <a:pt x="190" y="182"/>
                </a:cubicBezTo>
                <a:cubicBezTo>
                  <a:pt x="189" y="181"/>
                  <a:pt x="189" y="179"/>
                  <a:pt x="188" y="179"/>
                </a:cubicBezTo>
                <a:cubicBezTo>
                  <a:pt x="188" y="179"/>
                  <a:pt x="188" y="179"/>
                  <a:pt x="187" y="180"/>
                </a:cubicBezTo>
                <a:cubicBezTo>
                  <a:pt x="187" y="180"/>
                  <a:pt x="187" y="179"/>
                  <a:pt x="186" y="179"/>
                </a:cubicBezTo>
                <a:cubicBezTo>
                  <a:pt x="185" y="179"/>
                  <a:pt x="184" y="180"/>
                  <a:pt x="183" y="178"/>
                </a:cubicBezTo>
                <a:cubicBezTo>
                  <a:pt x="182" y="179"/>
                  <a:pt x="182" y="179"/>
                  <a:pt x="182" y="179"/>
                </a:cubicBezTo>
                <a:cubicBezTo>
                  <a:pt x="182" y="179"/>
                  <a:pt x="182" y="179"/>
                  <a:pt x="182" y="179"/>
                </a:cubicBezTo>
                <a:cubicBezTo>
                  <a:pt x="182" y="180"/>
                  <a:pt x="181" y="180"/>
                  <a:pt x="180" y="178"/>
                </a:cubicBezTo>
                <a:cubicBezTo>
                  <a:pt x="179" y="178"/>
                  <a:pt x="179" y="178"/>
                  <a:pt x="179" y="178"/>
                </a:cubicBezTo>
                <a:cubicBezTo>
                  <a:pt x="179" y="178"/>
                  <a:pt x="179" y="179"/>
                  <a:pt x="179" y="179"/>
                </a:cubicBezTo>
                <a:cubicBezTo>
                  <a:pt x="179" y="180"/>
                  <a:pt x="179" y="181"/>
                  <a:pt x="179" y="181"/>
                </a:cubicBezTo>
                <a:cubicBezTo>
                  <a:pt x="179" y="182"/>
                  <a:pt x="179" y="182"/>
                  <a:pt x="178" y="182"/>
                </a:cubicBezTo>
                <a:cubicBezTo>
                  <a:pt x="178" y="182"/>
                  <a:pt x="177" y="182"/>
                  <a:pt x="177" y="181"/>
                </a:cubicBezTo>
                <a:cubicBezTo>
                  <a:pt x="176" y="181"/>
                  <a:pt x="175" y="181"/>
                  <a:pt x="175" y="182"/>
                </a:cubicBezTo>
                <a:cubicBezTo>
                  <a:pt x="174" y="181"/>
                  <a:pt x="175" y="178"/>
                  <a:pt x="173" y="176"/>
                </a:cubicBezTo>
                <a:cubicBezTo>
                  <a:pt x="174" y="177"/>
                  <a:pt x="176" y="176"/>
                  <a:pt x="174" y="174"/>
                </a:cubicBezTo>
                <a:cubicBezTo>
                  <a:pt x="173" y="173"/>
                  <a:pt x="173" y="175"/>
                  <a:pt x="173" y="175"/>
                </a:cubicBezTo>
                <a:cubicBezTo>
                  <a:pt x="173" y="175"/>
                  <a:pt x="172" y="174"/>
                  <a:pt x="171" y="174"/>
                </a:cubicBezTo>
                <a:cubicBezTo>
                  <a:pt x="171" y="175"/>
                  <a:pt x="171" y="175"/>
                  <a:pt x="171" y="175"/>
                </a:cubicBezTo>
                <a:cubicBezTo>
                  <a:pt x="172" y="177"/>
                  <a:pt x="173" y="179"/>
                  <a:pt x="172" y="181"/>
                </a:cubicBezTo>
                <a:cubicBezTo>
                  <a:pt x="172" y="181"/>
                  <a:pt x="172" y="181"/>
                  <a:pt x="173" y="181"/>
                </a:cubicBezTo>
                <a:cubicBezTo>
                  <a:pt x="173" y="181"/>
                  <a:pt x="173" y="180"/>
                  <a:pt x="173" y="180"/>
                </a:cubicBezTo>
                <a:cubicBezTo>
                  <a:pt x="174" y="181"/>
                  <a:pt x="173" y="181"/>
                  <a:pt x="172" y="181"/>
                </a:cubicBezTo>
                <a:cubicBezTo>
                  <a:pt x="172" y="182"/>
                  <a:pt x="171" y="182"/>
                  <a:pt x="170" y="182"/>
                </a:cubicBezTo>
                <a:cubicBezTo>
                  <a:pt x="168" y="182"/>
                  <a:pt x="167" y="180"/>
                  <a:pt x="166" y="177"/>
                </a:cubicBezTo>
                <a:cubicBezTo>
                  <a:pt x="166" y="177"/>
                  <a:pt x="165" y="178"/>
                  <a:pt x="164" y="178"/>
                </a:cubicBezTo>
                <a:cubicBezTo>
                  <a:pt x="162" y="177"/>
                  <a:pt x="161" y="174"/>
                  <a:pt x="160" y="175"/>
                </a:cubicBezTo>
                <a:cubicBezTo>
                  <a:pt x="160" y="173"/>
                  <a:pt x="159" y="171"/>
                  <a:pt x="160" y="170"/>
                </a:cubicBezTo>
                <a:cubicBezTo>
                  <a:pt x="161" y="167"/>
                  <a:pt x="162" y="168"/>
                  <a:pt x="160" y="164"/>
                </a:cubicBezTo>
                <a:cubicBezTo>
                  <a:pt x="160" y="164"/>
                  <a:pt x="160" y="163"/>
                  <a:pt x="160" y="162"/>
                </a:cubicBezTo>
                <a:cubicBezTo>
                  <a:pt x="159" y="159"/>
                  <a:pt x="159" y="160"/>
                  <a:pt x="156" y="161"/>
                </a:cubicBezTo>
                <a:cubicBezTo>
                  <a:pt x="158" y="159"/>
                  <a:pt x="156" y="160"/>
                  <a:pt x="155" y="162"/>
                </a:cubicBezTo>
                <a:cubicBezTo>
                  <a:pt x="155" y="162"/>
                  <a:pt x="156" y="162"/>
                  <a:pt x="156" y="162"/>
                </a:cubicBezTo>
                <a:cubicBezTo>
                  <a:pt x="156" y="162"/>
                  <a:pt x="155" y="162"/>
                  <a:pt x="155" y="162"/>
                </a:cubicBezTo>
                <a:cubicBezTo>
                  <a:pt x="155" y="163"/>
                  <a:pt x="155" y="163"/>
                  <a:pt x="155" y="163"/>
                </a:cubicBezTo>
                <a:cubicBezTo>
                  <a:pt x="155" y="163"/>
                  <a:pt x="158" y="164"/>
                  <a:pt x="156" y="165"/>
                </a:cubicBezTo>
                <a:cubicBezTo>
                  <a:pt x="156" y="166"/>
                  <a:pt x="152" y="162"/>
                  <a:pt x="152" y="166"/>
                </a:cubicBezTo>
                <a:cubicBezTo>
                  <a:pt x="150" y="160"/>
                  <a:pt x="148" y="168"/>
                  <a:pt x="147" y="171"/>
                </a:cubicBezTo>
                <a:cubicBezTo>
                  <a:pt x="146" y="172"/>
                  <a:pt x="144" y="172"/>
                  <a:pt x="143" y="173"/>
                </a:cubicBezTo>
                <a:cubicBezTo>
                  <a:pt x="142" y="174"/>
                  <a:pt x="142" y="174"/>
                  <a:pt x="141" y="174"/>
                </a:cubicBezTo>
                <a:cubicBezTo>
                  <a:pt x="141" y="174"/>
                  <a:pt x="141" y="174"/>
                  <a:pt x="141" y="174"/>
                </a:cubicBezTo>
                <a:cubicBezTo>
                  <a:pt x="140" y="175"/>
                  <a:pt x="140" y="175"/>
                  <a:pt x="139" y="176"/>
                </a:cubicBezTo>
                <a:cubicBezTo>
                  <a:pt x="140" y="176"/>
                  <a:pt x="140" y="177"/>
                  <a:pt x="139" y="177"/>
                </a:cubicBezTo>
                <a:cubicBezTo>
                  <a:pt x="140" y="177"/>
                  <a:pt x="140" y="177"/>
                  <a:pt x="140" y="178"/>
                </a:cubicBezTo>
                <a:cubicBezTo>
                  <a:pt x="141" y="178"/>
                  <a:pt x="142" y="179"/>
                  <a:pt x="142" y="181"/>
                </a:cubicBezTo>
                <a:cubicBezTo>
                  <a:pt x="143" y="182"/>
                  <a:pt x="142" y="183"/>
                  <a:pt x="141" y="183"/>
                </a:cubicBezTo>
                <a:cubicBezTo>
                  <a:pt x="141" y="184"/>
                  <a:pt x="142" y="185"/>
                  <a:pt x="142" y="186"/>
                </a:cubicBezTo>
                <a:cubicBezTo>
                  <a:pt x="141" y="187"/>
                  <a:pt x="141" y="185"/>
                  <a:pt x="140" y="184"/>
                </a:cubicBezTo>
                <a:cubicBezTo>
                  <a:pt x="139" y="184"/>
                  <a:pt x="138" y="184"/>
                  <a:pt x="138" y="183"/>
                </a:cubicBezTo>
                <a:cubicBezTo>
                  <a:pt x="138" y="184"/>
                  <a:pt x="138" y="187"/>
                  <a:pt x="138" y="187"/>
                </a:cubicBezTo>
                <a:cubicBezTo>
                  <a:pt x="138" y="187"/>
                  <a:pt x="138" y="187"/>
                  <a:pt x="138" y="188"/>
                </a:cubicBezTo>
                <a:cubicBezTo>
                  <a:pt x="139" y="186"/>
                  <a:pt x="139" y="185"/>
                  <a:pt x="139" y="185"/>
                </a:cubicBezTo>
                <a:cubicBezTo>
                  <a:pt x="139" y="186"/>
                  <a:pt x="139" y="187"/>
                  <a:pt x="139" y="189"/>
                </a:cubicBezTo>
                <a:cubicBezTo>
                  <a:pt x="140" y="189"/>
                  <a:pt x="140" y="189"/>
                  <a:pt x="140" y="189"/>
                </a:cubicBezTo>
                <a:cubicBezTo>
                  <a:pt x="140" y="188"/>
                  <a:pt x="142" y="189"/>
                  <a:pt x="142" y="191"/>
                </a:cubicBezTo>
                <a:cubicBezTo>
                  <a:pt x="143" y="191"/>
                  <a:pt x="143" y="192"/>
                  <a:pt x="142" y="193"/>
                </a:cubicBezTo>
                <a:cubicBezTo>
                  <a:pt x="142" y="193"/>
                  <a:pt x="141" y="192"/>
                  <a:pt x="141" y="192"/>
                </a:cubicBezTo>
                <a:cubicBezTo>
                  <a:pt x="140" y="192"/>
                  <a:pt x="139" y="193"/>
                  <a:pt x="140" y="192"/>
                </a:cubicBezTo>
                <a:cubicBezTo>
                  <a:pt x="140" y="192"/>
                  <a:pt x="140" y="191"/>
                  <a:pt x="140" y="191"/>
                </a:cubicBezTo>
                <a:cubicBezTo>
                  <a:pt x="140" y="191"/>
                  <a:pt x="140" y="191"/>
                  <a:pt x="140" y="191"/>
                </a:cubicBezTo>
                <a:cubicBezTo>
                  <a:pt x="140" y="191"/>
                  <a:pt x="140" y="190"/>
                  <a:pt x="139" y="190"/>
                </a:cubicBezTo>
                <a:cubicBezTo>
                  <a:pt x="139" y="191"/>
                  <a:pt x="139" y="192"/>
                  <a:pt x="138" y="192"/>
                </a:cubicBezTo>
                <a:cubicBezTo>
                  <a:pt x="138" y="192"/>
                  <a:pt x="138" y="191"/>
                  <a:pt x="138" y="190"/>
                </a:cubicBezTo>
                <a:cubicBezTo>
                  <a:pt x="138" y="190"/>
                  <a:pt x="137" y="190"/>
                  <a:pt x="137" y="191"/>
                </a:cubicBezTo>
                <a:cubicBezTo>
                  <a:pt x="137" y="192"/>
                  <a:pt x="138" y="192"/>
                  <a:pt x="138" y="193"/>
                </a:cubicBezTo>
                <a:cubicBezTo>
                  <a:pt x="138" y="194"/>
                  <a:pt x="134" y="195"/>
                  <a:pt x="137" y="197"/>
                </a:cubicBezTo>
                <a:cubicBezTo>
                  <a:pt x="137" y="197"/>
                  <a:pt x="138" y="196"/>
                  <a:pt x="138" y="196"/>
                </a:cubicBezTo>
                <a:cubicBezTo>
                  <a:pt x="138" y="196"/>
                  <a:pt x="138" y="196"/>
                  <a:pt x="138" y="196"/>
                </a:cubicBezTo>
                <a:cubicBezTo>
                  <a:pt x="138" y="196"/>
                  <a:pt x="138" y="195"/>
                  <a:pt x="138" y="195"/>
                </a:cubicBezTo>
                <a:cubicBezTo>
                  <a:pt x="139" y="194"/>
                  <a:pt x="140" y="195"/>
                  <a:pt x="139" y="196"/>
                </a:cubicBezTo>
                <a:cubicBezTo>
                  <a:pt x="139" y="196"/>
                  <a:pt x="139" y="196"/>
                  <a:pt x="139" y="196"/>
                </a:cubicBezTo>
                <a:cubicBezTo>
                  <a:pt x="140" y="197"/>
                  <a:pt x="138" y="201"/>
                  <a:pt x="139" y="202"/>
                </a:cubicBezTo>
                <a:cubicBezTo>
                  <a:pt x="138" y="200"/>
                  <a:pt x="137" y="202"/>
                  <a:pt x="136" y="203"/>
                </a:cubicBezTo>
                <a:cubicBezTo>
                  <a:pt x="137" y="205"/>
                  <a:pt x="138" y="207"/>
                  <a:pt x="139" y="208"/>
                </a:cubicBezTo>
                <a:cubicBezTo>
                  <a:pt x="138" y="207"/>
                  <a:pt x="136" y="205"/>
                  <a:pt x="136" y="203"/>
                </a:cubicBezTo>
                <a:cubicBezTo>
                  <a:pt x="135" y="204"/>
                  <a:pt x="134" y="205"/>
                  <a:pt x="134" y="204"/>
                </a:cubicBezTo>
                <a:cubicBezTo>
                  <a:pt x="132" y="203"/>
                  <a:pt x="133" y="199"/>
                  <a:pt x="131" y="198"/>
                </a:cubicBezTo>
                <a:cubicBezTo>
                  <a:pt x="130" y="198"/>
                  <a:pt x="131" y="199"/>
                  <a:pt x="131" y="199"/>
                </a:cubicBezTo>
                <a:cubicBezTo>
                  <a:pt x="129" y="199"/>
                  <a:pt x="128" y="197"/>
                  <a:pt x="127" y="200"/>
                </a:cubicBezTo>
                <a:cubicBezTo>
                  <a:pt x="127" y="200"/>
                  <a:pt x="126" y="205"/>
                  <a:pt x="127" y="207"/>
                </a:cubicBezTo>
                <a:cubicBezTo>
                  <a:pt x="127" y="210"/>
                  <a:pt x="127" y="211"/>
                  <a:pt x="126" y="214"/>
                </a:cubicBezTo>
                <a:cubicBezTo>
                  <a:pt x="126" y="211"/>
                  <a:pt x="123" y="210"/>
                  <a:pt x="123" y="207"/>
                </a:cubicBezTo>
                <a:cubicBezTo>
                  <a:pt x="122" y="203"/>
                  <a:pt x="125" y="199"/>
                  <a:pt x="124" y="197"/>
                </a:cubicBezTo>
                <a:cubicBezTo>
                  <a:pt x="124" y="197"/>
                  <a:pt x="120" y="193"/>
                  <a:pt x="120" y="193"/>
                </a:cubicBezTo>
                <a:cubicBezTo>
                  <a:pt x="120" y="192"/>
                  <a:pt x="121" y="191"/>
                  <a:pt x="120" y="190"/>
                </a:cubicBezTo>
                <a:cubicBezTo>
                  <a:pt x="120" y="191"/>
                  <a:pt x="120" y="191"/>
                  <a:pt x="119" y="192"/>
                </a:cubicBezTo>
                <a:cubicBezTo>
                  <a:pt x="120" y="192"/>
                  <a:pt x="120" y="192"/>
                  <a:pt x="120" y="192"/>
                </a:cubicBezTo>
                <a:cubicBezTo>
                  <a:pt x="120" y="193"/>
                  <a:pt x="121" y="194"/>
                  <a:pt x="121" y="195"/>
                </a:cubicBezTo>
                <a:cubicBezTo>
                  <a:pt x="121" y="195"/>
                  <a:pt x="121" y="195"/>
                  <a:pt x="121" y="195"/>
                </a:cubicBezTo>
                <a:cubicBezTo>
                  <a:pt x="121" y="195"/>
                  <a:pt x="121" y="195"/>
                  <a:pt x="121" y="195"/>
                </a:cubicBezTo>
                <a:cubicBezTo>
                  <a:pt x="121" y="197"/>
                  <a:pt x="121" y="198"/>
                  <a:pt x="120" y="198"/>
                </a:cubicBezTo>
                <a:cubicBezTo>
                  <a:pt x="120" y="198"/>
                  <a:pt x="119" y="198"/>
                  <a:pt x="119" y="198"/>
                </a:cubicBezTo>
                <a:cubicBezTo>
                  <a:pt x="118" y="198"/>
                  <a:pt x="117" y="197"/>
                  <a:pt x="117" y="196"/>
                </a:cubicBezTo>
                <a:cubicBezTo>
                  <a:pt x="116" y="195"/>
                  <a:pt x="117" y="192"/>
                  <a:pt x="118" y="192"/>
                </a:cubicBezTo>
                <a:cubicBezTo>
                  <a:pt x="118" y="192"/>
                  <a:pt x="118" y="192"/>
                  <a:pt x="118" y="192"/>
                </a:cubicBezTo>
                <a:cubicBezTo>
                  <a:pt x="117" y="192"/>
                  <a:pt x="117" y="190"/>
                  <a:pt x="117" y="189"/>
                </a:cubicBezTo>
                <a:cubicBezTo>
                  <a:pt x="116" y="189"/>
                  <a:pt x="116" y="189"/>
                  <a:pt x="116" y="190"/>
                </a:cubicBezTo>
                <a:cubicBezTo>
                  <a:pt x="116" y="190"/>
                  <a:pt x="116" y="190"/>
                  <a:pt x="116" y="190"/>
                </a:cubicBezTo>
                <a:cubicBezTo>
                  <a:pt x="116" y="191"/>
                  <a:pt x="116" y="191"/>
                  <a:pt x="115" y="190"/>
                </a:cubicBezTo>
                <a:cubicBezTo>
                  <a:pt x="114" y="192"/>
                  <a:pt x="114" y="194"/>
                  <a:pt x="113" y="196"/>
                </a:cubicBezTo>
                <a:cubicBezTo>
                  <a:pt x="112" y="194"/>
                  <a:pt x="112" y="194"/>
                  <a:pt x="111" y="194"/>
                </a:cubicBezTo>
                <a:cubicBezTo>
                  <a:pt x="112" y="196"/>
                  <a:pt x="112" y="199"/>
                  <a:pt x="110" y="197"/>
                </a:cubicBezTo>
                <a:cubicBezTo>
                  <a:pt x="110" y="197"/>
                  <a:pt x="110" y="196"/>
                  <a:pt x="110" y="196"/>
                </a:cubicBezTo>
                <a:cubicBezTo>
                  <a:pt x="109" y="197"/>
                  <a:pt x="109" y="197"/>
                  <a:pt x="108" y="197"/>
                </a:cubicBezTo>
                <a:cubicBezTo>
                  <a:pt x="110" y="200"/>
                  <a:pt x="111" y="202"/>
                  <a:pt x="112" y="205"/>
                </a:cubicBezTo>
                <a:cubicBezTo>
                  <a:pt x="113" y="208"/>
                  <a:pt x="109" y="203"/>
                  <a:pt x="109" y="202"/>
                </a:cubicBezTo>
                <a:cubicBezTo>
                  <a:pt x="108" y="201"/>
                  <a:pt x="108" y="199"/>
                  <a:pt x="107" y="197"/>
                </a:cubicBezTo>
                <a:cubicBezTo>
                  <a:pt x="107" y="197"/>
                  <a:pt x="106" y="196"/>
                  <a:pt x="106" y="196"/>
                </a:cubicBezTo>
                <a:cubicBezTo>
                  <a:pt x="106" y="196"/>
                  <a:pt x="106" y="195"/>
                  <a:pt x="106" y="194"/>
                </a:cubicBezTo>
                <a:cubicBezTo>
                  <a:pt x="105" y="193"/>
                  <a:pt x="104" y="192"/>
                  <a:pt x="103" y="191"/>
                </a:cubicBezTo>
                <a:cubicBezTo>
                  <a:pt x="102" y="190"/>
                  <a:pt x="101" y="189"/>
                  <a:pt x="100" y="190"/>
                </a:cubicBezTo>
                <a:cubicBezTo>
                  <a:pt x="100" y="190"/>
                  <a:pt x="100" y="191"/>
                  <a:pt x="99" y="191"/>
                </a:cubicBezTo>
                <a:cubicBezTo>
                  <a:pt x="99" y="191"/>
                  <a:pt x="99" y="191"/>
                  <a:pt x="99" y="191"/>
                </a:cubicBezTo>
                <a:cubicBezTo>
                  <a:pt x="99" y="192"/>
                  <a:pt x="99" y="192"/>
                  <a:pt x="99" y="192"/>
                </a:cubicBezTo>
                <a:cubicBezTo>
                  <a:pt x="99" y="193"/>
                  <a:pt x="99" y="195"/>
                  <a:pt x="98" y="194"/>
                </a:cubicBezTo>
                <a:cubicBezTo>
                  <a:pt x="98" y="195"/>
                  <a:pt x="98" y="195"/>
                  <a:pt x="98" y="195"/>
                </a:cubicBezTo>
                <a:cubicBezTo>
                  <a:pt x="96" y="195"/>
                  <a:pt x="96" y="194"/>
                  <a:pt x="95" y="192"/>
                </a:cubicBezTo>
                <a:cubicBezTo>
                  <a:pt x="94" y="192"/>
                  <a:pt x="94" y="192"/>
                  <a:pt x="93" y="192"/>
                </a:cubicBezTo>
                <a:cubicBezTo>
                  <a:pt x="93" y="192"/>
                  <a:pt x="93" y="191"/>
                  <a:pt x="93" y="191"/>
                </a:cubicBezTo>
                <a:cubicBezTo>
                  <a:pt x="92" y="193"/>
                  <a:pt x="92" y="194"/>
                  <a:pt x="92" y="196"/>
                </a:cubicBezTo>
                <a:cubicBezTo>
                  <a:pt x="92" y="197"/>
                  <a:pt x="92" y="199"/>
                  <a:pt x="91" y="199"/>
                </a:cubicBezTo>
                <a:cubicBezTo>
                  <a:pt x="91" y="200"/>
                  <a:pt x="90" y="201"/>
                  <a:pt x="89" y="201"/>
                </a:cubicBezTo>
                <a:cubicBezTo>
                  <a:pt x="90" y="202"/>
                  <a:pt x="90" y="202"/>
                  <a:pt x="89" y="203"/>
                </a:cubicBezTo>
                <a:cubicBezTo>
                  <a:pt x="88" y="204"/>
                  <a:pt x="86" y="205"/>
                  <a:pt x="85" y="203"/>
                </a:cubicBezTo>
                <a:cubicBezTo>
                  <a:pt x="85" y="203"/>
                  <a:pt x="85" y="203"/>
                  <a:pt x="85" y="203"/>
                </a:cubicBezTo>
                <a:cubicBezTo>
                  <a:pt x="85" y="203"/>
                  <a:pt x="84" y="203"/>
                  <a:pt x="84" y="203"/>
                </a:cubicBezTo>
                <a:cubicBezTo>
                  <a:pt x="84" y="204"/>
                  <a:pt x="85" y="205"/>
                  <a:pt x="84" y="206"/>
                </a:cubicBezTo>
                <a:cubicBezTo>
                  <a:pt x="85" y="206"/>
                  <a:pt x="86" y="207"/>
                  <a:pt x="86" y="207"/>
                </a:cubicBezTo>
                <a:cubicBezTo>
                  <a:pt x="87" y="207"/>
                  <a:pt x="87" y="209"/>
                  <a:pt x="88" y="210"/>
                </a:cubicBezTo>
                <a:cubicBezTo>
                  <a:pt x="90" y="211"/>
                  <a:pt x="90" y="212"/>
                  <a:pt x="91" y="213"/>
                </a:cubicBezTo>
                <a:cubicBezTo>
                  <a:pt x="91" y="214"/>
                  <a:pt x="92" y="213"/>
                  <a:pt x="92" y="213"/>
                </a:cubicBezTo>
                <a:cubicBezTo>
                  <a:pt x="92" y="215"/>
                  <a:pt x="91" y="216"/>
                  <a:pt x="92" y="216"/>
                </a:cubicBezTo>
                <a:cubicBezTo>
                  <a:pt x="92" y="216"/>
                  <a:pt x="92" y="217"/>
                  <a:pt x="92" y="217"/>
                </a:cubicBezTo>
                <a:cubicBezTo>
                  <a:pt x="92" y="217"/>
                  <a:pt x="92" y="217"/>
                  <a:pt x="92" y="217"/>
                </a:cubicBezTo>
                <a:cubicBezTo>
                  <a:pt x="92" y="217"/>
                  <a:pt x="92" y="217"/>
                  <a:pt x="92" y="218"/>
                </a:cubicBezTo>
                <a:cubicBezTo>
                  <a:pt x="92" y="219"/>
                  <a:pt x="93" y="219"/>
                  <a:pt x="93" y="220"/>
                </a:cubicBezTo>
                <a:cubicBezTo>
                  <a:pt x="93" y="220"/>
                  <a:pt x="92" y="219"/>
                  <a:pt x="92" y="219"/>
                </a:cubicBezTo>
                <a:cubicBezTo>
                  <a:pt x="90" y="221"/>
                  <a:pt x="87" y="226"/>
                  <a:pt x="86" y="226"/>
                </a:cubicBezTo>
                <a:cubicBezTo>
                  <a:pt x="84" y="226"/>
                  <a:pt x="83" y="222"/>
                  <a:pt x="81" y="220"/>
                </a:cubicBezTo>
                <a:cubicBezTo>
                  <a:pt x="80" y="220"/>
                  <a:pt x="79" y="222"/>
                  <a:pt x="78" y="221"/>
                </a:cubicBezTo>
                <a:cubicBezTo>
                  <a:pt x="77" y="219"/>
                  <a:pt x="79" y="219"/>
                  <a:pt x="80" y="218"/>
                </a:cubicBezTo>
                <a:cubicBezTo>
                  <a:pt x="80" y="217"/>
                  <a:pt x="80" y="213"/>
                  <a:pt x="80" y="210"/>
                </a:cubicBezTo>
                <a:cubicBezTo>
                  <a:pt x="80" y="209"/>
                  <a:pt x="81" y="208"/>
                  <a:pt x="81" y="207"/>
                </a:cubicBezTo>
                <a:cubicBezTo>
                  <a:pt x="80" y="206"/>
                  <a:pt x="79" y="202"/>
                  <a:pt x="79" y="201"/>
                </a:cubicBezTo>
                <a:cubicBezTo>
                  <a:pt x="78" y="201"/>
                  <a:pt x="78" y="203"/>
                  <a:pt x="77" y="203"/>
                </a:cubicBezTo>
                <a:cubicBezTo>
                  <a:pt x="77" y="202"/>
                  <a:pt x="78" y="201"/>
                  <a:pt x="78" y="200"/>
                </a:cubicBezTo>
                <a:cubicBezTo>
                  <a:pt x="77" y="198"/>
                  <a:pt x="76" y="194"/>
                  <a:pt x="76" y="192"/>
                </a:cubicBezTo>
                <a:cubicBezTo>
                  <a:pt x="75" y="192"/>
                  <a:pt x="74" y="192"/>
                  <a:pt x="74" y="193"/>
                </a:cubicBezTo>
                <a:cubicBezTo>
                  <a:pt x="74" y="194"/>
                  <a:pt x="75" y="194"/>
                  <a:pt x="75" y="194"/>
                </a:cubicBezTo>
                <a:cubicBezTo>
                  <a:pt x="75" y="194"/>
                  <a:pt x="74" y="197"/>
                  <a:pt x="73" y="200"/>
                </a:cubicBezTo>
                <a:cubicBezTo>
                  <a:pt x="73" y="201"/>
                  <a:pt x="73" y="201"/>
                  <a:pt x="72" y="202"/>
                </a:cubicBezTo>
                <a:cubicBezTo>
                  <a:pt x="72" y="202"/>
                  <a:pt x="72" y="202"/>
                  <a:pt x="72" y="202"/>
                </a:cubicBezTo>
                <a:cubicBezTo>
                  <a:pt x="72" y="202"/>
                  <a:pt x="72" y="202"/>
                  <a:pt x="72" y="202"/>
                </a:cubicBezTo>
                <a:cubicBezTo>
                  <a:pt x="71" y="202"/>
                  <a:pt x="70" y="202"/>
                  <a:pt x="70" y="202"/>
                </a:cubicBezTo>
                <a:cubicBezTo>
                  <a:pt x="68" y="205"/>
                  <a:pt x="70" y="208"/>
                  <a:pt x="69" y="210"/>
                </a:cubicBezTo>
                <a:cubicBezTo>
                  <a:pt x="69" y="210"/>
                  <a:pt x="69" y="211"/>
                  <a:pt x="69" y="212"/>
                </a:cubicBezTo>
                <a:cubicBezTo>
                  <a:pt x="69" y="212"/>
                  <a:pt x="69" y="212"/>
                  <a:pt x="69" y="212"/>
                </a:cubicBezTo>
                <a:cubicBezTo>
                  <a:pt x="70" y="212"/>
                  <a:pt x="73" y="217"/>
                  <a:pt x="71" y="218"/>
                </a:cubicBezTo>
                <a:cubicBezTo>
                  <a:pt x="70" y="219"/>
                  <a:pt x="68" y="218"/>
                  <a:pt x="67" y="216"/>
                </a:cubicBezTo>
                <a:cubicBezTo>
                  <a:pt x="67" y="216"/>
                  <a:pt x="67" y="216"/>
                  <a:pt x="67" y="216"/>
                </a:cubicBezTo>
                <a:cubicBezTo>
                  <a:pt x="66" y="216"/>
                  <a:pt x="66" y="216"/>
                  <a:pt x="66" y="216"/>
                </a:cubicBezTo>
                <a:cubicBezTo>
                  <a:pt x="66" y="216"/>
                  <a:pt x="66" y="216"/>
                  <a:pt x="66" y="216"/>
                </a:cubicBezTo>
                <a:cubicBezTo>
                  <a:pt x="66" y="216"/>
                  <a:pt x="66" y="216"/>
                  <a:pt x="66" y="216"/>
                </a:cubicBezTo>
                <a:cubicBezTo>
                  <a:pt x="66" y="217"/>
                  <a:pt x="66" y="219"/>
                  <a:pt x="66" y="219"/>
                </a:cubicBezTo>
                <a:cubicBezTo>
                  <a:pt x="66" y="219"/>
                  <a:pt x="66" y="219"/>
                  <a:pt x="66" y="220"/>
                </a:cubicBezTo>
                <a:cubicBezTo>
                  <a:pt x="67" y="220"/>
                  <a:pt x="68" y="220"/>
                  <a:pt x="68" y="220"/>
                </a:cubicBezTo>
                <a:cubicBezTo>
                  <a:pt x="70" y="221"/>
                  <a:pt x="70" y="224"/>
                  <a:pt x="72" y="226"/>
                </a:cubicBezTo>
                <a:cubicBezTo>
                  <a:pt x="73" y="227"/>
                  <a:pt x="76" y="230"/>
                  <a:pt x="76" y="231"/>
                </a:cubicBezTo>
                <a:cubicBezTo>
                  <a:pt x="76" y="232"/>
                  <a:pt x="74" y="233"/>
                  <a:pt x="73" y="233"/>
                </a:cubicBezTo>
                <a:cubicBezTo>
                  <a:pt x="73" y="234"/>
                  <a:pt x="74" y="234"/>
                  <a:pt x="74" y="234"/>
                </a:cubicBezTo>
                <a:cubicBezTo>
                  <a:pt x="75" y="235"/>
                  <a:pt x="74" y="236"/>
                  <a:pt x="73" y="237"/>
                </a:cubicBezTo>
                <a:cubicBezTo>
                  <a:pt x="73" y="238"/>
                  <a:pt x="73" y="239"/>
                  <a:pt x="72" y="239"/>
                </a:cubicBezTo>
                <a:cubicBezTo>
                  <a:pt x="72" y="239"/>
                  <a:pt x="71" y="238"/>
                  <a:pt x="70" y="237"/>
                </a:cubicBezTo>
                <a:cubicBezTo>
                  <a:pt x="69" y="236"/>
                  <a:pt x="68" y="235"/>
                  <a:pt x="70" y="234"/>
                </a:cubicBezTo>
                <a:cubicBezTo>
                  <a:pt x="70" y="233"/>
                  <a:pt x="70" y="233"/>
                  <a:pt x="68" y="234"/>
                </a:cubicBezTo>
                <a:cubicBezTo>
                  <a:pt x="68" y="235"/>
                  <a:pt x="68" y="236"/>
                  <a:pt x="67" y="236"/>
                </a:cubicBezTo>
                <a:cubicBezTo>
                  <a:pt x="66" y="236"/>
                  <a:pt x="65" y="235"/>
                  <a:pt x="65" y="234"/>
                </a:cubicBezTo>
                <a:cubicBezTo>
                  <a:pt x="64" y="235"/>
                  <a:pt x="63" y="237"/>
                  <a:pt x="62" y="237"/>
                </a:cubicBezTo>
                <a:cubicBezTo>
                  <a:pt x="62" y="237"/>
                  <a:pt x="59" y="236"/>
                  <a:pt x="58" y="235"/>
                </a:cubicBezTo>
                <a:cubicBezTo>
                  <a:pt x="58" y="234"/>
                  <a:pt x="57" y="231"/>
                  <a:pt x="57" y="231"/>
                </a:cubicBezTo>
                <a:cubicBezTo>
                  <a:pt x="56" y="231"/>
                  <a:pt x="56" y="232"/>
                  <a:pt x="56" y="233"/>
                </a:cubicBezTo>
                <a:cubicBezTo>
                  <a:pt x="56" y="233"/>
                  <a:pt x="57" y="233"/>
                  <a:pt x="57" y="233"/>
                </a:cubicBezTo>
                <a:cubicBezTo>
                  <a:pt x="57" y="233"/>
                  <a:pt x="57" y="233"/>
                  <a:pt x="57" y="233"/>
                </a:cubicBezTo>
                <a:cubicBezTo>
                  <a:pt x="57" y="233"/>
                  <a:pt x="57" y="233"/>
                  <a:pt x="57" y="233"/>
                </a:cubicBezTo>
                <a:cubicBezTo>
                  <a:pt x="57" y="234"/>
                  <a:pt x="58" y="235"/>
                  <a:pt x="57" y="236"/>
                </a:cubicBezTo>
                <a:cubicBezTo>
                  <a:pt x="57" y="236"/>
                  <a:pt x="57" y="236"/>
                  <a:pt x="56" y="236"/>
                </a:cubicBezTo>
                <a:cubicBezTo>
                  <a:pt x="56" y="236"/>
                  <a:pt x="56" y="237"/>
                  <a:pt x="56" y="237"/>
                </a:cubicBezTo>
                <a:cubicBezTo>
                  <a:pt x="56" y="237"/>
                  <a:pt x="56" y="237"/>
                  <a:pt x="55" y="236"/>
                </a:cubicBezTo>
                <a:cubicBezTo>
                  <a:pt x="55" y="236"/>
                  <a:pt x="55" y="237"/>
                  <a:pt x="55" y="237"/>
                </a:cubicBezTo>
                <a:cubicBezTo>
                  <a:pt x="54" y="236"/>
                  <a:pt x="54" y="233"/>
                  <a:pt x="55" y="233"/>
                </a:cubicBezTo>
                <a:cubicBezTo>
                  <a:pt x="55" y="232"/>
                  <a:pt x="55" y="230"/>
                  <a:pt x="56" y="230"/>
                </a:cubicBezTo>
                <a:cubicBezTo>
                  <a:pt x="56" y="230"/>
                  <a:pt x="57" y="231"/>
                  <a:pt x="57" y="231"/>
                </a:cubicBezTo>
                <a:cubicBezTo>
                  <a:pt x="58" y="230"/>
                  <a:pt x="57" y="229"/>
                  <a:pt x="57" y="229"/>
                </a:cubicBezTo>
                <a:cubicBezTo>
                  <a:pt x="57" y="228"/>
                  <a:pt x="58" y="227"/>
                  <a:pt x="58" y="226"/>
                </a:cubicBezTo>
                <a:cubicBezTo>
                  <a:pt x="58" y="225"/>
                  <a:pt x="58" y="224"/>
                  <a:pt x="59" y="224"/>
                </a:cubicBezTo>
                <a:cubicBezTo>
                  <a:pt x="60" y="223"/>
                  <a:pt x="60" y="224"/>
                  <a:pt x="60" y="225"/>
                </a:cubicBezTo>
                <a:cubicBezTo>
                  <a:pt x="61" y="225"/>
                  <a:pt x="61" y="225"/>
                  <a:pt x="61" y="225"/>
                </a:cubicBezTo>
                <a:cubicBezTo>
                  <a:pt x="61" y="224"/>
                  <a:pt x="61" y="222"/>
                  <a:pt x="62" y="221"/>
                </a:cubicBezTo>
                <a:cubicBezTo>
                  <a:pt x="62" y="221"/>
                  <a:pt x="62" y="222"/>
                  <a:pt x="63" y="222"/>
                </a:cubicBezTo>
                <a:cubicBezTo>
                  <a:pt x="62" y="220"/>
                  <a:pt x="62" y="219"/>
                  <a:pt x="61" y="218"/>
                </a:cubicBezTo>
                <a:cubicBezTo>
                  <a:pt x="61" y="218"/>
                  <a:pt x="61" y="217"/>
                  <a:pt x="61" y="217"/>
                </a:cubicBezTo>
                <a:cubicBezTo>
                  <a:pt x="60" y="218"/>
                  <a:pt x="60" y="218"/>
                  <a:pt x="59" y="218"/>
                </a:cubicBezTo>
                <a:cubicBezTo>
                  <a:pt x="57" y="219"/>
                  <a:pt x="58" y="213"/>
                  <a:pt x="60" y="216"/>
                </a:cubicBezTo>
                <a:cubicBezTo>
                  <a:pt x="60" y="216"/>
                  <a:pt x="60" y="216"/>
                  <a:pt x="60" y="215"/>
                </a:cubicBezTo>
                <a:cubicBezTo>
                  <a:pt x="60" y="214"/>
                  <a:pt x="59" y="212"/>
                  <a:pt x="58" y="213"/>
                </a:cubicBezTo>
                <a:cubicBezTo>
                  <a:pt x="57" y="213"/>
                  <a:pt x="58" y="216"/>
                  <a:pt x="57" y="216"/>
                </a:cubicBezTo>
                <a:cubicBezTo>
                  <a:pt x="56" y="217"/>
                  <a:pt x="54" y="213"/>
                  <a:pt x="54" y="213"/>
                </a:cubicBezTo>
                <a:cubicBezTo>
                  <a:pt x="54" y="213"/>
                  <a:pt x="53" y="213"/>
                  <a:pt x="53" y="213"/>
                </a:cubicBezTo>
                <a:cubicBezTo>
                  <a:pt x="55" y="215"/>
                  <a:pt x="55" y="219"/>
                  <a:pt x="55" y="221"/>
                </a:cubicBezTo>
                <a:cubicBezTo>
                  <a:pt x="54" y="223"/>
                  <a:pt x="51" y="223"/>
                  <a:pt x="51" y="224"/>
                </a:cubicBezTo>
                <a:cubicBezTo>
                  <a:pt x="51" y="226"/>
                  <a:pt x="51" y="228"/>
                  <a:pt x="52" y="230"/>
                </a:cubicBezTo>
                <a:cubicBezTo>
                  <a:pt x="51" y="229"/>
                  <a:pt x="51" y="228"/>
                  <a:pt x="50" y="227"/>
                </a:cubicBezTo>
                <a:cubicBezTo>
                  <a:pt x="49" y="227"/>
                  <a:pt x="50" y="226"/>
                  <a:pt x="49" y="225"/>
                </a:cubicBezTo>
                <a:cubicBezTo>
                  <a:pt x="49" y="225"/>
                  <a:pt x="49" y="225"/>
                  <a:pt x="48" y="225"/>
                </a:cubicBezTo>
                <a:cubicBezTo>
                  <a:pt x="48" y="226"/>
                  <a:pt x="48" y="226"/>
                  <a:pt x="48" y="226"/>
                </a:cubicBezTo>
                <a:cubicBezTo>
                  <a:pt x="47" y="227"/>
                  <a:pt x="47" y="226"/>
                  <a:pt x="47" y="225"/>
                </a:cubicBezTo>
                <a:cubicBezTo>
                  <a:pt x="47" y="225"/>
                  <a:pt x="46" y="225"/>
                  <a:pt x="46" y="225"/>
                </a:cubicBezTo>
                <a:cubicBezTo>
                  <a:pt x="45" y="225"/>
                  <a:pt x="44" y="225"/>
                  <a:pt x="43" y="225"/>
                </a:cubicBezTo>
                <a:cubicBezTo>
                  <a:pt x="43" y="225"/>
                  <a:pt x="43" y="226"/>
                  <a:pt x="42" y="226"/>
                </a:cubicBezTo>
                <a:cubicBezTo>
                  <a:pt x="42" y="226"/>
                  <a:pt x="42" y="226"/>
                  <a:pt x="42" y="226"/>
                </a:cubicBezTo>
                <a:cubicBezTo>
                  <a:pt x="42" y="226"/>
                  <a:pt x="42" y="226"/>
                  <a:pt x="42" y="226"/>
                </a:cubicBezTo>
                <a:cubicBezTo>
                  <a:pt x="41" y="226"/>
                  <a:pt x="41" y="226"/>
                  <a:pt x="40" y="225"/>
                </a:cubicBezTo>
                <a:cubicBezTo>
                  <a:pt x="39" y="225"/>
                  <a:pt x="38" y="225"/>
                  <a:pt x="37" y="225"/>
                </a:cubicBezTo>
                <a:cubicBezTo>
                  <a:pt x="37" y="225"/>
                  <a:pt x="36" y="225"/>
                  <a:pt x="36" y="225"/>
                </a:cubicBezTo>
                <a:cubicBezTo>
                  <a:pt x="36" y="226"/>
                  <a:pt x="36" y="226"/>
                  <a:pt x="35" y="226"/>
                </a:cubicBezTo>
                <a:cubicBezTo>
                  <a:pt x="35" y="226"/>
                  <a:pt x="35" y="226"/>
                  <a:pt x="34" y="225"/>
                </a:cubicBezTo>
                <a:cubicBezTo>
                  <a:pt x="33" y="225"/>
                  <a:pt x="32" y="224"/>
                  <a:pt x="31" y="224"/>
                </a:cubicBezTo>
                <a:cubicBezTo>
                  <a:pt x="31" y="224"/>
                  <a:pt x="31" y="224"/>
                  <a:pt x="31" y="224"/>
                </a:cubicBezTo>
                <a:cubicBezTo>
                  <a:pt x="31" y="226"/>
                  <a:pt x="31" y="228"/>
                  <a:pt x="30" y="228"/>
                </a:cubicBezTo>
                <a:cubicBezTo>
                  <a:pt x="28" y="229"/>
                  <a:pt x="27" y="225"/>
                  <a:pt x="27" y="223"/>
                </a:cubicBezTo>
                <a:cubicBezTo>
                  <a:pt x="28" y="225"/>
                  <a:pt x="28" y="224"/>
                  <a:pt x="29" y="223"/>
                </a:cubicBezTo>
                <a:cubicBezTo>
                  <a:pt x="28" y="223"/>
                  <a:pt x="27" y="223"/>
                  <a:pt x="27" y="223"/>
                </a:cubicBezTo>
                <a:cubicBezTo>
                  <a:pt x="26" y="224"/>
                  <a:pt x="25" y="224"/>
                  <a:pt x="25" y="223"/>
                </a:cubicBezTo>
                <a:cubicBezTo>
                  <a:pt x="24" y="223"/>
                  <a:pt x="25" y="221"/>
                  <a:pt x="26" y="220"/>
                </a:cubicBezTo>
                <a:cubicBezTo>
                  <a:pt x="26" y="220"/>
                  <a:pt x="26" y="220"/>
                  <a:pt x="26" y="220"/>
                </a:cubicBezTo>
                <a:cubicBezTo>
                  <a:pt x="26" y="219"/>
                  <a:pt x="25" y="218"/>
                  <a:pt x="23" y="216"/>
                </a:cubicBezTo>
                <a:cubicBezTo>
                  <a:pt x="23" y="217"/>
                  <a:pt x="22" y="217"/>
                  <a:pt x="22" y="217"/>
                </a:cubicBezTo>
                <a:cubicBezTo>
                  <a:pt x="22" y="216"/>
                  <a:pt x="22" y="216"/>
                  <a:pt x="23" y="215"/>
                </a:cubicBezTo>
                <a:cubicBezTo>
                  <a:pt x="22" y="215"/>
                  <a:pt x="22" y="215"/>
                  <a:pt x="22" y="215"/>
                </a:cubicBezTo>
                <a:cubicBezTo>
                  <a:pt x="22" y="215"/>
                  <a:pt x="21" y="216"/>
                  <a:pt x="21" y="216"/>
                </a:cubicBezTo>
                <a:cubicBezTo>
                  <a:pt x="20" y="217"/>
                  <a:pt x="18" y="217"/>
                  <a:pt x="18" y="219"/>
                </a:cubicBezTo>
                <a:cubicBezTo>
                  <a:pt x="17" y="219"/>
                  <a:pt x="18" y="218"/>
                  <a:pt x="17" y="218"/>
                </a:cubicBezTo>
                <a:cubicBezTo>
                  <a:pt x="18" y="220"/>
                  <a:pt x="16" y="219"/>
                  <a:pt x="16" y="221"/>
                </a:cubicBezTo>
                <a:cubicBezTo>
                  <a:pt x="19" y="219"/>
                  <a:pt x="20" y="220"/>
                  <a:pt x="21" y="223"/>
                </a:cubicBezTo>
                <a:cubicBezTo>
                  <a:pt x="21" y="222"/>
                  <a:pt x="22" y="222"/>
                  <a:pt x="22" y="223"/>
                </a:cubicBezTo>
                <a:cubicBezTo>
                  <a:pt x="22" y="223"/>
                  <a:pt x="22" y="223"/>
                  <a:pt x="23" y="223"/>
                </a:cubicBezTo>
                <a:cubicBezTo>
                  <a:pt x="23" y="223"/>
                  <a:pt x="23" y="223"/>
                  <a:pt x="23" y="223"/>
                </a:cubicBezTo>
                <a:cubicBezTo>
                  <a:pt x="23" y="223"/>
                  <a:pt x="23" y="223"/>
                  <a:pt x="23" y="223"/>
                </a:cubicBezTo>
                <a:cubicBezTo>
                  <a:pt x="24" y="224"/>
                  <a:pt x="25" y="226"/>
                  <a:pt x="25" y="226"/>
                </a:cubicBezTo>
                <a:cubicBezTo>
                  <a:pt x="25" y="226"/>
                  <a:pt x="25" y="228"/>
                  <a:pt x="25" y="228"/>
                </a:cubicBezTo>
                <a:cubicBezTo>
                  <a:pt x="27" y="228"/>
                  <a:pt x="31" y="229"/>
                  <a:pt x="31" y="231"/>
                </a:cubicBezTo>
                <a:cubicBezTo>
                  <a:pt x="32" y="232"/>
                  <a:pt x="31" y="236"/>
                  <a:pt x="31" y="237"/>
                </a:cubicBezTo>
                <a:cubicBezTo>
                  <a:pt x="31" y="237"/>
                  <a:pt x="29" y="237"/>
                  <a:pt x="29" y="238"/>
                </a:cubicBezTo>
                <a:cubicBezTo>
                  <a:pt x="27" y="241"/>
                  <a:pt x="27" y="237"/>
                  <a:pt x="26" y="242"/>
                </a:cubicBezTo>
                <a:cubicBezTo>
                  <a:pt x="25" y="241"/>
                  <a:pt x="24" y="239"/>
                  <a:pt x="23" y="239"/>
                </a:cubicBezTo>
                <a:cubicBezTo>
                  <a:pt x="23" y="239"/>
                  <a:pt x="21" y="239"/>
                  <a:pt x="22" y="239"/>
                </a:cubicBezTo>
                <a:cubicBezTo>
                  <a:pt x="20" y="238"/>
                  <a:pt x="22" y="235"/>
                  <a:pt x="20" y="233"/>
                </a:cubicBezTo>
                <a:cubicBezTo>
                  <a:pt x="20" y="234"/>
                  <a:pt x="20" y="235"/>
                  <a:pt x="19" y="236"/>
                </a:cubicBezTo>
                <a:cubicBezTo>
                  <a:pt x="20" y="237"/>
                  <a:pt x="20" y="238"/>
                  <a:pt x="18" y="238"/>
                </a:cubicBezTo>
                <a:cubicBezTo>
                  <a:pt x="22" y="239"/>
                  <a:pt x="22" y="249"/>
                  <a:pt x="17" y="249"/>
                </a:cubicBezTo>
                <a:cubicBezTo>
                  <a:pt x="17" y="249"/>
                  <a:pt x="17" y="249"/>
                  <a:pt x="17" y="249"/>
                </a:cubicBezTo>
                <a:cubicBezTo>
                  <a:pt x="17" y="249"/>
                  <a:pt x="17" y="249"/>
                  <a:pt x="17" y="250"/>
                </a:cubicBezTo>
                <a:cubicBezTo>
                  <a:pt x="20" y="251"/>
                  <a:pt x="21" y="254"/>
                  <a:pt x="20" y="258"/>
                </a:cubicBezTo>
                <a:cubicBezTo>
                  <a:pt x="20" y="257"/>
                  <a:pt x="20" y="258"/>
                  <a:pt x="20" y="258"/>
                </a:cubicBezTo>
                <a:cubicBezTo>
                  <a:pt x="21" y="261"/>
                  <a:pt x="23" y="263"/>
                  <a:pt x="23" y="265"/>
                </a:cubicBezTo>
                <a:cubicBezTo>
                  <a:pt x="23" y="266"/>
                  <a:pt x="23" y="267"/>
                  <a:pt x="23" y="268"/>
                </a:cubicBezTo>
                <a:cubicBezTo>
                  <a:pt x="23" y="270"/>
                  <a:pt x="27" y="272"/>
                  <a:pt x="26" y="275"/>
                </a:cubicBezTo>
                <a:cubicBezTo>
                  <a:pt x="26" y="276"/>
                  <a:pt x="26" y="275"/>
                  <a:pt x="27" y="277"/>
                </a:cubicBezTo>
                <a:cubicBezTo>
                  <a:pt x="27" y="278"/>
                  <a:pt x="28" y="280"/>
                  <a:pt x="28" y="281"/>
                </a:cubicBezTo>
                <a:cubicBezTo>
                  <a:pt x="29" y="282"/>
                  <a:pt x="30" y="285"/>
                  <a:pt x="30" y="285"/>
                </a:cubicBezTo>
                <a:cubicBezTo>
                  <a:pt x="32" y="287"/>
                  <a:pt x="32" y="285"/>
                  <a:pt x="32" y="287"/>
                </a:cubicBezTo>
                <a:cubicBezTo>
                  <a:pt x="31" y="288"/>
                  <a:pt x="32" y="288"/>
                  <a:pt x="32" y="289"/>
                </a:cubicBezTo>
                <a:cubicBezTo>
                  <a:pt x="32" y="288"/>
                  <a:pt x="32" y="288"/>
                  <a:pt x="32" y="288"/>
                </a:cubicBezTo>
                <a:cubicBezTo>
                  <a:pt x="33" y="287"/>
                  <a:pt x="34" y="290"/>
                  <a:pt x="33" y="290"/>
                </a:cubicBezTo>
                <a:cubicBezTo>
                  <a:pt x="33" y="291"/>
                  <a:pt x="34" y="291"/>
                  <a:pt x="34" y="292"/>
                </a:cubicBezTo>
                <a:cubicBezTo>
                  <a:pt x="34" y="292"/>
                  <a:pt x="35" y="292"/>
                  <a:pt x="35" y="292"/>
                </a:cubicBezTo>
                <a:cubicBezTo>
                  <a:pt x="36" y="288"/>
                  <a:pt x="34" y="286"/>
                  <a:pt x="38" y="288"/>
                </a:cubicBezTo>
                <a:cubicBezTo>
                  <a:pt x="39" y="288"/>
                  <a:pt x="39" y="287"/>
                  <a:pt x="40" y="288"/>
                </a:cubicBezTo>
                <a:cubicBezTo>
                  <a:pt x="42" y="289"/>
                  <a:pt x="39" y="291"/>
                  <a:pt x="38" y="290"/>
                </a:cubicBezTo>
                <a:cubicBezTo>
                  <a:pt x="39" y="291"/>
                  <a:pt x="40" y="291"/>
                  <a:pt x="41" y="289"/>
                </a:cubicBezTo>
                <a:cubicBezTo>
                  <a:pt x="42" y="289"/>
                  <a:pt x="42" y="292"/>
                  <a:pt x="41" y="293"/>
                </a:cubicBezTo>
                <a:cubicBezTo>
                  <a:pt x="41" y="293"/>
                  <a:pt x="38" y="295"/>
                  <a:pt x="37" y="296"/>
                </a:cubicBezTo>
                <a:cubicBezTo>
                  <a:pt x="37" y="297"/>
                  <a:pt x="38" y="298"/>
                  <a:pt x="38" y="299"/>
                </a:cubicBezTo>
                <a:cubicBezTo>
                  <a:pt x="40" y="301"/>
                  <a:pt x="40" y="304"/>
                  <a:pt x="41" y="306"/>
                </a:cubicBezTo>
                <a:cubicBezTo>
                  <a:pt x="42" y="307"/>
                  <a:pt x="42" y="307"/>
                  <a:pt x="42" y="309"/>
                </a:cubicBezTo>
                <a:cubicBezTo>
                  <a:pt x="42" y="310"/>
                  <a:pt x="43" y="310"/>
                  <a:pt x="43" y="311"/>
                </a:cubicBezTo>
                <a:cubicBezTo>
                  <a:pt x="44" y="313"/>
                  <a:pt x="45" y="316"/>
                  <a:pt x="46" y="318"/>
                </a:cubicBezTo>
                <a:cubicBezTo>
                  <a:pt x="46" y="318"/>
                  <a:pt x="46" y="317"/>
                  <a:pt x="46" y="318"/>
                </a:cubicBezTo>
                <a:cubicBezTo>
                  <a:pt x="46" y="318"/>
                  <a:pt x="46" y="318"/>
                  <a:pt x="46" y="318"/>
                </a:cubicBezTo>
                <a:cubicBezTo>
                  <a:pt x="46" y="319"/>
                  <a:pt x="46" y="319"/>
                  <a:pt x="47" y="320"/>
                </a:cubicBezTo>
                <a:cubicBezTo>
                  <a:pt x="47" y="320"/>
                  <a:pt x="47" y="324"/>
                  <a:pt x="48" y="324"/>
                </a:cubicBezTo>
                <a:cubicBezTo>
                  <a:pt x="48" y="324"/>
                  <a:pt x="47" y="317"/>
                  <a:pt x="51" y="319"/>
                </a:cubicBezTo>
                <a:cubicBezTo>
                  <a:pt x="51" y="319"/>
                  <a:pt x="52" y="319"/>
                  <a:pt x="52" y="320"/>
                </a:cubicBezTo>
                <a:cubicBezTo>
                  <a:pt x="51" y="316"/>
                  <a:pt x="51" y="310"/>
                  <a:pt x="53" y="306"/>
                </a:cubicBezTo>
                <a:cubicBezTo>
                  <a:pt x="50" y="306"/>
                  <a:pt x="50" y="314"/>
                  <a:pt x="47" y="314"/>
                </a:cubicBezTo>
                <a:cubicBezTo>
                  <a:pt x="45" y="314"/>
                  <a:pt x="48" y="308"/>
                  <a:pt x="46" y="306"/>
                </a:cubicBezTo>
                <a:cubicBezTo>
                  <a:pt x="45" y="305"/>
                  <a:pt x="45" y="306"/>
                  <a:pt x="44" y="305"/>
                </a:cubicBezTo>
                <a:cubicBezTo>
                  <a:pt x="44" y="304"/>
                  <a:pt x="46" y="301"/>
                  <a:pt x="43" y="301"/>
                </a:cubicBezTo>
                <a:cubicBezTo>
                  <a:pt x="40" y="302"/>
                  <a:pt x="46" y="290"/>
                  <a:pt x="49" y="289"/>
                </a:cubicBezTo>
                <a:cubicBezTo>
                  <a:pt x="51" y="289"/>
                  <a:pt x="55" y="290"/>
                  <a:pt x="55" y="291"/>
                </a:cubicBezTo>
                <a:cubicBezTo>
                  <a:pt x="55" y="291"/>
                  <a:pt x="56" y="298"/>
                  <a:pt x="56" y="298"/>
                </a:cubicBezTo>
                <a:cubicBezTo>
                  <a:pt x="56" y="299"/>
                  <a:pt x="56" y="300"/>
                  <a:pt x="56" y="301"/>
                </a:cubicBezTo>
                <a:cubicBezTo>
                  <a:pt x="56" y="301"/>
                  <a:pt x="56" y="301"/>
                  <a:pt x="57" y="300"/>
                </a:cubicBezTo>
                <a:cubicBezTo>
                  <a:pt x="58" y="300"/>
                  <a:pt x="60" y="299"/>
                  <a:pt x="61" y="300"/>
                </a:cubicBezTo>
                <a:cubicBezTo>
                  <a:pt x="66" y="303"/>
                  <a:pt x="64" y="314"/>
                  <a:pt x="63" y="319"/>
                </a:cubicBezTo>
                <a:cubicBezTo>
                  <a:pt x="63" y="318"/>
                  <a:pt x="64" y="318"/>
                  <a:pt x="65" y="318"/>
                </a:cubicBezTo>
                <a:cubicBezTo>
                  <a:pt x="68" y="319"/>
                  <a:pt x="67" y="328"/>
                  <a:pt x="64" y="328"/>
                </a:cubicBezTo>
                <a:cubicBezTo>
                  <a:pt x="64" y="328"/>
                  <a:pt x="64" y="330"/>
                  <a:pt x="63" y="330"/>
                </a:cubicBezTo>
                <a:cubicBezTo>
                  <a:pt x="63" y="330"/>
                  <a:pt x="62" y="328"/>
                  <a:pt x="63" y="328"/>
                </a:cubicBezTo>
                <a:cubicBezTo>
                  <a:pt x="61" y="327"/>
                  <a:pt x="61" y="324"/>
                  <a:pt x="61" y="322"/>
                </a:cubicBezTo>
                <a:cubicBezTo>
                  <a:pt x="61" y="321"/>
                  <a:pt x="60" y="319"/>
                  <a:pt x="58" y="318"/>
                </a:cubicBezTo>
                <a:cubicBezTo>
                  <a:pt x="58" y="318"/>
                  <a:pt x="56" y="319"/>
                  <a:pt x="56" y="319"/>
                </a:cubicBezTo>
                <a:cubicBezTo>
                  <a:pt x="56" y="318"/>
                  <a:pt x="55" y="316"/>
                  <a:pt x="54" y="316"/>
                </a:cubicBezTo>
                <a:cubicBezTo>
                  <a:pt x="52" y="316"/>
                  <a:pt x="53" y="319"/>
                  <a:pt x="52" y="321"/>
                </a:cubicBezTo>
                <a:cubicBezTo>
                  <a:pt x="53" y="324"/>
                  <a:pt x="52" y="328"/>
                  <a:pt x="51" y="329"/>
                </a:cubicBezTo>
                <a:cubicBezTo>
                  <a:pt x="50" y="329"/>
                  <a:pt x="49" y="329"/>
                  <a:pt x="49" y="329"/>
                </a:cubicBezTo>
                <a:cubicBezTo>
                  <a:pt x="49" y="330"/>
                  <a:pt x="50" y="330"/>
                  <a:pt x="50" y="331"/>
                </a:cubicBezTo>
                <a:cubicBezTo>
                  <a:pt x="51" y="332"/>
                  <a:pt x="52" y="333"/>
                  <a:pt x="53" y="334"/>
                </a:cubicBezTo>
                <a:cubicBezTo>
                  <a:pt x="53" y="335"/>
                  <a:pt x="53" y="335"/>
                  <a:pt x="53" y="336"/>
                </a:cubicBezTo>
                <a:cubicBezTo>
                  <a:pt x="56" y="333"/>
                  <a:pt x="57" y="335"/>
                  <a:pt x="56" y="337"/>
                </a:cubicBezTo>
                <a:cubicBezTo>
                  <a:pt x="57" y="338"/>
                  <a:pt x="57" y="339"/>
                  <a:pt x="57" y="339"/>
                </a:cubicBezTo>
                <a:cubicBezTo>
                  <a:pt x="57" y="340"/>
                  <a:pt x="56" y="340"/>
                  <a:pt x="56" y="339"/>
                </a:cubicBezTo>
                <a:cubicBezTo>
                  <a:pt x="56" y="340"/>
                  <a:pt x="56" y="341"/>
                  <a:pt x="55" y="341"/>
                </a:cubicBezTo>
                <a:cubicBezTo>
                  <a:pt x="55" y="341"/>
                  <a:pt x="56" y="342"/>
                  <a:pt x="56" y="342"/>
                </a:cubicBezTo>
                <a:cubicBezTo>
                  <a:pt x="56" y="343"/>
                  <a:pt x="57" y="343"/>
                  <a:pt x="57" y="343"/>
                </a:cubicBezTo>
                <a:cubicBezTo>
                  <a:pt x="58" y="344"/>
                  <a:pt x="57" y="345"/>
                  <a:pt x="57" y="345"/>
                </a:cubicBezTo>
                <a:cubicBezTo>
                  <a:pt x="58" y="346"/>
                  <a:pt x="59" y="347"/>
                  <a:pt x="60" y="348"/>
                </a:cubicBezTo>
                <a:cubicBezTo>
                  <a:pt x="60" y="348"/>
                  <a:pt x="61" y="348"/>
                  <a:pt x="61" y="350"/>
                </a:cubicBezTo>
                <a:cubicBezTo>
                  <a:pt x="62" y="351"/>
                  <a:pt x="62" y="351"/>
                  <a:pt x="63" y="352"/>
                </a:cubicBezTo>
                <a:cubicBezTo>
                  <a:pt x="65" y="356"/>
                  <a:pt x="66" y="361"/>
                  <a:pt x="68" y="365"/>
                </a:cubicBezTo>
                <a:cubicBezTo>
                  <a:pt x="68" y="366"/>
                  <a:pt x="68" y="366"/>
                  <a:pt x="68" y="366"/>
                </a:cubicBezTo>
                <a:cubicBezTo>
                  <a:pt x="68" y="366"/>
                  <a:pt x="69" y="365"/>
                  <a:pt x="68" y="365"/>
                </a:cubicBezTo>
                <a:cubicBezTo>
                  <a:pt x="68" y="364"/>
                  <a:pt x="69" y="362"/>
                  <a:pt x="71" y="361"/>
                </a:cubicBezTo>
                <a:cubicBezTo>
                  <a:pt x="71" y="360"/>
                  <a:pt x="71" y="360"/>
                  <a:pt x="71" y="360"/>
                </a:cubicBezTo>
                <a:cubicBezTo>
                  <a:pt x="72" y="360"/>
                  <a:pt x="74" y="359"/>
                  <a:pt x="75" y="359"/>
                </a:cubicBezTo>
                <a:cubicBezTo>
                  <a:pt x="82" y="360"/>
                  <a:pt x="82" y="374"/>
                  <a:pt x="79" y="380"/>
                </a:cubicBezTo>
                <a:cubicBezTo>
                  <a:pt x="79" y="381"/>
                  <a:pt x="77" y="383"/>
                  <a:pt x="75" y="384"/>
                </a:cubicBezTo>
                <a:cubicBezTo>
                  <a:pt x="76" y="386"/>
                  <a:pt x="77" y="388"/>
                  <a:pt x="76" y="388"/>
                </a:cubicBezTo>
                <a:cubicBezTo>
                  <a:pt x="75" y="389"/>
                  <a:pt x="75" y="387"/>
                  <a:pt x="74" y="385"/>
                </a:cubicBezTo>
                <a:cubicBezTo>
                  <a:pt x="74" y="385"/>
                  <a:pt x="74" y="385"/>
                  <a:pt x="74" y="385"/>
                </a:cubicBezTo>
                <a:cubicBezTo>
                  <a:pt x="73" y="386"/>
                  <a:pt x="73" y="388"/>
                  <a:pt x="72" y="388"/>
                </a:cubicBezTo>
                <a:cubicBezTo>
                  <a:pt x="71" y="388"/>
                  <a:pt x="69" y="384"/>
                  <a:pt x="67" y="380"/>
                </a:cubicBezTo>
                <a:cubicBezTo>
                  <a:pt x="68" y="385"/>
                  <a:pt x="68" y="392"/>
                  <a:pt x="69" y="397"/>
                </a:cubicBezTo>
                <a:cubicBezTo>
                  <a:pt x="69" y="397"/>
                  <a:pt x="71" y="404"/>
                  <a:pt x="70" y="404"/>
                </a:cubicBezTo>
                <a:cubicBezTo>
                  <a:pt x="69" y="405"/>
                  <a:pt x="69" y="398"/>
                  <a:pt x="69" y="397"/>
                </a:cubicBezTo>
                <a:cubicBezTo>
                  <a:pt x="68" y="391"/>
                  <a:pt x="66" y="381"/>
                  <a:pt x="65" y="375"/>
                </a:cubicBezTo>
                <a:cubicBezTo>
                  <a:pt x="65" y="375"/>
                  <a:pt x="65" y="374"/>
                  <a:pt x="65" y="374"/>
                </a:cubicBezTo>
                <a:cubicBezTo>
                  <a:pt x="65" y="374"/>
                  <a:pt x="65" y="374"/>
                  <a:pt x="66" y="374"/>
                </a:cubicBezTo>
                <a:cubicBezTo>
                  <a:pt x="66" y="374"/>
                  <a:pt x="66" y="375"/>
                  <a:pt x="66" y="375"/>
                </a:cubicBezTo>
                <a:cubicBezTo>
                  <a:pt x="66" y="374"/>
                  <a:pt x="66" y="373"/>
                  <a:pt x="66" y="371"/>
                </a:cubicBezTo>
                <a:cubicBezTo>
                  <a:pt x="65" y="371"/>
                  <a:pt x="64" y="370"/>
                  <a:pt x="64" y="370"/>
                </a:cubicBezTo>
                <a:cubicBezTo>
                  <a:pt x="64" y="369"/>
                  <a:pt x="65" y="369"/>
                  <a:pt x="65" y="369"/>
                </a:cubicBezTo>
                <a:cubicBezTo>
                  <a:pt x="64" y="368"/>
                  <a:pt x="64" y="368"/>
                  <a:pt x="63" y="367"/>
                </a:cubicBezTo>
                <a:cubicBezTo>
                  <a:pt x="62" y="366"/>
                  <a:pt x="62" y="364"/>
                  <a:pt x="62" y="362"/>
                </a:cubicBezTo>
                <a:cubicBezTo>
                  <a:pt x="61" y="361"/>
                  <a:pt x="60" y="359"/>
                  <a:pt x="58" y="357"/>
                </a:cubicBezTo>
                <a:cubicBezTo>
                  <a:pt x="58" y="357"/>
                  <a:pt x="59" y="357"/>
                  <a:pt x="59" y="356"/>
                </a:cubicBezTo>
                <a:cubicBezTo>
                  <a:pt x="58" y="355"/>
                  <a:pt x="55" y="353"/>
                  <a:pt x="55" y="352"/>
                </a:cubicBezTo>
                <a:cubicBezTo>
                  <a:pt x="55" y="352"/>
                  <a:pt x="55" y="351"/>
                  <a:pt x="55" y="350"/>
                </a:cubicBezTo>
                <a:cubicBezTo>
                  <a:pt x="55" y="348"/>
                  <a:pt x="53" y="347"/>
                  <a:pt x="53" y="345"/>
                </a:cubicBezTo>
                <a:cubicBezTo>
                  <a:pt x="52" y="343"/>
                  <a:pt x="51" y="341"/>
                  <a:pt x="51" y="340"/>
                </a:cubicBezTo>
                <a:cubicBezTo>
                  <a:pt x="51" y="340"/>
                  <a:pt x="51" y="340"/>
                  <a:pt x="51" y="340"/>
                </a:cubicBezTo>
                <a:cubicBezTo>
                  <a:pt x="51" y="339"/>
                  <a:pt x="50" y="339"/>
                  <a:pt x="50" y="338"/>
                </a:cubicBezTo>
                <a:cubicBezTo>
                  <a:pt x="50" y="338"/>
                  <a:pt x="50" y="337"/>
                  <a:pt x="50" y="337"/>
                </a:cubicBezTo>
                <a:cubicBezTo>
                  <a:pt x="50" y="336"/>
                  <a:pt x="49" y="336"/>
                  <a:pt x="49" y="336"/>
                </a:cubicBezTo>
                <a:cubicBezTo>
                  <a:pt x="49" y="335"/>
                  <a:pt x="50" y="335"/>
                  <a:pt x="49" y="334"/>
                </a:cubicBezTo>
                <a:cubicBezTo>
                  <a:pt x="49" y="334"/>
                  <a:pt x="48" y="334"/>
                  <a:pt x="48" y="333"/>
                </a:cubicBezTo>
                <a:cubicBezTo>
                  <a:pt x="48" y="333"/>
                  <a:pt x="48" y="332"/>
                  <a:pt x="48" y="332"/>
                </a:cubicBezTo>
                <a:cubicBezTo>
                  <a:pt x="48" y="331"/>
                  <a:pt x="47" y="331"/>
                  <a:pt x="46" y="330"/>
                </a:cubicBezTo>
                <a:cubicBezTo>
                  <a:pt x="45" y="329"/>
                  <a:pt x="46" y="327"/>
                  <a:pt x="45" y="326"/>
                </a:cubicBezTo>
                <a:cubicBezTo>
                  <a:pt x="42" y="323"/>
                  <a:pt x="41" y="319"/>
                  <a:pt x="38" y="315"/>
                </a:cubicBezTo>
                <a:cubicBezTo>
                  <a:pt x="37" y="312"/>
                  <a:pt x="35" y="309"/>
                  <a:pt x="34" y="306"/>
                </a:cubicBezTo>
                <a:cubicBezTo>
                  <a:pt x="34" y="306"/>
                  <a:pt x="34" y="307"/>
                  <a:pt x="33" y="307"/>
                </a:cubicBezTo>
                <a:cubicBezTo>
                  <a:pt x="33" y="310"/>
                  <a:pt x="29" y="311"/>
                  <a:pt x="29" y="312"/>
                </a:cubicBezTo>
                <a:cubicBezTo>
                  <a:pt x="29" y="313"/>
                  <a:pt x="30" y="314"/>
                  <a:pt x="30" y="314"/>
                </a:cubicBezTo>
                <a:cubicBezTo>
                  <a:pt x="30" y="314"/>
                  <a:pt x="30" y="314"/>
                  <a:pt x="30" y="314"/>
                </a:cubicBezTo>
                <a:cubicBezTo>
                  <a:pt x="30" y="314"/>
                  <a:pt x="30" y="314"/>
                  <a:pt x="30" y="315"/>
                </a:cubicBezTo>
                <a:cubicBezTo>
                  <a:pt x="31" y="316"/>
                  <a:pt x="32" y="316"/>
                  <a:pt x="32" y="317"/>
                </a:cubicBezTo>
                <a:cubicBezTo>
                  <a:pt x="33" y="319"/>
                  <a:pt x="32" y="319"/>
                  <a:pt x="32" y="320"/>
                </a:cubicBezTo>
                <a:cubicBezTo>
                  <a:pt x="32" y="320"/>
                  <a:pt x="32" y="320"/>
                  <a:pt x="32" y="320"/>
                </a:cubicBezTo>
                <a:cubicBezTo>
                  <a:pt x="32" y="321"/>
                  <a:pt x="33" y="321"/>
                  <a:pt x="33" y="321"/>
                </a:cubicBezTo>
                <a:cubicBezTo>
                  <a:pt x="34" y="322"/>
                  <a:pt x="34" y="326"/>
                  <a:pt x="33" y="327"/>
                </a:cubicBezTo>
                <a:cubicBezTo>
                  <a:pt x="33" y="327"/>
                  <a:pt x="32" y="326"/>
                  <a:pt x="31" y="325"/>
                </a:cubicBezTo>
                <a:cubicBezTo>
                  <a:pt x="31" y="325"/>
                  <a:pt x="31" y="326"/>
                  <a:pt x="31" y="326"/>
                </a:cubicBezTo>
                <a:cubicBezTo>
                  <a:pt x="31" y="327"/>
                  <a:pt x="31" y="328"/>
                  <a:pt x="31" y="328"/>
                </a:cubicBezTo>
                <a:cubicBezTo>
                  <a:pt x="30" y="334"/>
                  <a:pt x="27" y="336"/>
                  <a:pt x="24" y="332"/>
                </a:cubicBezTo>
                <a:cubicBezTo>
                  <a:pt x="22" y="330"/>
                  <a:pt x="23" y="321"/>
                  <a:pt x="28" y="321"/>
                </a:cubicBezTo>
                <a:cubicBezTo>
                  <a:pt x="30" y="322"/>
                  <a:pt x="29" y="322"/>
                  <a:pt x="28" y="320"/>
                </a:cubicBezTo>
                <a:cubicBezTo>
                  <a:pt x="27" y="317"/>
                  <a:pt x="29" y="315"/>
                  <a:pt x="27" y="314"/>
                </a:cubicBezTo>
                <a:cubicBezTo>
                  <a:pt x="22" y="311"/>
                  <a:pt x="22" y="308"/>
                  <a:pt x="24" y="304"/>
                </a:cubicBezTo>
                <a:cubicBezTo>
                  <a:pt x="22" y="304"/>
                  <a:pt x="23" y="301"/>
                  <a:pt x="23" y="300"/>
                </a:cubicBezTo>
                <a:cubicBezTo>
                  <a:pt x="23" y="300"/>
                  <a:pt x="22" y="299"/>
                  <a:pt x="23" y="299"/>
                </a:cubicBezTo>
                <a:cubicBezTo>
                  <a:pt x="24" y="298"/>
                  <a:pt x="25" y="298"/>
                  <a:pt x="25" y="299"/>
                </a:cubicBezTo>
                <a:cubicBezTo>
                  <a:pt x="26" y="298"/>
                  <a:pt x="27" y="298"/>
                  <a:pt x="29" y="298"/>
                </a:cubicBezTo>
                <a:cubicBezTo>
                  <a:pt x="30" y="298"/>
                  <a:pt x="31" y="298"/>
                  <a:pt x="31" y="299"/>
                </a:cubicBezTo>
                <a:cubicBezTo>
                  <a:pt x="31" y="298"/>
                  <a:pt x="31" y="298"/>
                  <a:pt x="31" y="298"/>
                </a:cubicBezTo>
                <a:cubicBezTo>
                  <a:pt x="30" y="296"/>
                  <a:pt x="31" y="294"/>
                  <a:pt x="30" y="293"/>
                </a:cubicBezTo>
                <a:cubicBezTo>
                  <a:pt x="30" y="291"/>
                  <a:pt x="29" y="291"/>
                  <a:pt x="28" y="289"/>
                </a:cubicBezTo>
                <a:cubicBezTo>
                  <a:pt x="28" y="288"/>
                  <a:pt x="28" y="286"/>
                  <a:pt x="27" y="284"/>
                </a:cubicBezTo>
                <a:cubicBezTo>
                  <a:pt x="27" y="285"/>
                  <a:pt x="26" y="287"/>
                  <a:pt x="26" y="289"/>
                </a:cubicBezTo>
                <a:cubicBezTo>
                  <a:pt x="27" y="286"/>
                  <a:pt x="24" y="287"/>
                  <a:pt x="25" y="288"/>
                </a:cubicBezTo>
                <a:cubicBezTo>
                  <a:pt x="24" y="287"/>
                  <a:pt x="22" y="287"/>
                  <a:pt x="21" y="286"/>
                </a:cubicBezTo>
                <a:cubicBezTo>
                  <a:pt x="21" y="285"/>
                  <a:pt x="21" y="284"/>
                  <a:pt x="22" y="283"/>
                </a:cubicBezTo>
                <a:cubicBezTo>
                  <a:pt x="21" y="283"/>
                  <a:pt x="21" y="281"/>
                  <a:pt x="21" y="281"/>
                </a:cubicBezTo>
                <a:cubicBezTo>
                  <a:pt x="22" y="281"/>
                  <a:pt x="22" y="281"/>
                  <a:pt x="22" y="282"/>
                </a:cubicBezTo>
                <a:cubicBezTo>
                  <a:pt x="23" y="281"/>
                  <a:pt x="24" y="280"/>
                  <a:pt x="25" y="280"/>
                </a:cubicBezTo>
                <a:cubicBezTo>
                  <a:pt x="25" y="279"/>
                  <a:pt x="24" y="278"/>
                  <a:pt x="24" y="277"/>
                </a:cubicBezTo>
                <a:cubicBezTo>
                  <a:pt x="24" y="278"/>
                  <a:pt x="23" y="278"/>
                  <a:pt x="23" y="279"/>
                </a:cubicBezTo>
                <a:cubicBezTo>
                  <a:pt x="22" y="279"/>
                  <a:pt x="20" y="277"/>
                  <a:pt x="21" y="275"/>
                </a:cubicBezTo>
                <a:cubicBezTo>
                  <a:pt x="19" y="275"/>
                  <a:pt x="19" y="273"/>
                  <a:pt x="19" y="271"/>
                </a:cubicBezTo>
                <a:cubicBezTo>
                  <a:pt x="18" y="271"/>
                  <a:pt x="17" y="271"/>
                  <a:pt x="16" y="272"/>
                </a:cubicBezTo>
                <a:cubicBezTo>
                  <a:pt x="16" y="272"/>
                  <a:pt x="17" y="273"/>
                  <a:pt x="17" y="273"/>
                </a:cubicBezTo>
                <a:cubicBezTo>
                  <a:pt x="18" y="275"/>
                  <a:pt x="16" y="278"/>
                  <a:pt x="17" y="279"/>
                </a:cubicBezTo>
                <a:cubicBezTo>
                  <a:pt x="17" y="282"/>
                  <a:pt x="15" y="284"/>
                  <a:pt x="14" y="284"/>
                </a:cubicBezTo>
                <a:cubicBezTo>
                  <a:pt x="14" y="285"/>
                  <a:pt x="13" y="285"/>
                  <a:pt x="13" y="285"/>
                </a:cubicBezTo>
                <a:cubicBezTo>
                  <a:pt x="13" y="285"/>
                  <a:pt x="13" y="285"/>
                  <a:pt x="12" y="284"/>
                </a:cubicBezTo>
                <a:cubicBezTo>
                  <a:pt x="12" y="284"/>
                  <a:pt x="12" y="284"/>
                  <a:pt x="12" y="284"/>
                </a:cubicBezTo>
                <a:cubicBezTo>
                  <a:pt x="12" y="284"/>
                  <a:pt x="11" y="284"/>
                  <a:pt x="12" y="283"/>
                </a:cubicBezTo>
                <a:cubicBezTo>
                  <a:pt x="12" y="283"/>
                  <a:pt x="12" y="283"/>
                  <a:pt x="12" y="283"/>
                </a:cubicBezTo>
                <a:cubicBezTo>
                  <a:pt x="12" y="283"/>
                  <a:pt x="12" y="283"/>
                  <a:pt x="12" y="283"/>
                </a:cubicBezTo>
                <a:cubicBezTo>
                  <a:pt x="12" y="282"/>
                  <a:pt x="12" y="280"/>
                  <a:pt x="12" y="278"/>
                </a:cubicBezTo>
                <a:cubicBezTo>
                  <a:pt x="12" y="278"/>
                  <a:pt x="12" y="277"/>
                  <a:pt x="12" y="277"/>
                </a:cubicBezTo>
                <a:cubicBezTo>
                  <a:pt x="12" y="278"/>
                  <a:pt x="12" y="278"/>
                  <a:pt x="11" y="279"/>
                </a:cubicBezTo>
                <a:cubicBezTo>
                  <a:pt x="9" y="282"/>
                  <a:pt x="7" y="277"/>
                  <a:pt x="8" y="276"/>
                </a:cubicBezTo>
                <a:cubicBezTo>
                  <a:pt x="8" y="275"/>
                  <a:pt x="9" y="274"/>
                  <a:pt x="9" y="274"/>
                </a:cubicBezTo>
                <a:cubicBezTo>
                  <a:pt x="10" y="274"/>
                  <a:pt x="10" y="275"/>
                  <a:pt x="10" y="275"/>
                </a:cubicBezTo>
                <a:cubicBezTo>
                  <a:pt x="11" y="275"/>
                  <a:pt x="11" y="275"/>
                  <a:pt x="11" y="276"/>
                </a:cubicBezTo>
                <a:cubicBezTo>
                  <a:pt x="11" y="275"/>
                  <a:pt x="11" y="275"/>
                  <a:pt x="11" y="275"/>
                </a:cubicBezTo>
                <a:cubicBezTo>
                  <a:pt x="11" y="275"/>
                  <a:pt x="10" y="274"/>
                  <a:pt x="10" y="274"/>
                </a:cubicBezTo>
                <a:cubicBezTo>
                  <a:pt x="10" y="274"/>
                  <a:pt x="10" y="273"/>
                  <a:pt x="10" y="272"/>
                </a:cubicBezTo>
                <a:cubicBezTo>
                  <a:pt x="10" y="273"/>
                  <a:pt x="10" y="273"/>
                  <a:pt x="10" y="273"/>
                </a:cubicBezTo>
                <a:cubicBezTo>
                  <a:pt x="10" y="273"/>
                  <a:pt x="9" y="272"/>
                  <a:pt x="9" y="272"/>
                </a:cubicBezTo>
                <a:cubicBezTo>
                  <a:pt x="10" y="271"/>
                  <a:pt x="11" y="271"/>
                  <a:pt x="11" y="272"/>
                </a:cubicBezTo>
                <a:cubicBezTo>
                  <a:pt x="11" y="271"/>
                  <a:pt x="12" y="270"/>
                  <a:pt x="13" y="269"/>
                </a:cubicBezTo>
                <a:cubicBezTo>
                  <a:pt x="12" y="266"/>
                  <a:pt x="11" y="263"/>
                  <a:pt x="9" y="262"/>
                </a:cubicBezTo>
                <a:cubicBezTo>
                  <a:pt x="9" y="262"/>
                  <a:pt x="8" y="262"/>
                  <a:pt x="7" y="263"/>
                </a:cubicBezTo>
                <a:cubicBezTo>
                  <a:pt x="7" y="263"/>
                  <a:pt x="7" y="263"/>
                  <a:pt x="7" y="263"/>
                </a:cubicBezTo>
                <a:cubicBezTo>
                  <a:pt x="6" y="263"/>
                  <a:pt x="6" y="263"/>
                  <a:pt x="6" y="262"/>
                </a:cubicBezTo>
                <a:cubicBezTo>
                  <a:pt x="6" y="262"/>
                  <a:pt x="7" y="257"/>
                  <a:pt x="9" y="260"/>
                </a:cubicBezTo>
                <a:cubicBezTo>
                  <a:pt x="9" y="260"/>
                  <a:pt x="8" y="261"/>
                  <a:pt x="8" y="261"/>
                </a:cubicBezTo>
                <a:cubicBezTo>
                  <a:pt x="11" y="263"/>
                  <a:pt x="10" y="259"/>
                  <a:pt x="10" y="256"/>
                </a:cubicBezTo>
                <a:cubicBezTo>
                  <a:pt x="11" y="254"/>
                  <a:pt x="12" y="252"/>
                  <a:pt x="13" y="250"/>
                </a:cubicBezTo>
                <a:cubicBezTo>
                  <a:pt x="13" y="250"/>
                  <a:pt x="11" y="245"/>
                  <a:pt x="10" y="243"/>
                </a:cubicBezTo>
                <a:cubicBezTo>
                  <a:pt x="10" y="242"/>
                  <a:pt x="9" y="241"/>
                  <a:pt x="9" y="240"/>
                </a:cubicBezTo>
                <a:cubicBezTo>
                  <a:pt x="9" y="240"/>
                  <a:pt x="9" y="240"/>
                  <a:pt x="9" y="240"/>
                </a:cubicBezTo>
                <a:cubicBezTo>
                  <a:pt x="8" y="239"/>
                  <a:pt x="8" y="239"/>
                  <a:pt x="8" y="239"/>
                </a:cubicBezTo>
                <a:cubicBezTo>
                  <a:pt x="8" y="239"/>
                  <a:pt x="8" y="239"/>
                  <a:pt x="8" y="239"/>
                </a:cubicBezTo>
                <a:cubicBezTo>
                  <a:pt x="8" y="240"/>
                  <a:pt x="8" y="240"/>
                  <a:pt x="7" y="240"/>
                </a:cubicBezTo>
                <a:cubicBezTo>
                  <a:pt x="8" y="240"/>
                  <a:pt x="8" y="238"/>
                  <a:pt x="8" y="237"/>
                </a:cubicBezTo>
                <a:cubicBezTo>
                  <a:pt x="7" y="237"/>
                  <a:pt x="7" y="237"/>
                  <a:pt x="7" y="236"/>
                </a:cubicBezTo>
                <a:cubicBezTo>
                  <a:pt x="7" y="236"/>
                  <a:pt x="7" y="236"/>
                  <a:pt x="7" y="236"/>
                </a:cubicBezTo>
                <a:cubicBezTo>
                  <a:pt x="7" y="236"/>
                  <a:pt x="7" y="236"/>
                  <a:pt x="7" y="235"/>
                </a:cubicBezTo>
                <a:cubicBezTo>
                  <a:pt x="7" y="234"/>
                  <a:pt x="6" y="234"/>
                  <a:pt x="5" y="235"/>
                </a:cubicBezTo>
                <a:cubicBezTo>
                  <a:pt x="6" y="234"/>
                  <a:pt x="5" y="239"/>
                  <a:pt x="4" y="238"/>
                </a:cubicBezTo>
                <a:cubicBezTo>
                  <a:pt x="4" y="238"/>
                  <a:pt x="4" y="235"/>
                  <a:pt x="4" y="233"/>
                </a:cubicBezTo>
                <a:cubicBezTo>
                  <a:pt x="4" y="233"/>
                  <a:pt x="3" y="233"/>
                  <a:pt x="3" y="233"/>
                </a:cubicBezTo>
                <a:cubicBezTo>
                  <a:pt x="3" y="236"/>
                  <a:pt x="3" y="234"/>
                  <a:pt x="2" y="233"/>
                </a:cubicBezTo>
                <a:cubicBezTo>
                  <a:pt x="2" y="233"/>
                  <a:pt x="2" y="233"/>
                  <a:pt x="1" y="233"/>
                </a:cubicBezTo>
                <a:cubicBezTo>
                  <a:pt x="1" y="233"/>
                  <a:pt x="1" y="234"/>
                  <a:pt x="1" y="234"/>
                </a:cubicBezTo>
                <a:cubicBezTo>
                  <a:pt x="1" y="272"/>
                  <a:pt x="1" y="272"/>
                  <a:pt x="1" y="272"/>
                </a:cubicBezTo>
                <a:cubicBezTo>
                  <a:pt x="1" y="273"/>
                  <a:pt x="2" y="274"/>
                  <a:pt x="1" y="275"/>
                </a:cubicBezTo>
                <a:cubicBezTo>
                  <a:pt x="1" y="275"/>
                  <a:pt x="1" y="275"/>
                  <a:pt x="1" y="275"/>
                </a:cubicBezTo>
                <a:cubicBezTo>
                  <a:pt x="1" y="359"/>
                  <a:pt x="1" y="359"/>
                  <a:pt x="1" y="359"/>
                </a:cubicBezTo>
                <a:cubicBezTo>
                  <a:pt x="1" y="359"/>
                  <a:pt x="1" y="359"/>
                  <a:pt x="1" y="359"/>
                </a:cubicBezTo>
                <a:cubicBezTo>
                  <a:pt x="7" y="360"/>
                  <a:pt x="4" y="368"/>
                  <a:pt x="1" y="371"/>
                </a:cubicBezTo>
                <a:cubicBezTo>
                  <a:pt x="1" y="448"/>
                  <a:pt x="1" y="448"/>
                  <a:pt x="1" y="448"/>
                </a:cubicBezTo>
                <a:cubicBezTo>
                  <a:pt x="1" y="448"/>
                  <a:pt x="1" y="449"/>
                  <a:pt x="1" y="451"/>
                </a:cubicBezTo>
                <a:cubicBezTo>
                  <a:pt x="1" y="588"/>
                  <a:pt x="1" y="588"/>
                  <a:pt x="1" y="588"/>
                </a:cubicBezTo>
                <a:cubicBezTo>
                  <a:pt x="302" y="762"/>
                  <a:pt x="302" y="762"/>
                  <a:pt x="302" y="762"/>
                </a:cubicBezTo>
                <a:cubicBezTo>
                  <a:pt x="305" y="760"/>
                  <a:pt x="299" y="759"/>
                  <a:pt x="298" y="758"/>
                </a:cubicBezTo>
                <a:close/>
                <a:moveTo>
                  <a:pt x="435" y="727"/>
                </a:moveTo>
                <a:cubicBezTo>
                  <a:pt x="435" y="728"/>
                  <a:pt x="433" y="728"/>
                  <a:pt x="432" y="727"/>
                </a:cubicBezTo>
                <a:cubicBezTo>
                  <a:pt x="432" y="726"/>
                  <a:pt x="434" y="725"/>
                  <a:pt x="435" y="727"/>
                </a:cubicBezTo>
                <a:close/>
                <a:moveTo>
                  <a:pt x="442" y="708"/>
                </a:moveTo>
                <a:cubicBezTo>
                  <a:pt x="440" y="708"/>
                  <a:pt x="440" y="706"/>
                  <a:pt x="442" y="708"/>
                </a:cubicBezTo>
                <a:close/>
                <a:moveTo>
                  <a:pt x="440" y="704"/>
                </a:moveTo>
                <a:cubicBezTo>
                  <a:pt x="439" y="704"/>
                  <a:pt x="439" y="702"/>
                  <a:pt x="440" y="704"/>
                </a:cubicBezTo>
                <a:close/>
                <a:moveTo>
                  <a:pt x="507" y="674"/>
                </a:moveTo>
                <a:cubicBezTo>
                  <a:pt x="509" y="673"/>
                  <a:pt x="509" y="676"/>
                  <a:pt x="507" y="674"/>
                </a:cubicBezTo>
                <a:close/>
                <a:moveTo>
                  <a:pt x="501" y="668"/>
                </a:moveTo>
                <a:cubicBezTo>
                  <a:pt x="502" y="670"/>
                  <a:pt x="499" y="669"/>
                  <a:pt x="499" y="668"/>
                </a:cubicBezTo>
                <a:cubicBezTo>
                  <a:pt x="499" y="667"/>
                  <a:pt x="501" y="667"/>
                  <a:pt x="501" y="668"/>
                </a:cubicBezTo>
                <a:close/>
                <a:moveTo>
                  <a:pt x="500" y="675"/>
                </a:moveTo>
                <a:cubicBezTo>
                  <a:pt x="499" y="676"/>
                  <a:pt x="498" y="674"/>
                  <a:pt x="498" y="674"/>
                </a:cubicBezTo>
                <a:cubicBezTo>
                  <a:pt x="499" y="674"/>
                  <a:pt x="499" y="675"/>
                  <a:pt x="500" y="675"/>
                </a:cubicBezTo>
                <a:close/>
                <a:moveTo>
                  <a:pt x="510" y="641"/>
                </a:moveTo>
                <a:cubicBezTo>
                  <a:pt x="510" y="641"/>
                  <a:pt x="511" y="641"/>
                  <a:pt x="511" y="641"/>
                </a:cubicBezTo>
                <a:cubicBezTo>
                  <a:pt x="513" y="643"/>
                  <a:pt x="509" y="642"/>
                  <a:pt x="510" y="641"/>
                </a:cubicBezTo>
                <a:close/>
                <a:moveTo>
                  <a:pt x="509" y="646"/>
                </a:moveTo>
                <a:cubicBezTo>
                  <a:pt x="510" y="648"/>
                  <a:pt x="507" y="646"/>
                  <a:pt x="508" y="645"/>
                </a:cubicBezTo>
                <a:cubicBezTo>
                  <a:pt x="509" y="645"/>
                  <a:pt x="509" y="646"/>
                  <a:pt x="509" y="646"/>
                </a:cubicBezTo>
                <a:close/>
                <a:moveTo>
                  <a:pt x="508" y="643"/>
                </a:moveTo>
                <a:cubicBezTo>
                  <a:pt x="509" y="642"/>
                  <a:pt x="509" y="643"/>
                  <a:pt x="509" y="644"/>
                </a:cubicBezTo>
                <a:cubicBezTo>
                  <a:pt x="510" y="645"/>
                  <a:pt x="507" y="644"/>
                  <a:pt x="508" y="643"/>
                </a:cubicBezTo>
                <a:close/>
                <a:moveTo>
                  <a:pt x="500" y="642"/>
                </a:moveTo>
                <a:cubicBezTo>
                  <a:pt x="500" y="642"/>
                  <a:pt x="502" y="645"/>
                  <a:pt x="502" y="646"/>
                </a:cubicBezTo>
                <a:cubicBezTo>
                  <a:pt x="501" y="651"/>
                  <a:pt x="497" y="643"/>
                  <a:pt x="500" y="642"/>
                </a:cubicBezTo>
                <a:close/>
                <a:moveTo>
                  <a:pt x="498" y="644"/>
                </a:moveTo>
                <a:cubicBezTo>
                  <a:pt x="498" y="644"/>
                  <a:pt x="498" y="644"/>
                  <a:pt x="498" y="644"/>
                </a:cubicBezTo>
                <a:cubicBezTo>
                  <a:pt x="498" y="644"/>
                  <a:pt x="496" y="644"/>
                  <a:pt x="498" y="644"/>
                </a:cubicBezTo>
                <a:close/>
                <a:moveTo>
                  <a:pt x="495" y="636"/>
                </a:moveTo>
                <a:cubicBezTo>
                  <a:pt x="496" y="635"/>
                  <a:pt x="497" y="638"/>
                  <a:pt x="495" y="636"/>
                </a:cubicBezTo>
                <a:close/>
                <a:moveTo>
                  <a:pt x="495" y="637"/>
                </a:moveTo>
                <a:cubicBezTo>
                  <a:pt x="496" y="637"/>
                  <a:pt x="496" y="638"/>
                  <a:pt x="496" y="638"/>
                </a:cubicBezTo>
                <a:cubicBezTo>
                  <a:pt x="496" y="639"/>
                  <a:pt x="494" y="638"/>
                  <a:pt x="495" y="637"/>
                </a:cubicBezTo>
                <a:close/>
                <a:moveTo>
                  <a:pt x="493" y="642"/>
                </a:moveTo>
                <a:cubicBezTo>
                  <a:pt x="493" y="642"/>
                  <a:pt x="494" y="643"/>
                  <a:pt x="494" y="643"/>
                </a:cubicBezTo>
                <a:cubicBezTo>
                  <a:pt x="494" y="645"/>
                  <a:pt x="492" y="643"/>
                  <a:pt x="493" y="642"/>
                </a:cubicBezTo>
                <a:close/>
                <a:moveTo>
                  <a:pt x="494" y="650"/>
                </a:moveTo>
                <a:cubicBezTo>
                  <a:pt x="494" y="650"/>
                  <a:pt x="493" y="653"/>
                  <a:pt x="492" y="651"/>
                </a:cubicBezTo>
                <a:cubicBezTo>
                  <a:pt x="492" y="650"/>
                  <a:pt x="494" y="648"/>
                  <a:pt x="494" y="650"/>
                </a:cubicBezTo>
                <a:close/>
                <a:moveTo>
                  <a:pt x="498" y="620"/>
                </a:moveTo>
                <a:cubicBezTo>
                  <a:pt x="498" y="620"/>
                  <a:pt x="498" y="620"/>
                  <a:pt x="498" y="620"/>
                </a:cubicBezTo>
                <a:cubicBezTo>
                  <a:pt x="498" y="620"/>
                  <a:pt x="498" y="620"/>
                  <a:pt x="498" y="620"/>
                </a:cubicBezTo>
                <a:cubicBezTo>
                  <a:pt x="498" y="620"/>
                  <a:pt x="498" y="620"/>
                  <a:pt x="498" y="620"/>
                </a:cubicBezTo>
                <a:close/>
                <a:moveTo>
                  <a:pt x="492" y="624"/>
                </a:moveTo>
                <a:cubicBezTo>
                  <a:pt x="493" y="624"/>
                  <a:pt x="493" y="625"/>
                  <a:pt x="492" y="624"/>
                </a:cubicBezTo>
                <a:close/>
                <a:moveTo>
                  <a:pt x="490" y="621"/>
                </a:moveTo>
                <a:cubicBezTo>
                  <a:pt x="491" y="622"/>
                  <a:pt x="490" y="624"/>
                  <a:pt x="489" y="624"/>
                </a:cubicBezTo>
                <a:cubicBezTo>
                  <a:pt x="489" y="623"/>
                  <a:pt x="490" y="621"/>
                  <a:pt x="490" y="621"/>
                </a:cubicBezTo>
                <a:close/>
                <a:moveTo>
                  <a:pt x="489" y="620"/>
                </a:moveTo>
                <a:cubicBezTo>
                  <a:pt x="490" y="620"/>
                  <a:pt x="487" y="619"/>
                  <a:pt x="489" y="620"/>
                </a:cubicBezTo>
                <a:close/>
                <a:moveTo>
                  <a:pt x="485" y="657"/>
                </a:moveTo>
                <a:cubicBezTo>
                  <a:pt x="486" y="656"/>
                  <a:pt x="487" y="657"/>
                  <a:pt x="487" y="657"/>
                </a:cubicBezTo>
                <a:cubicBezTo>
                  <a:pt x="488" y="659"/>
                  <a:pt x="484" y="658"/>
                  <a:pt x="485" y="657"/>
                </a:cubicBezTo>
                <a:close/>
                <a:moveTo>
                  <a:pt x="485" y="644"/>
                </a:moveTo>
                <a:cubicBezTo>
                  <a:pt x="489" y="644"/>
                  <a:pt x="487" y="647"/>
                  <a:pt x="485" y="644"/>
                </a:cubicBezTo>
                <a:close/>
                <a:moveTo>
                  <a:pt x="484" y="637"/>
                </a:moveTo>
                <a:cubicBezTo>
                  <a:pt x="485" y="636"/>
                  <a:pt x="486" y="637"/>
                  <a:pt x="486" y="637"/>
                </a:cubicBezTo>
                <a:cubicBezTo>
                  <a:pt x="486" y="639"/>
                  <a:pt x="484" y="637"/>
                  <a:pt x="484" y="637"/>
                </a:cubicBezTo>
                <a:close/>
                <a:moveTo>
                  <a:pt x="536" y="658"/>
                </a:moveTo>
                <a:cubicBezTo>
                  <a:pt x="533" y="660"/>
                  <a:pt x="529" y="656"/>
                  <a:pt x="530" y="654"/>
                </a:cubicBezTo>
                <a:cubicBezTo>
                  <a:pt x="531" y="652"/>
                  <a:pt x="537" y="654"/>
                  <a:pt x="538" y="655"/>
                </a:cubicBezTo>
                <a:cubicBezTo>
                  <a:pt x="538" y="655"/>
                  <a:pt x="536" y="658"/>
                  <a:pt x="536" y="658"/>
                </a:cubicBezTo>
                <a:close/>
                <a:moveTo>
                  <a:pt x="555" y="657"/>
                </a:moveTo>
                <a:cubicBezTo>
                  <a:pt x="553" y="657"/>
                  <a:pt x="556" y="658"/>
                  <a:pt x="555" y="657"/>
                </a:cubicBezTo>
                <a:close/>
                <a:moveTo>
                  <a:pt x="551" y="654"/>
                </a:moveTo>
                <a:cubicBezTo>
                  <a:pt x="551" y="654"/>
                  <a:pt x="552" y="654"/>
                  <a:pt x="552" y="654"/>
                </a:cubicBezTo>
                <a:cubicBezTo>
                  <a:pt x="553" y="656"/>
                  <a:pt x="549" y="655"/>
                  <a:pt x="551" y="654"/>
                </a:cubicBezTo>
                <a:close/>
                <a:moveTo>
                  <a:pt x="550" y="653"/>
                </a:moveTo>
                <a:cubicBezTo>
                  <a:pt x="550" y="653"/>
                  <a:pt x="550" y="654"/>
                  <a:pt x="549" y="654"/>
                </a:cubicBezTo>
                <a:cubicBezTo>
                  <a:pt x="549" y="653"/>
                  <a:pt x="550" y="653"/>
                  <a:pt x="550" y="653"/>
                </a:cubicBezTo>
                <a:close/>
                <a:moveTo>
                  <a:pt x="546" y="654"/>
                </a:moveTo>
                <a:cubicBezTo>
                  <a:pt x="547" y="654"/>
                  <a:pt x="548" y="655"/>
                  <a:pt x="547" y="656"/>
                </a:cubicBezTo>
                <a:cubicBezTo>
                  <a:pt x="546" y="656"/>
                  <a:pt x="546" y="654"/>
                  <a:pt x="546" y="654"/>
                </a:cubicBezTo>
                <a:close/>
                <a:moveTo>
                  <a:pt x="543" y="650"/>
                </a:moveTo>
                <a:cubicBezTo>
                  <a:pt x="544" y="649"/>
                  <a:pt x="545" y="650"/>
                  <a:pt x="545" y="650"/>
                </a:cubicBezTo>
                <a:cubicBezTo>
                  <a:pt x="546" y="653"/>
                  <a:pt x="542" y="651"/>
                  <a:pt x="543" y="650"/>
                </a:cubicBezTo>
                <a:close/>
                <a:moveTo>
                  <a:pt x="542" y="658"/>
                </a:moveTo>
                <a:cubicBezTo>
                  <a:pt x="544" y="657"/>
                  <a:pt x="543" y="659"/>
                  <a:pt x="542" y="658"/>
                </a:cubicBezTo>
                <a:close/>
                <a:moveTo>
                  <a:pt x="564" y="640"/>
                </a:moveTo>
                <a:cubicBezTo>
                  <a:pt x="565" y="640"/>
                  <a:pt x="564" y="641"/>
                  <a:pt x="564" y="641"/>
                </a:cubicBezTo>
                <a:cubicBezTo>
                  <a:pt x="564" y="643"/>
                  <a:pt x="562" y="640"/>
                  <a:pt x="564" y="640"/>
                </a:cubicBezTo>
                <a:close/>
                <a:moveTo>
                  <a:pt x="549" y="622"/>
                </a:moveTo>
                <a:cubicBezTo>
                  <a:pt x="549" y="622"/>
                  <a:pt x="549" y="622"/>
                  <a:pt x="549" y="622"/>
                </a:cubicBezTo>
                <a:cubicBezTo>
                  <a:pt x="548" y="621"/>
                  <a:pt x="549" y="622"/>
                  <a:pt x="549" y="622"/>
                </a:cubicBezTo>
                <a:close/>
                <a:moveTo>
                  <a:pt x="541" y="636"/>
                </a:moveTo>
                <a:cubicBezTo>
                  <a:pt x="543" y="634"/>
                  <a:pt x="547" y="636"/>
                  <a:pt x="547" y="638"/>
                </a:cubicBezTo>
                <a:cubicBezTo>
                  <a:pt x="547" y="643"/>
                  <a:pt x="539" y="639"/>
                  <a:pt x="541" y="636"/>
                </a:cubicBezTo>
                <a:close/>
                <a:moveTo>
                  <a:pt x="547" y="620"/>
                </a:moveTo>
                <a:cubicBezTo>
                  <a:pt x="547" y="620"/>
                  <a:pt x="547" y="620"/>
                  <a:pt x="547" y="619"/>
                </a:cubicBezTo>
                <a:cubicBezTo>
                  <a:pt x="546" y="619"/>
                  <a:pt x="546" y="619"/>
                  <a:pt x="546" y="619"/>
                </a:cubicBezTo>
                <a:cubicBezTo>
                  <a:pt x="546" y="619"/>
                  <a:pt x="547" y="620"/>
                  <a:pt x="547" y="620"/>
                </a:cubicBezTo>
                <a:close/>
                <a:moveTo>
                  <a:pt x="546" y="630"/>
                </a:moveTo>
                <a:cubicBezTo>
                  <a:pt x="547" y="633"/>
                  <a:pt x="544" y="631"/>
                  <a:pt x="543" y="630"/>
                </a:cubicBezTo>
                <a:cubicBezTo>
                  <a:pt x="543" y="629"/>
                  <a:pt x="546" y="629"/>
                  <a:pt x="546" y="630"/>
                </a:cubicBezTo>
                <a:close/>
                <a:moveTo>
                  <a:pt x="541" y="625"/>
                </a:moveTo>
                <a:cubicBezTo>
                  <a:pt x="542" y="625"/>
                  <a:pt x="542" y="626"/>
                  <a:pt x="542" y="626"/>
                </a:cubicBezTo>
                <a:cubicBezTo>
                  <a:pt x="543" y="628"/>
                  <a:pt x="540" y="626"/>
                  <a:pt x="541" y="625"/>
                </a:cubicBezTo>
                <a:close/>
                <a:moveTo>
                  <a:pt x="537" y="624"/>
                </a:moveTo>
                <a:cubicBezTo>
                  <a:pt x="537" y="624"/>
                  <a:pt x="538" y="625"/>
                  <a:pt x="538" y="625"/>
                </a:cubicBezTo>
                <a:cubicBezTo>
                  <a:pt x="539" y="626"/>
                  <a:pt x="535" y="625"/>
                  <a:pt x="537" y="624"/>
                </a:cubicBezTo>
                <a:close/>
                <a:moveTo>
                  <a:pt x="546" y="599"/>
                </a:moveTo>
                <a:cubicBezTo>
                  <a:pt x="547" y="598"/>
                  <a:pt x="547" y="601"/>
                  <a:pt x="546" y="599"/>
                </a:cubicBezTo>
                <a:close/>
                <a:moveTo>
                  <a:pt x="541" y="575"/>
                </a:moveTo>
                <a:cubicBezTo>
                  <a:pt x="542" y="576"/>
                  <a:pt x="541" y="573"/>
                  <a:pt x="541" y="575"/>
                </a:cubicBezTo>
                <a:close/>
                <a:moveTo>
                  <a:pt x="537" y="591"/>
                </a:moveTo>
                <a:cubicBezTo>
                  <a:pt x="537" y="591"/>
                  <a:pt x="537" y="591"/>
                  <a:pt x="537" y="591"/>
                </a:cubicBezTo>
                <a:cubicBezTo>
                  <a:pt x="535" y="590"/>
                  <a:pt x="539" y="590"/>
                  <a:pt x="537" y="591"/>
                </a:cubicBezTo>
                <a:close/>
                <a:moveTo>
                  <a:pt x="539" y="565"/>
                </a:moveTo>
                <a:cubicBezTo>
                  <a:pt x="539" y="565"/>
                  <a:pt x="539" y="565"/>
                  <a:pt x="539" y="565"/>
                </a:cubicBezTo>
                <a:cubicBezTo>
                  <a:pt x="539" y="564"/>
                  <a:pt x="539" y="563"/>
                  <a:pt x="539" y="565"/>
                </a:cubicBezTo>
                <a:close/>
                <a:moveTo>
                  <a:pt x="565" y="556"/>
                </a:moveTo>
                <a:cubicBezTo>
                  <a:pt x="564" y="557"/>
                  <a:pt x="564" y="555"/>
                  <a:pt x="565" y="556"/>
                </a:cubicBezTo>
                <a:close/>
                <a:moveTo>
                  <a:pt x="562" y="554"/>
                </a:moveTo>
                <a:cubicBezTo>
                  <a:pt x="564" y="554"/>
                  <a:pt x="562" y="555"/>
                  <a:pt x="562" y="554"/>
                </a:cubicBezTo>
                <a:close/>
                <a:moveTo>
                  <a:pt x="559" y="574"/>
                </a:moveTo>
                <a:cubicBezTo>
                  <a:pt x="559" y="574"/>
                  <a:pt x="559" y="574"/>
                  <a:pt x="560" y="574"/>
                </a:cubicBezTo>
                <a:cubicBezTo>
                  <a:pt x="560" y="574"/>
                  <a:pt x="560" y="574"/>
                  <a:pt x="560" y="574"/>
                </a:cubicBezTo>
                <a:cubicBezTo>
                  <a:pt x="560" y="574"/>
                  <a:pt x="560" y="574"/>
                  <a:pt x="560" y="574"/>
                </a:cubicBezTo>
                <a:cubicBezTo>
                  <a:pt x="559" y="574"/>
                  <a:pt x="559" y="574"/>
                  <a:pt x="559" y="573"/>
                </a:cubicBezTo>
                <a:cubicBezTo>
                  <a:pt x="559" y="573"/>
                  <a:pt x="559" y="574"/>
                  <a:pt x="559" y="574"/>
                </a:cubicBezTo>
                <a:close/>
                <a:moveTo>
                  <a:pt x="554" y="557"/>
                </a:moveTo>
                <a:cubicBezTo>
                  <a:pt x="554" y="558"/>
                  <a:pt x="553" y="554"/>
                  <a:pt x="554" y="557"/>
                </a:cubicBezTo>
                <a:close/>
                <a:moveTo>
                  <a:pt x="551" y="572"/>
                </a:moveTo>
                <a:cubicBezTo>
                  <a:pt x="552" y="572"/>
                  <a:pt x="552" y="574"/>
                  <a:pt x="552" y="574"/>
                </a:cubicBezTo>
                <a:cubicBezTo>
                  <a:pt x="552" y="575"/>
                  <a:pt x="551" y="573"/>
                  <a:pt x="551" y="572"/>
                </a:cubicBezTo>
                <a:close/>
                <a:moveTo>
                  <a:pt x="551" y="559"/>
                </a:moveTo>
                <a:cubicBezTo>
                  <a:pt x="551" y="559"/>
                  <a:pt x="552" y="560"/>
                  <a:pt x="551" y="559"/>
                </a:cubicBezTo>
                <a:cubicBezTo>
                  <a:pt x="551" y="559"/>
                  <a:pt x="551" y="559"/>
                  <a:pt x="551" y="559"/>
                </a:cubicBezTo>
                <a:close/>
                <a:moveTo>
                  <a:pt x="552" y="557"/>
                </a:moveTo>
                <a:cubicBezTo>
                  <a:pt x="552" y="558"/>
                  <a:pt x="553" y="559"/>
                  <a:pt x="552" y="559"/>
                </a:cubicBezTo>
                <a:cubicBezTo>
                  <a:pt x="550" y="560"/>
                  <a:pt x="551" y="555"/>
                  <a:pt x="552" y="557"/>
                </a:cubicBezTo>
                <a:close/>
                <a:moveTo>
                  <a:pt x="551" y="551"/>
                </a:moveTo>
                <a:cubicBezTo>
                  <a:pt x="551" y="552"/>
                  <a:pt x="551" y="550"/>
                  <a:pt x="550" y="550"/>
                </a:cubicBezTo>
                <a:cubicBezTo>
                  <a:pt x="551" y="549"/>
                  <a:pt x="551" y="551"/>
                  <a:pt x="551" y="551"/>
                </a:cubicBezTo>
                <a:close/>
                <a:moveTo>
                  <a:pt x="592" y="604"/>
                </a:moveTo>
                <a:cubicBezTo>
                  <a:pt x="592" y="605"/>
                  <a:pt x="593" y="606"/>
                  <a:pt x="593" y="608"/>
                </a:cubicBezTo>
                <a:cubicBezTo>
                  <a:pt x="592" y="607"/>
                  <a:pt x="591" y="606"/>
                  <a:pt x="592" y="604"/>
                </a:cubicBezTo>
                <a:close/>
                <a:moveTo>
                  <a:pt x="595" y="604"/>
                </a:moveTo>
                <a:cubicBezTo>
                  <a:pt x="596" y="606"/>
                  <a:pt x="594" y="603"/>
                  <a:pt x="595" y="604"/>
                </a:cubicBezTo>
                <a:close/>
                <a:moveTo>
                  <a:pt x="606" y="616"/>
                </a:moveTo>
                <a:cubicBezTo>
                  <a:pt x="606" y="616"/>
                  <a:pt x="606" y="617"/>
                  <a:pt x="606" y="617"/>
                </a:cubicBezTo>
                <a:cubicBezTo>
                  <a:pt x="605" y="618"/>
                  <a:pt x="605" y="616"/>
                  <a:pt x="606" y="616"/>
                </a:cubicBezTo>
                <a:close/>
                <a:moveTo>
                  <a:pt x="679" y="480"/>
                </a:moveTo>
                <a:cubicBezTo>
                  <a:pt x="678" y="480"/>
                  <a:pt x="678" y="480"/>
                  <a:pt x="678" y="479"/>
                </a:cubicBezTo>
                <a:cubicBezTo>
                  <a:pt x="678" y="478"/>
                  <a:pt x="680" y="480"/>
                  <a:pt x="679" y="480"/>
                </a:cubicBezTo>
                <a:close/>
                <a:moveTo>
                  <a:pt x="663" y="546"/>
                </a:moveTo>
                <a:cubicBezTo>
                  <a:pt x="664" y="544"/>
                  <a:pt x="665" y="546"/>
                  <a:pt x="666" y="547"/>
                </a:cubicBezTo>
                <a:cubicBezTo>
                  <a:pt x="666" y="550"/>
                  <a:pt x="661" y="548"/>
                  <a:pt x="663" y="546"/>
                </a:cubicBezTo>
                <a:close/>
                <a:moveTo>
                  <a:pt x="668" y="558"/>
                </a:moveTo>
                <a:cubicBezTo>
                  <a:pt x="668" y="558"/>
                  <a:pt x="668" y="558"/>
                  <a:pt x="667" y="558"/>
                </a:cubicBezTo>
                <a:cubicBezTo>
                  <a:pt x="664" y="557"/>
                  <a:pt x="669" y="555"/>
                  <a:pt x="668" y="558"/>
                </a:cubicBezTo>
                <a:close/>
                <a:moveTo>
                  <a:pt x="668" y="529"/>
                </a:moveTo>
                <a:cubicBezTo>
                  <a:pt x="669" y="528"/>
                  <a:pt x="669" y="529"/>
                  <a:pt x="670" y="529"/>
                </a:cubicBezTo>
                <a:cubicBezTo>
                  <a:pt x="670" y="531"/>
                  <a:pt x="667" y="530"/>
                  <a:pt x="668" y="529"/>
                </a:cubicBezTo>
                <a:close/>
                <a:moveTo>
                  <a:pt x="671" y="547"/>
                </a:moveTo>
                <a:cubicBezTo>
                  <a:pt x="670" y="546"/>
                  <a:pt x="670" y="545"/>
                  <a:pt x="671" y="545"/>
                </a:cubicBezTo>
                <a:cubicBezTo>
                  <a:pt x="671" y="545"/>
                  <a:pt x="673" y="547"/>
                  <a:pt x="671" y="547"/>
                </a:cubicBezTo>
                <a:close/>
                <a:moveTo>
                  <a:pt x="674" y="539"/>
                </a:moveTo>
                <a:cubicBezTo>
                  <a:pt x="674" y="540"/>
                  <a:pt x="675" y="541"/>
                  <a:pt x="674" y="541"/>
                </a:cubicBezTo>
                <a:cubicBezTo>
                  <a:pt x="672" y="541"/>
                  <a:pt x="674" y="537"/>
                  <a:pt x="674" y="539"/>
                </a:cubicBezTo>
                <a:close/>
                <a:moveTo>
                  <a:pt x="674" y="500"/>
                </a:moveTo>
                <a:cubicBezTo>
                  <a:pt x="675" y="501"/>
                  <a:pt x="673" y="501"/>
                  <a:pt x="674" y="500"/>
                </a:cubicBezTo>
                <a:close/>
                <a:moveTo>
                  <a:pt x="674" y="542"/>
                </a:moveTo>
                <a:cubicBezTo>
                  <a:pt x="674" y="542"/>
                  <a:pt x="674" y="543"/>
                  <a:pt x="674" y="544"/>
                </a:cubicBezTo>
                <a:cubicBezTo>
                  <a:pt x="674" y="544"/>
                  <a:pt x="675" y="544"/>
                  <a:pt x="674" y="545"/>
                </a:cubicBezTo>
                <a:cubicBezTo>
                  <a:pt x="674" y="545"/>
                  <a:pt x="674" y="545"/>
                  <a:pt x="674" y="545"/>
                </a:cubicBezTo>
                <a:cubicBezTo>
                  <a:pt x="674" y="546"/>
                  <a:pt x="674" y="547"/>
                  <a:pt x="674" y="549"/>
                </a:cubicBezTo>
                <a:cubicBezTo>
                  <a:pt x="673" y="547"/>
                  <a:pt x="673" y="544"/>
                  <a:pt x="674" y="542"/>
                </a:cubicBezTo>
                <a:close/>
                <a:moveTo>
                  <a:pt x="676" y="552"/>
                </a:moveTo>
                <a:cubicBezTo>
                  <a:pt x="676" y="553"/>
                  <a:pt x="676" y="553"/>
                  <a:pt x="676" y="553"/>
                </a:cubicBezTo>
                <a:cubicBezTo>
                  <a:pt x="675" y="554"/>
                  <a:pt x="675" y="551"/>
                  <a:pt x="676" y="552"/>
                </a:cubicBezTo>
                <a:close/>
                <a:moveTo>
                  <a:pt x="675" y="516"/>
                </a:moveTo>
                <a:cubicBezTo>
                  <a:pt x="676" y="516"/>
                  <a:pt x="676" y="517"/>
                  <a:pt x="676" y="517"/>
                </a:cubicBezTo>
                <a:cubicBezTo>
                  <a:pt x="677" y="519"/>
                  <a:pt x="674" y="517"/>
                  <a:pt x="675" y="516"/>
                </a:cubicBezTo>
                <a:close/>
                <a:moveTo>
                  <a:pt x="674" y="502"/>
                </a:moveTo>
                <a:cubicBezTo>
                  <a:pt x="675" y="502"/>
                  <a:pt x="676" y="504"/>
                  <a:pt x="676" y="505"/>
                </a:cubicBezTo>
                <a:cubicBezTo>
                  <a:pt x="675" y="505"/>
                  <a:pt x="675" y="503"/>
                  <a:pt x="674" y="502"/>
                </a:cubicBezTo>
                <a:close/>
                <a:moveTo>
                  <a:pt x="675" y="481"/>
                </a:moveTo>
                <a:cubicBezTo>
                  <a:pt x="674" y="481"/>
                  <a:pt x="674" y="480"/>
                  <a:pt x="674" y="480"/>
                </a:cubicBezTo>
                <a:cubicBezTo>
                  <a:pt x="675" y="479"/>
                  <a:pt x="675" y="480"/>
                  <a:pt x="675" y="481"/>
                </a:cubicBezTo>
                <a:close/>
                <a:moveTo>
                  <a:pt x="672" y="412"/>
                </a:moveTo>
                <a:cubicBezTo>
                  <a:pt x="675" y="413"/>
                  <a:pt x="672" y="417"/>
                  <a:pt x="670" y="416"/>
                </a:cubicBezTo>
                <a:cubicBezTo>
                  <a:pt x="670" y="416"/>
                  <a:pt x="670" y="411"/>
                  <a:pt x="672" y="412"/>
                </a:cubicBezTo>
                <a:close/>
                <a:moveTo>
                  <a:pt x="668" y="453"/>
                </a:moveTo>
                <a:cubicBezTo>
                  <a:pt x="669" y="453"/>
                  <a:pt x="668" y="454"/>
                  <a:pt x="667" y="453"/>
                </a:cubicBezTo>
                <a:cubicBezTo>
                  <a:pt x="667" y="453"/>
                  <a:pt x="668" y="452"/>
                  <a:pt x="668" y="453"/>
                </a:cubicBezTo>
                <a:close/>
                <a:moveTo>
                  <a:pt x="667" y="446"/>
                </a:moveTo>
                <a:cubicBezTo>
                  <a:pt x="665" y="447"/>
                  <a:pt x="668" y="444"/>
                  <a:pt x="667" y="446"/>
                </a:cubicBezTo>
                <a:close/>
                <a:moveTo>
                  <a:pt x="673" y="492"/>
                </a:moveTo>
                <a:cubicBezTo>
                  <a:pt x="672" y="498"/>
                  <a:pt x="665" y="495"/>
                  <a:pt x="665" y="490"/>
                </a:cubicBezTo>
                <a:cubicBezTo>
                  <a:pt x="665" y="482"/>
                  <a:pt x="674" y="486"/>
                  <a:pt x="673" y="492"/>
                </a:cubicBezTo>
                <a:close/>
                <a:moveTo>
                  <a:pt x="664" y="429"/>
                </a:moveTo>
                <a:cubicBezTo>
                  <a:pt x="665" y="429"/>
                  <a:pt x="665" y="430"/>
                  <a:pt x="664" y="430"/>
                </a:cubicBezTo>
                <a:cubicBezTo>
                  <a:pt x="662" y="430"/>
                  <a:pt x="663" y="427"/>
                  <a:pt x="664" y="429"/>
                </a:cubicBezTo>
                <a:close/>
                <a:moveTo>
                  <a:pt x="663" y="455"/>
                </a:moveTo>
                <a:cubicBezTo>
                  <a:pt x="663" y="455"/>
                  <a:pt x="662" y="456"/>
                  <a:pt x="662" y="456"/>
                </a:cubicBezTo>
                <a:cubicBezTo>
                  <a:pt x="662" y="456"/>
                  <a:pt x="662" y="455"/>
                  <a:pt x="663" y="455"/>
                </a:cubicBezTo>
                <a:close/>
                <a:moveTo>
                  <a:pt x="661" y="411"/>
                </a:moveTo>
                <a:cubicBezTo>
                  <a:pt x="661" y="411"/>
                  <a:pt x="661" y="411"/>
                  <a:pt x="661" y="410"/>
                </a:cubicBezTo>
                <a:cubicBezTo>
                  <a:pt x="661" y="410"/>
                  <a:pt x="661" y="410"/>
                  <a:pt x="661" y="410"/>
                </a:cubicBezTo>
                <a:cubicBezTo>
                  <a:pt x="661" y="410"/>
                  <a:pt x="661" y="411"/>
                  <a:pt x="661" y="411"/>
                </a:cubicBezTo>
                <a:close/>
                <a:moveTo>
                  <a:pt x="633" y="545"/>
                </a:moveTo>
                <a:cubicBezTo>
                  <a:pt x="633" y="545"/>
                  <a:pt x="633" y="545"/>
                  <a:pt x="633" y="545"/>
                </a:cubicBezTo>
                <a:cubicBezTo>
                  <a:pt x="633" y="545"/>
                  <a:pt x="632" y="544"/>
                  <a:pt x="633" y="545"/>
                </a:cubicBezTo>
                <a:close/>
                <a:moveTo>
                  <a:pt x="633" y="509"/>
                </a:moveTo>
                <a:cubicBezTo>
                  <a:pt x="632" y="508"/>
                  <a:pt x="633" y="507"/>
                  <a:pt x="634" y="507"/>
                </a:cubicBezTo>
                <a:cubicBezTo>
                  <a:pt x="635" y="507"/>
                  <a:pt x="635" y="510"/>
                  <a:pt x="633" y="509"/>
                </a:cubicBezTo>
                <a:close/>
                <a:moveTo>
                  <a:pt x="635" y="516"/>
                </a:moveTo>
                <a:cubicBezTo>
                  <a:pt x="634" y="517"/>
                  <a:pt x="634" y="516"/>
                  <a:pt x="634" y="516"/>
                </a:cubicBezTo>
                <a:cubicBezTo>
                  <a:pt x="634" y="515"/>
                  <a:pt x="635" y="516"/>
                  <a:pt x="635" y="516"/>
                </a:cubicBezTo>
                <a:close/>
                <a:moveTo>
                  <a:pt x="637" y="522"/>
                </a:moveTo>
                <a:cubicBezTo>
                  <a:pt x="638" y="522"/>
                  <a:pt x="639" y="528"/>
                  <a:pt x="639" y="529"/>
                </a:cubicBezTo>
                <a:cubicBezTo>
                  <a:pt x="638" y="534"/>
                  <a:pt x="636" y="523"/>
                  <a:pt x="637" y="522"/>
                </a:cubicBezTo>
                <a:close/>
                <a:moveTo>
                  <a:pt x="639" y="541"/>
                </a:moveTo>
                <a:cubicBezTo>
                  <a:pt x="639" y="541"/>
                  <a:pt x="640" y="539"/>
                  <a:pt x="640" y="541"/>
                </a:cubicBezTo>
                <a:cubicBezTo>
                  <a:pt x="640" y="540"/>
                  <a:pt x="640" y="542"/>
                  <a:pt x="639" y="541"/>
                </a:cubicBezTo>
                <a:close/>
                <a:moveTo>
                  <a:pt x="641" y="545"/>
                </a:moveTo>
                <a:cubicBezTo>
                  <a:pt x="638" y="545"/>
                  <a:pt x="640" y="542"/>
                  <a:pt x="642" y="543"/>
                </a:cubicBezTo>
                <a:cubicBezTo>
                  <a:pt x="643" y="543"/>
                  <a:pt x="642" y="546"/>
                  <a:pt x="641" y="545"/>
                </a:cubicBezTo>
                <a:close/>
                <a:moveTo>
                  <a:pt x="652" y="501"/>
                </a:moveTo>
                <a:cubicBezTo>
                  <a:pt x="652" y="501"/>
                  <a:pt x="651" y="499"/>
                  <a:pt x="652" y="500"/>
                </a:cubicBezTo>
                <a:cubicBezTo>
                  <a:pt x="652" y="500"/>
                  <a:pt x="653" y="501"/>
                  <a:pt x="652" y="501"/>
                </a:cubicBezTo>
                <a:close/>
                <a:moveTo>
                  <a:pt x="655" y="533"/>
                </a:moveTo>
                <a:cubicBezTo>
                  <a:pt x="654" y="529"/>
                  <a:pt x="654" y="522"/>
                  <a:pt x="654" y="518"/>
                </a:cubicBezTo>
                <a:cubicBezTo>
                  <a:pt x="654" y="520"/>
                  <a:pt x="654" y="517"/>
                  <a:pt x="654" y="517"/>
                </a:cubicBezTo>
                <a:cubicBezTo>
                  <a:pt x="656" y="517"/>
                  <a:pt x="655" y="519"/>
                  <a:pt x="655" y="521"/>
                </a:cubicBezTo>
                <a:cubicBezTo>
                  <a:pt x="655" y="523"/>
                  <a:pt x="656" y="529"/>
                  <a:pt x="655" y="533"/>
                </a:cubicBezTo>
                <a:close/>
                <a:moveTo>
                  <a:pt x="659" y="476"/>
                </a:moveTo>
                <a:cubicBezTo>
                  <a:pt x="659" y="479"/>
                  <a:pt x="659" y="474"/>
                  <a:pt x="659" y="476"/>
                </a:cubicBezTo>
                <a:close/>
                <a:moveTo>
                  <a:pt x="659" y="479"/>
                </a:moveTo>
                <a:cubicBezTo>
                  <a:pt x="660" y="482"/>
                  <a:pt x="659" y="477"/>
                  <a:pt x="659" y="479"/>
                </a:cubicBezTo>
                <a:close/>
                <a:moveTo>
                  <a:pt x="659" y="492"/>
                </a:moveTo>
                <a:cubicBezTo>
                  <a:pt x="659" y="492"/>
                  <a:pt x="659" y="493"/>
                  <a:pt x="659" y="493"/>
                </a:cubicBezTo>
                <a:cubicBezTo>
                  <a:pt x="660" y="495"/>
                  <a:pt x="658" y="493"/>
                  <a:pt x="659" y="492"/>
                </a:cubicBezTo>
                <a:close/>
                <a:moveTo>
                  <a:pt x="658" y="525"/>
                </a:moveTo>
                <a:cubicBezTo>
                  <a:pt x="659" y="525"/>
                  <a:pt x="659" y="526"/>
                  <a:pt x="658" y="526"/>
                </a:cubicBezTo>
                <a:cubicBezTo>
                  <a:pt x="657" y="526"/>
                  <a:pt x="658" y="525"/>
                  <a:pt x="658" y="525"/>
                </a:cubicBezTo>
                <a:close/>
                <a:moveTo>
                  <a:pt x="655" y="464"/>
                </a:moveTo>
                <a:cubicBezTo>
                  <a:pt x="654" y="464"/>
                  <a:pt x="654" y="461"/>
                  <a:pt x="655" y="461"/>
                </a:cubicBezTo>
                <a:cubicBezTo>
                  <a:pt x="656" y="461"/>
                  <a:pt x="656" y="464"/>
                  <a:pt x="655" y="464"/>
                </a:cubicBezTo>
                <a:close/>
                <a:moveTo>
                  <a:pt x="654" y="423"/>
                </a:moveTo>
                <a:cubicBezTo>
                  <a:pt x="654" y="423"/>
                  <a:pt x="654" y="423"/>
                  <a:pt x="653" y="423"/>
                </a:cubicBezTo>
                <a:cubicBezTo>
                  <a:pt x="653" y="422"/>
                  <a:pt x="653" y="422"/>
                  <a:pt x="653" y="422"/>
                </a:cubicBezTo>
                <a:cubicBezTo>
                  <a:pt x="653" y="422"/>
                  <a:pt x="653" y="423"/>
                  <a:pt x="654" y="423"/>
                </a:cubicBezTo>
                <a:close/>
                <a:moveTo>
                  <a:pt x="655" y="454"/>
                </a:moveTo>
                <a:cubicBezTo>
                  <a:pt x="653" y="452"/>
                  <a:pt x="649" y="448"/>
                  <a:pt x="649" y="445"/>
                </a:cubicBezTo>
                <a:cubicBezTo>
                  <a:pt x="651" y="449"/>
                  <a:pt x="654" y="450"/>
                  <a:pt x="655" y="454"/>
                </a:cubicBezTo>
                <a:close/>
                <a:moveTo>
                  <a:pt x="648" y="439"/>
                </a:moveTo>
                <a:cubicBezTo>
                  <a:pt x="648" y="439"/>
                  <a:pt x="648" y="440"/>
                  <a:pt x="648" y="440"/>
                </a:cubicBezTo>
                <a:cubicBezTo>
                  <a:pt x="647" y="440"/>
                  <a:pt x="647" y="438"/>
                  <a:pt x="648" y="439"/>
                </a:cubicBezTo>
                <a:close/>
                <a:moveTo>
                  <a:pt x="647" y="500"/>
                </a:moveTo>
                <a:cubicBezTo>
                  <a:pt x="648" y="501"/>
                  <a:pt x="648" y="502"/>
                  <a:pt x="647" y="502"/>
                </a:cubicBezTo>
                <a:cubicBezTo>
                  <a:pt x="643" y="503"/>
                  <a:pt x="646" y="496"/>
                  <a:pt x="647" y="500"/>
                </a:cubicBezTo>
                <a:close/>
                <a:moveTo>
                  <a:pt x="646" y="457"/>
                </a:moveTo>
                <a:cubicBezTo>
                  <a:pt x="646" y="457"/>
                  <a:pt x="646" y="458"/>
                  <a:pt x="646" y="458"/>
                </a:cubicBezTo>
                <a:cubicBezTo>
                  <a:pt x="644" y="459"/>
                  <a:pt x="645" y="456"/>
                  <a:pt x="646" y="457"/>
                </a:cubicBezTo>
                <a:close/>
                <a:moveTo>
                  <a:pt x="642" y="405"/>
                </a:moveTo>
                <a:cubicBezTo>
                  <a:pt x="642" y="406"/>
                  <a:pt x="643" y="406"/>
                  <a:pt x="642" y="406"/>
                </a:cubicBezTo>
                <a:cubicBezTo>
                  <a:pt x="642" y="407"/>
                  <a:pt x="642" y="405"/>
                  <a:pt x="642" y="405"/>
                </a:cubicBezTo>
                <a:close/>
                <a:moveTo>
                  <a:pt x="642" y="528"/>
                </a:moveTo>
                <a:cubicBezTo>
                  <a:pt x="645" y="524"/>
                  <a:pt x="650" y="530"/>
                  <a:pt x="651" y="533"/>
                </a:cubicBezTo>
                <a:cubicBezTo>
                  <a:pt x="651" y="543"/>
                  <a:pt x="638" y="533"/>
                  <a:pt x="642" y="528"/>
                </a:cubicBezTo>
                <a:close/>
                <a:moveTo>
                  <a:pt x="641" y="494"/>
                </a:moveTo>
                <a:cubicBezTo>
                  <a:pt x="640" y="493"/>
                  <a:pt x="640" y="491"/>
                  <a:pt x="641" y="490"/>
                </a:cubicBezTo>
                <a:cubicBezTo>
                  <a:pt x="641" y="491"/>
                  <a:pt x="641" y="492"/>
                  <a:pt x="641" y="494"/>
                </a:cubicBezTo>
                <a:close/>
                <a:moveTo>
                  <a:pt x="641" y="488"/>
                </a:moveTo>
                <a:cubicBezTo>
                  <a:pt x="641" y="488"/>
                  <a:pt x="641" y="488"/>
                  <a:pt x="641" y="488"/>
                </a:cubicBezTo>
                <a:cubicBezTo>
                  <a:pt x="641" y="488"/>
                  <a:pt x="641" y="488"/>
                  <a:pt x="641" y="488"/>
                </a:cubicBezTo>
                <a:cubicBezTo>
                  <a:pt x="641" y="488"/>
                  <a:pt x="641" y="488"/>
                  <a:pt x="641" y="488"/>
                </a:cubicBezTo>
                <a:close/>
                <a:moveTo>
                  <a:pt x="641" y="452"/>
                </a:moveTo>
                <a:cubicBezTo>
                  <a:pt x="641" y="452"/>
                  <a:pt x="641" y="452"/>
                  <a:pt x="641" y="452"/>
                </a:cubicBezTo>
                <a:cubicBezTo>
                  <a:pt x="641" y="454"/>
                  <a:pt x="640" y="450"/>
                  <a:pt x="641" y="452"/>
                </a:cubicBezTo>
                <a:close/>
                <a:moveTo>
                  <a:pt x="641" y="478"/>
                </a:moveTo>
                <a:cubicBezTo>
                  <a:pt x="641" y="478"/>
                  <a:pt x="641" y="479"/>
                  <a:pt x="641" y="479"/>
                </a:cubicBezTo>
                <a:cubicBezTo>
                  <a:pt x="641" y="479"/>
                  <a:pt x="641" y="479"/>
                  <a:pt x="641" y="480"/>
                </a:cubicBezTo>
                <a:cubicBezTo>
                  <a:pt x="641" y="480"/>
                  <a:pt x="641" y="481"/>
                  <a:pt x="641" y="480"/>
                </a:cubicBezTo>
                <a:cubicBezTo>
                  <a:pt x="641" y="480"/>
                  <a:pt x="641" y="479"/>
                  <a:pt x="641" y="479"/>
                </a:cubicBezTo>
                <a:cubicBezTo>
                  <a:pt x="641" y="479"/>
                  <a:pt x="641" y="479"/>
                  <a:pt x="641" y="479"/>
                </a:cubicBezTo>
                <a:cubicBezTo>
                  <a:pt x="641" y="479"/>
                  <a:pt x="641" y="478"/>
                  <a:pt x="641" y="478"/>
                </a:cubicBezTo>
                <a:close/>
                <a:moveTo>
                  <a:pt x="641" y="482"/>
                </a:moveTo>
                <a:cubicBezTo>
                  <a:pt x="641" y="483"/>
                  <a:pt x="641" y="485"/>
                  <a:pt x="641" y="487"/>
                </a:cubicBezTo>
                <a:cubicBezTo>
                  <a:pt x="640" y="486"/>
                  <a:pt x="640" y="484"/>
                  <a:pt x="641" y="482"/>
                </a:cubicBezTo>
                <a:close/>
                <a:moveTo>
                  <a:pt x="640" y="442"/>
                </a:moveTo>
                <a:cubicBezTo>
                  <a:pt x="639" y="440"/>
                  <a:pt x="634" y="435"/>
                  <a:pt x="634" y="432"/>
                </a:cubicBezTo>
                <a:cubicBezTo>
                  <a:pt x="636" y="435"/>
                  <a:pt x="639" y="439"/>
                  <a:pt x="640" y="442"/>
                </a:cubicBezTo>
                <a:close/>
                <a:moveTo>
                  <a:pt x="633" y="488"/>
                </a:moveTo>
                <a:cubicBezTo>
                  <a:pt x="634" y="488"/>
                  <a:pt x="634" y="489"/>
                  <a:pt x="634" y="489"/>
                </a:cubicBezTo>
                <a:cubicBezTo>
                  <a:pt x="634" y="492"/>
                  <a:pt x="630" y="488"/>
                  <a:pt x="633" y="488"/>
                </a:cubicBezTo>
                <a:close/>
                <a:moveTo>
                  <a:pt x="633" y="524"/>
                </a:moveTo>
                <a:cubicBezTo>
                  <a:pt x="634" y="524"/>
                  <a:pt x="634" y="526"/>
                  <a:pt x="632" y="526"/>
                </a:cubicBezTo>
                <a:cubicBezTo>
                  <a:pt x="631" y="526"/>
                  <a:pt x="631" y="524"/>
                  <a:pt x="633" y="524"/>
                </a:cubicBezTo>
                <a:close/>
                <a:moveTo>
                  <a:pt x="582" y="488"/>
                </a:moveTo>
                <a:cubicBezTo>
                  <a:pt x="583" y="489"/>
                  <a:pt x="581" y="487"/>
                  <a:pt x="582" y="488"/>
                </a:cubicBezTo>
                <a:close/>
                <a:moveTo>
                  <a:pt x="583" y="573"/>
                </a:moveTo>
                <a:cubicBezTo>
                  <a:pt x="585" y="572"/>
                  <a:pt x="587" y="574"/>
                  <a:pt x="589" y="575"/>
                </a:cubicBezTo>
                <a:cubicBezTo>
                  <a:pt x="587" y="575"/>
                  <a:pt x="585" y="574"/>
                  <a:pt x="583" y="573"/>
                </a:cubicBezTo>
                <a:close/>
                <a:moveTo>
                  <a:pt x="590" y="563"/>
                </a:moveTo>
                <a:cubicBezTo>
                  <a:pt x="591" y="564"/>
                  <a:pt x="590" y="565"/>
                  <a:pt x="590" y="563"/>
                </a:cubicBezTo>
                <a:close/>
                <a:moveTo>
                  <a:pt x="590" y="549"/>
                </a:moveTo>
                <a:cubicBezTo>
                  <a:pt x="588" y="548"/>
                  <a:pt x="590" y="547"/>
                  <a:pt x="590" y="549"/>
                </a:cubicBezTo>
                <a:close/>
                <a:moveTo>
                  <a:pt x="595" y="560"/>
                </a:moveTo>
                <a:cubicBezTo>
                  <a:pt x="594" y="559"/>
                  <a:pt x="594" y="557"/>
                  <a:pt x="595" y="555"/>
                </a:cubicBezTo>
                <a:cubicBezTo>
                  <a:pt x="596" y="556"/>
                  <a:pt x="595" y="558"/>
                  <a:pt x="595" y="560"/>
                </a:cubicBezTo>
                <a:close/>
                <a:moveTo>
                  <a:pt x="603" y="595"/>
                </a:moveTo>
                <a:cubicBezTo>
                  <a:pt x="600" y="596"/>
                  <a:pt x="600" y="592"/>
                  <a:pt x="603" y="595"/>
                </a:cubicBezTo>
                <a:close/>
                <a:moveTo>
                  <a:pt x="607" y="583"/>
                </a:moveTo>
                <a:cubicBezTo>
                  <a:pt x="603" y="584"/>
                  <a:pt x="604" y="579"/>
                  <a:pt x="604" y="577"/>
                </a:cubicBezTo>
                <a:cubicBezTo>
                  <a:pt x="607" y="576"/>
                  <a:pt x="611" y="582"/>
                  <a:pt x="607" y="583"/>
                </a:cubicBezTo>
                <a:close/>
                <a:moveTo>
                  <a:pt x="606" y="564"/>
                </a:moveTo>
                <a:cubicBezTo>
                  <a:pt x="608" y="564"/>
                  <a:pt x="609" y="565"/>
                  <a:pt x="610" y="567"/>
                </a:cubicBezTo>
                <a:cubicBezTo>
                  <a:pt x="610" y="567"/>
                  <a:pt x="610" y="567"/>
                  <a:pt x="610" y="567"/>
                </a:cubicBezTo>
                <a:cubicBezTo>
                  <a:pt x="610" y="567"/>
                  <a:pt x="610" y="567"/>
                  <a:pt x="610" y="567"/>
                </a:cubicBezTo>
                <a:cubicBezTo>
                  <a:pt x="611" y="568"/>
                  <a:pt x="612" y="569"/>
                  <a:pt x="612" y="569"/>
                </a:cubicBezTo>
                <a:cubicBezTo>
                  <a:pt x="613" y="569"/>
                  <a:pt x="613" y="569"/>
                  <a:pt x="613" y="570"/>
                </a:cubicBezTo>
                <a:cubicBezTo>
                  <a:pt x="613" y="570"/>
                  <a:pt x="613" y="570"/>
                  <a:pt x="613" y="570"/>
                </a:cubicBezTo>
                <a:cubicBezTo>
                  <a:pt x="613" y="570"/>
                  <a:pt x="613" y="570"/>
                  <a:pt x="613" y="570"/>
                </a:cubicBezTo>
                <a:cubicBezTo>
                  <a:pt x="613" y="570"/>
                  <a:pt x="613" y="570"/>
                  <a:pt x="613" y="571"/>
                </a:cubicBezTo>
                <a:cubicBezTo>
                  <a:pt x="613" y="570"/>
                  <a:pt x="612" y="570"/>
                  <a:pt x="612" y="570"/>
                </a:cubicBezTo>
                <a:cubicBezTo>
                  <a:pt x="610" y="568"/>
                  <a:pt x="608" y="565"/>
                  <a:pt x="606" y="564"/>
                </a:cubicBezTo>
                <a:close/>
                <a:moveTo>
                  <a:pt x="613" y="568"/>
                </a:moveTo>
                <a:cubicBezTo>
                  <a:pt x="611" y="567"/>
                  <a:pt x="613" y="565"/>
                  <a:pt x="613" y="568"/>
                </a:cubicBezTo>
                <a:close/>
                <a:moveTo>
                  <a:pt x="616" y="579"/>
                </a:moveTo>
                <a:cubicBezTo>
                  <a:pt x="612" y="580"/>
                  <a:pt x="611" y="573"/>
                  <a:pt x="613" y="572"/>
                </a:cubicBezTo>
                <a:cubicBezTo>
                  <a:pt x="616" y="570"/>
                  <a:pt x="618" y="575"/>
                  <a:pt x="618" y="576"/>
                </a:cubicBezTo>
                <a:cubicBezTo>
                  <a:pt x="618" y="578"/>
                  <a:pt x="617" y="579"/>
                  <a:pt x="616" y="579"/>
                </a:cubicBezTo>
                <a:close/>
                <a:moveTo>
                  <a:pt x="615" y="543"/>
                </a:moveTo>
                <a:cubicBezTo>
                  <a:pt x="616" y="543"/>
                  <a:pt x="617" y="543"/>
                  <a:pt x="617" y="544"/>
                </a:cubicBezTo>
                <a:cubicBezTo>
                  <a:pt x="618" y="547"/>
                  <a:pt x="613" y="545"/>
                  <a:pt x="615" y="543"/>
                </a:cubicBezTo>
                <a:close/>
                <a:moveTo>
                  <a:pt x="615" y="515"/>
                </a:moveTo>
                <a:cubicBezTo>
                  <a:pt x="616" y="515"/>
                  <a:pt x="616" y="516"/>
                  <a:pt x="616" y="516"/>
                </a:cubicBezTo>
                <a:cubicBezTo>
                  <a:pt x="617" y="518"/>
                  <a:pt x="614" y="516"/>
                  <a:pt x="615" y="515"/>
                </a:cubicBezTo>
                <a:close/>
                <a:moveTo>
                  <a:pt x="617" y="556"/>
                </a:moveTo>
                <a:cubicBezTo>
                  <a:pt x="617" y="556"/>
                  <a:pt x="617" y="556"/>
                  <a:pt x="617" y="556"/>
                </a:cubicBezTo>
                <a:cubicBezTo>
                  <a:pt x="615" y="555"/>
                  <a:pt x="618" y="555"/>
                  <a:pt x="617" y="556"/>
                </a:cubicBezTo>
                <a:close/>
                <a:moveTo>
                  <a:pt x="618" y="554"/>
                </a:moveTo>
                <a:cubicBezTo>
                  <a:pt x="618" y="553"/>
                  <a:pt x="618" y="555"/>
                  <a:pt x="618" y="555"/>
                </a:cubicBezTo>
                <a:cubicBezTo>
                  <a:pt x="618" y="556"/>
                  <a:pt x="616" y="555"/>
                  <a:pt x="618" y="554"/>
                </a:cubicBezTo>
                <a:close/>
                <a:moveTo>
                  <a:pt x="618" y="537"/>
                </a:moveTo>
                <a:cubicBezTo>
                  <a:pt x="617" y="536"/>
                  <a:pt x="617" y="533"/>
                  <a:pt x="619" y="534"/>
                </a:cubicBezTo>
                <a:cubicBezTo>
                  <a:pt x="620" y="534"/>
                  <a:pt x="620" y="538"/>
                  <a:pt x="618" y="537"/>
                </a:cubicBezTo>
                <a:close/>
                <a:moveTo>
                  <a:pt x="621" y="553"/>
                </a:moveTo>
                <a:cubicBezTo>
                  <a:pt x="619" y="554"/>
                  <a:pt x="620" y="549"/>
                  <a:pt x="621" y="552"/>
                </a:cubicBezTo>
                <a:cubicBezTo>
                  <a:pt x="622" y="552"/>
                  <a:pt x="622" y="553"/>
                  <a:pt x="621" y="553"/>
                </a:cubicBezTo>
                <a:close/>
                <a:moveTo>
                  <a:pt x="623" y="544"/>
                </a:moveTo>
                <a:cubicBezTo>
                  <a:pt x="622" y="543"/>
                  <a:pt x="624" y="543"/>
                  <a:pt x="623" y="544"/>
                </a:cubicBezTo>
                <a:close/>
                <a:moveTo>
                  <a:pt x="624" y="553"/>
                </a:moveTo>
                <a:cubicBezTo>
                  <a:pt x="625" y="554"/>
                  <a:pt x="623" y="551"/>
                  <a:pt x="624" y="553"/>
                </a:cubicBezTo>
                <a:close/>
                <a:moveTo>
                  <a:pt x="624" y="503"/>
                </a:moveTo>
                <a:cubicBezTo>
                  <a:pt x="622" y="502"/>
                  <a:pt x="623" y="497"/>
                  <a:pt x="626" y="497"/>
                </a:cubicBezTo>
                <a:cubicBezTo>
                  <a:pt x="629" y="498"/>
                  <a:pt x="627" y="505"/>
                  <a:pt x="624" y="503"/>
                </a:cubicBezTo>
                <a:close/>
                <a:moveTo>
                  <a:pt x="628" y="419"/>
                </a:moveTo>
                <a:cubicBezTo>
                  <a:pt x="629" y="420"/>
                  <a:pt x="628" y="421"/>
                  <a:pt x="627" y="420"/>
                </a:cubicBezTo>
                <a:cubicBezTo>
                  <a:pt x="627" y="419"/>
                  <a:pt x="628" y="419"/>
                  <a:pt x="628" y="419"/>
                </a:cubicBezTo>
                <a:close/>
                <a:moveTo>
                  <a:pt x="628" y="466"/>
                </a:moveTo>
                <a:cubicBezTo>
                  <a:pt x="629" y="467"/>
                  <a:pt x="627" y="472"/>
                  <a:pt x="624" y="469"/>
                </a:cubicBezTo>
                <a:cubicBezTo>
                  <a:pt x="623" y="468"/>
                  <a:pt x="626" y="465"/>
                  <a:pt x="628" y="466"/>
                </a:cubicBezTo>
                <a:close/>
                <a:moveTo>
                  <a:pt x="624" y="448"/>
                </a:moveTo>
                <a:cubicBezTo>
                  <a:pt x="627" y="450"/>
                  <a:pt x="625" y="451"/>
                  <a:pt x="624" y="448"/>
                </a:cubicBezTo>
                <a:close/>
                <a:moveTo>
                  <a:pt x="624" y="438"/>
                </a:moveTo>
                <a:cubicBezTo>
                  <a:pt x="625" y="439"/>
                  <a:pt x="623" y="437"/>
                  <a:pt x="624" y="438"/>
                </a:cubicBezTo>
                <a:close/>
                <a:moveTo>
                  <a:pt x="625" y="439"/>
                </a:moveTo>
                <a:cubicBezTo>
                  <a:pt x="628" y="439"/>
                  <a:pt x="628" y="444"/>
                  <a:pt x="625" y="444"/>
                </a:cubicBezTo>
                <a:cubicBezTo>
                  <a:pt x="623" y="444"/>
                  <a:pt x="623" y="439"/>
                  <a:pt x="625" y="439"/>
                </a:cubicBezTo>
                <a:close/>
                <a:moveTo>
                  <a:pt x="623" y="483"/>
                </a:moveTo>
                <a:cubicBezTo>
                  <a:pt x="624" y="484"/>
                  <a:pt x="622" y="484"/>
                  <a:pt x="623" y="483"/>
                </a:cubicBezTo>
                <a:close/>
                <a:moveTo>
                  <a:pt x="621" y="454"/>
                </a:moveTo>
                <a:cubicBezTo>
                  <a:pt x="622" y="454"/>
                  <a:pt x="621" y="455"/>
                  <a:pt x="621" y="455"/>
                </a:cubicBezTo>
                <a:cubicBezTo>
                  <a:pt x="620" y="454"/>
                  <a:pt x="621" y="454"/>
                  <a:pt x="621" y="454"/>
                </a:cubicBezTo>
                <a:close/>
                <a:moveTo>
                  <a:pt x="618" y="462"/>
                </a:moveTo>
                <a:cubicBezTo>
                  <a:pt x="618" y="462"/>
                  <a:pt x="619" y="463"/>
                  <a:pt x="619" y="463"/>
                </a:cubicBezTo>
                <a:cubicBezTo>
                  <a:pt x="618" y="464"/>
                  <a:pt x="618" y="461"/>
                  <a:pt x="618" y="462"/>
                </a:cubicBezTo>
                <a:close/>
                <a:moveTo>
                  <a:pt x="615" y="421"/>
                </a:moveTo>
                <a:cubicBezTo>
                  <a:pt x="616" y="421"/>
                  <a:pt x="616" y="422"/>
                  <a:pt x="616" y="422"/>
                </a:cubicBezTo>
                <a:cubicBezTo>
                  <a:pt x="615" y="423"/>
                  <a:pt x="615" y="421"/>
                  <a:pt x="615" y="421"/>
                </a:cubicBezTo>
                <a:close/>
                <a:moveTo>
                  <a:pt x="625" y="495"/>
                </a:moveTo>
                <a:cubicBezTo>
                  <a:pt x="624" y="495"/>
                  <a:pt x="622" y="497"/>
                  <a:pt x="621" y="496"/>
                </a:cubicBezTo>
                <a:cubicBezTo>
                  <a:pt x="620" y="495"/>
                  <a:pt x="622" y="494"/>
                  <a:pt x="621" y="493"/>
                </a:cubicBezTo>
                <a:cubicBezTo>
                  <a:pt x="620" y="490"/>
                  <a:pt x="616" y="488"/>
                  <a:pt x="615" y="485"/>
                </a:cubicBezTo>
                <a:cubicBezTo>
                  <a:pt x="618" y="487"/>
                  <a:pt x="621" y="491"/>
                  <a:pt x="625" y="495"/>
                </a:cubicBezTo>
                <a:close/>
                <a:moveTo>
                  <a:pt x="612" y="402"/>
                </a:moveTo>
                <a:cubicBezTo>
                  <a:pt x="613" y="401"/>
                  <a:pt x="614" y="403"/>
                  <a:pt x="614" y="403"/>
                </a:cubicBezTo>
                <a:cubicBezTo>
                  <a:pt x="614" y="406"/>
                  <a:pt x="610" y="403"/>
                  <a:pt x="612" y="402"/>
                </a:cubicBezTo>
                <a:close/>
                <a:moveTo>
                  <a:pt x="612" y="522"/>
                </a:moveTo>
                <a:cubicBezTo>
                  <a:pt x="613" y="522"/>
                  <a:pt x="613" y="524"/>
                  <a:pt x="612" y="524"/>
                </a:cubicBezTo>
                <a:cubicBezTo>
                  <a:pt x="611" y="523"/>
                  <a:pt x="611" y="522"/>
                  <a:pt x="612" y="522"/>
                </a:cubicBezTo>
                <a:close/>
                <a:moveTo>
                  <a:pt x="612" y="517"/>
                </a:moveTo>
                <a:cubicBezTo>
                  <a:pt x="613" y="519"/>
                  <a:pt x="612" y="516"/>
                  <a:pt x="612" y="517"/>
                </a:cubicBezTo>
                <a:close/>
                <a:moveTo>
                  <a:pt x="613" y="502"/>
                </a:moveTo>
                <a:cubicBezTo>
                  <a:pt x="613" y="503"/>
                  <a:pt x="614" y="504"/>
                  <a:pt x="613" y="505"/>
                </a:cubicBezTo>
                <a:cubicBezTo>
                  <a:pt x="613" y="504"/>
                  <a:pt x="612" y="503"/>
                  <a:pt x="613" y="502"/>
                </a:cubicBezTo>
                <a:close/>
                <a:moveTo>
                  <a:pt x="612" y="484"/>
                </a:moveTo>
                <a:cubicBezTo>
                  <a:pt x="613" y="484"/>
                  <a:pt x="614" y="487"/>
                  <a:pt x="612" y="487"/>
                </a:cubicBezTo>
                <a:cubicBezTo>
                  <a:pt x="610" y="486"/>
                  <a:pt x="611" y="484"/>
                  <a:pt x="612" y="484"/>
                </a:cubicBezTo>
                <a:close/>
                <a:moveTo>
                  <a:pt x="611" y="489"/>
                </a:moveTo>
                <a:cubicBezTo>
                  <a:pt x="612" y="488"/>
                  <a:pt x="612" y="490"/>
                  <a:pt x="612" y="490"/>
                </a:cubicBezTo>
                <a:cubicBezTo>
                  <a:pt x="613" y="493"/>
                  <a:pt x="609" y="489"/>
                  <a:pt x="611" y="489"/>
                </a:cubicBezTo>
                <a:close/>
                <a:moveTo>
                  <a:pt x="609" y="556"/>
                </a:moveTo>
                <a:cubicBezTo>
                  <a:pt x="612" y="553"/>
                  <a:pt x="618" y="559"/>
                  <a:pt x="614" y="562"/>
                </a:cubicBezTo>
                <a:cubicBezTo>
                  <a:pt x="615" y="561"/>
                  <a:pt x="617" y="563"/>
                  <a:pt x="616" y="564"/>
                </a:cubicBezTo>
                <a:cubicBezTo>
                  <a:pt x="615" y="566"/>
                  <a:pt x="612" y="563"/>
                  <a:pt x="614" y="562"/>
                </a:cubicBezTo>
                <a:cubicBezTo>
                  <a:pt x="611" y="563"/>
                  <a:pt x="607" y="558"/>
                  <a:pt x="609" y="556"/>
                </a:cubicBezTo>
                <a:close/>
                <a:moveTo>
                  <a:pt x="607" y="532"/>
                </a:moveTo>
                <a:cubicBezTo>
                  <a:pt x="607" y="532"/>
                  <a:pt x="608" y="533"/>
                  <a:pt x="608" y="533"/>
                </a:cubicBezTo>
                <a:cubicBezTo>
                  <a:pt x="607" y="534"/>
                  <a:pt x="607" y="532"/>
                  <a:pt x="607" y="532"/>
                </a:cubicBezTo>
                <a:close/>
                <a:moveTo>
                  <a:pt x="607" y="517"/>
                </a:moveTo>
                <a:cubicBezTo>
                  <a:pt x="607" y="517"/>
                  <a:pt x="606" y="517"/>
                  <a:pt x="606" y="517"/>
                </a:cubicBezTo>
                <a:cubicBezTo>
                  <a:pt x="606" y="517"/>
                  <a:pt x="606" y="517"/>
                  <a:pt x="606" y="517"/>
                </a:cubicBezTo>
                <a:cubicBezTo>
                  <a:pt x="606" y="517"/>
                  <a:pt x="607" y="517"/>
                  <a:pt x="607" y="517"/>
                </a:cubicBezTo>
                <a:close/>
                <a:moveTo>
                  <a:pt x="606" y="571"/>
                </a:moveTo>
                <a:cubicBezTo>
                  <a:pt x="606" y="570"/>
                  <a:pt x="606" y="570"/>
                  <a:pt x="606" y="570"/>
                </a:cubicBezTo>
                <a:cubicBezTo>
                  <a:pt x="606" y="571"/>
                  <a:pt x="607" y="572"/>
                  <a:pt x="606" y="571"/>
                </a:cubicBezTo>
                <a:close/>
                <a:moveTo>
                  <a:pt x="605" y="461"/>
                </a:moveTo>
                <a:cubicBezTo>
                  <a:pt x="605" y="461"/>
                  <a:pt x="606" y="462"/>
                  <a:pt x="605" y="462"/>
                </a:cubicBezTo>
                <a:cubicBezTo>
                  <a:pt x="605" y="463"/>
                  <a:pt x="605" y="461"/>
                  <a:pt x="605" y="461"/>
                </a:cubicBezTo>
                <a:close/>
                <a:moveTo>
                  <a:pt x="602" y="525"/>
                </a:moveTo>
                <a:cubicBezTo>
                  <a:pt x="603" y="527"/>
                  <a:pt x="604" y="530"/>
                  <a:pt x="604" y="534"/>
                </a:cubicBezTo>
                <a:cubicBezTo>
                  <a:pt x="603" y="531"/>
                  <a:pt x="602" y="528"/>
                  <a:pt x="602" y="525"/>
                </a:cubicBezTo>
                <a:close/>
                <a:moveTo>
                  <a:pt x="604" y="450"/>
                </a:moveTo>
                <a:cubicBezTo>
                  <a:pt x="604" y="450"/>
                  <a:pt x="604" y="450"/>
                  <a:pt x="604" y="450"/>
                </a:cubicBezTo>
                <a:cubicBezTo>
                  <a:pt x="603" y="450"/>
                  <a:pt x="604" y="450"/>
                  <a:pt x="604" y="450"/>
                </a:cubicBezTo>
                <a:close/>
                <a:moveTo>
                  <a:pt x="604" y="477"/>
                </a:moveTo>
                <a:cubicBezTo>
                  <a:pt x="603" y="476"/>
                  <a:pt x="604" y="475"/>
                  <a:pt x="604" y="477"/>
                </a:cubicBezTo>
                <a:close/>
                <a:moveTo>
                  <a:pt x="602" y="450"/>
                </a:moveTo>
                <a:cubicBezTo>
                  <a:pt x="602" y="450"/>
                  <a:pt x="601" y="450"/>
                  <a:pt x="601" y="450"/>
                </a:cubicBezTo>
                <a:cubicBezTo>
                  <a:pt x="599" y="450"/>
                  <a:pt x="603" y="448"/>
                  <a:pt x="602" y="450"/>
                </a:cubicBezTo>
                <a:close/>
                <a:moveTo>
                  <a:pt x="601" y="516"/>
                </a:moveTo>
                <a:cubicBezTo>
                  <a:pt x="602" y="518"/>
                  <a:pt x="602" y="521"/>
                  <a:pt x="602" y="522"/>
                </a:cubicBezTo>
                <a:cubicBezTo>
                  <a:pt x="602" y="522"/>
                  <a:pt x="600" y="518"/>
                  <a:pt x="601" y="516"/>
                </a:cubicBezTo>
                <a:close/>
                <a:moveTo>
                  <a:pt x="597" y="521"/>
                </a:moveTo>
                <a:cubicBezTo>
                  <a:pt x="598" y="521"/>
                  <a:pt x="598" y="522"/>
                  <a:pt x="599" y="522"/>
                </a:cubicBezTo>
                <a:cubicBezTo>
                  <a:pt x="599" y="523"/>
                  <a:pt x="597" y="522"/>
                  <a:pt x="597" y="521"/>
                </a:cubicBezTo>
                <a:close/>
                <a:moveTo>
                  <a:pt x="597" y="542"/>
                </a:moveTo>
                <a:cubicBezTo>
                  <a:pt x="598" y="545"/>
                  <a:pt x="593" y="542"/>
                  <a:pt x="595" y="540"/>
                </a:cubicBezTo>
                <a:cubicBezTo>
                  <a:pt x="596" y="539"/>
                  <a:pt x="597" y="541"/>
                  <a:pt x="597" y="542"/>
                </a:cubicBezTo>
                <a:close/>
                <a:moveTo>
                  <a:pt x="594" y="433"/>
                </a:moveTo>
                <a:cubicBezTo>
                  <a:pt x="593" y="434"/>
                  <a:pt x="594" y="431"/>
                  <a:pt x="594" y="433"/>
                </a:cubicBezTo>
                <a:close/>
                <a:moveTo>
                  <a:pt x="595" y="451"/>
                </a:moveTo>
                <a:cubicBezTo>
                  <a:pt x="595" y="451"/>
                  <a:pt x="595" y="452"/>
                  <a:pt x="596" y="453"/>
                </a:cubicBezTo>
                <a:cubicBezTo>
                  <a:pt x="596" y="455"/>
                  <a:pt x="592" y="452"/>
                  <a:pt x="595" y="451"/>
                </a:cubicBezTo>
                <a:close/>
                <a:moveTo>
                  <a:pt x="595" y="520"/>
                </a:moveTo>
                <a:cubicBezTo>
                  <a:pt x="595" y="520"/>
                  <a:pt x="595" y="520"/>
                  <a:pt x="594" y="519"/>
                </a:cubicBezTo>
                <a:cubicBezTo>
                  <a:pt x="594" y="519"/>
                  <a:pt x="594" y="519"/>
                  <a:pt x="594" y="519"/>
                </a:cubicBezTo>
                <a:cubicBezTo>
                  <a:pt x="594" y="519"/>
                  <a:pt x="595" y="520"/>
                  <a:pt x="595" y="520"/>
                </a:cubicBezTo>
                <a:close/>
                <a:moveTo>
                  <a:pt x="595" y="538"/>
                </a:moveTo>
                <a:cubicBezTo>
                  <a:pt x="595" y="543"/>
                  <a:pt x="590" y="531"/>
                  <a:pt x="590" y="529"/>
                </a:cubicBezTo>
                <a:cubicBezTo>
                  <a:pt x="591" y="532"/>
                  <a:pt x="589" y="528"/>
                  <a:pt x="589" y="527"/>
                </a:cubicBezTo>
                <a:cubicBezTo>
                  <a:pt x="591" y="527"/>
                  <a:pt x="592" y="531"/>
                  <a:pt x="592" y="531"/>
                </a:cubicBezTo>
                <a:cubicBezTo>
                  <a:pt x="593" y="533"/>
                  <a:pt x="595" y="536"/>
                  <a:pt x="595" y="538"/>
                </a:cubicBezTo>
                <a:close/>
                <a:moveTo>
                  <a:pt x="590" y="422"/>
                </a:moveTo>
                <a:cubicBezTo>
                  <a:pt x="589" y="421"/>
                  <a:pt x="591" y="423"/>
                  <a:pt x="590" y="422"/>
                </a:cubicBezTo>
                <a:close/>
                <a:moveTo>
                  <a:pt x="591" y="452"/>
                </a:moveTo>
                <a:cubicBezTo>
                  <a:pt x="591" y="452"/>
                  <a:pt x="591" y="454"/>
                  <a:pt x="590" y="454"/>
                </a:cubicBezTo>
                <a:cubicBezTo>
                  <a:pt x="589" y="454"/>
                  <a:pt x="590" y="452"/>
                  <a:pt x="591" y="452"/>
                </a:cubicBezTo>
                <a:close/>
                <a:moveTo>
                  <a:pt x="588" y="505"/>
                </a:moveTo>
                <a:cubicBezTo>
                  <a:pt x="590" y="505"/>
                  <a:pt x="591" y="509"/>
                  <a:pt x="590" y="510"/>
                </a:cubicBezTo>
                <a:cubicBezTo>
                  <a:pt x="588" y="511"/>
                  <a:pt x="587" y="507"/>
                  <a:pt x="588" y="505"/>
                </a:cubicBezTo>
                <a:close/>
                <a:moveTo>
                  <a:pt x="589" y="546"/>
                </a:moveTo>
                <a:cubicBezTo>
                  <a:pt x="589" y="545"/>
                  <a:pt x="589" y="545"/>
                  <a:pt x="589" y="545"/>
                </a:cubicBezTo>
                <a:cubicBezTo>
                  <a:pt x="589" y="545"/>
                  <a:pt x="589" y="545"/>
                  <a:pt x="589" y="546"/>
                </a:cubicBezTo>
                <a:cubicBezTo>
                  <a:pt x="589" y="546"/>
                  <a:pt x="589" y="546"/>
                  <a:pt x="589" y="546"/>
                </a:cubicBezTo>
                <a:cubicBezTo>
                  <a:pt x="589" y="546"/>
                  <a:pt x="589" y="546"/>
                  <a:pt x="589" y="546"/>
                </a:cubicBezTo>
                <a:close/>
                <a:moveTo>
                  <a:pt x="590" y="552"/>
                </a:moveTo>
                <a:cubicBezTo>
                  <a:pt x="589" y="552"/>
                  <a:pt x="587" y="550"/>
                  <a:pt x="587" y="549"/>
                </a:cubicBezTo>
                <a:cubicBezTo>
                  <a:pt x="589" y="549"/>
                  <a:pt x="588" y="551"/>
                  <a:pt x="590" y="552"/>
                </a:cubicBezTo>
                <a:close/>
                <a:moveTo>
                  <a:pt x="587" y="548"/>
                </a:moveTo>
                <a:cubicBezTo>
                  <a:pt x="586" y="545"/>
                  <a:pt x="587" y="549"/>
                  <a:pt x="587" y="548"/>
                </a:cubicBezTo>
                <a:close/>
                <a:moveTo>
                  <a:pt x="586" y="410"/>
                </a:moveTo>
                <a:cubicBezTo>
                  <a:pt x="586" y="410"/>
                  <a:pt x="586" y="410"/>
                  <a:pt x="586" y="410"/>
                </a:cubicBezTo>
                <a:cubicBezTo>
                  <a:pt x="586" y="410"/>
                  <a:pt x="586" y="410"/>
                  <a:pt x="586" y="410"/>
                </a:cubicBezTo>
                <a:close/>
                <a:moveTo>
                  <a:pt x="586" y="566"/>
                </a:moveTo>
                <a:cubicBezTo>
                  <a:pt x="585" y="565"/>
                  <a:pt x="587" y="568"/>
                  <a:pt x="586" y="566"/>
                </a:cubicBezTo>
                <a:close/>
                <a:moveTo>
                  <a:pt x="585" y="530"/>
                </a:moveTo>
                <a:cubicBezTo>
                  <a:pt x="586" y="530"/>
                  <a:pt x="586" y="532"/>
                  <a:pt x="585" y="531"/>
                </a:cubicBezTo>
                <a:cubicBezTo>
                  <a:pt x="584" y="531"/>
                  <a:pt x="585" y="530"/>
                  <a:pt x="585" y="530"/>
                </a:cubicBezTo>
                <a:close/>
                <a:moveTo>
                  <a:pt x="583" y="469"/>
                </a:moveTo>
                <a:cubicBezTo>
                  <a:pt x="583" y="469"/>
                  <a:pt x="584" y="470"/>
                  <a:pt x="583" y="470"/>
                </a:cubicBezTo>
                <a:cubicBezTo>
                  <a:pt x="583" y="471"/>
                  <a:pt x="583" y="468"/>
                  <a:pt x="583" y="469"/>
                </a:cubicBezTo>
                <a:close/>
                <a:moveTo>
                  <a:pt x="582" y="481"/>
                </a:moveTo>
                <a:cubicBezTo>
                  <a:pt x="582" y="481"/>
                  <a:pt x="582" y="482"/>
                  <a:pt x="582" y="482"/>
                </a:cubicBezTo>
                <a:cubicBezTo>
                  <a:pt x="584" y="484"/>
                  <a:pt x="580" y="480"/>
                  <a:pt x="582" y="481"/>
                </a:cubicBezTo>
                <a:close/>
                <a:moveTo>
                  <a:pt x="574" y="537"/>
                </a:moveTo>
                <a:cubicBezTo>
                  <a:pt x="573" y="535"/>
                  <a:pt x="575" y="538"/>
                  <a:pt x="574" y="537"/>
                </a:cubicBezTo>
                <a:close/>
                <a:moveTo>
                  <a:pt x="577" y="514"/>
                </a:moveTo>
                <a:cubicBezTo>
                  <a:pt x="576" y="514"/>
                  <a:pt x="576" y="510"/>
                  <a:pt x="575" y="509"/>
                </a:cubicBezTo>
                <a:cubicBezTo>
                  <a:pt x="578" y="509"/>
                  <a:pt x="576" y="512"/>
                  <a:pt x="577" y="514"/>
                </a:cubicBezTo>
                <a:close/>
                <a:moveTo>
                  <a:pt x="579" y="552"/>
                </a:moveTo>
                <a:cubicBezTo>
                  <a:pt x="577" y="553"/>
                  <a:pt x="576" y="548"/>
                  <a:pt x="576" y="546"/>
                </a:cubicBezTo>
                <a:cubicBezTo>
                  <a:pt x="578" y="547"/>
                  <a:pt x="581" y="552"/>
                  <a:pt x="579" y="552"/>
                </a:cubicBezTo>
                <a:close/>
                <a:moveTo>
                  <a:pt x="577" y="515"/>
                </a:moveTo>
                <a:cubicBezTo>
                  <a:pt x="578" y="522"/>
                  <a:pt x="580" y="527"/>
                  <a:pt x="581" y="534"/>
                </a:cubicBezTo>
                <a:cubicBezTo>
                  <a:pt x="579" y="528"/>
                  <a:pt x="577" y="522"/>
                  <a:pt x="577" y="515"/>
                </a:cubicBezTo>
                <a:close/>
                <a:moveTo>
                  <a:pt x="580" y="426"/>
                </a:moveTo>
                <a:cubicBezTo>
                  <a:pt x="581" y="426"/>
                  <a:pt x="581" y="427"/>
                  <a:pt x="581" y="427"/>
                </a:cubicBezTo>
                <a:cubicBezTo>
                  <a:pt x="582" y="429"/>
                  <a:pt x="579" y="427"/>
                  <a:pt x="580" y="426"/>
                </a:cubicBezTo>
                <a:close/>
                <a:moveTo>
                  <a:pt x="578" y="464"/>
                </a:moveTo>
                <a:cubicBezTo>
                  <a:pt x="577" y="465"/>
                  <a:pt x="577" y="464"/>
                  <a:pt x="577" y="464"/>
                </a:cubicBezTo>
                <a:cubicBezTo>
                  <a:pt x="578" y="463"/>
                  <a:pt x="578" y="464"/>
                  <a:pt x="578" y="464"/>
                </a:cubicBezTo>
                <a:close/>
                <a:moveTo>
                  <a:pt x="576" y="475"/>
                </a:moveTo>
                <a:cubicBezTo>
                  <a:pt x="576" y="474"/>
                  <a:pt x="577" y="477"/>
                  <a:pt x="576" y="475"/>
                </a:cubicBezTo>
                <a:close/>
                <a:moveTo>
                  <a:pt x="576" y="497"/>
                </a:moveTo>
                <a:cubicBezTo>
                  <a:pt x="576" y="497"/>
                  <a:pt x="576" y="498"/>
                  <a:pt x="576" y="498"/>
                </a:cubicBezTo>
                <a:cubicBezTo>
                  <a:pt x="576" y="499"/>
                  <a:pt x="576" y="497"/>
                  <a:pt x="576" y="497"/>
                </a:cubicBezTo>
                <a:close/>
                <a:moveTo>
                  <a:pt x="576" y="507"/>
                </a:moveTo>
                <a:cubicBezTo>
                  <a:pt x="577" y="507"/>
                  <a:pt x="577" y="508"/>
                  <a:pt x="576" y="508"/>
                </a:cubicBezTo>
                <a:cubicBezTo>
                  <a:pt x="574" y="509"/>
                  <a:pt x="575" y="505"/>
                  <a:pt x="576" y="507"/>
                </a:cubicBezTo>
                <a:close/>
                <a:moveTo>
                  <a:pt x="575" y="486"/>
                </a:moveTo>
                <a:cubicBezTo>
                  <a:pt x="575" y="485"/>
                  <a:pt x="576" y="488"/>
                  <a:pt x="575" y="486"/>
                </a:cubicBezTo>
                <a:close/>
                <a:moveTo>
                  <a:pt x="573" y="519"/>
                </a:moveTo>
                <a:cubicBezTo>
                  <a:pt x="574" y="524"/>
                  <a:pt x="577" y="528"/>
                  <a:pt x="576" y="533"/>
                </a:cubicBezTo>
                <a:cubicBezTo>
                  <a:pt x="573" y="530"/>
                  <a:pt x="572" y="524"/>
                  <a:pt x="573" y="519"/>
                </a:cubicBezTo>
                <a:close/>
                <a:moveTo>
                  <a:pt x="556" y="517"/>
                </a:moveTo>
                <a:cubicBezTo>
                  <a:pt x="556" y="517"/>
                  <a:pt x="556" y="516"/>
                  <a:pt x="556" y="516"/>
                </a:cubicBezTo>
                <a:cubicBezTo>
                  <a:pt x="554" y="516"/>
                  <a:pt x="557" y="515"/>
                  <a:pt x="556" y="517"/>
                </a:cubicBezTo>
                <a:close/>
                <a:moveTo>
                  <a:pt x="559" y="486"/>
                </a:moveTo>
                <a:cubicBezTo>
                  <a:pt x="558" y="486"/>
                  <a:pt x="559" y="485"/>
                  <a:pt x="559" y="485"/>
                </a:cubicBezTo>
                <a:cubicBezTo>
                  <a:pt x="559" y="485"/>
                  <a:pt x="559" y="486"/>
                  <a:pt x="559" y="486"/>
                </a:cubicBezTo>
                <a:close/>
                <a:moveTo>
                  <a:pt x="561" y="516"/>
                </a:moveTo>
                <a:cubicBezTo>
                  <a:pt x="560" y="516"/>
                  <a:pt x="560" y="515"/>
                  <a:pt x="560" y="515"/>
                </a:cubicBezTo>
                <a:cubicBezTo>
                  <a:pt x="562" y="514"/>
                  <a:pt x="563" y="517"/>
                  <a:pt x="561" y="516"/>
                </a:cubicBezTo>
                <a:close/>
                <a:moveTo>
                  <a:pt x="572" y="517"/>
                </a:moveTo>
                <a:cubicBezTo>
                  <a:pt x="572" y="517"/>
                  <a:pt x="567" y="506"/>
                  <a:pt x="569" y="506"/>
                </a:cubicBezTo>
                <a:cubicBezTo>
                  <a:pt x="569" y="505"/>
                  <a:pt x="572" y="514"/>
                  <a:pt x="572" y="515"/>
                </a:cubicBezTo>
                <a:cubicBezTo>
                  <a:pt x="572" y="515"/>
                  <a:pt x="572" y="516"/>
                  <a:pt x="572" y="517"/>
                </a:cubicBezTo>
                <a:close/>
                <a:moveTo>
                  <a:pt x="569" y="480"/>
                </a:moveTo>
                <a:cubicBezTo>
                  <a:pt x="570" y="480"/>
                  <a:pt x="570" y="480"/>
                  <a:pt x="570" y="480"/>
                </a:cubicBezTo>
                <a:cubicBezTo>
                  <a:pt x="571" y="482"/>
                  <a:pt x="567" y="479"/>
                  <a:pt x="569" y="480"/>
                </a:cubicBezTo>
                <a:close/>
                <a:moveTo>
                  <a:pt x="570" y="451"/>
                </a:moveTo>
                <a:cubicBezTo>
                  <a:pt x="570" y="451"/>
                  <a:pt x="570" y="452"/>
                  <a:pt x="570" y="453"/>
                </a:cubicBezTo>
                <a:cubicBezTo>
                  <a:pt x="568" y="454"/>
                  <a:pt x="568" y="449"/>
                  <a:pt x="570" y="451"/>
                </a:cubicBezTo>
                <a:close/>
                <a:moveTo>
                  <a:pt x="569" y="528"/>
                </a:moveTo>
                <a:cubicBezTo>
                  <a:pt x="569" y="528"/>
                  <a:pt x="569" y="529"/>
                  <a:pt x="569" y="529"/>
                </a:cubicBezTo>
                <a:cubicBezTo>
                  <a:pt x="567" y="529"/>
                  <a:pt x="569" y="526"/>
                  <a:pt x="569" y="528"/>
                </a:cubicBezTo>
                <a:close/>
                <a:moveTo>
                  <a:pt x="567" y="520"/>
                </a:moveTo>
                <a:cubicBezTo>
                  <a:pt x="567" y="520"/>
                  <a:pt x="567" y="519"/>
                  <a:pt x="567" y="519"/>
                </a:cubicBezTo>
                <a:cubicBezTo>
                  <a:pt x="568" y="519"/>
                  <a:pt x="567" y="521"/>
                  <a:pt x="567" y="520"/>
                </a:cubicBezTo>
                <a:close/>
                <a:moveTo>
                  <a:pt x="567" y="511"/>
                </a:moveTo>
                <a:cubicBezTo>
                  <a:pt x="566" y="511"/>
                  <a:pt x="566" y="509"/>
                  <a:pt x="566" y="508"/>
                </a:cubicBezTo>
                <a:cubicBezTo>
                  <a:pt x="567" y="509"/>
                  <a:pt x="567" y="510"/>
                  <a:pt x="567" y="511"/>
                </a:cubicBezTo>
                <a:close/>
                <a:moveTo>
                  <a:pt x="566" y="507"/>
                </a:moveTo>
                <a:cubicBezTo>
                  <a:pt x="565" y="506"/>
                  <a:pt x="567" y="504"/>
                  <a:pt x="566" y="507"/>
                </a:cubicBezTo>
                <a:close/>
                <a:moveTo>
                  <a:pt x="565" y="501"/>
                </a:moveTo>
                <a:cubicBezTo>
                  <a:pt x="565" y="501"/>
                  <a:pt x="565" y="501"/>
                  <a:pt x="565" y="501"/>
                </a:cubicBezTo>
                <a:cubicBezTo>
                  <a:pt x="565" y="501"/>
                  <a:pt x="565" y="501"/>
                  <a:pt x="565" y="500"/>
                </a:cubicBezTo>
                <a:cubicBezTo>
                  <a:pt x="565" y="501"/>
                  <a:pt x="565" y="501"/>
                  <a:pt x="565" y="501"/>
                </a:cubicBezTo>
                <a:close/>
                <a:moveTo>
                  <a:pt x="565" y="508"/>
                </a:moveTo>
                <a:cubicBezTo>
                  <a:pt x="566" y="510"/>
                  <a:pt x="562" y="508"/>
                  <a:pt x="564" y="507"/>
                </a:cubicBezTo>
                <a:cubicBezTo>
                  <a:pt x="564" y="507"/>
                  <a:pt x="565" y="507"/>
                  <a:pt x="565" y="508"/>
                </a:cubicBezTo>
                <a:close/>
                <a:moveTo>
                  <a:pt x="564" y="502"/>
                </a:moveTo>
                <a:cubicBezTo>
                  <a:pt x="564" y="502"/>
                  <a:pt x="564" y="503"/>
                  <a:pt x="564" y="503"/>
                </a:cubicBezTo>
                <a:cubicBezTo>
                  <a:pt x="565" y="505"/>
                  <a:pt x="561" y="503"/>
                  <a:pt x="564" y="502"/>
                </a:cubicBezTo>
                <a:close/>
                <a:moveTo>
                  <a:pt x="560" y="494"/>
                </a:moveTo>
                <a:cubicBezTo>
                  <a:pt x="562" y="492"/>
                  <a:pt x="564" y="496"/>
                  <a:pt x="564" y="496"/>
                </a:cubicBezTo>
                <a:cubicBezTo>
                  <a:pt x="565" y="501"/>
                  <a:pt x="557" y="496"/>
                  <a:pt x="560" y="494"/>
                </a:cubicBezTo>
                <a:close/>
                <a:moveTo>
                  <a:pt x="557" y="439"/>
                </a:moveTo>
                <a:cubicBezTo>
                  <a:pt x="557" y="440"/>
                  <a:pt x="556" y="438"/>
                  <a:pt x="557" y="439"/>
                </a:cubicBezTo>
                <a:close/>
                <a:moveTo>
                  <a:pt x="555" y="457"/>
                </a:moveTo>
                <a:cubicBezTo>
                  <a:pt x="556" y="456"/>
                  <a:pt x="558" y="461"/>
                  <a:pt x="558" y="460"/>
                </a:cubicBezTo>
                <a:cubicBezTo>
                  <a:pt x="558" y="462"/>
                  <a:pt x="558" y="464"/>
                  <a:pt x="559" y="467"/>
                </a:cubicBezTo>
                <a:cubicBezTo>
                  <a:pt x="560" y="471"/>
                  <a:pt x="564" y="476"/>
                  <a:pt x="564" y="480"/>
                </a:cubicBezTo>
                <a:cubicBezTo>
                  <a:pt x="560" y="478"/>
                  <a:pt x="561" y="472"/>
                  <a:pt x="559" y="469"/>
                </a:cubicBezTo>
                <a:cubicBezTo>
                  <a:pt x="558" y="468"/>
                  <a:pt x="556" y="462"/>
                  <a:pt x="555" y="459"/>
                </a:cubicBezTo>
                <a:cubicBezTo>
                  <a:pt x="555" y="458"/>
                  <a:pt x="553" y="457"/>
                  <a:pt x="555" y="457"/>
                </a:cubicBezTo>
                <a:close/>
                <a:moveTo>
                  <a:pt x="549" y="528"/>
                </a:moveTo>
                <a:cubicBezTo>
                  <a:pt x="549" y="527"/>
                  <a:pt x="550" y="527"/>
                  <a:pt x="550" y="528"/>
                </a:cubicBezTo>
                <a:cubicBezTo>
                  <a:pt x="551" y="529"/>
                  <a:pt x="549" y="528"/>
                  <a:pt x="549" y="528"/>
                </a:cubicBezTo>
                <a:close/>
                <a:moveTo>
                  <a:pt x="540" y="511"/>
                </a:moveTo>
                <a:cubicBezTo>
                  <a:pt x="540" y="513"/>
                  <a:pt x="539" y="510"/>
                  <a:pt x="540" y="511"/>
                </a:cubicBezTo>
                <a:close/>
                <a:moveTo>
                  <a:pt x="541" y="554"/>
                </a:moveTo>
                <a:cubicBezTo>
                  <a:pt x="543" y="553"/>
                  <a:pt x="546" y="557"/>
                  <a:pt x="546" y="557"/>
                </a:cubicBezTo>
                <a:cubicBezTo>
                  <a:pt x="546" y="563"/>
                  <a:pt x="538" y="556"/>
                  <a:pt x="541" y="554"/>
                </a:cubicBezTo>
                <a:close/>
                <a:moveTo>
                  <a:pt x="541" y="528"/>
                </a:moveTo>
                <a:cubicBezTo>
                  <a:pt x="541" y="527"/>
                  <a:pt x="543" y="529"/>
                  <a:pt x="542" y="529"/>
                </a:cubicBezTo>
                <a:cubicBezTo>
                  <a:pt x="542" y="529"/>
                  <a:pt x="541" y="529"/>
                  <a:pt x="541" y="528"/>
                </a:cubicBezTo>
                <a:close/>
                <a:moveTo>
                  <a:pt x="549" y="540"/>
                </a:moveTo>
                <a:cubicBezTo>
                  <a:pt x="550" y="541"/>
                  <a:pt x="548" y="539"/>
                  <a:pt x="549" y="540"/>
                </a:cubicBezTo>
                <a:close/>
                <a:moveTo>
                  <a:pt x="548" y="494"/>
                </a:moveTo>
                <a:cubicBezTo>
                  <a:pt x="547" y="494"/>
                  <a:pt x="547" y="493"/>
                  <a:pt x="547" y="492"/>
                </a:cubicBezTo>
                <a:cubicBezTo>
                  <a:pt x="547" y="492"/>
                  <a:pt x="548" y="493"/>
                  <a:pt x="548" y="494"/>
                </a:cubicBezTo>
                <a:close/>
                <a:moveTo>
                  <a:pt x="546" y="541"/>
                </a:moveTo>
                <a:cubicBezTo>
                  <a:pt x="546" y="544"/>
                  <a:pt x="543" y="538"/>
                  <a:pt x="546" y="539"/>
                </a:cubicBezTo>
                <a:cubicBezTo>
                  <a:pt x="546" y="539"/>
                  <a:pt x="546" y="540"/>
                  <a:pt x="546" y="541"/>
                </a:cubicBezTo>
                <a:close/>
                <a:moveTo>
                  <a:pt x="545" y="522"/>
                </a:moveTo>
                <a:cubicBezTo>
                  <a:pt x="545" y="521"/>
                  <a:pt x="546" y="522"/>
                  <a:pt x="546" y="522"/>
                </a:cubicBezTo>
                <a:cubicBezTo>
                  <a:pt x="546" y="523"/>
                  <a:pt x="544" y="522"/>
                  <a:pt x="545" y="522"/>
                </a:cubicBezTo>
                <a:close/>
                <a:moveTo>
                  <a:pt x="545" y="470"/>
                </a:moveTo>
                <a:cubicBezTo>
                  <a:pt x="545" y="468"/>
                  <a:pt x="544" y="467"/>
                  <a:pt x="544" y="465"/>
                </a:cubicBezTo>
                <a:cubicBezTo>
                  <a:pt x="545" y="466"/>
                  <a:pt x="546" y="468"/>
                  <a:pt x="545" y="470"/>
                </a:cubicBezTo>
                <a:close/>
                <a:moveTo>
                  <a:pt x="543" y="518"/>
                </a:moveTo>
                <a:cubicBezTo>
                  <a:pt x="543" y="518"/>
                  <a:pt x="543" y="518"/>
                  <a:pt x="544" y="518"/>
                </a:cubicBezTo>
                <a:cubicBezTo>
                  <a:pt x="545" y="517"/>
                  <a:pt x="546" y="522"/>
                  <a:pt x="543" y="521"/>
                </a:cubicBezTo>
                <a:cubicBezTo>
                  <a:pt x="543" y="521"/>
                  <a:pt x="542" y="520"/>
                  <a:pt x="542" y="519"/>
                </a:cubicBezTo>
                <a:cubicBezTo>
                  <a:pt x="542" y="519"/>
                  <a:pt x="541" y="519"/>
                  <a:pt x="541" y="518"/>
                </a:cubicBezTo>
                <a:cubicBezTo>
                  <a:pt x="541" y="517"/>
                  <a:pt x="543" y="517"/>
                  <a:pt x="543" y="518"/>
                </a:cubicBezTo>
                <a:cubicBezTo>
                  <a:pt x="543" y="518"/>
                  <a:pt x="543" y="518"/>
                  <a:pt x="543" y="518"/>
                </a:cubicBezTo>
                <a:close/>
                <a:moveTo>
                  <a:pt x="541" y="454"/>
                </a:moveTo>
                <a:cubicBezTo>
                  <a:pt x="542" y="456"/>
                  <a:pt x="543" y="459"/>
                  <a:pt x="543" y="461"/>
                </a:cubicBezTo>
                <a:cubicBezTo>
                  <a:pt x="542" y="459"/>
                  <a:pt x="541" y="457"/>
                  <a:pt x="541" y="454"/>
                </a:cubicBezTo>
                <a:close/>
                <a:moveTo>
                  <a:pt x="539" y="439"/>
                </a:moveTo>
                <a:cubicBezTo>
                  <a:pt x="541" y="443"/>
                  <a:pt x="541" y="450"/>
                  <a:pt x="542" y="454"/>
                </a:cubicBezTo>
                <a:cubicBezTo>
                  <a:pt x="540" y="450"/>
                  <a:pt x="540" y="445"/>
                  <a:pt x="539" y="439"/>
                </a:cubicBezTo>
                <a:close/>
                <a:moveTo>
                  <a:pt x="539" y="439"/>
                </a:moveTo>
                <a:cubicBezTo>
                  <a:pt x="538" y="438"/>
                  <a:pt x="538" y="436"/>
                  <a:pt x="538" y="434"/>
                </a:cubicBezTo>
                <a:cubicBezTo>
                  <a:pt x="540" y="435"/>
                  <a:pt x="540" y="437"/>
                  <a:pt x="539" y="439"/>
                </a:cubicBezTo>
                <a:close/>
                <a:moveTo>
                  <a:pt x="539" y="432"/>
                </a:moveTo>
                <a:cubicBezTo>
                  <a:pt x="539" y="433"/>
                  <a:pt x="540" y="433"/>
                  <a:pt x="539" y="434"/>
                </a:cubicBezTo>
                <a:cubicBezTo>
                  <a:pt x="538" y="434"/>
                  <a:pt x="538" y="429"/>
                  <a:pt x="539" y="432"/>
                </a:cubicBezTo>
                <a:close/>
                <a:moveTo>
                  <a:pt x="538" y="420"/>
                </a:moveTo>
                <a:cubicBezTo>
                  <a:pt x="538" y="420"/>
                  <a:pt x="539" y="420"/>
                  <a:pt x="538" y="421"/>
                </a:cubicBezTo>
                <a:cubicBezTo>
                  <a:pt x="537" y="421"/>
                  <a:pt x="537" y="418"/>
                  <a:pt x="538" y="420"/>
                </a:cubicBezTo>
                <a:close/>
                <a:moveTo>
                  <a:pt x="537" y="551"/>
                </a:moveTo>
                <a:cubicBezTo>
                  <a:pt x="538" y="550"/>
                  <a:pt x="539" y="551"/>
                  <a:pt x="539" y="552"/>
                </a:cubicBezTo>
                <a:cubicBezTo>
                  <a:pt x="539" y="554"/>
                  <a:pt x="536" y="553"/>
                  <a:pt x="537" y="551"/>
                </a:cubicBezTo>
                <a:close/>
                <a:moveTo>
                  <a:pt x="535" y="409"/>
                </a:moveTo>
                <a:cubicBezTo>
                  <a:pt x="536" y="409"/>
                  <a:pt x="536" y="411"/>
                  <a:pt x="535" y="409"/>
                </a:cubicBezTo>
                <a:close/>
                <a:moveTo>
                  <a:pt x="535" y="418"/>
                </a:moveTo>
                <a:cubicBezTo>
                  <a:pt x="533" y="417"/>
                  <a:pt x="535" y="416"/>
                  <a:pt x="535" y="418"/>
                </a:cubicBezTo>
                <a:close/>
                <a:moveTo>
                  <a:pt x="534" y="460"/>
                </a:moveTo>
                <a:cubicBezTo>
                  <a:pt x="535" y="460"/>
                  <a:pt x="536" y="461"/>
                  <a:pt x="536" y="461"/>
                </a:cubicBezTo>
                <a:cubicBezTo>
                  <a:pt x="537" y="465"/>
                  <a:pt x="533" y="461"/>
                  <a:pt x="534" y="460"/>
                </a:cubicBezTo>
                <a:close/>
                <a:moveTo>
                  <a:pt x="301" y="28"/>
                </a:moveTo>
                <a:cubicBezTo>
                  <a:pt x="300" y="27"/>
                  <a:pt x="303" y="29"/>
                  <a:pt x="301" y="28"/>
                </a:cubicBezTo>
                <a:close/>
                <a:moveTo>
                  <a:pt x="308" y="19"/>
                </a:moveTo>
                <a:cubicBezTo>
                  <a:pt x="310" y="20"/>
                  <a:pt x="312" y="22"/>
                  <a:pt x="314" y="24"/>
                </a:cubicBezTo>
                <a:cubicBezTo>
                  <a:pt x="311" y="23"/>
                  <a:pt x="310" y="21"/>
                  <a:pt x="308" y="19"/>
                </a:cubicBezTo>
                <a:close/>
                <a:moveTo>
                  <a:pt x="314" y="19"/>
                </a:moveTo>
                <a:cubicBezTo>
                  <a:pt x="314" y="19"/>
                  <a:pt x="314" y="19"/>
                  <a:pt x="314" y="19"/>
                </a:cubicBezTo>
                <a:cubicBezTo>
                  <a:pt x="315" y="20"/>
                  <a:pt x="314" y="19"/>
                  <a:pt x="314" y="19"/>
                </a:cubicBezTo>
                <a:close/>
                <a:moveTo>
                  <a:pt x="286" y="38"/>
                </a:moveTo>
                <a:cubicBezTo>
                  <a:pt x="286" y="38"/>
                  <a:pt x="286" y="38"/>
                  <a:pt x="286" y="38"/>
                </a:cubicBezTo>
                <a:cubicBezTo>
                  <a:pt x="286" y="38"/>
                  <a:pt x="287" y="38"/>
                  <a:pt x="287" y="38"/>
                </a:cubicBezTo>
                <a:cubicBezTo>
                  <a:pt x="287" y="38"/>
                  <a:pt x="287" y="38"/>
                  <a:pt x="286" y="38"/>
                </a:cubicBezTo>
                <a:close/>
                <a:moveTo>
                  <a:pt x="290" y="56"/>
                </a:moveTo>
                <a:cubicBezTo>
                  <a:pt x="291" y="55"/>
                  <a:pt x="292" y="57"/>
                  <a:pt x="290" y="56"/>
                </a:cubicBezTo>
                <a:close/>
                <a:moveTo>
                  <a:pt x="294" y="57"/>
                </a:moveTo>
                <a:cubicBezTo>
                  <a:pt x="292" y="57"/>
                  <a:pt x="293" y="55"/>
                  <a:pt x="294" y="57"/>
                </a:cubicBezTo>
                <a:close/>
                <a:moveTo>
                  <a:pt x="292" y="34"/>
                </a:moveTo>
                <a:cubicBezTo>
                  <a:pt x="293" y="33"/>
                  <a:pt x="294" y="34"/>
                  <a:pt x="294" y="35"/>
                </a:cubicBezTo>
                <a:cubicBezTo>
                  <a:pt x="293" y="35"/>
                  <a:pt x="293" y="34"/>
                  <a:pt x="292" y="34"/>
                </a:cubicBezTo>
                <a:close/>
                <a:moveTo>
                  <a:pt x="301" y="46"/>
                </a:moveTo>
                <a:cubicBezTo>
                  <a:pt x="302" y="47"/>
                  <a:pt x="299" y="45"/>
                  <a:pt x="301" y="46"/>
                </a:cubicBezTo>
                <a:close/>
                <a:moveTo>
                  <a:pt x="300" y="50"/>
                </a:moveTo>
                <a:cubicBezTo>
                  <a:pt x="298" y="49"/>
                  <a:pt x="302" y="52"/>
                  <a:pt x="300" y="50"/>
                </a:cubicBezTo>
                <a:close/>
                <a:moveTo>
                  <a:pt x="301" y="48"/>
                </a:moveTo>
                <a:cubicBezTo>
                  <a:pt x="300" y="48"/>
                  <a:pt x="300" y="47"/>
                  <a:pt x="300" y="47"/>
                </a:cubicBezTo>
                <a:cubicBezTo>
                  <a:pt x="301" y="45"/>
                  <a:pt x="304" y="50"/>
                  <a:pt x="301" y="48"/>
                </a:cubicBezTo>
                <a:close/>
                <a:moveTo>
                  <a:pt x="197" y="116"/>
                </a:moveTo>
                <a:cubicBezTo>
                  <a:pt x="197" y="115"/>
                  <a:pt x="196" y="115"/>
                  <a:pt x="197" y="115"/>
                </a:cubicBezTo>
                <a:cubicBezTo>
                  <a:pt x="198" y="114"/>
                  <a:pt x="199" y="117"/>
                  <a:pt x="197" y="116"/>
                </a:cubicBezTo>
                <a:close/>
                <a:moveTo>
                  <a:pt x="204" y="118"/>
                </a:moveTo>
                <a:cubicBezTo>
                  <a:pt x="205" y="118"/>
                  <a:pt x="206" y="119"/>
                  <a:pt x="205" y="119"/>
                </a:cubicBezTo>
                <a:cubicBezTo>
                  <a:pt x="205" y="120"/>
                  <a:pt x="203" y="119"/>
                  <a:pt x="204" y="118"/>
                </a:cubicBezTo>
                <a:close/>
                <a:moveTo>
                  <a:pt x="201" y="107"/>
                </a:moveTo>
                <a:cubicBezTo>
                  <a:pt x="205" y="105"/>
                  <a:pt x="202" y="110"/>
                  <a:pt x="201" y="107"/>
                </a:cubicBezTo>
                <a:cubicBezTo>
                  <a:pt x="201" y="106"/>
                  <a:pt x="201" y="107"/>
                  <a:pt x="201" y="107"/>
                </a:cubicBezTo>
                <a:close/>
                <a:moveTo>
                  <a:pt x="203" y="122"/>
                </a:moveTo>
                <a:cubicBezTo>
                  <a:pt x="203" y="122"/>
                  <a:pt x="202" y="122"/>
                  <a:pt x="202" y="121"/>
                </a:cubicBezTo>
                <a:cubicBezTo>
                  <a:pt x="202" y="121"/>
                  <a:pt x="202" y="121"/>
                  <a:pt x="202" y="121"/>
                </a:cubicBezTo>
                <a:cubicBezTo>
                  <a:pt x="202" y="120"/>
                  <a:pt x="201" y="119"/>
                  <a:pt x="200" y="118"/>
                </a:cubicBezTo>
                <a:cubicBezTo>
                  <a:pt x="202" y="119"/>
                  <a:pt x="203" y="121"/>
                  <a:pt x="205" y="124"/>
                </a:cubicBezTo>
                <a:cubicBezTo>
                  <a:pt x="204" y="123"/>
                  <a:pt x="203" y="123"/>
                  <a:pt x="203" y="122"/>
                </a:cubicBezTo>
                <a:close/>
                <a:moveTo>
                  <a:pt x="205" y="124"/>
                </a:moveTo>
                <a:cubicBezTo>
                  <a:pt x="206" y="123"/>
                  <a:pt x="207" y="128"/>
                  <a:pt x="205" y="126"/>
                </a:cubicBezTo>
                <a:cubicBezTo>
                  <a:pt x="205" y="125"/>
                  <a:pt x="204" y="125"/>
                  <a:pt x="205" y="124"/>
                </a:cubicBezTo>
                <a:close/>
                <a:moveTo>
                  <a:pt x="205" y="140"/>
                </a:moveTo>
                <a:cubicBezTo>
                  <a:pt x="204" y="140"/>
                  <a:pt x="204" y="139"/>
                  <a:pt x="205" y="139"/>
                </a:cubicBezTo>
                <a:cubicBezTo>
                  <a:pt x="206" y="138"/>
                  <a:pt x="207" y="141"/>
                  <a:pt x="205" y="140"/>
                </a:cubicBezTo>
                <a:close/>
                <a:moveTo>
                  <a:pt x="77" y="199"/>
                </a:moveTo>
                <a:cubicBezTo>
                  <a:pt x="79" y="200"/>
                  <a:pt x="77" y="201"/>
                  <a:pt x="77" y="199"/>
                </a:cubicBezTo>
                <a:close/>
                <a:moveTo>
                  <a:pt x="21" y="249"/>
                </a:moveTo>
                <a:cubicBezTo>
                  <a:pt x="20" y="248"/>
                  <a:pt x="22" y="247"/>
                  <a:pt x="21" y="249"/>
                </a:cubicBezTo>
                <a:close/>
                <a:moveTo>
                  <a:pt x="24" y="252"/>
                </a:moveTo>
                <a:cubicBezTo>
                  <a:pt x="23" y="252"/>
                  <a:pt x="23" y="251"/>
                  <a:pt x="24" y="251"/>
                </a:cubicBezTo>
                <a:cubicBezTo>
                  <a:pt x="24" y="250"/>
                  <a:pt x="24" y="252"/>
                  <a:pt x="24" y="252"/>
                </a:cubicBezTo>
                <a:close/>
                <a:moveTo>
                  <a:pt x="23" y="249"/>
                </a:moveTo>
                <a:cubicBezTo>
                  <a:pt x="23" y="249"/>
                  <a:pt x="24" y="248"/>
                  <a:pt x="24" y="248"/>
                </a:cubicBezTo>
                <a:cubicBezTo>
                  <a:pt x="26" y="247"/>
                  <a:pt x="24" y="251"/>
                  <a:pt x="23" y="249"/>
                </a:cubicBezTo>
                <a:close/>
                <a:moveTo>
                  <a:pt x="26" y="245"/>
                </a:moveTo>
                <a:cubicBezTo>
                  <a:pt x="25" y="245"/>
                  <a:pt x="25" y="244"/>
                  <a:pt x="25" y="244"/>
                </a:cubicBezTo>
                <a:cubicBezTo>
                  <a:pt x="26" y="243"/>
                  <a:pt x="26" y="245"/>
                  <a:pt x="26" y="245"/>
                </a:cubicBezTo>
                <a:close/>
                <a:moveTo>
                  <a:pt x="33" y="251"/>
                </a:moveTo>
                <a:cubicBezTo>
                  <a:pt x="34" y="250"/>
                  <a:pt x="34" y="253"/>
                  <a:pt x="33" y="253"/>
                </a:cubicBezTo>
                <a:cubicBezTo>
                  <a:pt x="33" y="252"/>
                  <a:pt x="33" y="251"/>
                  <a:pt x="33" y="251"/>
                </a:cubicBezTo>
                <a:close/>
                <a:moveTo>
                  <a:pt x="28" y="258"/>
                </a:moveTo>
                <a:cubicBezTo>
                  <a:pt x="28" y="259"/>
                  <a:pt x="27" y="257"/>
                  <a:pt x="27" y="257"/>
                </a:cubicBezTo>
                <a:cubicBezTo>
                  <a:pt x="28" y="256"/>
                  <a:pt x="28" y="258"/>
                  <a:pt x="28" y="258"/>
                </a:cubicBezTo>
                <a:close/>
                <a:moveTo>
                  <a:pt x="29" y="249"/>
                </a:moveTo>
                <a:cubicBezTo>
                  <a:pt x="29" y="248"/>
                  <a:pt x="30" y="249"/>
                  <a:pt x="29" y="250"/>
                </a:cubicBezTo>
                <a:cubicBezTo>
                  <a:pt x="29" y="250"/>
                  <a:pt x="28" y="249"/>
                  <a:pt x="29" y="249"/>
                </a:cubicBezTo>
                <a:close/>
                <a:moveTo>
                  <a:pt x="29" y="275"/>
                </a:moveTo>
                <a:cubicBezTo>
                  <a:pt x="29" y="276"/>
                  <a:pt x="30" y="274"/>
                  <a:pt x="29" y="275"/>
                </a:cubicBezTo>
                <a:close/>
                <a:moveTo>
                  <a:pt x="29" y="247"/>
                </a:moveTo>
                <a:cubicBezTo>
                  <a:pt x="29" y="247"/>
                  <a:pt x="28" y="247"/>
                  <a:pt x="29" y="248"/>
                </a:cubicBezTo>
                <a:cubicBezTo>
                  <a:pt x="28" y="247"/>
                  <a:pt x="28" y="246"/>
                  <a:pt x="28" y="246"/>
                </a:cubicBezTo>
                <a:cubicBezTo>
                  <a:pt x="28" y="246"/>
                  <a:pt x="28" y="245"/>
                  <a:pt x="28" y="245"/>
                </a:cubicBezTo>
                <a:cubicBezTo>
                  <a:pt x="28" y="244"/>
                  <a:pt x="25" y="241"/>
                  <a:pt x="27" y="240"/>
                </a:cubicBezTo>
                <a:cubicBezTo>
                  <a:pt x="31" y="239"/>
                  <a:pt x="30" y="243"/>
                  <a:pt x="30" y="244"/>
                </a:cubicBezTo>
                <a:cubicBezTo>
                  <a:pt x="30" y="244"/>
                  <a:pt x="30" y="245"/>
                  <a:pt x="30" y="245"/>
                </a:cubicBezTo>
                <a:cubicBezTo>
                  <a:pt x="31" y="245"/>
                  <a:pt x="31" y="247"/>
                  <a:pt x="30" y="247"/>
                </a:cubicBezTo>
                <a:cubicBezTo>
                  <a:pt x="30" y="247"/>
                  <a:pt x="30" y="247"/>
                  <a:pt x="30" y="247"/>
                </a:cubicBezTo>
                <a:cubicBezTo>
                  <a:pt x="29" y="247"/>
                  <a:pt x="29" y="247"/>
                  <a:pt x="29" y="247"/>
                </a:cubicBezTo>
                <a:close/>
                <a:moveTo>
                  <a:pt x="30" y="259"/>
                </a:moveTo>
                <a:cubicBezTo>
                  <a:pt x="31" y="258"/>
                  <a:pt x="32" y="262"/>
                  <a:pt x="31" y="262"/>
                </a:cubicBezTo>
                <a:cubicBezTo>
                  <a:pt x="30" y="262"/>
                  <a:pt x="29" y="260"/>
                  <a:pt x="30" y="259"/>
                </a:cubicBezTo>
                <a:close/>
                <a:moveTo>
                  <a:pt x="32" y="282"/>
                </a:moveTo>
                <a:cubicBezTo>
                  <a:pt x="32" y="281"/>
                  <a:pt x="33" y="281"/>
                  <a:pt x="33" y="282"/>
                </a:cubicBezTo>
                <a:cubicBezTo>
                  <a:pt x="33" y="284"/>
                  <a:pt x="29" y="282"/>
                  <a:pt x="32" y="282"/>
                </a:cubicBezTo>
                <a:close/>
                <a:moveTo>
                  <a:pt x="33" y="261"/>
                </a:moveTo>
                <a:cubicBezTo>
                  <a:pt x="33" y="261"/>
                  <a:pt x="32" y="260"/>
                  <a:pt x="33" y="259"/>
                </a:cubicBezTo>
                <a:cubicBezTo>
                  <a:pt x="34" y="259"/>
                  <a:pt x="34" y="261"/>
                  <a:pt x="33" y="261"/>
                </a:cubicBezTo>
                <a:close/>
                <a:moveTo>
                  <a:pt x="34" y="281"/>
                </a:moveTo>
                <a:cubicBezTo>
                  <a:pt x="33" y="279"/>
                  <a:pt x="35" y="278"/>
                  <a:pt x="34" y="281"/>
                </a:cubicBezTo>
                <a:close/>
                <a:moveTo>
                  <a:pt x="35" y="279"/>
                </a:moveTo>
                <a:cubicBezTo>
                  <a:pt x="35" y="280"/>
                  <a:pt x="34" y="277"/>
                  <a:pt x="35" y="277"/>
                </a:cubicBezTo>
                <a:cubicBezTo>
                  <a:pt x="36" y="278"/>
                  <a:pt x="36" y="278"/>
                  <a:pt x="35" y="279"/>
                </a:cubicBezTo>
                <a:close/>
                <a:moveTo>
                  <a:pt x="37" y="226"/>
                </a:moveTo>
                <a:cubicBezTo>
                  <a:pt x="37" y="226"/>
                  <a:pt x="37" y="227"/>
                  <a:pt x="37" y="228"/>
                </a:cubicBezTo>
                <a:cubicBezTo>
                  <a:pt x="37" y="228"/>
                  <a:pt x="36" y="227"/>
                  <a:pt x="37" y="226"/>
                </a:cubicBezTo>
                <a:close/>
                <a:moveTo>
                  <a:pt x="38" y="238"/>
                </a:moveTo>
                <a:cubicBezTo>
                  <a:pt x="37" y="238"/>
                  <a:pt x="37" y="236"/>
                  <a:pt x="38" y="236"/>
                </a:cubicBezTo>
                <a:cubicBezTo>
                  <a:pt x="39" y="235"/>
                  <a:pt x="39" y="238"/>
                  <a:pt x="38" y="238"/>
                </a:cubicBezTo>
                <a:close/>
                <a:moveTo>
                  <a:pt x="40" y="226"/>
                </a:moveTo>
                <a:cubicBezTo>
                  <a:pt x="41" y="226"/>
                  <a:pt x="40" y="228"/>
                  <a:pt x="40" y="228"/>
                </a:cubicBezTo>
                <a:cubicBezTo>
                  <a:pt x="39" y="228"/>
                  <a:pt x="38" y="227"/>
                  <a:pt x="40" y="226"/>
                </a:cubicBezTo>
                <a:close/>
                <a:moveTo>
                  <a:pt x="40" y="265"/>
                </a:moveTo>
                <a:cubicBezTo>
                  <a:pt x="39" y="266"/>
                  <a:pt x="40" y="264"/>
                  <a:pt x="40" y="265"/>
                </a:cubicBezTo>
                <a:close/>
                <a:moveTo>
                  <a:pt x="40" y="249"/>
                </a:moveTo>
                <a:cubicBezTo>
                  <a:pt x="40" y="249"/>
                  <a:pt x="41" y="250"/>
                  <a:pt x="41" y="250"/>
                </a:cubicBezTo>
                <a:cubicBezTo>
                  <a:pt x="40" y="250"/>
                  <a:pt x="40" y="250"/>
                  <a:pt x="40" y="249"/>
                </a:cubicBezTo>
                <a:close/>
                <a:moveTo>
                  <a:pt x="41" y="284"/>
                </a:moveTo>
                <a:cubicBezTo>
                  <a:pt x="40" y="284"/>
                  <a:pt x="39" y="281"/>
                  <a:pt x="40" y="281"/>
                </a:cubicBezTo>
                <a:cubicBezTo>
                  <a:pt x="41" y="280"/>
                  <a:pt x="42" y="283"/>
                  <a:pt x="41" y="284"/>
                </a:cubicBezTo>
                <a:close/>
                <a:moveTo>
                  <a:pt x="40" y="241"/>
                </a:moveTo>
                <a:cubicBezTo>
                  <a:pt x="39" y="241"/>
                  <a:pt x="38" y="238"/>
                  <a:pt x="40" y="237"/>
                </a:cubicBezTo>
                <a:cubicBezTo>
                  <a:pt x="42" y="237"/>
                  <a:pt x="41" y="241"/>
                  <a:pt x="40" y="241"/>
                </a:cubicBezTo>
                <a:close/>
                <a:moveTo>
                  <a:pt x="57" y="241"/>
                </a:moveTo>
                <a:cubicBezTo>
                  <a:pt x="57" y="241"/>
                  <a:pt x="56" y="243"/>
                  <a:pt x="56" y="243"/>
                </a:cubicBezTo>
                <a:cubicBezTo>
                  <a:pt x="56" y="243"/>
                  <a:pt x="56" y="241"/>
                  <a:pt x="57" y="241"/>
                </a:cubicBezTo>
                <a:close/>
                <a:moveTo>
                  <a:pt x="53" y="238"/>
                </a:moveTo>
                <a:cubicBezTo>
                  <a:pt x="56" y="242"/>
                  <a:pt x="53" y="244"/>
                  <a:pt x="53" y="238"/>
                </a:cubicBezTo>
                <a:close/>
                <a:moveTo>
                  <a:pt x="47" y="255"/>
                </a:moveTo>
                <a:cubicBezTo>
                  <a:pt x="46" y="254"/>
                  <a:pt x="48" y="253"/>
                  <a:pt x="47" y="255"/>
                </a:cubicBezTo>
                <a:close/>
                <a:moveTo>
                  <a:pt x="46" y="251"/>
                </a:moveTo>
                <a:cubicBezTo>
                  <a:pt x="47" y="251"/>
                  <a:pt x="47" y="253"/>
                  <a:pt x="46" y="253"/>
                </a:cubicBezTo>
                <a:cubicBezTo>
                  <a:pt x="45" y="253"/>
                  <a:pt x="46" y="251"/>
                  <a:pt x="46" y="251"/>
                </a:cubicBezTo>
                <a:close/>
                <a:moveTo>
                  <a:pt x="42" y="252"/>
                </a:moveTo>
                <a:cubicBezTo>
                  <a:pt x="43" y="251"/>
                  <a:pt x="44" y="254"/>
                  <a:pt x="43" y="254"/>
                </a:cubicBezTo>
                <a:cubicBezTo>
                  <a:pt x="42" y="255"/>
                  <a:pt x="42" y="252"/>
                  <a:pt x="42" y="252"/>
                </a:cubicBezTo>
                <a:close/>
                <a:moveTo>
                  <a:pt x="43" y="259"/>
                </a:moveTo>
                <a:cubicBezTo>
                  <a:pt x="43" y="260"/>
                  <a:pt x="44" y="261"/>
                  <a:pt x="43" y="262"/>
                </a:cubicBezTo>
                <a:cubicBezTo>
                  <a:pt x="42" y="261"/>
                  <a:pt x="42" y="260"/>
                  <a:pt x="43" y="259"/>
                </a:cubicBezTo>
                <a:close/>
                <a:moveTo>
                  <a:pt x="43" y="292"/>
                </a:moveTo>
                <a:cubicBezTo>
                  <a:pt x="43" y="292"/>
                  <a:pt x="43" y="292"/>
                  <a:pt x="44" y="292"/>
                </a:cubicBezTo>
                <a:cubicBezTo>
                  <a:pt x="44" y="292"/>
                  <a:pt x="44" y="292"/>
                  <a:pt x="44" y="292"/>
                </a:cubicBezTo>
                <a:cubicBezTo>
                  <a:pt x="44" y="292"/>
                  <a:pt x="43" y="292"/>
                  <a:pt x="43" y="292"/>
                </a:cubicBezTo>
                <a:close/>
                <a:moveTo>
                  <a:pt x="44" y="265"/>
                </a:moveTo>
                <a:cubicBezTo>
                  <a:pt x="44" y="265"/>
                  <a:pt x="43" y="264"/>
                  <a:pt x="44" y="264"/>
                </a:cubicBezTo>
                <a:cubicBezTo>
                  <a:pt x="44" y="263"/>
                  <a:pt x="45" y="264"/>
                  <a:pt x="44" y="265"/>
                </a:cubicBezTo>
                <a:close/>
                <a:moveTo>
                  <a:pt x="47" y="274"/>
                </a:moveTo>
                <a:cubicBezTo>
                  <a:pt x="46" y="275"/>
                  <a:pt x="44" y="270"/>
                  <a:pt x="46" y="269"/>
                </a:cubicBezTo>
                <a:cubicBezTo>
                  <a:pt x="48" y="269"/>
                  <a:pt x="48" y="274"/>
                  <a:pt x="47" y="274"/>
                </a:cubicBezTo>
                <a:close/>
                <a:moveTo>
                  <a:pt x="48" y="282"/>
                </a:moveTo>
                <a:cubicBezTo>
                  <a:pt x="46" y="280"/>
                  <a:pt x="50" y="279"/>
                  <a:pt x="48" y="282"/>
                </a:cubicBezTo>
                <a:close/>
                <a:moveTo>
                  <a:pt x="51" y="287"/>
                </a:moveTo>
                <a:cubicBezTo>
                  <a:pt x="48" y="289"/>
                  <a:pt x="51" y="281"/>
                  <a:pt x="52" y="285"/>
                </a:cubicBezTo>
                <a:cubicBezTo>
                  <a:pt x="52" y="286"/>
                  <a:pt x="51" y="287"/>
                  <a:pt x="51" y="287"/>
                </a:cubicBezTo>
                <a:close/>
                <a:moveTo>
                  <a:pt x="53" y="285"/>
                </a:moveTo>
                <a:cubicBezTo>
                  <a:pt x="54" y="284"/>
                  <a:pt x="54" y="285"/>
                  <a:pt x="54" y="285"/>
                </a:cubicBezTo>
                <a:cubicBezTo>
                  <a:pt x="53" y="286"/>
                  <a:pt x="54" y="285"/>
                  <a:pt x="53" y="285"/>
                </a:cubicBezTo>
                <a:close/>
                <a:moveTo>
                  <a:pt x="55" y="281"/>
                </a:moveTo>
                <a:cubicBezTo>
                  <a:pt x="54" y="282"/>
                  <a:pt x="56" y="280"/>
                  <a:pt x="55" y="281"/>
                </a:cubicBezTo>
                <a:close/>
                <a:moveTo>
                  <a:pt x="57" y="266"/>
                </a:moveTo>
                <a:cubicBezTo>
                  <a:pt x="56" y="266"/>
                  <a:pt x="54" y="265"/>
                  <a:pt x="54" y="265"/>
                </a:cubicBezTo>
                <a:cubicBezTo>
                  <a:pt x="50" y="263"/>
                  <a:pt x="46" y="255"/>
                  <a:pt x="50" y="252"/>
                </a:cubicBezTo>
                <a:cubicBezTo>
                  <a:pt x="52" y="251"/>
                  <a:pt x="56" y="253"/>
                  <a:pt x="56" y="254"/>
                </a:cubicBezTo>
                <a:cubicBezTo>
                  <a:pt x="56" y="255"/>
                  <a:pt x="56" y="256"/>
                  <a:pt x="56" y="257"/>
                </a:cubicBezTo>
                <a:cubicBezTo>
                  <a:pt x="56" y="258"/>
                  <a:pt x="57" y="258"/>
                  <a:pt x="57" y="258"/>
                </a:cubicBezTo>
                <a:cubicBezTo>
                  <a:pt x="58" y="260"/>
                  <a:pt x="57" y="262"/>
                  <a:pt x="57" y="264"/>
                </a:cubicBezTo>
                <a:cubicBezTo>
                  <a:pt x="57" y="265"/>
                  <a:pt x="57" y="265"/>
                  <a:pt x="57" y="266"/>
                </a:cubicBezTo>
                <a:close/>
                <a:moveTo>
                  <a:pt x="58" y="333"/>
                </a:moveTo>
                <a:cubicBezTo>
                  <a:pt x="58" y="333"/>
                  <a:pt x="57" y="333"/>
                  <a:pt x="57" y="332"/>
                </a:cubicBezTo>
                <a:cubicBezTo>
                  <a:pt x="57" y="331"/>
                  <a:pt x="58" y="332"/>
                  <a:pt x="58" y="333"/>
                </a:cubicBezTo>
                <a:close/>
                <a:moveTo>
                  <a:pt x="64" y="334"/>
                </a:moveTo>
                <a:cubicBezTo>
                  <a:pt x="63" y="334"/>
                  <a:pt x="63" y="333"/>
                  <a:pt x="64" y="332"/>
                </a:cubicBezTo>
                <a:cubicBezTo>
                  <a:pt x="64" y="332"/>
                  <a:pt x="65" y="334"/>
                  <a:pt x="64" y="334"/>
                </a:cubicBezTo>
                <a:close/>
                <a:moveTo>
                  <a:pt x="70" y="242"/>
                </a:moveTo>
                <a:cubicBezTo>
                  <a:pt x="71" y="242"/>
                  <a:pt x="72" y="242"/>
                  <a:pt x="72" y="243"/>
                </a:cubicBezTo>
                <a:cubicBezTo>
                  <a:pt x="72" y="245"/>
                  <a:pt x="68" y="243"/>
                  <a:pt x="70" y="242"/>
                </a:cubicBezTo>
                <a:close/>
                <a:moveTo>
                  <a:pt x="71" y="259"/>
                </a:moveTo>
                <a:cubicBezTo>
                  <a:pt x="70" y="259"/>
                  <a:pt x="70" y="258"/>
                  <a:pt x="70" y="258"/>
                </a:cubicBezTo>
                <a:cubicBezTo>
                  <a:pt x="71" y="257"/>
                  <a:pt x="71" y="259"/>
                  <a:pt x="71" y="259"/>
                </a:cubicBezTo>
                <a:close/>
                <a:moveTo>
                  <a:pt x="68" y="253"/>
                </a:moveTo>
                <a:cubicBezTo>
                  <a:pt x="69" y="252"/>
                  <a:pt x="69" y="254"/>
                  <a:pt x="68" y="254"/>
                </a:cubicBezTo>
                <a:cubicBezTo>
                  <a:pt x="68" y="254"/>
                  <a:pt x="67" y="253"/>
                  <a:pt x="68" y="253"/>
                </a:cubicBezTo>
                <a:close/>
                <a:moveTo>
                  <a:pt x="68" y="246"/>
                </a:moveTo>
                <a:cubicBezTo>
                  <a:pt x="68" y="246"/>
                  <a:pt x="69" y="247"/>
                  <a:pt x="68" y="247"/>
                </a:cubicBezTo>
                <a:cubicBezTo>
                  <a:pt x="68" y="247"/>
                  <a:pt x="67" y="247"/>
                  <a:pt x="68" y="246"/>
                </a:cubicBezTo>
                <a:close/>
                <a:moveTo>
                  <a:pt x="69" y="248"/>
                </a:moveTo>
                <a:cubicBezTo>
                  <a:pt x="68" y="246"/>
                  <a:pt x="69" y="250"/>
                  <a:pt x="69" y="248"/>
                </a:cubicBezTo>
                <a:close/>
                <a:moveTo>
                  <a:pt x="67" y="243"/>
                </a:moveTo>
                <a:cubicBezTo>
                  <a:pt x="68" y="244"/>
                  <a:pt x="68" y="245"/>
                  <a:pt x="69" y="246"/>
                </a:cubicBezTo>
                <a:cubicBezTo>
                  <a:pt x="68" y="246"/>
                  <a:pt x="67" y="244"/>
                  <a:pt x="67" y="243"/>
                </a:cubicBezTo>
                <a:close/>
                <a:moveTo>
                  <a:pt x="67" y="277"/>
                </a:moveTo>
                <a:cubicBezTo>
                  <a:pt x="69" y="275"/>
                  <a:pt x="70" y="280"/>
                  <a:pt x="70" y="282"/>
                </a:cubicBezTo>
                <a:cubicBezTo>
                  <a:pt x="68" y="281"/>
                  <a:pt x="66" y="279"/>
                  <a:pt x="67" y="277"/>
                </a:cubicBezTo>
                <a:close/>
                <a:moveTo>
                  <a:pt x="66" y="267"/>
                </a:moveTo>
                <a:cubicBezTo>
                  <a:pt x="65" y="267"/>
                  <a:pt x="65" y="266"/>
                  <a:pt x="66" y="266"/>
                </a:cubicBezTo>
                <a:cubicBezTo>
                  <a:pt x="67" y="265"/>
                  <a:pt x="66" y="267"/>
                  <a:pt x="66" y="267"/>
                </a:cubicBezTo>
                <a:close/>
                <a:moveTo>
                  <a:pt x="64" y="237"/>
                </a:moveTo>
                <a:cubicBezTo>
                  <a:pt x="65" y="236"/>
                  <a:pt x="66" y="239"/>
                  <a:pt x="65" y="239"/>
                </a:cubicBezTo>
                <a:cubicBezTo>
                  <a:pt x="64" y="239"/>
                  <a:pt x="64" y="238"/>
                  <a:pt x="64" y="237"/>
                </a:cubicBezTo>
                <a:close/>
                <a:moveTo>
                  <a:pt x="64" y="255"/>
                </a:moveTo>
                <a:cubicBezTo>
                  <a:pt x="64" y="255"/>
                  <a:pt x="65" y="256"/>
                  <a:pt x="64" y="257"/>
                </a:cubicBezTo>
                <a:cubicBezTo>
                  <a:pt x="64" y="256"/>
                  <a:pt x="64" y="256"/>
                  <a:pt x="64" y="255"/>
                </a:cubicBezTo>
                <a:close/>
                <a:moveTo>
                  <a:pt x="64" y="265"/>
                </a:moveTo>
                <a:cubicBezTo>
                  <a:pt x="64" y="265"/>
                  <a:pt x="64" y="265"/>
                  <a:pt x="64" y="265"/>
                </a:cubicBezTo>
                <a:cubicBezTo>
                  <a:pt x="65" y="264"/>
                  <a:pt x="62" y="267"/>
                  <a:pt x="64" y="265"/>
                </a:cubicBezTo>
                <a:close/>
                <a:moveTo>
                  <a:pt x="63" y="259"/>
                </a:moveTo>
                <a:cubicBezTo>
                  <a:pt x="64" y="258"/>
                  <a:pt x="64" y="259"/>
                  <a:pt x="64" y="259"/>
                </a:cubicBezTo>
                <a:cubicBezTo>
                  <a:pt x="64" y="260"/>
                  <a:pt x="63" y="259"/>
                  <a:pt x="63" y="259"/>
                </a:cubicBezTo>
                <a:close/>
                <a:moveTo>
                  <a:pt x="59" y="265"/>
                </a:moveTo>
                <a:cubicBezTo>
                  <a:pt x="60" y="265"/>
                  <a:pt x="61" y="268"/>
                  <a:pt x="60" y="269"/>
                </a:cubicBezTo>
                <a:cubicBezTo>
                  <a:pt x="59" y="269"/>
                  <a:pt x="58" y="266"/>
                  <a:pt x="59" y="265"/>
                </a:cubicBezTo>
                <a:close/>
                <a:moveTo>
                  <a:pt x="67" y="342"/>
                </a:moveTo>
                <a:cubicBezTo>
                  <a:pt x="66" y="343"/>
                  <a:pt x="65" y="341"/>
                  <a:pt x="66" y="341"/>
                </a:cubicBezTo>
                <a:cubicBezTo>
                  <a:pt x="67" y="341"/>
                  <a:pt x="67" y="342"/>
                  <a:pt x="67" y="342"/>
                </a:cubicBezTo>
                <a:close/>
                <a:moveTo>
                  <a:pt x="70" y="301"/>
                </a:moveTo>
                <a:cubicBezTo>
                  <a:pt x="70" y="301"/>
                  <a:pt x="69" y="301"/>
                  <a:pt x="69" y="301"/>
                </a:cubicBezTo>
                <a:cubicBezTo>
                  <a:pt x="68" y="302"/>
                  <a:pt x="66" y="299"/>
                  <a:pt x="65" y="297"/>
                </a:cubicBezTo>
                <a:cubicBezTo>
                  <a:pt x="65" y="298"/>
                  <a:pt x="65" y="300"/>
                  <a:pt x="65" y="301"/>
                </a:cubicBezTo>
                <a:cubicBezTo>
                  <a:pt x="65" y="306"/>
                  <a:pt x="63" y="297"/>
                  <a:pt x="63" y="297"/>
                </a:cubicBezTo>
                <a:cubicBezTo>
                  <a:pt x="62" y="291"/>
                  <a:pt x="61" y="287"/>
                  <a:pt x="60" y="282"/>
                </a:cubicBezTo>
                <a:cubicBezTo>
                  <a:pt x="60" y="281"/>
                  <a:pt x="59" y="274"/>
                  <a:pt x="60" y="273"/>
                </a:cubicBezTo>
                <a:cubicBezTo>
                  <a:pt x="61" y="272"/>
                  <a:pt x="62" y="281"/>
                  <a:pt x="63" y="284"/>
                </a:cubicBezTo>
                <a:cubicBezTo>
                  <a:pt x="63" y="288"/>
                  <a:pt x="63" y="291"/>
                  <a:pt x="64" y="293"/>
                </a:cubicBezTo>
                <a:cubicBezTo>
                  <a:pt x="64" y="291"/>
                  <a:pt x="65" y="289"/>
                  <a:pt x="68" y="289"/>
                </a:cubicBezTo>
                <a:cubicBezTo>
                  <a:pt x="73" y="289"/>
                  <a:pt x="72" y="297"/>
                  <a:pt x="70" y="301"/>
                </a:cubicBezTo>
                <a:close/>
                <a:moveTo>
                  <a:pt x="72" y="283"/>
                </a:moveTo>
                <a:cubicBezTo>
                  <a:pt x="72" y="283"/>
                  <a:pt x="72" y="283"/>
                  <a:pt x="72" y="283"/>
                </a:cubicBezTo>
                <a:cubicBezTo>
                  <a:pt x="74" y="282"/>
                  <a:pt x="70" y="285"/>
                  <a:pt x="72" y="283"/>
                </a:cubicBezTo>
                <a:close/>
                <a:moveTo>
                  <a:pt x="25" y="317"/>
                </a:moveTo>
                <a:cubicBezTo>
                  <a:pt x="27" y="317"/>
                  <a:pt x="26" y="320"/>
                  <a:pt x="25" y="320"/>
                </a:cubicBezTo>
                <a:cubicBezTo>
                  <a:pt x="24" y="321"/>
                  <a:pt x="23" y="317"/>
                  <a:pt x="25" y="317"/>
                </a:cubicBezTo>
                <a:close/>
                <a:moveTo>
                  <a:pt x="24" y="294"/>
                </a:moveTo>
                <a:cubicBezTo>
                  <a:pt x="26" y="293"/>
                  <a:pt x="25" y="296"/>
                  <a:pt x="24" y="296"/>
                </a:cubicBezTo>
                <a:cubicBezTo>
                  <a:pt x="23" y="296"/>
                  <a:pt x="23" y="295"/>
                  <a:pt x="24" y="294"/>
                </a:cubicBezTo>
                <a:close/>
                <a:moveTo>
                  <a:pt x="8" y="242"/>
                </a:moveTo>
                <a:cubicBezTo>
                  <a:pt x="9" y="241"/>
                  <a:pt x="9" y="244"/>
                  <a:pt x="8" y="243"/>
                </a:cubicBezTo>
                <a:cubicBezTo>
                  <a:pt x="8" y="243"/>
                  <a:pt x="8" y="242"/>
                  <a:pt x="8" y="242"/>
                </a:cubicBezTo>
                <a:close/>
                <a:moveTo>
                  <a:pt x="2" y="238"/>
                </a:moveTo>
                <a:cubicBezTo>
                  <a:pt x="2" y="237"/>
                  <a:pt x="0" y="239"/>
                  <a:pt x="2" y="238"/>
                </a:cubicBezTo>
                <a:close/>
                <a:moveTo>
                  <a:pt x="2" y="242"/>
                </a:moveTo>
                <a:cubicBezTo>
                  <a:pt x="2" y="242"/>
                  <a:pt x="2" y="241"/>
                  <a:pt x="2" y="241"/>
                </a:cubicBezTo>
                <a:cubicBezTo>
                  <a:pt x="3" y="240"/>
                  <a:pt x="3" y="242"/>
                  <a:pt x="2" y="242"/>
                </a:cubicBezTo>
                <a:close/>
                <a:moveTo>
                  <a:pt x="3" y="351"/>
                </a:moveTo>
                <a:cubicBezTo>
                  <a:pt x="2" y="353"/>
                  <a:pt x="4" y="350"/>
                  <a:pt x="3" y="351"/>
                </a:cubicBezTo>
                <a:close/>
                <a:moveTo>
                  <a:pt x="3" y="442"/>
                </a:moveTo>
                <a:cubicBezTo>
                  <a:pt x="3" y="442"/>
                  <a:pt x="3" y="442"/>
                  <a:pt x="3" y="442"/>
                </a:cubicBezTo>
                <a:cubicBezTo>
                  <a:pt x="4" y="441"/>
                  <a:pt x="1" y="445"/>
                  <a:pt x="3" y="442"/>
                </a:cubicBezTo>
                <a:close/>
                <a:moveTo>
                  <a:pt x="11" y="295"/>
                </a:moveTo>
                <a:cubicBezTo>
                  <a:pt x="13" y="295"/>
                  <a:pt x="12" y="300"/>
                  <a:pt x="11" y="299"/>
                </a:cubicBezTo>
                <a:cubicBezTo>
                  <a:pt x="9" y="299"/>
                  <a:pt x="10" y="295"/>
                  <a:pt x="11" y="295"/>
                </a:cubicBezTo>
                <a:close/>
                <a:moveTo>
                  <a:pt x="9" y="283"/>
                </a:moveTo>
                <a:cubicBezTo>
                  <a:pt x="12" y="283"/>
                  <a:pt x="10" y="288"/>
                  <a:pt x="8" y="288"/>
                </a:cubicBezTo>
                <a:cubicBezTo>
                  <a:pt x="6" y="288"/>
                  <a:pt x="7" y="283"/>
                  <a:pt x="9" y="283"/>
                </a:cubicBezTo>
                <a:close/>
                <a:moveTo>
                  <a:pt x="5" y="239"/>
                </a:moveTo>
                <a:cubicBezTo>
                  <a:pt x="6" y="239"/>
                  <a:pt x="6" y="243"/>
                  <a:pt x="5" y="243"/>
                </a:cubicBezTo>
                <a:cubicBezTo>
                  <a:pt x="4" y="243"/>
                  <a:pt x="3" y="239"/>
                  <a:pt x="5" y="239"/>
                </a:cubicBezTo>
                <a:close/>
                <a:moveTo>
                  <a:pt x="5" y="282"/>
                </a:moveTo>
                <a:cubicBezTo>
                  <a:pt x="4" y="281"/>
                  <a:pt x="7" y="281"/>
                  <a:pt x="5" y="282"/>
                </a:cubicBezTo>
                <a:close/>
                <a:moveTo>
                  <a:pt x="6" y="383"/>
                </a:moveTo>
                <a:cubicBezTo>
                  <a:pt x="5" y="382"/>
                  <a:pt x="7" y="381"/>
                  <a:pt x="6" y="383"/>
                </a:cubicBezTo>
                <a:close/>
                <a:moveTo>
                  <a:pt x="7" y="413"/>
                </a:moveTo>
                <a:cubicBezTo>
                  <a:pt x="7" y="414"/>
                  <a:pt x="7" y="414"/>
                  <a:pt x="7" y="413"/>
                </a:cubicBezTo>
                <a:close/>
                <a:moveTo>
                  <a:pt x="7" y="412"/>
                </a:moveTo>
                <a:cubicBezTo>
                  <a:pt x="6" y="411"/>
                  <a:pt x="8" y="410"/>
                  <a:pt x="7" y="412"/>
                </a:cubicBezTo>
                <a:close/>
                <a:moveTo>
                  <a:pt x="11" y="364"/>
                </a:moveTo>
                <a:cubicBezTo>
                  <a:pt x="9" y="362"/>
                  <a:pt x="12" y="361"/>
                  <a:pt x="11" y="364"/>
                </a:cubicBezTo>
                <a:close/>
                <a:moveTo>
                  <a:pt x="11" y="360"/>
                </a:moveTo>
                <a:cubicBezTo>
                  <a:pt x="10" y="360"/>
                  <a:pt x="11" y="359"/>
                  <a:pt x="11" y="358"/>
                </a:cubicBezTo>
                <a:cubicBezTo>
                  <a:pt x="12" y="359"/>
                  <a:pt x="11" y="360"/>
                  <a:pt x="11" y="360"/>
                </a:cubicBezTo>
                <a:close/>
                <a:moveTo>
                  <a:pt x="12" y="342"/>
                </a:moveTo>
                <a:cubicBezTo>
                  <a:pt x="11" y="344"/>
                  <a:pt x="9" y="343"/>
                  <a:pt x="7" y="345"/>
                </a:cubicBezTo>
                <a:cubicBezTo>
                  <a:pt x="4" y="343"/>
                  <a:pt x="3" y="336"/>
                  <a:pt x="6" y="332"/>
                </a:cubicBezTo>
                <a:cubicBezTo>
                  <a:pt x="10" y="324"/>
                  <a:pt x="16" y="336"/>
                  <a:pt x="12" y="342"/>
                </a:cubicBezTo>
                <a:close/>
                <a:moveTo>
                  <a:pt x="13" y="293"/>
                </a:moveTo>
                <a:cubicBezTo>
                  <a:pt x="12" y="293"/>
                  <a:pt x="12" y="291"/>
                  <a:pt x="13" y="291"/>
                </a:cubicBezTo>
                <a:cubicBezTo>
                  <a:pt x="14" y="292"/>
                  <a:pt x="14" y="294"/>
                  <a:pt x="13" y="293"/>
                </a:cubicBezTo>
                <a:close/>
                <a:moveTo>
                  <a:pt x="20" y="292"/>
                </a:moveTo>
                <a:cubicBezTo>
                  <a:pt x="19" y="292"/>
                  <a:pt x="18" y="288"/>
                  <a:pt x="20" y="288"/>
                </a:cubicBezTo>
                <a:cubicBezTo>
                  <a:pt x="22" y="288"/>
                  <a:pt x="21" y="292"/>
                  <a:pt x="20" y="292"/>
                </a:cubicBezTo>
                <a:close/>
                <a:moveTo>
                  <a:pt x="21" y="325"/>
                </a:moveTo>
                <a:cubicBezTo>
                  <a:pt x="21" y="325"/>
                  <a:pt x="20" y="324"/>
                  <a:pt x="21" y="324"/>
                </a:cubicBezTo>
                <a:cubicBezTo>
                  <a:pt x="22" y="324"/>
                  <a:pt x="22" y="325"/>
                  <a:pt x="21" y="325"/>
                </a:cubicBezTo>
                <a:close/>
                <a:moveTo>
                  <a:pt x="22" y="295"/>
                </a:moveTo>
                <a:cubicBezTo>
                  <a:pt x="21" y="296"/>
                  <a:pt x="21" y="293"/>
                  <a:pt x="21" y="293"/>
                </a:cubicBezTo>
                <a:cubicBezTo>
                  <a:pt x="22" y="292"/>
                  <a:pt x="23" y="295"/>
                  <a:pt x="22" y="295"/>
                </a:cubicBezTo>
                <a:close/>
                <a:moveTo>
                  <a:pt x="26" y="373"/>
                </a:moveTo>
                <a:cubicBezTo>
                  <a:pt x="25" y="372"/>
                  <a:pt x="28" y="371"/>
                  <a:pt x="26" y="373"/>
                </a:cubicBezTo>
                <a:close/>
                <a:moveTo>
                  <a:pt x="27" y="459"/>
                </a:moveTo>
                <a:cubicBezTo>
                  <a:pt x="26" y="458"/>
                  <a:pt x="28" y="457"/>
                  <a:pt x="27" y="459"/>
                </a:cubicBezTo>
                <a:close/>
                <a:moveTo>
                  <a:pt x="31" y="330"/>
                </a:moveTo>
                <a:cubicBezTo>
                  <a:pt x="32" y="329"/>
                  <a:pt x="32" y="332"/>
                  <a:pt x="31" y="332"/>
                </a:cubicBezTo>
                <a:cubicBezTo>
                  <a:pt x="31" y="332"/>
                  <a:pt x="31" y="330"/>
                  <a:pt x="31" y="330"/>
                </a:cubicBezTo>
                <a:close/>
                <a:moveTo>
                  <a:pt x="31" y="465"/>
                </a:moveTo>
                <a:cubicBezTo>
                  <a:pt x="30" y="463"/>
                  <a:pt x="30" y="461"/>
                  <a:pt x="31" y="458"/>
                </a:cubicBezTo>
                <a:cubicBezTo>
                  <a:pt x="32" y="460"/>
                  <a:pt x="31" y="463"/>
                  <a:pt x="31" y="465"/>
                </a:cubicBezTo>
                <a:close/>
                <a:moveTo>
                  <a:pt x="33" y="366"/>
                </a:moveTo>
                <a:cubicBezTo>
                  <a:pt x="32" y="360"/>
                  <a:pt x="31" y="354"/>
                  <a:pt x="31" y="348"/>
                </a:cubicBezTo>
                <a:cubicBezTo>
                  <a:pt x="33" y="353"/>
                  <a:pt x="33" y="362"/>
                  <a:pt x="35" y="369"/>
                </a:cubicBezTo>
                <a:cubicBezTo>
                  <a:pt x="36" y="374"/>
                  <a:pt x="33" y="367"/>
                  <a:pt x="33" y="366"/>
                </a:cubicBezTo>
                <a:close/>
                <a:moveTo>
                  <a:pt x="35" y="330"/>
                </a:moveTo>
                <a:cubicBezTo>
                  <a:pt x="36" y="331"/>
                  <a:pt x="35" y="331"/>
                  <a:pt x="35" y="330"/>
                </a:cubicBezTo>
                <a:close/>
                <a:moveTo>
                  <a:pt x="46" y="336"/>
                </a:moveTo>
                <a:cubicBezTo>
                  <a:pt x="46" y="336"/>
                  <a:pt x="46" y="337"/>
                  <a:pt x="46" y="337"/>
                </a:cubicBezTo>
                <a:cubicBezTo>
                  <a:pt x="46" y="338"/>
                  <a:pt x="45" y="337"/>
                  <a:pt x="46" y="336"/>
                </a:cubicBezTo>
                <a:close/>
                <a:moveTo>
                  <a:pt x="39" y="421"/>
                </a:moveTo>
                <a:cubicBezTo>
                  <a:pt x="38" y="420"/>
                  <a:pt x="40" y="419"/>
                  <a:pt x="39" y="421"/>
                </a:cubicBezTo>
                <a:close/>
                <a:moveTo>
                  <a:pt x="40" y="416"/>
                </a:moveTo>
                <a:cubicBezTo>
                  <a:pt x="38" y="417"/>
                  <a:pt x="39" y="414"/>
                  <a:pt x="39" y="414"/>
                </a:cubicBezTo>
                <a:cubicBezTo>
                  <a:pt x="40" y="414"/>
                  <a:pt x="39" y="415"/>
                  <a:pt x="40" y="416"/>
                </a:cubicBezTo>
                <a:close/>
                <a:moveTo>
                  <a:pt x="43" y="333"/>
                </a:moveTo>
                <a:cubicBezTo>
                  <a:pt x="43" y="333"/>
                  <a:pt x="42" y="334"/>
                  <a:pt x="42" y="334"/>
                </a:cubicBezTo>
                <a:cubicBezTo>
                  <a:pt x="41" y="335"/>
                  <a:pt x="42" y="332"/>
                  <a:pt x="43" y="333"/>
                </a:cubicBezTo>
                <a:close/>
                <a:moveTo>
                  <a:pt x="43" y="405"/>
                </a:moveTo>
                <a:cubicBezTo>
                  <a:pt x="43" y="407"/>
                  <a:pt x="44" y="410"/>
                  <a:pt x="43" y="411"/>
                </a:cubicBezTo>
                <a:cubicBezTo>
                  <a:pt x="42" y="411"/>
                  <a:pt x="42" y="407"/>
                  <a:pt x="43" y="405"/>
                </a:cubicBezTo>
                <a:close/>
                <a:moveTo>
                  <a:pt x="43" y="446"/>
                </a:moveTo>
                <a:cubicBezTo>
                  <a:pt x="43" y="447"/>
                  <a:pt x="42" y="448"/>
                  <a:pt x="43" y="446"/>
                </a:cubicBezTo>
                <a:close/>
                <a:moveTo>
                  <a:pt x="43" y="449"/>
                </a:moveTo>
                <a:cubicBezTo>
                  <a:pt x="43" y="449"/>
                  <a:pt x="44" y="450"/>
                  <a:pt x="44" y="450"/>
                </a:cubicBezTo>
                <a:cubicBezTo>
                  <a:pt x="43" y="451"/>
                  <a:pt x="42" y="450"/>
                  <a:pt x="43" y="449"/>
                </a:cubicBezTo>
                <a:close/>
                <a:moveTo>
                  <a:pt x="43" y="404"/>
                </a:moveTo>
                <a:cubicBezTo>
                  <a:pt x="42" y="404"/>
                  <a:pt x="43" y="394"/>
                  <a:pt x="43" y="395"/>
                </a:cubicBezTo>
                <a:cubicBezTo>
                  <a:pt x="44" y="397"/>
                  <a:pt x="45" y="401"/>
                  <a:pt x="43" y="404"/>
                </a:cubicBezTo>
                <a:close/>
                <a:moveTo>
                  <a:pt x="44" y="379"/>
                </a:moveTo>
                <a:cubicBezTo>
                  <a:pt x="44" y="379"/>
                  <a:pt x="44" y="379"/>
                  <a:pt x="44" y="379"/>
                </a:cubicBezTo>
                <a:cubicBezTo>
                  <a:pt x="44" y="379"/>
                  <a:pt x="44" y="379"/>
                  <a:pt x="44" y="379"/>
                </a:cubicBezTo>
                <a:cubicBezTo>
                  <a:pt x="44" y="379"/>
                  <a:pt x="44" y="379"/>
                  <a:pt x="44" y="379"/>
                </a:cubicBezTo>
                <a:close/>
                <a:moveTo>
                  <a:pt x="46" y="410"/>
                </a:moveTo>
                <a:cubicBezTo>
                  <a:pt x="44" y="409"/>
                  <a:pt x="44" y="404"/>
                  <a:pt x="47" y="405"/>
                </a:cubicBezTo>
                <a:cubicBezTo>
                  <a:pt x="49" y="406"/>
                  <a:pt x="48" y="410"/>
                  <a:pt x="46" y="410"/>
                </a:cubicBezTo>
                <a:close/>
                <a:moveTo>
                  <a:pt x="48" y="365"/>
                </a:moveTo>
                <a:cubicBezTo>
                  <a:pt x="45" y="365"/>
                  <a:pt x="45" y="360"/>
                  <a:pt x="47" y="360"/>
                </a:cubicBezTo>
                <a:cubicBezTo>
                  <a:pt x="50" y="360"/>
                  <a:pt x="49" y="365"/>
                  <a:pt x="48" y="365"/>
                </a:cubicBezTo>
                <a:close/>
                <a:moveTo>
                  <a:pt x="52" y="444"/>
                </a:moveTo>
                <a:cubicBezTo>
                  <a:pt x="51" y="444"/>
                  <a:pt x="50" y="442"/>
                  <a:pt x="51" y="441"/>
                </a:cubicBezTo>
                <a:cubicBezTo>
                  <a:pt x="52" y="440"/>
                  <a:pt x="52" y="444"/>
                  <a:pt x="52" y="444"/>
                </a:cubicBezTo>
                <a:close/>
                <a:moveTo>
                  <a:pt x="55" y="387"/>
                </a:moveTo>
                <a:cubicBezTo>
                  <a:pt x="56" y="388"/>
                  <a:pt x="55" y="389"/>
                  <a:pt x="55" y="390"/>
                </a:cubicBezTo>
                <a:cubicBezTo>
                  <a:pt x="55" y="389"/>
                  <a:pt x="54" y="388"/>
                  <a:pt x="55" y="387"/>
                </a:cubicBezTo>
                <a:close/>
                <a:moveTo>
                  <a:pt x="54" y="397"/>
                </a:moveTo>
                <a:cubicBezTo>
                  <a:pt x="55" y="396"/>
                  <a:pt x="55" y="399"/>
                  <a:pt x="54" y="399"/>
                </a:cubicBezTo>
                <a:cubicBezTo>
                  <a:pt x="54" y="400"/>
                  <a:pt x="52" y="397"/>
                  <a:pt x="54" y="397"/>
                </a:cubicBezTo>
                <a:close/>
                <a:moveTo>
                  <a:pt x="55" y="464"/>
                </a:moveTo>
                <a:cubicBezTo>
                  <a:pt x="54" y="459"/>
                  <a:pt x="54" y="453"/>
                  <a:pt x="54" y="448"/>
                </a:cubicBezTo>
                <a:cubicBezTo>
                  <a:pt x="56" y="453"/>
                  <a:pt x="56" y="459"/>
                  <a:pt x="55" y="464"/>
                </a:cubicBezTo>
                <a:close/>
                <a:moveTo>
                  <a:pt x="57" y="480"/>
                </a:moveTo>
                <a:cubicBezTo>
                  <a:pt x="56" y="476"/>
                  <a:pt x="56" y="471"/>
                  <a:pt x="56" y="467"/>
                </a:cubicBezTo>
                <a:cubicBezTo>
                  <a:pt x="56" y="471"/>
                  <a:pt x="58" y="475"/>
                  <a:pt x="57" y="480"/>
                </a:cubicBezTo>
                <a:close/>
                <a:moveTo>
                  <a:pt x="64" y="450"/>
                </a:moveTo>
                <a:cubicBezTo>
                  <a:pt x="63" y="451"/>
                  <a:pt x="64" y="449"/>
                  <a:pt x="64" y="450"/>
                </a:cubicBezTo>
                <a:close/>
                <a:moveTo>
                  <a:pt x="71" y="454"/>
                </a:moveTo>
                <a:cubicBezTo>
                  <a:pt x="72" y="455"/>
                  <a:pt x="70" y="456"/>
                  <a:pt x="71" y="454"/>
                </a:cubicBezTo>
                <a:close/>
                <a:moveTo>
                  <a:pt x="75" y="408"/>
                </a:moveTo>
                <a:cubicBezTo>
                  <a:pt x="75" y="408"/>
                  <a:pt x="75" y="408"/>
                  <a:pt x="75" y="408"/>
                </a:cubicBezTo>
                <a:cubicBezTo>
                  <a:pt x="75" y="408"/>
                  <a:pt x="75" y="408"/>
                  <a:pt x="75" y="408"/>
                </a:cubicBezTo>
                <a:cubicBezTo>
                  <a:pt x="75" y="408"/>
                  <a:pt x="75" y="408"/>
                  <a:pt x="75" y="408"/>
                </a:cubicBezTo>
                <a:close/>
                <a:moveTo>
                  <a:pt x="80" y="382"/>
                </a:moveTo>
                <a:cubicBezTo>
                  <a:pt x="80" y="382"/>
                  <a:pt x="80" y="382"/>
                  <a:pt x="80" y="382"/>
                </a:cubicBezTo>
                <a:cubicBezTo>
                  <a:pt x="80" y="382"/>
                  <a:pt x="80" y="382"/>
                  <a:pt x="80" y="382"/>
                </a:cubicBezTo>
                <a:cubicBezTo>
                  <a:pt x="80" y="382"/>
                  <a:pt x="80" y="382"/>
                  <a:pt x="80" y="382"/>
                </a:cubicBezTo>
                <a:close/>
                <a:moveTo>
                  <a:pt x="78" y="214"/>
                </a:moveTo>
                <a:cubicBezTo>
                  <a:pt x="78" y="214"/>
                  <a:pt x="78" y="212"/>
                  <a:pt x="78" y="212"/>
                </a:cubicBezTo>
                <a:cubicBezTo>
                  <a:pt x="78" y="211"/>
                  <a:pt x="79" y="213"/>
                  <a:pt x="78" y="214"/>
                </a:cubicBezTo>
                <a:close/>
                <a:moveTo>
                  <a:pt x="78" y="214"/>
                </a:moveTo>
                <a:cubicBezTo>
                  <a:pt x="79" y="214"/>
                  <a:pt x="78" y="216"/>
                  <a:pt x="78" y="216"/>
                </a:cubicBezTo>
                <a:cubicBezTo>
                  <a:pt x="78" y="216"/>
                  <a:pt x="77" y="215"/>
                  <a:pt x="78" y="214"/>
                </a:cubicBezTo>
                <a:close/>
                <a:moveTo>
                  <a:pt x="76" y="204"/>
                </a:moveTo>
                <a:cubicBezTo>
                  <a:pt x="77" y="205"/>
                  <a:pt x="77" y="206"/>
                  <a:pt x="77" y="208"/>
                </a:cubicBezTo>
                <a:cubicBezTo>
                  <a:pt x="77" y="207"/>
                  <a:pt x="75" y="206"/>
                  <a:pt x="76" y="204"/>
                </a:cubicBezTo>
                <a:close/>
                <a:moveTo>
                  <a:pt x="76" y="221"/>
                </a:moveTo>
                <a:cubicBezTo>
                  <a:pt x="76" y="221"/>
                  <a:pt x="76" y="221"/>
                  <a:pt x="76" y="221"/>
                </a:cubicBezTo>
                <a:cubicBezTo>
                  <a:pt x="76" y="222"/>
                  <a:pt x="75" y="221"/>
                  <a:pt x="76" y="221"/>
                </a:cubicBezTo>
                <a:close/>
                <a:moveTo>
                  <a:pt x="77" y="253"/>
                </a:moveTo>
                <a:cubicBezTo>
                  <a:pt x="77" y="254"/>
                  <a:pt x="75" y="251"/>
                  <a:pt x="76" y="251"/>
                </a:cubicBezTo>
                <a:cubicBezTo>
                  <a:pt x="77" y="251"/>
                  <a:pt x="78" y="253"/>
                  <a:pt x="77" y="253"/>
                </a:cubicBezTo>
                <a:close/>
                <a:moveTo>
                  <a:pt x="76" y="260"/>
                </a:moveTo>
                <a:cubicBezTo>
                  <a:pt x="79" y="259"/>
                  <a:pt x="79" y="264"/>
                  <a:pt x="77" y="265"/>
                </a:cubicBezTo>
                <a:cubicBezTo>
                  <a:pt x="75" y="266"/>
                  <a:pt x="74" y="261"/>
                  <a:pt x="76" y="260"/>
                </a:cubicBezTo>
                <a:close/>
                <a:moveTo>
                  <a:pt x="78" y="258"/>
                </a:moveTo>
                <a:cubicBezTo>
                  <a:pt x="77" y="257"/>
                  <a:pt x="79" y="256"/>
                  <a:pt x="78" y="258"/>
                </a:cubicBezTo>
                <a:close/>
                <a:moveTo>
                  <a:pt x="76" y="353"/>
                </a:moveTo>
                <a:cubicBezTo>
                  <a:pt x="75" y="353"/>
                  <a:pt x="74" y="351"/>
                  <a:pt x="75" y="351"/>
                </a:cubicBezTo>
                <a:cubicBezTo>
                  <a:pt x="75" y="351"/>
                  <a:pt x="76" y="353"/>
                  <a:pt x="76" y="353"/>
                </a:cubicBezTo>
                <a:close/>
                <a:moveTo>
                  <a:pt x="79" y="279"/>
                </a:moveTo>
                <a:cubicBezTo>
                  <a:pt x="79" y="278"/>
                  <a:pt x="81" y="279"/>
                  <a:pt x="81" y="278"/>
                </a:cubicBezTo>
                <a:cubicBezTo>
                  <a:pt x="81" y="277"/>
                  <a:pt x="80" y="276"/>
                  <a:pt x="79" y="276"/>
                </a:cubicBezTo>
                <a:cubicBezTo>
                  <a:pt x="78" y="276"/>
                  <a:pt x="78" y="278"/>
                  <a:pt x="77" y="277"/>
                </a:cubicBezTo>
                <a:cubicBezTo>
                  <a:pt x="78" y="278"/>
                  <a:pt x="77" y="279"/>
                  <a:pt x="77" y="277"/>
                </a:cubicBezTo>
                <a:cubicBezTo>
                  <a:pt x="76" y="277"/>
                  <a:pt x="77" y="276"/>
                  <a:pt x="77" y="275"/>
                </a:cubicBezTo>
                <a:cubicBezTo>
                  <a:pt x="76" y="274"/>
                  <a:pt x="76" y="274"/>
                  <a:pt x="76" y="272"/>
                </a:cubicBezTo>
                <a:cubicBezTo>
                  <a:pt x="76" y="271"/>
                  <a:pt x="79" y="267"/>
                  <a:pt x="81" y="270"/>
                </a:cubicBezTo>
                <a:cubicBezTo>
                  <a:pt x="82" y="273"/>
                  <a:pt x="83" y="278"/>
                  <a:pt x="81" y="280"/>
                </a:cubicBezTo>
                <a:cubicBezTo>
                  <a:pt x="81" y="281"/>
                  <a:pt x="78" y="281"/>
                  <a:pt x="79" y="279"/>
                </a:cubicBezTo>
                <a:close/>
                <a:moveTo>
                  <a:pt x="82" y="357"/>
                </a:moveTo>
                <a:cubicBezTo>
                  <a:pt x="82" y="358"/>
                  <a:pt x="82" y="358"/>
                  <a:pt x="82" y="359"/>
                </a:cubicBezTo>
                <a:cubicBezTo>
                  <a:pt x="82" y="359"/>
                  <a:pt x="82" y="358"/>
                  <a:pt x="82" y="357"/>
                </a:cubicBezTo>
                <a:close/>
                <a:moveTo>
                  <a:pt x="81" y="298"/>
                </a:moveTo>
                <a:cubicBezTo>
                  <a:pt x="82" y="299"/>
                  <a:pt x="83" y="302"/>
                  <a:pt x="83" y="304"/>
                </a:cubicBezTo>
                <a:cubicBezTo>
                  <a:pt x="81" y="302"/>
                  <a:pt x="82" y="300"/>
                  <a:pt x="81" y="298"/>
                </a:cubicBezTo>
                <a:close/>
                <a:moveTo>
                  <a:pt x="81" y="240"/>
                </a:moveTo>
                <a:cubicBezTo>
                  <a:pt x="83" y="236"/>
                  <a:pt x="78" y="238"/>
                  <a:pt x="77" y="238"/>
                </a:cubicBezTo>
                <a:cubicBezTo>
                  <a:pt x="76" y="236"/>
                  <a:pt x="78" y="233"/>
                  <a:pt x="78" y="230"/>
                </a:cubicBezTo>
                <a:cubicBezTo>
                  <a:pt x="78" y="229"/>
                  <a:pt x="76" y="224"/>
                  <a:pt x="77" y="223"/>
                </a:cubicBezTo>
                <a:cubicBezTo>
                  <a:pt x="79" y="223"/>
                  <a:pt x="79" y="229"/>
                  <a:pt x="79" y="229"/>
                </a:cubicBezTo>
                <a:cubicBezTo>
                  <a:pt x="80" y="230"/>
                  <a:pt x="83" y="226"/>
                  <a:pt x="84" y="226"/>
                </a:cubicBezTo>
                <a:cubicBezTo>
                  <a:pt x="92" y="224"/>
                  <a:pt x="89" y="237"/>
                  <a:pt x="87" y="241"/>
                </a:cubicBezTo>
                <a:cubicBezTo>
                  <a:pt x="84" y="246"/>
                  <a:pt x="86" y="236"/>
                  <a:pt x="81" y="240"/>
                </a:cubicBezTo>
                <a:close/>
                <a:moveTo>
                  <a:pt x="83" y="303"/>
                </a:moveTo>
                <a:cubicBezTo>
                  <a:pt x="83" y="302"/>
                  <a:pt x="85" y="304"/>
                  <a:pt x="84" y="304"/>
                </a:cubicBezTo>
                <a:cubicBezTo>
                  <a:pt x="84" y="304"/>
                  <a:pt x="83" y="303"/>
                  <a:pt x="83" y="303"/>
                </a:cubicBezTo>
                <a:close/>
                <a:moveTo>
                  <a:pt x="84" y="307"/>
                </a:moveTo>
                <a:cubicBezTo>
                  <a:pt x="83" y="306"/>
                  <a:pt x="84" y="305"/>
                  <a:pt x="84" y="307"/>
                </a:cubicBezTo>
                <a:close/>
                <a:moveTo>
                  <a:pt x="85" y="311"/>
                </a:moveTo>
                <a:cubicBezTo>
                  <a:pt x="84" y="311"/>
                  <a:pt x="84" y="309"/>
                  <a:pt x="84" y="308"/>
                </a:cubicBezTo>
                <a:cubicBezTo>
                  <a:pt x="84" y="309"/>
                  <a:pt x="85" y="310"/>
                  <a:pt x="85" y="311"/>
                </a:cubicBezTo>
                <a:close/>
                <a:moveTo>
                  <a:pt x="83" y="365"/>
                </a:moveTo>
                <a:cubicBezTo>
                  <a:pt x="84" y="366"/>
                  <a:pt x="83" y="367"/>
                  <a:pt x="84" y="368"/>
                </a:cubicBezTo>
                <a:cubicBezTo>
                  <a:pt x="83" y="368"/>
                  <a:pt x="83" y="366"/>
                  <a:pt x="83" y="365"/>
                </a:cubicBezTo>
                <a:close/>
                <a:moveTo>
                  <a:pt x="84" y="329"/>
                </a:moveTo>
                <a:cubicBezTo>
                  <a:pt x="85" y="329"/>
                  <a:pt x="86" y="330"/>
                  <a:pt x="85" y="331"/>
                </a:cubicBezTo>
                <a:cubicBezTo>
                  <a:pt x="84" y="331"/>
                  <a:pt x="84" y="329"/>
                  <a:pt x="84" y="329"/>
                </a:cubicBezTo>
                <a:close/>
                <a:moveTo>
                  <a:pt x="85" y="377"/>
                </a:moveTo>
                <a:cubicBezTo>
                  <a:pt x="84" y="377"/>
                  <a:pt x="85" y="376"/>
                  <a:pt x="85" y="375"/>
                </a:cubicBezTo>
                <a:cubicBezTo>
                  <a:pt x="84" y="374"/>
                  <a:pt x="85" y="376"/>
                  <a:pt x="85" y="377"/>
                </a:cubicBezTo>
                <a:close/>
                <a:moveTo>
                  <a:pt x="85" y="378"/>
                </a:moveTo>
                <a:cubicBezTo>
                  <a:pt x="85" y="378"/>
                  <a:pt x="85" y="379"/>
                  <a:pt x="85" y="380"/>
                </a:cubicBezTo>
                <a:cubicBezTo>
                  <a:pt x="85" y="380"/>
                  <a:pt x="85" y="378"/>
                  <a:pt x="85" y="378"/>
                </a:cubicBezTo>
                <a:close/>
                <a:moveTo>
                  <a:pt x="86" y="260"/>
                </a:moveTo>
                <a:cubicBezTo>
                  <a:pt x="84" y="260"/>
                  <a:pt x="83" y="256"/>
                  <a:pt x="87" y="256"/>
                </a:cubicBezTo>
                <a:cubicBezTo>
                  <a:pt x="89" y="256"/>
                  <a:pt x="88" y="261"/>
                  <a:pt x="86" y="260"/>
                </a:cubicBezTo>
                <a:close/>
                <a:moveTo>
                  <a:pt x="90" y="332"/>
                </a:moveTo>
                <a:cubicBezTo>
                  <a:pt x="89" y="332"/>
                  <a:pt x="88" y="328"/>
                  <a:pt x="90" y="328"/>
                </a:cubicBezTo>
                <a:cubicBezTo>
                  <a:pt x="90" y="328"/>
                  <a:pt x="90" y="331"/>
                  <a:pt x="90" y="332"/>
                </a:cubicBezTo>
                <a:close/>
                <a:moveTo>
                  <a:pt x="91" y="222"/>
                </a:moveTo>
                <a:cubicBezTo>
                  <a:pt x="91" y="223"/>
                  <a:pt x="91" y="224"/>
                  <a:pt x="91" y="225"/>
                </a:cubicBezTo>
                <a:cubicBezTo>
                  <a:pt x="90" y="224"/>
                  <a:pt x="90" y="223"/>
                  <a:pt x="91" y="222"/>
                </a:cubicBezTo>
                <a:close/>
                <a:moveTo>
                  <a:pt x="91" y="228"/>
                </a:moveTo>
                <a:cubicBezTo>
                  <a:pt x="91" y="229"/>
                  <a:pt x="90" y="228"/>
                  <a:pt x="91" y="227"/>
                </a:cubicBezTo>
                <a:cubicBezTo>
                  <a:pt x="91" y="227"/>
                  <a:pt x="92" y="228"/>
                  <a:pt x="91" y="228"/>
                </a:cubicBezTo>
                <a:close/>
                <a:moveTo>
                  <a:pt x="158" y="205"/>
                </a:moveTo>
                <a:cubicBezTo>
                  <a:pt x="159" y="205"/>
                  <a:pt x="159" y="208"/>
                  <a:pt x="158" y="208"/>
                </a:cubicBezTo>
                <a:cubicBezTo>
                  <a:pt x="158" y="208"/>
                  <a:pt x="157" y="206"/>
                  <a:pt x="158" y="205"/>
                </a:cubicBezTo>
                <a:close/>
                <a:moveTo>
                  <a:pt x="154" y="169"/>
                </a:moveTo>
                <a:cubicBezTo>
                  <a:pt x="155" y="168"/>
                  <a:pt x="155" y="171"/>
                  <a:pt x="154" y="171"/>
                </a:cubicBezTo>
                <a:cubicBezTo>
                  <a:pt x="154" y="171"/>
                  <a:pt x="153" y="170"/>
                  <a:pt x="154" y="169"/>
                </a:cubicBezTo>
                <a:close/>
                <a:moveTo>
                  <a:pt x="155" y="227"/>
                </a:moveTo>
                <a:cubicBezTo>
                  <a:pt x="154" y="227"/>
                  <a:pt x="153" y="225"/>
                  <a:pt x="154" y="225"/>
                </a:cubicBezTo>
                <a:cubicBezTo>
                  <a:pt x="155" y="224"/>
                  <a:pt x="155" y="227"/>
                  <a:pt x="155" y="227"/>
                </a:cubicBezTo>
                <a:close/>
                <a:moveTo>
                  <a:pt x="154" y="181"/>
                </a:moveTo>
                <a:cubicBezTo>
                  <a:pt x="154" y="181"/>
                  <a:pt x="155" y="182"/>
                  <a:pt x="154" y="182"/>
                </a:cubicBezTo>
                <a:cubicBezTo>
                  <a:pt x="153" y="183"/>
                  <a:pt x="153" y="182"/>
                  <a:pt x="154" y="181"/>
                </a:cubicBezTo>
                <a:close/>
                <a:moveTo>
                  <a:pt x="150" y="242"/>
                </a:moveTo>
                <a:cubicBezTo>
                  <a:pt x="149" y="242"/>
                  <a:pt x="150" y="241"/>
                  <a:pt x="150" y="241"/>
                </a:cubicBezTo>
                <a:cubicBezTo>
                  <a:pt x="150" y="240"/>
                  <a:pt x="150" y="242"/>
                  <a:pt x="150" y="242"/>
                </a:cubicBezTo>
                <a:close/>
                <a:moveTo>
                  <a:pt x="149" y="249"/>
                </a:moveTo>
                <a:cubicBezTo>
                  <a:pt x="149" y="249"/>
                  <a:pt x="150" y="251"/>
                  <a:pt x="150" y="251"/>
                </a:cubicBezTo>
                <a:cubicBezTo>
                  <a:pt x="149" y="251"/>
                  <a:pt x="149" y="249"/>
                  <a:pt x="149" y="249"/>
                </a:cubicBezTo>
                <a:close/>
                <a:moveTo>
                  <a:pt x="150" y="301"/>
                </a:moveTo>
                <a:cubicBezTo>
                  <a:pt x="149" y="300"/>
                  <a:pt x="149" y="299"/>
                  <a:pt x="149" y="299"/>
                </a:cubicBezTo>
                <a:cubicBezTo>
                  <a:pt x="149" y="299"/>
                  <a:pt x="150" y="300"/>
                  <a:pt x="150" y="301"/>
                </a:cubicBezTo>
                <a:close/>
                <a:moveTo>
                  <a:pt x="149" y="200"/>
                </a:moveTo>
                <a:cubicBezTo>
                  <a:pt x="151" y="199"/>
                  <a:pt x="150" y="203"/>
                  <a:pt x="149" y="203"/>
                </a:cubicBezTo>
                <a:cubicBezTo>
                  <a:pt x="148" y="202"/>
                  <a:pt x="148" y="200"/>
                  <a:pt x="149" y="200"/>
                </a:cubicBezTo>
                <a:close/>
                <a:moveTo>
                  <a:pt x="148" y="231"/>
                </a:moveTo>
                <a:cubicBezTo>
                  <a:pt x="148" y="232"/>
                  <a:pt x="147" y="231"/>
                  <a:pt x="147" y="231"/>
                </a:cubicBezTo>
                <a:cubicBezTo>
                  <a:pt x="147" y="231"/>
                  <a:pt x="148" y="231"/>
                  <a:pt x="148" y="231"/>
                </a:cubicBezTo>
                <a:close/>
                <a:moveTo>
                  <a:pt x="147" y="333"/>
                </a:moveTo>
                <a:cubicBezTo>
                  <a:pt x="146" y="334"/>
                  <a:pt x="149" y="333"/>
                  <a:pt x="147" y="333"/>
                </a:cubicBezTo>
                <a:close/>
                <a:moveTo>
                  <a:pt x="146" y="173"/>
                </a:moveTo>
                <a:cubicBezTo>
                  <a:pt x="146" y="173"/>
                  <a:pt x="146" y="172"/>
                  <a:pt x="146" y="172"/>
                </a:cubicBezTo>
                <a:cubicBezTo>
                  <a:pt x="148" y="172"/>
                  <a:pt x="144" y="175"/>
                  <a:pt x="146" y="173"/>
                </a:cubicBezTo>
                <a:close/>
                <a:moveTo>
                  <a:pt x="145" y="190"/>
                </a:moveTo>
                <a:cubicBezTo>
                  <a:pt x="145" y="190"/>
                  <a:pt x="146" y="190"/>
                  <a:pt x="146" y="190"/>
                </a:cubicBezTo>
                <a:cubicBezTo>
                  <a:pt x="148" y="189"/>
                  <a:pt x="144" y="192"/>
                  <a:pt x="145" y="190"/>
                </a:cubicBezTo>
                <a:close/>
                <a:moveTo>
                  <a:pt x="144" y="178"/>
                </a:moveTo>
                <a:cubicBezTo>
                  <a:pt x="145" y="178"/>
                  <a:pt x="145" y="180"/>
                  <a:pt x="144" y="180"/>
                </a:cubicBezTo>
                <a:cubicBezTo>
                  <a:pt x="144" y="180"/>
                  <a:pt x="143" y="178"/>
                  <a:pt x="144" y="178"/>
                </a:cubicBezTo>
                <a:close/>
                <a:moveTo>
                  <a:pt x="145" y="222"/>
                </a:moveTo>
                <a:cubicBezTo>
                  <a:pt x="145" y="221"/>
                  <a:pt x="146" y="220"/>
                  <a:pt x="147" y="221"/>
                </a:cubicBezTo>
                <a:cubicBezTo>
                  <a:pt x="148" y="221"/>
                  <a:pt x="148" y="224"/>
                  <a:pt x="147" y="224"/>
                </a:cubicBezTo>
                <a:cubicBezTo>
                  <a:pt x="146" y="224"/>
                  <a:pt x="146" y="223"/>
                  <a:pt x="145" y="222"/>
                </a:cubicBezTo>
                <a:cubicBezTo>
                  <a:pt x="145" y="222"/>
                  <a:pt x="145" y="222"/>
                  <a:pt x="145" y="222"/>
                </a:cubicBezTo>
                <a:cubicBezTo>
                  <a:pt x="144" y="221"/>
                  <a:pt x="144" y="219"/>
                  <a:pt x="143" y="217"/>
                </a:cubicBezTo>
                <a:cubicBezTo>
                  <a:pt x="144" y="218"/>
                  <a:pt x="145" y="220"/>
                  <a:pt x="145" y="222"/>
                </a:cubicBezTo>
                <a:close/>
                <a:moveTo>
                  <a:pt x="145" y="245"/>
                </a:moveTo>
                <a:cubicBezTo>
                  <a:pt x="147" y="244"/>
                  <a:pt x="146" y="248"/>
                  <a:pt x="145" y="248"/>
                </a:cubicBezTo>
                <a:cubicBezTo>
                  <a:pt x="144" y="248"/>
                  <a:pt x="143" y="246"/>
                  <a:pt x="145" y="245"/>
                </a:cubicBezTo>
                <a:close/>
                <a:moveTo>
                  <a:pt x="145" y="314"/>
                </a:moveTo>
                <a:cubicBezTo>
                  <a:pt x="145" y="314"/>
                  <a:pt x="144" y="313"/>
                  <a:pt x="144" y="312"/>
                </a:cubicBezTo>
                <a:cubicBezTo>
                  <a:pt x="144" y="311"/>
                  <a:pt x="145" y="314"/>
                  <a:pt x="145" y="314"/>
                </a:cubicBezTo>
                <a:close/>
                <a:moveTo>
                  <a:pt x="141" y="194"/>
                </a:moveTo>
                <a:cubicBezTo>
                  <a:pt x="141" y="194"/>
                  <a:pt x="140" y="193"/>
                  <a:pt x="140" y="193"/>
                </a:cubicBezTo>
                <a:cubicBezTo>
                  <a:pt x="140" y="192"/>
                  <a:pt x="142" y="194"/>
                  <a:pt x="141" y="194"/>
                </a:cubicBezTo>
                <a:close/>
                <a:moveTo>
                  <a:pt x="142" y="199"/>
                </a:moveTo>
                <a:cubicBezTo>
                  <a:pt x="141" y="199"/>
                  <a:pt x="141" y="198"/>
                  <a:pt x="141" y="197"/>
                </a:cubicBezTo>
                <a:cubicBezTo>
                  <a:pt x="141" y="197"/>
                  <a:pt x="142" y="198"/>
                  <a:pt x="142" y="199"/>
                </a:cubicBezTo>
                <a:close/>
                <a:moveTo>
                  <a:pt x="142" y="216"/>
                </a:moveTo>
                <a:cubicBezTo>
                  <a:pt x="141" y="214"/>
                  <a:pt x="140" y="211"/>
                  <a:pt x="139" y="209"/>
                </a:cubicBezTo>
                <a:cubicBezTo>
                  <a:pt x="141" y="210"/>
                  <a:pt x="142" y="214"/>
                  <a:pt x="142" y="216"/>
                </a:cubicBezTo>
                <a:close/>
                <a:moveTo>
                  <a:pt x="141" y="232"/>
                </a:moveTo>
                <a:cubicBezTo>
                  <a:pt x="141" y="233"/>
                  <a:pt x="141" y="231"/>
                  <a:pt x="141" y="232"/>
                </a:cubicBezTo>
                <a:close/>
                <a:moveTo>
                  <a:pt x="140" y="226"/>
                </a:moveTo>
                <a:cubicBezTo>
                  <a:pt x="139" y="224"/>
                  <a:pt x="140" y="224"/>
                  <a:pt x="140" y="226"/>
                </a:cubicBezTo>
                <a:close/>
                <a:moveTo>
                  <a:pt x="134" y="215"/>
                </a:moveTo>
                <a:cubicBezTo>
                  <a:pt x="134" y="216"/>
                  <a:pt x="133" y="215"/>
                  <a:pt x="133" y="215"/>
                </a:cubicBezTo>
                <a:cubicBezTo>
                  <a:pt x="133" y="214"/>
                  <a:pt x="134" y="215"/>
                  <a:pt x="134" y="215"/>
                </a:cubicBezTo>
                <a:close/>
                <a:moveTo>
                  <a:pt x="128" y="205"/>
                </a:moveTo>
                <a:cubicBezTo>
                  <a:pt x="128" y="203"/>
                  <a:pt x="128" y="202"/>
                  <a:pt x="130" y="202"/>
                </a:cubicBezTo>
                <a:cubicBezTo>
                  <a:pt x="131" y="202"/>
                  <a:pt x="132" y="206"/>
                  <a:pt x="131" y="207"/>
                </a:cubicBezTo>
                <a:cubicBezTo>
                  <a:pt x="130" y="208"/>
                  <a:pt x="130" y="207"/>
                  <a:pt x="129" y="207"/>
                </a:cubicBezTo>
                <a:cubicBezTo>
                  <a:pt x="129" y="207"/>
                  <a:pt x="129" y="207"/>
                  <a:pt x="129" y="207"/>
                </a:cubicBezTo>
                <a:cubicBezTo>
                  <a:pt x="128" y="207"/>
                  <a:pt x="127" y="205"/>
                  <a:pt x="128" y="205"/>
                </a:cubicBezTo>
                <a:close/>
                <a:moveTo>
                  <a:pt x="131" y="346"/>
                </a:moveTo>
                <a:cubicBezTo>
                  <a:pt x="133" y="346"/>
                  <a:pt x="132" y="348"/>
                  <a:pt x="131" y="346"/>
                </a:cubicBezTo>
                <a:close/>
                <a:moveTo>
                  <a:pt x="128" y="352"/>
                </a:moveTo>
                <a:cubicBezTo>
                  <a:pt x="129" y="352"/>
                  <a:pt x="129" y="353"/>
                  <a:pt x="129" y="353"/>
                </a:cubicBezTo>
                <a:cubicBezTo>
                  <a:pt x="128" y="354"/>
                  <a:pt x="128" y="353"/>
                  <a:pt x="128" y="352"/>
                </a:cubicBezTo>
                <a:close/>
                <a:moveTo>
                  <a:pt x="128" y="244"/>
                </a:moveTo>
                <a:cubicBezTo>
                  <a:pt x="128" y="243"/>
                  <a:pt x="129" y="245"/>
                  <a:pt x="129" y="246"/>
                </a:cubicBezTo>
                <a:cubicBezTo>
                  <a:pt x="128" y="245"/>
                  <a:pt x="129" y="245"/>
                  <a:pt x="128" y="244"/>
                </a:cubicBezTo>
                <a:close/>
                <a:moveTo>
                  <a:pt x="128" y="274"/>
                </a:moveTo>
                <a:cubicBezTo>
                  <a:pt x="129" y="275"/>
                  <a:pt x="129" y="276"/>
                  <a:pt x="130" y="277"/>
                </a:cubicBezTo>
                <a:cubicBezTo>
                  <a:pt x="129" y="277"/>
                  <a:pt x="128" y="275"/>
                  <a:pt x="128" y="274"/>
                </a:cubicBezTo>
                <a:close/>
                <a:moveTo>
                  <a:pt x="129" y="246"/>
                </a:moveTo>
                <a:cubicBezTo>
                  <a:pt x="132" y="246"/>
                  <a:pt x="128" y="249"/>
                  <a:pt x="129" y="247"/>
                </a:cubicBezTo>
                <a:cubicBezTo>
                  <a:pt x="129" y="247"/>
                  <a:pt x="129" y="246"/>
                  <a:pt x="129" y="246"/>
                </a:cubicBezTo>
                <a:close/>
                <a:moveTo>
                  <a:pt x="129" y="241"/>
                </a:moveTo>
                <a:cubicBezTo>
                  <a:pt x="130" y="240"/>
                  <a:pt x="130" y="242"/>
                  <a:pt x="130" y="242"/>
                </a:cubicBezTo>
                <a:cubicBezTo>
                  <a:pt x="130" y="242"/>
                  <a:pt x="129" y="241"/>
                  <a:pt x="129" y="241"/>
                </a:cubicBezTo>
                <a:close/>
                <a:moveTo>
                  <a:pt x="130" y="275"/>
                </a:moveTo>
                <a:cubicBezTo>
                  <a:pt x="129" y="274"/>
                  <a:pt x="130" y="273"/>
                  <a:pt x="130" y="274"/>
                </a:cubicBezTo>
                <a:cubicBezTo>
                  <a:pt x="131" y="274"/>
                  <a:pt x="131" y="275"/>
                  <a:pt x="130" y="275"/>
                </a:cubicBezTo>
                <a:close/>
                <a:moveTo>
                  <a:pt x="128" y="210"/>
                </a:moveTo>
                <a:cubicBezTo>
                  <a:pt x="127" y="210"/>
                  <a:pt x="127" y="208"/>
                  <a:pt x="127" y="207"/>
                </a:cubicBezTo>
                <a:cubicBezTo>
                  <a:pt x="128" y="208"/>
                  <a:pt x="128" y="209"/>
                  <a:pt x="128" y="210"/>
                </a:cubicBezTo>
                <a:close/>
                <a:moveTo>
                  <a:pt x="126" y="269"/>
                </a:moveTo>
                <a:cubicBezTo>
                  <a:pt x="127" y="270"/>
                  <a:pt x="128" y="271"/>
                  <a:pt x="128" y="273"/>
                </a:cubicBezTo>
                <a:cubicBezTo>
                  <a:pt x="127" y="272"/>
                  <a:pt x="126" y="271"/>
                  <a:pt x="126" y="269"/>
                </a:cubicBezTo>
                <a:close/>
                <a:moveTo>
                  <a:pt x="123" y="221"/>
                </a:moveTo>
                <a:cubicBezTo>
                  <a:pt x="123" y="221"/>
                  <a:pt x="124" y="221"/>
                  <a:pt x="124" y="222"/>
                </a:cubicBezTo>
                <a:cubicBezTo>
                  <a:pt x="124" y="222"/>
                  <a:pt x="122" y="222"/>
                  <a:pt x="123" y="221"/>
                </a:cubicBezTo>
                <a:close/>
                <a:moveTo>
                  <a:pt x="125" y="273"/>
                </a:moveTo>
                <a:cubicBezTo>
                  <a:pt x="123" y="272"/>
                  <a:pt x="123" y="271"/>
                  <a:pt x="123" y="270"/>
                </a:cubicBezTo>
                <a:cubicBezTo>
                  <a:pt x="124" y="270"/>
                  <a:pt x="125" y="272"/>
                  <a:pt x="125" y="273"/>
                </a:cubicBezTo>
                <a:close/>
                <a:moveTo>
                  <a:pt x="119" y="230"/>
                </a:moveTo>
                <a:cubicBezTo>
                  <a:pt x="119" y="231"/>
                  <a:pt x="119" y="230"/>
                  <a:pt x="119" y="230"/>
                </a:cubicBezTo>
                <a:cubicBezTo>
                  <a:pt x="116" y="228"/>
                  <a:pt x="120" y="229"/>
                  <a:pt x="119" y="230"/>
                </a:cubicBezTo>
                <a:close/>
                <a:moveTo>
                  <a:pt x="116" y="209"/>
                </a:moveTo>
                <a:cubicBezTo>
                  <a:pt x="117" y="209"/>
                  <a:pt x="117" y="211"/>
                  <a:pt x="117" y="211"/>
                </a:cubicBezTo>
                <a:cubicBezTo>
                  <a:pt x="117" y="211"/>
                  <a:pt x="116" y="210"/>
                  <a:pt x="116" y="209"/>
                </a:cubicBezTo>
                <a:close/>
                <a:moveTo>
                  <a:pt x="117" y="220"/>
                </a:moveTo>
                <a:cubicBezTo>
                  <a:pt x="118" y="221"/>
                  <a:pt x="118" y="223"/>
                  <a:pt x="118" y="224"/>
                </a:cubicBezTo>
                <a:cubicBezTo>
                  <a:pt x="118" y="226"/>
                  <a:pt x="119" y="228"/>
                  <a:pt x="118" y="228"/>
                </a:cubicBezTo>
                <a:cubicBezTo>
                  <a:pt x="118" y="228"/>
                  <a:pt x="118" y="228"/>
                  <a:pt x="118" y="227"/>
                </a:cubicBezTo>
                <a:cubicBezTo>
                  <a:pt x="118" y="228"/>
                  <a:pt x="118" y="228"/>
                  <a:pt x="118" y="228"/>
                </a:cubicBezTo>
                <a:cubicBezTo>
                  <a:pt x="118" y="228"/>
                  <a:pt x="117" y="229"/>
                  <a:pt x="117" y="229"/>
                </a:cubicBezTo>
                <a:cubicBezTo>
                  <a:pt x="116" y="229"/>
                  <a:pt x="111" y="224"/>
                  <a:pt x="112" y="221"/>
                </a:cubicBezTo>
                <a:cubicBezTo>
                  <a:pt x="112" y="219"/>
                  <a:pt x="115" y="218"/>
                  <a:pt x="117" y="220"/>
                </a:cubicBezTo>
                <a:close/>
                <a:moveTo>
                  <a:pt x="114" y="428"/>
                </a:moveTo>
                <a:cubicBezTo>
                  <a:pt x="114" y="430"/>
                  <a:pt x="112" y="427"/>
                  <a:pt x="112" y="425"/>
                </a:cubicBezTo>
                <a:cubicBezTo>
                  <a:pt x="111" y="421"/>
                  <a:pt x="110" y="416"/>
                  <a:pt x="110" y="413"/>
                </a:cubicBezTo>
                <a:cubicBezTo>
                  <a:pt x="110" y="413"/>
                  <a:pt x="110" y="411"/>
                  <a:pt x="110" y="411"/>
                </a:cubicBezTo>
                <a:cubicBezTo>
                  <a:pt x="111" y="411"/>
                  <a:pt x="114" y="426"/>
                  <a:pt x="114" y="428"/>
                </a:cubicBezTo>
                <a:close/>
                <a:moveTo>
                  <a:pt x="111" y="324"/>
                </a:moveTo>
                <a:cubicBezTo>
                  <a:pt x="110" y="325"/>
                  <a:pt x="111" y="323"/>
                  <a:pt x="111" y="324"/>
                </a:cubicBezTo>
                <a:close/>
                <a:moveTo>
                  <a:pt x="113" y="271"/>
                </a:moveTo>
                <a:cubicBezTo>
                  <a:pt x="115" y="271"/>
                  <a:pt x="117" y="274"/>
                  <a:pt x="115" y="276"/>
                </a:cubicBezTo>
                <a:cubicBezTo>
                  <a:pt x="112" y="280"/>
                  <a:pt x="109" y="271"/>
                  <a:pt x="113" y="271"/>
                </a:cubicBezTo>
                <a:close/>
                <a:moveTo>
                  <a:pt x="114" y="252"/>
                </a:moveTo>
                <a:cubicBezTo>
                  <a:pt x="114" y="252"/>
                  <a:pt x="115" y="253"/>
                  <a:pt x="114" y="254"/>
                </a:cubicBezTo>
                <a:cubicBezTo>
                  <a:pt x="113" y="254"/>
                  <a:pt x="113" y="252"/>
                  <a:pt x="114" y="252"/>
                </a:cubicBezTo>
                <a:close/>
                <a:moveTo>
                  <a:pt x="115" y="374"/>
                </a:moveTo>
                <a:cubicBezTo>
                  <a:pt x="117" y="374"/>
                  <a:pt x="117" y="378"/>
                  <a:pt x="115" y="378"/>
                </a:cubicBezTo>
                <a:cubicBezTo>
                  <a:pt x="115" y="378"/>
                  <a:pt x="113" y="375"/>
                  <a:pt x="115" y="374"/>
                </a:cubicBezTo>
                <a:close/>
                <a:moveTo>
                  <a:pt x="115" y="266"/>
                </a:moveTo>
                <a:cubicBezTo>
                  <a:pt x="118" y="267"/>
                  <a:pt x="116" y="270"/>
                  <a:pt x="115" y="266"/>
                </a:cubicBezTo>
                <a:close/>
                <a:moveTo>
                  <a:pt x="110" y="225"/>
                </a:moveTo>
                <a:cubicBezTo>
                  <a:pt x="112" y="225"/>
                  <a:pt x="110" y="226"/>
                  <a:pt x="110" y="225"/>
                </a:cubicBezTo>
                <a:close/>
                <a:moveTo>
                  <a:pt x="108" y="237"/>
                </a:moveTo>
                <a:cubicBezTo>
                  <a:pt x="106" y="236"/>
                  <a:pt x="109" y="235"/>
                  <a:pt x="108" y="237"/>
                </a:cubicBezTo>
                <a:close/>
                <a:moveTo>
                  <a:pt x="106" y="237"/>
                </a:moveTo>
                <a:cubicBezTo>
                  <a:pt x="107" y="236"/>
                  <a:pt x="108" y="238"/>
                  <a:pt x="107" y="239"/>
                </a:cubicBezTo>
                <a:cubicBezTo>
                  <a:pt x="106" y="239"/>
                  <a:pt x="106" y="237"/>
                  <a:pt x="106" y="237"/>
                </a:cubicBezTo>
                <a:close/>
                <a:moveTo>
                  <a:pt x="97" y="223"/>
                </a:moveTo>
                <a:cubicBezTo>
                  <a:pt x="98" y="223"/>
                  <a:pt x="98" y="225"/>
                  <a:pt x="96" y="225"/>
                </a:cubicBezTo>
                <a:cubicBezTo>
                  <a:pt x="95" y="224"/>
                  <a:pt x="96" y="223"/>
                  <a:pt x="97" y="223"/>
                </a:cubicBezTo>
                <a:close/>
                <a:moveTo>
                  <a:pt x="96" y="249"/>
                </a:moveTo>
                <a:cubicBezTo>
                  <a:pt x="97" y="250"/>
                  <a:pt x="96" y="250"/>
                  <a:pt x="96" y="249"/>
                </a:cubicBezTo>
                <a:close/>
                <a:moveTo>
                  <a:pt x="96" y="195"/>
                </a:moveTo>
                <a:cubicBezTo>
                  <a:pt x="96" y="195"/>
                  <a:pt x="96" y="196"/>
                  <a:pt x="96" y="197"/>
                </a:cubicBezTo>
                <a:cubicBezTo>
                  <a:pt x="96" y="197"/>
                  <a:pt x="95" y="196"/>
                  <a:pt x="96" y="195"/>
                </a:cubicBezTo>
                <a:close/>
                <a:moveTo>
                  <a:pt x="93" y="195"/>
                </a:moveTo>
                <a:cubicBezTo>
                  <a:pt x="94" y="195"/>
                  <a:pt x="93" y="195"/>
                  <a:pt x="93" y="195"/>
                </a:cubicBezTo>
                <a:cubicBezTo>
                  <a:pt x="93" y="195"/>
                  <a:pt x="93" y="195"/>
                  <a:pt x="93" y="195"/>
                </a:cubicBezTo>
                <a:close/>
                <a:moveTo>
                  <a:pt x="93" y="195"/>
                </a:moveTo>
                <a:cubicBezTo>
                  <a:pt x="93" y="196"/>
                  <a:pt x="93" y="196"/>
                  <a:pt x="93" y="195"/>
                </a:cubicBezTo>
                <a:close/>
                <a:moveTo>
                  <a:pt x="92" y="212"/>
                </a:moveTo>
                <a:cubicBezTo>
                  <a:pt x="91" y="213"/>
                  <a:pt x="90" y="211"/>
                  <a:pt x="89" y="211"/>
                </a:cubicBezTo>
                <a:cubicBezTo>
                  <a:pt x="88" y="207"/>
                  <a:pt x="94" y="209"/>
                  <a:pt x="92" y="212"/>
                </a:cubicBezTo>
                <a:close/>
                <a:moveTo>
                  <a:pt x="92" y="259"/>
                </a:moveTo>
                <a:cubicBezTo>
                  <a:pt x="91" y="259"/>
                  <a:pt x="93" y="251"/>
                  <a:pt x="92" y="248"/>
                </a:cubicBezTo>
                <a:cubicBezTo>
                  <a:pt x="94" y="249"/>
                  <a:pt x="93" y="260"/>
                  <a:pt x="92" y="259"/>
                </a:cubicBezTo>
                <a:close/>
                <a:moveTo>
                  <a:pt x="93" y="228"/>
                </a:moveTo>
                <a:cubicBezTo>
                  <a:pt x="91" y="227"/>
                  <a:pt x="93" y="226"/>
                  <a:pt x="93" y="228"/>
                </a:cubicBezTo>
                <a:close/>
                <a:moveTo>
                  <a:pt x="92" y="225"/>
                </a:moveTo>
                <a:cubicBezTo>
                  <a:pt x="92" y="225"/>
                  <a:pt x="92" y="223"/>
                  <a:pt x="92" y="223"/>
                </a:cubicBezTo>
                <a:cubicBezTo>
                  <a:pt x="93" y="223"/>
                  <a:pt x="93" y="226"/>
                  <a:pt x="92" y="225"/>
                </a:cubicBezTo>
                <a:close/>
                <a:moveTo>
                  <a:pt x="94" y="198"/>
                </a:moveTo>
                <a:cubicBezTo>
                  <a:pt x="95" y="198"/>
                  <a:pt x="95" y="199"/>
                  <a:pt x="95" y="199"/>
                </a:cubicBezTo>
                <a:cubicBezTo>
                  <a:pt x="95" y="199"/>
                  <a:pt x="93" y="200"/>
                  <a:pt x="93" y="200"/>
                </a:cubicBezTo>
                <a:cubicBezTo>
                  <a:pt x="92" y="200"/>
                  <a:pt x="92" y="198"/>
                  <a:pt x="94" y="198"/>
                </a:cubicBezTo>
                <a:close/>
                <a:moveTo>
                  <a:pt x="94" y="407"/>
                </a:moveTo>
                <a:cubicBezTo>
                  <a:pt x="95" y="409"/>
                  <a:pt x="93" y="409"/>
                  <a:pt x="94" y="407"/>
                </a:cubicBezTo>
                <a:close/>
                <a:moveTo>
                  <a:pt x="96" y="275"/>
                </a:moveTo>
                <a:cubicBezTo>
                  <a:pt x="95" y="275"/>
                  <a:pt x="95" y="273"/>
                  <a:pt x="95" y="272"/>
                </a:cubicBezTo>
                <a:cubicBezTo>
                  <a:pt x="97" y="271"/>
                  <a:pt x="97" y="275"/>
                  <a:pt x="96" y="275"/>
                </a:cubicBezTo>
                <a:close/>
                <a:moveTo>
                  <a:pt x="95" y="257"/>
                </a:moveTo>
                <a:cubicBezTo>
                  <a:pt x="97" y="257"/>
                  <a:pt x="98" y="260"/>
                  <a:pt x="98" y="262"/>
                </a:cubicBezTo>
                <a:cubicBezTo>
                  <a:pt x="97" y="260"/>
                  <a:pt x="96" y="259"/>
                  <a:pt x="95" y="257"/>
                </a:cubicBezTo>
                <a:close/>
                <a:moveTo>
                  <a:pt x="99" y="345"/>
                </a:moveTo>
                <a:cubicBezTo>
                  <a:pt x="98" y="346"/>
                  <a:pt x="98" y="344"/>
                  <a:pt x="98" y="344"/>
                </a:cubicBezTo>
                <a:cubicBezTo>
                  <a:pt x="99" y="344"/>
                  <a:pt x="99" y="345"/>
                  <a:pt x="99" y="345"/>
                </a:cubicBezTo>
                <a:close/>
                <a:moveTo>
                  <a:pt x="99" y="391"/>
                </a:moveTo>
                <a:cubicBezTo>
                  <a:pt x="100" y="393"/>
                  <a:pt x="99" y="393"/>
                  <a:pt x="99" y="391"/>
                </a:cubicBezTo>
                <a:close/>
                <a:moveTo>
                  <a:pt x="98" y="263"/>
                </a:moveTo>
                <a:cubicBezTo>
                  <a:pt x="99" y="265"/>
                  <a:pt x="100" y="266"/>
                  <a:pt x="100" y="268"/>
                </a:cubicBezTo>
                <a:cubicBezTo>
                  <a:pt x="100" y="267"/>
                  <a:pt x="99" y="265"/>
                  <a:pt x="98" y="263"/>
                </a:cubicBezTo>
                <a:close/>
                <a:moveTo>
                  <a:pt x="100" y="245"/>
                </a:moveTo>
                <a:cubicBezTo>
                  <a:pt x="98" y="243"/>
                  <a:pt x="100" y="243"/>
                  <a:pt x="100" y="245"/>
                </a:cubicBezTo>
                <a:close/>
                <a:moveTo>
                  <a:pt x="98" y="231"/>
                </a:moveTo>
                <a:cubicBezTo>
                  <a:pt x="97" y="231"/>
                  <a:pt x="98" y="227"/>
                  <a:pt x="99" y="227"/>
                </a:cubicBezTo>
                <a:cubicBezTo>
                  <a:pt x="101" y="227"/>
                  <a:pt x="101" y="232"/>
                  <a:pt x="98" y="231"/>
                </a:cubicBezTo>
                <a:close/>
                <a:moveTo>
                  <a:pt x="99" y="205"/>
                </a:moveTo>
                <a:cubicBezTo>
                  <a:pt x="99" y="204"/>
                  <a:pt x="100" y="206"/>
                  <a:pt x="99" y="206"/>
                </a:cubicBezTo>
                <a:cubicBezTo>
                  <a:pt x="99" y="206"/>
                  <a:pt x="99" y="205"/>
                  <a:pt x="99" y="205"/>
                </a:cubicBezTo>
                <a:close/>
                <a:moveTo>
                  <a:pt x="102" y="420"/>
                </a:moveTo>
                <a:cubicBezTo>
                  <a:pt x="102" y="420"/>
                  <a:pt x="102" y="420"/>
                  <a:pt x="102" y="420"/>
                </a:cubicBezTo>
                <a:cubicBezTo>
                  <a:pt x="102" y="420"/>
                  <a:pt x="102" y="420"/>
                  <a:pt x="102" y="420"/>
                </a:cubicBezTo>
                <a:cubicBezTo>
                  <a:pt x="102" y="420"/>
                  <a:pt x="102" y="420"/>
                  <a:pt x="102" y="420"/>
                </a:cubicBezTo>
                <a:close/>
                <a:moveTo>
                  <a:pt x="101" y="348"/>
                </a:moveTo>
                <a:cubicBezTo>
                  <a:pt x="99" y="349"/>
                  <a:pt x="102" y="346"/>
                  <a:pt x="102" y="347"/>
                </a:cubicBezTo>
                <a:cubicBezTo>
                  <a:pt x="102" y="348"/>
                  <a:pt x="102" y="348"/>
                  <a:pt x="101" y="348"/>
                </a:cubicBezTo>
                <a:close/>
                <a:moveTo>
                  <a:pt x="102" y="273"/>
                </a:moveTo>
                <a:cubicBezTo>
                  <a:pt x="101" y="273"/>
                  <a:pt x="101" y="271"/>
                  <a:pt x="101" y="270"/>
                </a:cubicBezTo>
                <a:cubicBezTo>
                  <a:pt x="102" y="270"/>
                  <a:pt x="103" y="273"/>
                  <a:pt x="102" y="273"/>
                </a:cubicBezTo>
                <a:close/>
                <a:moveTo>
                  <a:pt x="102" y="211"/>
                </a:moveTo>
                <a:cubicBezTo>
                  <a:pt x="102" y="210"/>
                  <a:pt x="103" y="210"/>
                  <a:pt x="102" y="210"/>
                </a:cubicBezTo>
                <a:cubicBezTo>
                  <a:pt x="102" y="210"/>
                  <a:pt x="102" y="211"/>
                  <a:pt x="102" y="211"/>
                </a:cubicBezTo>
                <a:close/>
                <a:moveTo>
                  <a:pt x="101" y="211"/>
                </a:moveTo>
                <a:cubicBezTo>
                  <a:pt x="101" y="211"/>
                  <a:pt x="101" y="210"/>
                  <a:pt x="101" y="210"/>
                </a:cubicBezTo>
                <a:cubicBezTo>
                  <a:pt x="101" y="211"/>
                  <a:pt x="100" y="212"/>
                  <a:pt x="101" y="211"/>
                </a:cubicBezTo>
                <a:close/>
                <a:moveTo>
                  <a:pt x="103" y="355"/>
                </a:moveTo>
                <a:cubicBezTo>
                  <a:pt x="102" y="355"/>
                  <a:pt x="102" y="354"/>
                  <a:pt x="102" y="353"/>
                </a:cubicBezTo>
                <a:cubicBezTo>
                  <a:pt x="103" y="354"/>
                  <a:pt x="103" y="354"/>
                  <a:pt x="103" y="355"/>
                </a:cubicBezTo>
                <a:close/>
                <a:moveTo>
                  <a:pt x="105" y="290"/>
                </a:moveTo>
                <a:cubicBezTo>
                  <a:pt x="105" y="291"/>
                  <a:pt x="104" y="291"/>
                  <a:pt x="103" y="290"/>
                </a:cubicBezTo>
                <a:cubicBezTo>
                  <a:pt x="101" y="289"/>
                  <a:pt x="106" y="287"/>
                  <a:pt x="105" y="290"/>
                </a:cubicBezTo>
                <a:close/>
                <a:moveTo>
                  <a:pt x="103" y="252"/>
                </a:moveTo>
                <a:cubicBezTo>
                  <a:pt x="104" y="252"/>
                  <a:pt x="103" y="253"/>
                  <a:pt x="103" y="252"/>
                </a:cubicBezTo>
                <a:close/>
                <a:moveTo>
                  <a:pt x="105" y="207"/>
                </a:moveTo>
                <a:cubicBezTo>
                  <a:pt x="104" y="207"/>
                  <a:pt x="103" y="205"/>
                  <a:pt x="102" y="205"/>
                </a:cubicBezTo>
                <a:cubicBezTo>
                  <a:pt x="102" y="206"/>
                  <a:pt x="103" y="207"/>
                  <a:pt x="102" y="207"/>
                </a:cubicBezTo>
                <a:cubicBezTo>
                  <a:pt x="102" y="206"/>
                  <a:pt x="98" y="203"/>
                  <a:pt x="98" y="200"/>
                </a:cubicBezTo>
                <a:cubicBezTo>
                  <a:pt x="98" y="199"/>
                  <a:pt x="99" y="196"/>
                  <a:pt x="102" y="196"/>
                </a:cubicBezTo>
                <a:cubicBezTo>
                  <a:pt x="103" y="197"/>
                  <a:pt x="106" y="201"/>
                  <a:pt x="106" y="203"/>
                </a:cubicBezTo>
                <a:cubicBezTo>
                  <a:pt x="105" y="204"/>
                  <a:pt x="105" y="205"/>
                  <a:pt x="105" y="206"/>
                </a:cubicBezTo>
                <a:cubicBezTo>
                  <a:pt x="105" y="206"/>
                  <a:pt x="106" y="207"/>
                  <a:pt x="105" y="207"/>
                </a:cubicBezTo>
                <a:close/>
                <a:moveTo>
                  <a:pt x="106" y="270"/>
                </a:moveTo>
                <a:cubicBezTo>
                  <a:pt x="105" y="270"/>
                  <a:pt x="106" y="270"/>
                  <a:pt x="106" y="270"/>
                </a:cubicBezTo>
                <a:close/>
                <a:moveTo>
                  <a:pt x="106" y="271"/>
                </a:moveTo>
                <a:cubicBezTo>
                  <a:pt x="106" y="271"/>
                  <a:pt x="106" y="271"/>
                  <a:pt x="106" y="271"/>
                </a:cubicBezTo>
                <a:cubicBezTo>
                  <a:pt x="106" y="271"/>
                  <a:pt x="106" y="271"/>
                  <a:pt x="106" y="271"/>
                </a:cubicBezTo>
                <a:cubicBezTo>
                  <a:pt x="106" y="271"/>
                  <a:pt x="106" y="271"/>
                  <a:pt x="106" y="271"/>
                </a:cubicBezTo>
                <a:close/>
                <a:moveTo>
                  <a:pt x="107" y="250"/>
                </a:moveTo>
                <a:cubicBezTo>
                  <a:pt x="107" y="249"/>
                  <a:pt x="108" y="250"/>
                  <a:pt x="109" y="250"/>
                </a:cubicBezTo>
                <a:cubicBezTo>
                  <a:pt x="112" y="250"/>
                  <a:pt x="112" y="254"/>
                  <a:pt x="111" y="255"/>
                </a:cubicBezTo>
                <a:cubicBezTo>
                  <a:pt x="111" y="255"/>
                  <a:pt x="111" y="255"/>
                  <a:pt x="111" y="255"/>
                </a:cubicBezTo>
                <a:cubicBezTo>
                  <a:pt x="111" y="255"/>
                  <a:pt x="111" y="255"/>
                  <a:pt x="111" y="255"/>
                </a:cubicBezTo>
                <a:cubicBezTo>
                  <a:pt x="111" y="259"/>
                  <a:pt x="102" y="254"/>
                  <a:pt x="107" y="250"/>
                </a:cubicBezTo>
                <a:close/>
                <a:moveTo>
                  <a:pt x="107" y="458"/>
                </a:moveTo>
                <a:cubicBezTo>
                  <a:pt x="108" y="460"/>
                  <a:pt x="106" y="460"/>
                  <a:pt x="107" y="458"/>
                </a:cubicBezTo>
                <a:close/>
                <a:moveTo>
                  <a:pt x="109" y="360"/>
                </a:moveTo>
                <a:cubicBezTo>
                  <a:pt x="111" y="360"/>
                  <a:pt x="110" y="363"/>
                  <a:pt x="109" y="363"/>
                </a:cubicBezTo>
                <a:cubicBezTo>
                  <a:pt x="108" y="362"/>
                  <a:pt x="108" y="361"/>
                  <a:pt x="109" y="360"/>
                </a:cubicBezTo>
                <a:close/>
                <a:moveTo>
                  <a:pt x="109" y="423"/>
                </a:moveTo>
                <a:cubicBezTo>
                  <a:pt x="109" y="423"/>
                  <a:pt x="108" y="420"/>
                  <a:pt x="110" y="422"/>
                </a:cubicBezTo>
                <a:cubicBezTo>
                  <a:pt x="112" y="425"/>
                  <a:pt x="112" y="431"/>
                  <a:pt x="113" y="435"/>
                </a:cubicBezTo>
                <a:cubicBezTo>
                  <a:pt x="111" y="432"/>
                  <a:pt x="109" y="427"/>
                  <a:pt x="109" y="423"/>
                </a:cubicBezTo>
                <a:close/>
                <a:moveTo>
                  <a:pt x="113" y="436"/>
                </a:moveTo>
                <a:cubicBezTo>
                  <a:pt x="115" y="437"/>
                  <a:pt x="117" y="442"/>
                  <a:pt x="117" y="446"/>
                </a:cubicBezTo>
                <a:cubicBezTo>
                  <a:pt x="115" y="443"/>
                  <a:pt x="114" y="439"/>
                  <a:pt x="113" y="436"/>
                </a:cubicBezTo>
                <a:close/>
                <a:moveTo>
                  <a:pt x="116" y="414"/>
                </a:moveTo>
                <a:cubicBezTo>
                  <a:pt x="116" y="415"/>
                  <a:pt x="114" y="414"/>
                  <a:pt x="116" y="414"/>
                </a:cubicBezTo>
                <a:close/>
                <a:moveTo>
                  <a:pt x="117" y="400"/>
                </a:moveTo>
                <a:cubicBezTo>
                  <a:pt x="115" y="401"/>
                  <a:pt x="112" y="391"/>
                  <a:pt x="116" y="392"/>
                </a:cubicBezTo>
                <a:cubicBezTo>
                  <a:pt x="118" y="393"/>
                  <a:pt x="117" y="396"/>
                  <a:pt x="117" y="397"/>
                </a:cubicBezTo>
                <a:cubicBezTo>
                  <a:pt x="117" y="398"/>
                  <a:pt x="116" y="398"/>
                  <a:pt x="116" y="398"/>
                </a:cubicBezTo>
                <a:cubicBezTo>
                  <a:pt x="116" y="398"/>
                  <a:pt x="118" y="400"/>
                  <a:pt x="117" y="400"/>
                </a:cubicBezTo>
                <a:close/>
                <a:moveTo>
                  <a:pt x="119" y="371"/>
                </a:moveTo>
                <a:cubicBezTo>
                  <a:pt x="117" y="370"/>
                  <a:pt x="120" y="368"/>
                  <a:pt x="119" y="371"/>
                </a:cubicBezTo>
                <a:close/>
                <a:moveTo>
                  <a:pt x="118" y="368"/>
                </a:moveTo>
                <a:cubicBezTo>
                  <a:pt x="118" y="368"/>
                  <a:pt x="117" y="366"/>
                  <a:pt x="118" y="366"/>
                </a:cubicBezTo>
                <a:cubicBezTo>
                  <a:pt x="119" y="365"/>
                  <a:pt x="120" y="369"/>
                  <a:pt x="118" y="368"/>
                </a:cubicBezTo>
                <a:close/>
                <a:moveTo>
                  <a:pt x="119" y="278"/>
                </a:moveTo>
                <a:cubicBezTo>
                  <a:pt x="118" y="278"/>
                  <a:pt x="118" y="277"/>
                  <a:pt x="118" y="276"/>
                </a:cubicBezTo>
                <a:cubicBezTo>
                  <a:pt x="121" y="274"/>
                  <a:pt x="122" y="280"/>
                  <a:pt x="119" y="278"/>
                </a:cubicBezTo>
                <a:close/>
                <a:moveTo>
                  <a:pt x="120" y="239"/>
                </a:moveTo>
                <a:cubicBezTo>
                  <a:pt x="119" y="241"/>
                  <a:pt x="117" y="235"/>
                  <a:pt x="119" y="235"/>
                </a:cubicBezTo>
                <a:cubicBezTo>
                  <a:pt x="121" y="234"/>
                  <a:pt x="122" y="238"/>
                  <a:pt x="120" y="239"/>
                </a:cubicBezTo>
                <a:close/>
                <a:moveTo>
                  <a:pt x="133" y="398"/>
                </a:moveTo>
                <a:cubicBezTo>
                  <a:pt x="131" y="392"/>
                  <a:pt x="130" y="386"/>
                  <a:pt x="128" y="380"/>
                </a:cubicBezTo>
                <a:cubicBezTo>
                  <a:pt x="125" y="375"/>
                  <a:pt x="122" y="370"/>
                  <a:pt x="122" y="364"/>
                </a:cubicBezTo>
                <a:cubicBezTo>
                  <a:pt x="122" y="364"/>
                  <a:pt x="123" y="363"/>
                  <a:pt x="123" y="363"/>
                </a:cubicBezTo>
                <a:cubicBezTo>
                  <a:pt x="124" y="363"/>
                  <a:pt x="128" y="373"/>
                  <a:pt x="128" y="376"/>
                </a:cubicBezTo>
                <a:cubicBezTo>
                  <a:pt x="129" y="381"/>
                  <a:pt x="131" y="385"/>
                  <a:pt x="132" y="390"/>
                </a:cubicBezTo>
                <a:cubicBezTo>
                  <a:pt x="132" y="392"/>
                  <a:pt x="136" y="397"/>
                  <a:pt x="135" y="399"/>
                </a:cubicBezTo>
                <a:cubicBezTo>
                  <a:pt x="135" y="403"/>
                  <a:pt x="133" y="398"/>
                  <a:pt x="133" y="398"/>
                </a:cubicBezTo>
                <a:close/>
                <a:moveTo>
                  <a:pt x="134" y="304"/>
                </a:moveTo>
                <a:cubicBezTo>
                  <a:pt x="134" y="304"/>
                  <a:pt x="133" y="304"/>
                  <a:pt x="133" y="303"/>
                </a:cubicBezTo>
                <a:cubicBezTo>
                  <a:pt x="133" y="303"/>
                  <a:pt x="134" y="304"/>
                  <a:pt x="134" y="304"/>
                </a:cubicBezTo>
                <a:close/>
                <a:moveTo>
                  <a:pt x="134" y="250"/>
                </a:moveTo>
                <a:cubicBezTo>
                  <a:pt x="135" y="250"/>
                  <a:pt x="136" y="254"/>
                  <a:pt x="134" y="254"/>
                </a:cubicBezTo>
                <a:cubicBezTo>
                  <a:pt x="134" y="254"/>
                  <a:pt x="132" y="250"/>
                  <a:pt x="134" y="250"/>
                </a:cubicBezTo>
                <a:close/>
                <a:moveTo>
                  <a:pt x="136" y="417"/>
                </a:moveTo>
                <a:cubicBezTo>
                  <a:pt x="137" y="418"/>
                  <a:pt x="137" y="419"/>
                  <a:pt x="138" y="420"/>
                </a:cubicBezTo>
                <a:cubicBezTo>
                  <a:pt x="137" y="420"/>
                  <a:pt x="136" y="418"/>
                  <a:pt x="136" y="417"/>
                </a:cubicBezTo>
                <a:close/>
                <a:moveTo>
                  <a:pt x="137" y="421"/>
                </a:moveTo>
                <a:cubicBezTo>
                  <a:pt x="137" y="422"/>
                  <a:pt x="138" y="420"/>
                  <a:pt x="137" y="421"/>
                </a:cubicBezTo>
                <a:close/>
                <a:moveTo>
                  <a:pt x="135" y="249"/>
                </a:moveTo>
                <a:cubicBezTo>
                  <a:pt x="136" y="248"/>
                  <a:pt x="133" y="247"/>
                  <a:pt x="132" y="246"/>
                </a:cubicBezTo>
                <a:cubicBezTo>
                  <a:pt x="129" y="238"/>
                  <a:pt x="140" y="237"/>
                  <a:pt x="139" y="245"/>
                </a:cubicBezTo>
                <a:cubicBezTo>
                  <a:pt x="139" y="246"/>
                  <a:pt x="138" y="249"/>
                  <a:pt x="135" y="249"/>
                </a:cubicBezTo>
                <a:close/>
                <a:moveTo>
                  <a:pt x="138" y="250"/>
                </a:moveTo>
                <a:cubicBezTo>
                  <a:pt x="138" y="250"/>
                  <a:pt x="138" y="249"/>
                  <a:pt x="138" y="249"/>
                </a:cubicBezTo>
                <a:cubicBezTo>
                  <a:pt x="139" y="248"/>
                  <a:pt x="139" y="250"/>
                  <a:pt x="138" y="250"/>
                </a:cubicBezTo>
                <a:close/>
                <a:moveTo>
                  <a:pt x="140" y="271"/>
                </a:moveTo>
                <a:cubicBezTo>
                  <a:pt x="140" y="271"/>
                  <a:pt x="140" y="270"/>
                  <a:pt x="140" y="271"/>
                </a:cubicBezTo>
                <a:close/>
                <a:moveTo>
                  <a:pt x="139" y="232"/>
                </a:moveTo>
                <a:cubicBezTo>
                  <a:pt x="140" y="232"/>
                  <a:pt x="141" y="232"/>
                  <a:pt x="141" y="232"/>
                </a:cubicBezTo>
                <a:cubicBezTo>
                  <a:pt x="145" y="235"/>
                  <a:pt x="139" y="234"/>
                  <a:pt x="139" y="232"/>
                </a:cubicBezTo>
                <a:close/>
                <a:moveTo>
                  <a:pt x="142" y="304"/>
                </a:moveTo>
                <a:cubicBezTo>
                  <a:pt x="143" y="306"/>
                  <a:pt x="145" y="309"/>
                  <a:pt x="143" y="310"/>
                </a:cubicBezTo>
                <a:cubicBezTo>
                  <a:pt x="144" y="308"/>
                  <a:pt x="142" y="307"/>
                  <a:pt x="142" y="304"/>
                </a:cubicBezTo>
                <a:close/>
                <a:moveTo>
                  <a:pt x="144" y="445"/>
                </a:moveTo>
                <a:cubicBezTo>
                  <a:pt x="144" y="445"/>
                  <a:pt x="144" y="444"/>
                  <a:pt x="144" y="444"/>
                </a:cubicBezTo>
                <a:cubicBezTo>
                  <a:pt x="147" y="445"/>
                  <a:pt x="141" y="446"/>
                  <a:pt x="144" y="445"/>
                </a:cubicBezTo>
                <a:close/>
                <a:moveTo>
                  <a:pt x="144" y="390"/>
                </a:moveTo>
                <a:cubicBezTo>
                  <a:pt x="145" y="390"/>
                  <a:pt x="144" y="391"/>
                  <a:pt x="145" y="391"/>
                </a:cubicBezTo>
                <a:cubicBezTo>
                  <a:pt x="144" y="392"/>
                  <a:pt x="144" y="390"/>
                  <a:pt x="144" y="390"/>
                </a:cubicBezTo>
                <a:close/>
                <a:moveTo>
                  <a:pt x="145" y="345"/>
                </a:moveTo>
                <a:cubicBezTo>
                  <a:pt x="141" y="343"/>
                  <a:pt x="142" y="334"/>
                  <a:pt x="147" y="334"/>
                </a:cubicBezTo>
                <a:cubicBezTo>
                  <a:pt x="153" y="335"/>
                  <a:pt x="151" y="349"/>
                  <a:pt x="145" y="345"/>
                </a:cubicBezTo>
                <a:close/>
                <a:moveTo>
                  <a:pt x="150" y="229"/>
                </a:moveTo>
                <a:cubicBezTo>
                  <a:pt x="151" y="228"/>
                  <a:pt x="152" y="230"/>
                  <a:pt x="151" y="230"/>
                </a:cubicBezTo>
                <a:cubicBezTo>
                  <a:pt x="151" y="231"/>
                  <a:pt x="150" y="229"/>
                  <a:pt x="150" y="229"/>
                </a:cubicBezTo>
                <a:close/>
                <a:moveTo>
                  <a:pt x="152" y="263"/>
                </a:moveTo>
                <a:cubicBezTo>
                  <a:pt x="150" y="260"/>
                  <a:pt x="152" y="259"/>
                  <a:pt x="152" y="263"/>
                </a:cubicBezTo>
                <a:close/>
                <a:moveTo>
                  <a:pt x="156" y="234"/>
                </a:moveTo>
                <a:cubicBezTo>
                  <a:pt x="155" y="233"/>
                  <a:pt x="153" y="230"/>
                  <a:pt x="152" y="229"/>
                </a:cubicBezTo>
                <a:cubicBezTo>
                  <a:pt x="151" y="226"/>
                  <a:pt x="157" y="231"/>
                  <a:pt x="156" y="234"/>
                </a:cubicBezTo>
                <a:close/>
                <a:moveTo>
                  <a:pt x="153" y="303"/>
                </a:moveTo>
                <a:cubicBezTo>
                  <a:pt x="154" y="304"/>
                  <a:pt x="152" y="305"/>
                  <a:pt x="153" y="303"/>
                </a:cubicBezTo>
                <a:close/>
                <a:moveTo>
                  <a:pt x="156" y="299"/>
                </a:moveTo>
                <a:cubicBezTo>
                  <a:pt x="155" y="299"/>
                  <a:pt x="155" y="299"/>
                  <a:pt x="155" y="299"/>
                </a:cubicBezTo>
                <a:cubicBezTo>
                  <a:pt x="155" y="299"/>
                  <a:pt x="156" y="298"/>
                  <a:pt x="156" y="298"/>
                </a:cubicBezTo>
                <a:cubicBezTo>
                  <a:pt x="156" y="298"/>
                  <a:pt x="156" y="298"/>
                  <a:pt x="156" y="299"/>
                </a:cubicBezTo>
                <a:close/>
                <a:moveTo>
                  <a:pt x="157" y="293"/>
                </a:moveTo>
                <a:cubicBezTo>
                  <a:pt x="157" y="293"/>
                  <a:pt x="152" y="289"/>
                  <a:pt x="154" y="288"/>
                </a:cubicBezTo>
                <a:cubicBezTo>
                  <a:pt x="156" y="286"/>
                  <a:pt x="158" y="293"/>
                  <a:pt x="157" y="293"/>
                </a:cubicBezTo>
                <a:close/>
                <a:moveTo>
                  <a:pt x="158" y="227"/>
                </a:moveTo>
                <a:cubicBezTo>
                  <a:pt x="158" y="227"/>
                  <a:pt x="159" y="228"/>
                  <a:pt x="159" y="228"/>
                </a:cubicBezTo>
                <a:cubicBezTo>
                  <a:pt x="158" y="229"/>
                  <a:pt x="158" y="227"/>
                  <a:pt x="158" y="227"/>
                </a:cubicBezTo>
                <a:close/>
                <a:moveTo>
                  <a:pt x="180" y="198"/>
                </a:moveTo>
                <a:cubicBezTo>
                  <a:pt x="180" y="198"/>
                  <a:pt x="179" y="198"/>
                  <a:pt x="179" y="197"/>
                </a:cubicBezTo>
                <a:cubicBezTo>
                  <a:pt x="180" y="197"/>
                  <a:pt x="181" y="198"/>
                  <a:pt x="180" y="198"/>
                </a:cubicBezTo>
                <a:close/>
                <a:moveTo>
                  <a:pt x="177" y="199"/>
                </a:moveTo>
                <a:cubicBezTo>
                  <a:pt x="178" y="199"/>
                  <a:pt x="179" y="201"/>
                  <a:pt x="177" y="200"/>
                </a:cubicBezTo>
                <a:cubicBezTo>
                  <a:pt x="177" y="200"/>
                  <a:pt x="177" y="200"/>
                  <a:pt x="177" y="199"/>
                </a:cubicBezTo>
                <a:close/>
                <a:moveTo>
                  <a:pt x="175" y="198"/>
                </a:moveTo>
                <a:cubicBezTo>
                  <a:pt x="177" y="197"/>
                  <a:pt x="174" y="198"/>
                  <a:pt x="175" y="198"/>
                </a:cubicBezTo>
                <a:close/>
                <a:moveTo>
                  <a:pt x="178" y="260"/>
                </a:moveTo>
                <a:cubicBezTo>
                  <a:pt x="176" y="259"/>
                  <a:pt x="176" y="258"/>
                  <a:pt x="175" y="257"/>
                </a:cubicBezTo>
                <a:cubicBezTo>
                  <a:pt x="176" y="257"/>
                  <a:pt x="178" y="259"/>
                  <a:pt x="178" y="260"/>
                </a:cubicBezTo>
                <a:close/>
                <a:moveTo>
                  <a:pt x="174" y="205"/>
                </a:moveTo>
                <a:cubicBezTo>
                  <a:pt x="173" y="205"/>
                  <a:pt x="175" y="206"/>
                  <a:pt x="174" y="207"/>
                </a:cubicBezTo>
                <a:cubicBezTo>
                  <a:pt x="174" y="207"/>
                  <a:pt x="172" y="205"/>
                  <a:pt x="174" y="205"/>
                </a:cubicBezTo>
                <a:close/>
                <a:moveTo>
                  <a:pt x="173" y="231"/>
                </a:moveTo>
                <a:cubicBezTo>
                  <a:pt x="171" y="230"/>
                  <a:pt x="174" y="232"/>
                  <a:pt x="173" y="231"/>
                </a:cubicBezTo>
                <a:close/>
                <a:moveTo>
                  <a:pt x="170" y="230"/>
                </a:moveTo>
                <a:cubicBezTo>
                  <a:pt x="171" y="230"/>
                  <a:pt x="172" y="233"/>
                  <a:pt x="171" y="234"/>
                </a:cubicBezTo>
                <a:cubicBezTo>
                  <a:pt x="170" y="235"/>
                  <a:pt x="168" y="231"/>
                  <a:pt x="170" y="230"/>
                </a:cubicBezTo>
                <a:close/>
                <a:moveTo>
                  <a:pt x="167" y="193"/>
                </a:moveTo>
                <a:cubicBezTo>
                  <a:pt x="168" y="192"/>
                  <a:pt x="169" y="194"/>
                  <a:pt x="168" y="195"/>
                </a:cubicBezTo>
                <a:cubicBezTo>
                  <a:pt x="167" y="195"/>
                  <a:pt x="167" y="193"/>
                  <a:pt x="167" y="193"/>
                </a:cubicBezTo>
                <a:close/>
                <a:moveTo>
                  <a:pt x="168" y="274"/>
                </a:moveTo>
                <a:cubicBezTo>
                  <a:pt x="167" y="273"/>
                  <a:pt x="167" y="272"/>
                  <a:pt x="166" y="272"/>
                </a:cubicBezTo>
                <a:cubicBezTo>
                  <a:pt x="167" y="272"/>
                  <a:pt x="168" y="273"/>
                  <a:pt x="168" y="274"/>
                </a:cubicBezTo>
                <a:close/>
                <a:moveTo>
                  <a:pt x="166" y="208"/>
                </a:moveTo>
                <a:cubicBezTo>
                  <a:pt x="166" y="208"/>
                  <a:pt x="166" y="208"/>
                  <a:pt x="166" y="207"/>
                </a:cubicBezTo>
                <a:cubicBezTo>
                  <a:pt x="166" y="206"/>
                  <a:pt x="168" y="208"/>
                  <a:pt x="166" y="208"/>
                </a:cubicBezTo>
                <a:close/>
                <a:moveTo>
                  <a:pt x="167" y="224"/>
                </a:moveTo>
                <a:cubicBezTo>
                  <a:pt x="165" y="222"/>
                  <a:pt x="165" y="218"/>
                  <a:pt x="163" y="214"/>
                </a:cubicBezTo>
                <a:cubicBezTo>
                  <a:pt x="166" y="217"/>
                  <a:pt x="166" y="221"/>
                  <a:pt x="167" y="224"/>
                </a:cubicBezTo>
                <a:close/>
                <a:moveTo>
                  <a:pt x="166" y="338"/>
                </a:moveTo>
                <a:cubicBezTo>
                  <a:pt x="164" y="337"/>
                  <a:pt x="166" y="334"/>
                  <a:pt x="166" y="338"/>
                </a:cubicBezTo>
                <a:close/>
                <a:moveTo>
                  <a:pt x="163" y="266"/>
                </a:moveTo>
                <a:cubicBezTo>
                  <a:pt x="165" y="266"/>
                  <a:pt x="165" y="269"/>
                  <a:pt x="166" y="270"/>
                </a:cubicBezTo>
                <a:cubicBezTo>
                  <a:pt x="164" y="270"/>
                  <a:pt x="164" y="267"/>
                  <a:pt x="163" y="266"/>
                </a:cubicBezTo>
                <a:close/>
                <a:moveTo>
                  <a:pt x="161" y="230"/>
                </a:moveTo>
                <a:cubicBezTo>
                  <a:pt x="159" y="230"/>
                  <a:pt x="160" y="228"/>
                  <a:pt x="161" y="230"/>
                </a:cubicBezTo>
                <a:close/>
                <a:moveTo>
                  <a:pt x="162" y="222"/>
                </a:moveTo>
                <a:cubicBezTo>
                  <a:pt x="162" y="222"/>
                  <a:pt x="164" y="223"/>
                  <a:pt x="164" y="223"/>
                </a:cubicBezTo>
                <a:cubicBezTo>
                  <a:pt x="165" y="223"/>
                  <a:pt x="166" y="224"/>
                  <a:pt x="165" y="226"/>
                </a:cubicBezTo>
                <a:cubicBezTo>
                  <a:pt x="165" y="226"/>
                  <a:pt x="164" y="226"/>
                  <a:pt x="164" y="225"/>
                </a:cubicBezTo>
                <a:cubicBezTo>
                  <a:pt x="164" y="226"/>
                  <a:pt x="163" y="229"/>
                  <a:pt x="162" y="229"/>
                </a:cubicBezTo>
                <a:cubicBezTo>
                  <a:pt x="159" y="229"/>
                  <a:pt x="161" y="222"/>
                  <a:pt x="162" y="222"/>
                </a:cubicBezTo>
                <a:close/>
                <a:moveTo>
                  <a:pt x="162" y="231"/>
                </a:moveTo>
                <a:cubicBezTo>
                  <a:pt x="162" y="231"/>
                  <a:pt x="163" y="232"/>
                  <a:pt x="162" y="232"/>
                </a:cubicBezTo>
                <a:cubicBezTo>
                  <a:pt x="162" y="232"/>
                  <a:pt x="162" y="231"/>
                  <a:pt x="162" y="231"/>
                </a:cubicBezTo>
                <a:close/>
                <a:moveTo>
                  <a:pt x="163" y="344"/>
                </a:moveTo>
                <a:cubicBezTo>
                  <a:pt x="164" y="346"/>
                  <a:pt x="166" y="350"/>
                  <a:pt x="167" y="353"/>
                </a:cubicBezTo>
                <a:cubicBezTo>
                  <a:pt x="165" y="351"/>
                  <a:pt x="164" y="347"/>
                  <a:pt x="163" y="344"/>
                </a:cubicBezTo>
                <a:close/>
                <a:moveTo>
                  <a:pt x="167" y="354"/>
                </a:moveTo>
                <a:cubicBezTo>
                  <a:pt x="167" y="353"/>
                  <a:pt x="168" y="355"/>
                  <a:pt x="168" y="355"/>
                </a:cubicBezTo>
                <a:cubicBezTo>
                  <a:pt x="168" y="355"/>
                  <a:pt x="167" y="355"/>
                  <a:pt x="167" y="354"/>
                </a:cubicBezTo>
                <a:close/>
                <a:moveTo>
                  <a:pt x="170" y="358"/>
                </a:moveTo>
                <a:cubicBezTo>
                  <a:pt x="169" y="358"/>
                  <a:pt x="168" y="356"/>
                  <a:pt x="168" y="356"/>
                </a:cubicBezTo>
                <a:cubicBezTo>
                  <a:pt x="168" y="355"/>
                  <a:pt x="171" y="358"/>
                  <a:pt x="170" y="358"/>
                </a:cubicBezTo>
                <a:close/>
                <a:moveTo>
                  <a:pt x="171" y="267"/>
                </a:moveTo>
                <a:cubicBezTo>
                  <a:pt x="169" y="267"/>
                  <a:pt x="170" y="265"/>
                  <a:pt x="171" y="267"/>
                </a:cubicBezTo>
                <a:close/>
                <a:moveTo>
                  <a:pt x="173" y="269"/>
                </a:moveTo>
                <a:cubicBezTo>
                  <a:pt x="171" y="269"/>
                  <a:pt x="172" y="267"/>
                  <a:pt x="173" y="269"/>
                </a:cubicBezTo>
                <a:close/>
                <a:moveTo>
                  <a:pt x="173" y="268"/>
                </a:moveTo>
                <a:cubicBezTo>
                  <a:pt x="172" y="269"/>
                  <a:pt x="170" y="264"/>
                  <a:pt x="173" y="264"/>
                </a:cubicBezTo>
                <a:cubicBezTo>
                  <a:pt x="175" y="264"/>
                  <a:pt x="175" y="268"/>
                  <a:pt x="173" y="268"/>
                </a:cubicBezTo>
                <a:close/>
                <a:moveTo>
                  <a:pt x="177" y="280"/>
                </a:moveTo>
                <a:cubicBezTo>
                  <a:pt x="175" y="280"/>
                  <a:pt x="175" y="278"/>
                  <a:pt x="174" y="277"/>
                </a:cubicBezTo>
                <a:cubicBezTo>
                  <a:pt x="175" y="277"/>
                  <a:pt x="176" y="279"/>
                  <a:pt x="177" y="280"/>
                </a:cubicBezTo>
                <a:close/>
                <a:moveTo>
                  <a:pt x="179" y="434"/>
                </a:moveTo>
                <a:cubicBezTo>
                  <a:pt x="179" y="433"/>
                  <a:pt x="178" y="432"/>
                  <a:pt x="179" y="431"/>
                </a:cubicBezTo>
                <a:cubicBezTo>
                  <a:pt x="179" y="432"/>
                  <a:pt x="179" y="433"/>
                  <a:pt x="179" y="434"/>
                </a:cubicBezTo>
                <a:close/>
                <a:moveTo>
                  <a:pt x="178" y="387"/>
                </a:moveTo>
                <a:cubicBezTo>
                  <a:pt x="177" y="387"/>
                  <a:pt x="174" y="383"/>
                  <a:pt x="176" y="381"/>
                </a:cubicBezTo>
                <a:cubicBezTo>
                  <a:pt x="176" y="381"/>
                  <a:pt x="178" y="381"/>
                  <a:pt x="178" y="381"/>
                </a:cubicBezTo>
                <a:cubicBezTo>
                  <a:pt x="178" y="380"/>
                  <a:pt x="176" y="378"/>
                  <a:pt x="176" y="377"/>
                </a:cubicBezTo>
                <a:cubicBezTo>
                  <a:pt x="176" y="377"/>
                  <a:pt x="179" y="381"/>
                  <a:pt x="179" y="383"/>
                </a:cubicBezTo>
                <a:cubicBezTo>
                  <a:pt x="179" y="383"/>
                  <a:pt x="178" y="387"/>
                  <a:pt x="178" y="387"/>
                </a:cubicBezTo>
                <a:close/>
                <a:moveTo>
                  <a:pt x="178" y="354"/>
                </a:moveTo>
                <a:cubicBezTo>
                  <a:pt x="179" y="353"/>
                  <a:pt x="180" y="356"/>
                  <a:pt x="179" y="356"/>
                </a:cubicBezTo>
                <a:cubicBezTo>
                  <a:pt x="178" y="356"/>
                  <a:pt x="178" y="354"/>
                  <a:pt x="178" y="354"/>
                </a:cubicBezTo>
                <a:close/>
                <a:moveTo>
                  <a:pt x="181" y="290"/>
                </a:moveTo>
                <a:cubicBezTo>
                  <a:pt x="179" y="287"/>
                  <a:pt x="177" y="285"/>
                  <a:pt x="176" y="284"/>
                </a:cubicBezTo>
                <a:cubicBezTo>
                  <a:pt x="176" y="281"/>
                  <a:pt x="179" y="285"/>
                  <a:pt x="179" y="285"/>
                </a:cubicBezTo>
                <a:cubicBezTo>
                  <a:pt x="180" y="287"/>
                  <a:pt x="180" y="288"/>
                  <a:pt x="181" y="290"/>
                </a:cubicBezTo>
                <a:cubicBezTo>
                  <a:pt x="181" y="290"/>
                  <a:pt x="181" y="291"/>
                  <a:pt x="181" y="291"/>
                </a:cubicBezTo>
                <a:cubicBezTo>
                  <a:pt x="181" y="291"/>
                  <a:pt x="181" y="290"/>
                  <a:pt x="181" y="290"/>
                </a:cubicBezTo>
                <a:close/>
                <a:moveTo>
                  <a:pt x="182" y="217"/>
                </a:moveTo>
                <a:cubicBezTo>
                  <a:pt x="182" y="218"/>
                  <a:pt x="181" y="217"/>
                  <a:pt x="181" y="217"/>
                </a:cubicBezTo>
                <a:cubicBezTo>
                  <a:pt x="179" y="215"/>
                  <a:pt x="183" y="216"/>
                  <a:pt x="182" y="217"/>
                </a:cubicBezTo>
                <a:close/>
                <a:moveTo>
                  <a:pt x="310" y="745"/>
                </a:moveTo>
                <a:cubicBezTo>
                  <a:pt x="309" y="747"/>
                  <a:pt x="304" y="748"/>
                  <a:pt x="302" y="747"/>
                </a:cubicBezTo>
                <a:cubicBezTo>
                  <a:pt x="301" y="747"/>
                  <a:pt x="299" y="748"/>
                  <a:pt x="298" y="747"/>
                </a:cubicBezTo>
                <a:cubicBezTo>
                  <a:pt x="297" y="747"/>
                  <a:pt x="298" y="744"/>
                  <a:pt x="296" y="744"/>
                </a:cubicBezTo>
                <a:cubicBezTo>
                  <a:pt x="300" y="744"/>
                  <a:pt x="295" y="742"/>
                  <a:pt x="295" y="742"/>
                </a:cubicBezTo>
                <a:cubicBezTo>
                  <a:pt x="294" y="739"/>
                  <a:pt x="301" y="738"/>
                  <a:pt x="302" y="738"/>
                </a:cubicBezTo>
                <a:cubicBezTo>
                  <a:pt x="304" y="738"/>
                  <a:pt x="311" y="740"/>
                  <a:pt x="310" y="745"/>
                </a:cubicBezTo>
                <a:close/>
                <a:moveTo>
                  <a:pt x="295" y="179"/>
                </a:moveTo>
                <a:cubicBezTo>
                  <a:pt x="292" y="179"/>
                  <a:pt x="292" y="177"/>
                  <a:pt x="295" y="179"/>
                </a:cubicBezTo>
                <a:close/>
                <a:moveTo>
                  <a:pt x="292" y="164"/>
                </a:moveTo>
                <a:cubicBezTo>
                  <a:pt x="292" y="164"/>
                  <a:pt x="292" y="163"/>
                  <a:pt x="292" y="163"/>
                </a:cubicBezTo>
                <a:cubicBezTo>
                  <a:pt x="292" y="162"/>
                  <a:pt x="294" y="164"/>
                  <a:pt x="292" y="164"/>
                </a:cubicBezTo>
                <a:close/>
                <a:moveTo>
                  <a:pt x="295" y="173"/>
                </a:moveTo>
                <a:cubicBezTo>
                  <a:pt x="294" y="173"/>
                  <a:pt x="294" y="171"/>
                  <a:pt x="295" y="172"/>
                </a:cubicBezTo>
                <a:cubicBezTo>
                  <a:pt x="295" y="172"/>
                  <a:pt x="295" y="173"/>
                  <a:pt x="295" y="173"/>
                </a:cubicBezTo>
                <a:close/>
                <a:moveTo>
                  <a:pt x="293" y="108"/>
                </a:moveTo>
                <a:cubicBezTo>
                  <a:pt x="294" y="106"/>
                  <a:pt x="296" y="110"/>
                  <a:pt x="297" y="112"/>
                </a:cubicBezTo>
                <a:cubicBezTo>
                  <a:pt x="295" y="112"/>
                  <a:pt x="292" y="110"/>
                  <a:pt x="293" y="108"/>
                </a:cubicBezTo>
                <a:close/>
                <a:moveTo>
                  <a:pt x="296" y="183"/>
                </a:moveTo>
                <a:cubicBezTo>
                  <a:pt x="298" y="182"/>
                  <a:pt x="300" y="186"/>
                  <a:pt x="298" y="187"/>
                </a:cubicBezTo>
                <a:cubicBezTo>
                  <a:pt x="296" y="189"/>
                  <a:pt x="294" y="184"/>
                  <a:pt x="296" y="183"/>
                </a:cubicBezTo>
                <a:close/>
                <a:moveTo>
                  <a:pt x="297" y="144"/>
                </a:moveTo>
                <a:cubicBezTo>
                  <a:pt x="299" y="144"/>
                  <a:pt x="298" y="146"/>
                  <a:pt x="297" y="144"/>
                </a:cubicBezTo>
                <a:close/>
                <a:moveTo>
                  <a:pt x="300" y="188"/>
                </a:moveTo>
                <a:cubicBezTo>
                  <a:pt x="299" y="187"/>
                  <a:pt x="301" y="189"/>
                  <a:pt x="300" y="188"/>
                </a:cubicBezTo>
                <a:close/>
                <a:moveTo>
                  <a:pt x="301" y="225"/>
                </a:moveTo>
                <a:cubicBezTo>
                  <a:pt x="301" y="225"/>
                  <a:pt x="300" y="224"/>
                  <a:pt x="300" y="224"/>
                </a:cubicBezTo>
                <a:cubicBezTo>
                  <a:pt x="301" y="224"/>
                  <a:pt x="302" y="225"/>
                  <a:pt x="301" y="225"/>
                </a:cubicBezTo>
                <a:close/>
                <a:moveTo>
                  <a:pt x="300" y="518"/>
                </a:moveTo>
                <a:cubicBezTo>
                  <a:pt x="301" y="519"/>
                  <a:pt x="299" y="517"/>
                  <a:pt x="299" y="517"/>
                </a:cubicBezTo>
                <a:cubicBezTo>
                  <a:pt x="299" y="516"/>
                  <a:pt x="300" y="517"/>
                  <a:pt x="300" y="518"/>
                </a:cubicBezTo>
                <a:close/>
                <a:moveTo>
                  <a:pt x="300" y="733"/>
                </a:moveTo>
                <a:cubicBezTo>
                  <a:pt x="301" y="733"/>
                  <a:pt x="299" y="734"/>
                  <a:pt x="299" y="734"/>
                </a:cubicBezTo>
                <a:cubicBezTo>
                  <a:pt x="298" y="733"/>
                  <a:pt x="300" y="733"/>
                  <a:pt x="300" y="733"/>
                </a:cubicBezTo>
                <a:close/>
                <a:moveTo>
                  <a:pt x="298" y="724"/>
                </a:moveTo>
                <a:cubicBezTo>
                  <a:pt x="298" y="723"/>
                  <a:pt x="300" y="725"/>
                  <a:pt x="298" y="724"/>
                </a:cubicBezTo>
                <a:close/>
                <a:moveTo>
                  <a:pt x="297" y="681"/>
                </a:moveTo>
                <a:cubicBezTo>
                  <a:pt x="297" y="681"/>
                  <a:pt x="297" y="681"/>
                  <a:pt x="297" y="681"/>
                </a:cubicBezTo>
                <a:cubicBezTo>
                  <a:pt x="298" y="681"/>
                  <a:pt x="298" y="682"/>
                  <a:pt x="297" y="681"/>
                </a:cubicBezTo>
                <a:close/>
                <a:moveTo>
                  <a:pt x="303" y="683"/>
                </a:moveTo>
                <a:cubicBezTo>
                  <a:pt x="303" y="683"/>
                  <a:pt x="304" y="682"/>
                  <a:pt x="305" y="683"/>
                </a:cubicBezTo>
                <a:cubicBezTo>
                  <a:pt x="305" y="683"/>
                  <a:pt x="303" y="683"/>
                  <a:pt x="303" y="683"/>
                </a:cubicBezTo>
                <a:close/>
                <a:moveTo>
                  <a:pt x="304" y="731"/>
                </a:moveTo>
                <a:cubicBezTo>
                  <a:pt x="305" y="731"/>
                  <a:pt x="302" y="730"/>
                  <a:pt x="304" y="731"/>
                </a:cubicBezTo>
                <a:close/>
                <a:moveTo>
                  <a:pt x="303" y="675"/>
                </a:moveTo>
                <a:cubicBezTo>
                  <a:pt x="305" y="673"/>
                  <a:pt x="305" y="677"/>
                  <a:pt x="303" y="675"/>
                </a:cubicBezTo>
                <a:close/>
                <a:moveTo>
                  <a:pt x="302" y="671"/>
                </a:moveTo>
                <a:cubicBezTo>
                  <a:pt x="302" y="669"/>
                  <a:pt x="304" y="669"/>
                  <a:pt x="305" y="670"/>
                </a:cubicBezTo>
                <a:cubicBezTo>
                  <a:pt x="306" y="671"/>
                  <a:pt x="302" y="672"/>
                  <a:pt x="302" y="671"/>
                </a:cubicBezTo>
                <a:close/>
                <a:moveTo>
                  <a:pt x="304" y="158"/>
                </a:moveTo>
                <a:cubicBezTo>
                  <a:pt x="304" y="158"/>
                  <a:pt x="303" y="158"/>
                  <a:pt x="304" y="157"/>
                </a:cubicBezTo>
                <a:cubicBezTo>
                  <a:pt x="304" y="157"/>
                  <a:pt x="305" y="158"/>
                  <a:pt x="304" y="158"/>
                </a:cubicBezTo>
                <a:close/>
                <a:moveTo>
                  <a:pt x="304" y="613"/>
                </a:moveTo>
                <a:cubicBezTo>
                  <a:pt x="305" y="615"/>
                  <a:pt x="301" y="614"/>
                  <a:pt x="302" y="612"/>
                </a:cubicBezTo>
                <a:cubicBezTo>
                  <a:pt x="302" y="612"/>
                  <a:pt x="304" y="612"/>
                  <a:pt x="304" y="613"/>
                </a:cubicBezTo>
                <a:close/>
                <a:moveTo>
                  <a:pt x="305" y="735"/>
                </a:moveTo>
                <a:cubicBezTo>
                  <a:pt x="307" y="734"/>
                  <a:pt x="308" y="736"/>
                  <a:pt x="305" y="735"/>
                </a:cubicBezTo>
                <a:close/>
                <a:moveTo>
                  <a:pt x="307" y="737"/>
                </a:moveTo>
                <a:cubicBezTo>
                  <a:pt x="307" y="737"/>
                  <a:pt x="308" y="737"/>
                  <a:pt x="309" y="737"/>
                </a:cubicBezTo>
                <a:cubicBezTo>
                  <a:pt x="308" y="737"/>
                  <a:pt x="308" y="737"/>
                  <a:pt x="307" y="737"/>
                </a:cubicBezTo>
                <a:close/>
                <a:moveTo>
                  <a:pt x="311" y="752"/>
                </a:moveTo>
                <a:cubicBezTo>
                  <a:pt x="311" y="752"/>
                  <a:pt x="311" y="752"/>
                  <a:pt x="311" y="752"/>
                </a:cubicBezTo>
                <a:cubicBezTo>
                  <a:pt x="313" y="752"/>
                  <a:pt x="312" y="753"/>
                  <a:pt x="311" y="752"/>
                </a:cubicBezTo>
                <a:close/>
                <a:moveTo>
                  <a:pt x="314" y="737"/>
                </a:moveTo>
                <a:cubicBezTo>
                  <a:pt x="315" y="736"/>
                  <a:pt x="316" y="737"/>
                  <a:pt x="316" y="738"/>
                </a:cubicBezTo>
                <a:cubicBezTo>
                  <a:pt x="317" y="739"/>
                  <a:pt x="313" y="738"/>
                  <a:pt x="314" y="737"/>
                </a:cubicBezTo>
                <a:close/>
                <a:moveTo>
                  <a:pt x="313" y="737"/>
                </a:moveTo>
                <a:cubicBezTo>
                  <a:pt x="309" y="737"/>
                  <a:pt x="308" y="733"/>
                  <a:pt x="302" y="734"/>
                </a:cubicBezTo>
                <a:cubicBezTo>
                  <a:pt x="303" y="733"/>
                  <a:pt x="305" y="733"/>
                  <a:pt x="306" y="732"/>
                </a:cubicBezTo>
                <a:cubicBezTo>
                  <a:pt x="306" y="732"/>
                  <a:pt x="305" y="731"/>
                  <a:pt x="305" y="732"/>
                </a:cubicBezTo>
                <a:cubicBezTo>
                  <a:pt x="305" y="731"/>
                  <a:pt x="306" y="731"/>
                  <a:pt x="306" y="731"/>
                </a:cubicBezTo>
                <a:cubicBezTo>
                  <a:pt x="307" y="729"/>
                  <a:pt x="304" y="729"/>
                  <a:pt x="306" y="728"/>
                </a:cubicBezTo>
                <a:cubicBezTo>
                  <a:pt x="307" y="727"/>
                  <a:pt x="308" y="728"/>
                  <a:pt x="310" y="728"/>
                </a:cubicBezTo>
                <a:cubicBezTo>
                  <a:pt x="310" y="728"/>
                  <a:pt x="313" y="728"/>
                  <a:pt x="315" y="729"/>
                </a:cubicBezTo>
                <a:cubicBezTo>
                  <a:pt x="319" y="730"/>
                  <a:pt x="318" y="736"/>
                  <a:pt x="313" y="737"/>
                </a:cubicBezTo>
                <a:close/>
                <a:moveTo>
                  <a:pt x="306" y="205"/>
                </a:moveTo>
                <a:cubicBezTo>
                  <a:pt x="307" y="205"/>
                  <a:pt x="306" y="206"/>
                  <a:pt x="306" y="206"/>
                </a:cubicBezTo>
                <a:cubicBezTo>
                  <a:pt x="304" y="205"/>
                  <a:pt x="306" y="204"/>
                  <a:pt x="306" y="205"/>
                </a:cubicBezTo>
                <a:close/>
                <a:moveTo>
                  <a:pt x="305" y="103"/>
                </a:moveTo>
                <a:cubicBezTo>
                  <a:pt x="307" y="102"/>
                  <a:pt x="308" y="105"/>
                  <a:pt x="306" y="104"/>
                </a:cubicBezTo>
                <a:cubicBezTo>
                  <a:pt x="305" y="104"/>
                  <a:pt x="305" y="103"/>
                  <a:pt x="305" y="103"/>
                </a:cubicBezTo>
                <a:close/>
                <a:moveTo>
                  <a:pt x="311" y="167"/>
                </a:moveTo>
                <a:cubicBezTo>
                  <a:pt x="311" y="167"/>
                  <a:pt x="311" y="167"/>
                  <a:pt x="311" y="167"/>
                </a:cubicBezTo>
                <a:cubicBezTo>
                  <a:pt x="311" y="167"/>
                  <a:pt x="311" y="167"/>
                  <a:pt x="312" y="167"/>
                </a:cubicBezTo>
                <a:cubicBezTo>
                  <a:pt x="312" y="167"/>
                  <a:pt x="311" y="167"/>
                  <a:pt x="311" y="167"/>
                </a:cubicBezTo>
                <a:close/>
                <a:moveTo>
                  <a:pt x="310" y="638"/>
                </a:moveTo>
                <a:cubicBezTo>
                  <a:pt x="314" y="639"/>
                  <a:pt x="311" y="641"/>
                  <a:pt x="310" y="638"/>
                </a:cubicBezTo>
                <a:close/>
                <a:moveTo>
                  <a:pt x="311" y="123"/>
                </a:moveTo>
                <a:cubicBezTo>
                  <a:pt x="309" y="123"/>
                  <a:pt x="312" y="124"/>
                  <a:pt x="311" y="123"/>
                </a:cubicBezTo>
                <a:close/>
                <a:moveTo>
                  <a:pt x="310" y="111"/>
                </a:moveTo>
                <a:cubicBezTo>
                  <a:pt x="311" y="111"/>
                  <a:pt x="312" y="112"/>
                  <a:pt x="311" y="112"/>
                </a:cubicBezTo>
                <a:cubicBezTo>
                  <a:pt x="311" y="112"/>
                  <a:pt x="310" y="112"/>
                  <a:pt x="310" y="111"/>
                </a:cubicBezTo>
                <a:close/>
                <a:moveTo>
                  <a:pt x="308" y="612"/>
                </a:moveTo>
                <a:cubicBezTo>
                  <a:pt x="308" y="611"/>
                  <a:pt x="310" y="612"/>
                  <a:pt x="310" y="612"/>
                </a:cubicBezTo>
                <a:cubicBezTo>
                  <a:pt x="311" y="614"/>
                  <a:pt x="308" y="613"/>
                  <a:pt x="308" y="612"/>
                </a:cubicBezTo>
                <a:close/>
                <a:moveTo>
                  <a:pt x="316" y="436"/>
                </a:moveTo>
                <a:cubicBezTo>
                  <a:pt x="317" y="435"/>
                  <a:pt x="318" y="436"/>
                  <a:pt x="318" y="437"/>
                </a:cubicBezTo>
                <a:cubicBezTo>
                  <a:pt x="320" y="439"/>
                  <a:pt x="316" y="436"/>
                  <a:pt x="316" y="436"/>
                </a:cubicBezTo>
                <a:close/>
                <a:moveTo>
                  <a:pt x="317" y="526"/>
                </a:moveTo>
                <a:cubicBezTo>
                  <a:pt x="317" y="526"/>
                  <a:pt x="318" y="527"/>
                  <a:pt x="319" y="528"/>
                </a:cubicBezTo>
                <a:cubicBezTo>
                  <a:pt x="319" y="529"/>
                  <a:pt x="317" y="527"/>
                  <a:pt x="317" y="526"/>
                </a:cubicBezTo>
                <a:close/>
                <a:moveTo>
                  <a:pt x="316" y="682"/>
                </a:moveTo>
                <a:cubicBezTo>
                  <a:pt x="318" y="683"/>
                  <a:pt x="316" y="684"/>
                  <a:pt x="316" y="682"/>
                </a:cubicBezTo>
                <a:close/>
                <a:moveTo>
                  <a:pt x="315" y="197"/>
                </a:moveTo>
                <a:cubicBezTo>
                  <a:pt x="315" y="196"/>
                  <a:pt x="317" y="197"/>
                  <a:pt x="316" y="198"/>
                </a:cubicBezTo>
                <a:cubicBezTo>
                  <a:pt x="316" y="198"/>
                  <a:pt x="315" y="197"/>
                  <a:pt x="315" y="197"/>
                </a:cubicBezTo>
                <a:close/>
                <a:moveTo>
                  <a:pt x="315" y="98"/>
                </a:moveTo>
                <a:cubicBezTo>
                  <a:pt x="313" y="97"/>
                  <a:pt x="318" y="96"/>
                  <a:pt x="317" y="98"/>
                </a:cubicBezTo>
                <a:cubicBezTo>
                  <a:pt x="316" y="98"/>
                  <a:pt x="316" y="98"/>
                  <a:pt x="315" y="98"/>
                </a:cubicBezTo>
                <a:close/>
                <a:moveTo>
                  <a:pt x="314" y="99"/>
                </a:moveTo>
                <a:cubicBezTo>
                  <a:pt x="317" y="99"/>
                  <a:pt x="315" y="102"/>
                  <a:pt x="314" y="99"/>
                </a:cubicBezTo>
                <a:close/>
                <a:moveTo>
                  <a:pt x="314" y="129"/>
                </a:moveTo>
                <a:cubicBezTo>
                  <a:pt x="314" y="129"/>
                  <a:pt x="314" y="129"/>
                  <a:pt x="314" y="129"/>
                </a:cubicBezTo>
                <a:cubicBezTo>
                  <a:pt x="311" y="127"/>
                  <a:pt x="317" y="129"/>
                  <a:pt x="314" y="129"/>
                </a:cubicBezTo>
                <a:close/>
                <a:moveTo>
                  <a:pt x="313" y="166"/>
                </a:moveTo>
                <a:cubicBezTo>
                  <a:pt x="315" y="165"/>
                  <a:pt x="313" y="168"/>
                  <a:pt x="313" y="166"/>
                </a:cubicBezTo>
                <a:cubicBezTo>
                  <a:pt x="312" y="166"/>
                  <a:pt x="313" y="166"/>
                  <a:pt x="313" y="166"/>
                </a:cubicBezTo>
                <a:close/>
                <a:moveTo>
                  <a:pt x="313" y="636"/>
                </a:moveTo>
                <a:cubicBezTo>
                  <a:pt x="313" y="636"/>
                  <a:pt x="314" y="637"/>
                  <a:pt x="314" y="637"/>
                </a:cubicBezTo>
                <a:cubicBezTo>
                  <a:pt x="316" y="639"/>
                  <a:pt x="311" y="637"/>
                  <a:pt x="313" y="636"/>
                </a:cubicBezTo>
                <a:close/>
                <a:moveTo>
                  <a:pt x="316" y="540"/>
                </a:moveTo>
                <a:cubicBezTo>
                  <a:pt x="317" y="539"/>
                  <a:pt x="318" y="540"/>
                  <a:pt x="319" y="541"/>
                </a:cubicBezTo>
                <a:cubicBezTo>
                  <a:pt x="319" y="542"/>
                  <a:pt x="316" y="541"/>
                  <a:pt x="316" y="540"/>
                </a:cubicBezTo>
                <a:close/>
                <a:moveTo>
                  <a:pt x="318" y="161"/>
                </a:moveTo>
                <a:cubicBezTo>
                  <a:pt x="318" y="162"/>
                  <a:pt x="317" y="161"/>
                  <a:pt x="317" y="161"/>
                </a:cubicBezTo>
                <a:cubicBezTo>
                  <a:pt x="315" y="158"/>
                  <a:pt x="320" y="159"/>
                  <a:pt x="318" y="161"/>
                </a:cubicBezTo>
                <a:close/>
                <a:moveTo>
                  <a:pt x="317" y="121"/>
                </a:moveTo>
                <a:cubicBezTo>
                  <a:pt x="319" y="122"/>
                  <a:pt x="316" y="121"/>
                  <a:pt x="317" y="121"/>
                </a:cubicBezTo>
                <a:close/>
                <a:moveTo>
                  <a:pt x="318" y="139"/>
                </a:moveTo>
                <a:cubicBezTo>
                  <a:pt x="319" y="138"/>
                  <a:pt x="320" y="141"/>
                  <a:pt x="319" y="140"/>
                </a:cubicBezTo>
                <a:cubicBezTo>
                  <a:pt x="319" y="140"/>
                  <a:pt x="318" y="140"/>
                  <a:pt x="318" y="139"/>
                </a:cubicBezTo>
                <a:close/>
                <a:moveTo>
                  <a:pt x="318" y="103"/>
                </a:moveTo>
                <a:cubicBezTo>
                  <a:pt x="319" y="103"/>
                  <a:pt x="319" y="104"/>
                  <a:pt x="319" y="104"/>
                </a:cubicBezTo>
                <a:cubicBezTo>
                  <a:pt x="319" y="104"/>
                  <a:pt x="319" y="104"/>
                  <a:pt x="319" y="104"/>
                </a:cubicBezTo>
                <a:cubicBezTo>
                  <a:pt x="319" y="103"/>
                  <a:pt x="318" y="103"/>
                  <a:pt x="318" y="103"/>
                </a:cubicBezTo>
                <a:close/>
                <a:moveTo>
                  <a:pt x="319" y="603"/>
                </a:moveTo>
                <a:cubicBezTo>
                  <a:pt x="320" y="602"/>
                  <a:pt x="321" y="603"/>
                  <a:pt x="321" y="603"/>
                </a:cubicBezTo>
                <a:cubicBezTo>
                  <a:pt x="321" y="605"/>
                  <a:pt x="318" y="603"/>
                  <a:pt x="319" y="603"/>
                </a:cubicBezTo>
                <a:close/>
                <a:moveTo>
                  <a:pt x="322" y="158"/>
                </a:moveTo>
                <a:cubicBezTo>
                  <a:pt x="321" y="159"/>
                  <a:pt x="320" y="157"/>
                  <a:pt x="321" y="157"/>
                </a:cubicBezTo>
                <a:cubicBezTo>
                  <a:pt x="322" y="157"/>
                  <a:pt x="322" y="158"/>
                  <a:pt x="322" y="158"/>
                </a:cubicBezTo>
                <a:close/>
                <a:moveTo>
                  <a:pt x="322" y="131"/>
                </a:moveTo>
                <a:cubicBezTo>
                  <a:pt x="323" y="132"/>
                  <a:pt x="321" y="131"/>
                  <a:pt x="322" y="131"/>
                </a:cubicBezTo>
                <a:close/>
                <a:moveTo>
                  <a:pt x="321" y="762"/>
                </a:moveTo>
                <a:cubicBezTo>
                  <a:pt x="322" y="762"/>
                  <a:pt x="323" y="762"/>
                  <a:pt x="324" y="763"/>
                </a:cubicBezTo>
                <a:cubicBezTo>
                  <a:pt x="325" y="766"/>
                  <a:pt x="316" y="764"/>
                  <a:pt x="321" y="762"/>
                </a:cubicBezTo>
                <a:close/>
                <a:moveTo>
                  <a:pt x="328" y="213"/>
                </a:moveTo>
                <a:cubicBezTo>
                  <a:pt x="328" y="213"/>
                  <a:pt x="327" y="213"/>
                  <a:pt x="327" y="212"/>
                </a:cubicBezTo>
                <a:cubicBezTo>
                  <a:pt x="325" y="210"/>
                  <a:pt x="330" y="211"/>
                  <a:pt x="328" y="213"/>
                </a:cubicBezTo>
                <a:close/>
                <a:moveTo>
                  <a:pt x="326" y="141"/>
                </a:moveTo>
                <a:cubicBezTo>
                  <a:pt x="326" y="141"/>
                  <a:pt x="327" y="142"/>
                  <a:pt x="327" y="142"/>
                </a:cubicBezTo>
                <a:cubicBezTo>
                  <a:pt x="327" y="142"/>
                  <a:pt x="326" y="142"/>
                  <a:pt x="326" y="141"/>
                </a:cubicBezTo>
                <a:close/>
                <a:moveTo>
                  <a:pt x="340" y="128"/>
                </a:moveTo>
                <a:cubicBezTo>
                  <a:pt x="342" y="128"/>
                  <a:pt x="347" y="132"/>
                  <a:pt x="349" y="135"/>
                </a:cubicBezTo>
                <a:cubicBezTo>
                  <a:pt x="349" y="135"/>
                  <a:pt x="351" y="135"/>
                  <a:pt x="350" y="136"/>
                </a:cubicBezTo>
                <a:cubicBezTo>
                  <a:pt x="349" y="137"/>
                  <a:pt x="345" y="134"/>
                  <a:pt x="346" y="135"/>
                </a:cubicBezTo>
                <a:cubicBezTo>
                  <a:pt x="344" y="134"/>
                  <a:pt x="343" y="131"/>
                  <a:pt x="342" y="130"/>
                </a:cubicBezTo>
                <a:cubicBezTo>
                  <a:pt x="338" y="126"/>
                  <a:pt x="333" y="125"/>
                  <a:pt x="330" y="121"/>
                </a:cubicBezTo>
                <a:cubicBezTo>
                  <a:pt x="334" y="121"/>
                  <a:pt x="336" y="126"/>
                  <a:pt x="340" y="128"/>
                </a:cubicBezTo>
                <a:close/>
                <a:moveTo>
                  <a:pt x="331" y="113"/>
                </a:moveTo>
                <a:cubicBezTo>
                  <a:pt x="332" y="112"/>
                  <a:pt x="332" y="114"/>
                  <a:pt x="332" y="114"/>
                </a:cubicBezTo>
                <a:cubicBezTo>
                  <a:pt x="331" y="114"/>
                  <a:pt x="331" y="113"/>
                  <a:pt x="331" y="113"/>
                </a:cubicBezTo>
                <a:close/>
                <a:moveTo>
                  <a:pt x="335" y="82"/>
                </a:moveTo>
                <a:cubicBezTo>
                  <a:pt x="334" y="81"/>
                  <a:pt x="337" y="82"/>
                  <a:pt x="335" y="82"/>
                </a:cubicBezTo>
                <a:close/>
                <a:moveTo>
                  <a:pt x="337" y="101"/>
                </a:moveTo>
                <a:cubicBezTo>
                  <a:pt x="338" y="100"/>
                  <a:pt x="338" y="102"/>
                  <a:pt x="339" y="101"/>
                </a:cubicBezTo>
                <a:cubicBezTo>
                  <a:pt x="339" y="102"/>
                  <a:pt x="337" y="102"/>
                  <a:pt x="337" y="101"/>
                </a:cubicBezTo>
                <a:close/>
                <a:moveTo>
                  <a:pt x="355" y="124"/>
                </a:moveTo>
                <a:cubicBezTo>
                  <a:pt x="354" y="123"/>
                  <a:pt x="352" y="122"/>
                  <a:pt x="351" y="120"/>
                </a:cubicBezTo>
                <a:cubicBezTo>
                  <a:pt x="353" y="121"/>
                  <a:pt x="354" y="122"/>
                  <a:pt x="355" y="124"/>
                </a:cubicBezTo>
                <a:close/>
                <a:moveTo>
                  <a:pt x="353" y="90"/>
                </a:moveTo>
                <a:cubicBezTo>
                  <a:pt x="353" y="90"/>
                  <a:pt x="353" y="90"/>
                  <a:pt x="353" y="90"/>
                </a:cubicBezTo>
                <a:cubicBezTo>
                  <a:pt x="355" y="92"/>
                  <a:pt x="353" y="90"/>
                  <a:pt x="353" y="90"/>
                </a:cubicBezTo>
                <a:close/>
                <a:moveTo>
                  <a:pt x="366" y="123"/>
                </a:moveTo>
                <a:cubicBezTo>
                  <a:pt x="365" y="124"/>
                  <a:pt x="364" y="123"/>
                  <a:pt x="364" y="123"/>
                </a:cubicBezTo>
                <a:cubicBezTo>
                  <a:pt x="361" y="121"/>
                  <a:pt x="367" y="121"/>
                  <a:pt x="366" y="123"/>
                </a:cubicBezTo>
                <a:close/>
                <a:moveTo>
                  <a:pt x="365" y="109"/>
                </a:moveTo>
                <a:cubicBezTo>
                  <a:pt x="365" y="109"/>
                  <a:pt x="365" y="109"/>
                  <a:pt x="365" y="109"/>
                </a:cubicBezTo>
                <a:cubicBezTo>
                  <a:pt x="363" y="108"/>
                  <a:pt x="367" y="109"/>
                  <a:pt x="365" y="109"/>
                </a:cubicBezTo>
                <a:close/>
                <a:moveTo>
                  <a:pt x="364" y="93"/>
                </a:moveTo>
                <a:cubicBezTo>
                  <a:pt x="363" y="94"/>
                  <a:pt x="363" y="93"/>
                  <a:pt x="363" y="93"/>
                </a:cubicBezTo>
                <a:cubicBezTo>
                  <a:pt x="361" y="92"/>
                  <a:pt x="364" y="92"/>
                  <a:pt x="364" y="93"/>
                </a:cubicBezTo>
                <a:close/>
                <a:moveTo>
                  <a:pt x="363" y="131"/>
                </a:moveTo>
                <a:cubicBezTo>
                  <a:pt x="361" y="130"/>
                  <a:pt x="359" y="128"/>
                  <a:pt x="358" y="126"/>
                </a:cubicBezTo>
                <a:cubicBezTo>
                  <a:pt x="360" y="127"/>
                  <a:pt x="361" y="129"/>
                  <a:pt x="363" y="131"/>
                </a:cubicBezTo>
                <a:close/>
                <a:moveTo>
                  <a:pt x="368" y="604"/>
                </a:moveTo>
                <a:cubicBezTo>
                  <a:pt x="365" y="603"/>
                  <a:pt x="367" y="602"/>
                  <a:pt x="368" y="604"/>
                </a:cubicBezTo>
                <a:close/>
                <a:moveTo>
                  <a:pt x="367" y="364"/>
                </a:moveTo>
                <a:cubicBezTo>
                  <a:pt x="369" y="364"/>
                  <a:pt x="370" y="367"/>
                  <a:pt x="371" y="368"/>
                </a:cubicBezTo>
                <a:cubicBezTo>
                  <a:pt x="369" y="368"/>
                  <a:pt x="368" y="365"/>
                  <a:pt x="367" y="364"/>
                </a:cubicBezTo>
                <a:close/>
                <a:moveTo>
                  <a:pt x="367" y="638"/>
                </a:moveTo>
                <a:cubicBezTo>
                  <a:pt x="368" y="637"/>
                  <a:pt x="368" y="639"/>
                  <a:pt x="367" y="638"/>
                </a:cubicBezTo>
                <a:close/>
                <a:moveTo>
                  <a:pt x="373" y="642"/>
                </a:moveTo>
                <a:cubicBezTo>
                  <a:pt x="375" y="643"/>
                  <a:pt x="376" y="644"/>
                  <a:pt x="376" y="646"/>
                </a:cubicBezTo>
                <a:cubicBezTo>
                  <a:pt x="377" y="652"/>
                  <a:pt x="365" y="646"/>
                  <a:pt x="365" y="645"/>
                </a:cubicBezTo>
                <a:cubicBezTo>
                  <a:pt x="365" y="644"/>
                  <a:pt x="372" y="642"/>
                  <a:pt x="373" y="642"/>
                </a:cubicBezTo>
                <a:close/>
                <a:moveTo>
                  <a:pt x="374" y="562"/>
                </a:moveTo>
                <a:cubicBezTo>
                  <a:pt x="375" y="563"/>
                  <a:pt x="372" y="562"/>
                  <a:pt x="373" y="561"/>
                </a:cubicBezTo>
                <a:cubicBezTo>
                  <a:pt x="374" y="561"/>
                  <a:pt x="374" y="562"/>
                  <a:pt x="374" y="562"/>
                </a:cubicBezTo>
                <a:close/>
                <a:moveTo>
                  <a:pt x="374" y="444"/>
                </a:moveTo>
                <a:cubicBezTo>
                  <a:pt x="373" y="445"/>
                  <a:pt x="373" y="442"/>
                  <a:pt x="374" y="444"/>
                </a:cubicBezTo>
                <a:close/>
                <a:moveTo>
                  <a:pt x="372" y="582"/>
                </a:moveTo>
                <a:cubicBezTo>
                  <a:pt x="375" y="582"/>
                  <a:pt x="372" y="584"/>
                  <a:pt x="372" y="582"/>
                </a:cubicBezTo>
                <a:close/>
                <a:moveTo>
                  <a:pt x="371" y="374"/>
                </a:moveTo>
                <a:cubicBezTo>
                  <a:pt x="372" y="373"/>
                  <a:pt x="372" y="375"/>
                  <a:pt x="371" y="374"/>
                </a:cubicBezTo>
                <a:close/>
                <a:moveTo>
                  <a:pt x="365" y="654"/>
                </a:moveTo>
                <a:cubicBezTo>
                  <a:pt x="366" y="652"/>
                  <a:pt x="367" y="655"/>
                  <a:pt x="365" y="654"/>
                </a:cubicBezTo>
                <a:close/>
                <a:moveTo>
                  <a:pt x="366" y="661"/>
                </a:moveTo>
                <a:cubicBezTo>
                  <a:pt x="369" y="661"/>
                  <a:pt x="370" y="659"/>
                  <a:pt x="371" y="661"/>
                </a:cubicBezTo>
                <a:cubicBezTo>
                  <a:pt x="372" y="661"/>
                  <a:pt x="371" y="662"/>
                  <a:pt x="372" y="663"/>
                </a:cubicBezTo>
                <a:cubicBezTo>
                  <a:pt x="375" y="666"/>
                  <a:pt x="386" y="664"/>
                  <a:pt x="386" y="668"/>
                </a:cubicBezTo>
                <a:cubicBezTo>
                  <a:pt x="387" y="671"/>
                  <a:pt x="373" y="665"/>
                  <a:pt x="372" y="664"/>
                </a:cubicBezTo>
                <a:cubicBezTo>
                  <a:pt x="369" y="662"/>
                  <a:pt x="364" y="662"/>
                  <a:pt x="362" y="661"/>
                </a:cubicBezTo>
                <a:cubicBezTo>
                  <a:pt x="362" y="660"/>
                  <a:pt x="361" y="660"/>
                  <a:pt x="361" y="659"/>
                </a:cubicBezTo>
                <a:cubicBezTo>
                  <a:pt x="362" y="657"/>
                  <a:pt x="364" y="661"/>
                  <a:pt x="366" y="661"/>
                </a:cubicBezTo>
                <a:close/>
                <a:moveTo>
                  <a:pt x="377" y="623"/>
                </a:moveTo>
                <a:cubicBezTo>
                  <a:pt x="379" y="623"/>
                  <a:pt x="377" y="625"/>
                  <a:pt x="377" y="623"/>
                </a:cubicBezTo>
                <a:close/>
                <a:moveTo>
                  <a:pt x="385" y="646"/>
                </a:moveTo>
                <a:cubicBezTo>
                  <a:pt x="385" y="645"/>
                  <a:pt x="387" y="645"/>
                  <a:pt x="387" y="646"/>
                </a:cubicBezTo>
                <a:cubicBezTo>
                  <a:pt x="387" y="647"/>
                  <a:pt x="385" y="647"/>
                  <a:pt x="385" y="646"/>
                </a:cubicBezTo>
                <a:close/>
                <a:moveTo>
                  <a:pt x="387" y="661"/>
                </a:moveTo>
                <a:cubicBezTo>
                  <a:pt x="389" y="662"/>
                  <a:pt x="384" y="662"/>
                  <a:pt x="385" y="661"/>
                </a:cubicBezTo>
                <a:cubicBezTo>
                  <a:pt x="385" y="660"/>
                  <a:pt x="387" y="660"/>
                  <a:pt x="387" y="661"/>
                </a:cubicBezTo>
                <a:close/>
                <a:moveTo>
                  <a:pt x="385" y="654"/>
                </a:moveTo>
                <a:cubicBezTo>
                  <a:pt x="388" y="654"/>
                  <a:pt x="385" y="656"/>
                  <a:pt x="385" y="654"/>
                </a:cubicBezTo>
                <a:close/>
                <a:moveTo>
                  <a:pt x="380" y="671"/>
                </a:moveTo>
                <a:cubicBezTo>
                  <a:pt x="382" y="672"/>
                  <a:pt x="380" y="673"/>
                  <a:pt x="380" y="671"/>
                </a:cubicBezTo>
                <a:close/>
                <a:moveTo>
                  <a:pt x="379" y="676"/>
                </a:moveTo>
                <a:cubicBezTo>
                  <a:pt x="379" y="676"/>
                  <a:pt x="380" y="675"/>
                  <a:pt x="380" y="675"/>
                </a:cubicBezTo>
                <a:cubicBezTo>
                  <a:pt x="380" y="676"/>
                  <a:pt x="380" y="677"/>
                  <a:pt x="379" y="676"/>
                </a:cubicBezTo>
                <a:close/>
                <a:moveTo>
                  <a:pt x="378" y="669"/>
                </a:moveTo>
                <a:cubicBezTo>
                  <a:pt x="377" y="669"/>
                  <a:pt x="377" y="666"/>
                  <a:pt x="378" y="668"/>
                </a:cubicBezTo>
                <a:cubicBezTo>
                  <a:pt x="378" y="668"/>
                  <a:pt x="378" y="669"/>
                  <a:pt x="378" y="669"/>
                </a:cubicBezTo>
                <a:close/>
                <a:moveTo>
                  <a:pt x="366" y="677"/>
                </a:moveTo>
                <a:cubicBezTo>
                  <a:pt x="369" y="676"/>
                  <a:pt x="367" y="673"/>
                  <a:pt x="368" y="672"/>
                </a:cubicBezTo>
                <a:cubicBezTo>
                  <a:pt x="370" y="671"/>
                  <a:pt x="373" y="675"/>
                  <a:pt x="372" y="677"/>
                </a:cubicBezTo>
                <a:cubicBezTo>
                  <a:pt x="371" y="678"/>
                  <a:pt x="368" y="676"/>
                  <a:pt x="366" y="677"/>
                </a:cubicBezTo>
                <a:close/>
                <a:moveTo>
                  <a:pt x="369" y="695"/>
                </a:moveTo>
                <a:cubicBezTo>
                  <a:pt x="369" y="694"/>
                  <a:pt x="371" y="694"/>
                  <a:pt x="371" y="695"/>
                </a:cubicBezTo>
                <a:cubicBezTo>
                  <a:pt x="372" y="696"/>
                  <a:pt x="369" y="696"/>
                  <a:pt x="369" y="695"/>
                </a:cubicBezTo>
                <a:close/>
                <a:moveTo>
                  <a:pt x="365" y="733"/>
                </a:moveTo>
                <a:cubicBezTo>
                  <a:pt x="365" y="731"/>
                  <a:pt x="367" y="731"/>
                  <a:pt x="368" y="732"/>
                </a:cubicBezTo>
                <a:cubicBezTo>
                  <a:pt x="369" y="733"/>
                  <a:pt x="365" y="733"/>
                  <a:pt x="365" y="733"/>
                </a:cubicBezTo>
                <a:close/>
                <a:moveTo>
                  <a:pt x="364" y="734"/>
                </a:moveTo>
                <a:cubicBezTo>
                  <a:pt x="365" y="734"/>
                  <a:pt x="366" y="734"/>
                  <a:pt x="366" y="734"/>
                </a:cubicBezTo>
                <a:cubicBezTo>
                  <a:pt x="367" y="736"/>
                  <a:pt x="363" y="735"/>
                  <a:pt x="364" y="734"/>
                </a:cubicBezTo>
                <a:close/>
                <a:moveTo>
                  <a:pt x="363" y="683"/>
                </a:moveTo>
                <a:cubicBezTo>
                  <a:pt x="365" y="682"/>
                  <a:pt x="364" y="684"/>
                  <a:pt x="363" y="683"/>
                </a:cubicBezTo>
                <a:close/>
                <a:moveTo>
                  <a:pt x="361" y="684"/>
                </a:moveTo>
                <a:cubicBezTo>
                  <a:pt x="360" y="685"/>
                  <a:pt x="360" y="682"/>
                  <a:pt x="361" y="684"/>
                </a:cubicBezTo>
                <a:close/>
                <a:moveTo>
                  <a:pt x="360" y="465"/>
                </a:moveTo>
                <a:cubicBezTo>
                  <a:pt x="360" y="465"/>
                  <a:pt x="361" y="466"/>
                  <a:pt x="361" y="466"/>
                </a:cubicBezTo>
                <a:cubicBezTo>
                  <a:pt x="362" y="468"/>
                  <a:pt x="358" y="466"/>
                  <a:pt x="360" y="465"/>
                </a:cubicBezTo>
                <a:close/>
                <a:moveTo>
                  <a:pt x="361" y="695"/>
                </a:moveTo>
                <a:cubicBezTo>
                  <a:pt x="360" y="696"/>
                  <a:pt x="361" y="694"/>
                  <a:pt x="361" y="695"/>
                </a:cubicBezTo>
                <a:close/>
                <a:moveTo>
                  <a:pt x="364" y="650"/>
                </a:moveTo>
                <a:cubicBezTo>
                  <a:pt x="365" y="652"/>
                  <a:pt x="361" y="651"/>
                  <a:pt x="362" y="649"/>
                </a:cubicBezTo>
                <a:cubicBezTo>
                  <a:pt x="363" y="649"/>
                  <a:pt x="364" y="650"/>
                  <a:pt x="364" y="650"/>
                </a:cubicBezTo>
                <a:close/>
                <a:moveTo>
                  <a:pt x="365" y="376"/>
                </a:moveTo>
                <a:cubicBezTo>
                  <a:pt x="363" y="376"/>
                  <a:pt x="364" y="373"/>
                  <a:pt x="365" y="376"/>
                </a:cubicBezTo>
                <a:close/>
                <a:moveTo>
                  <a:pt x="361" y="355"/>
                </a:moveTo>
                <a:cubicBezTo>
                  <a:pt x="362" y="354"/>
                  <a:pt x="363" y="356"/>
                  <a:pt x="363" y="357"/>
                </a:cubicBezTo>
                <a:cubicBezTo>
                  <a:pt x="362" y="356"/>
                  <a:pt x="362" y="356"/>
                  <a:pt x="361" y="355"/>
                </a:cubicBezTo>
                <a:close/>
                <a:moveTo>
                  <a:pt x="356" y="702"/>
                </a:moveTo>
                <a:cubicBezTo>
                  <a:pt x="359" y="702"/>
                  <a:pt x="356" y="704"/>
                  <a:pt x="356" y="702"/>
                </a:cubicBezTo>
                <a:close/>
                <a:moveTo>
                  <a:pt x="356" y="683"/>
                </a:moveTo>
                <a:cubicBezTo>
                  <a:pt x="356" y="682"/>
                  <a:pt x="357" y="683"/>
                  <a:pt x="357" y="683"/>
                </a:cubicBezTo>
                <a:cubicBezTo>
                  <a:pt x="358" y="684"/>
                  <a:pt x="355" y="683"/>
                  <a:pt x="356" y="683"/>
                </a:cubicBezTo>
                <a:close/>
                <a:moveTo>
                  <a:pt x="359" y="708"/>
                </a:moveTo>
                <a:cubicBezTo>
                  <a:pt x="360" y="710"/>
                  <a:pt x="356" y="709"/>
                  <a:pt x="356" y="708"/>
                </a:cubicBezTo>
                <a:cubicBezTo>
                  <a:pt x="356" y="707"/>
                  <a:pt x="359" y="707"/>
                  <a:pt x="359" y="708"/>
                </a:cubicBezTo>
                <a:close/>
                <a:moveTo>
                  <a:pt x="358" y="153"/>
                </a:moveTo>
                <a:cubicBezTo>
                  <a:pt x="356" y="152"/>
                  <a:pt x="359" y="153"/>
                  <a:pt x="358" y="153"/>
                </a:cubicBezTo>
                <a:close/>
                <a:moveTo>
                  <a:pt x="358" y="538"/>
                </a:moveTo>
                <a:cubicBezTo>
                  <a:pt x="358" y="539"/>
                  <a:pt x="357" y="539"/>
                  <a:pt x="357" y="539"/>
                </a:cubicBezTo>
                <a:cubicBezTo>
                  <a:pt x="356" y="538"/>
                  <a:pt x="357" y="537"/>
                  <a:pt x="358" y="538"/>
                </a:cubicBezTo>
                <a:close/>
                <a:moveTo>
                  <a:pt x="359" y="673"/>
                </a:moveTo>
                <a:cubicBezTo>
                  <a:pt x="360" y="674"/>
                  <a:pt x="356" y="674"/>
                  <a:pt x="356" y="673"/>
                </a:cubicBezTo>
                <a:cubicBezTo>
                  <a:pt x="357" y="673"/>
                  <a:pt x="358" y="672"/>
                  <a:pt x="359" y="673"/>
                </a:cubicBezTo>
                <a:close/>
                <a:moveTo>
                  <a:pt x="359" y="678"/>
                </a:moveTo>
                <a:cubicBezTo>
                  <a:pt x="359" y="678"/>
                  <a:pt x="356" y="681"/>
                  <a:pt x="355" y="681"/>
                </a:cubicBezTo>
                <a:cubicBezTo>
                  <a:pt x="354" y="682"/>
                  <a:pt x="349" y="681"/>
                  <a:pt x="349" y="680"/>
                </a:cubicBezTo>
                <a:cubicBezTo>
                  <a:pt x="348" y="680"/>
                  <a:pt x="348" y="677"/>
                  <a:pt x="348" y="675"/>
                </a:cubicBezTo>
                <a:cubicBezTo>
                  <a:pt x="349" y="674"/>
                  <a:pt x="352" y="674"/>
                  <a:pt x="355" y="675"/>
                </a:cubicBezTo>
                <a:cubicBezTo>
                  <a:pt x="356" y="675"/>
                  <a:pt x="359" y="677"/>
                  <a:pt x="359" y="678"/>
                </a:cubicBezTo>
                <a:close/>
                <a:moveTo>
                  <a:pt x="354" y="738"/>
                </a:moveTo>
                <a:cubicBezTo>
                  <a:pt x="355" y="738"/>
                  <a:pt x="356" y="738"/>
                  <a:pt x="356" y="739"/>
                </a:cubicBezTo>
                <a:cubicBezTo>
                  <a:pt x="357" y="741"/>
                  <a:pt x="353" y="739"/>
                  <a:pt x="354" y="738"/>
                </a:cubicBezTo>
                <a:close/>
                <a:moveTo>
                  <a:pt x="354" y="757"/>
                </a:moveTo>
                <a:cubicBezTo>
                  <a:pt x="354" y="757"/>
                  <a:pt x="356" y="757"/>
                  <a:pt x="356" y="757"/>
                </a:cubicBezTo>
                <a:cubicBezTo>
                  <a:pt x="357" y="759"/>
                  <a:pt x="353" y="759"/>
                  <a:pt x="354" y="757"/>
                </a:cubicBezTo>
                <a:close/>
                <a:moveTo>
                  <a:pt x="349" y="683"/>
                </a:moveTo>
                <a:cubicBezTo>
                  <a:pt x="350" y="681"/>
                  <a:pt x="354" y="683"/>
                  <a:pt x="354" y="685"/>
                </a:cubicBezTo>
                <a:cubicBezTo>
                  <a:pt x="355" y="688"/>
                  <a:pt x="347" y="685"/>
                  <a:pt x="349" y="683"/>
                </a:cubicBezTo>
                <a:close/>
                <a:moveTo>
                  <a:pt x="348" y="704"/>
                </a:moveTo>
                <a:cubicBezTo>
                  <a:pt x="350" y="703"/>
                  <a:pt x="349" y="705"/>
                  <a:pt x="348" y="704"/>
                </a:cubicBezTo>
                <a:close/>
                <a:moveTo>
                  <a:pt x="352" y="646"/>
                </a:moveTo>
                <a:cubicBezTo>
                  <a:pt x="355" y="644"/>
                  <a:pt x="355" y="648"/>
                  <a:pt x="352" y="646"/>
                </a:cubicBezTo>
                <a:close/>
                <a:moveTo>
                  <a:pt x="354" y="388"/>
                </a:moveTo>
                <a:cubicBezTo>
                  <a:pt x="354" y="388"/>
                  <a:pt x="355" y="389"/>
                  <a:pt x="355" y="389"/>
                </a:cubicBezTo>
                <a:cubicBezTo>
                  <a:pt x="355" y="390"/>
                  <a:pt x="354" y="389"/>
                  <a:pt x="354" y="388"/>
                </a:cubicBezTo>
                <a:close/>
                <a:moveTo>
                  <a:pt x="354" y="626"/>
                </a:moveTo>
                <a:cubicBezTo>
                  <a:pt x="354" y="629"/>
                  <a:pt x="352" y="631"/>
                  <a:pt x="350" y="630"/>
                </a:cubicBezTo>
                <a:cubicBezTo>
                  <a:pt x="350" y="630"/>
                  <a:pt x="349" y="629"/>
                  <a:pt x="349" y="629"/>
                </a:cubicBezTo>
                <a:cubicBezTo>
                  <a:pt x="348" y="630"/>
                  <a:pt x="348" y="632"/>
                  <a:pt x="346" y="632"/>
                </a:cubicBezTo>
                <a:cubicBezTo>
                  <a:pt x="343" y="632"/>
                  <a:pt x="342" y="629"/>
                  <a:pt x="341" y="626"/>
                </a:cubicBezTo>
                <a:cubicBezTo>
                  <a:pt x="341" y="626"/>
                  <a:pt x="340" y="625"/>
                  <a:pt x="339" y="624"/>
                </a:cubicBezTo>
                <a:cubicBezTo>
                  <a:pt x="340" y="625"/>
                  <a:pt x="339" y="621"/>
                  <a:pt x="340" y="621"/>
                </a:cubicBezTo>
                <a:cubicBezTo>
                  <a:pt x="340" y="621"/>
                  <a:pt x="341" y="621"/>
                  <a:pt x="341" y="621"/>
                </a:cubicBezTo>
                <a:cubicBezTo>
                  <a:pt x="342" y="621"/>
                  <a:pt x="341" y="619"/>
                  <a:pt x="342" y="619"/>
                </a:cubicBezTo>
                <a:cubicBezTo>
                  <a:pt x="348" y="618"/>
                  <a:pt x="354" y="623"/>
                  <a:pt x="354" y="626"/>
                </a:cubicBezTo>
                <a:close/>
                <a:moveTo>
                  <a:pt x="346" y="657"/>
                </a:moveTo>
                <a:cubicBezTo>
                  <a:pt x="347" y="656"/>
                  <a:pt x="348" y="658"/>
                  <a:pt x="346" y="657"/>
                </a:cubicBezTo>
                <a:close/>
                <a:moveTo>
                  <a:pt x="341" y="652"/>
                </a:moveTo>
                <a:cubicBezTo>
                  <a:pt x="342" y="652"/>
                  <a:pt x="344" y="653"/>
                  <a:pt x="344" y="653"/>
                </a:cubicBezTo>
                <a:cubicBezTo>
                  <a:pt x="344" y="655"/>
                  <a:pt x="340" y="654"/>
                  <a:pt x="341" y="652"/>
                </a:cubicBezTo>
                <a:close/>
                <a:moveTo>
                  <a:pt x="332" y="599"/>
                </a:moveTo>
                <a:cubicBezTo>
                  <a:pt x="331" y="600"/>
                  <a:pt x="329" y="598"/>
                  <a:pt x="328" y="598"/>
                </a:cubicBezTo>
                <a:cubicBezTo>
                  <a:pt x="330" y="597"/>
                  <a:pt x="331" y="599"/>
                  <a:pt x="332" y="599"/>
                </a:cubicBezTo>
                <a:close/>
                <a:moveTo>
                  <a:pt x="328" y="470"/>
                </a:moveTo>
                <a:cubicBezTo>
                  <a:pt x="328" y="470"/>
                  <a:pt x="329" y="470"/>
                  <a:pt x="329" y="471"/>
                </a:cubicBezTo>
                <a:cubicBezTo>
                  <a:pt x="330" y="473"/>
                  <a:pt x="326" y="471"/>
                  <a:pt x="328" y="470"/>
                </a:cubicBezTo>
                <a:close/>
                <a:moveTo>
                  <a:pt x="331" y="572"/>
                </a:moveTo>
                <a:cubicBezTo>
                  <a:pt x="331" y="573"/>
                  <a:pt x="331" y="573"/>
                  <a:pt x="331" y="573"/>
                </a:cubicBezTo>
                <a:cubicBezTo>
                  <a:pt x="331" y="573"/>
                  <a:pt x="331" y="573"/>
                  <a:pt x="331" y="573"/>
                </a:cubicBezTo>
                <a:cubicBezTo>
                  <a:pt x="331" y="572"/>
                  <a:pt x="331" y="572"/>
                  <a:pt x="331" y="572"/>
                </a:cubicBezTo>
                <a:close/>
                <a:moveTo>
                  <a:pt x="334" y="652"/>
                </a:moveTo>
                <a:cubicBezTo>
                  <a:pt x="335" y="654"/>
                  <a:pt x="331" y="654"/>
                  <a:pt x="331" y="652"/>
                </a:cubicBezTo>
                <a:cubicBezTo>
                  <a:pt x="332" y="651"/>
                  <a:pt x="333" y="652"/>
                  <a:pt x="334" y="652"/>
                </a:cubicBezTo>
                <a:close/>
                <a:moveTo>
                  <a:pt x="334" y="375"/>
                </a:moveTo>
                <a:cubicBezTo>
                  <a:pt x="333" y="374"/>
                  <a:pt x="334" y="377"/>
                  <a:pt x="334" y="375"/>
                </a:cubicBezTo>
                <a:close/>
                <a:moveTo>
                  <a:pt x="331" y="609"/>
                </a:moveTo>
                <a:cubicBezTo>
                  <a:pt x="332" y="609"/>
                  <a:pt x="332" y="611"/>
                  <a:pt x="331" y="609"/>
                </a:cubicBezTo>
                <a:close/>
                <a:moveTo>
                  <a:pt x="331" y="720"/>
                </a:moveTo>
                <a:cubicBezTo>
                  <a:pt x="336" y="719"/>
                  <a:pt x="336" y="723"/>
                  <a:pt x="331" y="720"/>
                </a:cubicBezTo>
                <a:close/>
                <a:moveTo>
                  <a:pt x="332" y="660"/>
                </a:moveTo>
                <a:cubicBezTo>
                  <a:pt x="333" y="659"/>
                  <a:pt x="335" y="661"/>
                  <a:pt x="337" y="662"/>
                </a:cubicBezTo>
                <a:cubicBezTo>
                  <a:pt x="335" y="663"/>
                  <a:pt x="333" y="661"/>
                  <a:pt x="332" y="660"/>
                </a:cubicBezTo>
                <a:close/>
                <a:moveTo>
                  <a:pt x="334" y="653"/>
                </a:moveTo>
                <a:cubicBezTo>
                  <a:pt x="334" y="651"/>
                  <a:pt x="339" y="651"/>
                  <a:pt x="339" y="653"/>
                </a:cubicBezTo>
                <a:cubicBezTo>
                  <a:pt x="340" y="657"/>
                  <a:pt x="334" y="655"/>
                  <a:pt x="334" y="653"/>
                </a:cubicBezTo>
                <a:close/>
                <a:moveTo>
                  <a:pt x="337" y="184"/>
                </a:moveTo>
                <a:cubicBezTo>
                  <a:pt x="338" y="185"/>
                  <a:pt x="336" y="183"/>
                  <a:pt x="337" y="184"/>
                </a:cubicBezTo>
                <a:close/>
                <a:moveTo>
                  <a:pt x="338" y="594"/>
                </a:moveTo>
                <a:cubicBezTo>
                  <a:pt x="339" y="594"/>
                  <a:pt x="337" y="594"/>
                  <a:pt x="337" y="594"/>
                </a:cubicBezTo>
                <a:cubicBezTo>
                  <a:pt x="337" y="593"/>
                  <a:pt x="338" y="593"/>
                  <a:pt x="338" y="594"/>
                </a:cubicBezTo>
                <a:close/>
                <a:moveTo>
                  <a:pt x="337" y="603"/>
                </a:moveTo>
                <a:cubicBezTo>
                  <a:pt x="338" y="605"/>
                  <a:pt x="334" y="603"/>
                  <a:pt x="335" y="602"/>
                </a:cubicBezTo>
                <a:cubicBezTo>
                  <a:pt x="336" y="601"/>
                  <a:pt x="337" y="602"/>
                  <a:pt x="337" y="603"/>
                </a:cubicBezTo>
                <a:close/>
                <a:moveTo>
                  <a:pt x="342" y="350"/>
                </a:moveTo>
                <a:cubicBezTo>
                  <a:pt x="343" y="353"/>
                  <a:pt x="337" y="349"/>
                  <a:pt x="339" y="348"/>
                </a:cubicBezTo>
                <a:cubicBezTo>
                  <a:pt x="340" y="347"/>
                  <a:pt x="342" y="350"/>
                  <a:pt x="342" y="350"/>
                </a:cubicBezTo>
                <a:close/>
                <a:moveTo>
                  <a:pt x="339" y="147"/>
                </a:moveTo>
                <a:cubicBezTo>
                  <a:pt x="340" y="146"/>
                  <a:pt x="343" y="150"/>
                  <a:pt x="340" y="149"/>
                </a:cubicBezTo>
                <a:cubicBezTo>
                  <a:pt x="340" y="148"/>
                  <a:pt x="339" y="148"/>
                  <a:pt x="339" y="147"/>
                </a:cubicBezTo>
                <a:close/>
                <a:moveTo>
                  <a:pt x="340" y="607"/>
                </a:moveTo>
                <a:cubicBezTo>
                  <a:pt x="343" y="607"/>
                  <a:pt x="340" y="609"/>
                  <a:pt x="340" y="607"/>
                </a:cubicBezTo>
                <a:close/>
                <a:moveTo>
                  <a:pt x="339" y="475"/>
                </a:moveTo>
                <a:cubicBezTo>
                  <a:pt x="340" y="474"/>
                  <a:pt x="341" y="475"/>
                  <a:pt x="341" y="475"/>
                </a:cubicBezTo>
                <a:cubicBezTo>
                  <a:pt x="342" y="477"/>
                  <a:pt x="339" y="476"/>
                  <a:pt x="339" y="475"/>
                </a:cubicBezTo>
                <a:close/>
                <a:moveTo>
                  <a:pt x="339" y="735"/>
                </a:moveTo>
                <a:cubicBezTo>
                  <a:pt x="340" y="735"/>
                  <a:pt x="340" y="736"/>
                  <a:pt x="339" y="735"/>
                </a:cubicBezTo>
                <a:cubicBezTo>
                  <a:pt x="339" y="735"/>
                  <a:pt x="339" y="735"/>
                  <a:pt x="339" y="735"/>
                </a:cubicBezTo>
                <a:close/>
                <a:moveTo>
                  <a:pt x="344" y="348"/>
                </a:moveTo>
                <a:cubicBezTo>
                  <a:pt x="344" y="348"/>
                  <a:pt x="343" y="346"/>
                  <a:pt x="344" y="347"/>
                </a:cubicBezTo>
                <a:cubicBezTo>
                  <a:pt x="344" y="347"/>
                  <a:pt x="345" y="348"/>
                  <a:pt x="344" y="348"/>
                </a:cubicBezTo>
                <a:close/>
                <a:moveTo>
                  <a:pt x="346" y="610"/>
                </a:moveTo>
                <a:cubicBezTo>
                  <a:pt x="345" y="612"/>
                  <a:pt x="344" y="609"/>
                  <a:pt x="342" y="609"/>
                </a:cubicBezTo>
                <a:cubicBezTo>
                  <a:pt x="344" y="608"/>
                  <a:pt x="345" y="610"/>
                  <a:pt x="346" y="610"/>
                </a:cubicBezTo>
                <a:close/>
                <a:moveTo>
                  <a:pt x="344" y="176"/>
                </a:moveTo>
                <a:cubicBezTo>
                  <a:pt x="343" y="176"/>
                  <a:pt x="343" y="176"/>
                  <a:pt x="342" y="175"/>
                </a:cubicBezTo>
                <a:cubicBezTo>
                  <a:pt x="341" y="174"/>
                  <a:pt x="344" y="174"/>
                  <a:pt x="344" y="176"/>
                </a:cubicBezTo>
                <a:close/>
                <a:moveTo>
                  <a:pt x="347" y="192"/>
                </a:moveTo>
                <a:cubicBezTo>
                  <a:pt x="347" y="192"/>
                  <a:pt x="347" y="192"/>
                  <a:pt x="347" y="192"/>
                </a:cubicBezTo>
                <a:cubicBezTo>
                  <a:pt x="347" y="192"/>
                  <a:pt x="347" y="192"/>
                  <a:pt x="347" y="192"/>
                </a:cubicBezTo>
                <a:close/>
                <a:moveTo>
                  <a:pt x="348" y="594"/>
                </a:moveTo>
                <a:cubicBezTo>
                  <a:pt x="348" y="593"/>
                  <a:pt x="349" y="594"/>
                  <a:pt x="349" y="594"/>
                </a:cubicBezTo>
                <a:cubicBezTo>
                  <a:pt x="350" y="596"/>
                  <a:pt x="347" y="595"/>
                  <a:pt x="348" y="594"/>
                </a:cubicBezTo>
                <a:close/>
                <a:moveTo>
                  <a:pt x="348" y="564"/>
                </a:moveTo>
                <a:cubicBezTo>
                  <a:pt x="349" y="563"/>
                  <a:pt x="351" y="564"/>
                  <a:pt x="351" y="565"/>
                </a:cubicBezTo>
                <a:cubicBezTo>
                  <a:pt x="352" y="569"/>
                  <a:pt x="347" y="566"/>
                  <a:pt x="348" y="564"/>
                </a:cubicBezTo>
                <a:close/>
                <a:moveTo>
                  <a:pt x="349" y="471"/>
                </a:moveTo>
                <a:cubicBezTo>
                  <a:pt x="350" y="472"/>
                  <a:pt x="349" y="470"/>
                  <a:pt x="349" y="471"/>
                </a:cubicBezTo>
                <a:close/>
                <a:moveTo>
                  <a:pt x="348" y="85"/>
                </a:moveTo>
                <a:cubicBezTo>
                  <a:pt x="349" y="85"/>
                  <a:pt x="350" y="87"/>
                  <a:pt x="351" y="87"/>
                </a:cubicBezTo>
                <a:cubicBezTo>
                  <a:pt x="350" y="87"/>
                  <a:pt x="349" y="86"/>
                  <a:pt x="348" y="85"/>
                </a:cubicBezTo>
                <a:close/>
                <a:moveTo>
                  <a:pt x="330" y="414"/>
                </a:moveTo>
                <a:cubicBezTo>
                  <a:pt x="331" y="414"/>
                  <a:pt x="331" y="415"/>
                  <a:pt x="330" y="416"/>
                </a:cubicBezTo>
                <a:cubicBezTo>
                  <a:pt x="325" y="416"/>
                  <a:pt x="329" y="409"/>
                  <a:pt x="330" y="414"/>
                </a:cubicBezTo>
                <a:close/>
                <a:moveTo>
                  <a:pt x="328" y="177"/>
                </a:moveTo>
                <a:cubicBezTo>
                  <a:pt x="328" y="176"/>
                  <a:pt x="329" y="178"/>
                  <a:pt x="328" y="177"/>
                </a:cubicBezTo>
                <a:close/>
                <a:moveTo>
                  <a:pt x="328" y="658"/>
                </a:moveTo>
                <a:cubicBezTo>
                  <a:pt x="327" y="658"/>
                  <a:pt x="326" y="657"/>
                  <a:pt x="326" y="657"/>
                </a:cubicBezTo>
                <a:cubicBezTo>
                  <a:pt x="327" y="657"/>
                  <a:pt x="327" y="657"/>
                  <a:pt x="328" y="658"/>
                </a:cubicBezTo>
                <a:close/>
                <a:moveTo>
                  <a:pt x="326" y="743"/>
                </a:moveTo>
                <a:cubicBezTo>
                  <a:pt x="325" y="744"/>
                  <a:pt x="324" y="742"/>
                  <a:pt x="326" y="743"/>
                </a:cubicBezTo>
                <a:close/>
                <a:moveTo>
                  <a:pt x="325" y="755"/>
                </a:moveTo>
                <a:cubicBezTo>
                  <a:pt x="325" y="755"/>
                  <a:pt x="326" y="755"/>
                  <a:pt x="326" y="756"/>
                </a:cubicBezTo>
                <a:cubicBezTo>
                  <a:pt x="326" y="758"/>
                  <a:pt x="324" y="753"/>
                  <a:pt x="325" y="755"/>
                </a:cubicBezTo>
                <a:close/>
                <a:moveTo>
                  <a:pt x="325" y="738"/>
                </a:moveTo>
                <a:cubicBezTo>
                  <a:pt x="325" y="737"/>
                  <a:pt x="327" y="737"/>
                  <a:pt x="327" y="738"/>
                </a:cubicBezTo>
                <a:cubicBezTo>
                  <a:pt x="328" y="739"/>
                  <a:pt x="326" y="738"/>
                  <a:pt x="325" y="738"/>
                </a:cubicBezTo>
                <a:close/>
                <a:moveTo>
                  <a:pt x="325" y="124"/>
                </a:moveTo>
                <a:cubicBezTo>
                  <a:pt x="325" y="124"/>
                  <a:pt x="325" y="124"/>
                  <a:pt x="325" y="124"/>
                </a:cubicBezTo>
                <a:cubicBezTo>
                  <a:pt x="323" y="123"/>
                  <a:pt x="328" y="123"/>
                  <a:pt x="325" y="124"/>
                </a:cubicBezTo>
                <a:close/>
                <a:moveTo>
                  <a:pt x="326" y="382"/>
                </a:moveTo>
                <a:cubicBezTo>
                  <a:pt x="326" y="383"/>
                  <a:pt x="325" y="381"/>
                  <a:pt x="326" y="382"/>
                </a:cubicBezTo>
                <a:close/>
                <a:moveTo>
                  <a:pt x="326" y="596"/>
                </a:moveTo>
                <a:cubicBezTo>
                  <a:pt x="327" y="597"/>
                  <a:pt x="323" y="595"/>
                  <a:pt x="324" y="595"/>
                </a:cubicBezTo>
                <a:cubicBezTo>
                  <a:pt x="325" y="594"/>
                  <a:pt x="326" y="596"/>
                  <a:pt x="326" y="596"/>
                </a:cubicBezTo>
                <a:close/>
                <a:moveTo>
                  <a:pt x="326" y="759"/>
                </a:moveTo>
                <a:cubicBezTo>
                  <a:pt x="327" y="760"/>
                  <a:pt x="323" y="760"/>
                  <a:pt x="324" y="758"/>
                </a:cubicBezTo>
                <a:cubicBezTo>
                  <a:pt x="324" y="758"/>
                  <a:pt x="326" y="758"/>
                  <a:pt x="326" y="759"/>
                </a:cubicBezTo>
                <a:close/>
                <a:moveTo>
                  <a:pt x="321" y="769"/>
                </a:moveTo>
                <a:cubicBezTo>
                  <a:pt x="321" y="768"/>
                  <a:pt x="323" y="769"/>
                  <a:pt x="323" y="769"/>
                </a:cubicBezTo>
                <a:cubicBezTo>
                  <a:pt x="323" y="770"/>
                  <a:pt x="322" y="769"/>
                  <a:pt x="321" y="769"/>
                </a:cubicBezTo>
                <a:close/>
                <a:moveTo>
                  <a:pt x="323" y="770"/>
                </a:moveTo>
                <a:cubicBezTo>
                  <a:pt x="324" y="768"/>
                  <a:pt x="330" y="767"/>
                  <a:pt x="330" y="770"/>
                </a:cubicBezTo>
                <a:cubicBezTo>
                  <a:pt x="330" y="773"/>
                  <a:pt x="323" y="772"/>
                  <a:pt x="323" y="770"/>
                </a:cubicBezTo>
                <a:close/>
                <a:moveTo>
                  <a:pt x="336" y="777"/>
                </a:moveTo>
                <a:cubicBezTo>
                  <a:pt x="337" y="778"/>
                  <a:pt x="335" y="776"/>
                  <a:pt x="336" y="777"/>
                </a:cubicBezTo>
                <a:close/>
                <a:moveTo>
                  <a:pt x="326" y="757"/>
                </a:moveTo>
                <a:cubicBezTo>
                  <a:pt x="327" y="757"/>
                  <a:pt x="326" y="754"/>
                  <a:pt x="326" y="755"/>
                </a:cubicBezTo>
                <a:cubicBezTo>
                  <a:pt x="326" y="753"/>
                  <a:pt x="333" y="752"/>
                  <a:pt x="335" y="754"/>
                </a:cubicBezTo>
                <a:cubicBezTo>
                  <a:pt x="335" y="754"/>
                  <a:pt x="336" y="757"/>
                  <a:pt x="337" y="757"/>
                </a:cubicBezTo>
                <a:cubicBezTo>
                  <a:pt x="336" y="758"/>
                  <a:pt x="328" y="759"/>
                  <a:pt x="326" y="757"/>
                </a:cubicBezTo>
                <a:close/>
                <a:moveTo>
                  <a:pt x="335" y="748"/>
                </a:moveTo>
                <a:cubicBezTo>
                  <a:pt x="335" y="747"/>
                  <a:pt x="337" y="747"/>
                  <a:pt x="337" y="748"/>
                </a:cubicBezTo>
                <a:cubicBezTo>
                  <a:pt x="338" y="749"/>
                  <a:pt x="336" y="749"/>
                  <a:pt x="335" y="748"/>
                </a:cubicBezTo>
                <a:close/>
                <a:moveTo>
                  <a:pt x="328" y="744"/>
                </a:moveTo>
                <a:cubicBezTo>
                  <a:pt x="328" y="743"/>
                  <a:pt x="329" y="742"/>
                  <a:pt x="329" y="741"/>
                </a:cubicBezTo>
                <a:cubicBezTo>
                  <a:pt x="329" y="742"/>
                  <a:pt x="332" y="740"/>
                  <a:pt x="332" y="740"/>
                </a:cubicBezTo>
                <a:cubicBezTo>
                  <a:pt x="334" y="740"/>
                  <a:pt x="339" y="741"/>
                  <a:pt x="337" y="745"/>
                </a:cubicBezTo>
                <a:cubicBezTo>
                  <a:pt x="336" y="748"/>
                  <a:pt x="329" y="746"/>
                  <a:pt x="328" y="744"/>
                </a:cubicBezTo>
                <a:close/>
                <a:moveTo>
                  <a:pt x="339" y="774"/>
                </a:moveTo>
                <a:cubicBezTo>
                  <a:pt x="339" y="773"/>
                  <a:pt x="337" y="773"/>
                  <a:pt x="337" y="772"/>
                </a:cubicBezTo>
                <a:cubicBezTo>
                  <a:pt x="338" y="770"/>
                  <a:pt x="344" y="770"/>
                  <a:pt x="344" y="772"/>
                </a:cubicBezTo>
                <a:cubicBezTo>
                  <a:pt x="345" y="775"/>
                  <a:pt x="339" y="775"/>
                  <a:pt x="339" y="774"/>
                </a:cubicBezTo>
                <a:close/>
                <a:moveTo>
                  <a:pt x="353" y="716"/>
                </a:moveTo>
                <a:cubicBezTo>
                  <a:pt x="351" y="716"/>
                  <a:pt x="346" y="715"/>
                  <a:pt x="345" y="713"/>
                </a:cubicBezTo>
                <a:cubicBezTo>
                  <a:pt x="348" y="714"/>
                  <a:pt x="350" y="715"/>
                  <a:pt x="353" y="716"/>
                </a:cubicBezTo>
                <a:close/>
                <a:moveTo>
                  <a:pt x="345" y="744"/>
                </a:moveTo>
                <a:cubicBezTo>
                  <a:pt x="345" y="743"/>
                  <a:pt x="348" y="743"/>
                  <a:pt x="348" y="744"/>
                </a:cubicBezTo>
                <a:cubicBezTo>
                  <a:pt x="349" y="745"/>
                  <a:pt x="345" y="744"/>
                  <a:pt x="345" y="744"/>
                </a:cubicBezTo>
                <a:close/>
                <a:moveTo>
                  <a:pt x="345" y="734"/>
                </a:moveTo>
                <a:cubicBezTo>
                  <a:pt x="346" y="733"/>
                  <a:pt x="349" y="733"/>
                  <a:pt x="349" y="735"/>
                </a:cubicBezTo>
                <a:cubicBezTo>
                  <a:pt x="350" y="737"/>
                  <a:pt x="345" y="735"/>
                  <a:pt x="345" y="734"/>
                </a:cubicBezTo>
                <a:close/>
                <a:moveTo>
                  <a:pt x="349" y="764"/>
                </a:moveTo>
                <a:cubicBezTo>
                  <a:pt x="349" y="763"/>
                  <a:pt x="350" y="763"/>
                  <a:pt x="350" y="764"/>
                </a:cubicBezTo>
                <a:cubicBezTo>
                  <a:pt x="351" y="764"/>
                  <a:pt x="349" y="765"/>
                  <a:pt x="349" y="764"/>
                </a:cubicBezTo>
                <a:close/>
                <a:moveTo>
                  <a:pt x="350" y="725"/>
                </a:moveTo>
                <a:cubicBezTo>
                  <a:pt x="350" y="724"/>
                  <a:pt x="353" y="724"/>
                  <a:pt x="354" y="725"/>
                </a:cubicBezTo>
                <a:cubicBezTo>
                  <a:pt x="355" y="727"/>
                  <a:pt x="350" y="727"/>
                  <a:pt x="350" y="725"/>
                </a:cubicBezTo>
                <a:close/>
                <a:moveTo>
                  <a:pt x="353" y="770"/>
                </a:moveTo>
                <a:cubicBezTo>
                  <a:pt x="353" y="769"/>
                  <a:pt x="358" y="767"/>
                  <a:pt x="359" y="769"/>
                </a:cubicBezTo>
                <a:cubicBezTo>
                  <a:pt x="359" y="772"/>
                  <a:pt x="354" y="771"/>
                  <a:pt x="353" y="770"/>
                </a:cubicBezTo>
                <a:close/>
                <a:moveTo>
                  <a:pt x="359" y="772"/>
                </a:moveTo>
                <a:cubicBezTo>
                  <a:pt x="359" y="772"/>
                  <a:pt x="359" y="771"/>
                  <a:pt x="360" y="771"/>
                </a:cubicBezTo>
                <a:cubicBezTo>
                  <a:pt x="360" y="771"/>
                  <a:pt x="359" y="772"/>
                  <a:pt x="359" y="772"/>
                </a:cubicBezTo>
                <a:close/>
                <a:moveTo>
                  <a:pt x="360" y="723"/>
                </a:moveTo>
                <a:cubicBezTo>
                  <a:pt x="360" y="723"/>
                  <a:pt x="360" y="723"/>
                  <a:pt x="360" y="723"/>
                </a:cubicBezTo>
                <a:cubicBezTo>
                  <a:pt x="360" y="723"/>
                  <a:pt x="359" y="722"/>
                  <a:pt x="360" y="723"/>
                </a:cubicBezTo>
                <a:close/>
                <a:moveTo>
                  <a:pt x="361" y="721"/>
                </a:moveTo>
                <a:cubicBezTo>
                  <a:pt x="363" y="719"/>
                  <a:pt x="365" y="722"/>
                  <a:pt x="361" y="721"/>
                </a:cubicBezTo>
                <a:close/>
                <a:moveTo>
                  <a:pt x="356" y="717"/>
                </a:moveTo>
                <a:cubicBezTo>
                  <a:pt x="358" y="718"/>
                  <a:pt x="362" y="717"/>
                  <a:pt x="364" y="719"/>
                </a:cubicBezTo>
                <a:cubicBezTo>
                  <a:pt x="367" y="721"/>
                  <a:pt x="356" y="719"/>
                  <a:pt x="356" y="717"/>
                </a:cubicBezTo>
                <a:close/>
                <a:moveTo>
                  <a:pt x="365" y="760"/>
                </a:moveTo>
                <a:cubicBezTo>
                  <a:pt x="364" y="760"/>
                  <a:pt x="365" y="759"/>
                  <a:pt x="366" y="760"/>
                </a:cubicBezTo>
                <a:cubicBezTo>
                  <a:pt x="366" y="760"/>
                  <a:pt x="365" y="760"/>
                  <a:pt x="365" y="760"/>
                </a:cubicBezTo>
                <a:close/>
                <a:moveTo>
                  <a:pt x="368" y="740"/>
                </a:moveTo>
                <a:cubicBezTo>
                  <a:pt x="368" y="740"/>
                  <a:pt x="369" y="739"/>
                  <a:pt x="369" y="740"/>
                </a:cubicBezTo>
                <a:cubicBezTo>
                  <a:pt x="370" y="741"/>
                  <a:pt x="368" y="741"/>
                  <a:pt x="368" y="740"/>
                </a:cubicBezTo>
                <a:close/>
                <a:moveTo>
                  <a:pt x="364" y="737"/>
                </a:moveTo>
                <a:cubicBezTo>
                  <a:pt x="364" y="735"/>
                  <a:pt x="369" y="735"/>
                  <a:pt x="369" y="737"/>
                </a:cubicBezTo>
                <a:cubicBezTo>
                  <a:pt x="371" y="739"/>
                  <a:pt x="364" y="738"/>
                  <a:pt x="364" y="737"/>
                </a:cubicBezTo>
                <a:close/>
                <a:moveTo>
                  <a:pt x="370" y="740"/>
                </a:moveTo>
                <a:cubicBezTo>
                  <a:pt x="370" y="739"/>
                  <a:pt x="372" y="739"/>
                  <a:pt x="373" y="740"/>
                </a:cubicBezTo>
                <a:cubicBezTo>
                  <a:pt x="374" y="741"/>
                  <a:pt x="370" y="741"/>
                  <a:pt x="370" y="740"/>
                </a:cubicBezTo>
                <a:close/>
                <a:moveTo>
                  <a:pt x="371" y="748"/>
                </a:moveTo>
                <a:cubicBezTo>
                  <a:pt x="371" y="748"/>
                  <a:pt x="372" y="747"/>
                  <a:pt x="373" y="748"/>
                </a:cubicBezTo>
                <a:cubicBezTo>
                  <a:pt x="374" y="750"/>
                  <a:pt x="371" y="749"/>
                  <a:pt x="371" y="748"/>
                </a:cubicBezTo>
                <a:close/>
                <a:moveTo>
                  <a:pt x="373" y="754"/>
                </a:moveTo>
                <a:cubicBezTo>
                  <a:pt x="373" y="753"/>
                  <a:pt x="375" y="755"/>
                  <a:pt x="373" y="754"/>
                </a:cubicBezTo>
                <a:close/>
                <a:moveTo>
                  <a:pt x="375" y="726"/>
                </a:moveTo>
                <a:cubicBezTo>
                  <a:pt x="376" y="725"/>
                  <a:pt x="376" y="728"/>
                  <a:pt x="375" y="726"/>
                </a:cubicBezTo>
                <a:close/>
                <a:moveTo>
                  <a:pt x="375" y="708"/>
                </a:moveTo>
                <a:cubicBezTo>
                  <a:pt x="378" y="708"/>
                  <a:pt x="375" y="710"/>
                  <a:pt x="375" y="708"/>
                </a:cubicBezTo>
                <a:close/>
                <a:moveTo>
                  <a:pt x="376" y="704"/>
                </a:moveTo>
                <a:cubicBezTo>
                  <a:pt x="377" y="703"/>
                  <a:pt x="380" y="704"/>
                  <a:pt x="380" y="706"/>
                </a:cubicBezTo>
                <a:cubicBezTo>
                  <a:pt x="381" y="709"/>
                  <a:pt x="375" y="706"/>
                  <a:pt x="376" y="704"/>
                </a:cubicBezTo>
                <a:close/>
                <a:moveTo>
                  <a:pt x="380" y="746"/>
                </a:moveTo>
                <a:cubicBezTo>
                  <a:pt x="380" y="747"/>
                  <a:pt x="378" y="746"/>
                  <a:pt x="379" y="746"/>
                </a:cubicBezTo>
                <a:cubicBezTo>
                  <a:pt x="380" y="745"/>
                  <a:pt x="380" y="746"/>
                  <a:pt x="380" y="746"/>
                </a:cubicBezTo>
                <a:close/>
                <a:moveTo>
                  <a:pt x="378" y="716"/>
                </a:moveTo>
                <a:cubicBezTo>
                  <a:pt x="378" y="716"/>
                  <a:pt x="378" y="715"/>
                  <a:pt x="379" y="715"/>
                </a:cubicBezTo>
                <a:cubicBezTo>
                  <a:pt x="382" y="714"/>
                  <a:pt x="380" y="718"/>
                  <a:pt x="378" y="716"/>
                </a:cubicBezTo>
                <a:close/>
                <a:moveTo>
                  <a:pt x="380" y="749"/>
                </a:moveTo>
                <a:cubicBezTo>
                  <a:pt x="380" y="749"/>
                  <a:pt x="381" y="748"/>
                  <a:pt x="382" y="748"/>
                </a:cubicBezTo>
                <a:cubicBezTo>
                  <a:pt x="383" y="749"/>
                  <a:pt x="380" y="750"/>
                  <a:pt x="380" y="749"/>
                </a:cubicBezTo>
                <a:close/>
                <a:moveTo>
                  <a:pt x="381" y="734"/>
                </a:moveTo>
                <a:cubicBezTo>
                  <a:pt x="382" y="734"/>
                  <a:pt x="383" y="734"/>
                  <a:pt x="383" y="735"/>
                </a:cubicBezTo>
                <a:cubicBezTo>
                  <a:pt x="384" y="738"/>
                  <a:pt x="378" y="736"/>
                  <a:pt x="381" y="734"/>
                </a:cubicBezTo>
                <a:close/>
                <a:moveTo>
                  <a:pt x="384" y="754"/>
                </a:moveTo>
                <a:cubicBezTo>
                  <a:pt x="384" y="754"/>
                  <a:pt x="384" y="754"/>
                  <a:pt x="385" y="754"/>
                </a:cubicBezTo>
                <a:cubicBezTo>
                  <a:pt x="385" y="755"/>
                  <a:pt x="384" y="755"/>
                  <a:pt x="384" y="754"/>
                </a:cubicBezTo>
                <a:close/>
                <a:moveTo>
                  <a:pt x="386" y="712"/>
                </a:moveTo>
                <a:cubicBezTo>
                  <a:pt x="386" y="712"/>
                  <a:pt x="386" y="712"/>
                  <a:pt x="386" y="712"/>
                </a:cubicBezTo>
                <a:cubicBezTo>
                  <a:pt x="388" y="712"/>
                  <a:pt x="387" y="713"/>
                  <a:pt x="386" y="712"/>
                </a:cubicBezTo>
                <a:close/>
                <a:moveTo>
                  <a:pt x="387" y="722"/>
                </a:moveTo>
                <a:cubicBezTo>
                  <a:pt x="387" y="722"/>
                  <a:pt x="390" y="721"/>
                  <a:pt x="390" y="723"/>
                </a:cubicBezTo>
                <a:cubicBezTo>
                  <a:pt x="390" y="724"/>
                  <a:pt x="388" y="723"/>
                  <a:pt x="387" y="722"/>
                </a:cubicBezTo>
                <a:close/>
                <a:moveTo>
                  <a:pt x="389" y="709"/>
                </a:moveTo>
                <a:cubicBezTo>
                  <a:pt x="387" y="709"/>
                  <a:pt x="387" y="707"/>
                  <a:pt x="389" y="709"/>
                </a:cubicBezTo>
                <a:close/>
                <a:moveTo>
                  <a:pt x="391" y="719"/>
                </a:moveTo>
                <a:cubicBezTo>
                  <a:pt x="391" y="719"/>
                  <a:pt x="391" y="720"/>
                  <a:pt x="391" y="720"/>
                </a:cubicBezTo>
                <a:cubicBezTo>
                  <a:pt x="390" y="720"/>
                  <a:pt x="391" y="719"/>
                  <a:pt x="391" y="719"/>
                </a:cubicBezTo>
                <a:close/>
                <a:moveTo>
                  <a:pt x="391" y="736"/>
                </a:moveTo>
                <a:cubicBezTo>
                  <a:pt x="389" y="735"/>
                  <a:pt x="393" y="737"/>
                  <a:pt x="391" y="736"/>
                </a:cubicBezTo>
                <a:close/>
                <a:moveTo>
                  <a:pt x="390" y="565"/>
                </a:moveTo>
                <a:cubicBezTo>
                  <a:pt x="391" y="567"/>
                  <a:pt x="389" y="563"/>
                  <a:pt x="390" y="565"/>
                </a:cubicBezTo>
                <a:close/>
                <a:moveTo>
                  <a:pt x="390" y="396"/>
                </a:moveTo>
                <a:cubicBezTo>
                  <a:pt x="389" y="395"/>
                  <a:pt x="391" y="397"/>
                  <a:pt x="390" y="396"/>
                </a:cubicBezTo>
                <a:close/>
                <a:moveTo>
                  <a:pt x="398" y="675"/>
                </a:moveTo>
                <a:cubicBezTo>
                  <a:pt x="398" y="675"/>
                  <a:pt x="397" y="676"/>
                  <a:pt x="397" y="677"/>
                </a:cubicBezTo>
                <a:cubicBezTo>
                  <a:pt x="397" y="679"/>
                  <a:pt x="403" y="680"/>
                  <a:pt x="405" y="682"/>
                </a:cubicBezTo>
                <a:cubicBezTo>
                  <a:pt x="408" y="684"/>
                  <a:pt x="411" y="686"/>
                  <a:pt x="413" y="688"/>
                </a:cubicBezTo>
                <a:cubicBezTo>
                  <a:pt x="407" y="687"/>
                  <a:pt x="401" y="679"/>
                  <a:pt x="396" y="677"/>
                </a:cubicBezTo>
                <a:cubicBezTo>
                  <a:pt x="392" y="676"/>
                  <a:pt x="389" y="677"/>
                  <a:pt x="390" y="671"/>
                </a:cubicBezTo>
                <a:cubicBezTo>
                  <a:pt x="392" y="673"/>
                  <a:pt x="397" y="671"/>
                  <a:pt x="398" y="675"/>
                </a:cubicBezTo>
                <a:close/>
                <a:moveTo>
                  <a:pt x="391" y="523"/>
                </a:moveTo>
                <a:cubicBezTo>
                  <a:pt x="392" y="523"/>
                  <a:pt x="392" y="524"/>
                  <a:pt x="393" y="525"/>
                </a:cubicBezTo>
                <a:cubicBezTo>
                  <a:pt x="392" y="525"/>
                  <a:pt x="391" y="523"/>
                  <a:pt x="391" y="523"/>
                </a:cubicBezTo>
                <a:close/>
                <a:moveTo>
                  <a:pt x="402" y="645"/>
                </a:moveTo>
                <a:cubicBezTo>
                  <a:pt x="402" y="646"/>
                  <a:pt x="397" y="644"/>
                  <a:pt x="398" y="644"/>
                </a:cubicBezTo>
                <a:cubicBezTo>
                  <a:pt x="399" y="643"/>
                  <a:pt x="401" y="645"/>
                  <a:pt x="402" y="645"/>
                </a:cubicBezTo>
                <a:close/>
                <a:moveTo>
                  <a:pt x="401" y="387"/>
                </a:moveTo>
                <a:cubicBezTo>
                  <a:pt x="402" y="388"/>
                  <a:pt x="400" y="385"/>
                  <a:pt x="401" y="387"/>
                </a:cubicBezTo>
                <a:close/>
                <a:moveTo>
                  <a:pt x="408" y="130"/>
                </a:moveTo>
                <a:cubicBezTo>
                  <a:pt x="407" y="131"/>
                  <a:pt x="406" y="130"/>
                  <a:pt x="406" y="129"/>
                </a:cubicBezTo>
                <a:cubicBezTo>
                  <a:pt x="407" y="129"/>
                  <a:pt x="407" y="130"/>
                  <a:pt x="408" y="130"/>
                </a:cubicBezTo>
                <a:close/>
                <a:moveTo>
                  <a:pt x="406" y="94"/>
                </a:moveTo>
                <a:cubicBezTo>
                  <a:pt x="407" y="94"/>
                  <a:pt x="407" y="94"/>
                  <a:pt x="408" y="95"/>
                </a:cubicBezTo>
                <a:cubicBezTo>
                  <a:pt x="407" y="95"/>
                  <a:pt x="406" y="95"/>
                  <a:pt x="406" y="94"/>
                </a:cubicBezTo>
                <a:close/>
                <a:moveTo>
                  <a:pt x="412" y="602"/>
                </a:moveTo>
                <a:cubicBezTo>
                  <a:pt x="413" y="605"/>
                  <a:pt x="408" y="603"/>
                  <a:pt x="407" y="602"/>
                </a:cubicBezTo>
                <a:cubicBezTo>
                  <a:pt x="407" y="599"/>
                  <a:pt x="412" y="600"/>
                  <a:pt x="412" y="602"/>
                </a:cubicBezTo>
                <a:close/>
                <a:moveTo>
                  <a:pt x="409" y="131"/>
                </a:moveTo>
                <a:cubicBezTo>
                  <a:pt x="409" y="132"/>
                  <a:pt x="408" y="130"/>
                  <a:pt x="409" y="131"/>
                </a:cubicBezTo>
                <a:close/>
                <a:moveTo>
                  <a:pt x="421" y="663"/>
                </a:moveTo>
                <a:cubicBezTo>
                  <a:pt x="423" y="664"/>
                  <a:pt x="437" y="669"/>
                  <a:pt x="438" y="671"/>
                </a:cubicBezTo>
                <a:cubicBezTo>
                  <a:pt x="438" y="673"/>
                  <a:pt x="434" y="671"/>
                  <a:pt x="433" y="670"/>
                </a:cubicBezTo>
                <a:cubicBezTo>
                  <a:pt x="431" y="669"/>
                  <a:pt x="417" y="663"/>
                  <a:pt x="417" y="661"/>
                </a:cubicBezTo>
                <a:cubicBezTo>
                  <a:pt x="416" y="659"/>
                  <a:pt x="421" y="663"/>
                  <a:pt x="421" y="663"/>
                </a:cubicBezTo>
                <a:close/>
                <a:moveTo>
                  <a:pt x="420" y="624"/>
                </a:moveTo>
                <a:cubicBezTo>
                  <a:pt x="420" y="623"/>
                  <a:pt x="421" y="624"/>
                  <a:pt x="421" y="625"/>
                </a:cubicBezTo>
                <a:cubicBezTo>
                  <a:pt x="421" y="626"/>
                  <a:pt x="419" y="624"/>
                  <a:pt x="420" y="624"/>
                </a:cubicBezTo>
                <a:close/>
                <a:moveTo>
                  <a:pt x="422" y="659"/>
                </a:moveTo>
                <a:cubicBezTo>
                  <a:pt x="422" y="659"/>
                  <a:pt x="423" y="659"/>
                  <a:pt x="423" y="659"/>
                </a:cubicBezTo>
                <a:cubicBezTo>
                  <a:pt x="423" y="661"/>
                  <a:pt x="421" y="659"/>
                  <a:pt x="422" y="659"/>
                </a:cubicBezTo>
                <a:close/>
                <a:moveTo>
                  <a:pt x="435" y="515"/>
                </a:moveTo>
                <a:cubicBezTo>
                  <a:pt x="435" y="516"/>
                  <a:pt x="435" y="517"/>
                  <a:pt x="436" y="518"/>
                </a:cubicBezTo>
                <a:cubicBezTo>
                  <a:pt x="437" y="521"/>
                  <a:pt x="441" y="526"/>
                  <a:pt x="445" y="530"/>
                </a:cubicBezTo>
                <a:cubicBezTo>
                  <a:pt x="448" y="533"/>
                  <a:pt x="451" y="534"/>
                  <a:pt x="453" y="537"/>
                </a:cubicBezTo>
                <a:cubicBezTo>
                  <a:pt x="453" y="537"/>
                  <a:pt x="453" y="538"/>
                  <a:pt x="453" y="539"/>
                </a:cubicBezTo>
                <a:cubicBezTo>
                  <a:pt x="452" y="539"/>
                  <a:pt x="447" y="534"/>
                  <a:pt x="446" y="532"/>
                </a:cubicBezTo>
                <a:cubicBezTo>
                  <a:pt x="444" y="530"/>
                  <a:pt x="442" y="528"/>
                  <a:pt x="440" y="526"/>
                </a:cubicBezTo>
                <a:cubicBezTo>
                  <a:pt x="438" y="524"/>
                  <a:pt x="437" y="519"/>
                  <a:pt x="434" y="518"/>
                </a:cubicBezTo>
                <a:cubicBezTo>
                  <a:pt x="434" y="518"/>
                  <a:pt x="432" y="519"/>
                  <a:pt x="431" y="519"/>
                </a:cubicBezTo>
                <a:cubicBezTo>
                  <a:pt x="427" y="517"/>
                  <a:pt x="431" y="510"/>
                  <a:pt x="435" y="515"/>
                </a:cubicBezTo>
                <a:close/>
                <a:moveTo>
                  <a:pt x="434" y="370"/>
                </a:moveTo>
                <a:cubicBezTo>
                  <a:pt x="435" y="370"/>
                  <a:pt x="436" y="372"/>
                  <a:pt x="436" y="373"/>
                </a:cubicBezTo>
                <a:cubicBezTo>
                  <a:pt x="435" y="373"/>
                  <a:pt x="435" y="371"/>
                  <a:pt x="434" y="370"/>
                </a:cubicBezTo>
                <a:close/>
                <a:moveTo>
                  <a:pt x="437" y="135"/>
                </a:moveTo>
                <a:cubicBezTo>
                  <a:pt x="437" y="135"/>
                  <a:pt x="438" y="135"/>
                  <a:pt x="438" y="136"/>
                </a:cubicBezTo>
                <a:cubicBezTo>
                  <a:pt x="438" y="136"/>
                  <a:pt x="437" y="136"/>
                  <a:pt x="437" y="135"/>
                </a:cubicBezTo>
                <a:close/>
                <a:moveTo>
                  <a:pt x="448" y="408"/>
                </a:moveTo>
                <a:cubicBezTo>
                  <a:pt x="449" y="411"/>
                  <a:pt x="445" y="407"/>
                  <a:pt x="446" y="406"/>
                </a:cubicBezTo>
                <a:cubicBezTo>
                  <a:pt x="447" y="406"/>
                  <a:pt x="448" y="408"/>
                  <a:pt x="448" y="408"/>
                </a:cubicBezTo>
                <a:close/>
                <a:moveTo>
                  <a:pt x="448" y="167"/>
                </a:moveTo>
                <a:cubicBezTo>
                  <a:pt x="449" y="168"/>
                  <a:pt x="446" y="166"/>
                  <a:pt x="448" y="167"/>
                </a:cubicBezTo>
                <a:close/>
                <a:moveTo>
                  <a:pt x="447" y="435"/>
                </a:moveTo>
                <a:cubicBezTo>
                  <a:pt x="448" y="435"/>
                  <a:pt x="449" y="436"/>
                  <a:pt x="449" y="438"/>
                </a:cubicBezTo>
                <a:cubicBezTo>
                  <a:pt x="449" y="439"/>
                  <a:pt x="448" y="440"/>
                  <a:pt x="447" y="440"/>
                </a:cubicBezTo>
                <a:cubicBezTo>
                  <a:pt x="442" y="441"/>
                  <a:pt x="444" y="433"/>
                  <a:pt x="447" y="435"/>
                </a:cubicBezTo>
                <a:close/>
                <a:moveTo>
                  <a:pt x="446" y="515"/>
                </a:moveTo>
                <a:cubicBezTo>
                  <a:pt x="446" y="514"/>
                  <a:pt x="446" y="515"/>
                  <a:pt x="446" y="515"/>
                </a:cubicBezTo>
                <a:close/>
                <a:moveTo>
                  <a:pt x="445" y="441"/>
                </a:moveTo>
                <a:cubicBezTo>
                  <a:pt x="445" y="443"/>
                  <a:pt x="444" y="439"/>
                  <a:pt x="445" y="441"/>
                </a:cubicBezTo>
                <a:close/>
                <a:moveTo>
                  <a:pt x="445" y="494"/>
                </a:moveTo>
                <a:cubicBezTo>
                  <a:pt x="445" y="494"/>
                  <a:pt x="444" y="495"/>
                  <a:pt x="444" y="495"/>
                </a:cubicBezTo>
                <a:cubicBezTo>
                  <a:pt x="443" y="494"/>
                  <a:pt x="444" y="493"/>
                  <a:pt x="445" y="494"/>
                </a:cubicBezTo>
                <a:close/>
                <a:moveTo>
                  <a:pt x="452" y="150"/>
                </a:moveTo>
                <a:cubicBezTo>
                  <a:pt x="452" y="150"/>
                  <a:pt x="452" y="150"/>
                  <a:pt x="452" y="150"/>
                </a:cubicBezTo>
                <a:cubicBezTo>
                  <a:pt x="452" y="150"/>
                  <a:pt x="452" y="150"/>
                  <a:pt x="452" y="150"/>
                </a:cubicBezTo>
                <a:cubicBezTo>
                  <a:pt x="452" y="150"/>
                  <a:pt x="452" y="150"/>
                  <a:pt x="452" y="150"/>
                </a:cubicBezTo>
                <a:close/>
                <a:moveTo>
                  <a:pt x="456" y="548"/>
                </a:moveTo>
                <a:cubicBezTo>
                  <a:pt x="455" y="548"/>
                  <a:pt x="454" y="546"/>
                  <a:pt x="454" y="546"/>
                </a:cubicBezTo>
                <a:cubicBezTo>
                  <a:pt x="455" y="546"/>
                  <a:pt x="455" y="547"/>
                  <a:pt x="456" y="548"/>
                </a:cubicBezTo>
                <a:close/>
                <a:moveTo>
                  <a:pt x="454" y="436"/>
                </a:moveTo>
                <a:cubicBezTo>
                  <a:pt x="454" y="436"/>
                  <a:pt x="454" y="436"/>
                  <a:pt x="454" y="436"/>
                </a:cubicBezTo>
                <a:cubicBezTo>
                  <a:pt x="455" y="437"/>
                  <a:pt x="454" y="436"/>
                  <a:pt x="454" y="436"/>
                </a:cubicBezTo>
                <a:close/>
                <a:moveTo>
                  <a:pt x="459" y="622"/>
                </a:moveTo>
                <a:cubicBezTo>
                  <a:pt x="459" y="623"/>
                  <a:pt x="459" y="624"/>
                  <a:pt x="457" y="623"/>
                </a:cubicBezTo>
                <a:cubicBezTo>
                  <a:pt x="455" y="622"/>
                  <a:pt x="448" y="615"/>
                  <a:pt x="448" y="614"/>
                </a:cubicBezTo>
                <a:cubicBezTo>
                  <a:pt x="450" y="613"/>
                  <a:pt x="451" y="617"/>
                  <a:pt x="452" y="617"/>
                </a:cubicBezTo>
                <a:cubicBezTo>
                  <a:pt x="454" y="619"/>
                  <a:pt x="459" y="619"/>
                  <a:pt x="459" y="622"/>
                </a:cubicBezTo>
                <a:close/>
                <a:moveTo>
                  <a:pt x="458" y="565"/>
                </a:moveTo>
                <a:cubicBezTo>
                  <a:pt x="456" y="564"/>
                  <a:pt x="457" y="563"/>
                  <a:pt x="458" y="565"/>
                </a:cubicBezTo>
                <a:close/>
                <a:moveTo>
                  <a:pt x="459" y="565"/>
                </a:moveTo>
                <a:cubicBezTo>
                  <a:pt x="460" y="565"/>
                  <a:pt x="458" y="567"/>
                  <a:pt x="459" y="565"/>
                </a:cubicBezTo>
                <a:close/>
                <a:moveTo>
                  <a:pt x="459" y="642"/>
                </a:moveTo>
                <a:cubicBezTo>
                  <a:pt x="459" y="642"/>
                  <a:pt x="458" y="641"/>
                  <a:pt x="458" y="641"/>
                </a:cubicBezTo>
                <a:cubicBezTo>
                  <a:pt x="458" y="640"/>
                  <a:pt x="459" y="641"/>
                  <a:pt x="459" y="642"/>
                </a:cubicBezTo>
                <a:close/>
                <a:moveTo>
                  <a:pt x="454" y="648"/>
                </a:moveTo>
                <a:cubicBezTo>
                  <a:pt x="455" y="648"/>
                  <a:pt x="457" y="649"/>
                  <a:pt x="457" y="649"/>
                </a:cubicBezTo>
                <a:cubicBezTo>
                  <a:pt x="458" y="652"/>
                  <a:pt x="453" y="650"/>
                  <a:pt x="454" y="648"/>
                </a:cubicBezTo>
                <a:close/>
                <a:moveTo>
                  <a:pt x="454" y="659"/>
                </a:moveTo>
                <a:cubicBezTo>
                  <a:pt x="454" y="659"/>
                  <a:pt x="455" y="658"/>
                  <a:pt x="456" y="659"/>
                </a:cubicBezTo>
                <a:cubicBezTo>
                  <a:pt x="457" y="659"/>
                  <a:pt x="455" y="660"/>
                  <a:pt x="454" y="659"/>
                </a:cubicBezTo>
                <a:close/>
                <a:moveTo>
                  <a:pt x="452" y="632"/>
                </a:moveTo>
                <a:cubicBezTo>
                  <a:pt x="452" y="632"/>
                  <a:pt x="453" y="632"/>
                  <a:pt x="453" y="633"/>
                </a:cubicBezTo>
                <a:cubicBezTo>
                  <a:pt x="454" y="635"/>
                  <a:pt x="450" y="634"/>
                  <a:pt x="452" y="632"/>
                </a:cubicBezTo>
                <a:close/>
                <a:moveTo>
                  <a:pt x="449" y="622"/>
                </a:moveTo>
                <a:cubicBezTo>
                  <a:pt x="449" y="622"/>
                  <a:pt x="450" y="622"/>
                  <a:pt x="450" y="623"/>
                </a:cubicBezTo>
                <a:cubicBezTo>
                  <a:pt x="451" y="624"/>
                  <a:pt x="449" y="623"/>
                  <a:pt x="449" y="622"/>
                </a:cubicBezTo>
                <a:close/>
                <a:moveTo>
                  <a:pt x="446" y="640"/>
                </a:moveTo>
                <a:cubicBezTo>
                  <a:pt x="446" y="640"/>
                  <a:pt x="444" y="639"/>
                  <a:pt x="444" y="639"/>
                </a:cubicBezTo>
                <a:cubicBezTo>
                  <a:pt x="445" y="639"/>
                  <a:pt x="446" y="640"/>
                  <a:pt x="446" y="640"/>
                </a:cubicBezTo>
                <a:close/>
                <a:moveTo>
                  <a:pt x="445" y="602"/>
                </a:moveTo>
                <a:cubicBezTo>
                  <a:pt x="447" y="601"/>
                  <a:pt x="447" y="603"/>
                  <a:pt x="445" y="602"/>
                </a:cubicBezTo>
                <a:close/>
                <a:moveTo>
                  <a:pt x="444" y="571"/>
                </a:moveTo>
                <a:cubicBezTo>
                  <a:pt x="446" y="569"/>
                  <a:pt x="449" y="573"/>
                  <a:pt x="449" y="574"/>
                </a:cubicBezTo>
                <a:cubicBezTo>
                  <a:pt x="449" y="579"/>
                  <a:pt x="441" y="574"/>
                  <a:pt x="444" y="571"/>
                </a:cubicBezTo>
                <a:close/>
                <a:moveTo>
                  <a:pt x="429" y="648"/>
                </a:moveTo>
                <a:cubicBezTo>
                  <a:pt x="432" y="648"/>
                  <a:pt x="434" y="647"/>
                  <a:pt x="436" y="649"/>
                </a:cubicBezTo>
                <a:cubicBezTo>
                  <a:pt x="437" y="650"/>
                  <a:pt x="437" y="652"/>
                  <a:pt x="437" y="652"/>
                </a:cubicBezTo>
                <a:cubicBezTo>
                  <a:pt x="438" y="654"/>
                  <a:pt x="441" y="652"/>
                  <a:pt x="442" y="654"/>
                </a:cubicBezTo>
                <a:cubicBezTo>
                  <a:pt x="443" y="657"/>
                  <a:pt x="439" y="658"/>
                  <a:pt x="439" y="658"/>
                </a:cubicBezTo>
                <a:cubicBezTo>
                  <a:pt x="436" y="659"/>
                  <a:pt x="435" y="653"/>
                  <a:pt x="431" y="654"/>
                </a:cubicBezTo>
                <a:cubicBezTo>
                  <a:pt x="430" y="654"/>
                  <a:pt x="429" y="655"/>
                  <a:pt x="428" y="654"/>
                </a:cubicBezTo>
                <a:cubicBezTo>
                  <a:pt x="432" y="653"/>
                  <a:pt x="424" y="648"/>
                  <a:pt x="429" y="648"/>
                </a:cubicBezTo>
                <a:close/>
                <a:moveTo>
                  <a:pt x="428" y="646"/>
                </a:moveTo>
                <a:cubicBezTo>
                  <a:pt x="428" y="646"/>
                  <a:pt x="428" y="646"/>
                  <a:pt x="428" y="646"/>
                </a:cubicBezTo>
                <a:cubicBezTo>
                  <a:pt x="430" y="647"/>
                  <a:pt x="426" y="646"/>
                  <a:pt x="428" y="646"/>
                </a:cubicBezTo>
                <a:close/>
                <a:moveTo>
                  <a:pt x="426" y="638"/>
                </a:moveTo>
                <a:cubicBezTo>
                  <a:pt x="427" y="637"/>
                  <a:pt x="427" y="638"/>
                  <a:pt x="427" y="638"/>
                </a:cubicBezTo>
                <a:cubicBezTo>
                  <a:pt x="428" y="639"/>
                  <a:pt x="426" y="639"/>
                  <a:pt x="426" y="638"/>
                </a:cubicBezTo>
                <a:close/>
                <a:moveTo>
                  <a:pt x="429" y="628"/>
                </a:moveTo>
                <a:cubicBezTo>
                  <a:pt x="429" y="627"/>
                  <a:pt x="431" y="628"/>
                  <a:pt x="432" y="627"/>
                </a:cubicBezTo>
                <a:cubicBezTo>
                  <a:pt x="433" y="625"/>
                  <a:pt x="437" y="628"/>
                  <a:pt x="437" y="630"/>
                </a:cubicBezTo>
                <a:cubicBezTo>
                  <a:pt x="437" y="634"/>
                  <a:pt x="435" y="632"/>
                  <a:pt x="433" y="633"/>
                </a:cubicBezTo>
                <a:cubicBezTo>
                  <a:pt x="434" y="633"/>
                  <a:pt x="432" y="634"/>
                  <a:pt x="432" y="634"/>
                </a:cubicBezTo>
                <a:cubicBezTo>
                  <a:pt x="430" y="633"/>
                  <a:pt x="428" y="630"/>
                  <a:pt x="429" y="628"/>
                </a:cubicBezTo>
                <a:close/>
                <a:moveTo>
                  <a:pt x="429" y="579"/>
                </a:moveTo>
                <a:cubicBezTo>
                  <a:pt x="430" y="579"/>
                  <a:pt x="429" y="581"/>
                  <a:pt x="429" y="580"/>
                </a:cubicBezTo>
                <a:cubicBezTo>
                  <a:pt x="429" y="580"/>
                  <a:pt x="429" y="579"/>
                  <a:pt x="429" y="579"/>
                </a:cubicBezTo>
                <a:close/>
                <a:moveTo>
                  <a:pt x="430" y="612"/>
                </a:moveTo>
                <a:cubicBezTo>
                  <a:pt x="431" y="612"/>
                  <a:pt x="431" y="613"/>
                  <a:pt x="432" y="613"/>
                </a:cubicBezTo>
                <a:cubicBezTo>
                  <a:pt x="431" y="614"/>
                  <a:pt x="430" y="613"/>
                  <a:pt x="430" y="612"/>
                </a:cubicBezTo>
                <a:close/>
                <a:moveTo>
                  <a:pt x="433" y="549"/>
                </a:moveTo>
                <a:cubicBezTo>
                  <a:pt x="434" y="549"/>
                  <a:pt x="434" y="549"/>
                  <a:pt x="434" y="550"/>
                </a:cubicBezTo>
                <a:cubicBezTo>
                  <a:pt x="435" y="551"/>
                  <a:pt x="432" y="549"/>
                  <a:pt x="433" y="549"/>
                </a:cubicBezTo>
                <a:close/>
                <a:moveTo>
                  <a:pt x="443" y="617"/>
                </a:moveTo>
                <a:cubicBezTo>
                  <a:pt x="442" y="618"/>
                  <a:pt x="443" y="618"/>
                  <a:pt x="443" y="618"/>
                </a:cubicBezTo>
                <a:cubicBezTo>
                  <a:pt x="444" y="619"/>
                  <a:pt x="442" y="618"/>
                  <a:pt x="443" y="617"/>
                </a:cubicBezTo>
                <a:close/>
                <a:moveTo>
                  <a:pt x="443" y="632"/>
                </a:moveTo>
                <a:cubicBezTo>
                  <a:pt x="443" y="632"/>
                  <a:pt x="443" y="632"/>
                  <a:pt x="443" y="632"/>
                </a:cubicBezTo>
                <a:cubicBezTo>
                  <a:pt x="442" y="632"/>
                  <a:pt x="443" y="632"/>
                  <a:pt x="443" y="632"/>
                </a:cubicBezTo>
                <a:close/>
                <a:moveTo>
                  <a:pt x="442" y="613"/>
                </a:moveTo>
                <a:cubicBezTo>
                  <a:pt x="442" y="612"/>
                  <a:pt x="443" y="613"/>
                  <a:pt x="443" y="613"/>
                </a:cubicBezTo>
                <a:cubicBezTo>
                  <a:pt x="443" y="615"/>
                  <a:pt x="441" y="613"/>
                  <a:pt x="442" y="613"/>
                </a:cubicBezTo>
                <a:close/>
                <a:moveTo>
                  <a:pt x="443" y="582"/>
                </a:moveTo>
                <a:cubicBezTo>
                  <a:pt x="443" y="583"/>
                  <a:pt x="443" y="583"/>
                  <a:pt x="443" y="583"/>
                </a:cubicBezTo>
                <a:cubicBezTo>
                  <a:pt x="443" y="585"/>
                  <a:pt x="442" y="581"/>
                  <a:pt x="443" y="582"/>
                </a:cubicBezTo>
                <a:close/>
                <a:moveTo>
                  <a:pt x="441" y="554"/>
                </a:moveTo>
                <a:cubicBezTo>
                  <a:pt x="442" y="553"/>
                  <a:pt x="447" y="555"/>
                  <a:pt x="446" y="558"/>
                </a:cubicBezTo>
                <a:cubicBezTo>
                  <a:pt x="445" y="558"/>
                  <a:pt x="440" y="556"/>
                  <a:pt x="441" y="554"/>
                </a:cubicBezTo>
                <a:close/>
                <a:moveTo>
                  <a:pt x="441" y="609"/>
                </a:moveTo>
                <a:cubicBezTo>
                  <a:pt x="442" y="610"/>
                  <a:pt x="440" y="608"/>
                  <a:pt x="441" y="609"/>
                </a:cubicBezTo>
                <a:close/>
                <a:moveTo>
                  <a:pt x="440" y="534"/>
                </a:moveTo>
                <a:cubicBezTo>
                  <a:pt x="441" y="534"/>
                  <a:pt x="441" y="535"/>
                  <a:pt x="441" y="535"/>
                </a:cubicBezTo>
                <a:cubicBezTo>
                  <a:pt x="441" y="536"/>
                  <a:pt x="440" y="535"/>
                  <a:pt x="440" y="534"/>
                </a:cubicBezTo>
                <a:close/>
                <a:moveTo>
                  <a:pt x="442" y="648"/>
                </a:moveTo>
                <a:cubicBezTo>
                  <a:pt x="442" y="651"/>
                  <a:pt x="437" y="649"/>
                  <a:pt x="438" y="646"/>
                </a:cubicBezTo>
                <a:cubicBezTo>
                  <a:pt x="438" y="645"/>
                  <a:pt x="442" y="646"/>
                  <a:pt x="442" y="648"/>
                </a:cubicBezTo>
                <a:close/>
                <a:moveTo>
                  <a:pt x="435" y="615"/>
                </a:moveTo>
                <a:cubicBezTo>
                  <a:pt x="437" y="617"/>
                  <a:pt x="438" y="618"/>
                  <a:pt x="440" y="619"/>
                </a:cubicBezTo>
                <a:cubicBezTo>
                  <a:pt x="439" y="620"/>
                  <a:pt x="436" y="617"/>
                  <a:pt x="435" y="615"/>
                </a:cubicBezTo>
                <a:close/>
                <a:moveTo>
                  <a:pt x="437" y="603"/>
                </a:moveTo>
                <a:cubicBezTo>
                  <a:pt x="436" y="604"/>
                  <a:pt x="436" y="602"/>
                  <a:pt x="437" y="603"/>
                </a:cubicBezTo>
                <a:close/>
                <a:moveTo>
                  <a:pt x="436" y="529"/>
                </a:moveTo>
                <a:cubicBezTo>
                  <a:pt x="438" y="528"/>
                  <a:pt x="438" y="531"/>
                  <a:pt x="439" y="532"/>
                </a:cubicBezTo>
                <a:cubicBezTo>
                  <a:pt x="438" y="531"/>
                  <a:pt x="437" y="529"/>
                  <a:pt x="436" y="529"/>
                </a:cubicBezTo>
                <a:close/>
                <a:moveTo>
                  <a:pt x="435" y="525"/>
                </a:moveTo>
                <a:cubicBezTo>
                  <a:pt x="435" y="526"/>
                  <a:pt x="435" y="527"/>
                  <a:pt x="436" y="527"/>
                </a:cubicBezTo>
                <a:cubicBezTo>
                  <a:pt x="435" y="528"/>
                  <a:pt x="434" y="526"/>
                  <a:pt x="435" y="525"/>
                </a:cubicBezTo>
                <a:close/>
                <a:moveTo>
                  <a:pt x="432" y="638"/>
                </a:moveTo>
                <a:cubicBezTo>
                  <a:pt x="432" y="637"/>
                  <a:pt x="436" y="638"/>
                  <a:pt x="436" y="639"/>
                </a:cubicBezTo>
                <a:cubicBezTo>
                  <a:pt x="437" y="642"/>
                  <a:pt x="432" y="639"/>
                  <a:pt x="432" y="638"/>
                </a:cubicBezTo>
                <a:close/>
                <a:moveTo>
                  <a:pt x="435" y="641"/>
                </a:moveTo>
                <a:cubicBezTo>
                  <a:pt x="435" y="641"/>
                  <a:pt x="436" y="641"/>
                  <a:pt x="436" y="642"/>
                </a:cubicBezTo>
                <a:cubicBezTo>
                  <a:pt x="437" y="643"/>
                  <a:pt x="434" y="643"/>
                  <a:pt x="435" y="641"/>
                </a:cubicBezTo>
                <a:close/>
                <a:moveTo>
                  <a:pt x="444" y="668"/>
                </a:moveTo>
                <a:cubicBezTo>
                  <a:pt x="444" y="669"/>
                  <a:pt x="443" y="670"/>
                  <a:pt x="442" y="668"/>
                </a:cubicBezTo>
                <a:cubicBezTo>
                  <a:pt x="442" y="668"/>
                  <a:pt x="444" y="666"/>
                  <a:pt x="444" y="668"/>
                </a:cubicBezTo>
                <a:close/>
                <a:moveTo>
                  <a:pt x="449" y="565"/>
                </a:moveTo>
                <a:cubicBezTo>
                  <a:pt x="450" y="564"/>
                  <a:pt x="451" y="565"/>
                  <a:pt x="451" y="566"/>
                </a:cubicBezTo>
                <a:cubicBezTo>
                  <a:pt x="453" y="568"/>
                  <a:pt x="448" y="567"/>
                  <a:pt x="449" y="565"/>
                </a:cubicBezTo>
                <a:close/>
                <a:moveTo>
                  <a:pt x="455" y="614"/>
                </a:moveTo>
                <a:cubicBezTo>
                  <a:pt x="456" y="615"/>
                  <a:pt x="454" y="614"/>
                  <a:pt x="454" y="614"/>
                </a:cubicBezTo>
                <a:cubicBezTo>
                  <a:pt x="454" y="613"/>
                  <a:pt x="455" y="613"/>
                  <a:pt x="455" y="614"/>
                </a:cubicBezTo>
                <a:close/>
                <a:moveTo>
                  <a:pt x="452" y="555"/>
                </a:moveTo>
                <a:cubicBezTo>
                  <a:pt x="453" y="554"/>
                  <a:pt x="454" y="555"/>
                  <a:pt x="454" y="556"/>
                </a:cubicBezTo>
                <a:cubicBezTo>
                  <a:pt x="456" y="559"/>
                  <a:pt x="450" y="556"/>
                  <a:pt x="452" y="555"/>
                </a:cubicBezTo>
                <a:close/>
                <a:moveTo>
                  <a:pt x="451" y="548"/>
                </a:moveTo>
                <a:cubicBezTo>
                  <a:pt x="453" y="547"/>
                  <a:pt x="455" y="549"/>
                  <a:pt x="455" y="550"/>
                </a:cubicBezTo>
                <a:cubicBezTo>
                  <a:pt x="455" y="553"/>
                  <a:pt x="450" y="550"/>
                  <a:pt x="451" y="548"/>
                </a:cubicBezTo>
                <a:close/>
                <a:moveTo>
                  <a:pt x="454" y="498"/>
                </a:moveTo>
                <a:cubicBezTo>
                  <a:pt x="454" y="498"/>
                  <a:pt x="454" y="499"/>
                  <a:pt x="454" y="499"/>
                </a:cubicBezTo>
                <a:cubicBezTo>
                  <a:pt x="453" y="499"/>
                  <a:pt x="452" y="496"/>
                  <a:pt x="454" y="498"/>
                </a:cubicBezTo>
                <a:close/>
                <a:moveTo>
                  <a:pt x="454" y="414"/>
                </a:moveTo>
                <a:cubicBezTo>
                  <a:pt x="454" y="416"/>
                  <a:pt x="453" y="412"/>
                  <a:pt x="454" y="414"/>
                </a:cubicBezTo>
                <a:close/>
                <a:moveTo>
                  <a:pt x="452" y="462"/>
                </a:moveTo>
                <a:cubicBezTo>
                  <a:pt x="454" y="463"/>
                  <a:pt x="452" y="464"/>
                  <a:pt x="452" y="462"/>
                </a:cubicBezTo>
                <a:close/>
                <a:moveTo>
                  <a:pt x="453" y="501"/>
                </a:moveTo>
                <a:cubicBezTo>
                  <a:pt x="452" y="500"/>
                  <a:pt x="453" y="502"/>
                  <a:pt x="453" y="501"/>
                </a:cubicBezTo>
                <a:close/>
                <a:moveTo>
                  <a:pt x="429" y="475"/>
                </a:moveTo>
                <a:cubicBezTo>
                  <a:pt x="429" y="474"/>
                  <a:pt x="430" y="475"/>
                  <a:pt x="430" y="476"/>
                </a:cubicBezTo>
                <a:cubicBezTo>
                  <a:pt x="431" y="478"/>
                  <a:pt x="427" y="476"/>
                  <a:pt x="429" y="475"/>
                </a:cubicBezTo>
                <a:close/>
                <a:moveTo>
                  <a:pt x="429" y="611"/>
                </a:moveTo>
                <a:cubicBezTo>
                  <a:pt x="429" y="612"/>
                  <a:pt x="426" y="610"/>
                  <a:pt x="427" y="610"/>
                </a:cubicBezTo>
                <a:cubicBezTo>
                  <a:pt x="427" y="609"/>
                  <a:pt x="428" y="610"/>
                  <a:pt x="429" y="611"/>
                </a:cubicBezTo>
                <a:close/>
                <a:moveTo>
                  <a:pt x="427" y="634"/>
                </a:moveTo>
                <a:cubicBezTo>
                  <a:pt x="428" y="633"/>
                  <a:pt x="429" y="634"/>
                  <a:pt x="429" y="634"/>
                </a:cubicBezTo>
                <a:cubicBezTo>
                  <a:pt x="431" y="637"/>
                  <a:pt x="425" y="636"/>
                  <a:pt x="427" y="634"/>
                </a:cubicBezTo>
                <a:close/>
                <a:moveTo>
                  <a:pt x="425" y="607"/>
                </a:moveTo>
                <a:cubicBezTo>
                  <a:pt x="426" y="606"/>
                  <a:pt x="426" y="607"/>
                  <a:pt x="426" y="607"/>
                </a:cubicBezTo>
                <a:cubicBezTo>
                  <a:pt x="427" y="609"/>
                  <a:pt x="424" y="607"/>
                  <a:pt x="425" y="607"/>
                </a:cubicBezTo>
                <a:close/>
                <a:moveTo>
                  <a:pt x="426" y="620"/>
                </a:moveTo>
                <a:cubicBezTo>
                  <a:pt x="426" y="622"/>
                  <a:pt x="423" y="620"/>
                  <a:pt x="423" y="619"/>
                </a:cubicBezTo>
                <a:cubicBezTo>
                  <a:pt x="423" y="618"/>
                  <a:pt x="426" y="619"/>
                  <a:pt x="426" y="620"/>
                </a:cubicBezTo>
                <a:close/>
                <a:moveTo>
                  <a:pt x="420" y="690"/>
                </a:moveTo>
                <a:cubicBezTo>
                  <a:pt x="420" y="689"/>
                  <a:pt x="411" y="686"/>
                  <a:pt x="416" y="684"/>
                </a:cubicBezTo>
                <a:cubicBezTo>
                  <a:pt x="417" y="683"/>
                  <a:pt x="420" y="684"/>
                  <a:pt x="420" y="685"/>
                </a:cubicBezTo>
                <a:cubicBezTo>
                  <a:pt x="421" y="687"/>
                  <a:pt x="418" y="688"/>
                  <a:pt x="423" y="689"/>
                </a:cubicBezTo>
                <a:cubicBezTo>
                  <a:pt x="421" y="689"/>
                  <a:pt x="420" y="689"/>
                  <a:pt x="420" y="690"/>
                </a:cubicBezTo>
                <a:close/>
                <a:moveTo>
                  <a:pt x="418" y="700"/>
                </a:moveTo>
                <a:cubicBezTo>
                  <a:pt x="417" y="701"/>
                  <a:pt x="418" y="702"/>
                  <a:pt x="417" y="702"/>
                </a:cubicBezTo>
                <a:cubicBezTo>
                  <a:pt x="416" y="703"/>
                  <a:pt x="406" y="701"/>
                  <a:pt x="406" y="698"/>
                </a:cubicBezTo>
                <a:cubicBezTo>
                  <a:pt x="406" y="697"/>
                  <a:pt x="408" y="696"/>
                  <a:pt x="406" y="695"/>
                </a:cubicBezTo>
                <a:cubicBezTo>
                  <a:pt x="405" y="694"/>
                  <a:pt x="416" y="695"/>
                  <a:pt x="419" y="696"/>
                </a:cubicBezTo>
                <a:cubicBezTo>
                  <a:pt x="417" y="696"/>
                  <a:pt x="420" y="699"/>
                  <a:pt x="420" y="699"/>
                </a:cubicBezTo>
                <a:cubicBezTo>
                  <a:pt x="420" y="700"/>
                  <a:pt x="419" y="699"/>
                  <a:pt x="418" y="700"/>
                </a:cubicBezTo>
                <a:close/>
                <a:moveTo>
                  <a:pt x="420" y="714"/>
                </a:moveTo>
                <a:cubicBezTo>
                  <a:pt x="422" y="716"/>
                  <a:pt x="416" y="715"/>
                  <a:pt x="418" y="714"/>
                </a:cubicBezTo>
                <a:cubicBezTo>
                  <a:pt x="418" y="714"/>
                  <a:pt x="419" y="714"/>
                  <a:pt x="420" y="714"/>
                </a:cubicBezTo>
                <a:close/>
                <a:moveTo>
                  <a:pt x="410" y="719"/>
                </a:moveTo>
                <a:cubicBezTo>
                  <a:pt x="410" y="718"/>
                  <a:pt x="411" y="718"/>
                  <a:pt x="411" y="719"/>
                </a:cubicBezTo>
                <a:cubicBezTo>
                  <a:pt x="412" y="720"/>
                  <a:pt x="410" y="719"/>
                  <a:pt x="410" y="719"/>
                </a:cubicBezTo>
                <a:close/>
                <a:moveTo>
                  <a:pt x="403" y="686"/>
                </a:moveTo>
                <a:cubicBezTo>
                  <a:pt x="403" y="685"/>
                  <a:pt x="408" y="686"/>
                  <a:pt x="408" y="687"/>
                </a:cubicBezTo>
                <a:cubicBezTo>
                  <a:pt x="409" y="690"/>
                  <a:pt x="403" y="687"/>
                  <a:pt x="403" y="686"/>
                </a:cubicBezTo>
                <a:close/>
                <a:moveTo>
                  <a:pt x="406" y="697"/>
                </a:moveTo>
                <a:cubicBezTo>
                  <a:pt x="404" y="698"/>
                  <a:pt x="402" y="697"/>
                  <a:pt x="403" y="695"/>
                </a:cubicBezTo>
                <a:cubicBezTo>
                  <a:pt x="404" y="696"/>
                  <a:pt x="405" y="697"/>
                  <a:pt x="406" y="697"/>
                </a:cubicBezTo>
                <a:close/>
                <a:moveTo>
                  <a:pt x="414" y="652"/>
                </a:moveTo>
                <a:cubicBezTo>
                  <a:pt x="415" y="651"/>
                  <a:pt x="417" y="653"/>
                  <a:pt x="417" y="653"/>
                </a:cubicBezTo>
                <a:cubicBezTo>
                  <a:pt x="418" y="656"/>
                  <a:pt x="412" y="653"/>
                  <a:pt x="414" y="652"/>
                </a:cubicBezTo>
                <a:close/>
                <a:moveTo>
                  <a:pt x="418" y="679"/>
                </a:moveTo>
                <a:cubicBezTo>
                  <a:pt x="418" y="679"/>
                  <a:pt x="415" y="680"/>
                  <a:pt x="415" y="678"/>
                </a:cubicBezTo>
                <a:cubicBezTo>
                  <a:pt x="414" y="677"/>
                  <a:pt x="418" y="676"/>
                  <a:pt x="418" y="679"/>
                </a:cubicBezTo>
                <a:close/>
                <a:moveTo>
                  <a:pt x="414" y="669"/>
                </a:moveTo>
                <a:cubicBezTo>
                  <a:pt x="413" y="667"/>
                  <a:pt x="415" y="670"/>
                  <a:pt x="414" y="669"/>
                </a:cubicBezTo>
                <a:close/>
                <a:moveTo>
                  <a:pt x="411" y="641"/>
                </a:moveTo>
                <a:cubicBezTo>
                  <a:pt x="412" y="639"/>
                  <a:pt x="414" y="640"/>
                  <a:pt x="414" y="641"/>
                </a:cubicBezTo>
                <a:cubicBezTo>
                  <a:pt x="415" y="643"/>
                  <a:pt x="411" y="642"/>
                  <a:pt x="411" y="641"/>
                </a:cubicBezTo>
                <a:close/>
                <a:moveTo>
                  <a:pt x="420" y="682"/>
                </a:moveTo>
                <a:cubicBezTo>
                  <a:pt x="419" y="681"/>
                  <a:pt x="420" y="682"/>
                  <a:pt x="421" y="682"/>
                </a:cubicBezTo>
                <a:cubicBezTo>
                  <a:pt x="421" y="683"/>
                  <a:pt x="420" y="683"/>
                  <a:pt x="420" y="682"/>
                </a:cubicBezTo>
                <a:close/>
                <a:moveTo>
                  <a:pt x="422" y="683"/>
                </a:moveTo>
                <a:cubicBezTo>
                  <a:pt x="423" y="683"/>
                  <a:pt x="424" y="684"/>
                  <a:pt x="425" y="684"/>
                </a:cubicBezTo>
                <a:cubicBezTo>
                  <a:pt x="424" y="685"/>
                  <a:pt x="422" y="684"/>
                  <a:pt x="422" y="683"/>
                </a:cubicBezTo>
                <a:close/>
                <a:moveTo>
                  <a:pt x="425" y="673"/>
                </a:moveTo>
                <a:cubicBezTo>
                  <a:pt x="426" y="672"/>
                  <a:pt x="427" y="673"/>
                  <a:pt x="428" y="673"/>
                </a:cubicBezTo>
                <a:cubicBezTo>
                  <a:pt x="429" y="676"/>
                  <a:pt x="424" y="674"/>
                  <a:pt x="425" y="673"/>
                </a:cubicBezTo>
                <a:close/>
                <a:moveTo>
                  <a:pt x="426" y="681"/>
                </a:moveTo>
                <a:cubicBezTo>
                  <a:pt x="427" y="680"/>
                  <a:pt x="427" y="683"/>
                  <a:pt x="426" y="681"/>
                </a:cubicBezTo>
                <a:close/>
                <a:moveTo>
                  <a:pt x="427" y="693"/>
                </a:moveTo>
                <a:cubicBezTo>
                  <a:pt x="427" y="693"/>
                  <a:pt x="427" y="694"/>
                  <a:pt x="427" y="694"/>
                </a:cubicBezTo>
                <a:cubicBezTo>
                  <a:pt x="424" y="696"/>
                  <a:pt x="425" y="691"/>
                  <a:pt x="427" y="693"/>
                </a:cubicBezTo>
                <a:close/>
                <a:moveTo>
                  <a:pt x="426" y="685"/>
                </a:moveTo>
                <a:cubicBezTo>
                  <a:pt x="427" y="686"/>
                  <a:pt x="429" y="686"/>
                  <a:pt x="430" y="687"/>
                </a:cubicBezTo>
                <a:cubicBezTo>
                  <a:pt x="428" y="686"/>
                  <a:pt x="426" y="686"/>
                  <a:pt x="426" y="685"/>
                </a:cubicBezTo>
                <a:close/>
                <a:moveTo>
                  <a:pt x="416" y="649"/>
                </a:moveTo>
                <a:cubicBezTo>
                  <a:pt x="420" y="650"/>
                  <a:pt x="417" y="652"/>
                  <a:pt x="416" y="649"/>
                </a:cubicBezTo>
                <a:close/>
                <a:moveTo>
                  <a:pt x="418" y="563"/>
                </a:moveTo>
                <a:cubicBezTo>
                  <a:pt x="417" y="563"/>
                  <a:pt x="417" y="562"/>
                  <a:pt x="416" y="562"/>
                </a:cubicBezTo>
                <a:cubicBezTo>
                  <a:pt x="417" y="561"/>
                  <a:pt x="418" y="562"/>
                  <a:pt x="418" y="563"/>
                </a:cubicBezTo>
                <a:close/>
                <a:moveTo>
                  <a:pt x="414" y="556"/>
                </a:moveTo>
                <a:cubicBezTo>
                  <a:pt x="415" y="555"/>
                  <a:pt x="417" y="556"/>
                  <a:pt x="417" y="557"/>
                </a:cubicBezTo>
                <a:cubicBezTo>
                  <a:pt x="417" y="558"/>
                  <a:pt x="414" y="557"/>
                  <a:pt x="414" y="556"/>
                </a:cubicBezTo>
                <a:close/>
                <a:moveTo>
                  <a:pt x="415" y="631"/>
                </a:moveTo>
                <a:cubicBezTo>
                  <a:pt x="416" y="633"/>
                  <a:pt x="415" y="635"/>
                  <a:pt x="414" y="635"/>
                </a:cubicBezTo>
                <a:cubicBezTo>
                  <a:pt x="414" y="635"/>
                  <a:pt x="410" y="636"/>
                  <a:pt x="409" y="635"/>
                </a:cubicBezTo>
                <a:cubicBezTo>
                  <a:pt x="408" y="634"/>
                  <a:pt x="411" y="632"/>
                  <a:pt x="410" y="631"/>
                </a:cubicBezTo>
                <a:cubicBezTo>
                  <a:pt x="409" y="631"/>
                  <a:pt x="407" y="632"/>
                  <a:pt x="407" y="631"/>
                </a:cubicBezTo>
                <a:cubicBezTo>
                  <a:pt x="405" y="627"/>
                  <a:pt x="414" y="627"/>
                  <a:pt x="415" y="631"/>
                </a:cubicBezTo>
                <a:close/>
                <a:moveTo>
                  <a:pt x="410" y="640"/>
                </a:moveTo>
                <a:cubicBezTo>
                  <a:pt x="410" y="642"/>
                  <a:pt x="408" y="641"/>
                  <a:pt x="408" y="639"/>
                </a:cubicBezTo>
                <a:cubicBezTo>
                  <a:pt x="408" y="638"/>
                  <a:pt x="411" y="637"/>
                  <a:pt x="410" y="640"/>
                </a:cubicBezTo>
                <a:close/>
                <a:moveTo>
                  <a:pt x="408" y="660"/>
                </a:moveTo>
                <a:cubicBezTo>
                  <a:pt x="407" y="661"/>
                  <a:pt x="407" y="658"/>
                  <a:pt x="408" y="659"/>
                </a:cubicBezTo>
                <a:cubicBezTo>
                  <a:pt x="408" y="660"/>
                  <a:pt x="408" y="660"/>
                  <a:pt x="408" y="660"/>
                </a:cubicBezTo>
                <a:close/>
                <a:moveTo>
                  <a:pt x="407" y="611"/>
                </a:moveTo>
                <a:cubicBezTo>
                  <a:pt x="408" y="611"/>
                  <a:pt x="408" y="611"/>
                  <a:pt x="408" y="611"/>
                </a:cubicBezTo>
                <a:cubicBezTo>
                  <a:pt x="409" y="613"/>
                  <a:pt x="406" y="612"/>
                  <a:pt x="407" y="611"/>
                </a:cubicBezTo>
                <a:close/>
                <a:moveTo>
                  <a:pt x="408" y="568"/>
                </a:moveTo>
                <a:cubicBezTo>
                  <a:pt x="407" y="567"/>
                  <a:pt x="409" y="569"/>
                  <a:pt x="408" y="568"/>
                </a:cubicBezTo>
                <a:close/>
                <a:moveTo>
                  <a:pt x="408" y="164"/>
                </a:moveTo>
                <a:cubicBezTo>
                  <a:pt x="406" y="164"/>
                  <a:pt x="406" y="162"/>
                  <a:pt x="405" y="162"/>
                </a:cubicBezTo>
                <a:cubicBezTo>
                  <a:pt x="406" y="161"/>
                  <a:pt x="407" y="163"/>
                  <a:pt x="408" y="164"/>
                </a:cubicBezTo>
                <a:close/>
                <a:moveTo>
                  <a:pt x="405" y="462"/>
                </a:moveTo>
                <a:cubicBezTo>
                  <a:pt x="407" y="463"/>
                  <a:pt x="405" y="464"/>
                  <a:pt x="405" y="462"/>
                </a:cubicBezTo>
                <a:close/>
                <a:moveTo>
                  <a:pt x="404" y="93"/>
                </a:moveTo>
                <a:cubicBezTo>
                  <a:pt x="405" y="93"/>
                  <a:pt x="405" y="93"/>
                  <a:pt x="406" y="94"/>
                </a:cubicBezTo>
                <a:cubicBezTo>
                  <a:pt x="405" y="94"/>
                  <a:pt x="404" y="94"/>
                  <a:pt x="404" y="93"/>
                </a:cubicBezTo>
                <a:close/>
                <a:moveTo>
                  <a:pt x="404" y="393"/>
                </a:moveTo>
                <a:cubicBezTo>
                  <a:pt x="403" y="393"/>
                  <a:pt x="404" y="392"/>
                  <a:pt x="403" y="391"/>
                </a:cubicBezTo>
                <a:cubicBezTo>
                  <a:pt x="403" y="391"/>
                  <a:pt x="404" y="392"/>
                  <a:pt x="404" y="393"/>
                </a:cubicBezTo>
                <a:close/>
                <a:moveTo>
                  <a:pt x="408" y="622"/>
                </a:moveTo>
                <a:cubicBezTo>
                  <a:pt x="408" y="626"/>
                  <a:pt x="401" y="622"/>
                  <a:pt x="402" y="620"/>
                </a:cubicBezTo>
                <a:cubicBezTo>
                  <a:pt x="403" y="617"/>
                  <a:pt x="408" y="620"/>
                  <a:pt x="408" y="622"/>
                </a:cubicBezTo>
                <a:close/>
                <a:moveTo>
                  <a:pt x="406" y="655"/>
                </a:moveTo>
                <a:cubicBezTo>
                  <a:pt x="407" y="657"/>
                  <a:pt x="403" y="656"/>
                  <a:pt x="403" y="655"/>
                </a:cubicBezTo>
                <a:cubicBezTo>
                  <a:pt x="403" y="654"/>
                  <a:pt x="405" y="655"/>
                  <a:pt x="406" y="655"/>
                </a:cubicBezTo>
                <a:close/>
                <a:moveTo>
                  <a:pt x="403" y="640"/>
                </a:moveTo>
                <a:cubicBezTo>
                  <a:pt x="402" y="641"/>
                  <a:pt x="402" y="639"/>
                  <a:pt x="403" y="639"/>
                </a:cubicBezTo>
                <a:cubicBezTo>
                  <a:pt x="403" y="640"/>
                  <a:pt x="403" y="640"/>
                  <a:pt x="403" y="640"/>
                </a:cubicBezTo>
                <a:close/>
                <a:moveTo>
                  <a:pt x="402" y="649"/>
                </a:moveTo>
                <a:cubicBezTo>
                  <a:pt x="402" y="651"/>
                  <a:pt x="398" y="649"/>
                  <a:pt x="399" y="648"/>
                </a:cubicBezTo>
                <a:cubicBezTo>
                  <a:pt x="400" y="647"/>
                  <a:pt x="402" y="649"/>
                  <a:pt x="402" y="649"/>
                </a:cubicBezTo>
                <a:close/>
                <a:moveTo>
                  <a:pt x="402" y="492"/>
                </a:moveTo>
                <a:cubicBezTo>
                  <a:pt x="403" y="493"/>
                  <a:pt x="401" y="490"/>
                  <a:pt x="402" y="492"/>
                </a:cubicBezTo>
                <a:close/>
                <a:moveTo>
                  <a:pt x="397" y="651"/>
                </a:moveTo>
                <a:cubicBezTo>
                  <a:pt x="397" y="650"/>
                  <a:pt x="398" y="651"/>
                  <a:pt x="398" y="651"/>
                </a:cubicBezTo>
                <a:cubicBezTo>
                  <a:pt x="399" y="652"/>
                  <a:pt x="397" y="651"/>
                  <a:pt x="397" y="651"/>
                </a:cubicBezTo>
                <a:close/>
                <a:moveTo>
                  <a:pt x="396" y="629"/>
                </a:moveTo>
                <a:cubicBezTo>
                  <a:pt x="397" y="628"/>
                  <a:pt x="398" y="630"/>
                  <a:pt x="398" y="630"/>
                </a:cubicBezTo>
                <a:cubicBezTo>
                  <a:pt x="398" y="631"/>
                  <a:pt x="397" y="629"/>
                  <a:pt x="396" y="629"/>
                </a:cubicBezTo>
                <a:close/>
                <a:moveTo>
                  <a:pt x="402" y="683"/>
                </a:moveTo>
                <a:cubicBezTo>
                  <a:pt x="401" y="683"/>
                  <a:pt x="401" y="683"/>
                  <a:pt x="400" y="682"/>
                </a:cubicBezTo>
                <a:cubicBezTo>
                  <a:pt x="400" y="682"/>
                  <a:pt x="402" y="683"/>
                  <a:pt x="402" y="683"/>
                </a:cubicBezTo>
                <a:close/>
                <a:moveTo>
                  <a:pt x="399" y="681"/>
                </a:moveTo>
                <a:cubicBezTo>
                  <a:pt x="400" y="682"/>
                  <a:pt x="397" y="681"/>
                  <a:pt x="399" y="681"/>
                </a:cubicBezTo>
                <a:close/>
                <a:moveTo>
                  <a:pt x="394" y="689"/>
                </a:moveTo>
                <a:cubicBezTo>
                  <a:pt x="394" y="688"/>
                  <a:pt x="396" y="689"/>
                  <a:pt x="396" y="689"/>
                </a:cubicBezTo>
                <a:cubicBezTo>
                  <a:pt x="397" y="690"/>
                  <a:pt x="395" y="689"/>
                  <a:pt x="394" y="689"/>
                </a:cubicBezTo>
                <a:close/>
                <a:moveTo>
                  <a:pt x="393" y="724"/>
                </a:moveTo>
                <a:cubicBezTo>
                  <a:pt x="394" y="724"/>
                  <a:pt x="390" y="723"/>
                  <a:pt x="393" y="724"/>
                </a:cubicBezTo>
                <a:close/>
                <a:moveTo>
                  <a:pt x="391" y="742"/>
                </a:moveTo>
                <a:cubicBezTo>
                  <a:pt x="391" y="740"/>
                  <a:pt x="392" y="742"/>
                  <a:pt x="393" y="742"/>
                </a:cubicBezTo>
                <a:cubicBezTo>
                  <a:pt x="394" y="743"/>
                  <a:pt x="391" y="742"/>
                  <a:pt x="391" y="742"/>
                </a:cubicBezTo>
                <a:close/>
                <a:moveTo>
                  <a:pt x="399" y="697"/>
                </a:moveTo>
                <a:cubicBezTo>
                  <a:pt x="399" y="701"/>
                  <a:pt x="393" y="699"/>
                  <a:pt x="393" y="697"/>
                </a:cubicBezTo>
                <a:cubicBezTo>
                  <a:pt x="393" y="695"/>
                  <a:pt x="399" y="695"/>
                  <a:pt x="399" y="697"/>
                </a:cubicBezTo>
                <a:close/>
                <a:moveTo>
                  <a:pt x="394" y="717"/>
                </a:moveTo>
                <a:cubicBezTo>
                  <a:pt x="394" y="717"/>
                  <a:pt x="394" y="716"/>
                  <a:pt x="394" y="717"/>
                </a:cubicBezTo>
                <a:cubicBezTo>
                  <a:pt x="394" y="717"/>
                  <a:pt x="394" y="717"/>
                  <a:pt x="394" y="717"/>
                </a:cubicBezTo>
                <a:close/>
                <a:moveTo>
                  <a:pt x="394" y="727"/>
                </a:moveTo>
                <a:cubicBezTo>
                  <a:pt x="393" y="727"/>
                  <a:pt x="394" y="726"/>
                  <a:pt x="394" y="726"/>
                </a:cubicBezTo>
                <a:cubicBezTo>
                  <a:pt x="395" y="726"/>
                  <a:pt x="394" y="728"/>
                  <a:pt x="394" y="727"/>
                </a:cubicBezTo>
                <a:close/>
                <a:moveTo>
                  <a:pt x="395" y="745"/>
                </a:moveTo>
                <a:cubicBezTo>
                  <a:pt x="396" y="746"/>
                  <a:pt x="393" y="745"/>
                  <a:pt x="395" y="745"/>
                </a:cubicBezTo>
                <a:close/>
                <a:moveTo>
                  <a:pt x="396" y="726"/>
                </a:moveTo>
                <a:cubicBezTo>
                  <a:pt x="396" y="726"/>
                  <a:pt x="397" y="726"/>
                  <a:pt x="397" y="726"/>
                </a:cubicBezTo>
                <a:cubicBezTo>
                  <a:pt x="397" y="729"/>
                  <a:pt x="395" y="723"/>
                  <a:pt x="396" y="726"/>
                </a:cubicBezTo>
                <a:close/>
                <a:moveTo>
                  <a:pt x="404" y="726"/>
                </a:moveTo>
                <a:cubicBezTo>
                  <a:pt x="404" y="725"/>
                  <a:pt x="405" y="725"/>
                  <a:pt x="405" y="726"/>
                </a:cubicBezTo>
                <a:cubicBezTo>
                  <a:pt x="406" y="727"/>
                  <a:pt x="404" y="726"/>
                  <a:pt x="404" y="726"/>
                </a:cubicBezTo>
                <a:close/>
                <a:moveTo>
                  <a:pt x="399" y="722"/>
                </a:moveTo>
                <a:cubicBezTo>
                  <a:pt x="404" y="727"/>
                  <a:pt x="392" y="723"/>
                  <a:pt x="394" y="719"/>
                </a:cubicBezTo>
                <a:cubicBezTo>
                  <a:pt x="394" y="719"/>
                  <a:pt x="395" y="719"/>
                  <a:pt x="396" y="719"/>
                </a:cubicBezTo>
                <a:cubicBezTo>
                  <a:pt x="396" y="719"/>
                  <a:pt x="396" y="716"/>
                  <a:pt x="396" y="715"/>
                </a:cubicBezTo>
                <a:cubicBezTo>
                  <a:pt x="396" y="715"/>
                  <a:pt x="399" y="714"/>
                  <a:pt x="400" y="714"/>
                </a:cubicBezTo>
                <a:cubicBezTo>
                  <a:pt x="404" y="713"/>
                  <a:pt x="405" y="717"/>
                  <a:pt x="408" y="718"/>
                </a:cubicBezTo>
                <a:cubicBezTo>
                  <a:pt x="406" y="720"/>
                  <a:pt x="403" y="723"/>
                  <a:pt x="399" y="722"/>
                </a:cubicBezTo>
                <a:close/>
                <a:moveTo>
                  <a:pt x="409" y="735"/>
                </a:moveTo>
                <a:cubicBezTo>
                  <a:pt x="408" y="733"/>
                  <a:pt x="410" y="736"/>
                  <a:pt x="409" y="735"/>
                </a:cubicBezTo>
                <a:close/>
                <a:moveTo>
                  <a:pt x="415" y="738"/>
                </a:moveTo>
                <a:cubicBezTo>
                  <a:pt x="415" y="739"/>
                  <a:pt x="413" y="737"/>
                  <a:pt x="415" y="738"/>
                </a:cubicBezTo>
                <a:close/>
                <a:moveTo>
                  <a:pt x="408" y="727"/>
                </a:moveTo>
                <a:cubicBezTo>
                  <a:pt x="408" y="724"/>
                  <a:pt x="415" y="723"/>
                  <a:pt x="415" y="727"/>
                </a:cubicBezTo>
                <a:cubicBezTo>
                  <a:pt x="416" y="731"/>
                  <a:pt x="408" y="729"/>
                  <a:pt x="408" y="727"/>
                </a:cubicBezTo>
                <a:close/>
                <a:moveTo>
                  <a:pt x="417" y="733"/>
                </a:moveTo>
                <a:cubicBezTo>
                  <a:pt x="415" y="733"/>
                  <a:pt x="417" y="731"/>
                  <a:pt x="417" y="733"/>
                </a:cubicBezTo>
                <a:close/>
                <a:moveTo>
                  <a:pt x="419" y="726"/>
                </a:moveTo>
                <a:cubicBezTo>
                  <a:pt x="419" y="727"/>
                  <a:pt x="419" y="727"/>
                  <a:pt x="418" y="727"/>
                </a:cubicBezTo>
                <a:cubicBezTo>
                  <a:pt x="418" y="727"/>
                  <a:pt x="418" y="726"/>
                  <a:pt x="418" y="726"/>
                </a:cubicBezTo>
                <a:cubicBezTo>
                  <a:pt x="415" y="724"/>
                  <a:pt x="411" y="721"/>
                  <a:pt x="411" y="721"/>
                </a:cubicBezTo>
                <a:cubicBezTo>
                  <a:pt x="412" y="720"/>
                  <a:pt x="418" y="725"/>
                  <a:pt x="421" y="726"/>
                </a:cubicBezTo>
                <a:cubicBezTo>
                  <a:pt x="421" y="726"/>
                  <a:pt x="420" y="726"/>
                  <a:pt x="419" y="726"/>
                </a:cubicBezTo>
                <a:close/>
                <a:moveTo>
                  <a:pt x="420" y="705"/>
                </a:moveTo>
                <a:cubicBezTo>
                  <a:pt x="420" y="704"/>
                  <a:pt x="423" y="707"/>
                  <a:pt x="423" y="707"/>
                </a:cubicBezTo>
                <a:cubicBezTo>
                  <a:pt x="423" y="710"/>
                  <a:pt x="417" y="706"/>
                  <a:pt x="420" y="705"/>
                </a:cubicBezTo>
                <a:close/>
                <a:moveTo>
                  <a:pt x="422" y="709"/>
                </a:moveTo>
                <a:cubicBezTo>
                  <a:pt x="420" y="708"/>
                  <a:pt x="423" y="710"/>
                  <a:pt x="422" y="709"/>
                </a:cubicBezTo>
                <a:close/>
                <a:moveTo>
                  <a:pt x="422" y="712"/>
                </a:moveTo>
                <a:cubicBezTo>
                  <a:pt x="422" y="711"/>
                  <a:pt x="423" y="711"/>
                  <a:pt x="423" y="711"/>
                </a:cubicBezTo>
                <a:cubicBezTo>
                  <a:pt x="423" y="710"/>
                  <a:pt x="423" y="708"/>
                  <a:pt x="425" y="711"/>
                </a:cubicBezTo>
                <a:cubicBezTo>
                  <a:pt x="425" y="711"/>
                  <a:pt x="425" y="711"/>
                  <a:pt x="425" y="711"/>
                </a:cubicBezTo>
                <a:cubicBezTo>
                  <a:pt x="424" y="712"/>
                  <a:pt x="424" y="712"/>
                  <a:pt x="424" y="712"/>
                </a:cubicBezTo>
                <a:cubicBezTo>
                  <a:pt x="424" y="712"/>
                  <a:pt x="424" y="712"/>
                  <a:pt x="424" y="712"/>
                </a:cubicBezTo>
                <a:cubicBezTo>
                  <a:pt x="425" y="715"/>
                  <a:pt x="420" y="713"/>
                  <a:pt x="422" y="712"/>
                </a:cubicBezTo>
                <a:close/>
                <a:moveTo>
                  <a:pt x="425" y="708"/>
                </a:moveTo>
                <a:cubicBezTo>
                  <a:pt x="425" y="707"/>
                  <a:pt x="426" y="707"/>
                  <a:pt x="426" y="708"/>
                </a:cubicBezTo>
                <a:cubicBezTo>
                  <a:pt x="427" y="709"/>
                  <a:pt x="424" y="709"/>
                  <a:pt x="425" y="708"/>
                </a:cubicBezTo>
                <a:close/>
                <a:moveTo>
                  <a:pt x="426" y="712"/>
                </a:moveTo>
                <a:cubicBezTo>
                  <a:pt x="428" y="712"/>
                  <a:pt x="428" y="714"/>
                  <a:pt x="426" y="712"/>
                </a:cubicBezTo>
                <a:close/>
                <a:moveTo>
                  <a:pt x="422" y="722"/>
                </a:moveTo>
                <a:cubicBezTo>
                  <a:pt x="422" y="721"/>
                  <a:pt x="424" y="722"/>
                  <a:pt x="424" y="722"/>
                </a:cubicBezTo>
                <a:cubicBezTo>
                  <a:pt x="425" y="724"/>
                  <a:pt x="421" y="723"/>
                  <a:pt x="422" y="722"/>
                </a:cubicBezTo>
                <a:close/>
                <a:moveTo>
                  <a:pt x="429" y="731"/>
                </a:moveTo>
                <a:cubicBezTo>
                  <a:pt x="425" y="733"/>
                  <a:pt x="428" y="726"/>
                  <a:pt x="428" y="730"/>
                </a:cubicBezTo>
                <a:cubicBezTo>
                  <a:pt x="428" y="730"/>
                  <a:pt x="429" y="731"/>
                  <a:pt x="429" y="731"/>
                </a:cubicBezTo>
                <a:close/>
                <a:moveTo>
                  <a:pt x="428" y="722"/>
                </a:moveTo>
                <a:cubicBezTo>
                  <a:pt x="428" y="721"/>
                  <a:pt x="430" y="723"/>
                  <a:pt x="429" y="723"/>
                </a:cubicBezTo>
                <a:cubicBezTo>
                  <a:pt x="429" y="724"/>
                  <a:pt x="427" y="723"/>
                  <a:pt x="428" y="722"/>
                </a:cubicBezTo>
                <a:cubicBezTo>
                  <a:pt x="427" y="723"/>
                  <a:pt x="424" y="722"/>
                  <a:pt x="424" y="720"/>
                </a:cubicBezTo>
                <a:cubicBezTo>
                  <a:pt x="424" y="720"/>
                  <a:pt x="426" y="718"/>
                  <a:pt x="425" y="718"/>
                </a:cubicBezTo>
                <a:cubicBezTo>
                  <a:pt x="426" y="718"/>
                  <a:pt x="429" y="721"/>
                  <a:pt x="428" y="722"/>
                </a:cubicBezTo>
                <a:close/>
                <a:moveTo>
                  <a:pt x="427" y="702"/>
                </a:moveTo>
                <a:cubicBezTo>
                  <a:pt x="427" y="702"/>
                  <a:pt x="428" y="702"/>
                  <a:pt x="428" y="702"/>
                </a:cubicBezTo>
                <a:cubicBezTo>
                  <a:pt x="428" y="704"/>
                  <a:pt x="426" y="702"/>
                  <a:pt x="427" y="702"/>
                </a:cubicBezTo>
                <a:close/>
                <a:moveTo>
                  <a:pt x="424" y="697"/>
                </a:moveTo>
                <a:cubicBezTo>
                  <a:pt x="425" y="697"/>
                  <a:pt x="429" y="698"/>
                  <a:pt x="430" y="699"/>
                </a:cubicBezTo>
                <a:cubicBezTo>
                  <a:pt x="430" y="700"/>
                  <a:pt x="425" y="699"/>
                  <a:pt x="424" y="697"/>
                </a:cubicBezTo>
                <a:close/>
                <a:moveTo>
                  <a:pt x="430" y="690"/>
                </a:moveTo>
                <a:cubicBezTo>
                  <a:pt x="430" y="690"/>
                  <a:pt x="431" y="690"/>
                  <a:pt x="431" y="690"/>
                </a:cubicBezTo>
                <a:cubicBezTo>
                  <a:pt x="432" y="691"/>
                  <a:pt x="429" y="691"/>
                  <a:pt x="430" y="690"/>
                </a:cubicBezTo>
                <a:close/>
                <a:moveTo>
                  <a:pt x="435" y="698"/>
                </a:moveTo>
                <a:cubicBezTo>
                  <a:pt x="435" y="698"/>
                  <a:pt x="436" y="698"/>
                  <a:pt x="436" y="698"/>
                </a:cubicBezTo>
                <a:cubicBezTo>
                  <a:pt x="436" y="699"/>
                  <a:pt x="435" y="699"/>
                  <a:pt x="435" y="698"/>
                </a:cubicBezTo>
                <a:close/>
                <a:moveTo>
                  <a:pt x="437" y="693"/>
                </a:moveTo>
                <a:cubicBezTo>
                  <a:pt x="435" y="692"/>
                  <a:pt x="438" y="694"/>
                  <a:pt x="437" y="693"/>
                </a:cubicBezTo>
                <a:close/>
                <a:moveTo>
                  <a:pt x="438" y="696"/>
                </a:moveTo>
                <a:cubicBezTo>
                  <a:pt x="439" y="697"/>
                  <a:pt x="437" y="694"/>
                  <a:pt x="438" y="696"/>
                </a:cubicBezTo>
                <a:close/>
                <a:moveTo>
                  <a:pt x="432" y="689"/>
                </a:moveTo>
                <a:cubicBezTo>
                  <a:pt x="429" y="687"/>
                  <a:pt x="433" y="688"/>
                  <a:pt x="434" y="689"/>
                </a:cubicBezTo>
                <a:cubicBezTo>
                  <a:pt x="437" y="690"/>
                  <a:pt x="443" y="691"/>
                  <a:pt x="443" y="693"/>
                </a:cubicBezTo>
                <a:cubicBezTo>
                  <a:pt x="440" y="691"/>
                  <a:pt x="436" y="691"/>
                  <a:pt x="432" y="689"/>
                </a:cubicBezTo>
                <a:close/>
                <a:moveTo>
                  <a:pt x="439" y="682"/>
                </a:moveTo>
                <a:cubicBezTo>
                  <a:pt x="439" y="682"/>
                  <a:pt x="439" y="682"/>
                  <a:pt x="439" y="682"/>
                </a:cubicBezTo>
                <a:cubicBezTo>
                  <a:pt x="438" y="684"/>
                  <a:pt x="437" y="680"/>
                  <a:pt x="439" y="682"/>
                </a:cubicBezTo>
                <a:close/>
                <a:moveTo>
                  <a:pt x="446" y="681"/>
                </a:moveTo>
                <a:cubicBezTo>
                  <a:pt x="446" y="681"/>
                  <a:pt x="447" y="681"/>
                  <a:pt x="447" y="681"/>
                </a:cubicBezTo>
                <a:cubicBezTo>
                  <a:pt x="447" y="682"/>
                  <a:pt x="445" y="682"/>
                  <a:pt x="446" y="681"/>
                </a:cubicBezTo>
                <a:close/>
                <a:moveTo>
                  <a:pt x="442" y="678"/>
                </a:moveTo>
                <a:cubicBezTo>
                  <a:pt x="440" y="677"/>
                  <a:pt x="440" y="675"/>
                  <a:pt x="440" y="674"/>
                </a:cubicBezTo>
                <a:cubicBezTo>
                  <a:pt x="439" y="674"/>
                  <a:pt x="436" y="675"/>
                  <a:pt x="437" y="673"/>
                </a:cubicBezTo>
                <a:cubicBezTo>
                  <a:pt x="438" y="672"/>
                  <a:pt x="438" y="674"/>
                  <a:pt x="439" y="673"/>
                </a:cubicBezTo>
                <a:cubicBezTo>
                  <a:pt x="441" y="673"/>
                  <a:pt x="441" y="672"/>
                  <a:pt x="442" y="672"/>
                </a:cubicBezTo>
                <a:cubicBezTo>
                  <a:pt x="444" y="671"/>
                  <a:pt x="447" y="673"/>
                  <a:pt x="447" y="675"/>
                </a:cubicBezTo>
                <a:cubicBezTo>
                  <a:pt x="447" y="678"/>
                  <a:pt x="445" y="679"/>
                  <a:pt x="442" y="678"/>
                </a:cubicBezTo>
                <a:close/>
                <a:moveTo>
                  <a:pt x="445" y="642"/>
                </a:moveTo>
                <a:cubicBezTo>
                  <a:pt x="446" y="641"/>
                  <a:pt x="447" y="641"/>
                  <a:pt x="447" y="642"/>
                </a:cubicBezTo>
                <a:cubicBezTo>
                  <a:pt x="448" y="643"/>
                  <a:pt x="445" y="642"/>
                  <a:pt x="445" y="642"/>
                </a:cubicBezTo>
                <a:close/>
                <a:moveTo>
                  <a:pt x="447" y="580"/>
                </a:moveTo>
                <a:cubicBezTo>
                  <a:pt x="448" y="579"/>
                  <a:pt x="449" y="581"/>
                  <a:pt x="449" y="581"/>
                </a:cubicBezTo>
                <a:cubicBezTo>
                  <a:pt x="450" y="583"/>
                  <a:pt x="446" y="581"/>
                  <a:pt x="447" y="580"/>
                </a:cubicBezTo>
                <a:close/>
                <a:moveTo>
                  <a:pt x="448" y="651"/>
                </a:moveTo>
                <a:cubicBezTo>
                  <a:pt x="448" y="651"/>
                  <a:pt x="447" y="651"/>
                  <a:pt x="447" y="651"/>
                </a:cubicBezTo>
                <a:cubicBezTo>
                  <a:pt x="448" y="651"/>
                  <a:pt x="448" y="651"/>
                  <a:pt x="448" y="651"/>
                </a:cubicBezTo>
                <a:cubicBezTo>
                  <a:pt x="448" y="651"/>
                  <a:pt x="448" y="651"/>
                  <a:pt x="448" y="651"/>
                </a:cubicBezTo>
                <a:close/>
                <a:moveTo>
                  <a:pt x="448" y="640"/>
                </a:moveTo>
                <a:cubicBezTo>
                  <a:pt x="448" y="640"/>
                  <a:pt x="449" y="640"/>
                  <a:pt x="450" y="641"/>
                </a:cubicBezTo>
                <a:cubicBezTo>
                  <a:pt x="450" y="642"/>
                  <a:pt x="448" y="641"/>
                  <a:pt x="448" y="640"/>
                </a:cubicBezTo>
                <a:close/>
                <a:moveTo>
                  <a:pt x="450" y="636"/>
                </a:moveTo>
                <a:cubicBezTo>
                  <a:pt x="451" y="636"/>
                  <a:pt x="451" y="636"/>
                  <a:pt x="451" y="636"/>
                </a:cubicBezTo>
                <a:cubicBezTo>
                  <a:pt x="452" y="638"/>
                  <a:pt x="449" y="636"/>
                  <a:pt x="450" y="636"/>
                </a:cubicBezTo>
                <a:close/>
                <a:moveTo>
                  <a:pt x="451" y="642"/>
                </a:moveTo>
                <a:cubicBezTo>
                  <a:pt x="452" y="641"/>
                  <a:pt x="453" y="642"/>
                  <a:pt x="454" y="643"/>
                </a:cubicBezTo>
                <a:cubicBezTo>
                  <a:pt x="456" y="646"/>
                  <a:pt x="448" y="644"/>
                  <a:pt x="451" y="642"/>
                </a:cubicBezTo>
                <a:close/>
                <a:moveTo>
                  <a:pt x="451" y="666"/>
                </a:moveTo>
                <a:cubicBezTo>
                  <a:pt x="452" y="665"/>
                  <a:pt x="452" y="666"/>
                  <a:pt x="453" y="666"/>
                </a:cubicBezTo>
                <a:cubicBezTo>
                  <a:pt x="454" y="668"/>
                  <a:pt x="450" y="666"/>
                  <a:pt x="451" y="666"/>
                </a:cubicBezTo>
                <a:close/>
                <a:moveTo>
                  <a:pt x="453" y="682"/>
                </a:moveTo>
                <a:cubicBezTo>
                  <a:pt x="453" y="682"/>
                  <a:pt x="453" y="682"/>
                  <a:pt x="453" y="681"/>
                </a:cubicBezTo>
                <a:cubicBezTo>
                  <a:pt x="454" y="681"/>
                  <a:pt x="454" y="683"/>
                  <a:pt x="453" y="682"/>
                </a:cubicBezTo>
                <a:close/>
                <a:moveTo>
                  <a:pt x="456" y="685"/>
                </a:moveTo>
                <a:cubicBezTo>
                  <a:pt x="456" y="684"/>
                  <a:pt x="457" y="685"/>
                  <a:pt x="458" y="685"/>
                </a:cubicBezTo>
                <a:cubicBezTo>
                  <a:pt x="459" y="686"/>
                  <a:pt x="456" y="686"/>
                  <a:pt x="456" y="685"/>
                </a:cubicBezTo>
                <a:close/>
                <a:moveTo>
                  <a:pt x="458" y="702"/>
                </a:moveTo>
                <a:cubicBezTo>
                  <a:pt x="458" y="701"/>
                  <a:pt x="459" y="701"/>
                  <a:pt x="459" y="702"/>
                </a:cubicBezTo>
                <a:cubicBezTo>
                  <a:pt x="460" y="704"/>
                  <a:pt x="456" y="703"/>
                  <a:pt x="458" y="702"/>
                </a:cubicBezTo>
                <a:close/>
                <a:moveTo>
                  <a:pt x="460" y="691"/>
                </a:moveTo>
                <a:cubicBezTo>
                  <a:pt x="460" y="689"/>
                  <a:pt x="464" y="690"/>
                  <a:pt x="464" y="690"/>
                </a:cubicBezTo>
                <a:cubicBezTo>
                  <a:pt x="466" y="692"/>
                  <a:pt x="460" y="691"/>
                  <a:pt x="460" y="691"/>
                </a:cubicBezTo>
                <a:close/>
                <a:moveTo>
                  <a:pt x="466" y="690"/>
                </a:moveTo>
                <a:cubicBezTo>
                  <a:pt x="465" y="692"/>
                  <a:pt x="465" y="689"/>
                  <a:pt x="466" y="690"/>
                </a:cubicBezTo>
                <a:close/>
                <a:moveTo>
                  <a:pt x="459" y="679"/>
                </a:moveTo>
                <a:cubicBezTo>
                  <a:pt x="459" y="678"/>
                  <a:pt x="459" y="677"/>
                  <a:pt x="459" y="677"/>
                </a:cubicBezTo>
                <a:cubicBezTo>
                  <a:pt x="457" y="676"/>
                  <a:pt x="456" y="677"/>
                  <a:pt x="454" y="677"/>
                </a:cubicBezTo>
                <a:cubicBezTo>
                  <a:pt x="460" y="675"/>
                  <a:pt x="449" y="672"/>
                  <a:pt x="453" y="669"/>
                </a:cubicBezTo>
                <a:cubicBezTo>
                  <a:pt x="454" y="668"/>
                  <a:pt x="457" y="670"/>
                  <a:pt x="457" y="667"/>
                </a:cubicBezTo>
                <a:cubicBezTo>
                  <a:pt x="457" y="671"/>
                  <a:pt x="461" y="666"/>
                  <a:pt x="465" y="667"/>
                </a:cubicBezTo>
                <a:cubicBezTo>
                  <a:pt x="467" y="668"/>
                  <a:pt x="469" y="671"/>
                  <a:pt x="469" y="673"/>
                </a:cubicBezTo>
                <a:cubicBezTo>
                  <a:pt x="469" y="673"/>
                  <a:pt x="462" y="681"/>
                  <a:pt x="459" y="679"/>
                </a:cubicBezTo>
                <a:close/>
                <a:moveTo>
                  <a:pt x="460" y="633"/>
                </a:moveTo>
                <a:cubicBezTo>
                  <a:pt x="461" y="633"/>
                  <a:pt x="458" y="632"/>
                  <a:pt x="460" y="633"/>
                </a:cubicBezTo>
                <a:close/>
                <a:moveTo>
                  <a:pt x="460" y="643"/>
                </a:moveTo>
                <a:cubicBezTo>
                  <a:pt x="459" y="644"/>
                  <a:pt x="459" y="641"/>
                  <a:pt x="460" y="643"/>
                </a:cubicBezTo>
                <a:close/>
                <a:moveTo>
                  <a:pt x="471" y="641"/>
                </a:moveTo>
                <a:cubicBezTo>
                  <a:pt x="467" y="642"/>
                  <a:pt x="468" y="638"/>
                  <a:pt x="471" y="641"/>
                </a:cubicBezTo>
                <a:close/>
                <a:moveTo>
                  <a:pt x="469" y="656"/>
                </a:moveTo>
                <a:cubicBezTo>
                  <a:pt x="470" y="656"/>
                  <a:pt x="467" y="655"/>
                  <a:pt x="469" y="656"/>
                </a:cubicBezTo>
                <a:close/>
                <a:moveTo>
                  <a:pt x="467" y="622"/>
                </a:moveTo>
                <a:cubicBezTo>
                  <a:pt x="467" y="621"/>
                  <a:pt x="468" y="622"/>
                  <a:pt x="468" y="622"/>
                </a:cubicBezTo>
                <a:cubicBezTo>
                  <a:pt x="469" y="624"/>
                  <a:pt x="466" y="622"/>
                  <a:pt x="467" y="622"/>
                </a:cubicBezTo>
                <a:close/>
                <a:moveTo>
                  <a:pt x="466" y="598"/>
                </a:moveTo>
                <a:cubicBezTo>
                  <a:pt x="467" y="598"/>
                  <a:pt x="467" y="599"/>
                  <a:pt x="467" y="599"/>
                </a:cubicBezTo>
                <a:cubicBezTo>
                  <a:pt x="468" y="601"/>
                  <a:pt x="465" y="599"/>
                  <a:pt x="466" y="598"/>
                </a:cubicBezTo>
                <a:close/>
                <a:moveTo>
                  <a:pt x="470" y="684"/>
                </a:moveTo>
                <a:cubicBezTo>
                  <a:pt x="472" y="686"/>
                  <a:pt x="466" y="685"/>
                  <a:pt x="467" y="683"/>
                </a:cubicBezTo>
                <a:cubicBezTo>
                  <a:pt x="468" y="682"/>
                  <a:pt x="470" y="683"/>
                  <a:pt x="470" y="684"/>
                </a:cubicBezTo>
                <a:close/>
                <a:moveTo>
                  <a:pt x="469" y="666"/>
                </a:moveTo>
                <a:cubicBezTo>
                  <a:pt x="469" y="665"/>
                  <a:pt x="470" y="665"/>
                  <a:pt x="470" y="666"/>
                </a:cubicBezTo>
                <a:cubicBezTo>
                  <a:pt x="471" y="667"/>
                  <a:pt x="469" y="666"/>
                  <a:pt x="469" y="666"/>
                </a:cubicBezTo>
                <a:close/>
                <a:moveTo>
                  <a:pt x="470" y="689"/>
                </a:moveTo>
                <a:cubicBezTo>
                  <a:pt x="475" y="693"/>
                  <a:pt x="467" y="695"/>
                  <a:pt x="467" y="690"/>
                </a:cubicBezTo>
                <a:cubicBezTo>
                  <a:pt x="467" y="690"/>
                  <a:pt x="468" y="687"/>
                  <a:pt x="468" y="687"/>
                </a:cubicBezTo>
                <a:cubicBezTo>
                  <a:pt x="472" y="685"/>
                  <a:pt x="474" y="691"/>
                  <a:pt x="470" y="689"/>
                </a:cubicBezTo>
                <a:close/>
                <a:moveTo>
                  <a:pt x="472" y="667"/>
                </a:moveTo>
                <a:cubicBezTo>
                  <a:pt x="472" y="667"/>
                  <a:pt x="473" y="668"/>
                  <a:pt x="473" y="668"/>
                </a:cubicBezTo>
                <a:cubicBezTo>
                  <a:pt x="475" y="670"/>
                  <a:pt x="470" y="668"/>
                  <a:pt x="472" y="667"/>
                </a:cubicBezTo>
                <a:close/>
                <a:moveTo>
                  <a:pt x="474" y="664"/>
                </a:moveTo>
                <a:cubicBezTo>
                  <a:pt x="474" y="664"/>
                  <a:pt x="475" y="664"/>
                  <a:pt x="475" y="665"/>
                </a:cubicBezTo>
                <a:cubicBezTo>
                  <a:pt x="476" y="667"/>
                  <a:pt x="472" y="665"/>
                  <a:pt x="474" y="664"/>
                </a:cubicBezTo>
                <a:close/>
                <a:moveTo>
                  <a:pt x="476" y="687"/>
                </a:moveTo>
                <a:cubicBezTo>
                  <a:pt x="475" y="687"/>
                  <a:pt x="475" y="684"/>
                  <a:pt x="476" y="685"/>
                </a:cubicBezTo>
                <a:cubicBezTo>
                  <a:pt x="476" y="685"/>
                  <a:pt x="476" y="686"/>
                  <a:pt x="476" y="687"/>
                </a:cubicBezTo>
                <a:close/>
                <a:moveTo>
                  <a:pt x="476" y="673"/>
                </a:moveTo>
                <a:cubicBezTo>
                  <a:pt x="476" y="673"/>
                  <a:pt x="477" y="672"/>
                  <a:pt x="477" y="673"/>
                </a:cubicBezTo>
                <a:cubicBezTo>
                  <a:pt x="478" y="674"/>
                  <a:pt x="476" y="674"/>
                  <a:pt x="476" y="673"/>
                </a:cubicBezTo>
                <a:close/>
                <a:moveTo>
                  <a:pt x="481" y="671"/>
                </a:moveTo>
                <a:cubicBezTo>
                  <a:pt x="477" y="671"/>
                  <a:pt x="479" y="668"/>
                  <a:pt x="481" y="671"/>
                </a:cubicBezTo>
                <a:close/>
                <a:moveTo>
                  <a:pt x="482" y="658"/>
                </a:moveTo>
                <a:cubicBezTo>
                  <a:pt x="477" y="657"/>
                  <a:pt x="479" y="654"/>
                  <a:pt x="482" y="658"/>
                </a:cubicBezTo>
                <a:close/>
                <a:moveTo>
                  <a:pt x="480" y="668"/>
                </a:moveTo>
                <a:cubicBezTo>
                  <a:pt x="481" y="667"/>
                  <a:pt x="481" y="669"/>
                  <a:pt x="480" y="668"/>
                </a:cubicBezTo>
                <a:close/>
                <a:moveTo>
                  <a:pt x="487" y="691"/>
                </a:moveTo>
                <a:cubicBezTo>
                  <a:pt x="488" y="690"/>
                  <a:pt x="489" y="692"/>
                  <a:pt x="489" y="692"/>
                </a:cubicBezTo>
                <a:cubicBezTo>
                  <a:pt x="490" y="695"/>
                  <a:pt x="486" y="693"/>
                  <a:pt x="487" y="691"/>
                </a:cubicBezTo>
                <a:close/>
                <a:moveTo>
                  <a:pt x="493" y="686"/>
                </a:moveTo>
                <a:cubicBezTo>
                  <a:pt x="493" y="686"/>
                  <a:pt x="493" y="686"/>
                  <a:pt x="493" y="686"/>
                </a:cubicBezTo>
                <a:cubicBezTo>
                  <a:pt x="493" y="686"/>
                  <a:pt x="493" y="686"/>
                  <a:pt x="493" y="686"/>
                </a:cubicBezTo>
                <a:cubicBezTo>
                  <a:pt x="493" y="686"/>
                  <a:pt x="493" y="686"/>
                  <a:pt x="493" y="686"/>
                </a:cubicBezTo>
                <a:close/>
                <a:moveTo>
                  <a:pt x="495" y="682"/>
                </a:moveTo>
                <a:cubicBezTo>
                  <a:pt x="497" y="683"/>
                  <a:pt x="494" y="681"/>
                  <a:pt x="495" y="682"/>
                </a:cubicBezTo>
                <a:close/>
                <a:moveTo>
                  <a:pt x="497" y="681"/>
                </a:moveTo>
                <a:cubicBezTo>
                  <a:pt x="497" y="681"/>
                  <a:pt x="497" y="681"/>
                  <a:pt x="497" y="681"/>
                </a:cubicBezTo>
                <a:cubicBezTo>
                  <a:pt x="496" y="680"/>
                  <a:pt x="497" y="681"/>
                  <a:pt x="497" y="681"/>
                </a:cubicBezTo>
                <a:close/>
                <a:moveTo>
                  <a:pt x="496" y="673"/>
                </a:moveTo>
                <a:cubicBezTo>
                  <a:pt x="497" y="674"/>
                  <a:pt x="494" y="674"/>
                  <a:pt x="495" y="673"/>
                </a:cubicBezTo>
                <a:cubicBezTo>
                  <a:pt x="495" y="673"/>
                  <a:pt x="496" y="672"/>
                  <a:pt x="496" y="673"/>
                </a:cubicBezTo>
                <a:close/>
                <a:moveTo>
                  <a:pt x="494" y="670"/>
                </a:moveTo>
                <a:cubicBezTo>
                  <a:pt x="494" y="670"/>
                  <a:pt x="495" y="669"/>
                  <a:pt x="495" y="670"/>
                </a:cubicBezTo>
                <a:cubicBezTo>
                  <a:pt x="496" y="671"/>
                  <a:pt x="492" y="670"/>
                  <a:pt x="494" y="670"/>
                </a:cubicBezTo>
                <a:close/>
                <a:moveTo>
                  <a:pt x="492" y="681"/>
                </a:moveTo>
                <a:cubicBezTo>
                  <a:pt x="492" y="682"/>
                  <a:pt x="494" y="684"/>
                  <a:pt x="494" y="685"/>
                </a:cubicBezTo>
                <a:cubicBezTo>
                  <a:pt x="493" y="685"/>
                  <a:pt x="489" y="685"/>
                  <a:pt x="492" y="682"/>
                </a:cubicBezTo>
                <a:cubicBezTo>
                  <a:pt x="488" y="683"/>
                  <a:pt x="489" y="680"/>
                  <a:pt x="492" y="681"/>
                </a:cubicBezTo>
                <a:close/>
                <a:moveTo>
                  <a:pt x="488" y="684"/>
                </a:moveTo>
                <a:cubicBezTo>
                  <a:pt x="488" y="684"/>
                  <a:pt x="490" y="685"/>
                  <a:pt x="490" y="685"/>
                </a:cubicBezTo>
                <a:cubicBezTo>
                  <a:pt x="491" y="687"/>
                  <a:pt x="486" y="686"/>
                  <a:pt x="488" y="684"/>
                </a:cubicBezTo>
                <a:close/>
                <a:moveTo>
                  <a:pt x="485" y="687"/>
                </a:moveTo>
                <a:cubicBezTo>
                  <a:pt x="485" y="686"/>
                  <a:pt x="486" y="685"/>
                  <a:pt x="487" y="687"/>
                </a:cubicBezTo>
                <a:cubicBezTo>
                  <a:pt x="489" y="688"/>
                  <a:pt x="485" y="688"/>
                  <a:pt x="485" y="687"/>
                </a:cubicBezTo>
                <a:close/>
                <a:moveTo>
                  <a:pt x="485" y="684"/>
                </a:moveTo>
                <a:cubicBezTo>
                  <a:pt x="485" y="683"/>
                  <a:pt x="486" y="683"/>
                  <a:pt x="486" y="683"/>
                </a:cubicBezTo>
                <a:cubicBezTo>
                  <a:pt x="487" y="685"/>
                  <a:pt x="485" y="684"/>
                  <a:pt x="485" y="684"/>
                </a:cubicBezTo>
                <a:close/>
                <a:moveTo>
                  <a:pt x="485" y="683"/>
                </a:moveTo>
                <a:cubicBezTo>
                  <a:pt x="480" y="684"/>
                  <a:pt x="485" y="678"/>
                  <a:pt x="487" y="680"/>
                </a:cubicBezTo>
                <a:cubicBezTo>
                  <a:pt x="487" y="680"/>
                  <a:pt x="485" y="683"/>
                  <a:pt x="485" y="683"/>
                </a:cubicBezTo>
                <a:close/>
                <a:moveTo>
                  <a:pt x="484" y="665"/>
                </a:moveTo>
                <a:cubicBezTo>
                  <a:pt x="484" y="665"/>
                  <a:pt x="485" y="666"/>
                  <a:pt x="485" y="666"/>
                </a:cubicBezTo>
                <a:cubicBezTo>
                  <a:pt x="486" y="667"/>
                  <a:pt x="483" y="666"/>
                  <a:pt x="484" y="665"/>
                </a:cubicBezTo>
                <a:close/>
                <a:moveTo>
                  <a:pt x="486" y="676"/>
                </a:moveTo>
                <a:cubicBezTo>
                  <a:pt x="485" y="676"/>
                  <a:pt x="483" y="672"/>
                  <a:pt x="481" y="672"/>
                </a:cubicBezTo>
                <a:cubicBezTo>
                  <a:pt x="484" y="671"/>
                  <a:pt x="487" y="675"/>
                  <a:pt x="486" y="676"/>
                </a:cubicBezTo>
                <a:close/>
                <a:moveTo>
                  <a:pt x="484" y="651"/>
                </a:moveTo>
                <a:cubicBezTo>
                  <a:pt x="482" y="653"/>
                  <a:pt x="480" y="649"/>
                  <a:pt x="479" y="648"/>
                </a:cubicBezTo>
                <a:cubicBezTo>
                  <a:pt x="480" y="648"/>
                  <a:pt x="485" y="650"/>
                  <a:pt x="484" y="651"/>
                </a:cubicBezTo>
                <a:close/>
                <a:moveTo>
                  <a:pt x="482" y="644"/>
                </a:moveTo>
                <a:cubicBezTo>
                  <a:pt x="484" y="644"/>
                  <a:pt x="483" y="646"/>
                  <a:pt x="482" y="644"/>
                </a:cubicBezTo>
                <a:close/>
                <a:moveTo>
                  <a:pt x="482" y="639"/>
                </a:moveTo>
                <a:cubicBezTo>
                  <a:pt x="483" y="642"/>
                  <a:pt x="477" y="641"/>
                  <a:pt x="478" y="639"/>
                </a:cubicBezTo>
                <a:cubicBezTo>
                  <a:pt x="479" y="637"/>
                  <a:pt x="482" y="638"/>
                  <a:pt x="482" y="639"/>
                </a:cubicBezTo>
                <a:close/>
                <a:moveTo>
                  <a:pt x="481" y="637"/>
                </a:moveTo>
                <a:cubicBezTo>
                  <a:pt x="480" y="636"/>
                  <a:pt x="481" y="635"/>
                  <a:pt x="481" y="637"/>
                </a:cubicBezTo>
                <a:close/>
                <a:moveTo>
                  <a:pt x="482" y="621"/>
                </a:moveTo>
                <a:cubicBezTo>
                  <a:pt x="481" y="622"/>
                  <a:pt x="481" y="621"/>
                  <a:pt x="480" y="621"/>
                </a:cubicBezTo>
                <a:cubicBezTo>
                  <a:pt x="481" y="620"/>
                  <a:pt x="481" y="621"/>
                  <a:pt x="482" y="621"/>
                </a:cubicBezTo>
                <a:close/>
                <a:moveTo>
                  <a:pt x="480" y="622"/>
                </a:moveTo>
                <a:cubicBezTo>
                  <a:pt x="481" y="622"/>
                  <a:pt x="480" y="623"/>
                  <a:pt x="479" y="622"/>
                </a:cubicBezTo>
                <a:cubicBezTo>
                  <a:pt x="479" y="622"/>
                  <a:pt x="480" y="621"/>
                  <a:pt x="480" y="622"/>
                </a:cubicBezTo>
                <a:close/>
                <a:moveTo>
                  <a:pt x="479" y="615"/>
                </a:moveTo>
                <a:cubicBezTo>
                  <a:pt x="480" y="616"/>
                  <a:pt x="477" y="615"/>
                  <a:pt x="477" y="615"/>
                </a:cubicBezTo>
                <a:cubicBezTo>
                  <a:pt x="477" y="614"/>
                  <a:pt x="479" y="614"/>
                  <a:pt x="479" y="615"/>
                </a:cubicBezTo>
                <a:close/>
                <a:moveTo>
                  <a:pt x="477" y="640"/>
                </a:moveTo>
                <a:cubicBezTo>
                  <a:pt x="478" y="641"/>
                  <a:pt x="476" y="638"/>
                  <a:pt x="477" y="640"/>
                </a:cubicBezTo>
                <a:close/>
                <a:moveTo>
                  <a:pt x="477" y="654"/>
                </a:moveTo>
                <a:cubicBezTo>
                  <a:pt x="478" y="655"/>
                  <a:pt x="476" y="654"/>
                  <a:pt x="476" y="654"/>
                </a:cubicBezTo>
                <a:cubicBezTo>
                  <a:pt x="475" y="653"/>
                  <a:pt x="477" y="654"/>
                  <a:pt x="477" y="654"/>
                </a:cubicBezTo>
                <a:close/>
                <a:moveTo>
                  <a:pt x="476" y="611"/>
                </a:moveTo>
                <a:cubicBezTo>
                  <a:pt x="477" y="612"/>
                  <a:pt x="475" y="609"/>
                  <a:pt x="476" y="611"/>
                </a:cubicBezTo>
                <a:close/>
                <a:moveTo>
                  <a:pt x="476" y="642"/>
                </a:moveTo>
                <a:cubicBezTo>
                  <a:pt x="475" y="643"/>
                  <a:pt x="475" y="640"/>
                  <a:pt x="476" y="642"/>
                </a:cubicBezTo>
                <a:close/>
                <a:moveTo>
                  <a:pt x="474" y="617"/>
                </a:moveTo>
                <a:cubicBezTo>
                  <a:pt x="475" y="617"/>
                  <a:pt x="474" y="618"/>
                  <a:pt x="473" y="617"/>
                </a:cubicBezTo>
                <a:cubicBezTo>
                  <a:pt x="473" y="617"/>
                  <a:pt x="474" y="616"/>
                  <a:pt x="474" y="617"/>
                </a:cubicBezTo>
                <a:close/>
                <a:moveTo>
                  <a:pt x="476" y="646"/>
                </a:moveTo>
                <a:cubicBezTo>
                  <a:pt x="475" y="645"/>
                  <a:pt x="474" y="644"/>
                  <a:pt x="473" y="644"/>
                </a:cubicBezTo>
                <a:cubicBezTo>
                  <a:pt x="474" y="644"/>
                  <a:pt x="476" y="645"/>
                  <a:pt x="476" y="646"/>
                </a:cubicBezTo>
                <a:close/>
                <a:moveTo>
                  <a:pt x="475" y="654"/>
                </a:moveTo>
                <a:cubicBezTo>
                  <a:pt x="475" y="654"/>
                  <a:pt x="474" y="657"/>
                  <a:pt x="473" y="656"/>
                </a:cubicBezTo>
                <a:cubicBezTo>
                  <a:pt x="471" y="655"/>
                  <a:pt x="474" y="651"/>
                  <a:pt x="475" y="654"/>
                </a:cubicBezTo>
                <a:close/>
                <a:moveTo>
                  <a:pt x="474" y="661"/>
                </a:moveTo>
                <a:cubicBezTo>
                  <a:pt x="476" y="667"/>
                  <a:pt x="462" y="660"/>
                  <a:pt x="467" y="656"/>
                </a:cubicBezTo>
                <a:cubicBezTo>
                  <a:pt x="466" y="657"/>
                  <a:pt x="470" y="657"/>
                  <a:pt x="469" y="657"/>
                </a:cubicBezTo>
                <a:cubicBezTo>
                  <a:pt x="470" y="657"/>
                  <a:pt x="474" y="660"/>
                  <a:pt x="474" y="661"/>
                </a:cubicBezTo>
                <a:close/>
                <a:moveTo>
                  <a:pt x="468" y="591"/>
                </a:moveTo>
                <a:cubicBezTo>
                  <a:pt x="466" y="590"/>
                  <a:pt x="467" y="589"/>
                  <a:pt x="466" y="588"/>
                </a:cubicBezTo>
                <a:cubicBezTo>
                  <a:pt x="466" y="587"/>
                  <a:pt x="465" y="586"/>
                  <a:pt x="465" y="585"/>
                </a:cubicBezTo>
                <a:cubicBezTo>
                  <a:pt x="466" y="581"/>
                  <a:pt x="472" y="585"/>
                  <a:pt x="471" y="589"/>
                </a:cubicBezTo>
                <a:cubicBezTo>
                  <a:pt x="471" y="590"/>
                  <a:pt x="470" y="593"/>
                  <a:pt x="468" y="591"/>
                </a:cubicBezTo>
                <a:close/>
                <a:moveTo>
                  <a:pt x="466" y="483"/>
                </a:moveTo>
                <a:cubicBezTo>
                  <a:pt x="468" y="484"/>
                  <a:pt x="467" y="485"/>
                  <a:pt x="469" y="486"/>
                </a:cubicBezTo>
                <a:cubicBezTo>
                  <a:pt x="468" y="486"/>
                  <a:pt x="466" y="485"/>
                  <a:pt x="466" y="483"/>
                </a:cubicBezTo>
                <a:close/>
                <a:moveTo>
                  <a:pt x="475" y="566"/>
                </a:moveTo>
                <a:cubicBezTo>
                  <a:pt x="476" y="565"/>
                  <a:pt x="478" y="567"/>
                  <a:pt x="478" y="567"/>
                </a:cubicBezTo>
                <a:cubicBezTo>
                  <a:pt x="479" y="569"/>
                  <a:pt x="474" y="567"/>
                  <a:pt x="475" y="566"/>
                </a:cubicBezTo>
                <a:close/>
                <a:moveTo>
                  <a:pt x="477" y="592"/>
                </a:moveTo>
                <a:cubicBezTo>
                  <a:pt x="477" y="592"/>
                  <a:pt x="476" y="591"/>
                  <a:pt x="477" y="592"/>
                </a:cubicBezTo>
                <a:cubicBezTo>
                  <a:pt x="477" y="593"/>
                  <a:pt x="477" y="592"/>
                  <a:pt x="477" y="592"/>
                </a:cubicBezTo>
                <a:close/>
                <a:moveTo>
                  <a:pt x="477" y="587"/>
                </a:moveTo>
                <a:cubicBezTo>
                  <a:pt x="478" y="586"/>
                  <a:pt x="479" y="588"/>
                  <a:pt x="480" y="588"/>
                </a:cubicBezTo>
                <a:cubicBezTo>
                  <a:pt x="480" y="591"/>
                  <a:pt x="475" y="588"/>
                  <a:pt x="477" y="587"/>
                </a:cubicBezTo>
                <a:close/>
                <a:moveTo>
                  <a:pt x="479" y="454"/>
                </a:moveTo>
                <a:cubicBezTo>
                  <a:pt x="478" y="453"/>
                  <a:pt x="480" y="456"/>
                  <a:pt x="479" y="454"/>
                </a:cubicBezTo>
                <a:close/>
                <a:moveTo>
                  <a:pt x="496" y="587"/>
                </a:moveTo>
                <a:cubicBezTo>
                  <a:pt x="497" y="588"/>
                  <a:pt x="495" y="587"/>
                  <a:pt x="495" y="586"/>
                </a:cubicBezTo>
                <a:cubicBezTo>
                  <a:pt x="496" y="586"/>
                  <a:pt x="496" y="586"/>
                  <a:pt x="496" y="587"/>
                </a:cubicBezTo>
                <a:close/>
                <a:moveTo>
                  <a:pt x="496" y="580"/>
                </a:moveTo>
                <a:cubicBezTo>
                  <a:pt x="495" y="578"/>
                  <a:pt x="496" y="582"/>
                  <a:pt x="496" y="580"/>
                </a:cubicBezTo>
                <a:close/>
                <a:moveTo>
                  <a:pt x="496" y="559"/>
                </a:moveTo>
                <a:cubicBezTo>
                  <a:pt x="496" y="559"/>
                  <a:pt x="496" y="559"/>
                  <a:pt x="496" y="560"/>
                </a:cubicBezTo>
                <a:cubicBezTo>
                  <a:pt x="497" y="561"/>
                  <a:pt x="496" y="560"/>
                  <a:pt x="496" y="559"/>
                </a:cubicBezTo>
                <a:close/>
                <a:moveTo>
                  <a:pt x="496" y="596"/>
                </a:moveTo>
                <a:cubicBezTo>
                  <a:pt x="495" y="595"/>
                  <a:pt x="497" y="597"/>
                  <a:pt x="496" y="596"/>
                </a:cubicBezTo>
                <a:close/>
                <a:moveTo>
                  <a:pt x="496" y="590"/>
                </a:moveTo>
                <a:cubicBezTo>
                  <a:pt x="497" y="589"/>
                  <a:pt x="498" y="592"/>
                  <a:pt x="496" y="592"/>
                </a:cubicBezTo>
                <a:cubicBezTo>
                  <a:pt x="495" y="593"/>
                  <a:pt x="495" y="591"/>
                  <a:pt x="496" y="590"/>
                </a:cubicBezTo>
                <a:close/>
                <a:moveTo>
                  <a:pt x="499" y="609"/>
                </a:moveTo>
                <a:cubicBezTo>
                  <a:pt x="502" y="612"/>
                  <a:pt x="502" y="609"/>
                  <a:pt x="504" y="609"/>
                </a:cubicBezTo>
                <a:cubicBezTo>
                  <a:pt x="504" y="609"/>
                  <a:pt x="506" y="610"/>
                  <a:pt x="506" y="611"/>
                </a:cubicBezTo>
                <a:cubicBezTo>
                  <a:pt x="508" y="615"/>
                  <a:pt x="499" y="614"/>
                  <a:pt x="499" y="609"/>
                </a:cubicBezTo>
                <a:close/>
                <a:moveTo>
                  <a:pt x="505" y="598"/>
                </a:moveTo>
                <a:cubicBezTo>
                  <a:pt x="505" y="600"/>
                  <a:pt x="503" y="601"/>
                  <a:pt x="501" y="601"/>
                </a:cubicBezTo>
                <a:cubicBezTo>
                  <a:pt x="498" y="601"/>
                  <a:pt x="497" y="598"/>
                  <a:pt x="497" y="595"/>
                </a:cubicBezTo>
                <a:cubicBezTo>
                  <a:pt x="497" y="595"/>
                  <a:pt x="497" y="594"/>
                  <a:pt x="496" y="594"/>
                </a:cubicBezTo>
                <a:cubicBezTo>
                  <a:pt x="497" y="593"/>
                  <a:pt x="500" y="593"/>
                  <a:pt x="500" y="593"/>
                </a:cubicBezTo>
                <a:cubicBezTo>
                  <a:pt x="501" y="591"/>
                  <a:pt x="496" y="591"/>
                  <a:pt x="497" y="589"/>
                </a:cubicBezTo>
                <a:cubicBezTo>
                  <a:pt x="498" y="587"/>
                  <a:pt x="500" y="590"/>
                  <a:pt x="500" y="591"/>
                </a:cubicBezTo>
                <a:cubicBezTo>
                  <a:pt x="502" y="592"/>
                  <a:pt x="503" y="590"/>
                  <a:pt x="503" y="593"/>
                </a:cubicBezTo>
                <a:cubicBezTo>
                  <a:pt x="503" y="594"/>
                  <a:pt x="506" y="597"/>
                  <a:pt x="506" y="597"/>
                </a:cubicBezTo>
                <a:cubicBezTo>
                  <a:pt x="507" y="597"/>
                  <a:pt x="507" y="595"/>
                  <a:pt x="508" y="597"/>
                </a:cubicBezTo>
                <a:cubicBezTo>
                  <a:pt x="508" y="596"/>
                  <a:pt x="507" y="600"/>
                  <a:pt x="508" y="600"/>
                </a:cubicBezTo>
                <a:cubicBezTo>
                  <a:pt x="507" y="600"/>
                  <a:pt x="506" y="600"/>
                  <a:pt x="505" y="598"/>
                </a:cubicBezTo>
                <a:close/>
                <a:moveTo>
                  <a:pt x="499" y="528"/>
                </a:moveTo>
                <a:cubicBezTo>
                  <a:pt x="500" y="528"/>
                  <a:pt x="500" y="529"/>
                  <a:pt x="501" y="529"/>
                </a:cubicBezTo>
                <a:cubicBezTo>
                  <a:pt x="502" y="530"/>
                  <a:pt x="498" y="529"/>
                  <a:pt x="499" y="528"/>
                </a:cubicBezTo>
                <a:close/>
                <a:moveTo>
                  <a:pt x="501" y="521"/>
                </a:moveTo>
                <a:cubicBezTo>
                  <a:pt x="502" y="520"/>
                  <a:pt x="502" y="522"/>
                  <a:pt x="502" y="522"/>
                </a:cubicBezTo>
                <a:cubicBezTo>
                  <a:pt x="502" y="523"/>
                  <a:pt x="500" y="521"/>
                  <a:pt x="501" y="521"/>
                </a:cubicBezTo>
                <a:close/>
                <a:moveTo>
                  <a:pt x="509" y="616"/>
                </a:moveTo>
                <a:cubicBezTo>
                  <a:pt x="508" y="616"/>
                  <a:pt x="507" y="614"/>
                  <a:pt x="508" y="614"/>
                </a:cubicBezTo>
                <a:cubicBezTo>
                  <a:pt x="510" y="614"/>
                  <a:pt x="510" y="616"/>
                  <a:pt x="509" y="616"/>
                </a:cubicBezTo>
                <a:close/>
                <a:moveTo>
                  <a:pt x="510" y="615"/>
                </a:moveTo>
                <a:cubicBezTo>
                  <a:pt x="510" y="615"/>
                  <a:pt x="511" y="615"/>
                  <a:pt x="511" y="616"/>
                </a:cubicBezTo>
                <a:cubicBezTo>
                  <a:pt x="512" y="617"/>
                  <a:pt x="510" y="616"/>
                  <a:pt x="510" y="615"/>
                </a:cubicBezTo>
                <a:close/>
                <a:moveTo>
                  <a:pt x="515" y="611"/>
                </a:moveTo>
                <a:cubicBezTo>
                  <a:pt x="514" y="610"/>
                  <a:pt x="516" y="610"/>
                  <a:pt x="515" y="611"/>
                </a:cubicBezTo>
                <a:close/>
                <a:moveTo>
                  <a:pt x="518" y="606"/>
                </a:moveTo>
                <a:cubicBezTo>
                  <a:pt x="517" y="604"/>
                  <a:pt x="519" y="603"/>
                  <a:pt x="518" y="606"/>
                </a:cubicBezTo>
                <a:close/>
                <a:moveTo>
                  <a:pt x="518" y="567"/>
                </a:moveTo>
                <a:cubicBezTo>
                  <a:pt x="517" y="568"/>
                  <a:pt x="518" y="565"/>
                  <a:pt x="518" y="567"/>
                </a:cubicBezTo>
                <a:close/>
                <a:moveTo>
                  <a:pt x="520" y="607"/>
                </a:moveTo>
                <a:cubicBezTo>
                  <a:pt x="519" y="607"/>
                  <a:pt x="520" y="607"/>
                  <a:pt x="520" y="607"/>
                </a:cubicBezTo>
                <a:close/>
                <a:moveTo>
                  <a:pt x="520" y="607"/>
                </a:moveTo>
                <a:cubicBezTo>
                  <a:pt x="520" y="608"/>
                  <a:pt x="520" y="608"/>
                  <a:pt x="520" y="608"/>
                </a:cubicBezTo>
                <a:cubicBezTo>
                  <a:pt x="520" y="608"/>
                  <a:pt x="520" y="608"/>
                  <a:pt x="520" y="608"/>
                </a:cubicBezTo>
                <a:cubicBezTo>
                  <a:pt x="520" y="608"/>
                  <a:pt x="520" y="608"/>
                  <a:pt x="520" y="607"/>
                </a:cubicBezTo>
                <a:close/>
                <a:moveTo>
                  <a:pt x="520" y="587"/>
                </a:moveTo>
                <a:cubicBezTo>
                  <a:pt x="520" y="587"/>
                  <a:pt x="521" y="588"/>
                  <a:pt x="521" y="588"/>
                </a:cubicBezTo>
                <a:cubicBezTo>
                  <a:pt x="522" y="589"/>
                  <a:pt x="519" y="588"/>
                  <a:pt x="520" y="587"/>
                </a:cubicBezTo>
                <a:close/>
                <a:moveTo>
                  <a:pt x="524" y="590"/>
                </a:moveTo>
                <a:cubicBezTo>
                  <a:pt x="523" y="591"/>
                  <a:pt x="524" y="588"/>
                  <a:pt x="524" y="590"/>
                </a:cubicBezTo>
                <a:close/>
                <a:moveTo>
                  <a:pt x="525" y="609"/>
                </a:moveTo>
                <a:cubicBezTo>
                  <a:pt x="528" y="610"/>
                  <a:pt x="527" y="613"/>
                  <a:pt x="529" y="615"/>
                </a:cubicBezTo>
                <a:cubicBezTo>
                  <a:pt x="527" y="614"/>
                  <a:pt x="526" y="611"/>
                  <a:pt x="525" y="609"/>
                </a:cubicBezTo>
                <a:close/>
                <a:moveTo>
                  <a:pt x="525" y="580"/>
                </a:moveTo>
                <a:cubicBezTo>
                  <a:pt x="525" y="582"/>
                  <a:pt x="522" y="580"/>
                  <a:pt x="523" y="579"/>
                </a:cubicBezTo>
                <a:cubicBezTo>
                  <a:pt x="524" y="578"/>
                  <a:pt x="525" y="579"/>
                  <a:pt x="525" y="580"/>
                </a:cubicBezTo>
                <a:close/>
                <a:moveTo>
                  <a:pt x="524" y="565"/>
                </a:moveTo>
                <a:cubicBezTo>
                  <a:pt x="524" y="564"/>
                  <a:pt x="525" y="566"/>
                  <a:pt x="525" y="566"/>
                </a:cubicBezTo>
                <a:cubicBezTo>
                  <a:pt x="525" y="568"/>
                  <a:pt x="523" y="566"/>
                  <a:pt x="524" y="565"/>
                </a:cubicBezTo>
                <a:close/>
                <a:moveTo>
                  <a:pt x="524" y="549"/>
                </a:moveTo>
                <a:cubicBezTo>
                  <a:pt x="525" y="547"/>
                  <a:pt x="529" y="549"/>
                  <a:pt x="529" y="551"/>
                </a:cubicBezTo>
                <a:cubicBezTo>
                  <a:pt x="530" y="557"/>
                  <a:pt x="524" y="550"/>
                  <a:pt x="524" y="549"/>
                </a:cubicBezTo>
                <a:close/>
                <a:moveTo>
                  <a:pt x="525" y="541"/>
                </a:moveTo>
                <a:cubicBezTo>
                  <a:pt x="523" y="541"/>
                  <a:pt x="525" y="539"/>
                  <a:pt x="525" y="541"/>
                </a:cubicBezTo>
                <a:close/>
                <a:moveTo>
                  <a:pt x="526" y="576"/>
                </a:moveTo>
                <a:cubicBezTo>
                  <a:pt x="526" y="576"/>
                  <a:pt x="526" y="576"/>
                  <a:pt x="526" y="576"/>
                </a:cubicBezTo>
                <a:cubicBezTo>
                  <a:pt x="526" y="574"/>
                  <a:pt x="526" y="576"/>
                  <a:pt x="526" y="576"/>
                </a:cubicBezTo>
                <a:close/>
                <a:moveTo>
                  <a:pt x="530" y="596"/>
                </a:moveTo>
                <a:cubicBezTo>
                  <a:pt x="530" y="596"/>
                  <a:pt x="530" y="597"/>
                  <a:pt x="531" y="597"/>
                </a:cubicBezTo>
                <a:cubicBezTo>
                  <a:pt x="531" y="599"/>
                  <a:pt x="528" y="596"/>
                  <a:pt x="530" y="596"/>
                </a:cubicBezTo>
                <a:close/>
                <a:moveTo>
                  <a:pt x="527" y="595"/>
                </a:moveTo>
                <a:cubicBezTo>
                  <a:pt x="526" y="594"/>
                  <a:pt x="528" y="590"/>
                  <a:pt x="530" y="591"/>
                </a:cubicBezTo>
                <a:cubicBezTo>
                  <a:pt x="532" y="592"/>
                  <a:pt x="531" y="598"/>
                  <a:pt x="527" y="595"/>
                </a:cubicBezTo>
                <a:close/>
                <a:moveTo>
                  <a:pt x="533" y="617"/>
                </a:moveTo>
                <a:cubicBezTo>
                  <a:pt x="533" y="618"/>
                  <a:pt x="532" y="616"/>
                  <a:pt x="533" y="617"/>
                </a:cubicBezTo>
                <a:close/>
                <a:moveTo>
                  <a:pt x="533" y="600"/>
                </a:moveTo>
                <a:cubicBezTo>
                  <a:pt x="534" y="601"/>
                  <a:pt x="531" y="600"/>
                  <a:pt x="532" y="599"/>
                </a:cubicBezTo>
                <a:cubicBezTo>
                  <a:pt x="532" y="598"/>
                  <a:pt x="533" y="599"/>
                  <a:pt x="533" y="600"/>
                </a:cubicBezTo>
                <a:close/>
                <a:moveTo>
                  <a:pt x="531" y="579"/>
                </a:moveTo>
                <a:cubicBezTo>
                  <a:pt x="530" y="577"/>
                  <a:pt x="529" y="575"/>
                  <a:pt x="529" y="572"/>
                </a:cubicBezTo>
                <a:cubicBezTo>
                  <a:pt x="530" y="574"/>
                  <a:pt x="531" y="576"/>
                  <a:pt x="531" y="579"/>
                </a:cubicBezTo>
                <a:close/>
                <a:moveTo>
                  <a:pt x="532" y="541"/>
                </a:moveTo>
                <a:cubicBezTo>
                  <a:pt x="533" y="541"/>
                  <a:pt x="530" y="540"/>
                  <a:pt x="532" y="541"/>
                </a:cubicBezTo>
                <a:close/>
                <a:moveTo>
                  <a:pt x="531" y="502"/>
                </a:moveTo>
                <a:cubicBezTo>
                  <a:pt x="529" y="501"/>
                  <a:pt x="529" y="499"/>
                  <a:pt x="529" y="498"/>
                </a:cubicBezTo>
                <a:cubicBezTo>
                  <a:pt x="530" y="499"/>
                  <a:pt x="530" y="500"/>
                  <a:pt x="531" y="502"/>
                </a:cubicBezTo>
                <a:close/>
                <a:moveTo>
                  <a:pt x="526" y="400"/>
                </a:moveTo>
                <a:cubicBezTo>
                  <a:pt x="528" y="399"/>
                  <a:pt x="530" y="401"/>
                  <a:pt x="529" y="402"/>
                </a:cubicBezTo>
                <a:cubicBezTo>
                  <a:pt x="529" y="406"/>
                  <a:pt x="525" y="401"/>
                  <a:pt x="526" y="400"/>
                </a:cubicBezTo>
                <a:close/>
                <a:moveTo>
                  <a:pt x="529" y="495"/>
                </a:moveTo>
                <a:cubicBezTo>
                  <a:pt x="528" y="491"/>
                  <a:pt x="529" y="498"/>
                  <a:pt x="529" y="495"/>
                </a:cubicBezTo>
                <a:close/>
                <a:moveTo>
                  <a:pt x="528" y="472"/>
                </a:moveTo>
                <a:cubicBezTo>
                  <a:pt x="528" y="473"/>
                  <a:pt x="528" y="472"/>
                  <a:pt x="528" y="473"/>
                </a:cubicBezTo>
                <a:cubicBezTo>
                  <a:pt x="529" y="474"/>
                  <a:pt x="526" y="471"/>
                  <a:pt x="528" y="472"/>
                </a:cubicBezTo>
                <a:close/>
                <a:moveTo>
                  <a:pt x="527" y="451"/>
                </a:moveTo>
                <a:cubicBezTo>
                  <a:pt x="527" y="452"/>
                  <a:pt x="527" y="453"/>
                  <a:pt x="527" y="454"/>
                </a:cubicBezTo>
                <a:cubicBezTo>
                  <a:pt x="527" y="452"/>
                  <a:pt x="527" y="452"/>
                  <a:pt x="527" y="451"/>
                </a:cubicBezTo>
                <a:close/>
                <a:moveTo>
                  <a:pt x="526" y="427"/>
                </a:moveTo>
                <a:cubicBezTo>
                  <a:pt x="525" y="428"/>
                  <a:pt x="526" y="425"/>
                  <a:pt x="526" y="427"/>
                </a:cubicBezTo>
                <a:close/>
                <a:moveTo>
                  <a:pt x="525" y="423"/>
                </a:moveTo>
                <a:cubicBezTo>
                  <a:pt x="525" y="424"/>
                  <a:pt x="526" y="425"/>
                  <a:pt x="525" y="426"/>
                </a:cubicBezTo>
                <a:cubicBezTo>
                  <a:pt x="525" y="425"/>
                  <a:pt x="524" y="424"/>
                  <a:pt x="525" y="423"/>
                </a:cubicBezTo>
                <a:close/>
                <a:moveTo>
                  <a:pt x="523" y="458"/>
                </a:moveTo>
                <a:cubicBezTo>
                  <a:pt x="523" y="458"/>
                  <a:pt x="523" y="458"/>
                  <a:pt x="523" y="458"/>
                </a:cubicBezTo>
                <a:cubicBezTo>
                  <a:pt x="523" y="458"/>
                  <a:pt x="523" y="458"/>
                  <a:pt x="523" y="458"/>
                </a:cubicBezTo>
                <a:cubicBezTo>
                  <a:pt x="523" y="458"/>
                  <a:pt x="523" y="458"/>
                  <a:pt x="523" y="458"/>
                </a:cubicBezTo>
                <a:close/>
                <a:moveTo>
                  <a:pt x="530" y="536"/>
                </a:moveTo>
                <a:cubicBezTo>
                  <a:pt x="527" y="532"/>
                  <a:pt x="525" y="528"/>
                  <a:pt x="523" y="523"/>
                </a:cubicBezTo>
                <a:cubicBezTo>
                  <a:pt x="526" y="527"/>
                  <a:pt x="529" y="531"/>
                  <a:pt x="530" y="536"/>
                </a:cubicBezTo>
                <a:close/>
                <a:moveTo>
                  <a:pt x="525" y="586"/>
                </a:moveTo>
                <a:cubicBezTo>
                  <a:pt x="525" y="586"/>
                  <a:pt x="525" y="587"/>
                  <a:pt x="524" y="587"/>
                </a:cubicBezTo>
                <a:cubicBezTo>
                  <a:pt x="520" y="589"/>
                  <a:pt x="523" y="581"/>
                  <a:pt x="525" y="586"/>
                </a:cubicBezTo>
                <a:close/>
                <a:moveTo>
                  <a:pt x="521" y="487"/>
                </a:moveTo>
                <a:cubicBezTo>
                  <a:pt x="522" y="487"/>
                  <a:pt x="522" y="487"/>
                  <a:pt x="522" y="487"/>
                </a:cubicBezTo>
                <a:cubicBezTo>
                  <a:pt x="523" y="489"/>
                  <a:pt x="520" y="487"/>
                  <a:pt x="521" y="487"/>
                </a:cubicBezTo>
                <a:close/>
                <a:moveTo>
                  <a:pt x="520" y="406"/>
                </a:moveTo>
                <a:cubicBezTo>
                  <a:pt x="519" y="407"/>
                  <a:pt x="519" y="405"/>
                  <a:pt x="519" y="404"/>
                </a:cubicBezTo>
                <a:cubicBezTo>
                  <a:pt x="520" y="404"/>
                  <a:pt x="520" y="406"/>
                  <a:pt x="520" y="406"/>
                </a:cubicBezTo>
                <a:close/>
                <a:moveTo>
                  <a:pt x="518" y="118"/>
                </a:moveTo>
                <a:cubicBezTo>
                  <a:pt x="516" y="117"/>
                  <a:pt x="520" y="119"/>
                  <a:pt x="518" y="118"/>
                </a:cubicBezTo>
                <a:close/>
                <a:moveTo>
                  <a:pt x="520" y="517"/>
                </a:moveTo>
                <a:cubicBezTo>
                  <a:pt x="520" y="517"/>
                  <a:pt x="523" y="522"/>
                  <a:pt x="521" y="521"/>
                </a:cubicBezTo>
                <a:cubicBezTo>
                  <a:pt x="519" y="520"/>
                  <a:pt x="518" y="514"/>
                  <a:pt x="517" y="511"/>
                </a:cubicBezTo>
                <a:cubicBezTo>
                  <a:pt x="518" y="512"/>
                  <a:pt x="519" y="515"/>
                  <a:pt x="520" y="517"/>
                </a:cubicBezTo>
                <a:close/>
                <a:moveTo>
                  <a:pt x="517" y="510"/>
                </a:moveTo>
                <a:cubicBezTo>
                  <a:pt x="516" y="508"/>
                  <a:pt x="515" y="507"/>
                  <a:pt x="515" y="506"/>
                </a:cubicBezTo>
                <a:cubicBezTo>
                  <a:pt x="516" y="506"/>
                  <a:pt x="517" y="508"/>
                  <a:pt x="517" y="510"/>
                </a:cubicBezTo>
                <a:close/>
                <a:moveTo>
                  <a:pt x="517" y="585"/>
                </a:moveTo>
                <a:cubicBezTo>
                  <a:pt x="516" y="585"/>
                  <a:pt x="516" y="584"/>
                  <a:pt x="516" y="584"/>
                </a:cubicBezTo>
                <a:cubicBezTo>
                  <a:pt x="517" y="584"/>
                  <a:pt x="517" y="585"/>
                  <a:pt x="517" y="585"/>
                </a:cubicBezTo>
                <a:close/>
                <a:moveTo>
                  <a:pt x="513" y="496"/>
                </a:moveTo>
                <a:cubicBezTo>
                  <a:pt x="514" y="498"/>
                  <a:pt x="515" y="500"/>
                  <a:pt x="516" y="502"/>
                </a:cubicBezTo>
                <a:cubicBezTo>
                  <a:pt x="516" y="502"/>
                  <a:pt x="513" y="498"/>
                  <a:pt x="513" y="496"/>
                </a:cubicBezTo>
                <a:close/>
                <a:moveTo>
                  <a:pt x="513" y="532"/>
                </a:moveTo>
                <a:cubicBezTo>
                  <a:pt x="513" y="532"/>
                  <a:pt x="513" y="531"/>
                  <a:pt x="513" y="532"/>
                </a:cubicBezTo>
                <a:cubicBezTo>
                  <a:pt x="513" y="532"/>
                  <a:pt x="513" y="532"/>
                  <a:pt x="513" y="532"/>
                </a:cubicBezTo>
                <a:close/>
                <a:moveTo>
                  <a:pt x="514" y="115"/>
                </a:moveTo>
                <a:cubicBezTo>
                  <a:pt x="514" y="116"/>
                  <a:pt x="512" y="115"/>
                  <a:pt x="512" y="114"/>
                </a:cubicBezTo>
                <a:cubicBezTo>
                  <a:pt x="513" y="114"/>
                  <a:pt x="513" y="115"/>
                  <a:pt x="514" y="115"/>
                </a:cubicBezTo>
                <a:close/>
                <a:moveTo>
                  <a:pt x="513" y="495"/>
                </a:moveTo>
                <a:cubicBezTo>
                  <a:pt x="513" y="496"/>
                  <a:pt x="512" y="493"/>
                  <a:pt x="513" y="495"/>
                </a:cubicBezTo>
                <a:close/>
                <a:moveTo>
                  <a:pt x="515" y="592"/>
                </a:moveTo>
                <a:cubicBezTo>
                  <a:pt x="516" y="594"/>
                  <a:pt x="518" y="595"/>
                  <a:pt x="518" y="598"/>
                </a:cubicBezTo>
                <a:cubicBezTo>
                  <a:pt x="514" y="592"/>
                  <a:pt x="511" y="585"/>
                  <a:pt x="507" y="580"/>
                </a:cubicBezTo>
                <a:cubicBezTo>
                  <a:pt x="504" y="575"/>
                  <a:pt x="511" y="583"/>
                  <a:pt x="512" y="584"/>
                </a:cubicBezTo>
                <a:cubicBezTo>
                  <a:pt x="513" y="586"/>
                  <a:pt x="514" y="590"/>
                  <a:pt x="515" y="592"/>
                </a:cubicBezTo>
                <a:close/>
                <a:moveTo>
                  <a:pt x="509" y="537"/>
                </a:moveTo>
                <a:cubicBezTo>
                  <a:pt x="509" y="539"/>
                  <a:pt x="507" y="537"/>
                  <a:pt x="508" y="537"/>
                </a:cubicBezTo>
                <a:cubicBezTo>
                  <a:pt x="508" y="536"/>
                  <a:pt x="509" y="537"/>
                  <a:pt x="509" y="537"/>
                </a:cubicBezTo>
                <a:close/>
                <a:moveTo>
                  <a:pt x="508" y="484"/>
                </a:moveTo>
                <a:cubicBezTo>
                  <a:pt x="509" y="485"/>
                  <a:pt x="508" y="483"/>
                  <a:pt x="508" y="484"/>
                </a:cubicBezTo>
                <a:close/>
                <a:moveTo>
                  <a:pt x="510" y="544"/>
                </a:moveTo>
                <a:cubicBezTo>
                  <a:pt x="510" y="544"/>
                  <a:pt x="510" y="545"/>
                  <a:pt x="510" y="545"/>
                </a:cubicBezTo>
                <a:cubicBezTo>
                  <a:pt x="507" y="546"/>
                  <a:pt x="508" y="541"/>
                  <a:pt x="510" y="544"/>
                </a:cubicBezTo>
                <a:close/>
                <a:moveTo>
                  <a:pt x="507" y="463"/>
                </a:moveTo>
                <a:cubicBezTo>
                  <a:pt x="508" y="467"/>
                  <a:pt x="511" y="471"/>
                  <a:pt x="511" y="476"/>
                </a:cubicBezTo>
                <a:cubicBezTo>
                  <a:pt x="509" y="472"/>
                  <a:pt x="508" y="468"/>
                  <a:pt x="507" y="463"/>
                </a:cubicBezTo>
                <a:close/>
                <a:moveTo>
                  <a:pt x="508" y="387"/>
                </a:moveTo>
                <a:cubicBezTo>
                  <a:pt x="506" y="384"/>
                  <a:pt x="505" y="381"/>
                  <a:pt x="505" y="378"/>
                </a:cubicBezTo>
                <a:cubicBezTo>
                  <a:pt x="506" y="381"/>
                  <a:pt x="507" y="383"/>
                  <a:pt x="508" y="387"/>
                </a:cubicBezTo>
                <a:close/>
                <a:moveTo>
                  <a:pt x="507" y="528"/>
                </a:moveTo>
                <a:cubicBezTo>
                  <a:pt x="506" y="529"/>
                  <a:pt x="505" y="527"/>
                  <a:pt x="504" y="526"/>
                </a:cubicBezTo>
                <a:cubicBezTo>
                  <a:pt x="506" y="525"/>
                  <a:pt x="506" y="528"/>
                  <a:pt x="507" y="528"/>
                </a:cubicBezTo>
                <a:close/>
                <a:moveTo>
                  <a:pt x="504" y="525"/>
                </a:moveTo>
                <a:cubicBezTo>
                  <a:pt x="504" y="525"/>
                  <a:pt x="502" y="524"/>
                  <a:pt x="503" y="523"/>
                </a:cubicBezTo>
                <a:cubicBezTo>
                  <a:pt x="504" y="523"/>
                  <a:pt x="503" y="524"/>
                  <a:pt x="504" y="525"/>
                </a:cubicBezTo>
                <a:close/>
                <a:moveTo>
                  <a:pt x="503" y="434"/>
                </a:moveTo>
                <a:cubicBezTo>
                  <a:pt x="502" y="434"/>
                  <a:pt x="502" y="433"/>
                  <a:pt x="502" y="432"/>
                </a:cubicBezTo>
                <a:cubicBezTo>
                  <a:pt x="503" y="433"/>
                  <a:pt x="503" y="434"/>
                  <a:pt x="503" y="434"/>
                </a:cubicBezTo>
                <a:close/>
                <a:moveTo>
                  <a:pt x="501" y="431"/>
                </a:moveTo>
                <a:cubicBezTo>
                  <a:pt x="502" y="430"/>
                  <a:pt x="502" y="432"/>
                  <a:pt x="501" y="431"/>
                </a:cubicBezTo>
                <a:close/>
                <a:moveTo>
                  <a:pt x="500" y="448"/>
                </a:moveTo>
                <a:cubicBezTo>
                  <a:pt x="500" y="447"/>
                  <a:pt x="501" y="447"/>
                  <a:pt x="501" y="447"/>
                </a:cubicBezTo>
                <a:cubicBezTo>
                  <a:pt x="502" y="448"/>
                  <a:pt x="500" y="448"/>
                  <a:pt x="500" y="448"/>
                </a:cubicBezTo>
                <a:close/>
                <a:moveTo>
                  <a:pt x="501" y="429"/>
                </a:moveTo>
                <a:cubicBezTo>
                  <a:pt x="500" y="429"/>
                  <a:pt x="499" y="427"/>
                  <a:pt x="499" y="426"/>
                </a:cubicBezTo>
                <a:cubicBezTo>
                  <a:pt x="500" y="427"/>
                  <a:pt x="500" y="428"/>
                  <a:pt x="501" y="429"/>
                </a:cubicBezTo>
                <a:close/>
                <a:moveTo>
                  <a:pt x="499" y="566"/>
                </a:moveTo>
                <a:cubicBezTo>
                  <a:pt x="500" y="568"/>
                  <a:pt x="495" y="566"/>
                  <a:pt x="497" y="565"/>
                </a:cubicBezTo>
                <a:cubicBezTo>
                  <a:pt x="498" y="564"/>
                  <a:pt x="499" y="565"/>
                  <a:pt x="499" y="566"/>
                </a:cubicBezTo>
                <a:close/>
                <a:moveTo>
                  <a:pt x="498" y="149"/>
                </a:moveTo>
                <a:cubicBezTo>
                  <a:pt x="497" y="149"/>
                  <a:pt x="496" y="149"/>
                  <a:pt x="495" y="148"/>
                </a:cubicBezTo>
                <a:cubicBezTo>
                  <a:pt x="496" y="147"/>
                  <a:pt x="497" y="149"/>
                  <a:pt x="498" y="149"/>
                </a:cubicBezTo>
                <a:close/>
                <a:moveTo>
                  <a:pt x="494" y="480"/>
                </a:moveTo>
                <a:cubicBezTo>
                  <a:pt x="495" y="480"/>
                  <a:pt x="494" y="482"/>
                  <a:pt x="494" y="481"/>
                </a:cubicBezTo>
                <a:cubicBezTo>
                  <a:pt x="494" y="481"/>
                  <a:pt x="494" y="480"/>
                  <a:pt x="494" y="480"/>
                </a:cubicBezTo>
                <a:close/>
                <a:moveTo>
                  <a:pt x="487" y="591"/>
                </a:moveTo>
                <a:cubicBezTo>
                  <a:pt x="488" y="592"/>
                  <a:pt x="491" y="594"/>
                  <a:pt x="491" y="595"/>
                </a:cubicBezTo>
                <a:cubicBezTo>
                  <a:pt x="491" y="596"/>
                  <a:pt x="487" y="593"/>
                  <a:pt x="487" y="591"/>
                </a:cubicBezTo>
                <a:close/>
                <a:moveTo>
                  <a:pt x="487" y="573"/>
                </a:moveTo>
                <a:cubicBezTo>
                  <a:pt x="486" y="573"/>
                  <a:pt x="488" y="573"/>
                  <a:pt x="487" y="573"/>
                </a:cubicBezTo>
                <a:close/>
                <a:moveTo>
                  <a:pt x="490" y="482"/>
                </a:moveTo>
                <a:cubicBezTo>
                  <a:pt x="490" y="485"/>
                  <a:pt x="485" y="482"/>
                  <a:pt x="487" y="481"/>
                </a:cubicBezTo>
                <a:cubicBezTo>
                  <a:pt x="488" y="480"/>
                  <a:pt x="490" y="482"/>
                  <a:pt x="490" y="482"/>
                </a:cubicBezTo>
                <a:close/>
                <a:moveTo>
                  <a:pt x="487" y="468"/>
                </a:moveTo>
                <a:cubicBezTo>
                  <a:pt x="487" y="469"/>
                  <a:pt x="486" y="466"/>
                  <a:pt x="487" y="468"/>
                </a:cubicBezTo>
                <a:close/>
                <a:moveTo>
                  <a:pt x="486" y="380"/>
                </a:moveTo>
                <a:cubicBezTo>
                  <a:pt x="486" y="379"/>
                  <a:pt x="488" y="382"/>
                  <a:pt x="486" y="380"/>
                </a:cubicBezTo>
                <a:close/>
                <a:moveTo>
                  <a:pt x="486" y="467"/>
                </a:moveTo>
                <a:cubicBezTo>
                  <a:pt x="486" y="466"/>
                  <a:pt x="485" y="466"/>
                  <a:pt x="485" y="465"/>
                </a:cubicBezTo>
                <a:cubicBezTo>
                  <a:pt x="486" y="465"/>
                  <a:pt x="486" y="466"/>
                  <a:pt x="486" y="467"/>
                </a:cubicBezTo>
                <a:close/>
                <a:moveTo>
                  <a:pt x="486" y="560"/>
                </a:moveTo>
                <a:cubicBezTo>
                  <a:pt x="485" y="561"/>
                  <a:pt x="485" y="558"/>
                  <a:pt x="486" y="560"/>
                </a:cubicBezTo>
                <a:close/>
                <a:moveTo>
                  <a:pt x="484" y="463"/>
                </a:moveTo>
                <a:cubicBezTo>
                  <a:pt x="485" y="463"/>
                  <a:pt x="485" y="464"/>
                  <a:pt x="485" y="464"/>
                </a:cubicBezTo>
                <a:cubicBezTo>
                  <a:pt x="485" y="464"/>
                  <a:pt x="484" y="464"/>
                  <a:pt x="484" y="463"/>
                </a:cubicBezTo>
                <a:close/>
                <a:moveTo>
                  <a:pt x="484" y="462"/>
                </a:moveTo>
                <a:cubicBezTo>
                  <a:pt x="483" y="461"/>
                  <a:pt x="484" y="460"/>
                  <a:pt x="484" y="462"/>
                </a:cubicBezTo>
                <a:close/>
                <a:moveTo>
                  <a:pt x="484" y="465"/>
                </a:moveTo>
                <a:cubicBezTo>
                  <a:pt x="483" y="465"/>
                  <a:pt x="483" y="464"/>
                  <a:pt x="483" y="463"/>
                </a:cubicBezTo>
                <a:cubicBezTo>
                  <a:pt x="484" y="463"/>
                  <a:pt x="484" y="464"/>
                  <a:pt x="484" y="465"/>
                </a:cubicBezTo>
                <a:close/>
                <a:moveTo>
                  <a:pt x="483" y="460"/>
                </a:moveTo>
                <a:cubicBezTo>
                  <a:pt x="482" y="459"/>
                  <a:pt x="481" y="458"/>
                  <a:pt x="482" y="456"/>
                </a:cubicBezTo>
                <a:cubicBezTo>
                  <a:pt x="482" y="457"/>
                  <a:pt x="483" y="458"/>
                  <a:pt x="483" y="460"/>
                </a:cubicBezTo>
                <a:close/>
                <a:moveTo>
                  <a:pt x="482" y="461"/>
                </a:moveTo>
                <a:cubicBezTo>
                  <a:pt x="483" y="462"/>
                  <a:pt x="481" y="460"/>
                  <a:pt x="482" y="461"/>
                </a:cubicBezTo>
                <a:close/>
                <a:moveTo>
                  <a:pt x="486" y="590"/>
                </a:moveTo>
                <a:cubicBezTo>
                  <a:pt x="484" y="587"/>
                  <a:pt x="482" y="585"/>
                  <a:pt x="481" y="582"/>
                </a:cubicBezTo>
                <a:cubicBezTo>
                  <a:pt x="483" y="584"/>
                  <a:pt x="485" y="587"/>
                  <a:pt x="486" y="590"/>
                </a:cubicBezTo>
                <a:close/>
                <a:moveTo>
                  <a:pt x="480" y="457"/>
                </a:moveTo>
                <a:cubicBezTo>
                  <a:pt x="480" y="457"/>
                  <a:pt x="479" y="454"/>
                  <a:pt x="480" y="457"/>
                </a:cubicBezTo>
                <a:close/>
                <a:moveTo>
                  <a:pt x="479" y="414"/>
                </a:moveTo>
                <a:cubicBezTo>
                  <a:pt x="479" y="413"/>
                  <a:pt x="478" y="413"/>
                  <a:pt x="479" y="412"/>
                </a:cubicBezTo>
                <a:cubicBezTo>
                  <a:pt x="479" y="413"/>
                  <a:pt x="480" y="413"/>
                  <a:pt x="479" y="414"/>
                </a:cubicBezTo>
                <a:close/>
                <a:moveTo>
                  <a:pt x="478" y="401"/>
                </a:moveTo>
                <a:cubicBezTo>
                  <a:pt x="477" y="400"/>
                  <a:pt x="475" y="397"/>
                  <a:pt x="475" y="394"/>
                </a:cubicBezTo>
                <a:cubicBezTo>
                  <a:pt x="477" y="396"/>
                  <a:pt x="480" y="404"/>
                  <a:pt x="478" y="401"/>
                </a:cubicBezTo>
                <a:close/>
                <a:moveTo>
                  <a:pt x="474" y="393"/>
                </a:moveTo>
                <a:cubicBezTo>
                  <a:pt x="474" y="393"/>
                  <a:pt x="474" y="393"/>
                  <a:pt x="474" y="393"/>
                </a:cubicBezTo>
                <a:cubicBezTo>
                  <a:pt x="474" y="393"/>
                  <a:pt x="474" y="393"/>
                  <a:pt x="474" y="393"/>
                </a:cubicBezTo>
                <a:cubicBezTo>
                  <a:pt x="474" y="393"/>
                  <a:pt x="474" y="393"/>
                  <a:pt x="474" y="393"/>
                </a:cubicBezTo>
                <a:close/>
                <a:moveTo>
                  <a:pt x="469" y="488"/>
                </a:moveTo>
                <a:cubicBezTo>
                  <a:pt x="471" y="488"/>
                  <a:pt x="472" y="491"/>
                  <a:pt x="473" y="493"/>
                </a:cubicBezTo>
                <a:cubicBezTo>
                  <a:pt x="471" y="492"/>
                  <a:pt x="470" y="489"/>
                  <a:pt x="469" y="488"/>
                </a:cubicBezTo>
                <a:close/>
                <a:moveTo>
                  <a:pt x="472" y="391"/>
                </a:moveTo>
                <a:cubicBezTo>
                  <a:pt x="471" y="389"/>
                  <a:pt x="470" y="388"/>
                  <a:pt x="469" y="385"/>
                </a:cubicBezTo>
                <a:cubicBezTo>
                  <a:pt x="471" y="386"/>
                  <a:pt x="472" y="389"/>
                  <a:pt x="472" y="391"/>
                </a:cubicBezTo>
                <a:close/>
                <a:moveTo>
                  <a:pt x="469" y="124"/>
                </a:moveTo>
                <a:cubicBezTo>
                  <a:pt x="469" y="125"/>
                  <a:pt x="467" y="124"/>
                  <a:pt x="467" y="124"/>
                </a:cubicBezTo>
                <a:cubicBezTo>
                  <a:pt x="464" y="122"/>
                  <a:pt x="470" y="123"/>
                  <a:pt x="469" y="124"/>
                </a:cubicBezTo>
                <a:close/>
                <a:moveTo>
                  <a:pt x="466" y="430"/>
                </a:moveTo>
                <a:cubicBezTo>
                  <a:pt x="466" y="434"/>
                  <a:pt x="471" y="437"/>
                  <a:pt x="470" y="440"/>
                </a:cubicBezTo>
                <a:cubicBezTo>
                  <a:pt x="470" y="440"/>
                  <a:pt x="465" y="433"/>
                  <a:pt x="466" y="430"/>
                </a:cubicBezTo>
                <a:close/>
                <a:moveTo>
                  <a:pt x="465" y="555"/>
                </a:moveTo>
                <a:cubicBezTo>
                  <a:pt x="465" y="555"/>
                  <a:pt x="466" y="556"/>
                  <a:pt x="466" y="556"/>
                </a:cubicBezTo>
                <a:cubicBezTo>
                  <a:pt x="467" y="557"/>
                  <a:pt x="464" y="556"/>
                  <a:pt x="465" y="555"/>
                </a:cubicBezTo>
                <a:close/>
                <a:moveTo>
                  <a:pt x="465" y="575"/>
                </a:moveTo>
                <a:cubicBezTo>
                  <a:pt x="465" y="575"/>
                  <a:pt x="465" y="575"/>
                  <a:pt x="466" y="576"/>
                </a:cubicBezTo>
                <a:cubicBezTo>
                  <a:pt x="467" y="577"/>
                  <a:pt x="464" y="576"/>
                  <a:pt x="465" y="575"/>
                </a:cubicBezTo>
                <a:close/>
                <a:moveTo>
                  <a:pt x="463" y="584"/>
                </a:moveTo>
                <a:cubicBezTo>
                  <a:pt x="464" y="583"/>
                  <a:pt x="464" y="584"/>
                  <a:pt x="465" y="585"/>
                </a:cubicBezTo>
                <a:cubicBezTo>
                  <a:pt x="465" y="586"/>
                  <a:pt x="463" y="585"/>
                  <a:pt x="463" y="584"/>
                </a:cubicBezTo>
                <a:close/>
                <a:moveTo>
                  <a:pt x="464" y="655"/>
                </a:moveTo>
                <a:cubicBezTo>
                  <a:pt x="464" y="656"/>
                  <a:pt x="462" y="656"/>
                  <a:pt x="462" y="655"/>
                </a:cubicBezTo>
                <a:cubicBezTo>
                  <a:pt x="462" y="655"/>
                  <a:pt x="464" y="654"/>
                  <a:pt x="464" y="655"/>
                </a:cubicBezTo>
                <a:close/>
                <a:moveTo>
                  <a:pt x="463" y="619"/>
                </a:moveTo>
                <a:cubicBezTo>
                  <a:pt x="462" y="620"/>
                  <a:pt x="461" y="619"/>
                  <a:pt x="461" y="618"/>
                </a:cubicBezTo>
                <a:cubicBezTo>
                  <a:pt x="462" y="619"/>
                  <a:pt x="462" y="619"/>
                  <a:pt x="463" y="619"/>
                </a:cubicBezTo>
                <a:close/>
                <a:moveTo>
                  <a:pt x="461" y="536"/>
                </a:moveTo>
                <a:cubicBezTo>
                  <a:pt x="462" y="537"/>
                  <a:pt x="458" y="535"/>
                  <a:pt x="459" y="534"/>
                </a:cubicBezTo>
                <a:cubicBezTo>
                  <a:pt x="461" y="533"/>
                  <a:pt x="461" y="535"/>
                  <a:pt x="461" y="536"/>
                </a:cubicBezTo>
                <a:close/>
                <a:moveTo>
                  <a:pt x="454" y="150"/>
                </a:moveTo>
                <a:cubicBezTo>
                  <a:pt x="456" y="152"/>
                  <a:pt x="459" y="152"/>
                  <a:pt x="460" y="154"/>
                </a:cubicBezTo>
                <a:cubicBezTo>
                  <a:pt x="458" y="154"/>
                  <a:pt x="456" y="152"/>
                  <a:pt x="454" y="150"/>
                </a:cubicBezTo>
                <a:close/>
                <a:moveTo>
                  <a:pt x="459" y="122"/>
                </a:moveTo>
                <a:cubicBezTo>
                  <a:pt x="457" y="120"/>
                  <a:pt x="461" y="123"/>
                  <a:pt x="459" y="122"/>
                </a:cubicBezTo>
                <a:close/>
                <a:moveTo>
                  <a:pt x="453" y="94"/>
                </a:moveTo>
                <a:cubicBezTo>
                  <a:pt x="451" y="92"/>
                  <a:pt x="455" y="96"/>
                  <a:pt x="453" y="94"/>
                </a:cubicBezTo>
                <a:close/>
                <a:moveTo>
                  <a:pt x="451" y="96"/>
                </a:moveTo>
                <a:cubicBezTo>
                  <a:pt x="455" y="93"/>
                  <a:pt x="458" y="100"/>
                  <a:pt x="454" y="100"/>
                </a:cubicBezTo>
                <a:cubicBezTo>
                  <a:pt x="453" y="101"/>
                  <a:pt x="452" y="100"/>
                  <a:pt x="451" y="98"/>
                </a:cubicBezTo>
                <a:cubicBezTo>
                  <a:pt x="450" y="97"/>
                  <a:pt x="450" y="96"/>
                  <a:pt x="451" y="96"/>
                </a:cubicBezTo>
                <a:close/>
                <a:moveTo>
                  <a:pt x="447" y="103"/>
                </a:moveTo>
                <a:cubicBezTo>
                  <a:pt x="447" y="103"/>
                  <a:pt x="447" y="103"/>
                  <a:pt x="447" y="103"/>
                </a:cubicBezTo>
                <a:cubicBezTo>
                  <a:pt x="446" y="103"/>
                  <a:pt x="447" y="103"/>
                  <a:pt x="447" y="103"/>
                </a:cubicBezTo>
                <a:close/>
                <a:moveTo>
                  <a:pt x="444" y="145"/>
                </a:moveTo>
                <a:cubicBezTo>
                  <a:pt x="446" y="145"/>
                  <a:pt x="449" y="147"/>
                  <a:pt x="451" y="149"/>
                </a:cubicBezTo>
                <a:cubicBezTo>
                  <a:pt x="448" y="149"/>
                  <a:pt x="441" y="143"/>
                  <a:pt x="444" y="145"/>
                </a:cubicBezTo>
                <a:close/>
                <a:moveTo>
                  <a:pt x="442" y="515"/>
                </a:moveTo>
                <a:cubicBezTo>
                  <a:pt x="440" y="516"/>
                  <a:pt x="441" y="513"/>
                  <a:pt x="442" y="515"/>
                </a:cubicBezTo>
                <a:close/>
                <a:moveTo>
                  <a:pt x="436" y="80"/>
                </a:moveTo>
                <a:cubicBezTo>
                  <a:pt x="434" y="80"/>
                  <a:pt x="435" y="78"/>
                  <a:pt x="436" y="80"/>
                </a:cubicBezTo>
                <a:close/>
                <a:moveTo>
                  <a:pt x="440" y="114"/>
                </a:moveTo>
                <a:cubicBezTo>
                  <a:pt x="438" y="111"/>
                  <a:pt x="432" y="110"/>
                  <a:pt x="431" y="107"/>
                </a:cubicBezTo>
                <a:cubicBezTo>
                  <a:pt x="432" y="108"/>
                  <a:pt x="439" y="111"/>
                  <a:pt x="440" y="114"/>
                </a:cubicBezTo>
                <a:close/>
                <a:moveTo>
                  <a:pt x="433" y="179"/>
                </a:moveTo>
                <a:cubicBezTo>
                  <a:pt x="431" y="177"/>
                  <a:pt x="428" y="175"/>
                  <a:pt x="426" y="172"/>
                </a:cubicBezTo>
                <a:cubicBezTo>
                  <a:pt x="429" y="174"/>
                  <a:pt x="432" y="176"/>
                  <a:pt x="433" y="179"/>
                </a:cubicBezTo>
                <a:close/>
                <a:moveTo>
                  <a:pt x="425" y="594"/>
                </a:moveTo>
                <a:cubicBezTo>
                  <a:pt x="425" y="595"/>
                  <a:pt x="426" y="595"/>
                  <a:pt x="426" y="595"/>
                </a:cubicBezTo>
                <a:cubicBezTo>
                  <a:pt x="426" y="596"/>
                  <a:pt x="424" y="595"/>
                  <a:pt x="425" y="594"/>
                </a:cubicBezTo>
                <a:close/>
                <a:moveTo>
                  <a:pt x="426" y="549"/>
                </a:moveTo>
                <a:cubicBezTo>
                  <a:pt x="426" y="550"/>
                  <a:pt x="425" y="548"/>
                  <a:pt x="426" y="549"/>
                </a:cubicBezTo>
                <a:close/>
                <a:moveTo>
                  <a:pt x="426" y="468"/>
                </a:moveTo>
                <a:cubicBezTo>
                  <a:pt x="423" y="467"/>
                  <a:pt x="426" y="466"/>
                  <a:pt x="426" y="468"/>
                </a:cubicBezTo>
                <a:close/>
                <a:moveTo>
                  <a:pt x="425" y="542"/>
                </a:moveTo>
                <a:cubicBezTo>
                  <a:pt x="424" y="541"/>
                  <a:pt x="424" y="539"/>
                  <a:pt x="424" y="538"/>
                </a:cubicBezTo>
                <a:cubicBezTo>
                  <a:pt x="426" y="538"/>
                  <a:pt x="425" y="541"/>
                  <a:pt x="425" y="542"/>
                </a:cubicBezTo>
                <a:close/>
                <a:moveTo>
                  <a:pt x="423" y="592"/>
                </a:moveTo>
                <a:cubicBezTo>
                  <a:pt x="421" y="592"/>
                  <a:pt x="420" y="590"/>
                  <a:pt x="418" y="589"/>
                </a:cubicBezTo>
                <a:cubicBezTo>
                  <a:pt x="420" y="590"/>
                  <a:pt x="419" y="589"/>
                  <a:pt x="420" y="588"/>
                </a:cubicBezTo>
                <a:cubicBezTo>
                  <a:pt x="423" y="587"/>
                  <a:pt x="425" y="591"/>
                  <a:pt x="423" y="592"/>
                </a:cubicBezTo>
                <a:close/>
                <a:moveTo>
                  <a:pt x="420" y="499"/>
                </a:moveTo>
                <a:cubicBezTo>
                  <a:pt x="419" y="500"/>
                  <a:pt x="417" y="496"/>
                  <a:pt x="416" y="494"/>
                </a:cubicBezTo>
                <a:cubicBezTo>
                  <a:pt x="418" y="496"/>
                  <a:pt x="419" y="497"/>
                  <a:pt x="420" y="499"/>
                </a:cubicBezTo>
                <a:close/>
                <a:moveTo>
                  <a:pt x="417" y="100"/>
                </a:moveTo>
                <a:cubicBezTo>
                  <a:pt x="418" y="101"/>
                  <a:pt x="415" y="99"/>
                  <a:pt x="417" y="100"/>
                </a:cubicBezTo>
                <a:close/>
                <a:moveTo>
                  <a:pt x="416" y="49"/>
                </a:moveTo>
                <a:cubicBezTo>
                  <a:pt x="416" y="49"/>
                  <a:pt x="415" y="49"/>
                  <a:pt x="416" y="49"/>
                </a:cubicBezTo>
                <a:cubicBezTo>
                  <a:pt x="416" y="48"/>
                  <a:pt x="418" y="50"/>
                  <a:pt x="416" y="49"/>
                </a:cubicBezTo>
                <a:close/>
                <a:moveTo>
                  <a:pt x="413" y="491"/>
                </a:moveTo>
                <a:cubicBezTo>
                  <a:pt x="414" y="491"/>
                  <a:pt x="414" y="493"/>
                  <a:pt x="416" y="494"/>
                </a:cubicBezTo>
                <a:cubicBezTo>
                  <a:pt x="415" y="494"/>
                  <a:pt x="413" y="492"/>
                  <a:pt x="413" y="491"/>
                </a:cubicBezTo>
                <a:close/>
                <a:moveTo>
                  <a:pt x="415" y="46"/>
                </a:moveTo>
                <a:cubicBezTo>
                  <a:pt x="417" y="47"/>
                  <a:pt x="414" y="45"/>
                  <a:pt x="415" y="46"/>
                </a:cubicBezTo>
                <a:close/>
                <a:moveTo>
                  <a:pt x="414" y="98"/>
                </a:moveTo>
                <a:cubicBezTo>
                  <a:pt x="414" y="97"/>
                  <a:pt x="417" y="100"/>
                  <a:pt x="414" y="98"/>
                </a:cubicBezTo>
                <a:close/>
                <a:moveTo>
                  <a:pt x="414" y="134"/>
                </a:moveTo>
                <a:cubicBezTo>
                  <a:pt x="413" y="134"/>
                  <a:pt x="412" y="133"/>
                  <a:pt x="411" y="133"/>
                </a:cubicBezTo>
                <a:cubicBezTo>
                  <a:pt x="411" y="132"/>
                  <a:pt x="413" y="133"/>
                  <a:pt x="414" y="134"/>
                </a:cubicBezTo>
                <a:close/>
                <a:moveTo>
                  <a:pt x="413" y="99"/>
                </a:moveTo>
                <a:cubicBezTo>
                  <a:pt x="412" y="99"/>
                  <a:pt x="411" y="98"/>
                  <a:pt x="411" y="97"/>
                </a:cubicBezTo>
                <a:cubicBezTo>
                  <a:pt x="412" y="98"/>
                  <a:pt x="413" y="98"/>
                  <a:pt x="413" y="99"/>
                </a:cubicBezTo>
                <a:close/>
                <a:moveTo>
                  <a:pt x="411" y="96"/>
                </a:moveTo>
                <a:cubicBezTo>
                  <a:pt x="409" y="95"/>
                  <a:pt x="412" y="96"/>
                  <a:pt x="411" y="96"/>
                </a:cubicBezTo>
                <a:close/>
                <a:moveTo>
                  <a:pt x="412" y="68"/>
                </a:moveTo>
                <a:cubicBezTo>
                  <a:pt x="411" y="68"/>
                  <a:pt x="410" y="67"/>
                  <a:pt x="409" y="67"/>
                </a:cubicBezTo>
                <a:cubicBezTo>
                  <a:pt x="410" y="66"/>
                  <a:pt x="412" y="67"/>
                  <a:pt x="412" y="68"/>
                </a:cubicBezTo>
                <a:close/>
                <a:moveTo>
                  <a:pt x="408" y="95"/>
                </a:moveTo>
                <a:cubicBezTo>
                  <a:pt x="410" y="96"/>
                  <a:pt x="409" y="97"/>
                  <a:pt x="408" y="95"/>
                </a:cubicBezTo>
                <a:close/>
                <a:moveTo>
                  <a:pt x="406" y="93"/>
                </a:moveTo>
                <a:cubicBezTo>
                  <a:pt x="407" y="93"/>
                  <a:pt x="408" y="94"/>
                  <a:pt x="409" y="95"/>
                </a:cubicBezTo>
                <a:cubicBezTo>
                  <a:pt x="408" y="94"/>
                  <a:pt x="407" y="94"/>
                  <a:pt x="406" y="93"/>
                </a:cubicBezTo>
                <a:close/>
                <a:moveTo>
                  <a:pt x="408" y="66"/>
                </a:moveTo>
                <a:cubicBezTo>
                  <a:pt x="406" y="66"/>
                  <a:pt x="404" y="64"/>
                  <a:pt x="402" y="63"/>
                </a:cubicBezTo>
                <a:cubicBezTo>
                  <a:pt x="404" y="63"/>
                  <a:pt x="406" y="65"/>
                  <a:pt x="408" y="66"/>
                </a:cubicBezTo>
                <a:close/>
                <a:moveTo>
                  <a:pt x="403" y="92"/>
                </a:moveTo>
                <a:cubicBezTo>
                  <a:pt x="402" y="91"/>
                  <a:pt x="404" y="94"/>
                  <a:pt x="403" y="92"/>
                </a:cubicBezTo>
                <a:close/>
                <a:moveTo>
                  <a:pt x="402" y="116"/>
                </a:moveTo>
                <a:cubicBezTo>
                  <a:pt x="402" y="116"/>
                  <a:pt x="401" y="117"/>
                  <a:pt x="401" y="117"/>
                </a:cubicBezTo>
                <a:cubicBezTo>
                  <a:pt x="400" y="117"/>
                  <a:pt x="401" y="115"/>
                  <a:pt x="402" y="116"/>
                </a:cubicBezTo>
                <a:close/>
                <a:moveTo>
                  <a:pt x="404" y="171"/>
                </a:moveTo>
                <a:cubicBezTo>
                  <a:pt x="403" y="173"/>
                  <a:pt x="400" y="171"/>
                  <a:pt x="400" y="170"/>
                </a:cubicBezTo>
                <a:cubicBezTo>
                  <a:pt x="398" y="167"/>
                  <a:pt x="404" y="169"/>
                  <a:pt x="404" y="171"/>
                </a:cubicBezTo>
                <a:close/>
                <a:moveTo>
                  <a:pt x="398" y="513"/>
                </a:moveTo>
                <a:cubicBezTo>
                  <a:pt x="398" y="512"/>
                  <a:pt x="399" y="513"/>
                  <a:pt x="400" y="513"/>
                </a:cubicBezTo>
                <a:cubicBezTo>
                  <a:pt x="401" y="516"/>
                  <a:pt x="396" y="514"/>
                  <a:pt x="398" y="513"/>
                </a:cubicBezTo>
                <a:close/>
                <a:moveTo>
                  <a:pt x="397" y="471"/>
                </a:moveTo>
                <a:cubicBezTo>
                  <a:pt x="396" y="472"/>
                  <a:pt x="396" y="469"/>
                  <a:pt x="397" y="470"/>
                </a:cubicBezTo>
                <a:cubicBezTo>
                  <a:pt x="397" y="470"/>
                  <a:pt x="397" y="471"/>
                  <a:pt x="397" y="471"/>
                </a:cubicBezTo>
                <a:close/>
                <a:moveTo>
                  <a:pt x="397" y="427"/>
                </a:moveTo>
                <a:cubicBezTo>
                  <a:pt x="398" y="428"/>
                  <a:pt x="394" y="427"/>
                  <a:pt x="396" y="426"/>
                </a:cubicBezTo>
                <a:cubicBezTo>
                  <a:pt x="396" y="426"/>
                  <a:pt x="397" y="427"/>
                  <a:pt x="397" y="427"/>
                </a:cubicBezTo>
                <a:close/>
                <a:moveTo>
                  <a:pt x="396" y="81"/>
                </a:moveTo>
                <a:cubicBezTo>
                  <a:pt x="396" y="82"/>
                  <a:pt x="393" y="82"/>
                  <a:pt x="393" y="81"/>
                </a:cubicBezTo>
                <a:cubicBezTo>
                  <a:pt x="391" y="79"/>
                  <a:pt x="397" y="79"/>
                  <a:pt x="396" y="81"/>
                </a:cubicBezTo>
                <a:close/>
                <a:moveTo>
                  <a:pt x="393" y="150"/>
                </a:moveTo>
                <a:cubicBezTo>
                  <a:pt x="392" y="150"/>
                  <a:pt x="391" y="149"/>
                  <a:pt x="391" y="148"/>
                </a:cubicBezTo>
                <a:cubicBezTo>
                  <a:pt x="392" y="148"/>
                  <a:pt x="393" y="149"/>
                  <a:pt x="393" y="150"/>
                </a:cubicBezTo>
                <a:close/>
                <a:moveTo>
                  <a:pt x="395" y="400"/>
                </a:moveTo>
                <a:cubicBezTo>
                  <a:pt x="394" y="403"/>
                  <a:pt x="389" y="398"/>
                  <a:pt x="390" y="397"/>
                </a:cubicBezTo>
                <a:cubicBezTo>
                  <a:pt x="392" y="395"/>
                  <a:pt x="395" y="399"/>
                  <a:pt x="395" y="400"/>
                </a:cubicBezTo>
                <a:close/>
                <a:moveTo>
                  <a:pt x="391" y="167"/>
                </a:moveTo>
                <a:cubicBezTo>
                  <a:pt x="390" y="168"/>
                  <a:pt x="389" y="166"/>
                  <a:pt x="391" y="167"/>
                </a:cubicBezTo>
                <a:close/>
                <a:moveTo>
                  <a:pt x="390" y="147"/>
                </a:moveTo>
                <a:cubicBezTo>
                  <a:pt x="390" y="146"/>
                  <a:pt x="391" y="149"/>
                  <a:pt x="390" y="147"/>
                </a:cubicBezTo>
                <a:close/>
                <a:moveTo>
                  <a:pt x="390" y="84"/>
                </a:moveTo>
                <a:cubicBezTo>
                  <a:pt x="390" y="85"/>
                  <a:pt x="390" y="85"/>
                  <a:pt x="390" y="85"/>
                </a:cubicBezTo>
                <a:cubicBezTo>
                  <a:pt x="389" y="86"/>
                  <a:pt x="389" y="84"/>
                  <a:pt x="390" y="84"/>
                </a:cubicBezTo>
                <a:close/>
                <a:moveTo>
                  <a:pt x="391" y="691"/>
                </a:moveTo>
                <a:cubicBezTo>
                  <a:pt x="391" y="691"/>
                  <a:pt x="391" y="691"/>
                  <a:pt x="391" y="692"/>
                </a:cubicBezTo>
                <a:cubicBezTo>
                  <a:pt x="388" y="691"/>
                  <a:pt x="382" y="691"/>
                  <a:pt x="384" y="687"/>
                </a:cubicBezTo>
                <a:cubicBezTo>
                  <a:pt x="384" y="687"/>
                  <a:pt x="387" y="686"/>
                  <a:pt x="388" y="687"/>
                </a:cubicBezTo>
                <a:cubicBezTo>
                  <a:pt x="391" y="688"/>
                  <a:pt x="388" y="691"/>
                  <a:pt x="391" y="691"/>
                </a:cubicBezTo>
                <a:close/>
                <a:moveTo>
                  <a:pt x="381" y="643"/>
                </a:moveTo>
                <a:cubicBezTo>
                  <a:pt x="381" y="642"/>
                  <a:pt x="381" y="641"/>
                  <a:pt x="381" y="641"/>
                </a:cubicBezTo>
                <a:cubicBezTo>
                  <a:pt x="381" y="641"/>
                  <a:pt x="379" y="641"/>
                  <a:pt x="379" y="640"/>
                </a:cubicBezTo>
                <a:cubicBezTo>
                  <a:pt x="380" y="637"/>
                  <a:pt x="387" y="642"/>
                  <a:pt x="388" y="643"/>
                </a:cubicBezTo>
                <a:cubicBezTo>
                  <a:pt x="387" y="642"/>
                  <a:pt x="383" y="646"/>
                  <a:pt x="381" y="643"/>
                </a:cubicBezTo>
                <a:close/>
                <a:moveTo>
                  <a:pt x="382" y="615"/>
                </a:moveTo>
                <a:cubicBezTo>
                  <a:pt x="383" y="616"/>
                  <a:pt x="381" y="614"/>
                  <a:pt x="382" y="615"/>
                </a:cubicBezTo>
                <a:close/>
                <a:moveTo>
                  <a:pt x="383" y="159"/>
                </a:moveTo>
                <a:cubicBezTo>
                  <a:pt x="383" y="158"/>
                  <a:pt x="385" y="161"/>
                  <a:pt x="383" y="160"/>
                </a:cubicBezTo>
                <a:cubicBezTo>
                  <a:pt x="383" y="160"/>
                  <a:pt x="382" y="159"/>
                  <a:pt x="383" y="159"/>
                </a:cubicBezTo>
                <a:close/>
                <a:moveTo>
                  <a:pt x="387" y="432"/>
                </a:moveTo>
                <a:cubicBezTo>
                  <a:pt x="387" y="432"/>
                  <a:pt x="387" y="433"/>
                  <a:pt x="387" y="433"/>
                </a:cubicBezTo>
                <a:cubicBezTo>
                  <a:pt x="386" y="434"/>
                  <a:pt x="386" y="432"/>
                  <a:pt x="387" y="432"/>
                </a:cubicBezTo>
                <a:close/>
                <a:moveTo>
                  <a:pt x="387" y="159"/>
                </a:moveTo>
                <a:cubicBezTo>
                  <a:pt x="388" y="159"/>
                  <a:pt x="387" y="161"/>
                  <a:pt x="387" y="159"/>
                </a:cubicBezTo>
                <a:close/>
                <a:moveTo>
                  <a:pt x="388" y="106"/>
                </a:moveTo>
                <a:cubicBezTo>
                  <a:pt x="384" y="103"/>
                  <a:pt x="381" y="102"/>
                  <a:pt x="378" y="97"/>
                </a:cubicBezTo>
                <a:cubicBezTo>
                  <a:pt x="382" y="99"/>
                  <a:pt x="385" y="103"/>
                  <a:pt x="388" y="106"/>
                </a:cubicBezTo>
                <a:close/>
                <a:moveTo>
                  <a:pt x="377" y="583"/>
                </a:moveTo>
                <a:cubicBezTo>
                  <a:pt x="379" y="584"/>
                  <a:pt x="377" y="585"/>
                  <a:pt x="377" y="583"/>
                </a:cubicBezTo>
                <a:close/>
                <a:moveTo>
                  <a:pt x="376" y="149"/>
                </a:moveTo>
                <a:cubicBezTo>
                  <a:pt x="376" y="149"/>
                  <a:pt x="375" y="149"/>
                  <a:pt x="376" y="148"/>
                </a:cubicBezTo>
                <a:cubicBezTo>
                  <a:pt x="376" y="147"/>
                  <a:pt x="378" y="151"/>
                  <a:pt x="376" y="149"/>
                </a:cubicBezTo>
                <a:close/>
                <a:moveTo>
                  <a:pt x="376" y="89"/>
                </a:moveTo>
                <a:cubicBezTo>
                  <a:pt x="375" y="89"/>
                  <a:pt x="377" y="90"/>
                  <a:pt x="376" y="89"/>
                </a:cubicBezTo>
                <a:close/>
                <a:moveTo>
                  <a:pt x="376" y="119"/>
                </a:moveTo>
                <a:cubicBezTo>
                  <a:pt x="376" y="119"/>
                  <a:pt x="376" y="119"/>
                  <a:pt x="376" y="119"/>
                </a:cubicBezTo>
                <a:cubicBezTo>
                  <a:pt x="376" y="119"/>
                  <a:pt x="377" y="119"/>
                  <a:pt x="376" y="119"/>
                </a:cubicBezTo>
                <a:close/>
                <a:moveTo>
                  <a:pt x="377" y="127"/>
                </a:moveTo>
                <a:cubicBezTo>
                  <a:pt x="376" y="126"/>
                  <a:pt x="376" y="126"/>
                  <a:pt x="375" y="125"/>
                </a:cubicBezTo>
                <a:cubicBezTo>
                  <a:pt x="376" y="126"/>
                  <a:pt x="377" y="126"/>
                  <a:pt x="377" y="127"/>
                </a:cubicBezTo>
                <a:close/>
                <a:moveTo>
                  <a:pt x="376" y="147"/>
                </a:moveTo>
                <a:cubicBezTo>
                  <a:pt x="374" y="147"/>
                  <a:pt x="373" y="146"/>
                  <a:pt x="372" y="144"/>
                </a:cubicBezTo>
                <a:cubicBezTo>
                  <a:pt x="374" y="144"/>
                  <a:pt x="375" y="146"/>
                  <a:pt x="376" y="147"/>
                </a:cubicBezTo>
                <a:close/>
                <a:moveTo>
                  <a:pt x="362" y="132"/>
                </a:moveTo>
                <a:cubicBezTo>
                  <a:pt x="366" y="134"/>
                  <a:pt x="369" y="139"/>
                  <a:pt x="372" y="143"/>
                </a:cubicBezTo>
                <a:cubicBezTo>
                  <a:pt x="369" y="141"/>
                  <a:pt x="365" y="135"/>
                  <a:pt x="362" y="132"/>
                </a:cubicBezTo>
                <a:close/>
                <a:moveTo>
                  <a:pt x="367" y="82"/>
                </a:moveTo>
                <a:cubicBezTo>
                  <a:pt x="366" y="81"/>
                  <a:pt x="368" y="83"/>
                  <a:pt x="367" y="82"/>
                </a:cubicBezTo>
                <a:close/>
                <a:moveTo>
                  <a:pt x="366" y="81"/>
                </a:moveTo>
                <a:cubicBezTo>
                  <a:pt x="364" y="81"/>
                  <a:pt x="362" y="79"/>
                  <a:pt x="360" y="77"/>
                </a:cubicBezTo>
                <a:cubicBezTo>
                  <a:pt x="361" y="78"/>
                  <a:pt x="365" y="79"/>
                  <a:pt x="366" y="81"/>
                </a:cubicBezTo>
                <a:close/>
                <a:moveTo>
                  <a:pt x="364" y="54"/>
                </a:moveTo>
                <a:cubicBezTo>
                  <a:pt x="363" y="54"/>
                  <a:pt x="362" y="53"/>
                  <a:pt x="362" y="53"/>
                </a:cubicBezTo>
                <a:cubicBezTo>
                  <a:pt x="362" y="52"/>
                  <a:pt x="364" y="53"/>
                  <a:pt x="364" y="54"/>
                </a:cubicBezTo>
                <a:close/>
                <a:moveTo>
                  <a:pt x="361" y="47"/>
                </a:moveTo>
                <a:cubicBezTo>
                  <a:pt x="361" y="47"/>
                  <a:pt x="360" y="47"/>
                  <a:pt x="360" y="47"/>
                </a:cubicBezTo>
                <a:cubicBezTo>
                  <a:pt x="358" y="46"/>
                  <a:pt x="362" y="45"/>
                  <a:pt x="361" y="47"/>
                </a:cubicBezTo>
                <a:close/>
                <a:moveTo>
                  <a:pt x="361" y="52"/>
                </a:moveTo>
                <a:cubicBezTo>
                  <a:pt x="360" y="53"/>
                  <a:pt x="360" y="52"/>
                  <a:pt x="359" y="52"/>
                </a:cubicBezTo>
                <a:cubicBezTo>
                  <a:pt x="359" y="51"/>
                  <a:pt x="361" y="52"/>
                  <a:pt x="361" y="52"/>
                </a:cubicBezTo>
                <a:close/>
                <a:moveTo>
                  <a:pt x="359" y="74"/>
                </a:moveTo>
                <a:cubicBezTo>
                  <a:pt x="359" y="74"/>
                  <a:pt x="357" y="73"/>
                  <a:pt x="356" y="71"/>
                </a:cubicBezTo>
                <a:cubicBezTo>
                  <a:pt x="357" y="72"/>
                  <a:pt x="358" y="72"/>
                  <a:pt x="359" y="74"/>
                </a:cubicBezTo>
                <a:close/>
                <a:moveTo>
                  <a:pt x="356" y="12"/>
                </a:moveTo>
                <a:cubicBezTo>
                  <a:pt x="357" y="11"/>
                  <a:pt x="358" y="13"/>
                  <a:pt x="356" y="12"/>
                </a:cubicBezTo>
                <a:close/>
                <a:moveTo>
                  <a:pt x="358" y="51"/>
                </a:moveTo>
                <a:cubicBezTo>
                  <a:pt x="357" y="52"/>
                  <a:pt x="356" y="51"/>
                  <a:pt x="355" y="50"/>
                </a:cubicBezTo>
                <a:cubicBezTo>
                  <a:pt x="355" y="49"/>
                  <a:pt x="357" y="51"/>
                  <a:pt x="358" y="51"/>
                </a:cubicBezTo>
                <a:close/>
                <a:moveTo>
                  <a:pt x="350" y="44"/>
                </a:moveTo>
                <a:cubicBezTo>
                  <a:pt x="349" y="44"/>
                  <a:pt x="349" y="44"/>
                  <a:pt x="349" y="43"/>
                </a:cubicBezTo>
                <a:cubicBezTo>
                  <a:pt x="348" y="43"/>
                  <a:pt x="350" y="43"/>
                  <a:pt x="350" y="44"/>
                </a:cubicBezTo>
                <a:close/>
                <a:moveTo>
                  <a:pt x="348" y="18"/>
                </a:moveTo>
                <a:cubicBezTo>
                  <a:pt x="346" y="17"/>
                  <a:pt x="349" y="18"/>
                  <a:pt x="348" y="18"/>
                </a:cubicBezTo>
                <a:close/>
                <a:moveTo>
                  <a:pt x="348" y="50"/>
                </a:moveTo>
                <a:cubicBezTo>
                  <a:pt x="347" y="50"/>
                  <a:pt x="347" y="50"/>
                  <a:pt x="347" y="50"/>
                </a:cubicBezTo>
                <a:cubicBezTo>
                  <a:pt x="348" y="50"/>
                  <a:pt x="348" y="51"/>
                  <a:pt x="348" y="50"/>
                </a:cubicBezTo>
                <a:close/>
                <a:moveTo>
                  <a:pt x="347" y="64"/>
                </a:moveTo>
                <a:cubicBezTo>
                  <a:pt x="349" y="64"/>
                  <a:pt x="352" y="68"/>
                  <a:pt x="355" y="71"/>
                </a:cubicBezTo>
                <a:cubicBezTo>
                  <a:pt x="353" y="70"/>
                  <a:pt x="351" y="68"/>
                  <a:pt x="349" y="66"/>
                </a:cubicBezTo>
                <a:cubicBezTo>
                  <a:pt x="349" y="66"/>
                  <a:pt x="344" y="64"/>
                  <a:pt x="347" y="64"/>
                </a:cubicBezTo>
                <a:close/>
                <a:moveTo>
                  <a:pt x="345" y="38"/>
                </a:moveTo>
                <a:cubicBezTo>
                  <a:pt x="345" y="38"/>
                  <a:pt x="344" y="38"/>
                  <a:pt x="344" y="37"/>
                </a:cubicBezTo>
                <a:cubicBezTo>
                  <a:pt x="345" y="35"/>
                  <a:pt x="347" y="40"/>
                  <a:pt x="345" y="38"/>
                </a:cubicBezTo>
                <a:close/>
                <a:moveTo>
                  <a:pt x="345" y="14"/>
                </a:moveTo>
                <a:cubicBezTo>
                  <a:pt x="345" y="15"/>
                  <a:pt x="343" y="14"/>
                  <a:pt x="343" y="14"/>
                </a:cubicBezTo>
                <a:cubicBezTo>
                  <a:pt x="341" y="12"/>
                  <a:pt x="346" y="12"/>
                  <a:pt x="345" y="14"/>
                </a:cubicBezTo>
                <a:close/>
                <a:moveTo>
                  <a:pt x="333" y="49"/>
                </a:moveTo>
                <a:cubicBezTo>
                  <a:pt x="335" y="48"/>
                  <a:pt x="334" y="50"/>
                  <a:pt x="333" y="49"/>
                </a:cubicBezTo>
                <a:close/>
                <a:moveTo>
                  <a:pt x="344" y="63"/>
                </a:moveTo>
                <a:cubicBezTo>
                  <a:pt x="339" y="61"/>
                  <a:pt x="335" y="59"/>
                  <a:pt x="331" y="56"/>
                </a:cubicBezTo>
                <a:cubicBezTo>
                  <a:pt x="336" y="57"/>
                  <a:pt x="340" y="60"/>
                  <a:pt x="344" y="63"/>
                </a:cubicBezTo>
                <a:close/>
                <a:moveTo>
                  <a:pt x="331" y="76"/>
                </a:moveTo>
                <a:cubicBezTo>
                  <a:pt x="331" y="77"/>
                  <a:pt x="329" y="78"/>
                  <a:pt x="329" y="77"/>
                </a:cubicBezTo>
                <a:cubicBezTo>
                  <a:pt x="329" y="77"/>
                  <a:pt x="329" y="77"/>
                  <a:pt x="329" y="77"/>
                </a:cubicBezTo>
                <a:cubicBezTo>
                  <a:pt x="329" y="78"/>
                  <a:pt x="329" y="78"/>
                  <a:pt x="328" y="78"/>
                </a:cubicBezTo>
                <a:cubicBezTo>
                  <a:pt x="327" y="79"/>
                  <a:pt x="324" y="75"/>
                  <a:pt x="327" y="75"/>
                </a:cubicBezTo>
                <a:cubicBezTo>
                  <a:pt x="328" y="75"/>
                  <a:pt x="329" y="75"/>
                  <a:pt x="329" y="76"/>
                </a:cubicBezTo>
                <a:cubicBezTo>
                  <a:pt x="329" y="76"/>
                  <a:pt x="330" y="75"/>
                  <a:pt x="331" y="76"/>
                </a:cubicBezTo>
                <a:close/>
                <a:moveTo>
                  <a:pt x="327" y="52"/>
                </a:moveTo>
                <a:cubicBezTo>
                  <a:pt x="326" y="52"/>
                  <a:pt x="329" y="52"/>
                  <a:pt x="327" y="52"/>
                </a:cubicBezTo>
                <a:close/>
                <a:moveTo>
                  <a:pt x="325" y="23"/>
                </a:moveTo>
                <a:cubicBezTo>
                  <a:pt x="325" y="22"/>
                  <a:pt x="326" y="24"/>
                  <a:pt x="325" y="23"/>
                </a:cubicBezTo>
                <a:close/>
                <a:moveTo>
                  <a:pt x="330" y="41"/>
                </a:moveTo>
                <a:cubicBezTo>
                  <a:pt x="330" y="43"/>
                  <a:pt x="325" y="43"/>
                  <a:pt x="324" y="42"/>
                </a:cubicBezTo>
                <a:cubicBezTo>
                  <a:pt x="321" y="38"/>
                  <a:pt x="330" y="41"/>
                  <a:pt x="330" y="41"/>
                </a:cubicBezTo>
                <a:close/>
                <a:moveTo>
                  <a:pt x="326" y="75"/>
                </a:moveTo>
                <a:cubicBezTo>
                  <a:pt x="326" y="76"/>
                  <a:pt x="325" y="76"/>
                  <a:pt x="325" y="75"/>
                </a:cubicBezTo>
                <a:cubicBezTo>
                  <a:pt x="324" y="75"/>
                  <a:pt x="326" y="74"/>
                  <a:pt x="326" y="75"/>
                </a:cubicBezTo>
                <a:close/>
                <a:moveTo>
                  <a:pt x="324" y="68"/>
                </a:moveTo>
                <a:cubicBezTo>
                  <a:pt x="324" y="67"/>
                  <a:pt x="325" y="67"/>
                  <a:pt x="325" y="68"/>
                </a:cubicBezTo>
                <a:cubicBezTo>
                  <a:pt x="326" y="69"/>
                  <a:pt x="324" y="68"/>
                  <a:pt x="324" y="68"/>
                </a:cubicBezTo>
                <a:close/>
                <a:moveTo>
                  <a:pt x="327" y="107"/>
                </a:moveTo>
                <a:cubicBezTo>
                  <a:pt x="326" y="109"/>
                  <a:pt x="322" y="107"/>
                  <a:pt x="322" y="107"/>
                </a:cubicBezTo>
                <a:cubicBezTo>
                  <a:pt x="319" y="103"/>
                  <a:pt x="328" y="104"/>
                  <a:pt x="327" y="107"/>
                </a:cubicBezTo>
                <a:close/>
                <a:moveTo>
                  <a:pt x="322" y="27"/>
                </a:moveTo>
                <a:cubicBezTo>
                  <a:pt x="321" y="28"/>
                  <a:pt x="320" y="27"/>
                  <a:pt x="320" y="27"/>
                </a:cubicBezTo>
                <a:cubicBezTo>
                  <a:pt x="319" y="25"/>
                  <a:pt x="322" y="26"/>
                  <a:pt x="322" y="27"/>
                </a:cubicBezTo>
                <a:close/>
                <a:moveTo>
                  <a:pt x="319" y="102"/>
                </a:moveTo>
                <a:cubicBezTo>
                  <a:pt x="319" y="102"/>
                  <a:pt x="318" y="102"/>
                  <a:pt x="318" y="101"/>
                </a:cubicBezTo>
                <a:cubicBezTo>
                  <a:pt x="316" y="100"/>
                  <a:pt x="321" y="100"/>
                  <a:pt x="319" y="102"/>
                </a:cubicBezTo>
                <a:close/>
                <a:moveTo>
                  <a:pt x="319" y="85"/>
                </a:moveTo>
                <a:cubicBezTo>
                  <a:pt x="321" y="85"/>
                  <a:pt x="318" y="87"/>
                  <a:pt x="318" y="85"/>
                </a:cubicBezTo>
                <a:cubicBezTo>
                  <a:pt x="318" y="85"/>
                  <a:pt x="319" y="85"/>
                  <a:pt x="319" y="85"/>
                </a:cubicBezTo>
                <a:close/>
                <a:moveTo>
                  <a:pt x="319" y="73"/>
                </a:moveTo>
                <a:cubicBezTo>
                  <a:pt x="319" y="73"/>
                  <a:pt x="318" y="73"/>
                  <a:pt x="318" y="73"/>
                </a:cubicBezTo>
                <a:cubicBezTo>
                  <a:pt x="316" y="73"/>
                  <a:pt x="318" y="72"/>
                  <a:pt x="319" y="73"/>
                </a:cubicBezTo>
                <a:close/>
                <a:moveTo>
                  <a:pt x="317" y="46"/>
                </a:moveTo>
                <a:cubicBezTo>
                  <a:pt x="317" y="47"/>
                  <a:pt x="315" y="47"/>
                  <a:pt x="315" y="46"/>
                </a:cubicBezTo>
                <a:cubicBezTo>
                  <a:pt x="314" y="45"/>
                  <a:pt x="317" y="44"/>
                  <a:pt x="317" y="46"/>
                </a:cubicBezTo>
                <a:close/>
                <a:moveTo>
                  <a:pt x="315" y="61"/>
                </a:moveTo>
                <a:cubicBezTo>
                  <a:pt x="315" y="61"/>
                  <a:pt x="315" y="60"/>
                  <a:pt x="315" y="60"/>
                </a:cubicBezTo>
                <a:cubicBezTo>
                  <a:pt x="313" y="57"/>
                  <a:pt x="319" y="61"/>
                  <a:pt x="315" y="61"/>
                </a:cubicBezTo>
                <a:close/>
                <a:moveTo>
                  <a:pt x="314" y="88"/>
                </a:moveTo>
                <a:cubicBezTo>
                  <a:pt x="315" y="88"/>
                  <a:pt x="316" y="89"/>
                  <a:pt x="315" y="89"/>
                </a:cubicBezTo>
                <a:cubicBezTo>
                  <a:pt x="315" y="90"/>
                  <a:pt x="313" y="89"/>
                  <a:pt x="314" y="88"/>
                </a:cubicBezTo>
                <a:close/>
                <a:moveTo>
                  <a:pt x="314" y="98"/>
                </a:moveTo>
                <a:cubicBezTo>
                  <a:pt x="313" y="98"/>
                  <a:pt x="312" y="97"/>
                  <a:pt x="312" y="96"/>
                </a:cubicBezTo>
                <a:cubicBezTo>
                  <a:pt x="313" y="96"/>
                  <a:pt x="313" y="97"/>
                  <a:pt x="314" y="98"/>
                </a:cubicBezTo>
                <a:close/>
                <a:moveTo>
                  <a:pt x="313" y="62"/>
                </a:moveTo>
                <a:cubicBezTo>
                  <a:pt x="311" y="61"/>
                  <a:pt x="314" y="62"/>
                  <a:pt x="313" y="62"/>
                </a:cubicBezTo>
                <a:close/>
                <a:moveTo>
                  <a:pt x="308" y="35"/>
                </a:moveTo>
                <a:cubicBezTo>
                  <a:pt x="307" y="34"/>
                  <a:pt x="310" y="37"/>
                  <a:pt x="308" y="35"/>
                </a:cubicBezTo>
                <a:close/>
                <a:moveTo>
                  <a:pt x="305" y="53"/>
                </a:moveTo>
                <a:cubicBezTo>
                  <a:pt x="305" y="52"/>
                  <a:pt x="306" y="54"/>
                  <a:pt x="306" y="54"/>
                </a:cubicBezTo>
                <a:cubicBezTo>
                  <a:pt x="306" y="54"/>
                  <a:pt x="306" y="53"/>
                  <a:pt x="305" y="53"/>
                </a:cubicBezTo>
                <a:close/>
                <a:moveTo>
                  <a:pt x="306" y="45"/>
                </a:moveTo>
                <a:cubicBezTo>
                  <a:pt x="304" y="40"/>
                  <a:pt x="314" y="43"/>
                  <a:pt x="312" y="46"/>
                </a:cubicBezTo>
                <a:cubicBezTo>
                  <a:pt x="311" y="48"/>
                  <a:pt x="307" y="45"/>
                  <a:pt x="306" y="45"/>
                </a:cubicBezTo>
                <a:close/>
                <a:moveTo>
                  <a:pt x="307" y="88"/>
                </a:moveTo>
                <a:cubicBezTo>
                  <a:pt x="308" y="88"/>
                  <a:pt x="307" y="89"/>
                  <a:pt x="307" y="89"/>
                </a:cubicBezTo>
                <a:cubicBezTo>
                  <a:pt x="307" y="89"/>
                  <a:pt x="306" y="87"/>
                  <a:pt x="307" y="88"/>
                </a:cubicBezTo>
                <a:close/>
                <a:moveTo>
                  <a:pt x="313" y="101"/>
                </a:moveTo>
                <a:cubicBezTo>
                  <a:pt x="313" y="102"/>
                  <a:pt x="306" y="96"/>
                  <a:pt x="305" y="95"/>
                </a:cubicBezTo>
                <a:cubicBezTo>
                  <a:pt x="305" y="95"/>
                  <a:pt x="305" y="94"/>
                  <a:pt x="305" y="93"/>
                </a:cubicBezTo>
                <a:cubicBezTo>
                  <a:pt x="305" y="93"/>
                  <a:pt x="314" y="100"/>
                  <a:pt x="313" y="101"/>
                </a:cubicBezTo>
                <a:close/>
                <a:moveTo>
                  <a:pt x="306" y="102"/>
                </a:moveTo>
                <a:cubicBezTo>
                  <a:pt x="304" y="103"/>
                  <a:pt x="303" y="99"/>
                  <a:pt x="302" y="98"/>
                </a:cubicBezTo>
                <a:cubicBezTo>
                  <a:pt x="303" y="98"/>
                  <a:pt x="305" y="101"/>
                  <a:pt x="306" y="102"/>
                </a:cubicBezTo>
                <a:close/>
                <a:moveTo>
                  <a:pt x="301" y="81"/>
                </a:moveTo>
                <a:cubicBezTo>
                  <a:pt x="302" y="80"/>
                  <a:pt x="303" y="84"/>
                  <a:pt x="301" y="82"/>
                </a:cubicBezTo>
                <a:cubicBezTo>
                  <a:pt x="301" y="82"/>
                  <a:pt x="301" y="82"/>
                  <a:pt x="301" y="81"/>
                </a:cubicBezTo>
                <a:close/>
                <a:moveTo>
                  <a:pt x="303" y="92"/>
                </a:moveTo>
                <a:cubicBezTo>
                  <a:pt x="299" y="88"/>
                  <a:pt x="295" y="86"/>
                  <a:pt x="293" y="81"/>
                </a:cubicBezTo>
                <a:cubicBezTo>
                  <a:pt x="297" y="83"/>
                  <a:pt x="301" y="88"/>
                  <a:pt x="303" y="92"/>
                </a:cubicBezTo>
                <a:close/>
                <a:moveTo>
                  <a:pt x="293" y="77"/>
                </a:moveTo>
                <a:cubicBezTo>
                  <a:pt x="293" y="77"/>
                  <a:pt x="293" y="77"/>
                  <a:pt x="293" y="77"/>
                </a:cubicBezTo>
                <a:cubicBezTo>
                  <a:pt x="293" y="77"/>
                  <a:pt x="293" y="77"/>
                  <a:pt x="293" y="77"/>
                </a:cubicBezTo>
                <a:cubicBezTo>
                  <a:pt x="293" y="77"/>
                  <a:pt x="293" y="77"/>
                  <a:pt x="293" y="77"/>
                </a:cubicBezTo>
                <a:close/>
                <a:moveTo>
                  <a:pt x="302" y="98"/>
                </a:moveTo>
                <a:cubicBezTo>
                  <a:pt x="297" y="92"/>
                  <a:pt x="293" y="88"/>
                  <a:pt x="288" y="83"/>
                </a:cubicBezTo>
                <a:cubicBezTo>
                  <a:pt x="293" y="87"/>
                  <a:pt x="298" y="91"/>
                  <a:pt x="302" y="98"/>
                </a:cubicBezTo>
                <a:close/>
                <a:moveTo>
                  <a:pt x="295" y="198"/>
                </a:moveTo>
                <a:cubicBezTo>
                  <a:pt x="291" y="196"/>
                  <a:pt x="287" y="194"/>
                  <a:pt x="284" y="192"/>
                </a:cubicBezTo>
                <a:cubicBezTo>
                  <a:pt x="286" y="193"/>
                  <a:pt x="293" y="196"/>
                  <a:pt x="295" y="198"/>
                </a:cubicBezTo>
                <a:close/>
                <a:moveTo>
                  <a:pt x="287" y="663"/>
                </a:moveTo>
                <a:cubicBezTo>
                  <a:pt x="288" y="663"/>
                  <a:pt x="289" y="664"/>
                  <a:pt x="289" y="664"/>
                </a:cubicBezTo>
                <a:cubicBezTo>
                  <a:pt x="290" y="665"/>
                  <a:pt x="286" y="664"/>
                  <a:pt x="287" y="663"/>
                </a:cubicBezTo>
                <a:close/>
                <a:moveTo>
                  <a:pt x="283" y="230"/>
                </a:moveTo>
                <a:cubicBezTo>
                  <a:pt x="284" y="231"/>
                  <a:pt x="281" y="228"/>
                  <a:pt x="283" y="230"/>
                </a:cubicBezTo>
                <a:close/>
                <a:moveTo>
                  <a:pt x="282" y="216"/>
                </a:moveTo>
                <a:cubicBezTo>
                  <a:pt x="282" y="216"/>
                  <a:pt x="282" y="216"/>
                  <a:pt x="282" y="216"/>
                </a:cubicBezTo>
                <a:cubicBezTo>
                  <a:pt x="283" y="216"/>
                  <a:pt x="283" y="216"/>
                  <a:pt x="283" y="216"/>
                </a:cubicBezTo>
                <a:cubicBezTo>
                  <a:pt x="283" y="216"/>
                  <a:pt x="282" y="216"/>
                  <a:pt x="282" y="216"/>
                </a:cubicBezTo>
                <a:close/>
                <a:moveTo>
                  <a:pt x="283" y="165"/>
                </a:moveTo>
                <a:cubicBezTo>
                  <a:pt x="280" y="165"/>
                  <a:pt x="280" y="160"/>
                  <a:pt x="284" y="161"/>
                </a:cubicBezTo>
                <a:cubicBezTo>
                  <a:pt x="286" y="162"/>
                  <a:pt x="285" y="166"/>
                  <a:pt x="283" y="165"/>
                </a:cubicBezTo>
                <a:close/>
                <a:moveTo>
                  <a:pt x="279" y="199"/>
                </a:moveTo>
                <a:cubicBezTo>
                  <a:pt x="279" y="199"/>
                  <a:pt x="278" y="198"/>
                  <a:pt x="279" y="198"/>
                </a:cubicBezTo>
                <a:cubicBezTo>
                  <a:pt x="279" y="198"/>
                  <a:pt x="280" y="199"/>
                  <a:pt x="279" y="199"/>
                </a:cubicBezTo>
                <a:close/>
                <a:moveTo>
                  <a:pt x="278" y="184"/>
                </a:moveTo>
                <a:cubicBezTo>
                  <a:pt x="278" y="184"/>
                  <a:pt x="278" y="185"/>
                  <a:pt x="278" y="185"/>
                </a:cubicBezTo>
                <a:cubicBezTo>
                  <a:pt x="277" y="183"/>
                  <a:pt x="280" y="185"/>
                  <a:pt x="278" y="184"/>
                </a:cubicBezTo>
                <a:close/>
                <a:moveTo>
                  <a:pt x="270" y="138"/>
                </a:moveTo>
                <a:cubicBezTo>
                  <a:pt x="271" y="139"/>
                  <a:pt x="272" y="136"/>
                  <a:pt x="273" y="136"/>
                </a:cubicBezTo>
                <a:cubicBezTo>
                  <a:pt x="275" y="137"/>
                  <a:pt x="273" y="138"/>
                  <a:pt x="274" y="139"/>
                </a:cubicBezTo>
                <a:cubicBezTo>
                  <a:pt x="277" y="141"/>
                  <a:pt x="282" y="141"/>
                  <a:pt x="284" y="143"/>
                </a:cubicBezTo>
                <a:cubicBezTo>
                  <a:pt x="280" y="142"/>
                  <a:pt x="275" y="140"/>
                  <a:pt x="270" y="138"/>
                </a:cubicBezTo>
                <a:close/>
                <a:moveTo>
                  <a:pt x="278" y="148"/>
                </a:moveTo>
                <a:cubicBezTo>
                  <a:pt x="276" y="148"/>
                  <a:pt x="278" y="147"/>
                  <a:pt x="278" y="148"/>
                </a:cubicBezTo>
                <a:close/>
                <a:moveTo>
                  <a:pt x="265" y="190"/>
                </a:moveTo>
                <a:cubicBezTo>
                  <a:pt x="268" y="190"/>
                  <a:pt x="273" y="192"/>
                  <a:pt x="275" y="194"/>
                </a:cubicBezTo>
                <a:cubicBezTo>
                  <a:pt x="271" y="192"/>
                  <a:pt x="268" y="192"/>
                  <a:pt x="265" y="190"/>
                </a:cubicBezTo>
                <a:close/>
                <a:moveTo>
                  <a:pt x="273" y="554"/>
                </a:moveTo>
                <a:cubicBezTo>
                  <a:pt x="273" y="554"/>
                  <a:pt x="273" y="553"/>
                  <a:pt x="273" y="554"/>
                </a:cubicBezTo>
                <a:cubicBezTo>
                  <a:pt x="273" y="554"/>
                  <a:pt x="273" y="554"/>
                  <a:pt x="273" y="554"/>
                </a:cubicBezTo>
                <a:close/>
                <a:moveTo>
                  <a:pt x="271" y="230"/>
                </a:moveTo>
                <a:cubicBezTo>
                  <a:pt x="272" y="230"/>
                  <a:pt x="274" y="234"/>
                  <a:pt x="272" y="235"/>
                </a:cubicBezTo>
                <a:cubicBezTo>
                  <a:pt x="269" y="235"/>
                  <a:pt x="269" y="231"/>
                  <a:pt x="271" y="230"/>
                </a:cubicBezTo>
                <a:close/>
                <a:moveTo>
                  <a:pt x="270" y="215"/>
                </a:moveTo>
                <a:cubicBezTo>
                  <a:pt x="271" y="214"/>
                  <a:pt x="272" y="217"/>
                  <a:pt x="270" y="216"/>
                </a:cubicBezTo>
                <a:cubicBezTo>
                  <a:pt x="270" y="216"/>
                  <a:pt x="269" y="215"/>
                  <a:pt x="270" y="215"/>
                </a:cubicBezTo>
                <a:close/>
                <a:moveTo>
                  <a:pt x="267" y="262"/>
                </a:moveTo>
                <a:cubicBezTo>
                  <a:pt x="269" y="261"/>
                  <a:pt x="268" y="263"/>
                  <a:pt x="267" y="262"/>
                </a:cubicBezTo>
                <a:close/>
                <a:moveTo>
                  <a:pt x="258" y="254"/>
                </a:moveTo>
                <a:cubicBezTo>
                  <a:pt x="260" y="255"/>
                  <a:pt x="261" y="257"/>
                  <a:pt x="263" y="258"/>
                </a:cubicBezTo>
                <a:cubicBezTo>
                  <a:pt x="261" y="258"/>
                  <a:pt x="260" y="256"/>
                  <a:pt x="258" y="254"/>
                </a:cubicBezTo>
                <a:close/>
                <a:moveTo>
                  <a:pt x="261" y="509"/>
                </a:moveTo>
                <a:cubicBezTo>
                  <a:pt x="261" y="510"/>
                  <a:pt x="260" y="509"/>
                  <a:pt x="260" y="509"/>
                </a:cubicBezTo>
                <a:cubicBezTo>
                  <a:pt x="260" y="508"/>
                  <a:pt x="261" y="509"/>
                  <a:pt x="261" y="509"/>
                </a:cubicBezTo>
                <a:close/>
                <a:moveTo>
                  <a:pt x="258" y="191"/>
                </a:moveTo>
                <a:cubicBezTo>
                  <a:pt x="258" y="191"/>
                  <a:pt x="259" y="193"/>
                  <a:pt x="258" y="193"/>
                </a:cubicBezTo>
                <a:cubicBezTo>
                  <a:pt x="257" y="193"/>
                  <a:pt x="258" y="192"/>
                  <a:pt x="258" y="191"/>
                </a:cubicBezTo>
                <a:close/>
                <a:moveTo>
                  <a:pt x="260" y="233"/>
                </a:moveTo>
                <a:cubicBezTo>
                  <a:pt x="262" y="233"/>
                  <a:pt x="258" y="234"/>
                  <a:pt x="260" y="233"/>
                </a:cubicBezTo>
                <a:close/>
                <a:moveTo>
                  <a:pt x="260" y="231"/>
                </a:moveTo>
                <a:cubicBezTo>
                  <a:pt x="261" y="233"/>
                  <a:pt x="263" y="236"/>
                  <a:pt x="264" y="238"/>
                </a:cubicBezTo>
                <a:cubicBezTo>
                  <a:pt x="262" y="237"/>
                  <a:pt x="261" y="233"/>
                  <a:pt x="260" y="231"/>
                </a:cubicBezTo>
                <a:close/>
                <a:moveTo>
                  <a:pt x="260" y="229"/>
                </a:moveTo>
                <a:cubicBezTo>
                  <a:pt x="260" y="229"/>
                  <a:pt x="261" y="230"/>
                  <a:pt x="261" y="230"/>
                </a:cubicBezTo>
                <a:cubicBezTo>
                  <a:pt x="261" y="230"/>
                  <a:pt x="260" y="229"/>
                  <a:pt x="260" y="229"/>
                </a:cubicBezTo>
                <a:close/>
                <a:moveTo>
                  <a:pt x="261" y="154"/>
                </a:moveTo>
                <a:cubicBezTo>
                  <a:pt x="262" y="155"/>
                  <a:pt x="263" y="157"/>
                  <a:pt x="263" y="158"/>
                </a:cubicBezTo>
                <a:cubicBezTo>
                  <a:pt x="262" y="157"/>
                  <a:pt x="261" y="156"/>
                  <a:pt x="261" y="154"/>
                </a:cubicBezTo>
                <a:close/>
                <a:moveTo>
                  <a:pt x="263" y="68"/>
                </a:moveTo>
                <a:cubicBezTo>
                  <a:pt x="264" y="69"/>
                  <a:pt x="265" y="70"/>
                  <a:pt x="266" y="72"/>
                </a:cubicBezTo>
                <a:cubicBezTo>
                  <a:pt x="264" y="72"/>
                  <a:pt x="264" y="69"/>
                  <a:pt x="263" y="68"/>
                </a:cubicBezTo>
                <a:close/>
                <a:moveTo>
                  <a:pt x="266" y="63"/>
                </a:moveTo>
                <a:cubicBezTo>
                  <a:pt x="264" y="62"/>
                  <a:pt x="265" y="61"/>
                  <a:pt x="266" y="63"/>
                </a:cubicBezTo>
                <a:close/>
                <a:moveTo>
                  <a:pt x="267" y="132"/>
                </a:moveTo>
                <a:cubicBezTo>
                  <a:pt x="269" y="132"/>
                  <a:pt x="271" y="137"/>
                  <a:pt x="268" y="137"/>
                </a:cubicBezTo>
                <a:cubicBezTo>
                  <a:pt x="266" y="138"/>
                  <a:pt x="263" y="132"/>
                  <a:pt x="267" y="132"/>
                </a:cubicBezTo>
                <a:close/>
                <a:moveTo>
                  <a:pt x="267" y="108"/>
                </a:moveTo>
                <a:cubicBezTo>
                  <a:pt x="268" y="108"/>
                  <a:pt x="268" y="109"/>
                  <a:pt x="268" y="109"/>
                </a:cubicBezTo>
                <a:cubicBezTo>
                  <a:pt x="267" y="110"/>
                  <a:pt x="265" y="108"/>
                  <a:pt x="267" y="108"/>
                </a:cubicBezTo>
                <a:close/>
                <a:moveTo>
                  <a:pt x="270" y="113"/>
                </a:moveTo>
                <a:cubicBezTo>
                  <a:pt x="268" y="113"/>
                  <a:pt x="271" y="114"/>
                  <a:pt x="270" y="113"/>
                </a:cubicBezTo>
                <a:close/>
                <a:moveTo>
                  <a:pt x="267" y="149"/>
                </a:moveTo>
                <a:cubicBezTo>
                  <a:pt x="266" y="150"/>
                  <a:pt x="266" y="149"/>
                  <a:pt x="265" y="148"/>
                </a:cubicBezTo>
                <a:cubicBezTo>
                  <a:pt x="264" y="146"/>
                  <a:pt x="269" y="148"/>
                  <a:pt x="267" y="149"/>
                </a:cubicBezTo>
                <a:close/>
                <a:moveTo>
                  <a:pt x="264" y="161"/>
                </a:moveTo>
                <a:cubicBezTo>
                  <a:pt x="265" y="161"/>
                  <a:pt x="265" y="162"/>
                  <a:pt x="265" y="162"/>
                </a:cubicBezTo>
                <a:cubicBezTo>
                  <a:pt x="265" y="162"/>
                  <a:pt x="263" y="158"/>
                  <a:pt x="264" y="161"/>
                </a:cubicBezTo>
                <a:close/>
                <a:moveTo>
                  <a:pt x="266" y="512"/>
                </a:moveTo>
                <a:cubicBezTo>
                  <a:pt x="264" y="513"/>
                  <a:pt x="264" y="510"/>
                  <a:pt x="266" y="512"/>
                </a:cubicBezTo>
                <a:close/>
                <a:moveTo>
                  <a:pt x="271" y="181"/>
                </a:moveTo>
                <a:cubicBezTo>
                  <a:pt x="272" y="180"/>
                  <a:pt x="273" y="183"/>
                  <a:pt x="272" y="182"/>
                </a:cubicBezTo>
                <a:cubicBezTo>
                  <a:pt x="271" y="182"/>
                  <a:pt x="271" y="182"/>
                  <a:pt x="271" y="181"/>
                </a:cubicBezTo>
                <a:close/>
                <a:moveTo>
                  <a:pt x="283" y="92"/>
                </a:moveTo>
                <a:cubicBezTo>
                  <a:pt x="280" y="90"/>
                  <a:pt x="285" y="92"/>
                  <a:pt x="284" y="93"/>
                </a:cubicBezTo>
                <a:cubicBezTo>
                  <a:pt x="284" y="94"/>
                  <a:pt x="281" y="91"/>
                  <a:pt x="280" y="91"/>
                </a:cubicBezTo>
                <a:cubicBezTo>
                  <a:pt x="279" y="90"/>
                  <a:pt x="275" y="89"/>
                  <a:pt x="274" y="87"/>
                </a:cubicBezTo>
                <a:cubicBezTo>
                  <a:pt x="272" y="83"/>
                  <a:pt x="282" y="91"/>
                  <a:pt x="283" y="92"/>
                </a:cubicBezTo>
                <a:close/>
                <a:moveTo>
                  <a:pt x="273" y="75"/>
                </a:moveTo>
                <a:cubicBezTo>
                  <a:pt x="275" y="75"/>
                  <a:pt x="274" y="77"/>
                  <a:pt x="273" y="75"/>
                </a:cubicBezTo>
                <a:close/>
                <a:moveTo>
                  <a:pt x="283" y="102"/>
                </a:moveTo>
                <a:cubicBezTo>
                  <a:pt x="283" y="102"/>
                  <a:pt x="283" y="102"/>
                  <a:pt x="284" y="103"/>
                </a:cubicBezTo>
                <a:cubicBezTo>
                  <a:pt x="284" y="103"/>
                  <a:pt x="284" y="103"/>
                  <a:pt x="284" y="103"/>
                </a:cubicBezTo>
                <a:cubicBezTo>
                  <a:pt x="284" y="102"/>
                  <a:pt x="283" y="102"/>
                  <a:pt x="283" y="102"/>
                </a:cubicBezTo>
                <a:close/>
                <a:moveTo>
                  <a:pt x="285" y="137"/>
                </a:moveTo>
                <a:cubicBezTo>
                  <a:pt x="285" y="138"/>
                  <a:pt x="284" y="137"/>
                  <a:pt x="283" y="137"/>
                </a:cubicBezTo>
                <a:cubicBezTo>
                  <a:pt x="282" y="134"/>
                  <a:pt x="287" y="136"/>
                  <a:pt x="285" y="137"/>
                </a:cubicBezTo>
                <a:close/>
                <a:moveTo>
                  <a:pt x="276" y="104"/>
                </a:moveTo>
                <a:cubicBezTo>
                  <a:pt x="276" y="104"/>
                  <a:pt x="280" y="107"/>
                  <a:pt x="280" y="109"/>
                </a:cubicBezTo>
                <a:cubicBezTo>
                  <a:pt x="279" y="108"/>
                  <a:pt x="276" y="105"/>
                  <a:pt x="276" y="104"/>
                </a:cubicBezTo>
                <a:close/>
                <a:moveTo>
                  <a:pt x="277" y="127"/>
                </a:moveTo>
                <a:cubicBezTo>
                  <a:pt x="276" y="126"/>
                  <a:pt x="276" y="126"/>
                  <a:pt x="275" y="125"/>
                </a:cubicBezTo>
                <a:cubicBezTo>
                  <a:pt x="276" y="125"/>
                  <a:pt x="277" y="126"/>
                  <a:pt x="277" y="127"/>
                </a:cubicBezTo>
                <a:close/>
                <a:moveTo>
                  <a:pt x="279" y="102"/>
                </a:moveTo>
                <a:cubicBezTo>
                  <a:pt x="278" y="102"/>
                  <a:pt x="281" y="102"/>
                  <a:pt x="281" y="102"/>
                </a:cubicBezTo>
                <a:cubicBezTo>
                  <a:pt x="280" y="103"/>
                  <a:pt x="279" y="102"/>
                  <a:pt x="279" y="102"/>
                </a:cubicBezTo>
                <a:close/>
                <a:moveTo>
                  <a:pt x="275" y="111"/>
                </a:moveTo>
                <a:cubicBezTo>
                  <a:pt x="275" y="111"/>
                  <a:pt x="275" y="111"/>
                  <a:pt x="274" y="110"/>
                </a:cubicBezTo>
                <a:cubicBezTo>
                  <a:pt x="275" y="111"/>
                  <a:pt x="275" y="111"/>
                  <a:pt x="275" y="111"/>
                </a:cubicBezTo>
                <a:cubicBezTo>
                  <a:pt x="275" y="111"/>
                  <a:pt x="275" y="111"/>
                  <a:pt x="275" y="111"/>
                </a:cubicBezTo>
                <a:close/>
                <a:moveTo>
                  <a:pt x="287" y="142"/>
                </a:moveTo>
                <a:cubicBezTo>
                  <a:pt x="286" y="143"/>
                  <a:pt x="284" y="140"/>
                  <a:pt x="286" y="140"/>
                </a:cubicBezTo>
                <a:cubicBezTo>
                  <a:pt x="287" y="139"/>
                  <a:pt x="288" y="141"/>
                  <a:pt x="287" y="142"/>
                </a:cubicBezTo>
                <a:close/>
                <a:moveTo>
                  <a:pt x="286" y="87"/>
                </a:moveTo>
                <a:cubicBezTo>
                  <a:pt x="287" y="87"/>
                  <a:pt x="287" y="88"/>
                  <a:pt x="286" y="89"/>
                </a:cubicBezTo>
                <a:cubicBezTo>
                  <a:pt x="286" y="89"/>
                  <a:pt x="285" y="88"/>
                  <a:pt x="286" y="87"/>
                </a:cubicBezTo>
                <a:close/>
                <a:moveTo>
                  <a:pt x="280" y="66"/>
                </a:moveTo>
                <a:cubicBezTo>
                  <a:pt x="282" y="65"/>
                  <a:pt x="285" y="69"/>
                  <a:pt x="286" y="70"/>
                </a:cubicBezTo>
                <a:cubicBezTo>
                  <a:pt x="284" y="71"/>
                  <a:pt x="279" y="68"/>
                  <a:pt x="280" y="66"/>
                </a:cubicBezTo>
                <a:close/>
                <a:moveTo>
                  <a:pt x="276" y="74"/>
                </a:moveTo>
                <a:cubicBezTo>
                  <a:pt x="278" y="76"/>
                  <a:pt x="275" y="73"/>
                  <a:pt x="276" y="74"/>
                </a:cubicBezTo>
                <a:close/>
                <a:moveTo>
                  <a:pt x="276" y="77"/>
                </a:moveTo>
                <a:cubicBezTo>
                  <a:pt x="276" y="77"/>
                  <a:pt x="276" y="77"/>
                  <a:pt x="276" y="77"/>
                </a:cubicBezTo>
                <a:cubicBezTo>
                  <a:pt x="276" y="77"/>
                  <a:pt x="276" y="77"/>
                  <a:pt x="275" y="77"/>
                </a:cubicBezTo>
                <a:cubicBezTo>
                  <a:pt x="276" y="77"/>
                  <a:pt x="276" y="77"/>
                  <a:pt x="276" y="77"/>
                </a:cubicBezTo>
                <a:close/>
                <a:moveTo>
                  <a:pt x="275" y="74"/>
                </a:moveTo>
                <a:cubicBezTo>
                  <a:pt x="274" y="74"/>
                  <a:pt x="273" y="72"/>
                  <a:pt x="271" y="72"/>
                </a:cubicBezTo>
                <a:cubicBezTo>
                  <a:pt x="272" y="71"/>
                  <a:pt x="274" y="73"/>
                  <a:pt x="275" y="74"/>
                </a:cubicBezTo>
                <a:close/>
                <a:moveTo>
                  <a:pt x="273" y="85"/>
                </a:moveTo>
                <a:cubicBezTo>
                  <a:pt x="273" y="86"/>
                  <a:pt x="271" y="85"/>
                  <a:pt x="270" y="85"/>
                </a:cubicBezTo>
                <a:cubicBezTo>
                  <a:pt x="268" y="83"/>
                  <a:pt x="274" y="82"/>
                  <a:pt x="273" y="85"/>
                </a:cubicBezTo>
                <a:close/>
                <a:moveTo>
                  <a:pt x="275" y="102"/>
                </a:moveTo>
                <a:cubicBezTo>
                  <a:pt x="272" y="100"/>
                  <a:pt x="270" y="98"/>
                  <a:pt x="268" y="95"/>
                </a:cubicBezTo>
                <a:cubicBezTo>
                  <a:pt x="271" y="97"/>
                  <a:pt x="273" y="99"/>
                  <a:pt x="275" y="102"/>
                </a:cubicBezTo>
                <a:close/>
                <a:moveTo>
                  <a:pt x="268" y="117"/>
                </a:moveTo>
                <a:cubicBezTo>
                  <a:pt x="268" y="118"/>
                  <a:pt x="267" y="117"/>
                  <a:pt x="267" y="116"/>
                </a:cubicBezTo>
                <a:cubicBezTo>
                  <a:pt x="265" y="115"/>
                  <a:pt x="269" y="116"/>
                  <a:pt x="268" y="117"/>
                </a:cubicBezTo>
                <a:close/>
                <a:moveTo>
                  <a:pt x="268" y="58"/>
                </a:moveTo>
                <a:cubicBezTo>
                  <a:pt x="269" y="59"/>
                  <a:pt x="266" y="57"/>
                  <a:pt x="268" y="58"/>
                </a:cubicBezTo>
                <a:close/>
                <a:moveTo>
                  <a:pt x="267" y="98"/>
                </a:moveTo>
                <a:cubicBezTo>
                  <a:pt x="267" y="98"/>
                  <a:pt x="265" y="98"/>
                  <a:pt x="265" y="97"/>
                </a:cubicBezTo>
                <a:cubicBezTo>
                  <a:pt x="265" y="97"/>
                  <a:pt x="267" y="98"/>
                  <a:pt x="267" y="98"/>
                </a:cubicBezTo>
                <a:close/>
                <a:moveTo>
                  <a:pt x="266" y="51"/>
                </a:moveTo>
                <a:cubicBezTo>
                  <a:pt x="265" y="52"/>
                  <a:pt x="262" y="52"/>
                  <a:pt x="260" y="51"/>
                </a:cubicBezTo>
                <a:cubicBezTo>
                  <a:pt x="262" y="50"/>
                  <a:pt x="264" y="51"/>
                  <a:pt x="266" y="51"/>
                </a:cubicBezTo>
                <a:close/>
                <a:moveTo>
                  <a:pt x="260" y="153"/>
                </a:moveTo>
                <a:cubicBezTo>
                  <a:pt x="260" y="153"/>
                  <a:pt x="260" y="153"/>
                  <a:pt x="260" y="153"/>
                </a:cubicBezTo>
                <a:cubicBezTo>
                  <a:pt x="260" y="153"/>
                  <a:pt x="260" y="153"/>
                  <a:pt x="260" y="153"/>
                </a:cubicBezTo>
                <a:cubicBezTo>
                  <a:pt x="260" y="153"/>
                  <a:pt x="260" y="153"/>
                  <a:pt x="260" y="153"/>
                </a:cubicBezTo>
                <a:close/>
                <a:moveTo>
                  <a:pt x="260" y="181"/>
                </a:moveTo>
                <a:cubicBezTo>
                  <a:pt x="261" y="181"/>
                  <a:pt x="262" y="183"/>
                  <a:pt x="261" y="183"/>
                </a:cubicBezTo>
                <a:cubicBezTo>
                  <a:pt x="261" y="184"/>
                  <a:pt x="259" y="182"/>
                  <a:pt x="260" y="181"/>
                </a:cubicBezTo>
                <a:close/>
                <a:moveTo>
                  <a:pt x="260" y="152"/>
                </a:moveTo>
                <a:cubicBezTo>
                  <a:pt x="259" y="152"/>
                  <a:pt x="259" y="152"/>
                  <a:pt x="260" y="152"/>
                </a:cubicBezTo>
                <a:close/>
                <a:moveTo>
                  <a:pt x="259" y="202"/>
                </a:moveTo>
                <a:cubicBezTo>
                  <a:pt x="261" y="201"/>
                  <a:pt x="259" y="205"/>
                  <a:pt x="259" y="202"/>
                </a:cubicBezTo>
                <a:close/>
                <a:moveTo>
                  <a:pt x="259" y="152"/>
                </a:moveTo>
                <a:cubicBezTo>
                  <a:pt x="258" y="151"/>
                  <a:pt x="257" y="150"/>
                  <a:pt x="257" y="148"/>
                </a:cubicBezTo>
                <a:cubicBezTo>
                  <a:pt x="258" y="149"/>
                  <a:pt x="259" y="150"/>
                  <a:pt x="259" y="152"/>
                </a:cubicBezTo>
                <a:close/>
                <a:moveTo>
                  <a:pt x="255" y="100"/>
                </a:moveTo>
                <a:cubicBezTo>
                  <a:pt x="256" y="100"/>
                  <a:pt x="257" y="102"/>
                  <a:pt x="255" y="103"/>
                </a:cubicBezTo>
                <a:cubicBezTo>
                  <a:pt x="254" y="103"/>
                  <a:pt x="252" y="100"/>
                  <a:pt x="255" y="100"/>
                </a:cubicBezTo>
                <a:close/>
                <a:moveTo>
                  <a:pt x="255" y="196"/>
                </a:moveTo>
                <a:cubicBezTo>
                  <a:pt x="256" y="196"/>
                  <a:pt x="255" y="198"/>
                  <a:pt x="255" y="198"/>
                </a:cubicBezTo>
                <a:cubicBezTo>
                  <a:pt x="254" y="198"/>
                  <a:pt x="254" y="196"/>
                  <a:pt x="255" y="196"/>
                </a:cubicBezTo>
                <a:close/>
                <a:moveTo>
                  <a:pt x="253" y="79"/>
                </a:moveTo>
                <a:cubicBezTo>
                  <a:pt x="252" y="82"/>
                  <a:pt x="243" y="80"/>
                  <a:pt x="246" y="76"/>
                </a:cubicBezTo>
                <a:cubicBezTo>
                  <a:pt x="245" y="77"/>
                  <a:pt x="242" y="76"/>
                  <a:pt x="242" y="75"/>
                </a:cubicBezTo>
                <a:cubicBezTo>
                  <a:pt x="243" y="73"/>
                  <a:pt x="247" y="74"/>
                  <a:pt x="246" y="76"/>
                </a:cubicBezTo>
                <a:cubicBezTo>
                  <a:pt x="247" y="74"/>
                  <a:pt x="253" y="76"/>
                  <a:pt x="253" y="79"/>
                </a:cubicBezTo>
                <a:close/>
                <a:moveTo>
                  <a:pt x="249" y="118"/>
                </a:moveTo>
                <a:cubicBezTo>
                  <a:pt x="248" y="119"/>
                  <a:pt x="247" y="117"/>
                  <a:pt x="248" y="116"/>
                </a:cubicBezTo>
                <a:cubicBezTo>
                  <a:pt x="249" y="116"/>
                  <a:pt x="250" y="118"/>
                  <a:pt x="249" y="118"/>
                </a:cubicBezTo>
                <a:close/>
                <a:moveTo>
                  <a:pt x="244" y="88"/>
                </a:moveTo>
                <a:cubicBezTo>
                  <a:pt x="244" y="88"/>
                  <a:pt x="243" y="87"/>
                  <a:pt x="244" y="87"/>
                </a:cubicBezTo>
                <a:cubicBezTo>
                  <a:pt x="245" y="85"/>
                  <a:pt x="247" y="90"/>
                  <a:pt x="244" y="88"/>
                </a:cubicBezTo>
                <a:close/>
                <a:moveTo>
                  <a:pt x="244" y="70"/>
                </a:moveTo>
                <a:cubicBezTo>
                  <a:pt x="246" y="70"/>
                  <a:pt x="244" y="73"/>
                  <a:pt x="244" y="70"/>
                </a:cubicBezTo>
                <a:close/>
                <a:moveTo>
                  <a:pt x="248" y="64"/>
                </a:moveTo>
                <a:cubicBezTo>
                  <a:pt x="249" y="65"/>
                  <a:pt x="246" y="64"/>
                  <a:pt x="248" y="64"/>
                </a:cubicBezTo>
                <a:close/>
                <a:moveTo>
                  <a:pt x="243" y="69"/>
                </a:moveTo>
                <a:cubicBezTo>
                  <a:pt x="246" y="69"/>
                  <a:pt x="249" y="70"/>
                  <a:pt x="251" y="71"/>
                </a:cubicBezTo>
                <a:cubicBezTo>
                  <a:pt x="250" y="71"/>
                  <a:pt x="248" y="70"/>
                  <a:pt x="246" y="70"/>
                </a:cubicBezTo>
                <a:cubicBezTo>
                  <a:pt x="246" y="70"/>
                  <a:pt x="246" y="70"/>
                  <a:pt x="246" y="70"/>
                </a:cubicBezTo>
                <a:cubicBezTo>
                  <a:pt x="246" y="70"/>
                  <a:pt x="246" y="70"/>
                  <a:pt x="246" y="70"/>
                </a:cubicBezTo>
                <a:cubicBezTo>
                  <a:pt x="245" y="69"/>
                  <a:pt x="244" y="69"/>
                  <a:pt x="243" y="69"/>
                </a:cubicBezTo>
                <a:cubicBezTo>
                  <a:pt x="243" y="69"/>
                  <a:pt x="243" y="70"/>
                  <a:pt x="242" y="69"/>
                </a:cubicBezTo>
                <a:cubicBezTo>
                  <a:pt x="242" y="69"/>
                  <a:pt x="242" y="69"/>
                  <a:pt x="242" y="69"/>
                </a:cubicBezTo>
                <a:cubicBezTo>
                  <a:pt x="242" y="69"/>
                  <a:pt x="242" y="69"/>
                  <a:pt x="242" y="69"/>
                </a:cubicBezTo>
                <a:cubicBezTo>
                  <a:pt x="242" y="68"/>
                  <a:pt x="242" y="68"/>
                  <a:pt x="242" y="68"/>
                </a:cubicBezTo>
                <a:cubicBezTo>
                  <a:pt x="242" y="68"/>
                  <a:pt x="243" y="68"/>
                  <a:pt x="243" y="69"/>
                </a:cubicBezTo>
                <a:close/>
                <a:moveTo>
                  <a:pt x="242" y="89"/>
                </a:moveTo>
                <a:cubicBezTo>
                  <a:pt x="241" y="88"/>
                  <a:pt x="243" y="90"/>
                  <a:pt x="242" y="89"/>
                </a:cubicBezTo>
                <a:close/>
                <a:moveTo>
                  <a:pt x="234" y="66"/>
                </a:moveTo>
                <a:cubicBezTo>
                  <a:pt x="234" y="64"/>
                  <a:pt x="234" y="63"/>
                  <a:pt x="235" y="62"/>
                </a:cubicBezTo>
                <a:cubicBezTo>
                  <a:pt x="238" y="60"/>
                  <a:pt x="242" y="65"/>
                  <a:pt x="241" y="67"/>
                </a:cubicBezTo>
                <a:cubicBezTo>
                  <a:pt x="240" y="69"/>
                  <a:pt x="235" y="67"/>
                  <a:pt x="234" y="66"/>
                </a:cubicBezTo>
                <a:close/>
                <a:moveTo>
                  <a:pt x="246" y="122"/>
                </a:moveTo>
                <a:cubicBezTo>
                  <a:pt x="245" y="123"/>
                  <a:pt x="241" y="118"/>
                  <a:pt x="241" y="117"/>
                </a:cubicBezTo>
                <a:cubicBezTo>
                  <a:pt x="239" y="112"/>
                  <a:pt x="247" y="121"/>
                  <a:pt x="246" y="122"/>
                </a:cubicBezTo>
                <a:close/>
                <a:moveTo>
                  <a:pt x="242" y="252"/>
                </a:moveTo>
                <a:cubicBezTo>
                  <a:pt x="242" y="252"/>
                  <a:pt x="245" y="257"/>
                  <a:pt x="243" y="256"/>
                </a:cubicBezTo>
                <a:cubicBezTo>
                  <a:pt x="242" y="256"/>
                  <a:pt x="242" y="251"/>
                  <a:pt x="242" y="251"/>
                </a:cubicBezTo>
                <a:cubicBezTo>
                  <a:pt x="240" y="247"/>
                  <a:pt x="237" y="245"/>
                  <a:pt x="237" y="241"/>
                </a:cubicBezTo>
                <a:cubicBezTo>
                  <a:pt x="240" y="242"/>
                  <a:pt x="242" y="250"/>
                  <a:pt x="242" y="252"/>
                </a:cubicBezTo>
                <a:close/>
                <a:moveTo>
                  <a:pt x="241" y="246"/>
                </a:moveTo>
                <a:cubicBezTo>
                  <a:pt x="242" y="246"/>
                  <a:pt x="243" y="248"/>
                  <a:pt x="242" y="248"/>
                </a:cubicBezTo>
                <a:cubicBezTo>
                  <a:pt x="242" y="248"/>
                  <a:pt x="241" y="247"/>
                  <a:pt x="241" y="246"/>
                </a:cubicBezTo>
                <a:close/>
                <a:moveTo>
                  <a:pt x="244" y="213"/>
                </a:moveTo>
                <a:cubicBezTo>
                  <a:pt x="243" y="213"/>
                  <a:pt x="243" y="213"/>
                  <a:pt x="243" y="213"/>
                </a:cubicBezTo>
                <a:cubicBezTo>
                  <a:pt x="241" y="212"/>
                  <a:pt x="244" y="211"/>
                  <a:pt x="244" y="213"/>
                </a:cubicBezTo>
                <a:close/>
                <a:moveTo>
                  <a:pt x="241" y="158"/>
                </a:moveTo>
                <a:cubicBezTo>
                  <a:pt x="240" y="157"/>
                  <a:pt x="243" y="158"/>
                  <a:pt x="242" y="159"/>
                </a:cubicBezTo>
                <a:cubicBezTo>
                  <a:pt x="242" y="159"/>
                  <a:pt x="242" y="158"/>
                  <a:pt x="241" y="158"/>
                </a:cubicBezTo>
                <a:close/>
                <a:moveTo>
                  <a:pt x="243" y="148"/>
                </a:moveTo>
                <a:cubicBezTo>
                  <a:pt x="244" y="147"/>
                  <a:pt x="245" y="149"/>
                  <a:pt x="244" y="149"/>
                </a:cubicBezTo>
                <a:cubicBezTo>
                  <a:pt x="244" y="149"/>
                  <a:pt x="243" y="148"/>
                  <a:pt x="243" y="148"/>
                </a:cubicBezTo>
                <a:close/>
                <a:moveTo>
                  <a:pt x="244" y="215"/>
                </a:moveTo>
                <a:cubicBezTo>
                  <a:pt x="244" y="215"/>
                  <a:pt x="246" y="216"/>
                  <a:pt x="245" y="216"/>
                </a:cubicBezTo>
                <a:cubicBezTo>
                  <a:pt x="244" y="216"/>
                  <a:pt x="244" y="216"/>
                  <a:pt x="244" y="215"/>
                </a:cubicBezTo>
                <a:close/>
                <a:moveTo>
                  <a:pt x="230" y="166"/>
                </a:moveTo>
                <a:cubicBezTo>
                  <a:pt x="228" y="160"/>
                  <a:pt x="236" y="159"/>
                  <a:pt x="238" y="164"/>
                </a:cubicBezTo>
                <a:cubicBezTo>
                  <a:pt x="242" y="171"/>
                  <a:pt x="232" y="172"/>
                  <a:pt x="230" y="166"/>
                </a:cubicBezTo>
                <a:close/>
                <a:moveTo>
                  <a:pt x="236" y="177"/>
                </a:moveTo>
                <a:cubicBezTo>
                  <a:pt x="236" y="178"/>
                  <a:pt x="235" y="177"/>
                  <a:pt x="234" y="177"/>
                </a:cubicBezTo>
                <a:cubicBezTo>
                  <a:pt x="235" y="176"/>
                  <a:pt x="236" y="177"/>
                  <a:pt x="236" y="177"/>
                </a:cubicBezTo>
                <a:close/>
                <a:moveTo>
                  <a:pt x="234" y="190"/>
                </a:moveTo>
                <a:cubicBezTo>
                  <a:pt x="233" y="190"/>
                  <a:pt x="234" y="188"/>
                  <a:pt x="234" y="190"/>
                </a:cubicBezTo>
                <a:close/>
                <a:moveTo>
                  <a:pt x="230" y="190"/>
                </a:moveTo>
                <a:cubicBezTo>
                  <a:pt x="231" y="189"/>
                  <a:pt x="233" y="191"/>
                  <a:pt x="233" y="191"/>
                </a:cubicBezTo>
                <a:cubicBezTo>
                  <a:pt x="232" y="192"/>
                  <a:pt x="230" y="190"/>
                  <a:pt x="230" y="190"/>
                </a:cubicBezTo>
                <a:close/>
                <a:moveTo>
                  <a:pt x="232" y="199"/>
                </a:moveTo>
                <a:cubicBezTo>
                  <a:pt x="232" y="200"/>
                  <a:pt x="231" y="198"/>
                  <a:pt x="232" y="198"/>
                </a:cubicBezTo>
                <a:cubicBezTo>
                  <a:pt x="232" y="199"/>
                  <a:pt x="232" y="199"/>
                  <a:pt x="232" y="199"/>
                </a:cubicBezTo>
                <a:close/>
                <a:moveTo>
                  <a:pt x="232" y="179"/>
                </a:moveTo>
                <a:cubicBezTo>
                  <a:pt x="232" y="179"/>
                  <a:pt x="233" y="179"/>
                  <a:pt x="233" y="180"/>
                </a:cubicBezTo>
                <a:cubicBezTo>
                  <a:pt x="233" y="180"/>
                  <a:pt x="231" y="180"/>
                  <a:pt x="232" y="179"/>
                </a:cubicBezTo>
                <a:close/>
                <a:moveTo>
                  <a:pt x="238" y="100"/>
                </a:moveTo>
                <a:cubicBezTo>
                  <a:pt x="238" y="100"/>
                  <a:pt x="238" y="100"/>
                  <a:pt x="238" y="100"/>
                </a:cubicBezTo>
                <a:cubicBezTo>
                  <a:pt x="238" y="100"/>
                  <a:pt x="239" y="101"/>
                  <a:pt x="238" y="100"/>
                </a:cubicBezTo>
                <a:close/>
                <a:moveTo>
                  <a:pt x="235" y="107"/>
                </a:moveTo>
                <a:cubicBezTo>
                  <a:pt x="235" y="107"/>
                  <a:pt x="234" y="109"/>
                  <a:pt x="234" y="107"/>
                </a:cubicBezTo>
                <a:cubicBezTo>
                  <a:pt x="234" y="108"/>
                  <a:pt x="233" y="106"/>
                  <a:pt x="235" y="107"/>
                </a:cubicBezTo>
                <a:close/>
                <a:moveTo>
                  <a:pt x="231" y="104"/>
                </a:moveTo>
                <a:cubicBezTo>
                  <a:pt x="233" y="103"/>
                  <a:pt x="233" y="107"/>
                  <a:pt x="231" y="107"/>
                </a:cubicBezTo>
                <a:cubicBezTo>
                  <a:pt x="230" y="107"/>
                  <a:pt x="229" y="104"/>
                  <a:pt x="231" y="104"/>
                </a:cubicBezTo>
                <a:close/>
                <a:moveTo>
                  <a:pt x="238" y="120"/>
                </a:moveTo>
                <a:cubicBezTo>
                  <a:pt x="238" y="124"/>
                  <a:pt x="230" y="122"/>
                  <a:pt x="229" y="120"/>
                </a:cubicBezTo>
                <a:cubicBezTo>
                  <a:pt x="223" y="112"/>
                  <a:pt x="239" y="113"/>
                  <a:pt x="238" y="120"/>
                </a:cubicBezTo>
                <a:close/>
                <a:moveTo>
                  <a:pt x="233" y="134"/>
                </a:moveTo>
                <a:cubicBezTo>
                  <a:pt x="233" y="133"/>
                  <a:pt x="234" y="135"/>
                  <a:pt x="234" y="135"/>
                </a:cubicBezTo>
                <a:cubicBezTo>
                  <a:pt x="232" y="136"/>
                  <a:pt x="232" y="133"/>
                  <a:pt x="231" y="132"/>
                </a:cubicBezTo>
                <a:cubicBezTo>
                  <a:pt x="230" y="130"/>
                  <a:pt x="226" y="126"/>
                  <a:pt x="225" y="122"/>
                </a:cubicBezTo>
                <a:cubicBezTo>
                  <a:pt x="228" y="124"/>
                  <a:pt x="232" y="131"/>
                  <a:pt x="233" y="134"/>
                </a:cubicBezTo>
                <a:close/>
                <a:moveTo>
                  <a:pt x="226" y="205"/>
                </a:moveTo>
                <a:cubicBezTo>
                  <a:pt x="227" y="204"/>
                  <a:pt x="227" y="206"/>
                  <a:pt x="227" y="206"/>
                </a:cubicBezTo>
                <a:cubicBezTo>
                  <a:pt x="226" y="206"/>
                  <a:pt x="226" y="205"/>
                  <a:pt x="226" y="205"/>
                </a:cubicBezTo>
                <a:close/>
                <a:moveTo>
                  <a:pt x="226" y="130"/>
                </a:moveTo>
                <a:cubicBezTo>
                  <a:pt x="226" y="130"/>
                  <a:pt x="225" y="129"/>
                  <a:pt x="226" y="129"/>
                </a:cubicBezTo>
                <a:cubicBezTo>
                  <a:pt x="226" y="129"/>
                  <a:pt x="226" y="130"/>
                  <a:pt x="226" y="130"/>
                </a:cubicBezTo>
                <a:close/>
                <a:moveTo>
                  <a:pt x="226" y="159"/>
                </a:moveTo>
                <a:cubicBezTo>
                  <a:pt x="224" y="159"/>
                  <a:pt x="226" y="158"/>
                  <a:pt x="226" y="159"/>
                </a:cubicBezTo>
                <a:close/>
                <a:moveTo>
                  <a:pt x="225" y="158"/>
                </a:moveTo>
                <a:cubicBezTo>
                  <a:pt x="224" y="159"/>
                  <a:pt x="222" y="157"/>
                  <a:pt x="221" y="157"/>
                </a:cubicBezTo>
                <a:cubicBezTo>
                  <a:pt x="222" y="156"/>
                  <a:pt x="224" y="158"/>
                  <a:pt x="225" y="158"/>
                </a:cubicBezTo>
                <a:close/>
                <a:moveTo>
                  <a:pt x="224" y="169"/>
                </a:moveTo>
                <a:cubicBezTo>
                  <a:pt x="225" y="170"/>
                  <a:pt x="224" y="174"/>
                  <a:pt x="225" y="175"/>
                </a:cubicBezTo>
                <a:cubicBezTo>
                  <a:pt x="226" y="178"/>
                  <a:pt x="226" y="177"/>
                  <a:pt x="223" y="179"/>
                </a:cubicBezTo>
                <a:cubicBezTo>
                  <a:pt x="221" y="182"/>
                  <a:pt x="216" y="182"/>
                  <a:pt x="217" y="178"/>
                </a:cubicBezTo>
                <a:cubicBezTo>
                  <a:pt x="222" y="179"/>
                  <a:pt x="215" y="177"/>
                  <a:pt x="214" y="175"/>
                </a:cubicBezTo>
                <a:cubicBezTo>
                  <a:pt x="213" y="175"/>
                  <a:pt x="213" y="169"/>
                  <a:pt x="214" y="168"/>
                </a:cubicBezTo>
                <a:cubicBezTo>
                  <a:pt x="217" y="164"/>
                  <a:pt x="222" y="166"/>
                  <a:pt x="224" y="169"/>
                </a:cubicBezTo>
                <a:close/>
                <a:moveTo>
                  <a:pt x="212" y="179"/>
                </a:moveTo>
                <a:cubicBezTo>
                  <a:pt x="213" y="179"/>
                  <a:pt x="213" y="182"/>
                  <a:pt x="212" y="181"/>
                </a:cubicBezTo>
                <a:cubicBezTo>
                  <a:pt x="211" y="181"/>
                  <a:pt x="211" y="180"/>
                  <a:pt x="212" y="179"/>
                </a:cubicBezTo>
                <a:close/>
                <a:moveTo>
                  <a:pt x="211" y="154"/>
                </a:moveTo>
                <a:cubicBezTo>
                  <a:pt x="212" y="153"/>
                  <a:pt x="213" y="154"/>
                  <a:pt x="213" y="155"/>
                </a:cubicBezTo>
                <a:cubicBezTo>
                  <a:pt x="213" y="155"/>
                  <a:pt x="212" y="154"/>
                  <a:pt x="211" y="154"/>
                </a:cubicBezTo>
                <a:close/>
                <a:moveTo>
                  <a:pt x="214" y="225"/>
                </a:moveTo>
                <a:cubicBezTo>
                  <a:pt x="213" y="224"/>
                  <a:pt x="212" y="223"/>
                  <a:pt x="212" y="221"/>
                </a:cubicBezTo>
                <a:cubicBezTo>
                  <a:pt x="212" y="223"/>
                  <a:pt x="214" y="223"/>
                  <a:pt x="214" y="225"/>
                </a:cubicBezTo>
                <a:close/>
                <a:moveTo>
                  <a:pt x="213" y="174"/>
                </a:moveTo>
                <a:cubicBezTo>
                  <a:pt x="212" y="176"/>
                  <a:pt x="218" y="182"/>
                  <a:pt x="216" y="182"/>
                </a:cubicBezTo>
                <a:cubicBezTo>
                  <a:pt x="215" y="182"/>
                  <a:pt x="211" y="176"/>
                  <a:pt x="213" y="174"/>
                </a:cubicBezTo>
                <a:close/>
                <a:moveTo>
                  <a:pt x="219" y="185"/>
                </a:moveTo>
                <a:cubicBezTo>
                  <a:pt x="218" y="186"/>
                  <a:pt x="216" y="185"/>
                  <a:pt x="216" y="184"/>
                </a:cubicBezTo>
                <a:cubicBezTo>
                  <a:pt x="214" y="182"/>
                  <a:pt x="220" y="182"/>
                  <a:pt x="219" y="185"/>
                </a:cubicBezTo>
                <a:close/>
                <a:moveTo>
                  <a:pt x="217" y="156"/>
                </a:moveTo>
                <a:cubicBezTo>
                  <a:pt x="217" y="156"/>
                  <a:pt x="217" y="156"/>
                  <a:pt x="217" y="156"/>
                </a:cubicBezTo>
                <a:cubicBezTo>
                  <a:pt x="215" y="155"/>
                  <a:pt x="219" y="156"/>
                  <a:pt x="217" y="156"/>
                </a:cubicBezTo>
                <a:close/>
                <a:moveTo>
                  <a:pt x="216" y="132"/>
                </a:moveTo>
                <a:cubicBezTo>
                  <a:pt x="216" y="133"/>
                  <a:pt x="215" y="133"/>
                  <a:pt x="214" y="132"/>
                </a:cubicBezTo>
                <a:cubicBezTo>
                  <a:pt x="213" y="131"/>
                  <a:pt x="216" y="130"/>
                  <a:pt x="216" y="132"/>
                </a:cubicBezTo>
                <a:close/>
                <a:moveTo>
                  <a:pt x="216" y="146"/>
                </a:moveTo>
                <a:cubicBezTo>
                  <a:pt x="216" y="147"/>
                  <a:pt x="215" y="146"/>
                  <a:pt x="215" y="146"/>
                </a:cubicBezTo>
                <a:cubicBezTo>
                  <a:pt x="213" y="145"/>
                  <a:pt x="216" y="145"/>
                  <a:pt x="216" y="146"/>
                </a:cubicBezTo>
                <a:close/>
                <a:moveTo>
                  <a:pt x="220" y="156"/>
                </a:moveTo>
                <a:cubicBezTo>
                  <a:pt x="217" y="155"/>
                  <a:pt x="214" y="154"/>
                  <a:pt x="211" y="152"/>
                </a:cubicBezTo>
                <a:cubicBezTo>
                  <a:pt x="214" y="152"/>
                  <a:pt x="218" y="154"/>
                  <a:pt x="220" y="156"/>
                </a:cubicBezTo>
                <a:close/>
                <a:moveTo>
                  <a:pt x="212" y="115"/>
                </a:moveTo>
                <a:cubicBezTo>
                  <a:pt x="212" y="117"/>
                  <a:pt x="209" y="116"/>
                  <a:pt x="209" y="115"/>
                </a:cubicBezTo>
                <a:cubicBezTo>
                  <a:pt x="207" y="112"/>
                  <a:pt x="212" y="112"/>
                  <a:pt x="212" y="115"/>
                </a:cubicBezTo>
                <a:close/>
                <a:moveTo>
                  <a:pt x="210" y="146"/>
                </a:moveTo>
                <a:cubicBezTo>
                  <a:pt x="209" y="146"/>
                  <a:pt x="209" y="145"/>
                  <a:pt x="209" y="144"/>
                </a:cubicBezTo>
                <a:cubicBezTo>
                  <a:pt x="209" y="144"/>
                  <a:pt x="210" y="146"/>
                  <a:pt x="210" y="146"/>
                </a:cubicBezTo>
                <a:close/>
                <a:moveTo>
                  <a:pt x="209" y="150"/>
                </a:moveTo>
                <a:cubicBezTo>
                  <a:pt x="207" y="148"/>
                  <a:pt x="210" y="149"/>
                  <a:pt x="209" y="150"/>
                </a:cubicBezTo>
                <a:close/>
                <a:moveTo>
                  <a:pt x="207" y="167"/>
                </a:moveTo>
                <a:cubicBezTo>
                  <a:pt x="207" y="167"/>
                  <a:pt x="207" y="167"/>
                  <a:pt x="207" y="167"/>
                </a:cubicBezTo>
                <a:cubicBezTo>
                  <a:pt x="209" y="166"/>
                  <a:pt x="206" y="169"/>
                  <a:pt x="207" y="167"/>
                </a:cubicBezTo>
                <a:close/>
                <a:moveTo>
                  <a:pt x="204" y="221"/>
                </a:moveTo>
                <a:cubicBezTo>
                  <a:pt x="205" y="220"/>
                  <a:pt x="206" y="222"/>
                  <a:pt x="205" y="222"/>
                </a:cubicBezTo>
                <a:cubicBezTo>
                  <a:pt x="204" y="222"/>
                  <a:pt x="204" y="221"/>
                  <a:pt x="204" y="221"/>
                </a:cubicBezTo>
                <a:close/>
                <a:moveTo>
                  <a:pt x="204" y="239"/>
                </a:moveTo>
                <a:cubicBezTo>
                  <a:pt x="205" y="239"/>
                  <a:pt x="206" y="241"/>
                  <a:pt x="205" y="242"/>
                </a:cubicBezTo>
                <a:cubicBezTo>
                  <a:pt x="204" y="242"/>
                  <a:pt x="202" y="240"/>
                  <a:pt x="204" y="239"/>
                </a:cubicBezTo>
                <a:close/>
                <a:moveTo>
                  <a:pt x="203" y="346"/>
                </a:moveTo>
                <a:cubicBezTo>
                  <a:pt x="205" y="346"/>
                  <a:pt x="205" y="348"/>
                  <a:pt x="203" y="346"/>
                </a:cubicBezTo>
                <a:close/>
                <a:moveTo>
                  <a:pt x="202" y="233"/>
                </a:moveTo>
                <a:cubicBezTo>
                  <a:pt x="202" y="233"/>
                  <a:pt x="203" y="235"/>
                  <a:pt x="202" y="235"/>
                </a:cubicBezTo>
                <a:cubicBezTo>
                  <a:pt x="202" y="235"/>
                  <a:pt x="201" y="233"/>
                  <a:pt x="202" y="233"/>
                </a:cubicBezTo>
                <a:close/>
                <a:moveTo>
                  <a:pt x="202" y="232"/>
                </a:moveTo>
                <a:cubicBezTo>
                  <a:pt x="200" y="232"/>
                  <a:pt x="202" y="231"/>
                  <a:pt x="202" y="232"/>
                </a:cubicBezTo>
                <a:close/>
                <a:moveTo>
                  <a:pt x="202" y="345"/>
                </a:moveTo>
                <a:cubicBezTo>
                  <a:pt x="204" y="347"/>
                  <a:pt x="201" y="343"/>
                  <a:pt x="202" y="345"/>
                </a:cubicBezTo>
                <a:close/>
                <a:moveTo>
                  <a:pt x="201" y="171"/>
                </a:moveTo>
                <a:cubicBezTo>
                  <a:pt x="201" y="172"/>
                  <a:pt x="203" y="172"/>
                  <a:pt x="202" y="173"/>
                </a:cubicBezTo>
                <a:cubicBezTo>
                  <a:pt x="202" y="174"/>
                  <a:pt x="200" y="171"/>
                  <a:pt x="201" y="171"/>
                </a:cubicBezTo>
                <a:close/>
                <a:moveTo>
                  <a:pt x="200" y="182"/>
                </a:moveTo>
                <a:cubicBezTo>
                  <a:pt x="201" y="181"/>
                  <a:pt x="202" y="184"/>
                  <a:pt x="201" y="184"/>
                </a:cubicBezTo>
                <a:cubicBezTo>
                  <a:pt x="199" y="185"/>
                  <a:pt x="200" y="182"/>
                  <a:pt x="200" y="182"/>
                </a:cubicBezTo>
                <a:close/>
                <a:moveTo>
                  <a:pt x="199" y="304"/>
                </a:moveTo>
                <a:cubicBezTo>
                  <a:pt x="198" y="304"/>
                  <a:pt x="198" y="302"/>
                  <a:pt x="199" y="302"/>
                </a:cubicBezTo>
                <a:cubicBezTo>
                  <a:pt x="200" y="302"/>
                  <a:pt x="200" y="304"/>
                  <a:pt x="199" y="304"/>
                </a:cubicBezTo>
                <a:close/>
                <a:moveTo>
                  <a:pt x="200" y="321"/>
                </a:moveTo>
                <a:cubicBezTo>
                  <a:pt x="200" y="321"/>
                  <a:pt x="200" y="321"/>
                  <a:pt x="200" y="321"/>
                </a:cubicBezTo>
                <a:cubicBezTo>
                  <a:pt x="200" y="321"/>
                  <a:pt x="200" y="321"/>
                  <a:pt x="200" y="321"/>
                </a:cubicBezTo>
                <a:cubicBezTo>
                  <a:pt x="200" y="321"/>
                  <a:pt x="200" y="321"/>
                  <a:pt x="200" y="321"/>
                </a:cubicBezTo>
                <a:close/>
                <a:moveTo>
                  <a:pt x="198" y="238"/>
                </a:moveTo>
                <a:cubicBezTo>
                  <a:pt x="199" y="239"/>
                  <a:pt x="200" y="240"/>
                  <a:pt x="201" y="242"/>
                </a:cubicBezTo>
                <a:cubicBezTo>
                  <a:pt x="199" y="241"/>
                  <a:pt x="198" y="240"/>
                  <a:pt x="198" y="238"/>
                </a:cubicBezTo>
                <a:close/>
                <a:moveTo>
                  <a:pt x="198" y="266"/>
                </a:moveTo>
                <a:cubicBezTo>
                  <a:pt x="197" y="267"/>
                  <a:pt x="197" y="265"/>
                  <a:pt x="197" y="265"/>
                </a:cubicBezTo>
                <a:cubicBezTo>
                  <a:pt x="197" y="265"/>
                  <a:pt x="199" y="266"/>
                  <a:pt x="198" y="266"/>
                </a:cubicBezTo>
                <a:close/>
                <a:moveTo>
                  <a:pt x="199" y="228"/>
                </a:moveTo>
                <a:cubicBezTo>
                  <a:pt x="197" y="229"/>
                  <a:pt x="195" y="222"/>
                  <a:pt x="198" y="222"/>
                </a:cubicBezTo>
                <a:cubicBezTo>
                  <a:pt x="201" y="222"/>
                  <a:pt x="201" y="228"/>
                  <a:pt x="199" y="228"/>
                </a:cubicBezTo>
                <a:close/>
                <a:moveTo>
                  <a:pt x="197" y="165"/>
                </a:moveTo>
                <a:cubicBezTo>
                  <a:pt x="198" y="165"/>
                  <a:pt x="201" y="171"/>
                  <a:pt x="198" y="172"/>
                </a:cubicBezTo>
                <a:cubicBezTo>
                  <a:pt x="194" y="173"/>
                  <a:pt x="192" y="164"/>
                  <a:pt x="197" y="165"/>
                </a:cubicBezTo>
                <a:close/>
                <a:moveTo>
                  <a:pt x="196" y="264"/>
                </a:moveTo>
                <a:cubicBezTo>
                  <a:pt x="195" y="263"/>
                  <a:pt x="195" y="262"/>
                  <a:pt x="194" y="261"/>
                </a:cubicBezTo>
                <a:cubicBezTo>
                  <a:pt x="195" y="261"/>
                  <a:pt x="196" y="263"/>
                  <a:pt x="196" y="264"/>
                </a:cubicBezTo>
                <a:close/>
                <a:moveTo>
                  <a:pt x="194" y="242"/>
                </a:moveTo>
                <a:cubicBezTo>
                  <a:pt x="194" y="242"/>
                  <a:pt x="194" y="242"/>
                  <a:pt x="194" y="242"/>
                </a:cubicBezTo>
                <a:cubicBezTo>
                  <a:pt x="196" y="241"/>
                  <a:pt x="192" y="244"/>
                  <a:pt x="194" y="242"/>
                </a:cubicBezTo>
                <a:close/>
                <a:moveTo>
                  <a:pt x="194" y="188"/>
                </a:moveTo>
                <a:cubicBezTo>
                  <a:pt x="195" y="188"/>
                  <a:pt x="195" y="191"/>
                  <a:pt x="194" y="191"/>
                </a:cubicBezTo>
                <a:cubicBezTo>
                  <a:pt x="193" y="191"/>
                  <a:pt x="192" y="188"/>
                  <a:pt x="194" y="188"/>
                </a:cubicBezTo>
                <a:close/>
                <a:moveTo>
                  <a:pt x="192" y="192"/>
                </a:moveTo>
                <a:cubicBezTo>
                  <a:pt x="190" y="193"/>
                  <a:pt x="193" y="192"/>
                  <a:pt x="192" y="192"/>
                </a:cubicBezTo>
                <a:close/>
                <a:moveTo>
                  <a:pt x="191" y="224"/>
                </a:moveTo>
                <a:cubicBezTo>
                  <a:pt x="191" y="225"/>
                  <a:pt x="190" y="223"/>
                  <a:pt x="190" y="223"/>
                </a:cubicBezTo>
                <a:cubicBezTo>
                  <a:pt x="191" y="222"/>
                  <a:pt x="192" y="224"/>
                  <a:pt x="191" y="224"/>
                </a:cubicBezTo>
                <a:close/>
                <a:moveTo>
                  <a:pt x="191" y="190"/>
                </a:moveTo>
                <a:cubicBezTo>
                  <a:pt x="191" y="189"/>
                  <a:pt x="191" y="189"/>
                  <a:pt x="190" y="188"/>
                </a:cubicBezTo>
                <a:cubicBezTo>
                  <a:pt x="191" y="188"/>
                  <a:pt x="191" y="189"/>
                  <a:pt x="191" y="190"/>
                </a:cubicBezTo>
                <a:close/>
                <a:moveTo>
                  <a:pt x="192" y="243"/>
                </a:moveTo>
                <a:cubicBezTo>
                  <a:pt x="192" y="241"/>
                  <a:pt x="191" y="242"/>
                  <a:pt x="190" y="243"/>
                </a:cubicBezTo>
                <a:cubicBezTo>
                  <a:pt x="188" y="243"/>
                  <a:pt x="184" y="239"/>
                  <a:pt x="186" y="235"/>
                </a:cubicBezTo>
                <a:cubicBezTo>
                  <a:pt x="189" y="230"/>
                  <a:pt x="196" y="237"/>
                  <a:pt x="192" y="243"/>
                </a:cubicBezTo>
                <a:close/>
                <a:moveTo>
                  <a:pt x="192" y="254"/>
                </a:moveTo>
                <a:cubicBezTo>
                  <a:pt x="191" y="255"/>
                  <a:pt x="191" y="253"/>
                  <a:pt x="191" y="253"/>
                </a:cubicBezTo>
                <a:cubicBezTo>
                  <a:pt x="192" y="252"/>
                  <a:pt x="192" y="254"/>
                  <a:pt x="192" y="254"/>
                </a:cubicBezTo>
                <a:close/>
                <a:moveTo>
                  <a:pt x="190" y="274"/>
                </a:moveTo>
                <a:cubicBezTo>
                  <a:pt x="190" y="274"/>
                  <a:pt x="189" y="272"/>
                  <a:pt x="190" y="272"/>
                </a:cubicBezTo>
                <a:cubicBezTo>
                  <a:pt x="191" y="271"/>
                  <a:pt x="191" y="274"/>
                  <a:pt x="190" y="274"/>
                </a:cubicBezTo>
                <a:close/>
                <a:moveTo>
                  <a:pt x="186" y="193"/>
                </a:moveTo>
                <a:cubicBezTo>
                  <a:pt x="189" y="193"/>
                  <a:pt x="188" y="197"/>
                  <a:pt x="187" y="197"/>
                </a:cubicBezTo>
                <a:cubicBezTo>
                  <a:pt x="185" y="197"/>
                  <a:pt x="185" y="193"/>
                  <a:pt x="186" y="193"/>
                </a:cubicBezTo>
                <a:close/>
                <a:moveTo>
                  <a:pt x="185" y="198"/>
                </a:moveTo>
                <a:cubicBezTo>
                  <a:pt x="187" y="198"/>
                  <a:pt x="186" y="200"/>
                  <a:pt x="185" y="198"/>
                </a:cubicBezTo>
                <a:close/>
                <a:moveTo>
                  <a:pt x="183" y="252"/>
                </a:moveTo>
                <a:cubicBezTo>
                  <a:pt x="184" y="252"/>
                  <a:pt x="184" y="254"/>
                  <a:pt x="183" y="253"/>
                </a:cubicBezTo>
                <a:cubicBezTo>
                  <a:pt x="183" y="253"/>
                  <a:pt x="183" y="253"/>
                  <a:pt x="183" y="252"/>
                </a:cubicBezTo>
                <a:close/>
                <a:moveTo>
                  <a:pt x="184" y="268"/>
                </a:moveTo>
                <a:cubicBezTo>
                  <a:pt x="184" y="268"/>
                  <a:pt x="185" y="269"/>
                  <a:pt x="184" y="269"/>
                </a:cubicBezTo>
                <a:cubicBezTo>
                  <a:pt x="184" y="270"/>
                  <a:pt x="182" y="268"/>
                  <a:pt x="184" y="268"/>
                </a:cubicBezTo>
                <a:close/>
                <a:moveTo>
                  <a:pt x="184" y="309"/>
                </a:moveTo>
                <a:cubicBezTo>
                  <a:pt x="183" y="309"/>
                  <a:pt x="182" y="307"/>
                  <a:pt x="183" y="306"/>
                </a:cubicBezTo>
                <a:cubicBezTo>
                  <a:pt x="185" y="305"/>
                  <a:pt x="185" y="309"/>
                  <a:pt x="184" y="309"/>
                </a:cubicBezTo>
                <a:close/>
                <a:moveTo>
                  <a:pt x="184" y="256"/>
                </a:moveTo>
                <a:cubicBezTo>
                  <a:pt x="183" y="256"/>
                  <a:pt x="182" y="254"/>
                  <a:pt x="184" y="254"/>
                </a:cubicBezTo>
                <a:cubicBezTo>
                  <a:pt x="185" y="254"/>
                  <a:pt x="185" y="256"/>
                  <a:pt x="184" y="256"/>
                </a:cubicBezTo>
                <a:close/>
                <a:moveTo>
                  <a:pt x="186" y="272"/>
                </a:moveTo>
                <a:cubicBezTo>
                  <a:pt x="190" y="271"/>
                  <a:pt x="189" y="278"/>
                  <a:pt x="187" y="278"/>
                </a:cubicBezTo>
                <a:cubicBezTo>
                  <a:pt x="185" y="278"/>
                  <a:pt x="184" y="273"/>
                  <a:pt x="186" y="272"/>
                </a:cubicBezTo>
                <a:close/>
                <a:moveTo>
                  <a:pt x="189" y="304"/>
                </a:moveTo>
                <a:cubicBezTo>
                  <a:pt x="193" y="304"/>
                  <a:pt x="193" y="312"/>
                  <a:pt x="190" y="312"/>
                </a:cubicBezTo>
                <a:cubicBezTo>
                  <a:pt x="187" y="312"/>
                  <a:pt x="185" y="305"/>
                  <a:pt x="189" y="304"/>
                </a:cubicBezTo>
                <a:close/>
                <a:moveTo>
                  <a:pt x="193" y="375"/>
                </a:moveTo>
                <a:cubicBezTo>
                  <a:pt x="193" y="375"/>
                  <a:pt x="192" y="374"/>
                  <a:pt x="193" y="374"/>
                </a:cubicBezTo>
                <a:cubicBezTo>
                  <a:pt x="193" y="374"/>
                  <a:pt x="194" y="375"/>
                  <a:pt x="193" y="375"/>
                </a:cubicBezTo>
                <a:close/>
                <a:moveTo>
                  <a:pt x="205" y="365"/>
                </a:moveTo>
                <a:cubicBezTo>
                  <a:pt x="205" y="366"/>
                  <a:pt x="203" y="362"/>
                  <a:pt x="204" y="364"/>
                </a:cubicBezTo>
                <a:cubicBezTo>
                  <a:pt x="199" y="355"/>
                  <a:pt x="192" y="344"/>
                  <a:pt x="189" y="335"/>
                </a:cubicBezTo>
                <a:cubicBezTo>
                  <a:pt x="195" y="343"/>
                  <a:pt x="199" y="352"/>
                  <a:pt x="204" y="362"/>
                </a:cubicBezTo>
                <a:cubicBezTo>
                  <a:pt x="204" y="362"/>
                  <a:pt x="206" y="364"/>
                  <a:pt x="205" y="365"/>
                </a:cubicBezTo>
                <a:close/>
                <a:moveTo>
                  <a:pt x="206" y="165"/>
                </a:moveTo>
                <a:cubicBezTo>
                  <a:pt x="204" y="165"/>
                  <a:pt x="205" y="163"/>
                  <a:pt x="206" y="165"/>
                </a:cubicBezTo>
                <a:close/>
                <a:moveTo>
                  <a:pt x="212" y="221"/>
                </a:moveTo>
                <a:cubicBezTo>
                  <a:pt x="210" y="220"/>
                  <a:pt x="208" y="217"/>
                  <a:pt x="206" y="215"/>
                </a:cubicBezTo>
                <a:cubicBezTo>
                  <a:pt x="209" y="216"/>
                  <a:pt x="210" y="219"/>
                  <a:pt x="212" y="221"/>
                </a:cubicBezTo>
                <a:close/>
                <a:moveTo>
                  <a:pt x="207" y="224"/>
                </a:moveTo>
                <a:cubicBezTo>
                  <a:pt x="205" y="222"/>
                  <a:pt x="211" y="223"/>
                  <a:pt x="209" y="225"/>
                </a:cubicBezTo>
                <a:cubicBezTo>
                  <a:pt x="209" y="226"/>
                  <a:pt x="208" y="225"/>
                  <a:pt x="207" y="224"/>
                </a:cubicBezTo>
                <a:close/>
                <a:moveTo>
                  <a:pt x="209" y="243"/>
                </a:moveTo>
                <a:cubicBezTo>
                  <a:pt x="210" y="243"/>
                  <a:pt x="211" y="244"/>
                  <a:pt x="211" y="244"/>
                </a:cubicBezTo>
                <a:cubicBezTo>
                  <a:pt x="211" y="247"/>
                  <a:pt x="208" y="245"/>
                  <a:pt x="209" y="243"/>
                </a:cubicBezTo>
                <a:close/>
                <a:moveTo>
                  <a:pt x="214" y="405"/>
                </a:moveTo>
                <a:cubicBezTo>
                  <a:pt x="214" y="405"/>
                  <a:pt x="215" y="405"/>
                  <a:pt x="215" y="405"/>
                </a:cubicBezTo>
                <a:cubicBezTo>
                  <a:pt x="216" y="406"/>
                  <a:pt x="213" y="406"/>
                  <a:pt x="214" y="405"/>
                </a:cubicBezTo>
                <a:close/>
                <a:moveTo>
                  <a:pt x="211" y="256"/>
                </a:moveTo>
                <a:cubicBezTo>
                  <a:pt x="211" y="256"/>
                  <a:pt x="210" y="254"/>
                  <a:pt x="211" y="254"/>
                </a:cubicBezTo>
                <a:cubicBezTo>
                  <a:pt x="214" y="256"/>
                  <a:pt x="216" y="261"/>
                  <a:pt x="217" y="264"/>
                </a:cubicBezTo>
                <a:cubicBezTo>
                  <a:pt x="215" y="261"/>
                  <a:pt x="212" y="258"/>
                  <a:pt x="211" y="256"/>
                </a:cubicBezTo>
                <a:close/>
                <a:moveTo>
                  <a:pt x="219" y="262"/>
                </a:moveTo>
                <a:cubicBezTo>
                  <a:pt x="218" y="262"/>
                  <a:pt x="217" y="260"/>
                  <a:pt x="219" y="260"/>
                </a:cubicBezTo>
                <a:cubicBezTo>
                  <a:pt x="219" y="260"/>
                  <a:pt x="220" y="261"/>
                  <a:pt x="219" y="262"/>
                </a:cubicBezTo>
                <a:close/>
                <a:moveTo>
                  <a:pt x="221" y="386"/>
                </a:moveTo>
                <a:cubicBezTo>
                  <a:pt x="221" y="385"/>
                  <a:pt x="222" y="386"/>
                  <a:pt x="222" y="386"/>
                </a:cubicBezTo>
                <a:cubicBezTo>
                  <a:pt x="221" y="387"/>
                  <a:pt x="220" y="387"/>
                  <a:pt x="221" y="386"/>
                </a:cubicBezTo>
                <a:close/>
                <a:moveTo>
                  <a:pt x="222" y="327"/>
                </a:moveTo>
                <a:cubicBezTo>
                  <a:pt x="220" y="326"/>
                  <a:pt x="222" y="326"/>
                  <a:pt x="222" y="327"/>
                </a:cubicBezTo>
                <a:close/>
                <a:moveTo>
                  <a:pt x="224" y="204"/>
                </a:moveTo>
                <a:cubicBezTo>
                  <a:pt x="223" y="205"/>
                  <a:pt x="222" y="205"/>
                  <a:pt x="222" y="205"/>
                </a:cubicBezTo>
                <a:cubicBezTo>
                  <a:pt x="221" y="204"/>
                  <a:pt x="221" y="203"/>
                  <a:pt x="222" y="203"/>
                </a:cubicBezTo>
                <a:cubicBezTo>
                  <a:pt x="222" y="202"/>
                  <a:pt x="222" y="201"/>
                  <a:pt x="222" y="201"/>
                </a:cubicBezTo>
                <a:cubicBezTo>
                  <a:pt x="221" y="200"/>
                  <a:pt x="215" y="194"/>
                  <a:pt x="216" y="194"/>
                </a:cubicBezTo>
                <a:cubicBezTo>
                  <a:pt x="218" y="192"/>
                  <a:pt x="222" y="201"/>
                  <a:pt x="223" y="202"/>
                </a:cubicBezTo>
                <a:cubicBezTo>
                  <a:pt x="224" y="203"/>
                  <a:pt x="225" y="204"/>
                  <a:pt x="224" y="204"/>
                </a:cubicBezTo>
                <a:cubicBezTo>
                  <a:pt x="224" y="204"/>
                  <a:pt x="224" y="204"/>
                  <a:pt x="224" y="204"/>
                </a:cubicBezTo>
                <a:cubicBezTo>
                  <a:pt x="224" y="204"/>
                  <a:pt x="224" y="204"/>
                  <a:pt x="224" y="204"/>
                </a:cubicBezTo>
                <a:close/>
                <a:moveTo>
                  <a:pt x="227" y="215"/>
                </a:moveTo>
                <a:cubicBezTo>
                  <a:pt x="224" y="216"/>
                  <a:pt x="222" y="210"/>
                  <a:pt x="225" y="210"/>
                </a:cubicBezTo>
                <a:cubicBezTo>
                  <a:pt x="227" y="210"/>
                  <a:pt x="228" y="214"/>
                  <a:pt x="227" y="215"/>
                </a:cubicBezTo>
                <a:close/>
                <a:moveTo>
                  <a:pt x="230" y="252"/>
                </a:moveTo>
                <a:cubicBezTo>
                  <a:pt x="230" y="251"/>
                  <a:pt x="231" y="252"/>
                  <a:pt x="231" y="252"/>
                </a:cubicBezTo>
                <a:cubicBezTo>
                  <a:pt x="231" y="252"/>
                  <a:pt x="230" y="252"/>
                  <a:pt x="230" y="252"/>
                </a:cubicBezTo>
                <a:close/>
                <a:moveTo>
                  <a:pt x="232" y="218"/>
                </a:moveTo>
                <a:cubicBezTo>
                  <a:pt x="232" y="218"/>
                  <a:pt x="232" y="218"/>
                  <a:pt x="232" y="218"/>
                </a:cubicBezTo>
                <a:cubicBezTo>
                  <a:pt x="231" y="217"/>
                  <a:pt x="230" y="216"/>
                  <a:pt x="229" y="216"/>
                </a:cubicBezTo>
                <a:cubicBezTo>
                  <a:pt x="229" y="216"/>
                  <a:pt x="230" y="215"/>
                  <a:pt x="230" y="215"/>
                </a:cubicBezTo>
                <a:cubicBezTo>
                  <a:pt x="230" y="214"/>
                  <a:pt x="232" y="217"/>
                  <a:pt x="234" y="218"/>
                </a:cubicBezTo>
                <a:cubicBezTo>
                  <a:pt x="235" y="219"/>
                  <a:pt x="242" y="224"/>
                  <a:pt x="243" y="226"/>
                </a:cubicBezTo>
                <a:cubicBezTo>
                  <a:pt x="244" y="228"/>
                  <a:pt x="241" y="224"/>
                  <a:pt x="240" y="224"/>
                </a:cubicBezTo>
                <a:cubicBezTo>
                  <a:pt x="239" y="222"/>
                  <a:pt x="235" y="220"/>
                  <a:pt x="232" y="218"/>
                </a:cubicBezTo>
                <a:cubicBezTo>
                  <a:pt x="233" y="219"/>
                  <a:pt x="233" y="219"/>
                  <a:pt x="232" y="219"/>
                </a:cubicBezTo>
                <a:cubicBezTo>
                  <a:pt x="232" y="219"/>
                  <a:pt x="232" y="218"/>
                  <a:pt x="232" y="218"/>
                </a:cubicBezTo>
                <a:close/>
                <a:moveTo>
                  <a:pt x="233" y="254"/>
                </a:moveTo>
                <a:cubicBezTo>
                  <a:pt x="233" y="254"/>
                  <a:pt x="232" y="253"/>
                  <a:pt x="232" y="253"/>
                </a:cubicBezTo>
                <a:cubicBezTo>
                  <a:pt x="232" y="253"/>
                  <a:pt x="234" y="253"/>
                  <a:pt x="233" y="254"/>
                </a:cubicBezTo>
                <a:close/>
                <a:moveTo>
                  <a:pt x="233" y="257"/>
                </a:moveTo>
                <a:cubicBezTo>
                  <a:pt x="232" y="257"/>
                  <a:pt x="232" y="255"/>
                  <a:pt x="233" y="255"/>
                </a:cubicBezTo>
                <a:cubicBezTo>
                  <a:pt x="234" y="254"/>
                  <a:pt x="234" y="257"/>
                  <a:pt x="233" y="257"/>
                </a:cubicBezTo>
                <a:close/>
                <a:moveTo>
                  <a:pt x="234" y="240"/>
                </a:moveTo>
                <a:cubicBezTo>
                  <a:pt x="234" y="240"/>
                  <a:pt x="234" y="240"/>
                  <a:pt x="234" y="239"/>
                </a:cubicBezTo>
                <a:cubicBezTo>
                  <a:pt x="235" y="237"/>
                  <a:pt x="237" y="243"/>
                  <a:pt x="234" y="240"/>
                </a:cubicBezTo>
                <a:close/>
                <a:moveTo>
                  <a:pt x="239" y="261"/>
                </a:moveTo>
                <a:cubicBezTo>
                  <a:pt x="240" y="261"/>
                  <a:pt x="242" y="263"/>
                  <a:pt x="240" y="264"/>
                </a:cubicBezTo>
                <a:cubicBezTo>
                  <a:pt x="238" y="266"/>
                  <a:pt x="235" y="260"/>
                  <a:pt x="239" y="261"/>
                </a:cubicBezTo>
                <a:close/>
                <a:moveTo>
                  <a:pt x="243" y="722"/>
                </a:moveTo>
                <a:cubicBezTo>
                  <a:pt x="243" y="722"/>
                  <a:pt x="243" y="722"/>
                  <a:pt x="243" y="722"/>
                </a:cubicBezTo>
                <a:cubicBezTo>
                  <a:pt x="244" y="724"/>
                  <a:pt x="241" y="719"/>
                  <a:pt x="243" y="722"/>
                </a:cubicBezTo>
                <a:close/>
                <a:moveTo>
                  <a:pt x="240" y="314"/>
                </a:moveTo>
                <a:cubicBezTo>
                  <a:pt x="242" y="315"/>
                  <a:pt x="242" y="318"/>
                  <a:pt x="244" y="319"/>
                </a:cubicBezTo>
                <a:cubicBezTo>
                  <a:pt x="242" y="318"/>
                  <a:pt x="241" y="316"/>
                  <a:pt x="240" y="314"/>
                </a:cubicBezTo>
                <a:close/>
                <a:moveTo>
                  <a:pt x="245" y="274"/>
                </a:moveTo>
                <a:cubicBezTo>
                  <a:pt x="247" y="273"/>
                  <a:pt x="246" y="276"/>
                  <a:pt x="245" y="276"/>
                </a:cubicBezTo>
                <a:cubicBezTo>
                  <a:pt x="244" y="277"/>
                  <a:pt x="243" y="274"/>
                  <a:pt x="245" y="274"/>
                </a:cubicBezTo>
                <a:close/>
                <a:moveTo>
                  <a:pt x="246" y="680"/>
                </a:moveTo>
                <a:cubicBezTo>
                  <a:pt x="244" y="679"/>
                  <a:pt x="247" y="680"/>
                  <a:pt x="246" y="680"/>
                </a:cubicBezTo>
                <a:close/>
                <a:moveTo>
                  <a:pt x="245" y="321"/>
                </a:moveTo>
                <a:cubicBezTo>
                  <a:pt x="248" y="323"/>
                  <a:pt x="245" y="324"/>
                  <a:pt x="245" y="321"/>
                </a:cubicBezTo>
                <a:close/>
                <a:moveTo>
                  <a:pt x="247" y="85"/>
                </a:moveTo>
                <a:cubicBezTo>
                  <a:pt x="246" y="86"/>
                  <a:pt x="245" y="85"/>
                  <a:pt x="245" y="84"/>
                </a:cubicBezTo>
                <a:cubicBezTo>
                  <a:pt x="244" y="83"/>
                  <a:pt x="247" y="83"/>
                  <a:pt x="247" y="85"/>
                </a:cubicBezTo>
                <a:close/>
                <a:moveTo>
                  <a:pt x="246" y="83"/>
                </a:moveTo>
                <a:cubicBezTo>
                  <a:pt x="246" y="82"/>
                  <a:pt x="246" y="83"/>
                  <a:pt x="246" y="83"/>
                </a:cubicBezTo>
                <a:cubicBezTo>
                  <a:pt x="248" y="82"/>
                  <a:pt x="245" y="84"/>
                  <a:pt x="246" y="83"/>
                </a:cubicBezTo>
                <a:close/>
                <a:moveTo>
                  <a:pt x="247" y="96"/>
                </a:moveTo>
                <a:cubicBezTo>
                  <a:pt x="248" y="97"/>
                  <a:pt x="247" y="97"/>
                  <a:pt x="247" y="96"/>
                </a:cubicBezTo>
                <a:close/>
                <a:moveTo>
                  <a:pt x="249" y="170"/>
                </a:moveTo>
                <a:cubicBezTo>
                  <a:pt x="247" y="168"/>
                  <a:pt x="250" y="172"/>
                  <a:pt x="249" y="170"/>
                </a:cubicBezTo>
                <a:close/>
                <a:moveTo>
                  <a:pt x="248" y="146"/>
                </a:moveTo>
                <a:cubicBezTo>
                  <a:pt x="248" y="146"/>
                  <a:pt x="247" y="145"/>
                  <a:pt x="248" y="144"/>
                </a:cubicBezTo>
                <a:cubicBezTo>
                  <a:pt x="250" y="141"/>
                  <a:pt x="251" y="149"/>
                  <a:pt x="248" y="146"/>
                </a:cubicBezTo>
                <a:close/>
                <a:moveTo>
                  <a:pt x="251" y="173"/>
                </a:moveTo>
                <a:cubicBezTo>
                  <a:pt x="249" y="171"/>
                  <a:pt x="252" y="175"/>
                  <a:pt x="251" y="173"/>
                </a:cubicBezTo>
                <a:close/>
                <a:moveTo>
                  <a:pt x="251" y="126"/>
                </a:moveTo>
                <a:cubicBezTo>
                  <a:pt x="251" y="125"/>
                  <a:pt x="252" y="126"/>
                  <a:pt x="252" y="126"/>
                </a:cubicBezTo>
                <a:cubicBezTo>
                  <a:pt x="252" y="126"/>
                  <a:pt x="251" y="126"/>
                  <a:pt x="251" y="126"/>
                </a:cubicBezTo>
                <a:close/>
                <a:moveTo>
                  <a:pt x="254" y="93"/>
                </a:moveTo>
                <a:cubicBezTo>
                  <a:pt x="254" y="93"/>
                  <a:pt x="253" y="93"/>
                  <a:pt x="252" y="93"/>
                </a:cubicBezTo>
                <a:cubicBezTo>
                  <a:pt x="250" y="91"/>
                  <a:pt x="255" y="90"/>
                  <a:pt x="254" y="93"/>
                </a:cubicBezTo>
                <a:close/>
                <a:moveTo>
                  <a:pt x="253" y="639"/>
                </a:moveTo>
                <a:cubicBezTo>
                  <a:pt x="253" y="638"/>
                  <a:pt x="255" y="639"/>
                  <a:pt x="255" y="639"/>
                </a:cubicBezTo>
                <a:cubicBezTo>
                  <a:pt x="256" y="641"/>
                  <a:pt x="252" y="640"/>
                  <a:pt x="253" y="639"/>
                </a:cubicBezTo>
                <a:close/>
                <a:moveTo>
                  <a:pt x="254" y="281"/>
                </a:moveTo>
                <a:cubicBezTo>
                  <a:pt x="256" y="282"/>
                  <a:pt x="255" y="284"/>
                  <a:pt x="254" y="281"/>
                </a:cubicBezTo>
                <a:close/>
                <a:moveTo>
                  <a:pt x="256" y="131"/>
                </a:moveTo>
                <a:cubicBezTo>
                  <a:pt x="258" y="131"/>
                  <a:pt x="257" y="133"/>
                  <a:pt x="256" y="133"/>
                </a:cubicBezTo>
                <a:cubicBezTo>
                  <a:pt x="255" y="133"/>
                  <a:pt x="254" y="131"/>
                  <a:pt x="256" y="131"/>
                </a:cubicBezTo>
                <a:close/>
                <a:moveTo>
                  <a:pt x="256" y="252"/>
                </a:moveTo>
                <a:cubicBezTo>
                  <a:pt x="256" y="252"/>
                  <a:pt x="258" y="254"/>
                  <a:pt x="258" y="254"/>
                </a:cubicBezTo>
                <a:cubicBezTo>
                  <a:pt x="258" y="254"/>
                  <a:pt x="256" y="253"/>
                  <a:pt x="256" y="252"/>
                </a:cubicBezTo>
                <a:close/>
                <a:moveTo>
                  <a:pt x="257" y="723"/>
                </a:moveTo>
                <a:cubicBezTo>
                  <a:pt x="257" y="723"/>
                  <a:pt x="258" y="723"/>
                  <a:pt x="258" y="723"/>
                </a:cubicBezTo>
                <a:cubicBezTo>
                  <a:pt x="260" y="724"/>
                  <a:pt x="256" y="723"/>
                  <a:pt x="257" y="723"/>
                </a:cubicBezTo>
                <a:close/>
                <a:moveTo>
                  <a:pt x="257" y="608"/>
                </a:moveTo>
                <a:cubicBezTo>
                  <a:pt x="258" y="607"/>
                  <a:pt x="261" y="610"/>
                  <a:pt x="260" y="610"/>
                </a:cubicBezTo>
                <a:cubicBezTo>
                  <a:pt x="265" y="613"/>
                  <a:pt x="273" y="615"/>
                  <a:pt x="279" y="618"/>
                </a:cubicBezTo>
                <a:cubicBezTo>
                  <a:pt x="279" y="618"/>
                  <a:pt x="281" y="619"/>
                  <a:pt x="281" y="619"/>
                </a:cubicBezTo>
                <a:cubicBezTo>
                  <a:pt x="282" y="621"/>
                  <a:pt x="264" y="613"/>
                  <a:pt x="261" y="611"/>
                </a:cubicBezTo>
                <a:cubicBezTo>
                  <a:pt x="261" y="611"/>
                  <a:pt x="256" y="609"/>
                  <a:pt x="257" y="608"/>
                </a:cubicBezTo>
                <a:close/>
                <a:moveTo>
                  <a:pt x="271" y="686"/>
                </a:moveTo>
                <a:cubicBezTo>
                  <a:pt x="271" y="688"/>
                  <a:pt x="269" y="684"/>
                  <a:pt x="270" y="686"/>
                </a:cubicBezTo>
                <a:cubicBezTo>
                  <a:pt x="270" y="686"/>
                  <a:pt x="271" y="686"/>
                  <a:pt x="271" y="686"/>
                </a:cubicBezTo>
                <a:close/>
                <a:moveTo>
                  <a:pt x="270" y="730"/>
                </a:moveTo>
                <a:cubicBezTo>
                  <a:pt x="270" y="731"/>
                  <a:pt x="268" y="729"/>
                  <a:pt x="270" y="730"/>
                </a:cubicBezTo>
                <a:close/>
                <a:moveTo>
                  <a:pt x="269" y="705"/>
                </a:moveTo>
                <a:cubicBezTo>
                  <a:pt x="269" y="705"/>
                  <a:pt x="271" y="705"/>
                  <a:pt x="271" y="705"/>
                </a:cubicBezTo>
                <a:cubicBezTo>
                  <a:pt x="272" y="707"/>
                  <a:pt x="268" y="706"/>
                  <a:pt x="269" y="705"/>
                </a:cubicBezTo>
                <a:close/>
                <a:moveTo>
                  <a:pt x="270" y="699"/>
                </a:moveTo>
                <a:cubicBezTo>
                  <a:pt x="272" y="697"/>
                  <a:pt x="273" y="701"/>
                  <a:pt x="270" y="699"/>
                </a:cubicBezTo>
                <a:close/>
                <a:moveTo>
                  <a:pt x="277" y="747"/>
                </a:moveTo>
                <a:cubicBezTo>
                  <a:pt x="275" y="746"/>
                  <a:pt x="279" y="748"/>
                  <a:pt x="277" y="747"/>
                </a:cubicBezTo>
                <a:close/>
                <a:moveTo>
                  <a:pt x="277" y="671"/>
                </a:moveTo>
                <a:cubicBezTo>
                  <a:pt x="279" y="670"/>
                  <a:pt x="279" y="671"/>
                  <a:pt x="279" y="671"/>
                </a:cubicBezTo>
                <a:cubicBezTo>
                  <a:pt x="281" y="673"/>
                  <a:pt x="276" y="671"/>
                  <a:pt x="277" y="671"/>
                </a:cubicBezTo>
                <a:close/>
                <a:moveTo>
                  <a:pt x="280" y="741"/>
                </a:moveTo>
                <a:cubicBezTo>
                  <a:pt x="280" y="740"/>
                  <a:pt x="284" y="740"/>
                  <a:pt x="285" y="741"/>
                </a:cubicBezTo>
                <a:cubicBezTo>
                  <a:pt x="285" y="743"/>
                  <a:pt x="280" y="742"/>
                  <a:pt x="280" y="741"/>
                </a:cubicBezTo>
                <a:close/>
                <a:moveTo>
                  <a:pt x="284" y="510"/>
                </a:moveTo>
                <a:cubicBezTo>
                  <a:pt x="284" y="510"/>
                  <a:pt x="285" y="510"/>
                  <a:pt x="286" y="510"/>
                </a:cubicBezTo>
                <a:cubicBezTo>
                  <a:pt x="287" y="512"/>
                  <a:pt x="283" y="512"/>
                  <a:pt x="284" y="510"/>
                </a:cubicBezTo>
                <a:close/>
                <a:moveTo>
                  <a:pt x="286" y="669"/>
                </a:moveTo>
                <a:cubicBezTo>
                  <a:pt x="286" y="667"/>
                  <a:pt x="289" y="668"/>
                  <a:pt x="289" y="669"/>
                </a:cubicBezTo>
                <a:cubicBezTo>
                  <a:pt x="290" y="671"/>
                  <a:pt x="286" y="670"/>
                  <a:pt x="286" y="669"/>
                </a:cubicBezTo>
                <a:close/>
                <a:moveTo>
                  <a:pt x="308" y="749"/>
                </a:moveTo>
                <a:cubicBezTo>
                  <a:pt x="302" y="750"/>
                  <a:pt x="295" y="748"/>
                  <a:pt x="288" y="746"/>
                </a:cubicBezTo>
                <a:cubicBezTo>
                  <a:pt x="294" y="747"/>
                  <a:pt x="301" y="748"/>
                  <a:pt x="308" y="7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136" name="Freeform 131">
            <a:extLst>
              <a:ext uri="{FF2B5EF4-FFF2-40B4-BE49-F238E27FC236}">
                <a16:creationId xmlns="" xmlns:a16="http://schemas.microsoft.com/office/drawing/2014/main" id="{EEB340F0-16BF-4ABF-969D-1FEB0C2FEBB3}"/>
              </a:ext>
            </a:extLst>
          </p:cNvPr>
          <p:cNvSpPr>
            <a:spLocks noEditPoints="1"/>
          </p:cNvSpPr>
          <p:nvPr/>
        </p:nvSpPr>
        <p:spPr bwMode="auto">
          <a:xfrm>
            <a:off x="0" y="-3705224"/>
            <a:ext cx="5716692" cy="6581774"/>
          </a:xfrm>
          <a:custGeom>
            <a:avLst/>
            <a:gdLst>
              <a:gd name="T0" fmla="*/ 472 w 680"/>
              <a:gd name="T1" fmla="*/ 703 h 784"/>
              <a:gd name="T2" fmla="*/ 510 w 680"/>
              <a:gd name="T3" fmla="*/ 633 h 784"/>
              <a:gd name="T4" fmla="*/ 527 w 680"/>
              <a:gd name="T5" fmla="*/ 618 h 784"/>
              <a:gd name="T6" fmla="*/ 559 w 680"/>
              <a:gd name="T7" fmla="*/ 657 h 784"/>
              <a:gd name="T8" fmla="*/ 551 w 680"/>
              <a:gd name="T9" fmla="*/ 603 h 784"/>
              <a:gd name="T10" fmla="*/ 581 w 680"/>
              <a:gd name="T11" fmla="*/ 564 h 784"/>
              <a:gd name="T12" fmla="*/ 625 w 680"/>
              <a:gd name="T13" fmla="*/ 572 h 784"/>
              <a:gd name="T14" fmla="*/ 679 w 680"/>
              <a:gd name="T15" fmla="*/ 423 h 784"/>
              <a:gd name="T16" fmla="*/ 245 w 680"/>
              <a:gd name="T17" fmla="*/ 55 h 784"/>
              <a:gd name="T18" fmla="*/ 197 w 680"/>
              <a:gd name="T19" fmla="*/ 116 h 784"/>
              <a:gd name="T20" fmla="*/ 139 w 680"/>
              <a:gd name="T21" fmla="*/ 176 h 784"/>
              <a:gd name="T22" fmla="*/ 91 w 680"/>
              <a:gd name="T23" fmla="*/ 199 h 784"/>
              <a:gd name="T24" fmla="*/ 61 w 680"/>
              <a:gd name="T25" fmla="*/ 218 h 784"/>
              <a:gd name="T26" fmla="*/ 38 w 680"/>
              <a:gd name="T27" fmla="*/ 290 h 784"/>
              <a:gd name="T28" fmla="*/ 55 w 680"/>
              <a:gd name="T29" fmla="*/ 350 h 784"/>
              <a:gd name="T30" fmla="*/ 6 w 680"/>
              <a:gd name="T31" fmla="*/ 262 h 784"/>
              <a:gd name="T32" fmla="*/ 492 w 680"/>
              <a:gd name="T33" fmla="*/ 624 h 784"/>
              <a:gd name="T34" fmla="*/ 552 w 680"/>
              <a:gd name="T35" fmla="*/ 574 h 784"/>
              <a:gd name="T36" fmla="*/ 633 w 680"/>
              <a:gd name="T37" fmla="*/ 545 h 784"/>
              <a:gd name="T38" fmla="*/ 641 w 680"/>
              <a:gd name="T39" fmla="*/ 482 h 784"/>
              <a:gd name="T40" fmla="*/ 625 w 680"/>
              <a:gd name="T41" fmla="*/ 439 h 784"/>
              <a:gd name="T42" fmla="*/ 595 w 680"/>
              <a:gd name="T43" fmla="*/ 520 h 784"/>
              <a:gd name="T44" fmla="*/ 561 w 680"/>
              <a:gd name="T45" fmla="*/ 516 h 784"/>
              <a:gd name="T46" fmla="*/ 539 w 680"/>
              <a:gd name="T47" fmla="*/ 439 h 784"/>
              <a:gd name="T48" fmla="*/ 26 w 680"/>
              <a:gd name="T49" fmla="*/ 245 h 784"/>
              <a:gd name="T50" fmla="*/ 44 w 680"/>
              <a:gd name="T51" fmla="*/ 264 h 784"/>
              <a:gd name="T52" fmla="*/ 68 w 680"/>
              <a:gd name="T53" fmla="*/ 289 h 784"/>
              <a:gd name="T54" fmla="*/ 46 w 680"/>
              <a:gd name="T55" fmla="*/ 337 h 784"/>
              <a:gd name="T56" fmla="*/ 75 w 680"/>
              <a:gd name="T57" fmla="*/ 351 h 784"/>
              <a:gd name="T58" fmla="*/ 149 w 680"/>
              <a:gd name="T59" fmla="*/ 200 h 784"/>
              <a:gd name="T60" fmla="*/ 124 w 680"/>
              <a:gd name="T61" fmla="*/ 222 h 784"/>
              <a:gd name="T62" fmla="*/ 95 w 680"/>
              <a:gd name="T63" fmla="*/ 257 h 784"/>
              <a:gd name="T64" fmla="*/ 117 w 680"/>
              <a:gd name="T65" fmla="*/ 400 h 784"/>
              <a:gd name="T66" fmla="*/ 177 w 680"/>
              <a:gd name="T67" fmla="*/ 200 h 784"/>
              <a:gd name="T68" fmla="*/ 181 w 680"/>
              <a:gd name="T69" fmla="*/ 290 h 784"/>
              <a:gd name="T70" fmla="*/ 306 w 680"/>
              <a:gd name="T71" fmla="*/ 205 h 784"/>
              <a:gd name="T72" fmla="*/ 350 w 680"/>
              <a:gd name="T73" fmla="*/ 136 h 784"/>
              <a:gd name="T74" fmla="*/ 366 w 680"/>
              <a:gd name="T75" fmla="*/ 677 h 784"/>
              <a:gd name="T76" fmla="*/ 346 w 680"/>
              <a:gd name="T77" fmla="*/ 657 h 784"/>
              <a:gd name="T78" fmla="*/ 328 w 680"/>
              <a:gd name="T79" fmla="*/ 658 h 784"/>
              <a:gd name="T80" fmla="*/ 368 w 680"/>
              <a:gd name="T81" fmla="*/ 740 h 784"/>
              <a:gd name="T82" fmla="*/ 421 w 680"/>
              <a:gd name="T83" fmla="*/ 663 h 784"/>
              <a:gd name="T84" fmla="*/ 446 w 680"/>
              <a:gd name="T85" fmla="*/ 640 h 784"/>
              <a:gd name="T86" fmla="*/ 451 w 680"/>
              <a:gd name="T87" fmla="*/ 566 h 784"/>
              <a:gd name="T88" fmla="*/ 426 w 680"/>
              <a:gd name="T89" fmla="*/ 681 h 784"/>
              <a:gd name="T90" fmla="*/ 399 w 680"/>
              <a:gd name="T91" fmla="*/ 697 h 784"/>
              <a:gd name="T92" fmla="*/ 437 w 680"/>
              <a:gd name="T93" fmla="*/ 693 h 784"/>
              <a:gd name="T94" fmla="*/ 467 w 680"/>
              <a:gd name="T95" fmla="*/ 683 h 784"/>
              <a:gd name="T96" fmla="*/ 482 w 680"/>
              <a:gd name="T97" fmla="*/ 621 h 784"/>
              <a:gd name="T98" fmla="*/ 499 w 680"/>
              <a:gd name="T99" fmla="*/ 528 h 784"/>
              <a:gd name="T100" fmla="*/ 523 w 680"/>
              <a:gd name="T101" fmla="*/ 458 h 784"/>
              <a:gd name="T102" fmla="*/ 495 w 680"/>
              <a:gd name="T103" fmla="*/ 148 h 784"/>
              <a:gd name="T104" fmla="*/ 461 w 680"/>
              <a:gd name="T105" fmla="*/ 536 h 784"/>
              <a:gd name="T106" fmla="*/ 401 w 680"/>
              <a:gd name="T107" fmla="*/ 117 h 784"/>
              <a:gd name="T108" fmla="*/ 364 w 680"/>
              <a:gd name="T109" fmla="*/ 54 h 784"/>
              <a:gd name="T110" fmla="*/ 314 w 680"/>
              <a:gd name="T111" fmla="*/ 88 h 784"/>
              <a:gd name="T112" fmla="*/ 267 w 680"/>
              <a:gd name="T113" fmla="*/ 262 h 784"/>
              <a:gd name="T114" fmla="*/ 280 w 680"/>
              <a:gd name="T115" fmla="*/ 66 h 784"/>
              <a:gd name="T116" fmla="*/ 241 w 680"/>
              <a:gd name="T117" fmla="*/ 67 h 784"/>
              <a:gd name="T118" fmla="*/ 212 w 680"/>
              <a:gd name="T119" fmla="*/ 179 h 784"/>
              <a:gd name="T120" fmla="*/ 194 w 680"/>
              <a:gd name="T121" fmla="*/ 242 h 784"/>
              <a:gd name="T122" fmla="*/ 222 w 680"/>
              <a:gd name="T123" fmla="*/ 327 h 784"/>
              <a:gd name="T124" fmla="*/ 256 w 680"/>
              <a:gd name="T125" fmla="*/ 133 h 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80" h="784">
                <a:moveTo>
                  <a:pt x="298" y="758"/>
                </a:moveTo>
                <a:cubicBezTo>
                  <a:pt x="300" y="757"/>
                  <a:pt x="304" y="758"/>
                  <a:pt x="305" y="756"/>
                </a:cubicBezTo>
                <a:cubicBezTo>
                  <a:pt x="305" y="756"/>
                  <a:pt x="304" y="755"/>
                  <a:pt x="305" y="755"/>
                </a:cubicBezTo>
                <a:cubicBezTo>
                  <a:pt x="307" y="753"/>
                  <a:pt x="311" y="754"/>
                  <a:pt x="312" y="754"/>
                </a:cubicBezTo>
                <a:cubicBezTo>
                  <a:pt x="324" y="757"/>
                  <a:pt x="318" y="767"/>
                  <a:pt x="306" y="764"/>
                </a:cubicBezTo>
                <a:cubicBezTo>
                  <a:pt x="304" y="763"/>
                  <a:pt x="305" y="762"/>
                  <a:pt x="302" y="762"/>
                </a:cubicBezTo>
                <a:cubicBezTo>
                  <a:pt x="340" y="784"/>
                  <a:pt x="340" y="784"/>
                  <a:pt x="340" y="784"/>
                </a:cubicBezTo>
                <a:cubicBezTo>
                  <a:pt x="340" y="783"/>
                  <a:pt x="341" y="783"/>
                  <a:pt x="341" y="783"/>
                </a:cubicBezTo>
                <a:cubicBezTo>
                  <a:pt x="344" y="782"/>
                  <a:pt x="344" y="782"/>
                  <a:pt x="344" y="782"/>
                </a:cubicBezTo>
                <a:cubicBezTo>
                  <a:pt x="344" y="782"/>
                  <a:pt x="343" y="782"/>
                  <a:pt x="343" y="781"/>
                </a:cubicBezTo>
                <a:cubicBezTo>
                  <a:pt x="344" y="781"/>
                  <a:pt x="344" y="781"/>
                  <a:pt x="344" y="782"/>
                </a:cubicBezTo>
                <a:cubicBezTo>
                  <a:pt x="346" y="781"/>
                  <a:pt x="346" y="781"/>
                  <a:pt x="346" y="781"/>
                </a:cubicBezTo>
                <a:cubicBezTo>
                  <a:pt x="346" y="780"/>
                  <a:pt x="345" y="780"/>
                  <a:pt x="345" y="779"/>
                </a:cubicBezTo>
                <a:cubicBezTo>
                  <a:pt x="345" y="777"/>
                  <a:pt x="351" y="775"/>
                  <a:pt x="354" y="776"/>
                </a:cubicBezTo>
                <a:cubicBezTo>
                  <a:pt x="363" y="770"/>
                  <a:pt x="363" y="770"/>
                  <a:pt x="363" y="770"/>
                </a:cubicBezTo>
                <a:cubicBezTo>
                  <a:pt x="363" y="770"/>
                  <a:pt x="363" y="770"/>
                  <a:pt x="363" y="770"/>
                </a:cubicBezTo>
                <a:cubicBezTo>
                  <a:pt x="363" y="770"/>
                  <a:pt x="360" y="768"/>
                  <a:pt x="361" y="766"/>
                </a:cubicBezTo>
                <a:cubicBezTo>
                  <a:pt x="361" y="765"/>
                  <a:pt x="364" y="765"/>
                  <a:pt x="364" y="765"/>
                </a:cubicBezTo>
                <a:cubicBezTo>
                  <a:pt x="366" y="762"/>
                  <a:pt x="364" y="765"/>
                  <a:pt x="366" y="764"/>
                </a:cubicBezTo>
                <a:cubicBezTo>
                  <a:pt x="366" y="764"/>
                  <a:pt x="367" y="763"/>
                  <a:pt x="367" y="763"/>
                </a:cubicBezTo>
                <a:cubicBezTo>
                  <a:pt x="369" y="763"/>
                  <a:pt x="371" y="764"/>
                  <a:pt x="372" y="766"/>
                </a:cubicBezTo>
                <a:cubicBezTo>
                  <a:pt x="420" y="738"/>
                  <a:pt x="420" y="738"/>
                  <a:pt x="420" y="738"/>
                </a:cubicBezTo>
                <a:cubicBezTo>
                  <a:pt x="420" y="737"/>
                  <a:pt x="419" y="737"/>
                  <a:pt x="419" y="737"/>
                </a:cubicBezTo>
                <a:cubicBezTo>
                  <a:pt x="419" y="735"/>
                  <a:pt x="420" y="737"/>
                  <a:pt x="421" y="737"/>
                </a:cubicBezTo>
                <a:cubicBezTo>
                  <a:pt x="419" y="734"/>
                  <a:pt x="424" y="734"/>
                  <a:pt x="423" y="732"/>
                </a:cubicBezTo>
                <a:cubicBezTo>
                  <a:pt x="425" y="733"/>
                  <a:pt x="426" y="733"/>
                  <a:pt x="428" y="733"/>
                </a:cubicBezTo>
                <a:cubicBezTo>
                  <a:pt x="444" y="724"/>
                  <a:pt x="444" y="724"/>
                  <a:pt x="444" y="724"/>
                </a:cubicBezTo>
                <a:cubicBezTo>
                  <a:pt x="442" y="723"/>
                  <a:pt x="441" y="723"/>
                  <a:pt x="440" y="723"/>
                </a:cubicBezTo>
                <a:cubicBezTo>
                  <a:pt x="439" y="723"/>
                  <a:pt x="439" y="724"/>
                  <a:pt x="438" y="724"/>
                </a:cubicBezTo>
                <a:cubicBezTo>
                  <a:pt x="438" y="724"/>
                  <a:pt x="431" y="722"/>
                  <a:pt x="431" y="721"/>
                </a:cubicBezTo>
                <a:cubicBezTo>
                  <a:pt x="430" y="721"/>
                  <a:pt x="429" y="718"/>
                  <a:pt x="429" y="718"/>
                </a:cubicBezTo>
                <a:cubicBezTo>
                  <a:pt x="429" y="718"/>
                  <a:pt x="428" y="718"/>
                  <a:pt x="428" y="717"/>
                </a:cubicBezTo>
                <a:cubicBezTo>
                  <a:pt x="428" y="716"/>
                  <a:pt x="432" y="715"/>
                  <a:pt x="436" y="715"/>
                </a:cubicBezTo>
                <a:cubicBezTo>
                  <a:pt x="436" y="715"/>
                  <a:pt x="436" y="715"/>
                  <a:pt x="436" y="715"/>
                </a:cubicBezTo>
                <a:cubicBezTo>
                  <a:pt x="436" y="715"/>
                  <a:pt x="436" y="715"/>
                  <a:pt x="436" y="715"/>
                </a:cubicBezTo>
                <a:cubicBezTo>
                  <a:pt x="437" y="715"/>
                  <a:pt x="437" y="715"/>
                  <a:pt x="438" y="715"/>
                </a:cubicBezTo>
                <a:cubicBezTo>
                  <a:pt x="440" y="714"/>
                  <a:pt x="442" y="713"/>
                  <a:pt x="440" y="711"/>
                </a:cubicBezTo>
                <a:cubicBezTo>
                  <a:pt x="441" y="712"/>
                  <a:pt x="437" y="712"/>
                  <a:pt x="437" y="711"/>
                </a:cubicBezTo>
                <a:cubicBezTo>
                  <a:pt x="437" y="711"/>
                  <a:pt x="444" y="710"/>
                  <a:pt x="443" y="708"/>
                </a:cubicBezTo>
                <a:cubicBezTo>
                  <a:pt x="443" y="709"/>
                  <a:pt x="440" y="706"/>
                  <a:pt x="441" y="706"/>
                </a:cubicBezTo>
                <a:cubicBezTo>
                  <a:pt x="441" y="705"/>
                  <a:pt x="444" y="705"/>
                  <a:pt x="446" y="705"/>
                </a:cubicBezTo>
                <a:cubicBezTo>
                  <a:pt x="446" y="705"/>
                  <a:pt x="446" y="704"/>
                  <a:pt x="446" y="704"/>
                </a:cubicBezTo>
                <a:cubicBezTo>
                  <a:pt x="446" y="704"/>
                  <a:pt x="446" y="703"/>
                  <a:pt x="446" y="703"/>
                </a:cubicBezTo>
                <a:cubicBezTo>
                  <a:pt x="445" y="702"/>
                  <a:pt x="444" y="703"/>
                  <a:pt x="445" y="701"/>
                </a:cubicBezTo>
                <a:cubicBezTo>
                  <a:pt x="443" y="702"/>
                  <a:pt x="442" y="702"/>
                  <a:pt x="440" y="703"/>
                </a:cubicBezTo>
                <a:cubicBezTo>
                  <a:pt x="442" y="703"/>
                  <a:pt x="442" y="700"/>
                  <a:pt x="443" y="700"/>
                </a:cubicBezTo>
                <a:cubicBezTo>
                  <a:pt x="446" y="700"/>
                  <a:pt x="443" y="700"/>
                  <a:pt x="442" y="698"/>
                </a:cubicBezTo>
                <a:cubicBezTo>
                  <a:pt x="441" y="699"/>
                  <a:pt x="442" y="699"/>
                  <a:pt x="442" y="700"/>
                </a:cubicBezTo>
                <a:cubicBezTo>
                  <a:pt x="440" y="705"/>
                  <a:pt x="434" y="698"/>
                  <a:pt x="437" y="696"/>
                </a:cubicBezTo>
                <a:cubicBezTo>
                  <a:pt x="438" y="696"/>
                  <a:pt x="441" y="698"/>
                  <a:pt x="441" y="697"/>
                </a:cubicBezTo>
                <a:cubicBezTo>
                  <a:pt x="443" y="697"/>
                  <a:pt x="443" y="696"/>
                  <a:pt x="443" y="694"/>
                </a:cubicBezTo>
                <a:cubicBezTo>
                  <a:pt x="444" y="694"/>
                  <a:pt x="445" y="695"/>
                  <a:pt x="447" y="695"/>
                </a:cubicBezTo>
                <a:cubicBezTo>
                  <a:pt x="447" y="695"/>
                  <a:pt x="446" y="694"/>
                  <a:pt x="447" y="694"/>
                </a:cubicBezTo>
                <a:cubicBezTo>
                  <a:pt x="448" y="692"/>
                  <a:pt x="454" y="695"/>
                  <a:pt x="453" y="693"/>
                </a:cubicBezTo>
                <a:cubicBezTo>
                  <a:pt x="454" y="693"/>
                  <a:pt x="454" y="693"/>
                  <a:pt x="454" y="693"/>
                </a:cubicBezTo>
                <a:cubicBezTo>
                  <a:pt x="454" y="693"/>
                  <a:pt x="454" y="693"/>
                  <a:pt x="454" y="693"/>
                </a:cubicBezTo>
                <a:cubicBezTo>
                  <a:pt x="455" y="693"/>
                  <a:pt x="455" y="693"/>
                  <a:pt x="455" y="693"/>
                </a:cubicBezTo>
                <a:cubicBezTo>
                  <a:pt x="454" y="693"/>
                  <a:pt x="454" y="693"/>
                  <a:pt x="454" y="693"/>
                </a:cubicBezTo>
                <a:cubicBezTo>
                  <a:pt x="455" y="694"/>
                  <a:pt x="456" y="697"/>
                  <a:pt x="457" y="699"/>
                </a:cubicBezTo>
                <a:cubicBezTo>
                  <a:pt x="457" y="700"/>
                  <a:pt x="458" y="700"/>
                  <a:pt x="458" y="701"/>
                </a:cubicBezTo>
                <a:cubicBezTo>
                  <a:pt x="457" y="702"/>
                  <a:pt x="455" y="700"/>
                  <a:pt x="455" y="702"/>
                </a:cubicBezTo>
                <a:cubicBezTo>
                  <a:pt x="455" y="706"/>
                  <a:pt x="463" y="704"/>
                  <a:pt x="461" y="698"/>
                </a:cubicBezTo>
                <a:cubicBezTo>
                  <a:pt x="463" y="700"/>
                  <a:pt x="465" y="701"/>
                  <a:pt x="466" y="703"/>
                </a:cubicBezTo>
                <a:cubicBezTo>
                  <a:pt x="466" y="702"/>
                  <a:pt x="468" y="702"/>
                  <a:pt x="468" y="703"/>
                </a:cubicBezTo>
                <a:cubicBezTo>
                  <a:pt x="469" y="704"/>
                  <a:pt x="467" y="704"/>
                  <a:pt x="466" y="703"/>
                </a:cubicBezTo>
                <a:cubicBezTo>
                  <a:pt x="467" y="704"/>
                  <a:pt x="467" y="704"/>
                  <a:pt x="467" y="705"/>
                </a:cubicBezTo>
                <a:cubicBezTo>
                  <a:pt x="467" y="705"/>
                  <a:pt x="468" y="704"/>
                  <a:pt x="468" y="705"/>
                </a:cubicBezTo>
                <a:cubicBezTo>
                  <a:pt x="468" y="706"/>
                  <a:pt x="467" y="706"/>
                  <a:pt x="467" y="705"/>
                </a:cubicBezTo>
                <a:cubicBezTo>
                  <a:pt x="467" y="706"/>
                  <a:pt x="467" y="706"/>
                  <a:pt x="467" y="707"/>
                </a:cubicBezTo>
                <a:cubicBezTo>
                  <a:pt x="467" y="706"/>
                  <a:pt x="469" y="707"/>
                  <a:pt x="471" y="706"/>
                </a:cubicBezTo>
                <a:cubicBezTo>
                  <a:pt x="471" y="706"/>
                  <a:pt x="471" y="706"/>
                  <a:pt x="471" y="706"/>
                </a:cubicBezTo>
                <a:cubicBezTo>
                  <a:pt x="472" y="706"/>
                  <a:pt x="472" y="706"/>
                  <a:pt x="472" y="706"/>
                </a:cubicBezTo>
                <a:cubicBezTo>
                  <a:pt x="472" y="706"/>
                  <a:pt x="472" y="706"/>
                  <a:pt x="472" y="706"/>
                </a:cubicBezTo>
                <a:cubicBezTo>
                  <a:pt x="472" y="706"/>
                  <a:pt x="473" y="706"/>
                  <a:pt x="474" y="706"/>
                </a:cubicBezTo>
                <a:cubicBezTo>
                  <a:pt x="474" y="706"/>
                  <a:pt x="474" y="705"/>
                  <a:pt x="472" y="705"/>
                </a:cubicBezTo>
                <a:cubicBezTo>
                  <a:pt x="472" y="704"/>
                  <a:pt x="475" y="705"/>
                  <a:pt x="476" y="705"/>
                </a:cubicBezTo>
                <a:cubicBezTo>
                  <a:pt x="476" y="705"/>
                  <a:pt x="476" y="705"/>
                  <a:pt x="476" y="705"/>
                </a:cubicBezTo>
                <a:cubicBezTo>
                  <a:pt x="476" y="705"/>
                  <a:pt x="475" y="704"/>
                  <a:pt x="475" y="704"/>
                </a:cubicBezTo>
                <a:cubicBezTo>
                  <a:pt x="474" y="705"/>
                  <a:pt x="471" y="704"/>
                  <a:pt x="472" y="703"/>
                </a:cubicBezTo>
                <a:cubicBezTo>
                  <a:pt x="473" y="703"/>
                  <a:pt x="473" y="703"/>
                  <a:pt x="473" y="703"/>
                </a:cubicBezTo>
                <a:cubicBezTo>
                  <a:pt x="473" y="703"/>
                  <a:pt x="473" y="703"/>
                  <a:pt x="473" y="702"/>
                </a:cubicBezTo>
                <a:cubicBezTo>
                  <a:pt x="473" y="703"/>
                  <a:pt x="475" y="702"/>
                  <a:pt x="475" y="703"/>
                </a:cubicBezTo>
                <a:cubicBezTo>
                  <a:pt x="474" y="701"/>
                  <a:pt x="472" y="701"/>
                  <a:pt x="472" y="700"/>
                </a:cubicBezTo>
                <a:cubicBezTo>
                  <a:pt x="474" y="698"/>
                  <a:pt x="477" y="703"/>
                  <a:pt x="479" y="702"/>
                </a:cubicBezTo>
                <a:cubicBezTo>
                  <a:pt x="479" y="702"/>
                  <a:pt x="479" y="702"/>
                  <a:pt x="479" y="702"/>
                </a:cubicBezTo>
                <a:cubicBezTo>
                  <a:pt x="479" y="702"/>
                  <a:pt x="479" y="702"/>
                  <a:pt x="479" y="702"/>
                </a:cubicBezTo>
                <a:cubicBezTo>
                  <a:pt x="477" y="700"/>
                  <a:pt x="473" y="698"/>
                  <a:pt x="476" y="697"/>
                </a:cubicBezTo>
                <a:cubicBezTo>
                  <a:pt x="475" y="697"/>
                  <a:pt x="475" y="697"/>
                  <a:pt x="474" y="696"/>
                </a:cubicBezTo>
                <a:cubicBezTo>
                  <a:pt x="474" y="696"/>
                  <a:pt x="474" y="695"/>
                  <a:pt x="474" y="695"/>
                </a:cubicBezTo>
                <a:cubicBezTo>
                  <a:pt x="474" y="695"/>
                  <a:pt x="474" y="695"/>
                  <a:pt x="474" y="695"/>
                </a:cubicBezTo>
                <a:cubicBezTo>
                  <a:pt x="474" y="694"/>
                  <a:pt x="476" y="693"/>
                  <a:pt x="476" y="694"/>
                </a:cubicBezTo>
                <a:cubicBezTo>
                  <a:pt x="479" y="694"/>
                  <a:pt x="485" y="695"/>
                  <a:pt x="481" y="692"/>
                </a:cubicBezTo>
                <a:cubicBezTo>
                  <a:pt x="482" y="693"/>
                  <a:pt x="485" y="690"/>
                  <a:pt x="487" y="693"/>
                </a:cubicBezTo>
                <a:cubicBezTo>
                  <a:pt x="487" y="693"/>
                  <a:pt x="486" y="694"/>
                  <a:pt x="486" y="694"/>
                </a:cubicBezTo>
                <a:cubicBezTo>
                  <a:pt x="487" y="694"/>
                  <a:pt x="494" y="692"/>
                  <a:pt x="494" y="691"/>
                </a:cubicBezTo>
                <a:cubicBezTo>
                  <a:pt x="494" y="691"/>
                  <a:pt x="488" y="688"/>
                  <a:pt x="492" y="687"/>
                </a:cubicBezTo>
                <a:cubicBezTo>
                  <a:pt x="494" y="687"/>
                  <a:pt x="496" y="689"/>
                  <a:pt x="496" y="690"/>
                </a:cubicBezTo>
                <a:cubicBezTo>
                  <a:pt x="496" y="693"/>
                  <a:pt x="499" y="688"/>
                  <a:pt x="499" y="688"/>
                </a:cubicBezTo>
                <a:cubicBezTo>
                  <a:pt x="498" y="686"/>
                  <a:pt x="497" y="688"/>
                  <a:pt x="497" y="686"/>
                </a:cubicBezTo>
                <a:cubicBezTo>
                  <a:pt x="497" y="687"/>
                  <a:pt x="500" y="684"/>
                  <a:pt x="500" y="684"/>
                </a:cubicBezTo>
                <a:cubicBezTo>
                  <a:pt x="501" y="683"/>
                  <a:pt x="500" y="682"/>
                  <a:pt x="503" y="683"/>
                </a:cubicBezTo>
                <a:cubicBezTo>
                  <a:pt x="502" y="683"/>
                  <a:pt x="501" y="682"/>
                  <a:pt x="501" y="681"/>
                </a:cubicBezTo>
                <a:cubicBezTo>
                  <a:pt x="500" y="680"/>
                  <a:pt x="499" y="679"/>
                  <a:pt x="500" y="679"/>
                </a:cubicBezTo>
                <a:cubicBezTo>
                  <a:pt x="500" y="678"/>
                  <a:pt x="500" y="678"/>
                  <a:pt x="501" y="678"/>
                </a:cubicBezTo>
                <a:cubicBezTo>
                  <a:pt x="501" y="678"/>
                  <a:pt x="501" y="678"/>
                  <a:pt x="501" y="678"/>
                </a:cubicBezTo>
                <a:cubicBezTo>
                  <a:pt x="502" y="679"/>
                  <a:pt x="503" y="679"/>
                  <a:pt x="503" y="680"/>
                </a:cubicBezTo>
                <a:cubicBezTo>
                  <a:pt x="503" y="680"/>
                  <a:pt x="503" y="680"/>
                  <a:pt x="504" y="680"/>
                </a:cubicBezTo>
                <a:cubicBezTo>
                  <a:pt x="504" y="680"/>
                  <a:pt x="504" y="680"/>
                  <a:pt x="505" y="679"/>
                </a:cubicBezTo>
                <a:cubicBezTo>
                  <a:pt x="504" y="679"/>
                  <a:pt x="504" y="678"/>
                  <a:pt x="504" y="678"/>
                </a:cubicBezTo>
                <a:cubicBezTo>
                  <a:pt x="505" y="676"/>
                  <a:pt x="508" y="676"/>
                  <a:pt x="509" y="678"/>
                </a:cubicBezTo>
                <a:cubicBezTo>
                  <a:pt x="509" y="677"/>
                  <a:pt x="510" y="677"/>
                  <a:pt x="510" y="677"/>
                </a:cubicBezTo>
                <a:cubicBezTo>
                  <a:pt x="510" y="678"/>
                  <a:pt x="512" y="680"/>
                  <a:pt x="513" y="680"/>
                </a:cubicBezTo>
                <a:cubicBezTo>
                  <a:pt x="513" y="680"/>
                  <a:pt x="513" y="681"/>
                  <a:pt x="513" y="681"/>
                </a:cubicBezTo>
                <a:cubicBezTo>
                  <a:pt x="513" y="681"/>
                  <a:pt x="513" y="681"/>
                  <a:pt x="513" y="682"/>
                </a:cubicBezTo>
                <a:cubicBezTo>
                  <a:pt x="513" y="682"/>
                  <a:pt x="513" y="682"/>
                  <a:pt x="513" y="682"/>
                </a:cubicBezTo>
                <a:cubicBezTo>
                  <a:pt x="516" y="683"/>
                  <a:pt x="514" y="677"/>
                  <a:pt x="517" y="678"/>
                </a:cubicBezTo>
                <a:cubicBezTo>
                  <a:pt x="515" y="678"/>
                  <a:pt x="514" y="677"/>
                  <a:pt x="514" y="676"/>
                </a:cubicBezTo>
                <a:cubicBezTo>
                  <a:pt x="512" y="676"/>
                  <a:pt x="510" y="674"/>
                  <a:pt x="511" y="673"/>
                </a:cubicBezTo>
                <a:cubicBezTo>
                  <a:pt x="509" y="673"/>
                  <a:pt x="506" y="673"/>
                  <a:pt x="507" y="670"/>
                </a:cubicBezTo>
                <a:cubicBezTo>
                  <a:pt x="507" y="670"/>
                  <a:pt x="506" y="670"/>
                  <a:pt x="506" y="670"/>
                </a:cubicBezTo>
                <a:cubicBezTo>
                  <a:pt x="508" y="672"/>
                  <a:pt x="505" y="672"/>
                  <a:pt x="504" y="671"/>
                </a:cubicBezTo>
                <a:cubicBezTo>
                  <a:pt x="504" y="670"/>
                  <a:pt x="505" y="670"/>
                  <a:pt x="505" y="670"/>
                </a:cubicBezTo>
                <a:cubicBezTo>
                  <a:pt x="505" y="669"/>
                  <a:pt x="503" y="669"/>
                  <a:pt x="503" y="668"/>
                </a:cubicBezTo>
                <a:cubicBezTo>
                  <a:pt x="501" y="666"/>
                  <a:pt x="502" y="664"/>
                  <a:pt x="499" y="664"/>
                </a:cubicBezTo>
                <a:cubicBezTo>
                  <a:pt x="496" y="664"/>
                  <a:pt x="496" y="661"/>
                  <a:pt x="494" y="661"/>
                </a:cubicBezTo>
                <a:cubicBezTo>
                  <a:pt x="493" y="662"/>
                  <a:pt x="493" y="669"/>
                  <a:pt x="489" y="666"/>
                </a:cubicBezTo>
                <a:cubicBezTo>
                  <a:pt x="488" y="665"/>
                  <a:pt x="489" y="665"/>
                  <a:pt x="488" y="665"/>
                </a:cubicBezTo>
                <a:cubicBezTo>
                  <a:pt x="486" y="665"/>
                  <a:pt x="480" y="661"/>
                  <a:pt x="486" y="661"/>
                </a:cubicBezTo>
                <a:cubicBezTo>
                  <a:pt x="487" y="661"/>
                  <a:pt x="488" y="662"/>
                  <a:pt x="488" y="662"/>
                </a:cubicBezTo>
                <a:cubicBezTo>
                  <a:pt x="490" y="663"/>
                  <a:pt x="490" y="661"/>
                  <a:pt x="492" y="660"/>
                </a:cubicBezTo>
                <a:cubicBezTo>
                  <a:pt x="493" y="660"/>
                  <a:pt x="493" y="662"/>
                  <a:pt x="494" y="661"/>
                </a:cubicBezTo>
                <a:cubicBezTo>
                  <a:pt x="495" y="659"/>
                  <a:pt x="491" y="658"/>
                  <a:pt x="491" y="658"/>
                </a:cubicBezTo>
                <a:cubicBezTo>
                  <a:pt x="490" y="658"/>
                  <a:pt x="490" y="661"/>
                  <a:pt x="489" y="659"/>
                </a:cubicBezTo>
                <a:cubicBezTo>
                  <a:pt x="489" y="658"/>
                  <a:pt x="491" y="655"/>
                  <a:pt x="491" y="655"/>
                </a:cubicBezTo>
                <a:cubicBezTo>
                  <a:pt x="492" y="652"/>
                  <a:pt x="491" y="653"/>
                  <a:pt x="494" y="652"/>
                </a:cubicBezTo>
                <a:cubicBezTo>
                  <a:pt x="496" y="652"/>
                  <a:pt x="499" y="654"/>
                  <a:pt x="499" y="655"/>
                </a:cubicBezTo>
                <a:cubicBezTo>
                  <a:pt x="501" y="658"/>
                  <a:pt x="500" y="655"/>
                  <a:pt x="501" y="654"/>
                </a:cubicBezTo>
                <a:cubicBezTo>
                  <a:pt x="502" y="653"/>
                  <a:pt x="504" y="653"/>
                  <a:pt x="506" y="654"/>
                </a:cubicBezTo>
                <a:cubicBezTo>
                  <a:pt x="506" y="652"/>
                  <a:pt x="506" y="651"/>
                  <a:pt x="507" y="651"/>
                </a:cubicBezTo>
                <a:cubicBezTo>
                  <a:pt x="507" y="651"/>
                  <a:pt x="507" y="651"/>
                  <a:pt x="506" y="650"/>
                </a:cubicBezTo>
                <a:cubicBezTo>
                  <a:pt x="507" y="650"/>
                  <a:pt x="507" y="651"/>
                  <a:pt x="507" y="651"/>
                </a:cubicBezTo>
                <a:cubicBezTo>
                  <a:pt x="507" y="651"/>
                  <a:pt x="508" y="651"/>
                  <a:pt x="508" y="651"/>
                </a:cubicBezTo>
                <a:cubicBezTo>
                  <a:pt x="505" y="650"/>
                  <a:pt x="516" y="648"/>
                  <a:pt x="513" y="646"/>
                </a:cubicBezTo>
                <a:cubicBezTo>
                  <a:pt x="513" y="645"/>
                  <a:pt x="513" y="645"/>
                  <a:pt x="512" y="645"/>
                </a:cubicBezTo>
                <a:cubicBezTo>
                  <a:pt x="512" y="645"/>
                  <a:pt x="513" y="645"/>
                  <a:pt x="513" y="644"/>
                </a:cubicBezTo>
                <a:cubicBezTo>
                  <a:pt x="513" y="644"/>
                  <a:pt x="513" y="644"/>
                  <a:pt x="513" y="644"/>
                </a:cubicBezTo>
                <a:cubicBezTo>
                  <a:pt x="513" y="643"/>
                  <a:pt x="512" y="642"/>
                  <a:pt x="512" y="641"/>
                </a:cubicBezTo>
                <a:cubicBezTo>
                  <a:pt x="512" y="640"/>
                  <a:pt x="511" y="640"/>
                  <a:pt x="512" y="639"/>
                </a:cubicBezTo>
                <a:cubicBezTo>
                  <a:pt x="512" y="638"/>
                  <a:pt x="513" y="637"/>
                  <a:pt x="515" y="637"/>
                </a:cubicBezTo>
                <a:cubicBezTo>
                  <a:pt x="518" y="636"/>
                  <a:pt x="513" y="635"/>
                  <a:pt x="512" y="636"/>
                </a:cubicBezTo>
                <a:cubicBezTo>
                  <a:pt x="512" y="637"/>
                  <a:pt x="512" y="637"/>
                  <a:pt x="511" y="637"/>
                </a:cubicBezTo>
                <a:cubicBezTo>
                  <a:pt x="511" y="637"/>
                  <a:pt x="510" y="637"/>
                  <a:pt x="510" y="636"/>
                </a:cubicBezTo>
                <a:cubicBezTo>
                  <a:pt x="508" y="636"/>
                  <a:pt x="506" y="635"/>
                  <a:pt x="505" y="635"/>
                </a:cubicBezTo>
                <a:cubicBezTo>
                  <a:pt x="507" y="635"/>
                  <a:pt x="508" y="635"/>
                  <a:pt x="510" y="635"/>
                </a:cubicBezTo>
                <a:cubicBezTo>
                  <a:pt x="510" y="634"/>
                  <a:pt x="510" y="634"/>
                  <a:pt x="510" y="634"/>
                </a:cubicBezTo>
                <a:cubicBezTo>
                  <a:pt x="510" y="634"/>
                  <a:pt x="511" y="634"/>
                  <a:pt x="511" y="635"/>
                </a:cubicBezTo>
                <a:cubicBezTo>
                  <a:pt x="511" y="635"/>
                  <a:pt x="512" y="635"/>
                  <a:pt x="512" y="635"/>
                </a:cubicBezTo>
                <a:cubicBezTo>
                  <a:pt x="512" y="634"/>
                  <a:pt x="510" y="634"/>
                  <a:pt x="510" y="633"/>
                </a:cubicBezTo>
                <a:cubicBezTo>
                  <a:pt x="511" y="634"/>
                  <a:pt x="512" y="634"/>
                  <a:pt x="513" y="633"/>
                </a:cubicBezTo>
                <a:cubicBezTo>
                  <a:pt x="513" y="633"/>
                  <a:pt x="513" y="633"/>
                  <a:pt x="514" y="633"/>
                </a:cubicBezTo>
                <a:cubicBezTo>
                  <a:pt x="514" y="633"/>
                  <a:pt x="514" y="633"/>
                  <a:pt x="514" y="633"/>
                </a:cubicBezTo>
                <a:cubicBezTo>
                  <a:pt x="514" y="632"/>
                  <a:pt x="514" y="632"/>
                  <a:pt x="513" y="631"/>
                </a:cubicBezTo>
                <a:cubicBezTo>
                  <a:pt x="513" y="631"/>
                  <a:pt x="513" y="631"/>
                  <a:pt x="513" y="631"/>
                </a:cubicBezTo>
                <a:cubicBezTo>
                  <a:pt x="513" y="631"/>
                  <a:pt x="513" y="632"/>
                  <a:pt x="513" y="632"/>
                </a:cubicBezTo>
                <a:cubicBezTo>
                  <a:pt x="513" y="632"/>
                  <a:pt x="513" y="632"/>
                  <a:pt x="513" y="632"/>
                </a:cubicBezTo>
                <a:cubicBezTo>
                  <a:pt x="513" y="632"/>
                  <a:pt x="513" y="632"/>
                  <a:pt x="513" y="633"/>
                </a:cubicBezTo>
                <a:cubicBezTo>
                  <a:pt x="513" y="633"/>
                  <a:pt x="513" y="632"/>
                  <a:pt x="512" y="632"/>
                </a:cubicBezTo>
                <a:cubicBezTo>
                  <a:pt x="512" y="632"/>
                  <a:pt x="512" y="632"/>
                  <a:pt x="512" y="632"/>
                </a:cubicBezTo>
                <a:cubicBezTo>
                  <a:pt x="512" y="631"/>
                  <a:pt x="512" y="631"/>
                  <a:pt x="512" y="631"/>
                </a:cubicBezTo>
                <a:cubicBezTo>
                  <a:pt x="511" y="631"/>
                  <a:pt x="510" y="630"/>
                  <a:pt x="510" y="630"/>
                </a:cubicBezTo>
                <a:cubicBezTo>
                  <a:pt x="510" y="630"/>
                  <a:pt x="509" y="631"/>
                  <a:pt x="509" y="632"/>
                </a:cubicBezTo>
                <a:cubicBezTo>
                  <a:pt x="509" y="633"/>
                  <a:pt x="510" y="634"/>
                  <a:pt x="509" y="634"/>
                </a:cubicBezTo>
                <a:cubicBezTo>
                  <a:pt x="509" y="634"/>
                  <a:pt x="509" y="634"/>
                  <a:pt x="508" y="633"/>
                </a:cubicBezTo>
                <a:cubicBezTo>
                  <a:pt x="508" y="634"/>
                  <a:pt x="508" y="634"/>
                  <a:pt x="508" y="634"/>
                </a:cubicBezTo>
                <a:cubicBezTo>
                  <a:pt x="507" y="634"/>
                  <a:pt x="505" y="633"/>
                  <a:pt x="504" y="632"/>
                </a:cubicBezTo>
                <a:cubicBezTo>
                  <a:pt x="504" y="634"/>
                  <a:pt x="503" y="634"/>
                  <a:pt x="500" y="634"/>
                </a:cubicBezTo>
                <a:cubicBezTo>
                  <a:pt x="500" y="634"/>
                  <a:pt x="500" y="634"/>
                  <a:pt x="500" y="634"/>
                </a:cubicBezTo>
                <a:cubicBezTo>
                  <a:pt x="501" y="635"/>
                  <a:pt x="504" y="638"/>
                  <a:pt x="506" y="638"/>
                </a:cubicBezTo>
                <a:cubicBezTo>
                  <a:pt x="506" y="638"/>
                  <a:pt x="511" y="638"/>
                  <a:pt x="508" y="640"/>
                </a:cubicBezTo>
                <a:cubicBezTo>
                  <a:pt x="506" y="640"/>
                  <a:pt x="503" y="636"/>
                  <a:pt x="499" y="635"/>
                </a:cubicBezTo>
                <a:cubicBezTo>
                  <a:pt x="499" y="635"/>
                  <a:pt x="498" y="636"/>
                  <a:pt x="498" y="636"/>
                </a:cubicBezTo>
                <a:cubicBezTo>
                  <a:pt x="497" y="635"/>
                  <a:pt x="497" y="635"/>
                  <a:pt x="497" y="634"/>
                </a:cubicBezTo>
                <a:cubicBezTo>
                  <a:pt x="496" y="634"/>
                  <a:pt x="496" y="634"/>
                  <a:pt x="495" y="633"/>
                </a:cubicBezTo>
                <a:cubicBezTo>
                  <a:pt x="494" y="633"/>
                  <a:pt x="494" y="635"/>
                  <a:pt x="494" y="635"/>
                </a:cubicBezTo>
                <a:cubicBezTo>
                  <a:pt x="494" y="635"/>
                  <a:pt x="491" y="636"/>
                  <a:pt x="491" y="636"/>
                </a:cubicBezTo>
                <a:cubicBezTo>
                  <a:pt x="489" y="635"/>
                  <a:pt x="491" y="632"/>
                  <a:pt x="493" y="632"/>
                </a:cubicBezTo>
                <a:cubicBezTo>
                  <a:pt x="491" y="632"/>
                  <a:pt x="493" y="631"/>
                  <a:pt x="492" y="629"/>
                </a:cubicBezTo>
                <a:cubicBezTo>
                  <a:pt x="492" y="630"/>
                  <a:pt x="487" y="627"/>
                  <a:pt x="488" y="626"/>
                </a:cubicBezTo>
                <a:cubicBezTo>
                  <a:pt x="489" y="625"/>
                  <a:pt x="491" y="627"/>
                  <a:pt x="492" y="628"/>
                </a:cubicBezTo>
                <a:cubicBezTo>
                  <a:pt x="492" y="628"/>
                  <a:pt x="492" y="628"/>
                  <a:pt x="493" y="627"/>
                </a:cubicBezTo>
                <a:cubicBezTo>
                  <a:pt x="492" y="627"/>
                  <a:pt x="492" y="627"/>
                  <a:pt x="492" y="626"/>
                </a:cubicBezTo>
                <a:cubicBezTo>
                  <a:pt x="493" y="626"/>
                  <a:pt x="494" y="626"/>
                  <a:pt x="494" y="626"/>
                </a:cubicBezTo>
                <a:cubicBezTo>
                  <a:pt x="494" y="626"/>
                  <a:pt x="494" y="626"/>
                  <a:pt x="494" y="626"/>
                </a:cubicBezTo>
                <a:cubicBezTo>
                  <a:pt x="495" y="626"/>
                  <a:pt x="495" y="627"/>
                  <a:pt x="495" y="628"/>
                </a:cubicBezTo>
                <a:cubicBezTo>
                  <a:pt x="495" y="630"/>
                  <a:pt x="496" y="629"/>
                  <a:pt x="497" y="628"/>
                </a:cubicBezTo>
                <a:cubicBezTo>
                  <a:pt x="497" y="627"/>
                  <a:pt x="497" y="627"/>
                  <a:pt x="497" y="627"/>
                </a:cubicBezTo>
                <a:cubicBezTo>
                  <a:pt x="498" y="627"/>
                  <a:pt x="498" y="627"/>
                  <a:pt x="498" y="627"/>
                </a:cubicBezTo>
                <a:cubicBezTo>
                  <a:pt x="499" y="627"/>
                  <a:pt x="499" y="627"/>
                  <a:pt x="500" y="627"/>
                </a:cubicBezTo>
                <a:cubicBezTo>
                  <a:pt x="501" y="627"/>
                  <a:pt x="500" y="626"/>
                  <a:pt x="500" y="625"/>
                </a:cubicBezTo>
                <a:cubicBezTo>
                  <a:pt x="501" y="624"/>
                  <a:pt x="502" y="625"/>
                  <a:pt x="503" y="624"/>
                </a:cubicBezTo>
                <a:cubicBezTo>
                  <a:pt x="503" y="624"/>
                  <a:pt x="503" y="624"/>
                  <a:pt x="503" y="624"/>
                </a:cubicBezTo>
                <a:cubicBezTo>
                  <a:pt x="501" y="621"/>
                  <a:pt x="497" y="616"/>
                  <a:pt x="496" y="621"/>
                </a:cubicBezTo>
                <a:cubicBezTo>
                  <a:pt x="496" y="617"/>
                  <a:pt x="492" y="620"/>
                  <a:pt x="491" y="621"/>
                </a:cubicBezTo>
                <a:cubicBezTo>
                  <a:pt x="489" y="621"/>
                  <a:pt x="492" y="620"/>
                  <a:pt x="492" y="620"/>
                </a:cubicBezTo>
                <a:cubicBezTo>
                  <a:pt x="491" y="618"/>
                  <a:pt x="488" y="620"/>
                  <a:pt x="486" y="618"/>
                </a:cubicBezTo>
                <a:cubicBezTo>
                  <a:pt x="486" y="618"/>
                  <a:pt x="485" y="615"/>
                  <a:pt x="485" y="616"/>
                </a:cubicBezTo>
                <a:cubicBezTo>
                  <a:pt x="483" y="615"/>
                  <a:pt x="482" y="617"/>
                  <a:pt x="483" y="615"/>
                </a:cubicBezTo>
                <a:cubicBezTo>
                  <a:pt x="483" y="612"/>
                  <a:pt x="480" y="610"/>
                  <a:pt x="479" y="609"/>
                </a:cubicBezTo>
                <a:cubicBezTo>
                  <a:pt x="479" y="609"/>
                  <a:pt x="480" y="605"/>
                  <a:pt x="478" y="604"/>
                </a:cubicBezTo>
                <a:cubicBezTo>
                  <a:pt x="480" y="609"/>
                  <a:pt x="474" y="610"/>
                  <a:pt x="474" y="608"/>
                </a:cubicBezTo>
                <a:cubicBezTo>
                  <a:pt x="474" y="608"/>
                  <a:pt x="471" y="608"/>
                  <a:pt x="471" y="605"/>
                </a:cubicBezTo>
                <a:cubicBezTo>
                  <a:pt x="472" y="603"/>
                  <a:pt x="472" y="604"/>
                  <a:pt x="471" y="601"/>
                </a:cubicBezTo>
                <a:cubicBezTo>
                  <a:pt x="470" y="599"/>
                  <a:pt x="478" y="604"/>
                  <a:pt x="479" y="603"/>
                </a:cubicBezTo>
                <a:cubicBezTo>
                  <a:pt x="481" y="603"/>
                  <a:pt x="478" y="601"/>
                  <a:pt x="481" y="602"/>
                </a:cubicBezTo>
                <a:cubicBezTo>
                  <a:pt x="487" y="603"/>
                  <a:pt x="499" y="603"/>
                  <a:pt x="499" y="612"/>
                </a:cubicBezTo>
                <a:cubicBezTo>
                  <a:pt x="499" y="614"/>
                  <a:pt x="497" y="615"/>
                  <a:pt x="498" y="617"/>
                </a:cubicBezTo>
                <a:cubicBezTo>
                  <a:pt x="499" y="619"/>
                  <a:pt x="501" y="621"/>
                  <a:pt x="503" y="622"/>
                </a:cubicBezTo>
                <a:cubicBezTo>
                  <a:pt x="503" y="622"/>
                  <a:pt x="503" y="622"/>
                  <a:pt x="503" y="622"/>
                </a:cubicBezTo>
                <a:cubicBezTo>
                  <a:pt x="504" y="622"/>
                  <a:pt x="505" y="623"/>
                  <a:pt x="505" y="622"/>
                </a:cubicBezTo>
                <a:cubicBezTo>
                  <a:pt x="506" y="622"/>
                  <a:pt x="506" y="621"/>
                  <a:pt x="506" y="621"/>
                </a:cubicBezTo>
                <a:cubicBezTo>
                  <a:pt x="506" y="620"/>
                  <a:pt x="505" y="619"/>
                  <a:pt x="506" y="619"/>
                </a:cubicBezTo>
                <a:cubicBezTo>
                  <a:pt x="506" y="619"/>
                  <a:pt x="506" y="619"/>
                  <a:pt x="506" y="619"/>
                </a:cubicBezTo>
                <a:cubicBezTo>
                  <a:pt x="507" y="619"/>
                  <a:pt x="507" y="619"/>
                  <a:pt x="507" y="619"/>
                </a:cubicBezTo>
                <a:cubicBezTo>
                  <a:pt x="508" y="618"/>
                  <a:pt x="510" y="620"/>
                  <a:pt x="510" y="618"/>
                </a:cubicBezTo>
                <a:cubicBezTo>
                  <a:pt x="510" y="619"/>
                  <a:pt x="512" y="620"/>
                  <a:pt x="513" y="620"/>
                </a:cubicBezTo>
                <a:cubicBezTo>
                  <a:pt x="513" y="620"/>
                  <a:pt x="514" y="620"/>
                  <a:pt x="514" y="620"/>
                </a:cubicBezTo>
                <a:cubicBezTo>
                  <a:pt x="514" y="619"/>
                  <a:pt x="513" y="617"/>
                  <a:pt x="513" y="617"/>
                </a:cubicBezTo>
                <a:cubicBezTo>
                  <a:pt x="514" y="616"/>
                  <a:pt x="516" y="618"/>
                  <a:pt x="517" y="620"/>
                </a:cubicBezTo>
                <a:cubicBezTo>
                  <a:pt x="517" y="620"/>
                  <a:pt x="518" y="621"/>
                  <a:pt x="518" y="620"/>
                </a:cubicBezTo>
                <a:cubicBezTo>
                  <a:pt x="518" y="620"/>
                  <a:pt x="514" y="615"/>
                  <a:pt x="517" y="615"/>
                </a:cubicBezTo>
                <a:cubicBezTo>
                  <a:pt x="517" y="615"/>
                  <a:pt x="517" y="615"/>
                  <a:pt x="517" y="614"/>
                </a:cubicBezTo>
                <a:cubicBezTo>
                  <a:pt x="517" y="615"/>
                  <a:pt x="516" y="612"/>
                  <a:pt x="516" y="612"/>
                </a:cubicBezTo>
                <a:cubicBezTo>
                  <a:pt x="518" y="610"/>
                  <a:pt x="520" y="614"/>
                  <a:pt x="522" y="615"/>
                </a:cubicBezTo>
                <a:cubicBezTo>
                  <a:pt x="523" y="614"/>
                  <a:pt x="524" y="613"/>
                  <a:pt x="525" y="614"/>
                </a:cubicBezTo>
                <a:cubicBezTo>
                  <a:pt x="525" y="614"/>
                  <a:pt x="526" y="615"/>
                  <a:pt x="526" y="615"/>
                </a:cubicBezTo>
                <a:cubicBezTo>
                  <a:pt x="526" y="615"/>
                  <a:pt x="526" y="615"/>
                  <a:pt x="527" y="616"/>
                </a:cubicBezTo>
                <a:cubicBezTo>
                  <a:pt x="527" y="616"/>
                  <a:pt x="527" y="617"/>
                  <a:pt x="527" y="618"/>
                </a:cubicBezTo>
                <a:cubicBezTo>
                  <a:pt x="526" y="618"/>
                  <a:pt x="526" y="618"/>
                  <a:pt x="525" y="618"/>
                </a:cubicBezTo>
                <a:cubicBezTo>
                  <a:pt x="525" y="618"/>
                  <a:pt x="525" y="618"/>
                  <a:pt x="525" y="618"/>
                </a:cubicBezTo>
                <a:cubicBezTo>
                  <a:pt x="527" y="619"/>
                  <a:pt x="529" y="619"/>
                  <a:pt x="530" y="621"/>
                </a:cubicBezTo>
                <a:cubicBezTo>
                  <a:pt x="531" y="622"/>
                  <a:pt x="531" y="622"/>
                  <a:pt x="531" y="622"/>
                </a:cubicBezTo>
                <a:cubicBezTo>
                  <a:pt x="532" y="622"/>
                  <a:pt x="532" y="622"/>
                  <a:pt x="532" y="621"/>
                </a:cubicBezTo>
                <a:cubicBezTo>
                  <a:pt x="531" y="620"/>
                  <a:pt x="531" y="619"/>
                  <a:pt x="530" y="617"/>
                </a:cubicBezTo>
                <a:cubicBezTo>
                  <a:pt x="531" y="618"/>
                  <a:pt x="532" y="620"/>
                  <a:pt x="533" y="621"/>
                </a:cubicBezTo>
                <a:cubicBezTo>
                  <a:pt x="533" y="621"/>
                  <a:pt x="533" y="621"/>
                  <a:pt x="533" y="621"/>
                </a:cubicBezTo>
                <a:cubicBezTo>
                  <a:pt x="533" y="621"/>
                  <a:pt x="533" y="620"/>
                  <a:pt x="533" y="620"/>
                </a:cubicBezTo>
                <a:cubicBezTo>
                  <a:pt x="534" y="620"/>
                  <a:pt x="534" y="622"/>
                  <a:pt x="534" y="622"/>
                </a:cubicBezTo>
                <a:cubicBezTo>
                  <a:pt x="535" y="623"/>
                  <a:pt x="536" y="627"/>
                  <a:pt x="537" y="628"/>
                </a:cubicBezTo>
                <a:cubicBezTo>
                  <a:pt x="537" y="628"/>
                  <a:pt x="537" y="627"/>
                  <a:pt x="537" y="627"/>
                </a:cubicBezTo>
                <a:cubicBezTo>
                  <a:pt x="538" y="626"/>
                  <a:pt x="539" y="627"/>
                  <a:pt x="540" y="627"/>
                </a:cubicBezTo>
                <a:cubicBezTo>
                  <a:pt x="540" y="627"/>
                  <a:pt x="540" y="627"/>
                  <a:pt x="541" y="627"/>
                </a:cubicBezTo>
                <a:cubicBezTo>
                  <a:pt x="542" y="628"/>
                  <a:pt x="543" y="630"/>
                  <a:pt x="543" y="631"/>
                </a:cubicBezTo>
                <a:cubicBezTo>
                  <a:pt x="543" y="631"/>
                  <a:pt x="542" y="631"/>
                  <a:pt x="542" y="631"/>
                </a:cubicBezTo>
                <a:cubicBezTo>
                  <a:pt x="542" y="631"/>
                  <a:pt x="542" y="631"/>
                  <a:pt x="542" y="631"/>
                </a:cubicBezTo>
                <a:cubicBezTo>
                  <a:pt x="542" y="631"/>
                  <a:pt x="542" y="632"/>
                  <a:pt x="542" y="632"/>
                </a:cubicBezTo>
                <a:cubicBezTo>
                  <a:pt x="540" y="633"/>
                  <a:pt x="541" y="631"/>
                  <a:pt x="541" y="630"/>
                </a:cubicBezTo>
                <a:cubicBezTo>
                  <a:pt x="541" y="630"/>
                  <a:pt x="540" y="630"/>
                  <a:pt x="540" y="630"/>
                </a:cubicBezTo>
                <a:cubicBezTo>
                  <a:pt x="540" y="631"/>
                  <a:pt x="540" y="631"/>
                  <a:pt x="540" y="632"/>
                </a:cubicBezTo>
                <a:cubicBezTo>
                  <a:pt x="541" y="633"/>
                  <a:pt x="540" y="633"/>
                  <a:pt x="539" y="632"/>
                </a:cubicBezTo>
                <a:cubicBezTo>
                  <a:pt x="538" y="635"/>
                  <a:pt x="537" y="640"/>
                  <a:pt x="537" y="640"/>
                </a:cubicBezTo>
                <a:cubicBezTo>
                  <a:pt x="537" y="641"/>
                  <a:pt x="544" y="646"/>
                  <a:pt x="539" y="644"/>
                </a:cubicBezTo>
                <a:cubicBezTo>
                  <a:pt x="539" y="644"/>
                  <a:pt x="539" y="645"/>
                  <a:pt x="539" y="645"/>
                </a:cubicBezTo>
                <a:cubicBezTo>
                  <a:pt x="539" y="645"/>
                  <a:pt x="539" y="645"/>
                  <a:pt x="539" y="645"/>
                </a:cubicBezTo>
                <a:cubicBezTo>
                  <a:pt x="540" y="645"/>
                  <a:pt x="540" y="646"/>
                  <a:pt x="539" y="646"/>
                </a:cubicBezTo>
                <a:cubicBezTo>
                  <a:pt x="539" y="646"/>
                  <a:pt x="540" y="646"/>
                  <a:pt x="540" y="646"/>
                </a:cubicBezTo>
                <a:cubicBezTo>
                  <a:pt x="540" y="647"/>
                  <a:pt x="539" y="648"/>
                  <a:pt x="538" y="647"/>
                </a:cubicBezTo>
                <a:cubicBezTo>
                  <a:pt x="537" y="648"/>
                  <a:pt x="537" y="648"/>
                  <a:pt x="536" y="649"/>
                </a:cubicBezTo>
                <a:cubicBezTo>
                  <a:pt x="536" y="648"/>
                  <a:pt x="535" y="651"/>
                  <a:pt x="535" y="650"/>
                </a:cubicBezTo>
                <a:cubicBezTo>
                  <a:pt x="534" y="651"/>
                  <a:pt x="532" y="649"/>
                  <a:pt x="532" y="649"/>
                </a:cubicBezTo>
                <a:cubicBezTo>
                  <a:pt x="532" y="648"/>
                  <a:pt x="531" y="648"/>
                  <a:pt x="530" y="648"/>
                </a:cubicBezTo>
                <a:cubicBezTo>
                  <a:pt x="532" y="649"/>
                  <a:pt x="532" y="649"/>
                  <a:pt x="531" y="651"/>
                </a:cubicBezTo>
                <a:cubicBezTo>
                  <a:pt x="531" y="651"/>
                  <a:pt x="531" y="651"/>
                  <a:pt x="530" y="651"/>
                </a:cubicBezTo>
                <a:cubicBezTo>
                  <a:pt x="530" y="653"/>
                  <a:pt x="529" y="653"/>
                  <a:pt x="527" y="652"/>
                </a:cubicBezTo>
                <a:cubicBezTo>
                  <a:pt x="527" y="652"/>
                  <a:pt x="527" y="651"/>
                  <a:pt x="527" y="650"/>
                </a:cubicBezTo>
                <a:cubicBezTo>
                  <a:pt x="527" y="650"/>
                  <a:pt x="525" y="649"/>
                  <a:pt x="525" y="648"/>
                </a:cubicBezTo>
                <a:cubicBezTo>
                  <a:pt x="526" y="648"/>
                  <a:pt x="527" y="647"/>
                  <a:pt x="527" y="647"/>
                </a:cubicBezTo>
                <a:cubicBezTo>
                  <a:pt x="527" y="645"/>
                  <a:pt x="524" y="647"/>
                  <a:pt x="525" y="644"/>
                </a:cubicBezTo>
                <a:cubicBezTo>
                  <a:pt x="524" y="646"/>
                  <a:pt x="521" y="646"/>
                  <a:pt x="520" y="649"/>
                </a:cubicBezTo>
                <a:cubicBezTo>
                  <a:pt x="520" y="649"/>
                  <a:pt x="520" y="654"/>
                  <a:pt x="521" y="655"/>
                </a:cubicBezTo>
                <a:cubicBezTo>
                  <a:pt x="522" y="655"/>
                  <a:pt x="522" y="654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6"/>
                  <a:pt x="521" y="658"/>
                  <a:pt x="522" y="660"/>
                </a:cubicBezTo>
                <a:cubicBezTo>
                  <a:pt x="522" y="659"/>
                  <a:pt x="523" y="661"/>
                  <a:pt x="523" y="661"/>
                </a:cubicBezTo>
                <a:cubicBezTo>
                  <a:pt x="524" y="661"/>
                  <a:pt x="524" y="660"/>
                  <a:pt x="523" y="660"/>
                </a:cubicBezTo>
                <a:cubicBezTo>
                  <a:pt x="523" y="659"/>
                  <a:pt x="522" y="659"/>
                  <a:pt x="522" y="658"/>
                </a:cubicBezTo>
                <a:cubicBezTo>
                  <a:pt x="523" y="658"/>
                  <a:pt x="523" y="658"/>
                  <a:pt x="524" y="659"/>
                </a:cubicBezTo>
                <a:cubicBezTo>
                  <a:pt x="525" y="658"/>
                  <a:pt x="526" y="660"/>
                  <a:pt x="527" y="660"/>
                </a:cubicBezTo>
                <a:cubicBezTo>
                  <a:pt x="529" y="660"/>
                  <a:pt x="528" y="659"/>
                  <a:pt x="530" y="659"/>
                </a:cubicBezTo>
                <a:cubicBezTo>
                  <a:pt x="528" y="661"/>
                  <a:pt x="529" y="660"/>
                  <a:pt x="531" y="661"/>
                </a:cubicBezTo>
                <a:cubicBezTo>
                  <a:pt x="531" y="660"/>
                  <a:pt x="531" y="660"/>
                  <a:pt x="531" y="661"/>
                </a:cubicBezTo>
                <a:cubicBezTo>
                  <a:pt x="531" y="661"/>
                  <a:pt x="532" y="661"/>
                  <a:pt x="532" y="661"/>
                </a:cubicBezTo>
                <a:cubicBezTo>
                  <a:pt x="532" y="661"/>
                  <a:pt x="532" y="661"/>
                  <a:pt x="532" y="661"/>
                </a:cubicBezTo>
                <a:cubicBezTo>
                  <a:pt x="532" y="661"/>
                  <a:pt x="532" y="661"/>
                  <a:pt x="532" y="661"/>
                </a:cubicBezTo>
                <a:cubicBezTo>
                  <a:pt x="534" y="662"/>
                  <a:pt x="535" y="664"/>
                  <a:pt x="536" y="664"/>
                </a:cubicBezTo>
                <a:cubicBezTo>
                  <a:pt x="537" y="664"/>
                  <a:pt x="537" y="664"/>
                  <a:pt x="537" y="664"/>
                </a:cubicBezTo>
                <a:cubicBezTo>
                  <a:pt x="537" y="664"/>
                  <a:pt x="537" y="664"/>
                  <a:pt x="538" y="665"/>
                </a:cubicBezTo>
                <a:cubicBezTo>
                  <a:pt x="538" y="665"/>
                  <a:pt x="538" y="665"/>
                  <a:pt x="539" y="666"/>
                </a:cubicBezTo>
                <a:cubicBezTo>
                  <a:pt x="538" y="665"/>
                  <a:pt x="538" y="663"/>
                  <a:pt x="539" y="662"/>
                </a:cubicBezTo>
                <a:cubicBezTo>
                  <a:pt x="541" y="661"/>
                  <a:pt x="542" y="663"/>
                  <a:pt x="544" y="663"/>
                </a:cubicBezTo>
                <a:cubicBezTo>
                  <a:pt x="544" y="663"/>
                  <a:pt x="545" y="661"/>
                  <a:pt x="546" y="661"/>
                </a:cubicBezTo>
                <a:cubicBezTo>
                  <a:pt x="546" y="660"/>
                  <a:pt x="545" y="658"/>
                  <a:pt x="545" y="656"/>
                </a:cubicBezTo>
                <a:cubicBezTo>
                  <a:pt x="546" y="656"/>
                  <a:pt x="546" y="659"/>
                  <a:pt x="547" y="659"/>
                </a:cubicBezTo>
                <a:cubicBezTo>
                  <a:pt x="547" y="659"/>
                  <a:pt x="547" y="658"/>
                  <a:pt x="547" y="658"/>
                </a:cubicBezTo>
                <a:cubicBezTo>
                  <a:pt x="547" y="658"/>
                  <a:pt x="547" y="658"/>
                  <a:pt x="547" y="658"/>
                </a:cubicBezTo>
                <a:cubicBezTo>
                  <a:pt x="547" y="658"/>
                  <a:pt x="546" y="657"/>
                  <a:pt x="546" y="656"/>
                </a:cubicBezTo>
                <a:cubicBezTo>
                  <a:pt x="547" y="655"/>
                  <a:pt x="548" y="655"/>
                  <a:pt x="548" y="656"/>
                </a:cubicBezTo>
                <a:cubicBezTo>
                  <a:pt x="549" y="655"/>
                  <a:pt x="550" y="655"/>
                  <a:pt x="551" y="656"/>
                </a:cubicBezTo>
                <a:cubicBezTo>
                  <a:pt x="552" y="656"/>
                  <a:pt x="552" y="656"/>
                  <a:pt x="552" y="657"/>
                </a:cubicBezTo>
                <a:cubicBezTo>
                  <a:pt x="552" y="658"/>
                  <a:pt x="552" y="659"/>
                  <a:pt x="552" y="660"/>
                </a:cubicBezTo>
                <a:cubicBezTo>
                  <a:pt x="552" y="660"/>
                  <a:pt x="552" y="661"/>
                  <a:pt x="552" y="661"/>
                </a:cubicBezTo>
                <a:cubicBezTo>
                  <a:pt x="556" y="659"/>
                  <a:pt x="556" y="659"/>
                  <a:pt x="556" y="659"/>
                </a:cubicBezTo>
                <a:cubicBezTo>
                  <a:pt x="556" y="659"/>
                  <a:pt x="556" y="659"/>
                  <a:pt x="557" y="659"/>
                </a:cubicBezTo>
                <a:cubicBezTo>
                  <a:pt x="559" y="657"/>
                  <a:pt x="559" y="657"/>
                  <a:pt x="559" y="657"/>
                </a:cubicBezTo>
                <a:cubicBezTo>
                  <a:pt x="559" y="657"/>
                  <a:pt x="559" y="656"/>
                  <a:pt x="558" y="656"/>
                </a:cubicBezTo>
                <a:cubicBezTo>
                  <a:pt x="558" y="656"/>
                  <a:pt x="557" y="656"/>
                  <a:pt x="556" y="655"/>
                </a:cubicBezTo>
                <a:cubicBezTo>
                  <a:pt x="556" y="655"/>
                  <a:pt x="556" y="655"/>
                  <a:pt x="555" y="656"/>
                </a:cubicBezTo>
                <a:cubicBezTo>
                  <a:pt x="556" y="656"/>
                  <a:pt x="556" y="655"/>
                  <a:pt x="556" y="655"/>
                </a:cubicBezTo>
                <a:cubicBezTo>
                  <a:pt x="556" y="655"/>
                  <a:pt x="555" y="655"/>
                  <a:pt x="555" y="654"/>
                </a:cubicBezTo>
                <a:cubicBezTo>
                  <a:pt x="555" y="654"/>
                  <a:pt x="557" y="653"/>
                  <a:pt x="557" y="653"/>
                </a:cubicBezTo>
                <a:cubicBezTo>
                  <a:pt x="557" y="652"/>
                  <a:pt x="556" y="651"/>
                  <a:pt x="556" y="650"/>
                </a:cubicBezTo>
                <a:cubicBezTo>
                  <a:pt x="555" y="651"/>
                  <a:pt x="554" y="652"/>
                  <a:pt x="553" y="652"/>
                </a:cubicBezTo>
                <a:cubicBezTo>
                  <a:pt x="553" y="652"/>
                  <a:pt x="553" y="653"/>
                  <a:pt x="553" y="653"/>
                </a:cubicBezTo>
                <a:cubicBezTo>
                  <a:pt x="552" y="653"/>
                  <a:pt x="552" y="652"/>
                  <a:pt x="552" y="652"/>
                </a:cubicBezTo>
                <a:cubicBezTo>
                  <a:pt x="552" y="652"/>
                  <a:pt x="551" y="652"/>
                  <a:pt x="551" y="652"/>
                </a:cubicBezTo>
                <a:cubicBezTo>
                  <a:pt x="551" y="652"/>
                  <a:pt x="551" y="652"/>
                  <a:pt x="551" y="652"/>
                </a:cubicBezTo>
                <a:cubicBezTo>
                  <a:pt x="551" y="653"/>
                  <a:pt x="550" y="653"/>
                  <a:pt x="550" y="653"/>
                </a:cubicBezTo>
                <a:cubicBezTo>
                  <a:pt x="550" y="653"/>
                  <a:pt x="550" y="652"/>
                  <a:pt x="550" y="652"/>
                </a:cubicBezTo>
                <a:cubicBezTo>
                  <a:pt x="548" y="652"/>
                  <a:pt x="546" y="651"/>
                  <a:pt x="545" y="649"/>
                </a:cubicBezTo>
                <a:cubicBezTo>
                  <a:pt x="544" y="648"/>
                  <a:pt x="544" y="647"/>
                  <a:pt x="544" y="646"/>
                </a:cubicBezTo>
                <a:cubicBezTo>
                  <a:pt x="543" y="646"/>
                  <a:pt x="541" y="644"/>
                  <a:pt x="542" y="643"/>
                </a:cubicBezTo>
                <a:cubicBezTo>
                  <a:pt x="543" y="643"/>
                  <a:pt x="544" y="643"/>
                  <a:pt x="544" y="644"/>
                </a:cubicBezTo>
                <a:cubicBezTo>
                  <a:pt x="544" y="644"/>
                  <a:pt x="544" y="644"/>
                  <a:pt x="544" y="643"/>
                </a:cubicBezTo>
                <a:cubicBezTo>
                  <a:pt x="544" y="643"/>
                  <a:pt x="544" y="643"/>
                  <a:pt x="544" y="643"/>
                </a:cubicBezTo>
                <a:cubicBezTo>
                  <a:pt x="545" y="641"/>
                  <a:pt x="546" y="640"/>
                  <a:pt x="548" y="638"/>
                </a:cubicBezTo>
                <a:cubicBezTo>
                  <a:pt x="548" y="638"/>
                  <a:pt x="548" y="638"/>
                  <a:pt x="548" y="638"/>
                </a:cubicBezTo>
                <a:cubicBezTo>
                  <a:pt x="548" y="638"/>
                  <a:pt x="548" y="638"/>
                  <a:pt x="548" y="638"/>
                </a:cubicBezTo>
                <a:cubicBezTo>
                  <a:pt x="549" y="637"/>
                  <a:pt x="549" y="637"/>
                  <a:pt x="549" y="638"/>
                </a:cubicBezTo>
                <a:cubicBezTo>
                  <a:pt x="551" y="637"/>
                  <a:pt x="554" y="636"/>
                  <a:pt x="556" y="638"/>
                </a:cubicBezTo>
                <a:cubicBezTo>
                  <a:pt x="556" y="638"/>
                  <a:pt x="558" y="640"/>
                  <a:pt x="558" y="640"/>
                </a:cubicBezTo>
                <a:cubicBezTo>
                  <a:pt x="558" y="640"/>
                  <a:pt x="557" y="642"/>
                  <a:pt x="557" y="642"/>
                </a:cubicBezTo>
                <a:cubicBezTo>
                  <a:pt x="557" y="642"/>
                  <a:pt x="557" y="642"/>
                  <a:pt x="557" y="642"/>
                </a:cubicBezTo>
                <a:cubicBezTo>
                  <a:pt x="558" y="642"/>
                  <a:pt x="558" y="643"/>
                  <a:pt x="559" y="644"/>
                </a:cubicBezTo>
                <a:cubicBezTo>
                  <a:pt x="559" y="643"/>
                  <a:pt x="559" y="643"/>
                  <a:pt x="559" y="643"/>
                </a:cubicBezTo>
                <a:cubicBezTo>
                  <a:pt x="560" y="642"/>
                  <a:pt x="561" y="644"/>
                  <a:pt x="560" y="644"/>
                </a:cubicBezTo>
                <a:cubicBezTo>
                  <a:pt x="559" y="644"/>
                  <a:pt x="559" y="644"/>
                  <a:pt x="559" y="644"/>
                </a:cubicBezTo>
                <a:cubicBezTo>
                  <a:pt x="560" y="645"/>
                  <a:pt x="561" y="646"/>
                  <a:pt x="562" y="645"/>
                </a:cubicBezTo>
                <a:cubicBezTo>
                  <a:pt x="563" y="645"/>
                  <a:pt x="561" y="642"/>
                  <a:pt x="564" y="642"/>
                </a:cubicBezTo>
                <a:cubicBezTo>
                  <a:pt x="562" y="645"/>
                  <a:pt x="564" y="643"/>
                  <a:pt x="567" y="645"/>
                </a:cubicBezTo>
                <a:cubicBezTo>
                  <a:pt x="570" y="646"/>
                  <a:pt x="569" y="646"/>
                  <a:pt x="567" y="643"/>
                </a:cubicBezTo>
                <a:cubicBezTo>
                  <a:pt x="566" y="641"/>
                  <a:pt x="568" y="642"/>
                  <a:pt x="566" y="640"/>
                </a:cubicBezTo>
                <a:cubicBezTo>
                  <a:pt x="566" y="639"/>
                  <a:pt x="564" y="638"/>
                  <a:pt x="562" y="638"/>
                </a:cubicBezTo>
                <a:cubicBezTo>
                  <a:pt x="562" y="638"/>
                  <a:pt x="562" y="638"/>
                  <a:pt x="562" y="638"/>
                </a:cubicBezTo>
                <a:cubicBezTo>
                  <a:pt x="561" y="638"/>
                  <a:pt x="560" y="638"/>
                  <a:pt x="560" y="638"/>
                </a:cubicBezTo>
                <a:cubicBezTo>
                  <a:pt x="562" y="637"/>
                  <a:pt x="558" y="640"/>
                  <a:pt x="558" y="639"/>
                </a:cubicBezTo>
                <a:cubicBezTo>
                  <a:pt x="558" y="638"/>
                  <a:pt x="558" y="638"/>
                  <a:pt x="558" y="637"/>
                </a:cubicBezTo>
                <a:cubicBezTo>
                  <a:pt x="557" y="637"/>
                  <a:pt x="554" y="634"/>
                  <a:pt x="554" y="634"/>
                </a:cubicBezTo>
                <a:cubicBezTo>
                  <a:pt x="551" y="632"/>
                  <a:pt x="551" y="631"/>
                  <a:pt x="554" y="633"/>
                </a:cubicBezTo>
                <a:cubicBezTo>
                  <a:pt x="555" y="634"/>
                  <a:pt x="557" y="635"/>
                  <a:pt x="558" y="636"/>
                </a:cubicBezTo>
                <a:cubicBezTo>
                  <a:pt x="558" y="634"/>
                  <a:pt x="556" y="635"/>
                  <a:pt x="555" y="634"/>
                </a:cubicBezTo>
                <a:cubicBezTo>
                  <a:pt x="555" y="633"/>
                  <a:pt x="554" y="632"/>
                  <a:pt x="554" y="630"/>
                </a:cubicBezTo>
                <a:cubicBezTo>
                  <a:pt x="554" y="630"/>
                  <a:pt x="553" y="629"/>
                  <a:pt x="553" y="629"/>
                </a:cubicBezTo>
                <a:cubicBezTo>
                  <a:pt x="553" y="629"/>
                  <a:pt x="553" y="629"/>
                  <a:pt x="553" y="628"/>
                </a:cubicBezTo>
                <a:cubicBezTo>
                  <a:pt x="553" y="628"/>
                  <a:pt x="553" y="628"/>
                  <a:pt x="553" y="628"/>
                </a:cubicBezTo>
                <a:cubicBezTo>
                  <a:pt x="551" y="629"/>
                  <a:pt x="552" y="625"/>
                  <a:pt x="553" y="626"/>
                </a:cubicBezTo>
                <a:cubicBezTo>
                  <a:pt x="553" y="626"/>
                  <a:pt x="553" y="625"/>
                  <a:pt x="553" y="625"/>
                </a:cubicBezTo>
                <a:cubicBezTo>
                  <a:pt x="554" y="625"/>
                  <a:pt x="554" y="625"/>
                  <a:pt x="554" y="625"/>
                </a:cubicBezTo>
                <a:cubicBezTo>
                  <a:pt x="554" y="625"/>
                  <a:pt x="554" y="625"/>
                  <a:pt x="554" y="625"/>
                </a:cubicBezTo>
                <a:cubicBezTo>
                  <a:pt x="554" y="625"/>
                  <a:pt x="557" y="625"/>
                  <a:pt x="559" y="624"/>
                </a:cubicBezTo>
                <a:cubicBezTo>
                  <a:pt x="558" y="624"/>
                  <a:pt x="559" y="623"/>
                  <a:pt x="559" y="623"/>
                </a:cubicBezTo>
                <a:cubicBezTo>
                  <a:pt x="559" y="623"/>
                  <a:pt x="560" y="623"/>
                  <a:pt x="560" y="623"/>
                </a:cubicBezTo>
                <a:cubicBezTo>
                  <a:pt x="560" y="623"/>
                  <a:pt x="560" y="622"/>
                  <a:pt x="559" y="621"/>
                </a:cubicBezTo>
                <a:cubicBezTo>
                  <a:pt x="559" y="621"/>
                  <a:pt x="559" y="621"/>
                  <a:pt x="558" y="621"/>
                </a:cubicBezTo>
                <a:cubicBezTo>
                  <a:pt x="559" y="620"/>
                  <a:pt x="561" y="613"/>
                  <a:pt x="557" y="616"/>
                </a:cubicBezTo>
                <a:cubicBezTo>
                  <a:pt x="557" y="616"/>
                  <a:pt x="558" y="617"/>
                  <a:pt x="558" y="617"/>
                </a:cubicBezTo>
                <a:cubicBezTo>
                  <a:pt x="558" y="617"/>
                  <a:pt x="557" y="617"/>
                  <a:pt x="557" y="617"/>
                </a:cubicBezTo>
                <a:cubicBezTo>
                  <a:pt x="556" y="618"/>
                  <a:pt x="558" y="620"/>
                  <a:pt x="557" y="621"/>
                </a:cubicBezTo>
                <a:cubicBezTo>
                  <a:pt x="557" y="619"/>
                  <a:pt x="553" y="620"/>
                  <a:pt x="553" y="618"/>
                </a:cubicBezTo>
                <a:cubicBezTo>
                  <a:pt x="553" y="616"/>
                  <a:pt x="557" y="615"/>
                  <a:pt x="558" y="613"/>
                </a:cubicBezTo>
                <a:cubicBezTo>
                  <a:pt x="559" y="611"/>
                  <a:pt x="557" y="609"/>
                  <a:pt x="555" y="607"/>
                </a:cubicBezTo>
                <a:cubicBezTo>
                  <a:pt x="555" y="608"/>
                  <a:pt x="555" y="610"/>
                  <a:pt x="554" y="611"/>
                </a:cubicBezTo>
                <a:cubicBezTo>
                  <a:pt x="554" y="612"/>
                  <a:pt x="555" y="613"/>
                  <a:pt x="552" y="614"/>
                </a:cubicBezTo>
                <a:cubicBezTo>
                  <a:pt x="550" y="614"/>
                  <a:pt x="546" y="617"/>
                  <a:pt x="545" y="614"/>
                </a:cubicBezTo>
                <a:cubicBezTo>
                  <a:pt x="543" y="610"/>
                  <a:pt x="541" y="602"/>
                  <a:pt x="536" y="600"/>
                </a:cubicBezTo>
                <a:cubicBezTo>
                  <a:pt x="539" y="606"/>
                  <a:pt x="533" y="604"/>
                  <a:pt x="534" y="599"/>
                </a:cubicBezTo>
                <a:cubicBezTo>
                  <a:pt x="535" y="601"/>
                  <a:pt x="535" y="598"/>
                  <a:pt x="536" y="597"/>
                </a:cubicBezTo>
                <a:cubicBezTo>
                  <a:pt x="537" y="597"/>
                  <a:pt x="537" y="598"/>
                  <a:pt x="537" y="598"/>
                </a:cubicBezTo>
                <a:cubicBezTo>
                  <a:pt x="537" y="598"/>
                  <a:pt x="537" y="598"/>
                  <a:pt x="537" y="598"/>
                </a:cubicBezTo>
                <a:cubicBezTo>
                  <a:pt x="539" y="596"/>
                  <a:pt x="541" y="601"/>
                  <a:pt x="538" y="599"/>
                </a:cubicBezTo>
                <a:cubicBezTo>
                  <a:pt x="538" y="599"/>
                  <a:pt x="538" y="599"/>
                  <a:pt x="538" y="599"/>
                </a:cubicBezTo>
                <a:cubicBezTo>
                  <a:pt x="539" y="600"/>
                  <a:pt x="539" y="600"/>
                  <a:pt x="540" y="601"/>
                </a:cubicBezTo>
                <a:cubicBezTo>
                  <a:pt x="542" y="603"/>
                  <a:pt x="546" y="604"/>
                  <a:pt x="549" y="604"/>
                </a:cubicBezTo>
                <a:cubicBezTo>
                  <a:pt x="550" y="603"/>
                  <a:pt x="550" y="603"/>
                  <a:pt x="551" y="603"/>
                </a:cubicBezTo>
                <a:cubicBezTo>
                  <a:pt x="551" y="603"/>
                  <a:pt x="552" y="603"/>
                  <a:pt x="552" y="603"/>
                </a:cubicBezTo>
                <a:cubicBezTo>
                  <a:pt x="553" y="602"/>
                  <a:pt x="553" y="601"/>
                  <a:pt x="550" y="598"/>
                </a:cubicBezTo>
                <a:cubicBezTo>
                  <a:pt x="557" y="600"/>
                  <a:pt x="550" y="591"/>
                  <a:pt x="548" y="592"/>
                </a:cubicBezTo>
                <a:cubicBezTo>
                  <a:pt x="548" y="592"/>
                  <a:pt x="547" y="594"/>
                  <a:pt x="546" y="594"/>
                </a:cubicBezTo>
                <a:cubicBezTo>
                  <a:pt x="545" y="594"/>
                  <a:pt x="543" y="592"/>
                  <a:pt x="542" y="591"/>
                </a:cubicBezTo>
                <a:cubicBezTo>
                  <a:pt x="541" y="590"/>
                  <a:pt x="536" y="584"/>
                  <a:pt x="540" y="587"/>
                </a:cubicBezTo>
                <a:cubicBezTo>
                  <a:pt x="542" y="588"/>
                  <a:pt x="543" y="589"/>
                  <a:pt x="545" y="589"/>
                </a:cubicBezTo>
                <a:cubicBezTo>
                  <a:pt x="545" y="589"/>
                  <a:pt x="544" y="588"/>
                  <a:pt x="545" y="589"/>
                </a:cubicBezTo>
                <a:cubicBezTo>
                  <a:pt x="545" y="589"/>
                  <a:pt x="545" y="589"/>
                  <a:pt x="545" y="589"/>
                </a:cubicBezTo>
                <a:cubicBezTo>
                  <a:pt x="546" y="590"/>
                  <a:pt x="547" y="590"/>
                  <a:pt x="549" y="591"/>
                </a:cubicBezTo>
                <a:cubicBezTo>
                  <a:pt x="551" y="592"/>
                  <a:pt x="552" y="594"/>
                  <a:pt x="553" y="594"/>
                </a:cubicBezTo>
                <a:cubicBezTo>
                  <a:pt x="553" y="594"/>
                  <a:pt x="553" y="594"/>
                  <a:pt x="554" y="593"/>
                </a:cubicBezTo>
                <a:cubicBezTo>
                  <a:pt x="554" y="593"/>
                  <a:pt x="555" y="593"/>
                  <a:pt x="555" y="593"/>
                </a:cubicBezTo>
                <a:cubicBezTo>
                  <a:pt x="555" y="594"/>
                  <a:pt x="555" y="594"/>
                  <a:pt x="556" y="594"/>
                </a:cubicBezTo>
                <a:cubicBezTo>
                  <a:pt x="556" y="594"/>
                  <a:pt x="556" y="594"/>
                  <a:pt x="556" y="594"/>
                </a:cubicBezTo>
                <a:cubicBezTo>
                  <a:pt x="557" y="591"/>
                  <a:pt x="549" y="589"/>
                  <a:pt x="546" y="588"/>
                </a:cubicBezTo>
                <a:cubicBezTo>
                  <a:pt x="547" y="588"/>
                  <a:pt x="547" y="588"/>
                  <a:pt x="546" y="588"/>
                </a:cubicBezTo>
                <a:cubicBezTo>
                  <a:pt x="546" y="589"/>
                  <a:pt x="545" y="588"/>
                  <a:pt x="546" y="587"/>
                </a:cubicBezTo>
                <a:cubicBezTo>
                  <a:pt x="546" y="587"/>
                  <a:pt x="546" y="587"/>
                  <a:pt x="545" y="587"/>
                </a:cubicBezTo>
                <a:cubicBezTo>
                  <a:pt x="545" y="587"/>
                  <a:pt x="545" y="587"/>
                  <a:pt x="544" y="586"/>
                </a:cubicBezTo>
                <a:cubicBezTo>
                  <a:pt x="544" y="586"/>
                  <a:pt x="544" y="586"/>
                  <a:pt x="544" y="586"/>
                </a:cubicBezTo>
                <a:cubicBezTo>
                  <a:pt x="543" y="586"/>
                  <a:pt x="543" y="586"/>
                  <a:pt x="543" y="586"/>
                </a:cubicBezTo>
                <a:cubicBezTo>
                  <a:pt x="541" y="585"/>
                  <a:pt x="539" y="583"/>
                  <a:pt x="539" y="583"/>
                </a:cubicBezTo>
                <a:cubicBezTo>
                  <a:pt x="538" y="579"/>
                  <a:pt x="551" y="590"/>
                  <a:pt x="548" y="583"/>
                </a:cubicBezTo>
                <a:cubicBezTo>
                  <a:pt x="548" y="582"/>
                  <a:pt x="546" y="576"/>
                  <a:pt x="545" y="576"/>
                </a:cubicBezTo>
                <a:cubicBezTo>
                  <a:pt x="544" y="576"/>
                  <a:pt x="545" y="579"/>
                  <a:pt x="544" y="579"/>
                </a:cubicBezTo>
                <a:cubicBezTo>
                  <a:pt x="543" y="580"/>
                  <a:pt x="540" y="578"/>
                  <a:pt x="540" y="577"/>
                </a:cubicBezTo>
                <a:cubicBezTo>
                  <a:pt x="540" y="575"/>
                  <a:pt x="542" y="576"/>
                  <a:pt x="542" y="575"/>
                </a:cubicBezTo>
                <a:cubicBezTo>
                  <a:pt x="542" y="573"/>
                  <a:pt x="541" y="572"/>
                  <a:pt x="539" y="570"/>
                </a:cubicBezTo>
                <a:cubicBezTo>
                  <a:pt x="539" y="571"/>
                  <a:pt x="539" y="571"/>
                  <a:pt x="539" y="571"/>
                </a:cubicBezTo>
                <a:cubicBezTo>
                  <a:pt x="539" y="571"/>
                  <a:pt x="539" y="570"/>
                  <a:pt x="539" y="570"/>
                </a:cubicBezTo>
                <a:cubicBezTo>
                  <a:pt x="537" y="569"/>
                  <a:pt x="536" y="568"/>
                  <a:pt x="535" y="566"/>
                </a:cubicBezTo>
                <a:cubicBezTo>
                  <a:pt x="533" y="563"/>
                  <a:pt x="530" y="561"/>
                  <a:pt x="530" y="561"/>
                </a:cubicBezTo>
                <a:cubicBezTo>
                  <a:pt x="530" y="560"/>
                  <a:pt x="533" y="559"/>
                  <a:pt x="534" y="558"/>
                </a:cubicBezTo>
                <a:cubicBezTo>
                  <a:pt x="534" y="556"/>
                  <a:pt x="532" y="555"/>
                  <a:pt x="535" y="556"/>
                </a:cubicBezTo>
                <a:cubicBezTo>
                  <a:pt x="537" y="556"/>
                  <a:pt x="535" y="554"/>
                  <a:pt x="537" y="556"/>
                </a:cubicBezTo>
                <a:cubicBezTo>
                  <a:pt x="539" y="556"/>
                  <a:pt x="543" y="561"/>
                  <a:pt x="540" y="563"/>
                </a:cubicBezTo>
                <a:cubicBezTo>
                  <a:pt x="539" y="564"/>
                  <a:pt x="536" y="564"/>
                  <a:pt x="538" y="566"/>
                </a:cubicBezTo>
                <a:cubicBezTo>
                  <a:pt x="539" y="567"/>
                  <a:pt x="541" y="567"/>
                  <a:pt x="542" y="568"/>
                </a:cubicBezTo>
                <a:cubicBezTo>
                  <a:pt x="544" y="570"/>
                  <a:pt x="546" y="575"/>
                  <a:pt x="548" y="577"/>
                </a:cubicBezTo>
                <a:cubicBezTo>
                  <a:pt x="550" y="579"/>
                  <a:pt x="553" y="580"/>
                  <a:pt x="555" y="582"/>
                </a:cubicBezTo>
                <a:cubicBezTo>
                  <a:pt x="556" y="584"/>
                  <a:pt x="557" y="590"/>
                  <a:pt x="559" y="591"/>
                </a:cubicBezTo>
                <a:cubicBezTo>
                  <a:pt x="560" y="591"/>
                  <a:pt x="561" y="591"/>
                  <a:pt x="561" y="590"/>
                </a:cubicBezTo>
                <a:cubicBezTo>
                  <a:pt x="562" y="590"/>
                  <a:pt x="562" y="590"/>
                  <a:pt x="562" y="590"/>
                </a:cubicBezTo>
                <a:cubicBezTo>
                  <a:pt x="562" y="590"/>
                  <a:pt x="562" y="590"/>
                  <a:pt x="562" y="590"/>
                </a:cubicBezTo>
                <a:cubicBezTo>
                  <a:pt x="565" y="589"/>
                  <a:pt x="567" y="585"/>
                  <a:pt x="567" y="582"/>
                </a:cubicBezTo>
                <a:cubicBezTo>
                  <a:pt x="567" y="582"/>
                  <a:pt x="567" y="582"/>
                  <a:pt x="567" y="582"/>
                </a:cubicBezTo>
                <a:cubicBezTo>
                  <a:pt x="566" y="582"/>
                  <a:pt x="565" y="581"/>
                  <a:pt x="565" y="581"/>
                </a:cubicBezTo>
                <a:cubicBezTo>
                  <a:pt x="561" y="578"/>
                  <a:pt x="560" y="569"/>
                  <a:pt x="565" y="567"/>
                </a:cubicBezTo>
                <a:cubicBezTo>
                  <a:pt x="565" y="567"/>
                  <a:pt x="565" y="567"/>
                  <a:pt x="565" y="567"/>
                </a:cubicBezTo>
                <a:cubicBezTo>
                  <a:pt x="565" y="566"/>
                  <a:pt x="565" y="566"/>
                  <a:pt x="565" y="566"/>
                </a:cubicBezTo>
                <a:cubicBezTo>
                  <a:pt x="564" y="565"/>
                  <a:pt x="565" y="566"/>
                  <a:pt x="565" y="567"/>
                </a:cubicBezTo>
                <a:cubicBezTo>
                  <a:pt x="566" y="566"/>
                  <a:pt x="566" y="566"/>
                  <a:pt x="566" y="566"/>
                </a:cubicBezTo>
                <a:cubicBezTo>
                  <a:pt x="566" y="565"/>
                  <a:pt x="566" y="564"/>
                  <a:pt x="565" y="564"/>
                </a:cubicBezTo>
                <a:cubicBezTo>
                  <a:pt x="567" y="563"/>
                  <a:pt x="565" y="561"/>
                  <a:pt x="565" y="559"/>
                </a:cubicBezTo>
                <a:cubicBezTo>
                  <a:pt x="565" y="558"/>
                  <a:pt x="568" y="557"/>
                  <a:pt x="566" y="556"/>
                </a:cubicBezTo>
                <a:cubicBezTo>
                  <a:pt x="570" y="558"/>
                  <a:pt x="566" y="547"/>
                  <a:pt x="564" y="546"/>
                </a:cubicBezTo>
                <a:cubicBezTo>
                  <a:pt x="565" y="547"/>
                  <a:pt x="561" y="552"/>
                  <a:pt x="562" y="552"/>
                </a:cubicBezTo>
                <a:cubicBezTo>
                  <a:pt x="562" y="552"/>
                  <a:pt x="562" y="552"/>
                  <a:pt x="562" y="552"/>
                </a:cubicBezTo>
                <a:cubicBezTo>
                  <a:pt x="562" y="552"/>
                  <a:pt x="562" y="552"/>
                  <a:pt x="562" y="553"/>
                </a:cubicBezTo>
                <a:cubicBezTo>
                  <a:pt x="562" y="553"/>
                  <a:pt x="563" y="554"/>
                  <a:pt x="562" y="554"/>
                </a:cubicBezTo>
                <a:cubicBezTo>
                  <a:pt x="560" y="555"/>
                  <a:pt x="561" y="553"/>
                  <a:pt x="560" y="552"/>
                </a:cubicBezTo>
                <a:cubicBezTo>
                  <a:pt x="560" y="552"/>
                  <a:pt x="560" y="552"/>
                  <a:pt x="559" y="552"/>
                </a:cubicBezTo>
                <a:cubicBezTo>
                  <a:pt x="559" y="553"/>
                  <a:pt x="558" y="553"/>
                  <a:pt x="557" y="552"/>
                </a:cubicBezTo>
                <a:cubicBezTo>
                  <a:pt x="557" y="552"/>
                  <a:pt x="557" y="552"/>
                  <a:pt x="557" y="552"/>
                </a:cubicBezTo>
                <a:cubicBezTo>
                  <a:pt x="556" y="552"/>
                  <a:pt x="555" y="552"/>
                  <a:pt x="555" y="552"/>
                </a:cubicBezTo>
                <a:cubicBezTo>
                  <a:pt x="555" y="552"/>
                  <a:pt x="553" y="548"/>
                  <a:pt x="553" y="547"/>
                </a:cubicBezTo>
                <a:cubicBezTo>
                  <a:pt x="552" y="547"/>
                  <a:pt x="548" y="543"/>
                  <a:pt x="549" y="542"/>
                </a:cubicBezTo>
                <a:cubicBezTo>
                  <a:pt x="551" y="540"/>
                  <a:pt x="551" y="543"/>
                  <a:pt x="552" y="543"/>
                </a:cubicBezTo>
                <a:cubicBezTo>
                  <a:pt x="553" y="543"/>
                  <a:pt x="553" y="540"/>
                  <a:pt x="554" y="540"/>
                </a:cubicBezTo>
                <a:cubicBezTo>
                  <a:pt x="554" y="539"/>
                  <a:pt x="556" y="541"/>
                  <a:pt x="557" y="540"/>
                </a:cubicBezTo>
                <a:cubicBezTo>
                  <a:pt x="556" y="540"/>
                  <a:pt x="556" y="537"/>
                  <a:pt x="558" y="537"/>
                </a:cubicBezTo>
                <a:cubicBezTo>
                  <a:pt x="560" y="537"/>
                  <a:pt x="558" y="539"/>
                  <a:pt x="559" y="540"/>
                </a:cubicBezTo>
                <a:cubicBezTo>
                  <a:pt x="559" y="541"/>
                  <a:pt x="561" y="540"/>
                  <a:pt x="561" y="540"/>
                </a:cubicBezTo>
                <a:cubicBezTo>
                  <a:pt x="562" y="540"/>
                  <a:pt x="561" y="542"/>
                  <a:pt x="563" y="543"/>
                </a:cubicBezTo>
                <a:cubicBezTo>
                  <a:pt x="563" y="543"/>
                  <a:pt x="565" y="543"/>
                  <a:pt x="565" y="543"/>
                </a:cubicBezTo>
                <a:cubicBezTo>
                  <a:pt x="567" y="546"/>
                  <a:pt x="567" y="553"/>
                  <a:pt x="572" y="553"/>
                </a:cubicBezTo>
                <a:cubicBezTo>
                  <a:pt x="573" y="554"/>
                  <a:pt x="573" y="552"/>
                  <a:pt x="573" y="551"/>
                </a:cubicBezTo>
                <a:cubicBezTo>
                  <a:pt x="575" y="553"/>
                  <a:pt x="582" y="559"/>
                  <a:pt x="581" y="564"/>
                </a:cubicBezTo>
                <a:cubicBezTo>
                  <a:pt x="581" y="564"/>
                  <a:pt x="579" y="567"/>
                  <a:pt x="579" y="567"/>
                </a:cubicBezTo>
                <a:cubicBezTo>
                  <a:pt x="578" y="568"/>
                  <a:pt x="577" y="568"/>
                  <a:pt x="576" y="568"/>
                </a:cubicBezTo>
                <a:cubicBezTo>
                  <a:pt x="576" y="569"/>
                  <a:pt x="575" y="569"/>
                  <a:pt x="575" y="569"/>
                </a:cubicBezTo>
                <a:cubicBezTo>
                  <a:pt x="575" y="569"/>
                  <a:pt x="575" y="569"/>
                  <a:pt x="575" y="569"/>
                </a:cubicBezTo>
                <a:cubicBezTo>
                  <a:pt x="574" y="569"/>
                  <a:pt x="574" y="569"/>
                  <a:pt x="573" y="569"/>
                </a:cubicBezTo>
                <a:cubicBezTo>
                  <a:pt x="574" y="571"/>
                  <a:pt x="575" y="573"/>
                  <a:pt x="575" y="574"/>
                </a:cubicBezTo>
                <a:cubicBezTo>
                  <a:pt x="577" y="574"/>
                  <a:pt x="576" y="572"/>
                  <a:pt x="576" y="571"/>
                </a:cubicBezTo>
                <a:cubicBezTo>
                  <a:pt x="577" y="572"/>
                  <a:pt x="577" y="572"/>
                  <a:pt x="577" y="572"/>
                </a:cubicBezTo>
                <a:cubicBezTo>
                  <a:pt x="578" y="571"/>
                  <a:pt x="578" y="570"/>
                  <a:pt x="579" y="570"/>
                </a:cubicBezTo>
                <a:cubicBezTo>
                  <a:pt x="580" y="570"/>
                  <a:pt x="579" y="572"/>
                  <a:pt x="580" y="572"/>
                </a:cubicBezTo>
                <a:cubicBezTo>
                  <a:pt x="581" y="573"/>
                  <a:pt x="580" y="571"/>
                  <a:pt x="582" y="573"/>
                </a:cubicBezTo>
                <a:cubicBezTo>
                  <a:pt x="583" y="575"/>
                  <a:pt x="581" y="577"/>
                  <a:pt x="582" y="579"/>
                </a:cubicBezTo>
                <a:cubicBezTo>
                  <a:pt x="582" y="579"/>
                  <a:pt x="582" y="579"/>
                  <a:pt x="582" y="579"/>
                </a:cubicBezTo>
                <a:cubicBezTo>
                  <a:pt x="583" y="579"/>
                  <a:pt x="584" y="578"/>
                  <a:pt x="584" y="578"/>
                </a:cubicBezTo>
                <a:cubicBezTo>
                  <a:pt x="584" y="578"/>
                  <a:pt x="585" y="580"/>
                  <a:pt x="587" y="580"/>
                </a:cubicBezTo>
                <a:cubicBezTo>
                  <a:pt x="588" y="580"/>
                  <a:pt x="587" y="579"/>
                  <a:pt x="587" y="579"/>
                </a:cubicBezTo>
                <a:cubicBezTo>
                  <a:pt x="588" y="579"/>
                  <a:pt x="592" y="580"/>
                  <a:pt x="592" y="579"/>
                </a:cubicBezTo>
                <a:cubicBezTo>
                  <a:pt x="593" y="581"/>
                  <a:pt x="591" y="582"/>
                  <a:pt x="591" y="584"/>
                </a:cubicBezTo>
                <a:cubicBezTo>
                  <a:pt x="591" y="584"/>
                  <a:pt x="592" y="588"/>
                  <a:pt x="592" y="588"/>
                </a:cubicBezTo>
                <a:cubicBezTo>
                  <a:pt x="592" y="588"/>
                  <a:pt x="594" y="587"/>
                  <a:pt x="595" y="588"/>
                </a:cubicBezTo>
                <a:cubicBezTo>
                  <a:pt x="596" y="589"/>
                  <a:pt x="596" y="591"/>
                  <a:pt x="598" y="592"/>
                </a:cubicBezTo>
                <a:cubicBezTo>
                  <a:pt x="599" y="592"/>
                  <a:pt x="601" y="596"/>
                  <a:pt x="601" y="598"/>
                </a:cubicBezTo>
                <a:cubicBezTo>
                  <a:pt x="599" y="602"/>
                  <a:pt x="593" y="597"/>
                  <a:pt x="592" y="604"/>
                </a:cubicBezTo>
                <a:cubicBezTo>
                  <a:pt x="587" y="602"/>
                  <a:pt x="595" y="611"/>
                  <a:pt x="594" y="612"/>
                </a:cubicBezTo>
                <a:cubicBezTo>
                  <a:pt x="594" y="612"/>
                  <a:pt x="594" y="612"/>
                  <a:pt x="594" y="612"/>
                </a:cubicBezTo>
                <a:cubicBezTo>
                  <a:pt x="595" y="612"/>
                  <a:pt x="595" y="613"/>
                  <a:pt x="594" y="613"/>
                </a:cubicBezTo>
                <a:cubicBezTo>
                  <a:pt x="594" y="613"/>
                  <a:pt x="594" y="613"/>
                  <a:pt x="594" y="613"/>
                </a:cubicBezTo>
                <a:cubicBezTo>
                  <a:pt x="592" y="613"/>
                  <a:pt x="593" y="612"/>
                  <a:pt x="594" y="612"/>
                </a:cubicBezTo>
                <a:cubicBezTo>
                  <a:pt x="592" y="612"/>
                  <a:pt x="589" y="606"/>
                  <a:pt x="589" y="611"/>
                </a:cubicBezTo>
                <a:cubicBezTo>
                  <a:pt x="589" y="613"/>
                  <a:pt x="592" y="612"/>
                  <a:pt x="593" y="613"/>
                </a:cubicBezTo>
                <a:cubicBezTo>
                  <a:pt x="593" y="615"/>
                  <a:pt x="591" y="617"/>
                  <a:pt x="591" y="619"/>
                </a:cubicBezTo>
                <a:cubicBezTo>
                  <a:pt x="591" y="619"/>
                  <a:pt x="593" y="622"/>
                  <a:pt x="594" y="622"/>
                </a:cubicBezTo>
                <a:cubicBezTo>
                  <a:pt x="596" y="622"/>
                  <a:pt x="596" y="620"/>
                  <a:pt x="598" y="622"/>
                </a:cubicBezTo>
                <a:cubicBezTo>
                  <a:pt x="599" y="622"/>
                  <a:pt x="597" y="621"/>
                  <a:pt x="598" y="621"/>
                </a:cubicBezTo>
                <a:cubicBezTo>
                  <a:pt x="598" y="623"/>
                  <a:pt x="600" y="622"/>
                  <a:pt x="599" y="620"/>
                </a:cubicBezTo>
                <a:cubicBezTo>
                  <a:pt x="601" y="623"/>
                  <a:pt x="600" y="626"/>
                  <a:pt x="603" y="625"/>
                </a:cubicBezTo>
                <a:cubicBezTo>
                  <a:pt x="603" y="625"/>
                  <a:pt x="608" y="621"/>
                  <a:pt x="608" y="621"/>
                </a:cubicBezTo>
                <a:cubicBezTo>
                  <a:pt x="608" y="617"/>
                  <a:pt x="604" y="622"/>
                  <a:pt x="601" y="620"/>
                </a:cubicBezTo>
                <a:cubicBezTo>
                  <a:pt x="599" y="618"/>
                  <a:pt x="606" y="619"/>
                  <a:pt x="607" y="618"/>
                </a:cubicBezTo>
                <a:cubicBezTo>
                  <a:pt x="608" y="617"/>
                  <a:pt x="606" y="617"/>
                  <a:pt x="607" y="616"/>
                </a:cubicBezTo>
                <a:cubicBezTo>
                  <a:pt x="607" y="615"/>
                  <a:pt x="610" y="614"/>
                  <a:pt x="609" y="613"/>
                </a:cubicBezTo>
                <a:cubicBezTo>
                  <a:pt x="608" y="613"/>
                  <a:pt x="607" y="616"/>
                  <a:pt x="606" y="614"/>
                </a:cubicBezTo>
                <a:cubicBezTo>
                  <a:pt x="605" y="613"/>
                  <a:pt x="608" y="611"/>
                  <a:pt x="608" y="612"/>
                </a:cubicBezTo>
                <a:cubicBezTo>
                  <a:pt x="609" y="610"/>
                  <a:pt x="609" y="610"/>
                  <a:pt x="610" y="609"/>
                </a:cubicBezTo>
                <a:cubicBezTo>
                  <a:pt x="610" y="609"/>
                  <a:pt x="609" y="608"/>
                  <a:pt x="609" y="608"/>
                </a:cubicBezTo>
                <a:cubicBezTo>
                  <a:pt x="610" y="608"/>
                  <a:pt x="611" y="609"/>
                  <a:pt x="611" y="609"/>
                </a:cubicBezTo>
                <a:cubicBezTo>
                  <a:pt x="613" y="610"/>
                  <a:pt x="615" y="611"/>
                  <a:pt x="616" y="612"/>
                </a:cubicBezTo>
                <a:cubicBezTo>
                  <a:pt x="616" y="612"/>
                  <a:pt x="616" y="612"/>
                  <a:pt x="616" y="612"/>
                </a:cubicBezTo>
                <a:cubicBezTo>
                  <a:pt x="617" y="611"/>
                  <a:pt x="616" y="611"/>
                  <a:pt x="616" y="610"/>
                </a:cubicBezTo>
                <a:cubicBezTo>
                  <a:pt x="616" y="610"/>
                  <a:pt x="617" y="609"/>
                  <a:pt x="617" y="609"/>
                </a:cubicBezTo>
                <a:cubicBezTo>
                  <a:pt x="615" y="608"/>
                  <a:pt x="613" y="606"/>
                  <a:pt x="613" y="605"/>
                </a:cubicBezTo>
                <a:cubicBezTo>
                  <a:pt x="613" y="603"/>
                  <a:pt x="616" y="603"/>
                  <a:pt x="614" y="601"/>
                </a:cubicBezTo>
                <a:cubicBezTo>
                  <a:pt x="613" y="601"/>
                  <a:pt x="610" y="602"/>
                  <a:pt x="610" y="602"/>
                </a:cubicBezTo>
                <a:cubicBezTo>
                  <a:pt x="610" y="602"/>
                  <a:pt x="608" y="602"/>
                  <a:pt x="608" y="602"/>
                </a:cubicBezTo>
                <a:cubicBezTo>
                  <a:pt x="607" y="603"/>
                  <a:pt x="608" y="605"/>
                  <a:pt x="608" y="606"/>
                </a:cubicBezTo>
                <a:cubicBezTo>
                  <a:pt x="606" y="607"/>
                  <a:pt x="605" y="604"/>
                  <a:pt x="604" y="603"/>
                </a:cubicBezTo>
                <a:cubicBezTo>
                  <a:pt x="608" y="604"/>
                  <a:pt x="605" y="600"/>
                  <a:pt x="605" y="598"/>
                </a:cubicBezTo>
                <a:cubicBezTo>
                  <a:pt x="604" y="597"/>
                  <a:pt x="605" y="595"/>
                  <a:pt x="605" y="594"/>
                </a:cubicBezTo>
                <a:cubicBezTo>
                  <a:pt x="604" y="593"/>
                  <a:pt x="602" y="594"/>
                  <a:pt x="602" y="592"/>
                </a:cubicBezTo>
                <a:cubicBezTo>
                  <a:pt x="603" y="591"/>
                  <a:pt x="604" y="592"/>
                  <a:pt x="604" y="592"/>
                </a:cubicBezTo>
                <a:cubicBezTo>
                  <a:pt x="605" y="592"/>
                  <a:pt x="603" y="589"/>
                  <a:pt x="605" y="588"/>
                </a:cubicBezTo>
                <a:cubicBezTo>
                  <a:pt x="605" y="588"/>
                  <a:pt x="607" y="589"/>
                  <a:pt x="608" y="590"/>
                </a:cubicBezTo>
                <a:cubicBezTo>
                  <a:pt x="609" y="590"/>
                  <a:pt x="610" y="590"/>
                  <a:pt x="611" y="591"/>
                </a:cubicBezTo>
                <a:cubicBezTo>
                  <a:pt x="611" y="588"/>
                  <a:pt x="613" y="584"/>
                  <a:pt x="614" y="584"/>
                </a:cubicBezTo>
                <a:cubicBezTo>
                  <a:pt x="615" y="582"/>
                  <a:pt x="617" y="585"/>
                  <a:pt x="617" y="582"/>
                </a:cubicBezTo>
                <a:cubicBezTo>
                  <a:pt x="618" y="585"/>
                  <a:pt x="621" y="582"/>
                  <a:pt x="622" y="582"/>
                </a:cubicBezTo>
                <a:cubicBezTo>
                  <a:pt x="623" y="582"/>
                  <a:pt x="622" y="584"/>
                  <a:pt x="623" y="584"/>
                </a:cubicBezTo>
                <a:cubicBezTo>
                  <a:pt x="623" y="585"/>
                  <a:pt x="624" y="584"/>
                  <a:pt x="625" y="585"/>
                </a:cubicBezTo>
                <a:cubicBezTo>
                  <a:pt x="625" y="585"/>
                  <a:pt x="625" y="585"/>
                  <a:pt x="625" y="585"/>
                </a:cubicBezTo>
                <a:cubicBezTo>
                  <a:pt x="626" y="585"/>
                  <a:pt x="628" y="585"/>
                  <a:pt x="629" y="585"/>
                </a:cubicBezTo>
                <a:cubicBezTo>
                  <a:pt x="629" y="585"/>
                  <a:pt x="629" y="584"/>
                  <a:pt x="630" y="584"/>
                </a:cubicBezTo>
                <a:cubicBezTo>
                  <a:pt x="629" y="584"/>
                  <a:pt x="628" y="584"/>
                  <a:pt x="628" y="584"/>
                </a:cubicBezTo>
                <a:cubicBezTo>
                  <a:pt x="627" y="583"/>
                  <a:pt x="626" y="583"/>
                  <a:pt x="626" y="582"/>
                </a:cubicBezTo>
                <a:cubicBezTo>
                  <a:pt x="626" y="581"/>
                  <a:pt x="625" y="581"/>
                  <a:pt x="625" y="580"/>
                </a:cubicBezTo>
                <a:cubicBezTo>
                  <a:pt x="625" y="580"/>
                  <a:pt x="625" y="580"/>
                  <a:pt x="624" y="580"/>
                </a:cubicBezTo>
                <a:cubicBezTo>
                  <a:pt x="624" y="580"/>
                  <a:pt x="624" y="579"/>
                  <a:pt x="624" y="579"/>
                </a:cubicBezTo>
                <a:cubicBezTo>
                  <a:pt x="624" y="577"/>
                  <a:pt x="624" y="575"/>
                  <a:pt x="622" y="574"/>
                </a:cubicBezTo>
                <a:cubicBezTo>
                  <a:pt x="624" y="576"/>
                  <a:pt x="625" y="573"/>
                  <a:pt x="625" y="573"/>
                </a:cubicBezTo>
                <a:cubicBezTo>
                  <a:pt x="625" y="573"/>
                  <a:pt x="625" y="573"/>
                  <a:pt x="625" y="572"/>
                </a:cubicBezTo>
                <a:cubicBezTo>
                  <a:pt x="625" y="572"/>
                  <a:pt x="625" y="572"/>
                  <a:pt x="625" y="572"/>
                </a:cubicBezTo>
                <a:cubicBezTo>
                  <a:pt x="625" y="572"/>
                  <a:pt x="625" y="573"/>
                  <a:pt x="625" y="573"/>
                </a:cubicBezTo>
                <a:cubicBezTo>
                  <a:pt x="623" y="574"/>
                  <a:pt x="619" y="571"/>
                  <a:pt x="619" y="570"/>
                </a:cubicBezTo>
                <a:cubicBezTo>
                  <a:pt x="619" y="569"/>
                  <a:pt x="619" y="570"/>
                  <a:pt x="620" y="569"/>
                </a:cubicBezTo>
                <a:cubicBezTo>
                  <a:pt x="620" y="567"/>
                  <a:pt x="618" y="565"/>
                  <a:pt x="620" y="562"/>
                </a:cubicBezTo>
                <a:cubicBezTo>
                  <a:pt x="621" y="563"/>
                  <a:pt x="620" y="565"/>
                  <a:pt x="621" y="566"/>
                </a:cubicBezTo>
                <a:cubicBezTo>
                  <a:pt x="621" y="567"/>
                  <a:pt x="622" y="565"/>
                  <a:pt x="622" y="565"/>
                </a:cubicBezTo>
                <a:cubicBezTo>
                  <a:pt x="624" y="565"/>
                  <a:pt x="627" y="568"/>
                  <a:pt x="626" y="571"/>
                </a:cubicBezTo>
                <a:cubicBezTo>
                  <a:pt x="627" y="572"/>
                  <a:pt x="628" y="572"/>
                  <a:pt x="628" y="573"/>
                </a:cubicBezTo>
                <a:cubicBezTo>
                  <a:pt x="629" y="573"/>
                  <a:pt x="629" y="572"/>
                  <a:pt x="629" y="572"/>
                </a:cubicBezTo>
                <a:cubicBezTo>
                  <a:pt x="628" y="570"/>
                  <a:pt x="628" y="568"/>
                  <a:pt x="627" y="566"/>
                </a:cubicBezTo>
                <a:cubicBezTo>
                  <a:pt x="626" y="565"/>
                  <a:pt x="625" y="565"/>
                  <a:pt x="624" y="565"/>
                </a:cubicBezTo>
                <a:cubicBezTo>
                  <a:pt x="624" y="564"/>
                  <a:pt x="624" y="563"/>
                  <a:pt x="623" y="563"/>
                </a:cubicBezTo>
                <a:cubicBezTo>
                  <a:pt x="622" y="562"/>
                  <a:pt x="622" y="564"/>
                  <a:pt x="621" y="563"/>
                </a:cubicBezTo>
                <a:cubicBezTo>
                  <a:pt x="620" y="562"/>
                  <a:pt x="621" y="561"/>
                  <a:pt x="621" y="561"/>
                </a:cubicBezTo>
                <a:cubicBezTo>
                  <a:pt x="622" y="560"/>
                  <a:pt x="624" y="562"/>
                  <a:pt x="625" y="562"/>
                </a:cubicBezTo>
                <a:cubicBezTo>
                  <a:pt x="626" y="561"/>
                  <a:pt x="626" y="560"/>
                  <a:pt x="627" y="559"/>
                </a:cubicBezTo>
                <a:cubicBezTo>
                  <a:pt x="628" y="558"/>
                  <a:pt x="630" y="559"/>
                  <a:pt x="629" y="555"/>
                </a:cubicBezTo>
                <a:cubicBezTo>
                  <a:pt x="631" y="560"/>
                  <a:pt x="631" y="555"/>
                  <a:pt x="632" y="554"/>
                </a:cubicBezTo>
                <a:cubicBezTo>
                  <a:pt x="632" y="555"/>
                  <a:pt x="638" y="557"/>
                  <a:pt x="639" y="557"/>
                </a:cubicBezTo>
                <a:cubicBezTo>
                  <a:pt x="640" y="557"/>
                  <a:pt x="641" y="560"/>
                  <a:pt x="643" y="561"/>
                </a:cubicBezTo>
                <a:cubicBezTo>
                  <a:pt x="643" y="560"/>
                  <a:pt x="643" y="560"/>
                  <a:pt x="642" y="560"/>
                </a:cubicBezTo>
                <a:cubicBezTo>
                  <a:pt x="643" y="560"/>
                  <a:pt x="644" y="560"/>
                  <a:pt x="644" y="561"/>
                </a:cubicBezTo>
                <a:cubicBezTo>
                  <a:pt x="644" y="561"/>
                  <a:pt x="644" y="561"/>
                  <a:pt x="645" y="561"/>
                </a:cubicBezTo>
                <a:cubicBezTo>
                  <a:pt x="644" y="561"/>
                  <a:pt x="644" y="561"/>
                  <a:pt x="644" y="560"/>
                </a:cubicBezTo>
                <a:cubicBezTo>
                  <a:pt x="644" y="560"/>
                  <a:pt x="644" y="560"/>
                  <a:pt x="644" y="559"/>
                </a:cubicBezTo>
                <a:cubicBezTo>
                  <a:pt x="644" y="559"/>
                  <a:pt x="644" y="559"/>
                  <a:pt x="644" y="559"/>
                </a:cubicBezTo>
                <a:cubicBezTo>
                  <a:pt x="644" y="559"/>
                  <a:pt x="644" y="559"/>
                  <a:pt x="644" y="559"/>
                </a:cubicBezTo>
                <a:cubicBezTo>
                  <a:pt x="644" y="557"/>
                  <a:pt x="646" y="551"/>
                  <a:pt x="647" y="548"/>
                </a:cubicBezTo>
                <a:cubicBezTo>
                  <a:pt x="646" y="547"/>
                  <a:pt x="646" y="547"/>
                  <a:pt x="646" y="546"/>
                </a:cubicBezTo>
                <a:cubicBezTo>
                  <a:pt x="646" y="545"/>
                  <a:pt x="647" y="546"/>
                  <a:pt x="648" y="546"/>
                </a:cubicBezTo>
                <a:cubicBezTo>
                  <a:pt x="648" y="546"/>
                  <a:pt x="649" y="545"/>
                  <a:pt x="649" y="546"/>
                </a:cubicBezTo>
                <a:cubicBezTo>
                  <a:pt x="650" y="546"/>
                  <a:pt x="650" y="547"/>
                  <a:pt x="650" y="549"/>
                </a:cubicBezTo>
                <a:cubicBezTo>
                  <a:pt x="650" y="548"/>
                  <a:pt x="651" y="548"/>
                  <a:pt x="651" y="548"/>
                </a:cubicBezTo>
                <a:cubicBezTo>
                  <a:pt x="652" y="548"/>
                  <a:pt x="653" y="550"/>
                  <a:pt x="653" y="551"/>
                </a:cubicBezTo>
                <a:cubicBezTo>
                  <a:pt x="654" y="551"/>
                  <a:pt x="655" y="551"/>
                  <a:pt x="655" y="552"/>
                </a:cubicBezTo>
                <a:cubicBezTo>
                  <a:pt x="656" y="553"/>
                  <a:pt x="655" y="554"/>
                  <a:pt x="655" y="555"/>
                </a:cubicBezTo>
                <a:cubicBezTo>
                  <a:pt x="655" y="555"/>
                  <a:pt x="656" y="554"/>
                  <a:pt x="656" y="552"/>
                </a:cubicBezTo>
                <a:cubicBezTo>
                  <a:pt x="656" y="551"/>
                  <a:pt x="654" y="549"/>
                  <a:pt x="654" y="548"/>
                </a:cubicBezTo>
                <a:cubicBezTo>
                  <a:pt x="654" y="548"/>
                  <a:pt x="653" y="548"/>
                  <a:pt x="653" y="548"/>
                </a:cubicBezTo>
                <a:cubicBezTo>
                  <a:pt x="654" y="544"/>
                  <a:pt x="661" y="548"/>
                  <a:pt x="659" y="550"/>
                </a:cubicBezTo>
                <a:cubicBezTo>
                  <a:pt x="659" y="550"/>
                  <a:pt x="657" y="550"/>
                  <a:pt x="657" y="550"/>
                </a:cubicBezTo>
                <a:cubicBezTo>
                  <a:pt x="657" y="551"/>
                  <a:pt x="659" y="555"/>
                  <a:pt x="659" y="557"/>
                </a:cubicBezTo>
                <a:cubicBezTo>
                  <a:pt x="659" y="558"/>
                  <a:pt x="659" y="559"/>
                  <a:pt x="659" y="559"/>
                </a:cubicBezTo>
                <a:cubicBezTo>
                  <a:pt x="660" y="560"/>
                  <a:pt x="662" y="559"/>
                  <a:pt x="663" y="560"/>
                </a:cubicBezTo>
                <a:cubicBezTo>
                  <a:pt x="663" y="560"/>
                  <a:pt x="663" y="561"/>
                  <a:pt x="663" y="561"/>
                </a:cubicBezTo>
                <a:cubicBezTo>
                  <a:pt x="664" y="562"/>
                  <a:pt x="666" y="564"/>
                  <a:pt x="666" y="564"/>
                </a:cubicBezTo>
                <a:cubicBezTo>
                  <a:pt x="667" y="564"/>
                  <a:pt x="667" y="562"/>
                  <a:pt x="666" y="562"/>
                </a:cubicBezTo>
                <a:cubicBezTo>
                  <a:pt x="666" y="562"/>
                  <a:pt x="669" y="561"/>
                  <a:pt x="669" y="563"/>
                </a:cubicBezTo>
                <a:cubicBezTo>
                  <a:pt x="669" y="563"/>
                  <a:pt x="669" y="563"/>
                  <a:pt x="669" y="564"/>
                </a:cubicBezTo>
                <a:cubicBezTo>
                  <a:pt x="670" y="563"/>
                  <a:pt x="670" y="563"/>
                  <a:pt x="671" y="563"/>
                </a:cubicBezTo>
                <a:cubicBezTo>
                  <a:pt x="670" y="562"/>
                  <a:pt x="669" y="562"/>
                  <a:pt x="669" y="561"/>
                </a:cubicBezTo>
                <a:cubicBezTo>
                  <a:pt x="669" y="561"/>
                  <a:pt x="669" y="562"/>
                  <a:pt x="668" y="562"/>
                </a:cubicBezTo>
                <a:cubicBezTo>
                  <a:pt x="668" y="562"/>
                  <a:pt x="667" y="562"/>
                  <a:pt x="667" y="561"/>
                </a:cubicBezTo>
                <a:cubicBezTo>
                  <a:pt x="667" y="561"/>
                  <a:pt x="666" y="560"/>
                  <a:pt x="667" y="559"/>
                </a:cubicBezTo>
                <a:cubicBezTo>
                  <a:pt x="668" y="559"/>
                  <a:pt x="668" y="560"/>
                  <a:pt x="668" y="560"/>
                </a:cubicBezTo>
                <a:cubicBezTo>
                  <a:pt x="668" y="560"/>
                  <a:pt x="668" y="560"/>
                  <a:pt x="668" y="560"/>
                </a:cubicBezTo>
                <a:cubicBezTo>
                  <a:pt x="668" y="560"/>
                  <a:pt x="668" y="560"/>
                  <a:pt x="668" y="560"/>
                </a:cubicBezTo>
                <a:cubicBezTo>
                  <a:pt x="668" y="560"/>
                  <a:pt x="669" y="560"/>
                  <a:pt x="669" y="560"/>
                </a:cubicBezTo>
                <a:cubicBezTo>
                  <a:pt x="668" y="559"/>
                  <a:pt x="669" y="558"/>
                  <a:pt x="671" y="557"/>
                </a:cubicBezTo>
                <a:cubicBezTo>
                  <a:pt x="672" y="557"/>
                  <a:pt x="673" y="558"/>
                  <a:pt x="674" y="559"/>
                </a:cubicBezTo>
                <a:cubicBezTo>
                  <a:pt x="673" y="559"/>
                  <a:pt x="673" y="559"/>
                  <a:pt x="674" y="559"/>
                </a:cubicBezTo>
                <a:cubicBezTo>
                  <a:pt x="674" y="557"/>
                  <a:pt x="674" y="559"/>
                  <a:pt x="675" y="559"/>
                </a:cubicBezTo>
                <a:cubicBezTo>
                  <a:pt x="675" y="558"/>
                  <a:pt x="675" y="558"/>
                  <a:pt x="675" y="557"/>
                </a:cubicBezTo>
                <a:cubicBezTo>
                  <a:pt x="675" y="557"/>
                  <a:pt x="675" y="557"/>
                  <a:pt x="675" y="557"/>
                </a:cubicBezTo>
                <a:cubicBezTo>
                  <a:pt x="675" y="557"/>
                  <a:pt x="675" y="556"/>
                  <a:pt x="675" y="556"/>
                </a:cubicBezTo>
                <a:cubicBezTo>
                  <a:pt x="677" y="554"/>
                  <a:pt x="678" y="556"/>
                  <a:pt x="679" y="557"/>
                </a:cubicBezTo>
                <a:cubicBezTo>
                  <a:pt x="679" y="553"/>
                  <a:pt x="679" y="553"/>
                  <a:pt x="679" y="553"/>
                </a:cubicBezTo>
                <a:cubicBezTo>
                  <a:pt x="679" y="553"/>
                  <a:pt x="678" y="553"/>
                  <a:pt x="677" y="552"/>
                </a:cubicBezTo>
                <a:cubicBezTo>
                  <a:pt x="673" y="549"/>
                  <a:pt x="676" y="544"/>
                  <a:pt x="679" y="544"/>
                </a:cubicBezTo>
                <a:cubicBezTo>
                  <a:pt x="679" y="543"/>
                  <a:pt x="679" y="543"/>
                  <a:pt x="679" y="543"/>
                </a:cubicBezTo>
                <a:cubicBezTo>
                  <a:pt x="679" y="543"/>
                  <a:pt x="679" y="542"/>
                  <a:pt x="679" y="542"/>
                </a:cubicBezTo>
                <a:cubicBezTo>
                  <a:pt x="679" y="542"/>
                  <a:pt x="679" y="543"/>
                  <a:pt x="679" y="543"/>
                </a:cubicBezTo>
                <a:cubicBezTo>
                  <a:pt x="679" y="511"/>
                  <a:pt x="679" y="511"/>
                  <a:pt x="679" y="511"/>
                </a:cubicBezTo>
                <a:cubicBezTo>
                  <a:pt x="678" y="509"/>
                  <a:pt x="677" y="507"/>
                  <a:pt x="677" y="506"/>
                </a:cubicBezTo>
                <a:cubicBezTo>
                  <a:pt x="678" y="507"/>
                  <a:pt x="679" y="508"/>
                  <a:pt x="679" y="509"/>
                </a:cubicBezTo>
                <a:cubicBezTo>
                  <a:pt x="679" y="508"/>
                  <a:pt x="679" y="508"/>
                  <a:pt x="679" y="508"/>
                </a:cubicBezTo>
                <a:cubicBezTo>
                  <a:pt x="679" y="507"/>
                  <a:pt x="678" y="507"/>
                  <a:pt x="679" y="507"/>
                </a:cubicBezTo>
                <a:cubicBezTo>
                  <a:pt x="679" y="423"/>
                  <a:pt x="679" y="423"/>
                  <a:pt x="679" y="423"/>
                </a:cubicBezTo>
                <a:cubicBezTo>
                  <a:pt x="679" y="423"/>
                  <a:pt x="679" y="422"/>
                  <a:pt x="679" y="422"/>
                </a:cubicBezTo>
                <a:cubicBezTo>
                  <a:pt x="679" y="422"/>
                  <a:pt x="679" y="422"/>
                  <a:pt x="679" y="422"/>
                </a:cubicBezTo>
                <a:cubicBezTo>
                  <a:pt x="679" y="196"/>
                  <a:pt x="679" y="196"/>
                  <a:pt x="679" y="196"/>
                </a:cubicBezTo>
                <a:cubicBezTo>
                  <a:pt x="521" y="105"/>
                  <a:pt x="521" y="105"/>
                  <a:pt x="521" y="105"/>
                </a:cubicBezTo>
                <a:cubicBezTo>
                  <a:pt x="520" y="105"/>
                  <a:pt x="517" y="104"/>
                  <a:pt x="516" y="103"/>
                </a:cubicBezTo>
                <a:cubicBezTo>
                  <a:pt x="516" y="103"/>
                  <a:pt x="517" y="102"/>
                  <a:pt x="517" y="102"/>
                </a:cubicBezTo>
                <a:cubicBezTo>
                  <a:pt x="340" y="0"/>
                  <a:pt x="340" y="0"/>
                  <a:pt x="340" y="0"/>
                </a:cubicBezTo>
                <a:cubicBezTo>
                  <a:pt x="329" y="7"/>
                  <a:pt x="329" y="7"/>
                  <a:pt x="329" y="7"/>
                </a:cubicBezTo>
                <a:cubicBezTo>
                  <a:pt x="330" y="7"/>
                  <a:pt x="330" y="7"/>
                  <a:pt x="328" y="7"/>
                </a:cubicBezTo>
                <a:cubicBezTo>
                  <a:pt x="315" y="15"/>
                  <a:pt x="315" y="15"/>
                  <a:pt x="315" y="15"/>
                </a:cubicBezTo>
                <a:cubicBezTo>
                  <a:pt x="315" y="15"/>
                  <a:pt x="315" y="15"/>
                  <a:pt x="315" y="15"/>
                </a:cubicBezTo>
                <a:cubicBezTo>
                  <a:pt x="315" y="15"/>
                  <a:pt x="314" y="15"/>
                  <a:pt x="314" y="15"/>
                </a:cubicBezTo>
                <a:cubicBezTo>
                  <a:pt x="298" y="25"/>
                  <a:pt x="298" y="25"/>
                  <a:pt x="298" y="25"/>
                </a:cubicBezTo>
                <a:cubicBezTo>
                  <a:pt x="299" y="24"/>
                  <a:pt x="301" y="24"/>
                  <a:pt x="301" y="25"/>
                </a:cubicBezTo>
                <a:cubicBezTo>
                  <a:pt x="302" y="27"/>
                  <a:pt x="300" y="27"/>
                  <a:pt x="301" y="28"/>
                </a:cubicBezTo>
                <a:cubicBezTo>
                  <a:pt x="301" y="30"/>
                  <a:pt x="303" y="30"/>
                  <a:pt x="306" y="31"/>
                </a:cubicBezTo>
                <a:cubicBezTo>
                  <a:pt x="305" y="30"/>
                  <a:pt x="305" y="30"/>
                  <a:pt x="305" y="30"/>
                </a:cubicBezTo>
                <a:cubicBezTo>
                  <a:pt x="306" y="30"/>
                  <a:pt x="306" y="30"/>
                  <a:pt x="306" y="31"/>
                </a:cubicBezTo>
                <a:cubicBezTo>
                  <a:pt x="308" y="31"/>
                  <a:pt x="310" y="31"/>
                  <a:pt x="311" y="32"/>
                </a:cubicBezTo>
                <a:cubicBezTo>
                  <a:pt x="314" y="34"/>
                  <a:pt x="318" y="34"/>
                  <a:pt x="318" y="34"/>
                </a:cubicBezTo>
                <a:cubicBezTo>
                  <a:pt x="318" y="35"/>
                  <a:pt x="316" y="37"/>
                  <a:pt x="317" y="39"/>
                </a:cubicBezTo>
                <a:cubicBezTo>
                  <a:pt x="317" y="41"/>
                  <a:pt x="319" y="40"/>
                  <a:pt x="317" y="41"/>
                </a:cubicBezTo>
                <a:cubicBezTo>
                  <a:pt x="315" y="42"/>
                  <a:pt x="318" y="42"/>
                  <a:pt x="315" y="42"/>
                </a:cubicBezTo>
                <a:cubicBezTo>
                  <a:pt x="313" y="42"/>
                  <a:pt x="307" y="41"/>
                  <a:pt x="309" y="37"/>
                </a:cubicBezTo>
                <a:cubicBezTo>
                  <a:pt x="309" y="36"/>
                  <a:pt x="311" y="35"/>
                  <a:pt x="309" y="34"/>
                </a:cubicBezTo>
                <a:cubicBezTo>
                  <a:pt x="308" y="34"/>
                  <a:pt x="306" y="35"/>
                  <a:pt x="305" y="34"/>
                </a:cubicBezTo>
                <a:cubicBezTo>
                  <a:pt x="302" y="33"/>
                  <a:pt x="298" y="30"/>
                  <a:pt x="295" y="29"/>
                </a:cubicBezTo>
                <a:cubicBezTo>
                  <a:pt x="293" y="29"/>
                  <a:pt x="292" y="29"/>
                  <a:pt x="290" y="29"/>
                </a:cubicBezTo>
                <a:cubicBezTo>
                  <a:pt x="280" y="35"/>
                  <a:pt x="280" y="35"/>
                  <a:pt x="280" y="35"/>
                </a:cubicBezTo>
                <a:cubicBezTo>
                  <a:pt x="284" y="37"/>
                  <a:pt x="288" y="43"/>
                  <a:pt x="285" y="47"/>
                </a:cubicBezTo>
                <a:cubicBezTo>
                  <a:pt x="286" y="47"/>
                  <a:pt x="285" y="47"/>
                  <a:pt x="285" y="47"/>
                </a:cubicBezTo>
                <a:cubicBezTo>
                  <a:pt x="285" y="47"/>
                  <a:pt x="285" y="47"/>
                  <a:pt x="285" y="47"/>
                </a:cubicBezTo>
                <a:cubicBezTo>
                  <a:pt x="286" y="48"/>
                  <a:pt x="285" y="47"/>
                  <a:pt x="285" y="47"/>
                </a:cubicBezTo>
                <a:cubicBezTo>
                  <a:pt x="285" y="47"/>
                  <a:pt x="285" y="48"/>
                  <a:pt x="284" y="48"/>
                </a:cubicBezTo>
                <a:cubicBezTo>
                  <a:pt x="285" y="49"/>
                  <a:pt x="286" y="50"/>
                  <a:pt x="286" y="49"/>
                </a:cubicBezTo>
                <a:cubicBezTo>
                  <a:pt x="285" y="51"/>
                  <a:pt x="288" y="52"/>
                  <a:pt x="289" y="53"/>
                </a:cubicBezTo>
                <a:cubicBezTo>
                  <a:pt x="290" y="54"/>
                  <a:pt x="288" y="56"/>
                  <a:pt x="290" y="56"/>
                </a:cubicBezTo>
                <a:cubicBezTo>
                  <a:pt x="285" y="57"/>
                  <a:pt x="295" y="64"/>
                  <a:pt x="296" y="64"/>
                </a:cubicBezTo>
                <a:cubicBezTo>
                  <a:pt x="296" y="64"/>
                  <a:pt x="296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7"/>
                  <a:pt x="295" y="57"/>
                </a:cubicBezTo>
                <a:cubicBezTo>
                  <a:pt x="295" y="57"/>
                  <a:pt x="294" y="56"/>
                  <a:pt x="294" y="56"/>
                </a:cubicBezTo>
                <a:cubicBezTo>
                  <a:pt x="296" y="54"/>
                  <a:pt x="296" y="57"/>
                  <a:pt x="297" y="57"/>
                </a:cubicBezTo>
                <a:cubicBezTo>
                  <a:pt x="297" y="57"/>
                  <a:pt x="297" y="57"/>
                  <a:pt x="297" y="57"/>
                </a:cubicBezTo>
                <a:cubicBezTo>
                  <a:pt x="297" y="56"/>
                  <a:pt x="298" y="55"/>
                  <a:pt x="299" y="55"/>
                </a:cubicBezTo>
                <a:cubicBezTo>
                  <a:pt x="299" y="55"/>
                  <a:pt x="299" y="55"/>
                  <a:pt x="299" y="55"/>
                </a:cubicBezTo>
                <a:cubicBezTo>
                  <a:pt x="300" y="55"/>
                  <a:pt x="301" y="54"/>
                  <a:pt x="302" y="54"/>
                </a:cubicBezTo>
                <a:cubicBezTo>
                  <a:pt x="302" y="54"/>
                  <a:pt x="305" y="57"/>
                  <a:pt x="306" y="57"/>
                </a:cubicBezTo>
                <a:cubicBezTo>
                  <a:pt x="306" y="58"/>
                  <a:pt x="312" y="59"/>
                  <a:pt x="311" y="60"/>
                </a:cubicBezTo>
                <a:cubicBezTo>
                  <a:pt x="311" y="62"/>
                  <a:pt x="309" y="60"/>
                  <a:pt x="308" y="61"/>
                </a:cubicBezTo>
                <a:cubicBezTo>
                  <a:pt x="307" y="61"/>
                  <a:pt x="309" y="63"/>
                  <a:pt x="309" y="64"/>
                </a:cubicBezTo>
                <a:cubicBezTo>
                  <a:pt x="308" y="65"/>
                  <a:pt x="307" y="65"/>
                  <a:pt x="306" y="66"/>
                </a:cubicBezTo>
                <a:cubicBezTo>
                  <a:pt x="306" y="65"/>
                  <a:pt x="308" y="68"/>
                  <a:pt x="306" y="69"/>
                </a:cubicBezTo>
                <a:cubicBezTo>
                  <a:pt x="304" y="70"/>
                  <a:pt x="305" y="67"/>
                  <a:pt x="304" y="67"/>
                </a:cubicBezTo>
                <a:cubicBezTo>
                  <a:pt x="303" y="66"/>
                  <a:pt x="303" y="68"/>
                  <a:pt x="302" y="68"/>
                </a:cubicBezTo>
                <a:cubicBezTo>
                  <a:pt x="301" y="68"/>
                  <a:pt x="301" y="66"/>
                  <a:pt x="299" y="66"/>
                </a:cubicBezTo>
                <a:cubicBezTo>
                  <a:pt x="298" y="66"/>
                  <a:pt x="298" y="67"/>
                  <a:pt x="297" y="67"/>
                </a:cubicBezTo>
                <a:cubicBezTo>
                  <a:pt x="294" y="65"/>
                  <a:pt x="291" y="60"/>
                  <a:pt x="286" y="62"/>
                </a:cubicBezTo>
                <a:cubicBezTo>
                  <a:pt x="285" y="62"/>
                  <a:pt x="286" y="63"/>
                  <a:pt x="287" y="64"/>
                </a:cubicBezTo>
                <a:cubicBezTo>
                  <a:pt x="283" y="64"/>
                  <a:pt x="275" y="63"/>
                  <a:pt x="273" y="57"/>
                </a:cubicBezTo>
                <a:cubicBezTo>
                  <a:pt x="273" y="57"/>
                  <a:pt x="273" y="54"/>
                  <a:pt x="273" y="53"/>
                </a:cubicBezTo>
                <a:cubicBezTo>
                  <a:pt x="273" y="53"/>
                  <a:pt x="274" y="52"/>
                  <a:pt x="275" y="51"/>
                </a:cubicBezTo>
                <a:cubicBezTo>
                  <a:pt x="275" y="51"/>
                  <a:pt x="275" y="50"/>
                  <a:pt x="276" y="50"/>
                </a:cubicBezTo>
                <a:cubicBezTo>
                  <a:pt x="276" y="50"/>
                  <a:pt x="276" y="50"/>
                  <a:pt x="276" y="50"/>
                </a:cubicBezTo>
                <a:cubicBezTo>
                  <a:pt x="276" y="50"/>
                  <a:pt x="276" y="49"/>
                  <a:pt x="277" y="49"/>
                </a:cubicBezTo>
                <a:cubicBezTo>
                  <a:pt x="275" y="48"/>
                  <a:pt x="274" y="46"/>
                  <a:pt x="273" y="45"/>
                </a:cubicBezTo>
                <a:cubicBezTo>
                  <a:pt x="271" y="47"/>
                  <a:pt x="273" y="48"/>
                  <a:pt x="273" y="49"/>
                </a:cubicBezTo>
                <a:cubicBezTo>
                  <a:pt x="273" y="49"/>
                  <a:pt x="272" y="48"/>
                  <a:pt x="272" y="48"/>
                </a:cubicBezTo>
                <a:cubicBezTo>
                  <a:pt x="272" y="49"/>
                  <a:pt x="272" y="50"/>
                  <a:pt x="271" y="51"/>
                </a:cubicBezTo>
                <a:cubicBezTo>
                  <a:pt x="270" y="51"/>
                  <a:pt x="270" y="50"/>
                  <a:pt x="270" y="50"/>
                </a:cubicBezTo>
                <a:cubicBezTo>
                  <a:pt x="268" y="49"/>
                  <a:pt x="270" y="51"/>
                  <a:pt x="267" y="50"/>
                </a:cubicBezTo>
                <a:cubicBezTo>
                  <a:pt x="266" y="49"/>
                  <a:pt x="266" y="46"/>
                  <a:pt x="265" y="45"/>
                </a:cubicBezTo>
                <a:cubicBezTo>
                  <a:pt x="265" y="45"/>
                  <a:pt x="264" y="45"/>
                  <a:pt x="264" y="45"/>
                </a:cubicBezTo>
                <a:cubicBezTo>
                  <a:pt x="264" y="46"/>
                  <a:pt x="263" y="47"/>
                  <a:pt x="263" y="47"/>
                </a:cubicBezTo>
                <a:cubicBezTo>
                  <a:pt x="263" y="47"/>
                  <a:pt x="261" y="45"/>
                  <a:pt x="260" y="47"/>
                </a:cubicBezTo>
                <a:cubicBezTo>
                  <a:pt x="259" y="47"/>
                  <a:pt x="260" y="48"/>
                  <a:pt x="260" y="48"/>
                </a:cubicBezTo>
                <a:cubicBezTo>
                  <a:pt x="259" y="48"/>
                  <a:pt x="255" y="50"/>
                  <a:pt x="256" y="50"/>
                </a:cubicBezTo>
                <a:cubicBezTo>
                  <a:pt x="255" y="50"/>
                  <a:pt x="255" y="49"/>
                  <a:pt x="255" y="49"/>
                </a:cubicBezTo>
                <a:cubicBezTo>
                  <a:pt x="245" y="55"/>
                  <a:pt x="245" y="55"/>
                  <a:pt x="245" y="55"/>
                </a:cubicBezTo>
                <a:cubicBezTo>
                  <a:pt x="246" y="56"/>
                  <a:pt x="246" y="57"/>
                  <a:pt x="247" y="58"/>
                </a:cubicBezTo>
                <a:cubicBezTo>
                  <a:pt x="245" y="59"/>
                  <a:pt x="243" y="58"/>
                  <a:pt x="241" y="57"/>
                </a:cubicBezTo>
                <a:cubicBezTo>
                  <a:pt x="227" y="66"/>
                  <a:pt x="227" y="66"/>
                  <a:pt x="227" y="66"/>
                </a:cubicBezTo>
                <a:cubicBezTo>
                  <a:pt x="227" y="66"/>
                  <a:pt x="227" y="66"/>
                  <a:pt x="227" y="66"/>
                </a:cubicBezTo>
                <a:cubicBezTo>
                  <a:pt x="227" y="66"/>
                  <a:pt x="227" y="66"/>
                  <a:pt x="227" y="66"/>
                </a:cubicBezTo>
                <a:cubicBezTo>
                  <a:pt x="228" y="65"/>
                  <a:pt x="228" y="66"/>
                  <a:pt x="228" y="66"/>
                </a:cubicBezTo>
                <a:cubicBezTo>
                  <a:pt x="229" y="68"/>
                  <a:pt x="230" y="69"/>
                  <a:pt x="232" y="70"/>
                </a:cubicBezTo>
                <a:cubicBezTo>
                  <a:pt x="229" y="69"/>
                  <a:pt x="231" y="72"/>
                  <a:pt x="230" y="73"/>
                </a:cubicBezTo>
                <a:cubicBezTo>
                  <a:pt x="230" y="73"/>
                  <a:pt x="230" y="73"/>
                  <a:pt x="230" y="73"/>
                </a:cubicBezTo>
                <a:cubicBezTo>
                  <a:pt x="230" y="73"/>
                  <a:pt x="230" y="73"/>
                  <a:pt x="230" y="73"/>
                </a:cubicBezTo>
                <a:cubicBezTo>
                  <a:pt x="231" y="73"/>
                  <a:pt x="231" y="72"/>
                  <a:pt x="231" y="72"/>
                </a:cubicBezTo>
                <a:cubicBezTo>
                  <a:pt x="232" y="70"/>
                  <a:pt x="236" y="71"/>
                  <a:pt x="237" y="71"/>
                </a:cubicBezTo>
                <a:cubicBezTo>
                  <a:pt x="238" y="72"/>
                  <a:pt x="237" y="72"/>
                  <a:pt x="237" y="73"/>
                </a:cubicBezTo>
                <a:cubicBezTo>
                  <a:pt x="237" y="74"/>
                  <a:pt x="241" y="76"/>
                  <a:pt x="240" y="79"/>
                </a:cubicBezTo>
                <a:cubicBezTo>
                  <a:pt x="239" y="78"/>
                  <a:pt x="239" y="76"/>
                  <a:pt x="238" y="76"/>
                </a:cubicBezTo>
                <a:cubicBezTo>
                  <a:pt x="237" y="76"/>
                  <a:pt x="237" y="77"/>
                  <a:pt x="237" y="78"/>
                </a:cubicBezTo>
                <a:cubicBezTo>
                  <a:pt x="236" y="79"/>
                  <a:pt x="231" y="77"/>
                  <a:pt x="230" y="74"/>
                </a:cubicBezTo>
                <a:cubicBezTo>
                  <a:pt x="229" y="74"/>
                  <a:pt x="229" y="74"/>
                  <a:pt x="228" y="74"/>
                </a:cubicBezTo>
                <a:cubicBezTo>
                  <a:pt x="227" y="74"/>
                  <a:pt x="227" y="74"/>
                  <a:pt x="227" y="75"/>
                </a:cubicBezTo>
                <a:cubicBezTo>
                  <a:pt x="229" y="76"/>
                  <a:pt x="230" y="78"/>
                  <a:pt x="232" y="79"/>
                </a:cubicBezTo>
                <a:cubicBezTo>
                  <a:pt x="233" y="79"/>
                  <a:pt x="234" y="79"/>
                  <a:pt x="235" y="79"/>
                </a:cubicBezTo>
                <a:cubicBezTo>
                  <a:pt x="236" y="79"/>
                  <a:pt x="236" y="80"/>
                  <a:pt x="237" y="80"/>
                </a:cubicBezTo>
                <a:cubicBezTo>
                  <a:pt x="239" y="80"/>
                  <a:pt x="237" y="78"/>
                  <a:pt x="239" y="79"/>
                </a:cubicBezTo>
                <a:cubicBezTo>
                  <a:pt x="240" y="79"/>
                  <a:pt x="240" y="80"/>
                  <a:pt x="240" y="81"/>
                </a:cubicBezTo>
                <a:cubicBezTo>
                  <a:pt x="240" y="82"/>
                  <a:pt x="237" y="81"/>
                  <a:pt x="236" y="82"/>
                </a:cubicBezTo>
                <a:cubicBezTo>
                  <a:pt x="236" y="82"/>
                  <a:pt x="236" y="84"/>
                  <a:pt x="236" y="85"/>
                </a:cubicBezTo>
                <a:cubicBezTo>
                  <a:pt x="235" y="87"/>
                  <a:pt x="233" y="86"/>
                  <a:pt x="236" y="89"/>
                </a:cubicBezTo>
                <a:cubicBezTo>
                  <a:pt x="232" y="86"/>
                  <a:pt x="234" y="91"/>
                  <a:pt x="234" y="92"/>
                </a:cubicBezTo>
                <a:cubicBezTo>
                  <a:pt x="234" y="91"/>
                  <a:pt x="227" y="93"/>
                  <a:pt x="227" y="93"/>
                </a:cubicBezTo>
                <a:cubicBezTo>
                  <a:pt x="226" y="93"/>
                  <a:pt x="223" y="92"/>
                  <a:pt x="221" y="92"/>
                </a:cubicBezTo>
                <a:cubicBezTo>
                  <a:pt x="221" y="92"/>
                  <a:pt x="222" y="92"/>
                  <a:pt x="222" y="92"/>
                </a:cubicBezTo>
                <a:cubicBezTo>
                  <a:pt x="221" y="93"/>
                  <a:pt x="221" y="92"/>
                  <a:pt x="220" y="92"/>
                </a:cubicBezTo>
                <a:cubicBezTo>
                  <a:pt x="220" y="92"/>
                  <a:pt x="220" y="92"/>
                  <a:pt x="220" y="92"/>
                </a:cubicBezTo>
                <a:cubicBezTo>
                  <a:pt x="220" y="92"/>
                  <a:pt x="220" y="92"/>
                  <a:pt x="221" y="93"/>
                </a:cubicBezTo>
                <a:cubicBezTo>
                  <a:pt x="221" y="93"/>
                  <a:pt x="221" y="93"/>
                  <a:pt x="221" y="93"/>
                </a:cubicBezTo>
                <a:cubicBezTo>
                  <a:pt x="221" y="93"/>
                  <a:pt x="221" y="93"/>
                  <a:pt x="221" y="93"/>
                </a:cubicBezTo>
                <a:cubicBezTo>
                  <a:pt x="221" y="93"/>
                  <a:pt x="221" y="93"/>
                  <a:pt x="221" y="93"/>
                </a:cubicBezTo>
                <a:cubicBezTo>
                  <a:pt x="223" y="96"/>
                  <a:pt x="224" y="101"/>
                  <a:pt x="224" y="105"/>
                </a:cubicBezTo>
                <a:cubicBezTo>
                  <a:pt x="225" y="105"/>
                  <a:pt x="226" y="105"/>
                  <a:pt x="226" y="106"/>
                </a:cubicBezTo>
                <a:cubicBezTo>
                  <a:pt x="226" y="107"/>
                  <a:pt x="225" y="107"/>
                  <a:pt x="224" y="107"/>
                </a:cubicBezTo>
                <a:cubicBezTo>
                  <a:pt x="224" y="107"/>
                  <a:pt x="224" y="108"/>
                  <a:pt x="224" y="108"/>
                </a:cubicBezTo>
                <a:cubicBezTo>
                  <a:pt x="223" y="108"/>
                  <a:pt x="222" y="107"/>
                  <a:pt x="221" y="106"/>
                </a:cubicBezTo>
                <a:cubicBezTo>
                  <a:pt x="221" y="106"/>
                  <a:pt x="221" y="107"/>
                  <a:pt x="221" y="107"/>
                </a:cubicBezTo>
                <a:cubicBezTo>
                  <a:pt x="219" y="107"/>
                  <a:pt x="218" y="106"/>
                  <a:pt x="218" y="105"/>
                </a:cubicBezTo>
                <a:cubicBezTo>
                  <a:pt x="217" y="106"/>
                  <a:pt x="216" y="106"/>
                  <a:pt x="215" y="105"/>
                </a:cubicBezTo>
                <a:cubicBezTo>
                  <a:pt x="214" y="105"/>
                  <a:pt x="214" y="104"/>
                  <a:pt x="214" y="103"/>
                </a:cubicBezTo>
                <a:cubicBezTo>
                  <a:pt x="214" y="103"/>
                  <a:pt x="213" y="104"/>
                  <a:pt x="214" y="105"/>
                </a:cubicBezTo>
                <a:cubicBezTo>
                  <a:pt x="215" y="106"/>
                  <a:pt x="218" y="108"/>
                  <a:pt x="218" y="108"/>
                </a:cubicBezTo>
                <a:cubicBezTo>
                  <a:pt x="218" y="108"/>
                  <a:pt x="219" y="108"/>
                  <a:pt x="219" y="108"/>
                </a:cubicBezTo>
                <a:cubicBezTo>
                  <a:pt x="220" y="111"/>
                  <a:pt x="212" y="112"/>
                  <a:pt x="213" y="109"/>
                </a:cubicBezTo>
                <a:cubicBezTo>
                  <a:pt x="213" y="109"/>
                  <a:pt x="214" y="108"/>
                  <a:pt x="214" y="108"/>
                </a:cubicBezTo>
                <a:cubicBezTo>
                  <a:pt x="214" y="107"/>
                  <a:pt x="210" y="104"/>
                  <a:pt x="209" y="103"/>
                </a:cubicBezTo>
                <a:cubicBezTo>
                  <a:pt x="209" y="102"/>
                  <a:pt x="208" y="102"/>
                  <a:pt x="208" y="101"/>
                </a:cubicBezTo>
                <a:cubicBezTo>
                  <a:pt x="207" y="101"/>
                  <a:pt x="206" y="103"/>
                  <a:pt x="205" y="103"/>
                </a:cubicBezTo>
                <a:cubicBezTo>
                  <a:pt x="204" y="103"/>
                  <a:pt x="204" y="102"/>
                  <a:pt x="203" y="101"/>
                </a:cubicBezTo>
                <a:cubicBezTo>
                  <a:pt x="203" y="101"/>
                  <a:pt x="200" y="100"/>
                  <a:pt x="199" y="101"/>
                </a:cubicBezTo>
                <a:cubicBezTo>
                  <a:pt x="199" y="101"/>
                  <a:pt x="200" y="103"/>
                  <a:pt x="200" y="102"/>
                </a:cubicBezTo>
                <a:cubicBezTo>
                  <a:pt x="200" y="102"/>
                  <a:pt x="199" y="104"/>
                  <a:pt x="197" y="103"/>
                </a:cubicBezTo>
                <a:cubicBezTo>
                  <a:pt x="197" y="103"/>
                  <a:pt x="197" y="103"/>
                  <a:pt x="197" y="103"/>
                </a:cubicBezTo>
                <a:cubicBezTo>
                  <a:pt x="197" y="103"/>
                  <a:pt x="197" y="103"/>
                  <a:pt x="196" y="104"/>
                </a:cubicBezTo>
                <a:cubicBezTo>
                  <a:pt x="197" y="104"/>
                  <a:pt x="198" y="104"/>
                  <a:pt x="199" y="105"/>
                </a:cubicBezTo>
                <a:cubicBezTo>
                  <a:pt x="198" y="104"/>
                  <a:pt x="198" y="104"/>
                  <a:pt x="199" y="104"/>
                </a:cubicBezTo>
                <a:cubicBezTo>
                  <a:pt x="199" y="103"/>
                  <a:pt x="200" y="103"/>
                  <a:pt x="200" y="104"/>
                </a:cubicBezTo>
                <a:cubicBezTo>
                  <a:pt x="201" y="104"/>
                  <a:pt x="202" y="104"/>
                  <a:pt x="201" y="105"/>
                </a:cubicBezTo>
                <a:cubicBezTo>
                  <a:pt x="201" y="106"/>
                  <a:pt x="200" y="105"/>
                  <a:pt x="200" y="105"/>
                </a:cubicBezTo>
                <a:cubicBezTo>
                  <a:pt x="200" y="105"/>
                  <a:pt x="200" y="105"/>
                  <a:pt x="200" y="105"/>
                </a:cubicBezTo>
                <a:cubicBezTo>
                  <a:pt x="200" y="105"/>
                  <a:pt x="200" y="105"/>
                  <a:pt x="200" y="105"/>
                </a:cubicBezTo>
                <a:cubicBezTo>
                  <a:pt x="200" y="105"/>
                  <a:pt x="199" y="105"/>
                  <a:pt x="199" y="105"/>
                </a:cubicBezTo>
                <a:cubicBezTo>
                  <a:pt x="200" y="106"/>
                  <a:pt x="201" y="107"/>
                  <a:pt x="199" y="109"/>
                </a:cubicBezTo>
                <a:cubicBezTo>
                  <a:pt x="198" y="110"/>
                  <a:pt x="197" y="109"/>
                  <a:pt x="196" y="108"/>
                </a:cubicBezTo>
                <a:cubicBezTo>
                  <a:pt x="196" y="109"/>
                  <a:pt x="196" y="109"/>
                  <a:pt x="196" y="109"/>
                </a:cubicBezTo>
                <a:cubicBezTo>
                  <a:pt x="196" y="111"/>
                  <a:pt x="195" y="109"/>
                  <a:pt x="195" y="110"/>
                </a:cubicBezTo>
                <a:cubicBezTo>
                  <a:pt x="194" y="110"/>
                  <a:pt x="195" y="110"/>
                  <a:pt x="195" y="111"/>
                </a:cubicBezTo>
                <a:cubicBezTo>
                  <a:pt x="196" y="111"/>
                  <a:pt x="196" y="111"/>
                  <a:pt x="195" y="111"/>
                </a:cubicBezTo>
                <a:cubicBezTo>
                  <a:pt x="196" y="111"/>
                  <a:pt x="196" y="112"/>
                  <a:pt x="196" y="112"/>
                </a:cubicBezTo>
                <a:cubicBezTo>
                  <a:pt x="195" y="115"/>
                  <a:pt x="191" y="113"/>
                  <a:pt x="189" y="114"/>
                </a:cubicBezTo>
                <a:cubicBezTo>
                  <a:pt x="190" y="115"/>
                  <a:pt x="190" y="117"/>
                  <a:pt x="190" y="117"/>
                </a:cubicBezTo>
                <a:cubicBezTo>
                  <a:pt x="191" y="118"/>
                  <a:pt x="192" y="118"/>
                  <a:pt x="193" y="118"/>
                </a:cubicBezTo>
                <a:cubicBezTo>
                  <a:pt x="194" y="117"/>
                  <a:pt x="195" y="116"/>
                  <a:pt x="197" y="116"/>
                </a:cubicBezTo>
                <a:cubicBezTo>
                  <a:pt x="201" y="117"/>
                  <a:pt x="201" y="123"/>
                  <a:pt x="198" y="125"/>
                </a:cubicBezTo>
                <a:cubicBezTo>
                  <a:pt x="198" y="125"/>
                  <a:pt x="198" y="126"/>
                  <a:pt x="200" y="126"/>
                </a:cubicBezTo>
                <a:cubicBezTo>
                  <a:pt x="199" y="126"/>
                  <a:pt x="199" y="126"/>
                  <a:pt x="198" y="126"/>
                </a:cubicBezTo>
                <a:cubicBezTo>
                  <a:pt x="200" y="127"/>
                  <a:pt x="201" y="130"/>
                  <a:pt x="200" y="132"/>
                </a:cubicBezTo>
                <a:cubicBezTo>
                  <a:pt x="201" y="133"/>
                  <a:pt x="202" y="134"/>
                  <a:pt x="201" y="135"/>
                </a:cubicBezTo>
                <a:cubicBezTo>
                  <a:pt x="201" y="135"/>
                  <a:pt x="200" y="134"/>
                  <a:pt x="200" y="133"/>
                </a:cubicBezTo>
                <a:cubicBezTo>
                  <a:pt x="200" y="133"/>
                  <a:pt x="200" y="133"/>
                  <a:pt x="199" y="133"/>
                </a:cubicBezTo>
                <a:cubicBezTo>
                  <a:pt x="199" y="134"/>
                  <a:pt x="198" y="134"/>
                  <a:pt x="197" y="134"/>
                </a:cubicBezTo>
                <a:cubicBezTo>
                  <a:pt x="196" y="136"/>
                  <a:pt x="196" y="138"/>
                  <a:pt x="193" y="136"/>
                </a:cubicBezTo>
                <a:cubicBezTo>
                  <a:pt x="191" y="136"/>
                  <a:pt x="190" y="137"/>
                  <a:pt x="189" y="137"/>
                </a:cubicBezTo>
                <a:cubicBezTo>
                  <a:pt x="189" y="137"/>
                  <a:pt x="188" y="136"/>
                  <a:pt x="187" y="136"/>
                </a:cubicBezTo>
                <a:cubicBezTo>
                  <a:pt x="189" y="138"/>
                  <a:pt x="191" y="139"/>
                  <a:pt x="193" y="141"/>
                </a:cubicBezTo>
                <a:cubicBezTo>
                  <a:pt x="195" y="138"/>
                  <a:pt x="197" y="136"/>
                  <a:pt x="199" y="140"/>
                </a:cubicBezTo>
                <a:cubicBezTo>
                  <a:pt x="200" y="140"/>
                  <a:pt x="200" y="141"/>
                  <a:pt x="200" y="142"/>
                </a:cubicBezTo>
                <a:cubicBezTo>
                  <a:pt x="200" y="140"/>
                  <a:pt x="205" y="140"/>
                  <a:pt x="203" y="143"/>
                </a:cubicBezTo>
                <a:cubicBezTo>
                  <a:pt x="203" y="144"/>
                  <a:pt x="202" y="143"/>
                  <a:pt x="201" y="143"/>
                </a:cubicBezTo>
                <a:cubicBezTo>
                  <a:pt x="201" y="143"/>
                  <a:pt x="201" y="142"/>
                  <a:pt x="200" y="142"/>
                </a:cubicBezTo>
                <a:cubicBezTo>
                  <a:pt x="201" y="144"/>
                  <a:pt x="202" y="147"/>
                  <a:pt x="203" y="147"/>
                </a:cubicBezTo>
                <a:cubicBezTo>
                  <a:pt x="205" y="149"/>
                  <a:pt x="205" y="148"/>
                  <a:pt x="204" y="150"/>
                </a:cubicBezTo>
                <a:cubicBezTo>
                  <a:pt x="204" y="151"/>
                  <a:pt x="203" y="152"/>
                  <a:pt x="204" y="153"/>
                </a:cubicBezTo>
                <a:cubicBezTo>
                  <a:pt x="204" y="153"/>
                  <a:pt x="209" y="155"/>
                  <a:pt x="206" y="156"/>
                </a:cubicBezTo>
                <a:cubicBezTo>
                  <a:pt x="205" y="156"/>
                  <a:pt x="205" y="155"/>
                  <a:pt x="204" y="155"/>
                </a:cubicBezTo>
                <a:cubicBezTo>
                  <a:pt x="203" y="156"/>
                  <a:pt x="204" y="159"/>
                  <a:pt x="204" y="160"/>
                </a:cubicBezTo>
                <a:cubicBezTo>
                  <a:pt x="203" y="160"/>
                  <a:pt x="200" y="156"/>
                  <a:pt x="199" y="159"/>
                </a:cubicBezTo>
                <a:cubicBezTo>
                  <a:pt x="198" y="160"/>
                  <a:pt x="198" y="160"/>
                  <a:pt x="198" y="160"/>
                </a:cubicBezTo>
                <a:cubicBezTo>
                  <a:pt x="198" y="160"/>
                  <a:pt x="198" y="160"/>
                  <a:pt x="198" y="160"/>
                </a:cubicBezTo>
                <a:cubicBezTo>
                  <a:pt x="196" y="159"/>
                  <a:pt x="196" y="159"/>
                  <a:pt x="195" y="160"/>
                </a:cubicBezTo>
                <a:cubicBezTo>
                  <a:pt x="196" y="161"/>
                  <a:pt x="196" y="162"/>
                  <a:pt x="195" y="163"/>
                </a:cubicBezTo>
                <a:cubicBezTo>
                  <a:pt x="194" y="163"/>
                  <a:pt x="194" y="162"/>
                  <a:pt x="193" y="162"/>
                </a:cubicBezTo>
                <a:cubicBezTo>
                  <a:pt x="193" y="161"/>
                  <a:pt x="193" y="161"/>
                  <a:pt x="193" y="161"/>
                </a:cubicBezTo>
                <a:cubicBezTo>
                  <a:pt x="192" y="162"/>
                  <a:pt x="192" y="163"/>
                  <a:pt x="192" y="164"/>
                </a:cubicBezTo>
                <a:cubicBezTo>
                  <a:pt x="191" y="165"/>
                  <a:pt x="189" y="163"/>
                  <a:pt x="188" y="163"/>
                </a:cubicBezTo>
                <a:cubicBezTo>
                  <a:pt x="185" y="165"/>
                  <a:pt x="189" y="167"/>
                  <a:pt x="189" y="170"/>
                </a:cubicBezTo>
                <a:cubicBezTo>
                  <a:pt x="189" y="170"/>
                  <a:pt x="187" y="172"/>
                  <a:pt x="189" y="173"/>
                </a:cubicBezTo>
                <a:cubicBezTo>
                  <a:pt x="190" y="174"/>
                  <a:pt x="192" y="172"/>
                  <a:pt x="194" y="176"/>
                </a:cubicBezTo>
                <a:cubicBezTo>
                  <a:pt x="194" y="177"/>
                  <a:pt x="197" y="182"/>
                  <a:pt x="195" y="183"/>
                </a:cubicBezTo>
                <a:cubicBezTo>
                  <a:pt x="194" y="183"/>
                  <a:pt x="194" y="181"/>
                  <a:pt x="194" y="181"/>
                </a:cubicBezTo>
                <a:cubicBezTo>
                  <a:pt x="193" y="180"/>
                  <a:pt x="190" y="182"/>
                  <a:pt x="190" y="182"/>
                </a:cubicBezTo>
                <a:cubicBezTo>
                  <a:pt x="189" y="181"/>
                  <a:pt x="189" y="179"/>
                  <a:pt x="188" y="179"/>
                </a:cubicBezTo>
                <a:cubicBezTo>
                  <a:pt x="188" y="179"/>
                  <a:pt x="188" y="179"/>
                  <a:pt x="187" y="180"/>
                </a:cubicBezTo>
                <a:cubicBezTo>
                  <a:pt x="187" y="180"/>
                  <a:pt x="187" y="179"/>
                  <a:pt x="186" y="179"/>
                </a:cubicBezTo>
                <a:cubicBezTo>
                  <a:pt x="185" y="179"/>
                  <a:pt x="184" y="180"/>
                  <a:pt x="183" y="178"/>
                </a:cubicBezTo>
                <a:cubicBezTo>
                  <a:pt x="182" y="179"/>
                  <a:pt x="182" y="179"/>
                  <a:pt x="182" y="179"/>
                </a:cubicBezTo>
                <a:cubicBezTo>
                  <a:pt x="182" y="179"/>
                  <a:pt x="182" y="179"/>
                  <a:pt x="182" y="179"/>
                </a:cubicBezTo>
                <a:cubicBezTo>
                  <a:pt x="182" y="180"/>
                  <a:pt x="181" y="180"/>
                  <a:pt x="180" y="178"/>
                </a:cubicBezTo>
                <a:cubicBezTo>
                  <a:pt x="179" y="178"/>
                  <a:pt x="179" y="178"/>
                  <a:pt x="179" y="178"/>
                </a:cubicBezTo>
                <a:cubicBezTo>
                  <a:pt x="179" y="178"/>
                  <a:pt x="179" y="179"/>
                  <a:pt x="179" y="179"/>
                </a:cubicBezTo>
                <a:cubicBezTo>
                  <a:pt x="179" y="180"/>
                  <a:pt x="179" y="181"/>
                  <a:pt x="179" y="181"/>
                </a:cubicBezTo>
                <a:cubicBezTo>
                  <a:pt x="179" y="182"/>
                  <a:pt x="179" y="182"/>
                  <a:pt x="178" y="182"/>
                </a:cubicBezTo>
                <a:cubicBezTo>
                  <a:pt x="178" y="182"/>
                  <a:pt x="177" y="182"/>
                  <a:pt x="177" y="181"/>
                </a:cubicBezTo>
                <a:cubicBezTo>
                  <a:pt x="176" y="181"/>
                  <a:pt x="175" y="181"/>
                  <a:pt x="175" y="182"/>
                </a:cubicBezTo>
                <a:cubicBezTo>
                  <a:pt x="174" y="181"/>
                  <a:pt x="175" y="178"/>
                  <a:pt x="173" y="176"/>
                </a:cubicBezTo>
                <a:cubicBezTo>
                  <a:pt x="174" y="177"/>
                  <a:pt x="176" y="176"/>
                  <a:pt x="174" y="174"/>
                </a:cubicBezTo>
                <a:cubicBezTo>
                  <a:pt x="173" y="173"/>
                  <a:pt x="173" y="175"/>
                  <a:pt x="173" y="175"/>
                </a:cubicBezTo>
                <a:cubicBezTo>
                  <a:pt x="173" y="175"/>
                  <a:pt x="172" y="174"/>
                  <a:pt x="171" y="174"/>
                </a:cubicBezTo>
                <a:cubicBezTo>
                  <a:pt x="171" y="175"/>
                  <a:pt x="171" y="175"/>
                  <a:pt x="171" y="175"/>
                </a:cubicBezTo>
                <a:cubicBezTo>
                  <a:pt x="172" y="177"/>
                  <a:pt x="173" y="179"/>
                  <a:pt x="172" y="181"/>
                </a:cubicBezTo>
                <a:cubicBezTo>
                  <a:pt x="172" y="181"/>
                  <a:pt x="172" y="181"/>
                  <a:pt x="173" y="181"/>
                </a:cubicBezTo>
                <a:cubicBezTo>
                  <a:pt x="173" y="181"/>
                  <a:pt x="173" y="180"/>
                  <a:pt x="173" y="180"/>
                </a:cubicBezTo>
                <a:cubicBezTo>
                  <a:pt x="174" y="181"/>
                  <a:pt x="173" y="181"/>
                  <a:pt x="172" y="181"/>
                </a:cubicBezTo>
                <a:cubicBezTo>
                  <a:pt x="172" y="182"/>
                  <a:pt x="171" y="182"/>
                  <a:pt x="170" y="182"/>
                </a:cubicBezTo>
                <a:cubicBezTo>
                  <a:pt x="168" y="182"/>
                  <a:pt x="167" y="180"/>
                  <a:pt x="166" y="177"/>
                </a:cubicBezTo>
                <a:cubicBezTo>
                  <a:pt x="166" y="177"/>
                  <a:pt x="165" y="178"/>
                  <a:pt x="164" y="178"/>
                </a:cubicBezTo>
                <a:cubicBezTo>
                  <a:pt x="162" y="177"/>
                  <a:pt x="161" y="174"/>
                  <a:pt x="160" y="175"/>
                </a:cubicBezTo>
                <a:cubicBezTo>
                  <a:pt x="160" y="173"/>
                  <a:pt x="159" y="171"/>
                  <a:pt x="160" y="170"/>
                </a:cubicBezTo>
                <a:cubicBezTo>
                  <a:pt x="161" y="167"/>
                  <a:pt x="162" y="168"/>
                  <a:pt x="160" y="164"/>
                </a:cubicBezTo>
                <a:cubicBezTo>
                  <a:pt x="160" y="164"/>
                  <a:pt x="160" y="163"/>
                  <a:pt x="160" y="162"/>
                </a:cubicBezTo>
                <a:cubicBezTo>
                  <a:pt x="159" y="159"/>
                  <a:pt x="159" y="160"/>
                  <a:pt x="156" y="161"/>
                </a:cubicBezTo>
                <a:cubicBezTo>
                  <a:pt x="158" y="159"/>
                  <a:pt x="156" y="160"/>
                  <a:pt x="155" y="162"/>
                </a:cubicBezTo>
                <a:cubicBezTo>
                  <a:pt x="155" y="162"/>
                  <a:pt x="156" y="162"/>
                  <a:pt x="156" y="162"/>
                </a:cubicBezTo>
                <a:cubicBezTo>
                  <a:pt x="156" y="162"/>
                  <a:pt x="155" y="162"/>
                  <a:pt x="155" y="162"/>
                </a:cubicBezTo>
                <a:cubicBezTo>
                  <a:pt x="155" y="163"/>
                  <a:pt x="155" y="163"/>
                  <a:pt x="155" y="163"/>
                </a:cubicBezTo>
                <a:cubicBezTo>
                  <a:pt x="155" y="163"/>
                  <a:pt x="158" y="164"/>
                  <a:pt x="156" y="165"/>
                </a:cubicBezTo>
                <a:cubicBezTo>
                  <a:pt x="156" y="166"/>
                  <a:pt x="152" y="162"/>
                  <a:pt x="152" y="166"/>
                </a:cubicBezTo>
                <a:cubicBezTo>
                  <a:pt x="150" y="160"/>
                  <a:pt x="148" y="168"/>
                  <a:pt x="147" y="171"/>
                </a:cubicBezTo>
                <a:cubicBezTo>
                  <a:pt x="146" y="172"/>
                  <a:pt x="144" y="172"/>
                  <a:pt x="143" y="173"/>
                </a:cubicBezTo>
                <a:cubicBezTo>
                  <a:pt x="142" y="174"/>
                  <a:pt x="142" y="174"/>
                  <a:pt x="141" y="174"/>
                </a:cubicBezTo>
                <a:cubicBezTo>
                  <a:pt x="141" y="174"/>
                  <a:pt x="141" y="174"/>
                  <a:pt x="141" y="174"/>
                </a:cubicBezTo>
                <a:cubicBezTo>
                  <a:pt x="140" y="175"/>
                  <a:pt x="140" y="175"/>
                  <a:pt x="139" y="176"/>
                </a:cubicBezTo>
                <a:cubicBezTo>
                  <a:pt x="140" y="176"/>
                  <a:pt x="140" y="177"/>
                  <a:pt x="139" y="177"/>
                </a:cubicBezTo>
                <a:cubicBezTo>
                  <a:pt x="140" y="177"/>
                  <a:pt x="140" y="177"/>
                  <a:pt x="140" y="178"/>
                </a:cubicBezTo>
                <a:cubicBezTo>
                  <a:pt x="141" y="178"/>
                  <a:pt x="142" y="179"/>
                  <a:pt x="142" y="181"/>
                </a:cubicBezTo>
                <a:cubicBezTo>
                  <a:pt x="143" y="182"/>
                  <a:pt x="142" y="183"/>
                  <a:pt x="141" y="183"/>
                </a:cubicBezTo>
                <a:cubicBezTo>
                  <a:pt x="141" y="184"/>
                  <a:pt x="142" y="185"/>
                  <a:pt x="142" y="186"/>
                </a:cubicBezTo>
                <a:cubicBezTo>
                  <a:pt x="141" y="187"/>
                  <a:pt x="141" y="185"/>
                  <a:pt x="140" y="184"/>
                </a:cubicBezTo>
                <a:cubicBezTo>
                  <a:pt x="139" y="184"/>
                  <a:pt x="138" y="184"/>
                  <a:pt x="138" y="183"/>
                </a:cubicBezTo>
                <a:cubicBezTo>
                  <a:pt x="138" y="184"/>
                  <a:pt x="138" y="187"/>
                  <a:pt x="138" y="187"/>
                </a:cubicBezTo>
                <a:cubicBezTo>
                  <a:pt x="138" y="187"/>
                  <a:pt x="138" y="187"/>
                  <a:pt x="138" y="188"/>
                </a:cubicBezTo>
                <a:cubicBezTo>
                  <a:pt x="139" y="186"/>
                  <a:pt x="139" y="185"/>
                  <a:pt x="139" y="185"/>
                </a:cubicBezTo>
                <a:cubicBezTo>
                  <a:pt x="139" y="186"/>
                  <a:pt x="139" y="187"/>
                  <a:pt x="139" y="189"/>
                </a:cubicBezTo>
                <a:cubicBezTo>
                  <a:pt x="140" y="189"/>
                  <a:pt x="140" y="189"/>
                  <a:pt x="140" y="189"/>
                </a:cubicBezTo>
                <a:cubicBezTo>
                  <a:pt x="140" y="188"/>
                  <a:pt x="142" y="189"/>
                  <a:pt x="142" y="191"/>
                </a:cubicBezTo>
                <a:cubicBezTo>
                  <a:pt x="143" y="191"/>
                  <a:pt x="143" y="192"/>
                  <a:pt x="142" y="193"/>
                </a:cubicBezTo>
                <a:cubicBezTo>
                  <a:pt x="142" y="193"/>
                  <a:pt x="141" y="192"/>
                  <a:pt x="141" y="192"/>
                </a:cubicBezTo>
                <a:cubicBezTo>
                  <a:pt x="140" y="192"/>
                  <a:pt x="139" y="193"/>
                  <a:pt x="140" y="192"/>
                </a:cubicBezTo>
                <a:cubicBezTo>
                  <a:pt x="140" y="192"/>
                  <a:pt x="140" y="191"/>
                  <a:pt x="140" y="191"/>
                </a:cubicBezTo>
                <a:cubicBezTo>
                  <a:pt x="140" y="191"/>
                  <a:pt x="140" y="191"/>
                  <a:pt x="140" y="191"/>
                </a:cubicBezTo>
                <a:cubicBezTo>
                  <a:pt x="140" y="191"/>
                  <a:pt x="140" y="190"/>
                  <a:pt x="139" y="190"/>
                </a:cubicBezTo>
                <a:cubicBezTo>
                  <a:pt x="139" y="191"/>
                  <a:pt x="139" y="192"/>
                  <a:pt x="138" y="192"/>
                </a:cubicBezTo>
                <a:cubicBezTo>
                  <a:pt x="138" y="192"/>
                  <a:pt x="138" y="191"/>
                  <a:pt x="138" y="190"/>
                </a:cubicBezTo>
                <a:cubicBezTo>
                  <a:pt x="138" y="190"/>
                  <a:pt x="137" y="190"/>
                  <a:pt x="137" y="191"/>
                </a:cubicBezTo>
                <a:cubicBezTo>
                  <a:pt x="137" y="192"/>
                  <a:pt x="138" y="192"/>
                  <a:pt x="138" y="193"/>
                </a:cubicBezTo>
                <a:cubicBezTo>
                  <a:pt x="138" y="194"/>
                  <a:pt x="134" y="195"/>
                  <a:pt x="137" y="197"/>
                </a:cubicBezTo>
                <a:cubicBezTo>
                  <a:pt x="137" y="197"/>
                  <a:pt x="138" y="196"/>
                  <a:pt x="138" y="196"/>
                </a:cubicBezTo>
                <a:cubicBezTo>
                  <a:pt x="138" y="196"/>
                  <a:pt x="138" y="196"/>
                  <a:pt x="138" y="196"/>
                </a:cubicBezTo>
                <a:cubicBezTo>
                  <a:pt x="138" y="196"/>
                  <a:pt x="138" y="195"/>
                  <a:pt x="138" y="195"/>
                </a:cubicBezTo>
                <a:cubicBezTo>
                  <a:pt x="139" y="194"/>
                  <a:pt x="140" y="195"/>
                  <a:pt x="139" y="196"/>
                </a:cubicBezTo>
                <a:cubicBezTo>
                  <a:pt x="139" y="196"/>
                  <a:pt x="139" y="196"/>
                  <a:pt x="139" y="196"/>
                </a:cubicBezTo>
                <a:cubicBezTo>
                  <a:pt x="140" y="197"/>
                  <a:pt x="138" y="201"/>
                  <a:pt x="139" y="202"/>
                </a:cubicBezTo>
                <a:cubicBezTo>
                  <a:pt x="138" y="200"/>
                  <a:pt x="137" y="202"/>
                  <a:pt x="136" y="203"/>
                </a:cubicBezTo>
                <a:cubicBezTo>
                  <a:pt x="137" y="205"/>
                  <a:pt x="138" y="207"/>
                  <a:pt x="139" y="208"/>
                </a:cubicBezTo>
                <a:cubicBezTo>
                  <a:pt x="138" y="207"/>
                  <a:pt x="136" y="205"/>
                  <a:pt x="136" y="203"/>
                </a:cubicBezTo>
                <a:cubicBezTo>
                  <a:pt x="135" y="204"/>
                  <a:pt x="134" y="205"/>
                  <a:pt x="134" y="204"/>
                </a:cubicBezTo>
                <a:cubicBezTo>
                  <a:pt x="132" y="203"/>
                  <a:pt x="133" y="199"/>
                  <a:pt x="131" y="198"/>
                </a:cubicBezTo>
                <a:cubicBezTo>
                  <a:pt x="130" y="198"/>
                  <a:pt x="131" y="199"/>
                  <a:pt x="131" y="199"/>
                </a:cubicBezTo>
                <a:cubicBezTo>
                  <a:pt x="129" y="199"/>
                  <a:pt x="128" y="197"/>
                  <a:pt x="127" y="200"/>
                </a:cubicBezTo>
                <a:cubicBezTo>
                  <a:pt x="127" y="200"/>
                  <a:pt x="126" y="205"/>
                  <a:pt x="127" y="207"/>
                </a:cubicBezTo>
                <a:cubicBezTo>
                  <a:pt x="127" y="210"/>
                  <a:pt x="127" y="211"/>
                  <a:pt x="126" y="214"/>
                </a:cubicBezTo>
                <a:cubicBezTo>
                  <a:pt x="126" y="211"/>
                  <a:pt x="123" y="210"/>
                  <a:pt x="123" y="207"/>
                </a:cubicBezTo>
                <a:cubicBezTo>
                  <a:pt x="122" y="203"/>
                  <a:pt x="125" y="199"/>
                  <a:pt x="124" y="197"/>
                </a:cubicBezTo>
                <a:cubicBezTo>
                  <a:pt x="124" y="197"/>
                  <a:pt x="120" y="193"/>
                  <a:pt x="120" y="193"/>
                </a:cubicBezTo>
                <a:cubicBezTo>
                  <a:pt x="120" y="192"/>
                  <a:pt x="121" y="191"/>
                  <a:pt x="120" y="190"/>
                </a:cubicBezTo>
                <a:cubicBezTo>
                  <a:pt x="120" y="191"/>
                  <a:pt x="120" y="191"/>
                  <a:pt x="119" y="192"/>
                </a:cubicBezTo>
                <a:cubicBezTo>
                  <a:pt x="120" y="192"/>
                  <a:pt x="120" y="192"/>
                  <a:pt x="120" y="192"/>
                </a:cubicBezTo>
                <a:cubicBezTo>
                  <a:pt x="120" y="193"/>
                  <a:pt x="121" y="194"/>
                  <a:pt x="121" y="195"/>
                </a:cubicBezTo>
                <a:cubicBezTo>
                  <a:pt x="121" y="195"/>
                  <a:pt x="121" y="195"/>
                  <a:pt x="121" y="195"/>
                </a:cubicBezTo>
                <a:cubicBezTo>
                  <a:pt x="121" y="195"/>
                  <a:pt x="121" y="195"/>
                  <a:pt x="121" y="195"/>
                </a:cubicBezTo>
                <a:cubicBezTo>
                  <a:pt x="121" y="197"/>
                  <a:pt x="121" y="198"/>
                  <a:pt x="120" y="198"/>
                </a:cubicBezTo>
                <a:cubicBezTo>
                  <a:pt x="120" y="198"/>
                  <a:pt x="119" y="198"/>
                  <a:pt x="119" y="198"/>
                </a:cubicBezTo>
                <a:cubicBezTo>
                  <a:pt x="118" y="198"/>
                  <a:pt x="117" y="197"/>
                  <a:pt x="117" y="196"/>
                </a:cubicBezTo>
                <a:cubicBezTo>
                  <a:pt x="116" y="195"/>
                  <a:pt x="117" y="192"/>
                  <a:pt x="118" y="192"/>
                </a:cubicBezTo>
                <a:cubicBezTo>
                  <a:pt x="118" y="192"/>
                  <a:pt x="118" y="192"/>
                  <a:pt x="118" y="192"/>
                </a:cubicBezTo>
                <a:cubicBezTo>
                  <a:pt x="117" y="192"/>
                  <a:pt x="117" y="190"/>
                  <a:pt x="117" y="189"/>
                </a:cubicBezTo>
                <a:cubicBezTo>
                  <a:pt x="116" y="189"/>
                  <a:pt x="116" y="189"/>
                  <a:pt x="116" y="190"/>
                </a:cubicBezTo>
                <a:cubicBezTo>
                  <a:pt x="116" y="190"/>
                  <a:pt x="116" y="190"/>
                  <a:pt x="116" y="190"/>
                </a:cubicBezTo>
                <a:cubicBezTo>
                  <a:pt x="116" y="191"/>
                  <a:pt x="116" y="191"/>
                  <a:pt x="115" y="190"/>
                </a:cubicBezTo>
                <a:cubicBezTo>
                  <a:pt x="114" y="192"/>
                  <a:pt x="114" y="194"/>
                  <a:pt x="113" y="196"/>
                </a:cubicBezTo>
                <a:cubicBezTo>
                  <a:pt x="112" y="194"/>
                  <a:pt x="112" y="194"/>
                  <a:pt x="111" y="194"/>
                </a:cubicBezTo>
                <a:cubicBezTo>
                  <a:pt x="112" y="196"/>
                  <a:pt x="112" y="199"/>
                  <a:pt x="110" y="197"/>
                </a:cubicBezTo>
                <a:cubicBezTo>
                  <a:pt x="110" y="197"/>
                  <a:pt x="110" y="196"/>
                  <a:pt x="110" y="196"/>
                </a:cubicBezTo>
                <a:cubicBezTo>
                  <a:pt x="109" y="197"/>
                  <a:pt x="109" y="197"/>
                  <a:pt x="108" y="197"/>
                </a:cubicBezTo>
                <a:cubicBezTo>
                  <a:pt x="110" y="200"/>
                  <a:pt x="111" y="202"/>
                  <a:pt x="112" y="205"/>
                </a:cubicBezTo>
                <a:cubicBezTo>
                  <a:pt x="113" y="208"/>
                  <a:pt x="109" y="203"/>
                  <a:pt x="109" y="202"/>
                </a:cubicBezTo>
                <a:cubicBezTo>
                  <a:pt x="108" y="201"/>
                  <a:pt x="108" y="199"/>
                  <a:pt x="107" y="197"/>
                </a:cubicBezTo>
                <a:cubicBezTo>
                  <a:pt x="107" y="197"/>
                  <a:pt x="106" y="196"/>
                  <a:pt x="106" y="196"/>
                </a:cubicBezTo>
                <a:cubicBezTo>
                  <a:pt x="106" y="196"/>
                  <a:pt x="106" y="195"/>
                  <a:pt x="106" y="194"/>
                </a:cubicBezTo>
                <a:cubicBezTo>
                  <a:pt x="105" y="193"/>
                  <a:pt x="104" y="192"/>
                  <a:pt x="103" y="191"/>
                </a:cubicBezTo>
                <a:cubicBezTo>
                  <a:pt x="102" y="190"/>
                  <a:pt x="101" y="189"/>
                  <a:pt x="100" y="190"/>
                </a:cubicBezTo>
                <a:cubicBezTo>
                  <a:pt x="100" y="190"/>
                  <a:pt x="100" y="191"/>
                  <a:pt x="99" y="191"/>
                </a:cubicBezTo>
                <a:cubicBezTo>
                  <a:pt x="99" y="191"/>
                  <a:pt x="99" y="191"/>
                  <a:pt x="99" y="191"/>
                </a:cubicBezTo>
                <a:cubicBezTo>
                  <a:pt x="99" y="192"/>
                  <a:pt x="99" y="192"/>
                  <a:pt x="99" y="192"/>
                </a:cubicBezTo>
                <a:cubicBezTo>
                  <a:pt x="99" y="193"/>
                  <a:pt x="99" y="195"/>
                  <a:pt x="98" y="194"/>
                </a:cubicBezTo>
                <a:cubicBezTo>
                  <a:pt x="98" y="195"/>
                  <a:pt x="98" y="195"/>
                  <a:pt x="98" y="195"/>
                </a:cubicBezTo>
                <a:cubicBezTo>
                  <a:pt x="96" y="195"/>
                  <a:pt x="96" y="194"/>
                  <a:pt x="95" y="192"/>
                </a:cubicBezTo>
                <a:cubicBezTo>
                  <a:pt x="94" y="192"/>
                  <a:pt x="94" y="192"/>
                  <a:pt x="93" y="192"/>
                </a:cubicBezTo>
                <a:cubicBezTo>
                  <a:pt x="93" y="192"/>
                  <a:pt x="93" y="191"/>
                  <a:pt x="93" y="191"/>
                </a:cubicBezTo>
                <a:cubicBezTo>
                  <a:pt x="92" y="193"/>
                  <a:pt x="92" y="194"/>
                  <a:pt x="92" y="196"/>
                </a:cubicBezTo>
                <a:cubicBezTo>
                  <a:pt x="92" y="197"/>
                  <a:pt x="92" y="199"/>
                  <a:pt x="91" y="199"/>
                </a:cubicBezTo>
                <a:cubicBezTo>
                  <a:pt x="91" y="200"/>
                  <a:pt x="90" y="201"/>
                  <a:pt x="89" y="201"/>
                </a:cubicBezTo>
                <a:cubicBezTo>
                  <a:pt x="90" y="202"/>
                  <a:pt x="90" y="202"/>
                  <a:pt x="89" y="203"/>
                </a:cubicBezTo>
                <a:cubicBezTo>
                  <a:pt x="88" y="204"/>
                  <a:pt x="86" y="205"/>
                  <a:pt x="85" y="203"/>
                </a:cubicBezTo>
                <a:cubicBezTo>
                  <a:pt x="85" y="203"/>
                  <a:pt x="85" y="203"/>
                  <a:pt x="85" y="203"/>
                </a:cubicBezTo>
                <a:cubicBezTo>
                  <a:pt x="85" y="203"/>
                  <a:pt x="84" y="203"/>
                  <a:pt x="84" y="203"/>
                </a:cubicBezTo>
                <a:cubicBezTo>
                  <a:pt x="84" y="204"/>
                  <a:pt x="85" y="205"/>
                  <a:pt x="84" y="206"/>
                </a:cubicBezTo>
                <a:cubicBezTo>
                  <a:pt x="85" y="206"/>
                  <a:pt x="86" y="207"/>
                  <a:pt x="86" y="207"/>
                </a:cubicBezTo>
                <a:cubicBezTo>
                  <a:pt x="87" y="207"/>
                  <a:pt x="87" y="209"/>
                  <a:pt x="88" y="210"/>
                </a:cubicBezTo>
                <a:cubicBezTo>
                  <a:pt x="90" y="211"/>
                  <a:pt x="90" y="212"/>
                  <a:pt x="91" y="213"/>
                </a:cubicBezTo>
                <a:cubicBezTo>
                  <a:pt x="91" y="214"/>
                  <a:pt x="92" y="213"/>
                  <a:pt x="92" y="213"/>
                </a:cubicBezTo>
                <a:cubicBezTo>
                  <a:pt x="92" y="215"/>
                  <a:pt x="91" y="216"/>
                  <a:pt x="92" y="216"/>
                </a:cubicBezTo>
                <a:cubicBezTo>
                  <a:pt x="92" y="216"/>
                  <a:pt x="92" y="217"/>
                  <a:pt x="92" y="217"/>
                </a:cubicBezTo>
                <a:cubicBezTo>
                  <a:pt x="92" y="217"/>
                  <a:pt x="92" y="217"/>
                  <a:pt x="92" y="217"/>
                </a:cubicBezTo>
                <a:cubicBezTo>
                  <a:pt x="92" y="217"/>
                  <a:pt x="92" y="217"/>
                  <a:pt x="92" y="218"/>
                </a:cubicBezTo>
                <a:cubicBezTo>
                  <a:pt x="92" y="219"/>
                  <a:pt x="93" y="219"/>
                  <a:pt x="93" y="220"/>
                </a:cubicBezTo>
                <a:cubicBezTo>
                  <a:pt x="93" y="220"/>
                  <a:pt x="92" y="219"/>
                  <a:pt x="92" y="219"/>
                </a:cubicBezTo>
                <a:cubicBezTo>
                  <a:pt x="90" y="221"/>
                  <a:pt x="87" y="226"/>
                  <a:pt x="86" y="226"/>
                </a:cubicBezTo>
                <a:cubicBezTo>
                  <a:pt x="84" y="226"/>
                  <a:pt x="83" y="222"/>
                  <a:pt x="81" y="220"/>
                </a:cubicBezTo>
                <a:cubicBezTo>
                  <a:pt x="80" y="220"/>
                  <a:pt x="79" y="222"/>
                  <a:pt x="78" y="221"/>
                </a:cubicBezTo>
                <a:cubicBezTo>
                  <a:pt x="77" y="219"/>
                  <a:pt x="79" y="219"/>
                  <a:pt x="80" y="218"/>
                </a:cubicBezTo>
                <a:cubicBezTo>
                  <a:pt x="80" y="217"/>
                  <a:pt x="80" y="213"/>
                  <a:pt x="80" y="210"/>
                </a:cubicBezTo>
                <a:cubicBezTo>
                  <a:pt x="80" y="209"/>
                  <a:pt x="81" y="208"/>
                  <a:pt x="81" y="207"/>
                </a:cubicBezTo>
                <a:cubicBezTo>
                  <a:pt x="80" y="206"/>
                  <a:pt x="79" y="202"/>
                  <a:pt x="79" y="201"/>
                </a:cubicBezTo>
                <a:cubicBezTo>
                  <a:pt x="78" y="201"/>
                  <a:pt x="78" y="203"/>
                  <a:pt x="77" y="203"/>
                </a:cubicBezTo>
                <a:cubicBezTo>
                  <a:pt x="77" y="202"/>
                  <a:pt x="78" y="201"/>
                  <a:pt x="78" y="200"/>
                </a:cubicBezTo>
                <a:cubicBezTo>
                  <a:pt x="77" y="198"/>
                  <a:pt x="76" y="194"/>
                  <a:pt x="76" y="192"/>
                </a:cubicBezTo>
                <a:cubicBezTo>
                  <a:pt x="75" y="192"/>
                  <a:pt x="74" y="192"/>
                  <a:pt x="74" y="193"/>
                </a:cubicBezTo>
                <a:cubicBezTo>
                  <a:pt x="74" y="194"/>
                  <a:pt x="75" y="194"/>
                  <a:pt x="75" y="194"/>
                </a:cubicBezTo>
                <a:cubicBezTo>
                  <a:pt x="75" y="194"/>
                  <a:pt x="74" y="197"/>
                  <a:pt x="73" y="200"/>
                </a:cubicBezTo>
                <a:cubicBezTo>
                  <a:pt x="73" y="201"/>
                  <a:pt x="73" y="201"/>
                  <a:pt x="72" y="202"/>
                </a:cubicBezTo>
                <a:cubicBezTo>
                  <a:pt x="72" y="202"/>
                  <a:pt x="72" y="202"/>
                  <a:pt x="72" y="202"/>
                </a:cubicBezTo>
                <a:cubicBezTo>
                  <a:pt x="72" y="202"/>
                  <a:pt x="72" y="202"/>
                  <a:pt x="72" y="202"/>
                </a:cubicBezTo>
                <a:cubicBezTo>
                  <a:pt x="71" y="202"/>
                  <a:pt x="70" y="202"/>
                  <a:pt x="70" y="202"/>
                </a:cubicBezTo>
                <a:cubicBezTo>
                  <a:pt x="68" y="205"/>
                  <a:pt x="70" y="208"/>
                  <a:pt x="69" y="210"/>
                </a:cubicBezTo>
                <a:cubicBezTo>
                  <a:pt x="69" y="210"/>
                  <a:pt x="69" y="211"/>
                  <a:pt x="69" y="212"/>
                </a:cubicBezTo>
                <a:cubicBezTo>
                  <a:pt x="69" y="212"/>
                  <a:pt x="69" y="212"/>
                  <a:pt x="69" y="212"/>
                </a:cubicBezTo>
                <a:cubicBezTo>
                  <a:pt x="70" y="212"/>
                  <a:pt x="73" y="217"/>
                  <a:pt x="71" y="218"/>
                </a:cubicBezTo>
                <a:cubicBezTo>
                  <a:pt x="70" y="219"/>
                  <a:pt x="68" y="218"/>
                  <a:pt x="67" y="216"/>
                </a:cubicBezTo>
                <a:cubicBezTo>
                  <a:pt x="67" y="216"/>
                  <a:pt x="67" y="216"/>
                  <a:pt x="67" y="216"/>
                </a:cubicBezTo>
                <a:cubicBezTo>
                  <a:pt x="66" y="216"/>
                  <a:pt x="66" y="216"/>
                  <a:pt x="66" y="216"/>
                </a:cubicBezTo>
                <a:cubicBezTo>
                  <a:pt x="66" y="216"/>
                  <a:pt x="66" y="216"/>
                  <a:pt x="66" y="216"/>
                </a:cubicBezTo>
                <a:cubicBezTo>
                  <a:pt x="66" y="216"/>
                  <a:pt x="66" y="216"/>
                  <a:pt x="66" y="216"/>
                </a:cubicBezTo>
                <a:cubicBezTo>
                  <a:pt x="66" y="217"/>
                  <a:pt x="66" y="219"/>
                  <a:pt x="66" y="219"/>
                </a:cubicBezTo>
                <a:cubicBezTo>
                  <a:pt x="66" y="219"/>
                  <a:pt x="66" y="219"/>
                  <a:pt x="66" y="220"/>
                </a:cubicBezTo>
                <a:cubicBezTo>
                  <a:pt x="67" y="220"/>
                  <a:pt x="68" y="220"/>
                  <a:pt x="68" y="220"/>
                </a:cubicBezTo>
                <a:cubicBezTo>
                  <a:pt x="70" y="221"/>
                  <a:pt x="70" y="224"/>
                  <a:pt x="72" y="226"/>
                </a:cubicBezTo>
                <a:cubicBezTo>
                  <a:pt x="73" y="227"/>
                  <a:pt x="76" y="230"/>
                  <a:pt x="76" y="231"/>
                </a:cubicBezTo>
                <a:cubicBezTo>
                  <a:pt x="76" y="232"/>
                  <a:pt x="74" y="233"/>
                  <a:pt x="73" y="233"/>
                </a:cubicBezTo>
                <a:cubicBezTo>
                  <a:pt x="73" y="234"/>
                  <a:pt x="74" y="234"/>
                  <a:pt x="74" y="234"/>
                </a:cubicBezTo>
                <a:cubicBezTo>
                  <a:pt x="75" y="235"/>
                  <a:pt x="74" y="236"/>
                  <a:pt x="73" y="237"/>
                </a:cubicBezTo>
                <a:cubicBezTo>
                  <a:pt x="73" y="238"/>
                  <a:pt x="73" y="239"/>
                  <a:pt x="72" y="239"/>
                </a:cubicBezTo>
                <a:cubicBezTo>
                  <a:pt x="72" y="239"/>
                  <a:pt x="71" y="238"/>
                  <a:pt x="70" y="237"/>
                </a:cubicBezTo>
                <a:cubicBezTo>
                  <a:pt x="69" y="236"/>
                  <a:pt x="68" y="235"/>
                  <a:pt x="70" y="234"/>
                </a:cubicBezTo>
                <a:cubicBezTo>
                  <a:pt x="70" y="233"/>
                  <a:pt x="70" y="233"/>
                  <a:pt x="68" y="234"/>
                </a:cubicBezTo>
                <a:cubicBezTo>
                  <a:pt x="68" y="235"/>
                  <a:pt x="68" y="236"/>
                  <a:pt x="67" y="236"/>
                </a:cubicBezTo>
                <a:cubicBezTo>
                  <a:pt x="66" y="236"/>
                  <a:pt x="65" y="235"/>
                  <a:pt x="65" y="234"/>
                </a:cubicBezTo>
                <a:cubicBezTo>
                  <a:pt x="64" y="235"/>
                  <a:pt x="63" y="237"/>
                  <a:pt x="62" y="237"/>
                </a:cubicBezTo>
                <a:cubicBezTo>
                  <a:pt x="62" y="237"/>
                  <a:pt x="59" y="236"/>
                  <a:pt x="58" y="235"/>
                </a:cubicBezTo>
                <a:cubicBezTo>
                  <a:pt x="58" y="234"/>
                  <a:pt x="57" y="231"/>
                  <a:pt x="57" y="231"/>
                </a:cubicBezTo>
                <a:cubicBezTo>
                  <a:pt x="56" y="231"/>
                  <a:pt x="56" y="232"/>
                  <a:pt x="56" y="233"/>
                </a:cubicBezTo>
                <a:cubicBezTo>
                  <a:pt x="56" y="233"/>
                  <a:pt x="57" y="233"/>
                  <a:pt x="57" y="233"/>
                </a:cubicBezTo>
                <a:cubicBezTo>
                  <a:pt x="57" y="233"/>
                  <a:pt x="57" y="233"/>
                  <a:pt x="57" y="233"/>
                </a:cubicBezTo>
                <a:cubicBezTo>
                  <a:pt x="57" y="233"/>
                  <a:pt x="57" y="233"/>
                  <a:pt x="57" y="233"/>
                </a:cubicBezTo>
                <a:cubicBezTo>
                  <a:pt x="57" y="234"/>
                  <a:pt x="58" y="235"/>
                  <a:pt x="57" y="236"/>
                </a:cubicBezTo>
                <a:cubicBezTo>
                  <a:pt x="57" y="236"/>
                  <a:pt x="57" y="236"/>
                  <a:pt x="56" y="236"/>
                </a:cubicBezTo>
                <a:cubicBezTo>
                  <a:pt x="56" y="236"/>
                  <a:pt x="56" y="237"/>
                  <a:pt x="56" y="237"/>
                </a:cubicBezTo>
                <a:cubicBezTo>
                  <a:pt x="56" y="237"/>
                  <a:pt x="56" y="237"/>
                  <a:pt x="55" y="236"/>
                </a:cubicBezTo>
                <a:cubicBezTo>
                  <a:pt x="55" y="236"/>
                  <a:pt x="55" y="237"/>
                  <a:pt x="55" y="237"/>
                </a:cubicBezTo>
                <a:cubicBezTo>
                  <a:pt x="54" y="236"/>
                  <a:pt x="54" y="233"/>
                  <a:pt x="55" y="233"/>
                </a:cubicBezTo>
                <a:cubicBezTo>
                  <a:pt x="55" y="232"/>
                  <a:pt x="55" y="230"/>
                  <a:pt x="56" y="230"/>
                </a:cubicBezTo>
                <a:cubicBezTo>
                  <a:pt x="56" y="230"/>
                  <a:pt x="57" y="231"/>
                  <a:pt x="57" y="231"/>
                </a:cubicBezTo>
                <a:cubicBezTo>
                  <a:pt x="58" y="230"/>
                  <a:pt x="57" y="229"/>
                  <a:pt x="57" y="229"/>
                </a:cubicBezTo>
                <a:cubicBezTo>
                  <a:pt x="57" y="228"/>
                  <a:pt x="58" y="227"/>
                  <a:pt x="58" y="226"/>
                </a:cubicBezTo>
                <a:cubicBezTo>
                  <a:pt x="58" y="225"/>
                  <a:pt x="58" y="224"/>
                  <a:pt x="59" y="224"/>
                </a:cubicBezTo>
                <a:cubicBezTo>
                  <a:pt x="60" y="223"/>
                  <a:pt x="60" y="224"/>
                  <a:pt x="60" y="225"/>
                </a:cubicBezTo>
                <a:cubicBezTo>
                  <a:pt x="61" y="225"/>
                  <a:pt x="61" y="225"/>
                  <a:pt x="61" y="225"/>
                </a:cubicBezTo>
                <a:cubicBezTo>
                  <a:pt x="61" y="224"/>
                  <a:pt x="61" y="222"/>
                  <a:pt x="62" y="221"/>
                </a:cubicBezTo>
                <a:cubicBezTo>
                  <a:pt x="62" y="221"/>
                  <a:pt x="62" y="222"/>
                  <a:pt x="63" y="222"/>
                </a:cubicBezTo>
                <a:cubicBezTo>
                  <a:pt x="62" y="220"/>
                  <a:pt x="62" y="219"/>
                  <a:pt x="61" y="218"/>
                </a:cubicBezTo>
                <a:cubicBezTo>
                  <a:pt x="61" y="218"/>
                  <a:pt x="61" y="217"/>
                  <a:pt x="61" y="217"/>
                </a:cubicBezTo>
                <a:cubicBezTo>
                  <a:pt x="60" y="218"/>
                  <a:pt x="60" y="218"/>
                  <a:pt x="59" y="218"/>
                </a:cubicBezTo>
                <a:cubicBezTo>
                  <a:pt x="57" y="219"/>
                  <a:pt x="58" y="213"/>
                  <a:pt x="60" y="216"/>
                </a:cubicBezTo>
                <a:cubicBezTo>
                  <a:pt x="60" y="216"/>
                  <a:pt x="60" y="216"/>
                  <a:pt x="60" y="215"/>
                </a:cubicBezTo>
                <a:cubicBezTo>
                  <a:pt x="60" y="214"/>
                  <a:pt x="59" y="212"/>
                  <a:pt x="58" y="213"/>
                </a:cubicBezTo>
                <a:cubicBezTo>
                  <a:pt x="57" y="213"/>
                  <a:pt x="58" y="216"/>
                  <a:pt x="57" y="216"/>
                </a:cubicBezTo>
                <a:cubicBezTo>
                  <a:pt x="56" y="217"/>
                  <a:pt x="54" y="213"/>
                  <a:pt x="54" y="213"/>
                </a:cubicBezTo>
                <a:cubicBezTo>
                  <a:pt x="54" y="213"/>
                  <a:pt x="53" y="213"/>
                  <a:pt x="53" y="213"/>
                </a:cubicBezTo>
                <a:cubicBezTo>
                  <a:pt x="55" y="215"/>
                  <a:pt x="55" y="219"/>
                  <a:pt x="55" y="221"/>
                </a:cubicBezTo>
                <a:cubicBezTo>
                  <a:pt x="54" y="223"/>
                  <a:pt x="51" y="223"/>
                  <a:pt x="51" y="224"/>
                </a:cubicBezTo>
                <a:cubicBezTo>
                  <a:pt x="51" y="226"/>
                  <a:pt x="51" y="228"/>
                  <a:pt x="52" y="230"/>
                </a:cubicBezTo>
                <a:cubicBezTo>
                  <a:pt x="51" y="229"/>
                  <a:pt x="51" y="228"/>
                  <a:pt x="50" y="227"/>
                </a:cubicBezTo>
                <a:cubicBezTo>
                  <a:pt x="49" y="227"/>
                  <a:pt x="50" y="226"/>
                  <a:pt x="49" y="225"/>
                </a:cubicBezTo>
                <a:cubicBezTo>
                  <a:pt x="49" y="225"/>
                  <a:pt x="49" y="225"/>
                  <a:pt x="48" y="225"/>
                </a:cubicBezTo>
                <a:cubicBezTo>
                  <a:pt x="48" y="226"/>
                  <a:pt x="48" y="226"/>
                  <a:pt x="48" y="226"/>
                </a:cubicBezTo>
                <a:cubicBezTo>
                  <a:pt x="47" y="227"/>
                  <a:pt x="47" y="226"/>
                  <a:pt x="47" y="225"/>
                </a:cubicBezTo>
                <a:cubicBezTo>
                  <a:pt x="47" y="225"/>
                  <a:pt x="46" y="225"/>
                  <a:pt x="46" y="225"/>
                </a:cubicBezTo>
                <a:cubicBezTo>
                  <a:pt x="45" y="225"/>
                  <a:pt x="44" y="225"/>
                  <a:pt x="43" y="225"/>
                </a:cubicBezTo>
                <a:cubicBezTo>
                  <a:pt x="43" y="225"/>
                  <a:pt x="43" y="226"/>
                  <a:pt x="42" y="226"/>
                </a:cubicBezTo>
                <a:cubicBezTo>
                  <a:pt x="42" y="226"/>
                  <a:pt x="42" y="226"/>
                  <a:pt x="42" y="226"/>
                </a:cubicBezTo>
                <a:cubicBezTo>
                  <a:pt x="42" y="226"/>
                  <a:pt x="42" y="226"/>
                  <a:pt x="42" y="226"/>
                </a:cubicBezTo>
                <a:cubicBezTo>
                  <a:pt x="41" y="226"/>
                  <a:pt x="41" y="226"/>
                  <a:pt x="40" y="225"/>
                </a:cubicBezTo>
                <a:cubicBezTo>
                  <a:pt x="39" y="225"/>
                  <a:pt x="38" y="225"/>
                  <a:pt x="37" y="225"/>
                </a:cubicBezTo>
                <a:cubicBezTo>
                  <a:pt x="37" y="225"/>
                  <a:pt x="36" y="225"/>
                  <a:pt x="36" y="225"/>
                </a:cubicBezTo>
                <a:cubicBezTo>
                  <a:pt x="36" y="226"/>
                  <a:pt x="36" y="226"/>
                  <a:pt x="35" y="226"/>
                </a:cubicBezTo>
                <a:cubicBezTo>
                  <a:pt x="35" y="226"/>
                  <a:pt x="35" y="226"/>
                  <a:pt x="34" y="225"/>
                </a:cubicBezTo>
                <a:cubicBezTo>
                  <a:pt x="33" y="225"/>
                  <a:pt x="32" y="224"/>
                  <a:pt x="31" y="224"/>
                </a:cubicBezTo>
                <a:cubicBezTo>
                  <a:pt x="31" y="224"/>
                  <a:pt x="31" y="224"/>
                  <a:pt x="31" y="224"/>
                </a:cubicBezTo>
                <a:cubicBezTo>
                  <a:pt x="31" y="226"/>
                  <a:pt x="31" y="228"/>
                  <a:pt x="30" y="228"/>
                </a:cubicBezTo>
                <a:cubicBezTo>
                  <a:pt x="28" y="229"/>
                  <a:pt x="27" y="225"/>
                  <a:pt x="27" y="223"/>
                </a:cubicBezTo>
                <a:cubicBezTo>
                  <a:pt x="28" y="225"/>
                  <a:pt x="28" y="224"/>
                  <a:pt x="29" y="223"/>
                </a:cubicBezTo>
                <a:cubicBezTo>
                  <a:pt x="28" y="223"/>
                  <a:pt x="27" y="223"/>
                  <a:pt x="27" y="223"/>
                </a:cubicBezTo>
                <a:cubicBezTo>
                  <a:pt x="26" y="224"/>
                  <a:pt x="25" y="224"/>
                  <a:pt x="25" y="223"/>
                </a:cubicBezTo>
                <a:cubicBezTo>
                  <a:pt x="24" y="223"/>
                  <a:pt x="25" y="221"/>
                  <a:pt x="26" y="220"/>
                </a:cubicBezTo>
                <a:cubicBezTo>
                  <a:pt x="26" y="220"/>
                  <a:pt x="26" y="220"/>
                  <a:pt x="26" y="220"/>
                </a:cubicBezTo>
                <a:cubicBezTo>
                  <a:pt x="26" y="219"/>
                  <a:pt x="25" y="218"/>
                  <a:pt x="23" y="216"/>
                </a:cubicBezTo>
                <a:cubicBezTo>
                  <a:pt x="23" y="217"/>
                  <a:pt x="22" y="217"/>
                  <a:pt x="22" y="217"/>
                </a:cubicBezTo>
                <a:cubicBezTo>
                  <a:pt x="22" y="216"/>
                  <a:pt x="22" y="216"/>
                  <a:pt x="23" y="215"/>
                </a:cubicBezTo>
                <a:cubicBezTo>
                  <a:pt x="22" y="215"/>
                  <a:pt x="22" y="215"/>
                  <a:pt x="22" y="215"/>
                </a:cubicBezTo>
                <a:cubicBezTo>
                  <a:pt x="22" y="215"/>
                  <a:pt x="21" y="216"/>
                  <a:pt x="21" y="216"/>
                </a:cubicBezTo>
                <a:cubicBezTo>
                  <a:pt x="20" y="217"/>
                  <a:pt x="18" y="217"/>
                  <a:pt x="18" y="219"/>
                </a:cubicBezTo>
                <a:cubicBezTo>
                  <a:pt x="17" y="219"/>
                  <a:pt x="18" y="218"/>
                  <a:pt x="17" y="218"/>
                </a:cubicBezTo>
                <a:cubicBezTo>
                  <a:pt x="18" y="220"/>
                  <a:pt x="16" y="219"/>
                  <a:pt x="16" y="221"/>
                </a:cubicBezTo>
                <a:cubicBezTo>
                  <a:pt x="19" y="219"/>
                  <a:pt x="20" y="220"/>
                  <a:pt x="21" y="223"/>
                </a:cubicBezTo>
                <a:cubicBezTo>
                  <a:pt x="21" y="222"/>
                  <a:pt x="22" y="222"/>
                  <a:pt x="22" y="223"/>
                </a:cubicBezTo>
                <a:cubicBezTo>
                  <a:pt x="22" y="223"/>
                  <a:pt x="22" y="223"/>
                  <a:pt x="23" y="223"/>
                </a:cubicBezTo>
                <a:cubicBezTo>
                  <a:pt x="23" y="223"/>
                  <a:pt x="23" y="223"/>
                  <a:pt x="23" y="223"/>
                </a:cubicBezTo>
                <a:cubicBezTo>
                  <a:pt x="23" y="223"/>
                  <a:pt x="23" y="223"/>
                  <a:pt x="23" y="223"/>
                </a:cubicBezTo>
                <a:cubicBezTo>
                  <a:pt x="24" y="224"/>
                  <a:pt x="25" y="226"/>
                  <a:pt x="25" y="226"/>
                </a:cubicBezTo>
                <a:cubicBezTo>
                  <a:pt x="25" y="226"/>
                  <a:pt x="25" y="228"/>
                  <a:pt x="25" y="228"/>
                </a:cubicBezTo>
                <a:cubicBezTo>
                  <a:pt x="27" y="228"/>
                  <a:pt x="31" y="229"/>
                  <a:pt x="31" y="231"/>
                </a:cubicBezTo>
                <a:cubicBezTo>
                  <a:pt x="32" y="232"/>
                  <a:pt x="31" y="236"/>
                  <a:pt x="31" y="237"/>
                </a:cubicBezTo>
                <a:cubicBezTo>
                  <a:pt x="31" y="237"/>
                  <a:pt x="29" y="237"/>
                  <a:pt x="29" y="238"/>
                </a:cubicBezTo>
                <a:cubicBezTo>
                  <a:pt x="27" y="241"/>
                  <a:pt x="27" y="237"/>
                  <a:pt x="26" y="242"/>
                </a:cubicBezTo>
                <a:cubicBezTo>
                  <a:pt x="25" y="241"/>
                  <a:pt x="24" y="239"/>
                  <a:pt x="23" y="239"/>
                </a:cubicBezTo>
                <a:cubicBezTo>
                  <a:pt x="23" y="239"/>
                  <a:pt x="21" y="239"/>
                  <a:pt x="22" y="239"/>
                </a:cubicBezTo>
                <a:cubicBezTo>
                  <a:pt x="20" y="238"/>
                  <a:pt x="22" y="235"/>
                  <a:pt x="20" y="233"/>
                </a:cubicBezTo>
                <a:cubicBezTo>
                  <a:pt x="20" y="234"/>
                  <a:pt x="20" y="235"/>
                  <a:pt x="19" y="236"/>
                </a:cubicBezTo>
                <a:cubicBezTo>
                  <a:pt x="20" y="237"/>
                  <a:pt x="20" y="238"/>
                  <a:pt x="18" y="238"/>
                </a:cubicBezTo>
                <a:cubicBezTo>
                  <a:pt x="22" y="239"/>
                  <a:pt x="22" y="249"/>
                  <a:pt x="17" y="249"/>
                </a:cubicBezTo>
                <a:cubicBezTo>
                  <a:pt x="17" y="249"/>
                  <a:pt x="17" y="249"/>
                  <a:pt x="17" y="249"/>
                </a:cubicBezTo>
                <a:cubicBezTo>
                  <a:pt x="17" y="249"/>
                  <a:pt x="17" y="249"/>
                  <a:pt x="17" y="250"/>
                </a:cubicBezTo>
                <a:cubicBezTo>
                  <a:pt x="20" y="251"/>
                  <a:pt x="21" y="254"/>
                  <a:pt x="20" y="258"/>
                </a:cubicBezTo>
                <a:cubicBezTo>
                  <a:pt x="20" y="257"/>
                  <a:pt x="20" y="258"/>
                  <a:pt x="20" y="258"/>
                </a:cubicBezTo>
                <a:cubicBezTo>
                  <a:pt x="21" y="261"/>
                  <a:pt x="23" y="263"/>
                  <a:pt x="23" y="265"/>
                </a:cubicBezTo>
                <a:cubicBezTo>
                  <a:pt x="23" y="266"/>
                  <a:pt x="23" y="267"/>
                  <a:pt x="23" y="268"/>
                </a:cubicBezTo>
                <a:cubicBezTo>
                  <a:pt x="23" y="270"/>
                  <a:pt x="27" y="272"/>
                  <a:pt x="26" y="275"/>
                </a:cubicBezTo>
                <a:cubicBezTo>
                  <a:pt x="26" y="276"/>
                  <a:pt x="26" y="275"/>
                  <a:pt x="27" y="277"/>
                </a:cubicBezTo>
                <a:cubicBezTo>
                  <a:pt x="27" y="278"/>
                  <a:pt x="28" y="280"/>
                  <a:pt x="28" y="281"/>
                </a:cubicBezTo>
                <a:cubicBezTo>
                  <a:pt x="29" y="282"/>
                  <a:pt x="30" y="285"/>
                  <a:pt x="30" y="285"/>
                </a:cubicBezTo>
                <a:cubicBezTo>
                  <a:pt x="32" y="287"/>
                  <a:pt x="32" y="285"/>
                  <a:pt x="32" y="287"/>
                </a:cubicBezTo>
                <a:cubicBezTo>
                  <a:pt x="31" y="288"/>
                  <a:pt x="32" y="288"/>
                  <a:pt x="32" y="289"/>
                </a:cubicBezTo>
                <a:cubicBezTo>
                  <a:pt x="32" y="288"/>
                  <a:pt x="32" y="288"/>
                  <a:pt x="32" y="288"/>
                </a:cubicBezTo>
                <a:cubicBezTo>
                  <a:pt x="33" y="287"/>
                  <a:pt x="34" y="290"/>
                  <a:pt x="33" y="290"/>
                </a:cubicBezTo>
                <a:cubicBezTo>
                  <a:pt x="33" y="291"/>
                  <a:pt x="34" y="291"/>
                  <a:pt x="34" y="292"/>
                </a:cubicBezTo>
                <a:cubicBezTo>
                  <a:pt x="34" y="292"/>
                  <a:pt x="35" y="292"/>
                  <a:pt x="35" y="292"/>
                </a:cubicBezTo>
                <a:cubicBezTo>
                  <a:pt x="36" y="288"/>
                  <a:pt x="34" y="286"/>
                  <a:pt x="38" y="288"/>
                </a:cubicBezTo>
                <a:cubicBezTo>
                  <a:pt x="39" y="288"/>
                  <a:pt x="39" y="287"/>
                  <a:pt x="40" y="288"/>
                </a:cubicBezTo>
                <a:cubicBezTo>
                  <a:pt x="42" y="289"/>
                  <a:pt x="39" y="291"/>
                  <a:pt x="38" y="290"/>
                </a:cubicBezTo>
                <a:cubicBezTo>
                  <a:pt x="39" y="291"/>
                  <a:pt x="40" y="291"/>
                  <a:pt x="41" y="289"/>
                </a:cubicBezTo>
                <a:cubicBezTo>
                  <a:pt x="42" y="289"/>
                  <a:pt x="42" y="292"/>
                  <a:pt x="41" y="293"/>
                </a:cubicBezTo>
                <a:cubicBezTo>
                  <a:pt x="41" y="293"/>
                  <a:pt x="38" y="295"/>
                  <a:pt x="37" y="296"/>
                </a:cubicBezTo>
                <a:cubicBezTo>
                  <a:pt x="37" y="297"/>
                  <a:pt x="38" y="298"/>
                  <a:pt x="38" y="299"/>
                </a:cubicBezTo>
                <a:cubicBezTo>
                  <a:pt x="40" y="301"/>
                  <a:pt x="40" y="304"/>
                  <a:pt x="41" y="306"/>
                </a:cubicBezTo>
                <a:cubicBezTo>
                  <a:pt x="42" y="307"/>
                  <a:pt x="42" y="307"/>
                  <a:pt x="42" y="309"/>
                </a:cubicBezTo>
                <a:cubicBezTo>
                  <a:pt x="42" y="310"/>
                  <a:pt x="43" y="310"/>
                  <a:pt x="43" y="311"/>
                </a:cubicBezTo>
                <a:cubicBezTo>
                  <a:pt x="44" y="313"/>
                  <a:pt x="45" y="316"/>
                  <a:pt x="46" y="318"/>
                </a:cubicBezTo>
                <a:cubicBezTo>
                  <a:pt x="46" y="318"/>
                  <a:pt x="46" y="317"/>
                  <a:pt x="46" y="318"/>
                </a:cubicBezTo>
                <a:cubicBezTo>
                  <a:pt x="46" y="318"/>
                  <a:pt x="46" y="318"/>
                  <a:pt x="46" y="318"/>
                </a:cubicBezTo>
                <a:cubicBezTo>
                  <a:pt x="46" y="319"/>
                  <a:pt x="46" y="319"/>
                  <a:pt x="47" y="320"/>
                </a:cubicBezTo>
                <a:cubicBezTo>
                  <a:pt x="47" y="320"/>
                  <a:pt x="47" y="324"/>
                  <a:pt x="48" y="324"/>
                </a:cubicBezTo>
                <a:cubicBezTo>
                  <a:pt x="48" y="324"/>
                  <a:pt x="47" y="317"/>
                  <a:pt x="51" y="319"/>
                </a:cubicBezTo>
                <a:cubicBezTo>
                  <a:pt x="51" y="319"/>
                  <a:pt x="52" y="319"/>
                  <a:pt x="52" y="320"/>
                </a:cubicBezTo>
                <a:cubicBezTo>
                  <a:pt x="51" y="316"/>
                  <a:pt x="51" y="310"/>
                  <a:pt x="53" y="306"/>
                </a:cubicBezTo>
                <a:cubicBezTo>
                  <a:pt x="50" y="306"/>
                  <a:pt x="50" y="314"/>
                  <a:pt x="47" y="314"/>
                </a:cubicBezTo>
                <a:cubicBezTo>
                  <a:pt x="45" y="314"/>
                  <a:pt x="48" y="308"/>
                  <a:pt x="46" y="306"/>
                </a:cubicBezTo>
                <a:cubicBezTo>
                  <a:pt x="45" y="305"/>
                  <a:pt x="45" y="306"/>
                  <a:pt x="44" y="305"/>
                </a:cubicBezTo>
                <a:cubicBezTo>
                  <a:pt x="44" y="304"/>
                  <a:pt x="46" y="301"/>
                  <a:pt x="43" y="301"/>
                </a:cubicBezTo>
                <a:cubicBezTo>
                  <a:pt x="40" y="302"/>
                  <a:pt x="46" y="290"/>
                  <a:pt x="49" y="289"/>
                </a:cubicBezTo>
                <a:cubicBezTo>
                  <a:pt x="51" y="289"/>
                  <a:pt x="55" y="290"/>
                  <a:pt x="55" y="291"/>
                </a:cubicBezTo>
                <a:cubicBezTo>
                  <a:pt x="55" y="291"/>
                  <a:pt x="56" y="298"/>
                  <a:pt x="56" y="298"/>
                </a:cubicBezTo>
                <a:cubicBezTo>
                  <a:pt x="56" y="299"/>
                  <a:pt x="56" y="300"/>
                  <a:pt x="56" y="301"/>
                </a:cubicBezTo>
                <a:cubicBezTo>
                  <a:pt x="56" y="301"/>
                  <a:pt x="56" y="301"/>
                  <a:pt x="57" y="300"/>
                </a:cubicBezTo>
                <a:cubicBezTo>
                  <a:pt x="58" y="300"/>
                  <a:pt x="60" y="299"/>
                  <a:pt x="61" y="300"/>
                </a:cubicBezTo>
                <a:cubicBezTo>
                  <a:pt x="66" y="303"/>
                  <a:pt x="64" y="314"/>
                  <a:pt x="63" y="319"/>
                </a:cubicBezTo>
                <a:cubicBezTo>
                  <a:pt x="63" y="318"/>
                  <a:pt x="64" y="318"/>
                  <a:pt x="65" y="318"/>
                </a:cubicBezTo>
                <a:cubicBezTo>
                  <a:pt x="68" y="319"/>
                  <a:pt x="67" y="328"/>
                  <a:pt x="64" y="328"/>
                </a:cubicBezTo>
                <a:cubicBezTo>
                  <a:pt x="64" y="328"/>
                  <a:pt x="64" y="330"/>
                  <a:pt x="63" y="330"/>
                </a:cubicBezTo>
                <a:cubicBezTo>
                  <a:pt x="63" y="330"/>
                  <a:pt x="62" y="328"/>
                  <a:pt x="63" y="328"/>
                </a:cubicBezTo>
                <a:cubicBezTo>
                  <a:pt x="61" y="327"/>
                  <a:pt x="61" y="324"/>
                  <a:pt x="61" y="322"/>
                </a:cubicBezTo>
                <a:cubicBezTo>
                  <a:pt x="61" y="321"/>
                  <a:pt x="60" y="319"/>
                  <a:pt x="58" y="318"/>
                </a:cubicBezTo>
                <a:cubicBezTo>
                  <a:pt x="58" y="318"/>
                  <a:pt x="56" y="319"/>
                  <a:pt x="56" y="319"/>
                </a:cubicBezTo>
                <a:cubicBezTo>
                  <a:pt x="56" y="318"/>
                  <a:pt x="55" y="316"/>
                  <a:pt x="54" y="316"/>
                </a:cubicBezTo>
                <a:cubicBezTo>
                  <a:pt x="52" y="316"/>
                  <a:pt x="53" y="319"/>
                  <a:pt x="52" y="321"/>
                </a:cubicBezTo>
                <a:cubicBezTo>
                  <a:pt x="53" y="324"/>
                  <a:pt x="52" y="328"/>
                  <a:pt x="51" y="329"/>
                </a:cubicBezTo>
                <a:cubicBezTo>
                  <a:pt x="50" y="329"/>
                  <a:pt x="49" y="329"/>
                  <a:pt x="49" y="329"/>
                </a:cubicBezTo>
                <a:cubicBezTo>
                  <a:pt x="49" y="330"/>
                  <a:pt x="50" y="330"/>
                  <a:pt x="50" y="331"/>
                </a:cubicBezTo>
                <a:cubicBezTo>
                  <a:pt x="51" y="332"/>
                  <a:pt x="52" y="333"/>
                  <a:pt x="53" y="334"/>
                </a:cubicBezTo>
                <a:cubicBezTo>
                  <a:pt x="53" y="335"/>
                  <a:pt x="53" y="335"/>
                  <a:pt x="53" y="336"/>
                </a:cubicBezTo>
                <a:cubicBezTo>
                  <a:pt x="56" y="333"/>
                  <a:pt x="57" y="335"/>
                  <a:pt x="56" y="337"/>
                </a:cubicBezTo>
                <a:cubicBezTo>
                  <a:pt x="57" y="338"/>
                  <a:pt x="57" y="339"/>
                  <a:pt x="57" y="339"/>
                </a:cubicBezTo>
                <a:cubicBezTo>
                  <a:pt x="57" y="340"/>
                  <a:pt x="56" y="340"/>
                  <a:pt x="56" y="339"/>
                </a:cubicBezTo>
                <a:cubicBezTo>
                  <a:pt x="56" y="340"/>
                  <a:pt x="56" y="341"/>
                  <a:pt x="55" y="341"/>
                </a:cubicBezTo>
                <a:cubicBezTo>
                  <a:pt x="55" y="341"/>
                  <a:pt x="56" y="342"/>
                  <a:pt x="56" y="342"/>
                </a:cubicBezTo>
                <a:cubicBezTo>
                  <a:pt x="56" y="343"/>
                  <a:pt x="57" y="343"/>
                  <a:pt x="57" y="343"/>
                </a:cubicBezTo>
                <a:cubicBezTo>
                  <a:pt x="58" y="344"/>
                  <a:pt x="57" y="345"/>
                  <a:pt x="57" y="345"/>
                </a:cubicBezTo>
                <a:cubicBezTo>
                  <a:pt x="58" y="346"/>
                  <a:pt x="59" y="347"/>
                  <a:pt x="60" y="348"/>
                </a:cubicBezTo>
                <a:cubicBezTo>
                  <a:pt x="60" y="348"/>
                  <a:pt x="61" y="348"/>
                  <a:pt x="61" y="350"/>
                </a:cubicBezTo>
                <a:cubicBezTo>
                  <a:pt x="62" y="351"/>
                  <a:pt x="62" y="351"/>
                  <a:pt x="63" y="352"/>
                </a:cubicBezTo>
                <a:cubicBezTo>
                  <a:pt x="65" y="356"/>
                  <a:pt x="66" y="361"/>
                  <a:pt x="68" y="365"/>
                </a:cubicBezTo>
                <a:cubicBezTo>
                  <a:pt x="68" y="366"/>
                  <a:pt x="68" y="366"/>
                  <a:pt x="68" y="366"/>
                </a:cubicBezTo>
                <a:cubicBezTo>
                  <a:pt x="68" y="366"/>
                  <a:pt x="69" y="365"/>
                  <a:pt x="68" y="365"/>
                </a:cubicBezTo>
                <a:cubicBezTo>
                  <a:pt x="68" y="364"/>
                  <a:pt x="69" y="362"/>
                  <a:pt x="71" y="361"/>
                </a:cubicBezTo>
                <a:cubicBezTo>
                  <a:pt x="71" y="360"/>
                  <a:pt x="71" y="360"/>
                  <a:pt x="71" y="360"/>
                </a:cubicBezTo>
                <a:cubicBezTo>
                  <a:pt x="72" y="360"/>
                  <a:pt x="74" y="359"/>
                  <a:pt x="75" y="359"/>
                </a:cubicBezTo>
                <a:cubicBezTo>
                  <a:pt x="82" y="360"/>
                  <a:pt x="82" y="374"/>
                  <a:pt x="79" y="380"/>
                </a:cubicBezTo>
                <a:cubicBezTo>
                  <a:pt x="79" y="381"/>
                  <a:pt x="77" y="383"/>
                  <a:pt x="75" y="384"/>
                </a:cubicBezTo>
                <a:cubicBezTo>
                  <a:pt x="76" y="386"/>
                  <a:pt x="77" y="388"/>
                  <a:pt x="76" y="388"/>
                </a:cubicBezTo>
                <a:cubicBezTo>
                  <a:pt x="75" y="389"/>
                  <a:pt x="75" y="387"/>
                  <a:pt x="74" y="385"/>
                </a:cubicBezTo>
                <a:cubicBezTo>
                  <a:pt x="74" y="385"/>
                  <a:pt x="74" y="385"/>
                  <a:pt x="74" y="385"/>
                </a:cubicBezTo>
                <a:cubicBezTo>
                  <a:pt x="73" y="386"/>
                  <a:pt x="73" y="388"/>
                  <a:pt x="72" y="388"/>
                </a:cubicBezTo>
                <a:cubicBezTo>
                  <a:pt x="71" y="388"/>
                  <a:pt x="69" y="384"/>
                  <a:pt x="67" y="380"/>
                </a:cubicBezTo>
                <a:cubicBezTo>
                  <a:pt x="68" y="385"/>
                  <a:pt x="68" y="392"/>
                  <a:pt x="69" y="397"/>
                </a:cubicBezTo>
                <a:cubicBezTo>
                  <a:pt x="69" y="397"/>
                  <a:pt x="71" y="404"/>
                  <a:pt x="70" y="404"/>
                </a:cubicBezTo>
                <a:cubicBezTo>
                  <a:pt x="69" y="405"/>
                  <a:pt x="69" y="398"/>
                  <a:pt x="69" y="397"/>
                </a:cubicBezTo>
                <a:cubicBezTo>
                  <a:pt x="68" y="391"/>
                  <a:pt x="66" y="381"/>
                  <a:pt x="65" y="375"/>
                </a:cubicBezTo>
                <a:cubicBezTo>
                  <a:pt x="65" y="375"/>
                  <a:pt x="65" y="374"/>
                  <a:pt x="65" y="374"/>
                </a:cubicBezTo>
                <a:cubicBezTo>
                  <a:pt x="65" y="374"/>
                  <a:pt x="65" y="374"/>
                  <a:pt x="66" y="374"/>
                </a:cubicBezTo>
                <a:cubicBezTo>
                  <a:pt x="66" y="374"/>
                  <a:pt x="66" y="375"/>
                  <a:pt x="66" y="375"/>
                </a:cubicBezTo>
                <a:cubicBezTo>
                  <a:pt x="66" y="374"/>
                  <a:pt x="66" y="373"/>
                  <a:pt x="66" y="371"/>
                </a:cubicBezTo>
                <a:cubicBezTo>
                  <a:pt x="65" y="371"/>
                  <a:pt x="64" y="370"/>
                  <a:pt x="64" y="370"/>
                </a:cubicBezTo>
                <a:cubicBezTo>
                  <a:pt x="64" y="369"/>
                  <a:pt x="65" y="369"/>
                  <a:pt x="65" y="369"/>
                </a:cubicBezTo>
                <a:cubicBezTo>
                  <a:pt x="64" y="368"/>
                  <a:pt x="64" y="368"/>
                  <a:pt x="63" y="367"/>
                </a:cubicBezTo>
                <a:cubicBezTo>
                  <a:pt x="62" y="366"/>
                  <a:pt x="62" y="364"/>
                  <a:pt x="62" y="362"/>
                </a:cubicBezTo>
                <a:cubicBezTo>
                  <a:pt x="61" y="361"/>
                  <a:pt x="60" y="359"/>
                  <a:pt x="58" y="357"/>
                </a:cubicBezTo>
                <a:cubicBezTo>
                  <a:pt x="58" y="357"/>
                  <a:pt x="59" y="357"/>
                  <a:pt x="59" y="356"/>
                </a:cubicBezTo>
                <a:cubicBezTo>
                  <a:pt x="58" y="355"/>
                  <a:pt x="55" y="353"/>
                  <a:pt x="55" y="352"/>
                </a:cubicBezTo>
                <a:cubicBezTo>
                  <a:pt x="55" y="352"/>
                  <a:pt x="55" y="351"/>
                  <a:pt x="55" y="350"/>
                </a:cubicBezTo>
                <a:cubicBezTo>
                  <a:pt x="55" y="348"/>
                  <a:pt x="53" y="347"/>
                  <a:pt x="53" y="345"/>
                </a:cubicBezTo>
                <a:cubicBezTo>
                  <a:pt x="52" y="343"/>
                  <a:pt x="51" y="341"/>
                  <a:pt x="51" y="340"/>
                </a:cubicBezTo>
                <a:cubicBezTo>
                  <a:pt x="51" y="340"/>
                  <a:pt x="51" y="340"/>
                  <a:pt x="51" y="340"/>
                </a:cubicBezTo>
                <a:cubicBezTo>
                  <a:pt x="51" y="339"/>
                  <a:pt x="50" y="339"/>
                  <a:pt x="50" y="338"/>
                </a:cubicBezTo>
                <a:cubicBezTo>
                  <a:pt x="50" y="338"/>
                  <a:pt x="50" y="337"/>
                  <a:pt x="50" y="337"/>
                </a:cubicBezTo>
                <a:cubicBezTo>
                  <a:pt x="50" y="336"/>
                  <a:pt x="49" y="336"/>
                  <a:pt x="49" y="336"/>
                </a:cubicBezTo>
                <a:cubicBezTo>
                  <a:pt x="49" y="335"/>
                  <a:pt x="50" y="335"/>
                  <a:pt x="49" y="334"/>
                </a:cubicBezTo>
                <a:cubicBezTo>
                  <a:pt x="49" y="334"/>
                  <a:pt x="48" y="334"/>
                  <a:pt x="48" y="333"/>
                </a:cubicBezTo>
                <a:cubicBezTo>
                  <a:pt x="48" y="333"/>
                  <a:pt x="48" y="332"/>
                  <a:pt x="48" y="332"/>
                </a:cubicBezTo>
                <a:cubicBezTo>
                  <a:pt x="48" y="331"/>
                  <a:pt x="47" y="331"/>
                  <a:pt x="46" y="330"/>
                </a:cubicBezTo>
                <a:cubicBezTo>
                  <a:pt x="45" y="329"/>
                  <a:pt x="46" y="327"/>
                  <a:pt x="45" y="326"/>
                </a:cubicBezTo>
                <a:cubicBezTo>
                  <a:pt x="42" y="323"/>
                  <a:pt x="41" y="319"/>
                  <a:pt x="38" y="315"/>
                </a:cubicBezTo>
                <a:cubicBezTo>
                  <a:pt x="37" y="312"/>
                  <a:pt x="35" y="309"/>
                  <a:pt x="34" y="306"/>
                </a:cubicBezTo>
                <a:cubicBezTo>
                  <a:pt x="34" y="306"/>
                  <a:pt x="34" y="307"/>
                  <a:pt x="33" y="307"/>
                </a:cubicBezTo>
                <a:cubicBezTo>
                  <a:pt x="33" y="310"/>
                  <a:pt x="29" y="311"/>
                  <a:pt x="29" y="312"/>
                </a:cubicBezTo>
                <a:cubicBezTo>
                  <a:pt x="29" y="313"/>
                  <a:pt x="30" y="314"/>
                  <a:pt x="30" y="314"/>
                </a:cubicBezTo>
                <a:cubicBezTo>
                  <a:pt x="30" y="314"/>
                  <a:pt x="30" y="314"/>
                  <a:pt x="30" y="314"/>
                </a:cubicBezTo>
                <a:cubicBezTo>
                  <a:pt x="30" y="314"/>
                  <a:pt x="30" y="314"/>
                  <a:pt x="30" y="315"/>
                </a:cubicBezTo>
                <a:cubicBezTo>
                  <a:pt x="31" y="316"/>
                  <a:pt x="32" y="316"/>
                  <a:pt x="32" y="317"/>
                </a:cubicBezTo>
                <a:cubicBezTo>
                  <a:pt x="33" y="319"/>
                  <a:pt x="32" y="319"/>
                  <a:pt x="32" y="320"/>
                </a:cubicBezTo>
                <a:cubicBezTo>
                  <a:pt x="32" y="320"/>
                  <a:pt x="32" y="320"/>
                  <a:pt x="32" y="320"/>
                </a:cubicBezTo>
                <a:cubicBezTo>
                  <a:pt x="32" y="321"/>
                  <a:pt x="33" y="321"/>
                  <a:pt x="33" y="321"/>
                </a:cubicBezTo>
                <a:cubicBezTo>
                  <a:pt x="34" y="322"/>
                  <a:pt x="34" y="326"/>
                  <a:pt x="33" y="327"/>
                </a:cubicBezTo>
                <a:cubicBezTo>
                  <a:pt x="33" y="327"/>
                  <a:pt x="32" y="326"/>
                  <a:pt x="31" y="325"/>
                </a:cubicBezTo>
                <a:cubicBezTo>
                  <a:pt x="31" y="325"/>
                  <a:pt x="31" y="326"/>
                  <a:pt x="31" y="326"/>
                </a:cubicBezTo>
                <a:cubicBezTo>
                  <a:pt x="31" y="327"/>
                  <a:pt x="31" y="328"/>
                  <a:pt x="31" y="328"/>
                </a:cubicBezTo>
                <a:cubicBezTo>
                  <a:pt x="30" y="334"/>
                  <a:pt x="27" y="336"/>
                  <a:pt x="24" y="332"/>
                </a:cubicBezTo>
                <a:cubicBezTo>
                  <a:pt x="22" y="330"/>
                  <a:pt x="23" y="321"/>
                  <a:pt x="28" y="321"/>
                </a:cubicBezTo>
                <a:cubicBezTo>
                  <a:pt x="30" y="322"/>
                  <a:pt x="29" y="322"/>
                  <a:pt x="28" y="320"/>
                </a:cubicBezTo>
                <a:cubicBezTo>
                  <a:pt x="27" y="317"/>
                  <a:pt x="29" y="315"/>
                  <a:pt x="27" y="314"/>
                </a:cubicBezTo>
                <a:cubicBezTo>
                  <a:pt x="22" y="311"/>
                  <a:pt x="22" y="308"/>
                  <a:pt x="24" y="304"/>
                </a:cubicBezTo>
                <a:cubicBezTo>
                  <a:pt x="22" y="304"/>
                  <a:pt x="23" y="301"/>
                  <a:pt x="23" y="300"/>
                </a:cubicBezTo>
                <a:cubicBezTo>
                  <a:pt x="23" y="300"/>
                  <a:pt x="22" y="299"/>
                  <a:pt x="23" y="299"/>
                </a:cubicBezTo>
                <a:cubicBezTo>
                  <a:pt x="24" y="298"/>
                  <a:pt x="25" y="298"/>
                  <a:pt x="25" y="299"/>
                </a:cubicBezTo>
                <a:cubicBezTo>
                  <a:pt x="26" y="298"/>
                  <a:pt x="27" y="298"/>
                  <a:pt x="29" y="298"/>
                </a:cubicBezTo>
                <a:cubicBezTo>
                  <a:pt x="30" y="298"/>
                  <a:pt x="31" y="298"/>
                  <a:pt x="31" y="299"/>
                </a:cubicBezTo>
                <a:cubicBezTo>
                  <a:pt x="31" y="298"/>
                  <a:pt x="31" y="298"/>
                  <a:pt x="31" y="298"/>
                </a:cubicBezTo>
                <a:cubicBezTo>
                  <a:pt x="30" y="296"/>
                  <a:pt x="31" y="294"/>
                  <a:pt x="30" y="293"/>
                </a:cubicBezTo>
                <a:cubicBezTo>
                  <a:pt x="30" y="291"/>
                  <a:pt x="29" y="291"/>
                  <a:pt x="28" y="289"/>
                </a:cubicBezTo>
                <a:cubicBezTo>
                  <a:pt x="28" y="288"/>
                  <a:pt x="28" y="286"/>
                  <a:pt x="27" y="284"/>
                </a:cubicBezTo>
                <a:cubicBezTo>
                  <a:pt x="27" y="285"/>
                  <a:pt x="26" y="287"/>
                  <a:pt x="26" y="289"/>
                </a:cubicBezTo>
                <a:cubicBezTo>
                  <a:pt x="27" y="286"/>
                  <a:pt x="24" y="287"/>
                  <a:pt x="25" y="288"/>
                </a:cubicBezTo>
                <a:cubicBezTo>
                  <a:pt x="24" y="287"/>
                  <a:pt x="22" y="287"/>
                  <a:pt x="21" y="286"/>
                </a:cubicBezTo>
                <a:cubicBezTo>
                  <a:pt x="21" y="285"/>
                  <a:pt x="21" y="284"/>
                  <a:pt x="22" y="283"/>
                </a:cubicBezTo>
                <a:cubicBezTo>
                  <a:pt x="21" y="283"/>
                  <a:pt x="21" y="281"/>
                  <a:pt x="21" y="281"/>
                </a:cubicBezTo>
                <a:cubicBezTo>
                  <a:pt x="22" y="281"/>
                  <a:pt x="22" y="281"/>
                  <a:pt x="22" y="282"/>
                </a:cubicBezTo>
                <a:cubicBezTo>
                  <a:pt x="23" y="281"/>
                  <a:pt x="24" y="280"/>
                  <a:pt x="25" y="280"/>
                </a:cubicBezTo>
                <a:cubicBezTo>
                  <a:pt x="25" y="279"/>
                  <a:pt x="24" y="278"/>
                  <a:pt x="24" y="277"/>
                </a:cubicBezTo>
                <a:cubicBezTo>
                  <a:pt x="24" y="278"/>
                  <a:pt x="23" y="278"/>
                  <a:pt x="23" y="279"/>
                </a:cubicBezTo>
                <a:cubicBezTo>
                  <a:pt x="22" y="279"/>
                  <a:pt x="20" y="277"/>
                  <a:pt x="21" y="275"/>
                </a:cubicBezTo>
                <a:cubicBezTo>
                  <a:pt x="19" y="275"/>
                  <a:pt x="19" y="273"/>
                  <a:pt x="19" y="271"/>
                </a:cubicBezTo>
                <a:cubicBezTo>
                  <a:pt x="18" y="271"/>
                  <a:pt x="17" y="271"/>
                  <a:pt x="16" y="272"/>
                </a:cubicBezTo>
                <a:cubicBezTo>
                  <a:pt x="16" y="272"/>
                  <a:pt x="17" y="273"/>
                  <a:pt x="17" y="273"/>
                </a:cubicBezTo>
                <a:cubicBezTo>
                  <a:pt x="18" y="275"/>
                  <a:pt x="16" y="278"/>
                  <a:pt x="17" y="279"/>
                </a:cubicBezTo>
                <a:cubicBezTo>
                  <a:pt x="17" y="282"/>
                  <a:pt x="15" y="284"/>
                  <a:pt x="14" y="284"/>
                </a:cubicBezTo>
                <a:cubicBezTo>
                  <a:pt x="14" y="285"/>
                  <a:pt x="13" y="285"/>
                  <a:pt x="13" y="285"/>
                </a:cubicBezTo>
                <a:cubicBezTo>
                  <a:pt x="13" y="285"/>
                  <a:pt x="13" y="285"/>
                  <a:pt x="12" y="284"/>
                </a:cubicBezTo>
                <a:cubicBezTo>
                  <a:pt x="12" y="284"/>
                  <a:pt x="12" y="284"/>
                  <a:pt x="12" y="284"/>
                </a:cubicBezTo>
                <a:cubicBezTo>
                  <a:pt x="12" y="284"/>
                  <a:pt x="11" y="284"/>
                  <a:pt x="12" y="283"/>
                </a:cubicBezTo>
                <a:cubicBezTo>
                  <a:pt x="12" y="283"/>
                  <a:pt x="12" y="283"/>
                  <a:pt x="12" y="283"/>
                </a:cubicBezTo>
                <a:cubicBezTo>
                  <a:pt x="12" y="283"/>
                  <a:pt x="12" y="283"/>
                  <a:pt x="12" y="283"/>
                </a:cubicBezTo>
                <a:cubicBezTo>
                  <a:pt x="12" y="282"/>
                  <a:pt x="12" y="280"/>
                  <a:pt x="12" y="278"/>
                </a:cubicBezTo>
                <a:cubicBezTo>
                  <a:pt x="12" y="278"/>
                  <a:pt x="12" y="277"/>
                  <a:pt x="12" y="277"/>
                </a:cubicBezTo>
                <a:cubicBezTo>
                  <a:pt x="12" y="278"/>
                  <a:pt x="12" y="278"/>
                  <a:pt x="11" y="279"/>
                </a:cubicBezTo>
                <a:cubicBezTo>
                  <a:pt x="9" y="282"/>
                  <a:pt x="7" y="277"/>
                  <a:pt x="8" y="276"/>
                </a:cubicBezTo>
                <a:cubicBezTo>
                  <a:pt x="8" y="275"/>
                  <a:pt x="9" y="274"/>
                  <a:pt x="9" y="274"/>
                </a:cubicBezTo>
                <a:cubicBezTo>
                  <a:pt x="10" y="274"/>
                  <a:pt x="10" y="275"/>
                  <a:pt x="10" y="275"/>
                </a:cubicBezTo>
                <a:cubicBezTo>
                  <a:pt x="11" y="275"/>
                  <a:pt x="11" y="275"/>
                  <a:pt x="11" y="276"/>
                </a:cubicBezTo>
                <a:cubicBezTo>
                  <a:pt x="11" y="275"/>
                  <a:pt x="11" y="275"/>
                  <a:pt x="11" y="275"/>
                </a:cubicBezTo>
                <a:cubicBezTo>
                  <a:pt x="11" y="275"/>
                  <a:pt x="10" y="274"/>
                  <a:pt x="10" y="274"/>
                </a:cubicBezTo>
                <a:cubicBezTo>
                  <a:pt x="10" y="274"/>
                  <a:pt x="10" y="273"/>
                  <a:pt x="10" y="272"/>
                </a:cubicBezTo>
                <a:cubicBezTo>
                  <a:pt x="10" y="273"/>
                  <a:pt x="10" y="273"/>
                  <a:pt x="10" y="273"/>
                </a:cubicBezTo>
                <a:cubicBezTo>
                  <a:pt x="10" y="273"/>
                  <a:pt x="9" y="272"/>
                  <a:pt x="9" y="272"/>
                </a:cubicBezTo>
                <a:cubicBezTo>
                  <a:pt x="10" y="271"/>
                  <a:pt x="11" y="271"/>
                  <a:pt x="11" y="272"/>
                </a:cubicBezTo>
                <a:cubicBezTo>
                  <a:pt x="11" y="271"/>
                  <a:pt x="12" y="270"/>
                  <a:pt x="13" y="269"/>
                </a:cubicBezTo>
                <a:cubicBezTo>
                  <a:pt x="12" y="266"/>
                  <a:pt x="11" y="263"/>
                  <a:pt x="9" y="262"/>
                </a:cubicBezTo>
                <a:cubicBezTo>
                  <a:pt x="9" y="262"/>
                  <a:pt x="8" y="262"/>
                  <a:pt x="7" y="263"/>
                </a:cubicBezTo>
                <a:cubicBezTo>
                  <a:pt x="7" y="263"/>
                  <a:pt x="7" y="263"/>
                  <a:pt x="7" y="263"/>
                </a:cubicBezTo>
                <a:cubicBezTo>
                  <a:pt x="6" y="263"/>
                  <a:pt x="6" y="263"/>
                  <a:pt x="6" y="262"/>
                </a:cubicBezTo>
                <a:cubicBezTo>
                  <a:pt x="6" y="262"/>
                  <a:pt x="7" y="257"/>
                  <a:pt x="9" y="260"/>
                </a:cubicBezTo>
                <a:cubicBezTo>
                  <a:pt x="9" y="260"/>
                  <a:pt x="8" y="261"/>
                  <a:pt x="8" y="261"/>
                </a:cubicBezTo>
                <a:cubicBezTo>
                  <a:pt x="11" y="263"/>
                  <a:pt x="10" y="259"/>
                  <a:pt x="10" y="256"/>
                </a:cubicBezTo>
                <a:cubicBezTo>
                  <a:pt x="11" y="254"/>
                  <a:pt x="12" y="252"/>
                  <a:pt x="13" y="250"/>
                </a:cubicBezTo>
                <a:cubicBezTo>
                  <a:pt x="13" y="250"/>
                  <a:pt x="11" y="245"/>
                  <a:pt x="10" y="243"/>
                </a:cubicBezTo>
                <a:cubicBezTo>
                  <a:pt x="10" y="242"/>
                  <a:pt x="9" y="241"/>
                  <a:pt x="9" y="240"/>
                </a:cubicBezTo>
                <a:cubicBezTo>
                  <a:pt x="9" y="240"/>
                  <a:pt x="9" y="240"/>
                  <a:pt x="9" y="240"/>
                </a:cubicBezTo>
                <a:cubicBezTo>
                  <a:pt x="8" y="239"/>
                  <a:pt x="8" y="239"/>
                  <a:pt x="8" y="239"/>
                </a:cubicBezTo>
                <a:cubicBezTo>
                  <a:pt x="8" y="239"/>
                  <a:pt x="8" y="239"/>
                  <a:pt x="8" y="239"/>
                </a:cubicBezTo>
                <a:cubicBezTo>
                  <a:pt x="8" y="240"/>
                  <a:pt x="8" y="240"/>
                  <a:pt x="7" y="240"/>
                </a:cubicBezTo>
                <a:cubicBezTo>
                  <a:pt x="8" y="240"/>
                  <a:pt x="8" y="238"/>
                  <a:pt x="8" y="237"/>
                </a:cubicBezTo>
                <a:cubicBezTo>
                  <a:pt x="7" y="237"/>
                  <a:pt x="7" y="237"/>
                  <a:pt x="7" y="236"/>
                </a:cubicBezTo>
                <a:cubicBezTo>
                  <a:pt x="7" y="236"/>
                  <a:pt x="7" y="236"/>
                  <a:pt x="7" y="236"/>
                </a:cubicBezTo>
                <a:cubicBezTo>
                  <a:pt x="7" y="236"/>
                  <a:pt x="7" y="236"/>
                  <a:pt x="7" y="235"/>
                </a:cubicBezTo>
                <a:cubicBezTo>
                  <a:pt x="7" y="234"/>
                  <a:pt x="6" y="234"/>
                  <a:pt x="5" y="235"/>
                </a:cubicBezTo>
                <a:cubicBezTo>
                  <a:pt x="6" y="234"/>
                  <a:pt x="5" y="239"/>
                  <a:pt x="4" y="238"/>
                </a:cubicBezTo>
                <a:cubicBezTo>
                  <a:pt x="4" y="238"/>
                  <a:pt x="4" y="235"/>
                  <a:pt x="4" y="233"/>
                </a:cubicBezTo>
                <a:cubicBezTo>
                  <a:pt x="4" y="233"/>
                  <a:pt x="3" y="233"/>
                  <a:pt x="3" y="233"/>
                </a:cubicBezTo>
                <a:cubicBezTo>
                  <a:pt x="3" y="236"/>
                  <a:pt x="3" y="234"/>
                  <a:pt x="2" y="233"/>
                </a:cubicBezTo>
                <a:cubicBezTo>
                  <a:pt x="2" y="233"/>
                  <a:pt x="2" y="233"/>
                  <a:pt x="1" y="233"/>
                </a:cubicBezTo>
                <a:cubicBezTo>
                  <a:pt x="1" y="233"/>
                  <a:pt x="1" y="234"/>
                  <a:pt x="1" y="234"/>
                </a:cubicBezTo>
                <a:cubicBezTo>
                  <a:pt x="1" y="272"/>
                  <a:pt x="1" y="272"/>
                  <a:pt x="1" y="272"/>
                </a:cubicBezTo>
                <a:cubicBezTo>
                  <a:pt x="1" y="273"/>
                  <a:pt x="2" y="274"/>
                  <a:pt x="1" y="275"/>
                </a:cubicBezTo>
                <a:cubicBezTo>
                  <a:pt x="1" y="275"/>
                  <a:pt x="1" y="275"/>
                  <a:pt x="1" y="275"/>
                </a:cubicBezTo>
                <a:cubicBezTo>
                  <a:pt x="1" y="359"/>
                  <a:pt x="1" y="359"/>
                  <a:pt x="1" y="359"/>
                </a:cubicBezTo>
                <a:cubicBezTo>
                  <a:pt x="1" y="359"/>
                  <a:pt x="1" y="359"/>
                  <a:pt x="1" y="359"/>
                </a:cubicBezTo>
                <a:cubicBezTo>
                  <a:pt x="7" y="360"/>
                  <a:pt x="4" y="368"/>
                  <a:pt x="1" y="371"/>
                </a:cubicBezTo>
                <a:cubicBezTo>
                  <a:pt x="1" y="448"/>
                  <a:pt x="1" y="448"/>
                  <a:pt x="1" y="448"/>
                </a:cubicBezTo>
                <a:cubicBezTo>
                  <a:pt x="1" y="448"/>
                  <a:pt x="1" y="449"/>
                  <a:pt x="1" y="451"/>
                </a:cubicBezTo>
                <a:cubicBezTo>
                  <a:pt x="1" y="588"/>
                  <a:pt x="1" y="588"/>
                  <a:pt x="1" y="588"/>
                </a:cubicBezTo>
                <a:cubicBezTo>
                  <a:pt x="302" y="762"/>
                  <a:pt x="302" y="762"/>
                  <a:pt x="302" y="762"/>
                </a:cubicBezTo>
                <a:cubicBezTo>
                  <a:pt x="305" y="760"/>
                  <a:pt x="299" y="759"/>
                  <a:pt x="298" y="758"/>
                </a:cubicBezTo>
                <a:close/>
                <a:moveTo>
                  <a:pt x="435" y="727"/>
                </a:moveTo>
                <a:cubicBezTo>
                  <a:pt x="435" y="728"/>
                  <a:pt x="433" y="728"/>
                  <a:pt x="432" y="727"/>
                </a:cubicBezTo>
                <a:cubicBezTo>
                  <a:pt x="432" y="726"/>
                  <a:pt x="434" y="725"/>
                  <a:pt x="435" y="727"/>
                </a:cubicBezTo>
                <a:close/>
                <a:moveTo>
                  <a:pt x="442" y="708"/>
                </a:moveTo>
                <a:cubicBezTo>
                  <a:pt x="440" y="708"/>
                  <a:pt x="440" y="706"/>
                  <a:pt x="442" y="708"/>
                </a:cubicBezTo>
                <a:close/>
                <a:moveTo>
                  <a:pt x="440" y="704"/>
                </a:moveTo>
                <a:cubicBezTo>
                  <a:pt x="439" y="704"/>
                  <a:pt x="439" y="702"/>
                  <a:pt x="440" y="704"/>
                </a:cubicBezTo>
                <a:close/>
                <a:moveTo>
                  <a:pt x="507" y="674"/>
                </a:moveTo>
                <a:cubicBezTo>
                  <a:pt x="509" y="673"/>
                  <a:pt x="509" y="676"/>
                  <a:pt x="507" y="674"/>
                </a:cubicBezTo>
                <a:close/>
                <a:moveTo>
                  <a:pt x="501" y="668"/>
                </a:moveTo>
                <a:cubicBezTo>
                  <a:pt x="502" y="670"/>
                  <a:pt x="499" y="669"/>
                  <a:pt x="499" y="668"/>
                </a:cubicBezTo>
                <a:cubicBezTo>
                  <a:pt x="499" y="667"/>
                  <a:pt x="501" y="667"/>
                  <a:pt x="501" y="668"/>
                </a:cubicBezTo>
                <a:close/>
                <a:moveTo>
                  <a:pt x="500" y="675"/>
                </a:moveTo>
                <a:cubicBezTo>
                  <a:pt x="499" y="676"/>
                  <a:pt x="498" y="674"/>
                  <a:pt x="498" y="674"/>
                </a:cubicBezTo>
                <a:cubicBezTo>
                  <a:pt x="499" y="674"/>
                  <a:pt x="499" y="675"/>
                  <a:pt x="500" y="675"/>
                </a:cubicBezTo>
                <a:close/>
                <a:moveTo>
                  <a:pt x="510" y="641"/>
                </a:moveTo>
                <a:cubicBezTo>
                  <a:pt x="510" y="641"/>
                  <a:pt x="511" y="641"/>
                  <a:pt x="511" y="641"/>
                </a:cubicBezTo>
                <a:cubicBezTo>
                  <a:pt x="513" y="643"/>
                  <a:pt x="509" y="642"/>
                  <a:pt x="510" y="641"/>
                </a:cubicBezTo>
                <a:close/>
                <a:moveTo>
                  <a:pt x="509" y="646"/>
                </a:moveTo>
                <a:cubicBezTo>
                  <a:pt x="510" y="648"/>
                  <a:pt x="507" y="646"/>
                  <a:pt x="508" y="645"/>
                </a:cubicBezTo>
                <a:cubicBezTo>
                  <a:pt x="509" y="645"/>
                  <a:pt x="509" y="646"/>
                  <a:pt x="509" y="646"/>
                </a:cubicBezTo>
                <a:close/>
                <a:moveTo>
                  <a:pt x="508" y="643"/>
                </a:moveTo>
                <a:cubicBezTo>
                  <a:pt x="509" y="642"/>
                  <a:pt x="509" y="643"/>
                  <a:pt x="509" y="644"/>
                </a:cubicBezTo>
                <a:cubicBezTo>
                  <a:pt x="510" y="645"/>
                  <a:pt x="507" y="644"/>
                  <a:pt x="508" y="643"/>
                </a:cubicBezTo>
                <a:close/>
                <a:moveTo>
                  <a:pt x="500" y="642"/>
                </a:moveTo>
                <a:cubicBezTo>
                  <a:pt x="500" y="642"/>
                  <a:pt x="502" y="645"/>
                  <a:pt x="502" y="646"/>
                </a:cubicBezTo>
                <a:cubicBezTo>
                  <a:pt x="501" y="651"/>
                  <a:pt x="497" y="643"/>
                  <a:pt x="500" y="642"/>
                </a:cubicBezTo>
                <a:close/>
                <a:moveTo>
                  <a:pt x="498" y="644"/>
                </a:moveTo>
                <a:cubicBezTo>
                  <a:pt x="498" y="644"/>
                  <a:pt x="498" y="644"/>
                  <a:pt x="498" y="644"/>
                </a:cubicBezTo>
                <a:cubicBezTo>
                  <a:pt x="498" y="644"/>
                  <a:pt x="496" y="644"/>
                  <a:pt x="498" y="644"/>
                </a:cubicBezTo>
                <a:close/>
                <a:moveTo>
                  <a:pt x="495" y="636"/>
                </a:moveTo>
                <a:cubicBezTo>
                  <a:pt x="496" y="635"/>
                  <a:pt x="497" y="638"/>
                  <a:pt x="495" y="636"/>
                </a:cubicBezTo>
                <a:close/>
                <a:moveTo>
                  <a:pt x="495" y="637"/>
                </a:moveTo>
                <a:cubicBezTo>
                  <a:pt x="496" y="637"/>
                  <a:pt x="496" y="638"/>
                  <a:pt x="496" y="638"/>
                </a:cubicBezTo>
                <a:cubicBezTo>
                  <a:pt x="496" y="639"/>
                  <a:pt x="494" y="638"/>
                  <a:pt x="495" y="637"/>
                </a:cubicBezTo>
                <a:close/>
                <a:moveTo>
                  <a:pt x="493" y="642"/>
                </a:moveTo>
                <a:cubicBezTo>
                  <a:pt x="493" y="642"/>
                  <a:pt x="494" y="643"/>
                  <a:pt x="494" y="643"/>
                </a:cubicBezTo>
                <a:cubicBezTo>
                  <a:pt x="494" y="645"/>
                  <a:pt x="492" y="643"/>
                  <a:pt x="493" y="642"/>
                </a:cubicBezTo>
                <a:close/>
                <a:moveTo>
                  <a:pt x="494" y="650"/>
                </a:moveTo>
                <a:cubicBezTo>
                  <a:pt x="494" y="650"/>
                  <a:pt x="493" y="653"/>
                  <a:pt x="492" y="651"/>
                </a:cubicBezTo>
                <a:cubicBezTo>
                  <a:pt x="492" y="650"/>
                  <a:pt x="494" y="648"/>
                  <a:pt x="494" y="650"/>
                </a:cubicBezTo>
                <a:close/>
                <a:moveTo>
                  <a:pt x="498" y="620"/>
                </a:moveTo>
                <a:cubicBezTo>
                  <a:pt x="498" y="620"/>
                  <a:pt x="498" y="620"/>
                  <a:pt x="498" y="620"/>
                </a:cubicBezTo>
                <a:cubicBezTo>
                  <a:pt x="498" y="620"/>
                  <a:pt x="498" y="620"/>
                  <a:pt x="498" y="620"/>
                </a:cubicBezTo>
                <a:cubicBezTo>
                  <a:pt x="498" y="620"/>
                  <a:pt x="498" y="620"/>
                  <a:pt x="498" y="620"/>
                </a:cubicBezTo>
                <a:close/>
                <a:moveTo>
                  <a:pt x="492" y="624"/>
                </a:moveTo>
                <a:cubicBezTo>
                  <a:pt x="493" y="624"/>
                  <a:pt x="493" y="625"/>
                  <a:pt x="492" y="624"/>
                </a:cubicBezTo>
                <a:close/>
                <a:moveTo>
                  <a:pt x="490" y="621"/>
                </a:moveTo>
                <a:cubicBezTo>
                  <a:pt x="491" y="622"/>
                  <a:pt x="490" y="624"/>
                  <a:pt x="489" y="624"/>
                </a:cubicBezTo>
                <a:cubicBezTo>
                  <a:pt x="489" y="623"/>
                  <a:pt x="490" y="621"/>
                  <a:pt x="490" y="621"/>
                </a:cubicBezTo>
                <a:close/>
                <a:moveTo>
                  <a:pt x="489" y="620"/>
                </a:moveTo>
                <a:cubicBezTo>
                  <a:pt x="490" y="620"/>
                  <a:pt x="487" y="619"/>
                  <a:pt x="489" y="620"/>
                </a:cubicBezTo>
                <a:close/>
                <a:moveTo>
                  <a:pt x="485" y="657"/>
                </a:moveTo>
                <a:cubicBezTo>
                  <a:pt x="486" y="656"/>
                  <a:pt x="487" y="657"/>
                  <a:pt x="487" y="657"/>
                </a:cubicBezTo>
                <a:cubicBezTo>
                  <a:pt x="488" y="659"/>
                  <a:pt x="484" y="658"/>
                  <a:pt x="485" y="657"/>
                </a:cubicBezTo>
                <a:close/>
                <a:moveTo>
                  <a:pt x="485" y="644"/>
                </a:moveTo>
                <a:cubicBezTo>
                  <a:pt x="489" y="644"/>
                  <a:pt x="487" y="647"/>
                  <a:pt x="485" y="644"/>
                </a:cubicBezTo>
                <a:close/>
                <a:moveTo>
                  <a:pt x="484" y="637"/>
                </a:moveTo>
                <a:cubicBezTo>
                  <a:pt x="485" y="636"/>
                  <a:pt x="486" y="637"/>
                  <a:pt x="486" y="637"/>
                </a:cubicBezTo>
                <a:cubicBezTo>
                  <a:pt x="486" y="639"/>
                  <a:pt x="484" y="637"/>
                  <a:pt x="484" y="637"/>
                </a:cubicBezTo>
                <a:close/>
                <a:moveTo>
                  <a:pt x="536" y="658"/>
                </a:moveTo>
                <a:cubicBezTo>
                  <a:pt x="533" y="660"/>
                  <a:pt x="529" y="656"/>
                  <a:pt x="530" y="654"/>
                </a:cubicBezTo>
                <a:cubicBezTo>
                  <a:pt x="531" y="652"/>
                  <a:pt x="537" y="654"/>
                  <a:pt x="538" y="655"/>
                </a:cubicBezTo>
                <a:cubicBezTo>
                  <a:pt x="538" y="655"/>
                  <a:pt x="536" y="658"/>
                  <a:pt x="536" y="658"/>
                </a:cubicBezTo>
                <a:close/>
                <a:moveTo>
                  <a:pt x="555" y="657"/>
                </a:moveTo>
                <a:cubicBezTo>
                  <a:pt x="553" y="657"/>
                  <a:pt x="556" y="658"/>
                  <a:pt x="555" y="657"/>
                </a:cubicBezTo>
                <a:close/>
                <a:moveTo>
                  <a:pt x="551" y="654"/>
                </a:moveTo>
                <a:cubicBezTo>
                  <a:pt x="551" y="654"/>
                  <a:pt x="552" y="654"/>
                  <a:pt x="552" y="654"/>
                </a:cubicBezTo>
                <a:cubicBezTo>
                  <a:pt x="553" y="656"/>
                  <a:pt x="549" y="655"/>
                  <a:pt x="551" y="654"/>
                </a:cubicBezTo>
                <a:close/>
                <a:moveTo>
                  <a:pt x="550" y="653"/>
                </a:moveTo>
                <a:cubicBezTo>
                  <a:pt x="550" y="653"/>
                  <a:pt x="550" y="654"/>
                  <a:pt x="549" y="654"/>
                </a:cubicBezTo>
                <a:cubicBezTo>
                  <a:pt x="549" y="653"/>
                  <a:pt x="550" y="653"/>
                  <a:pt x="550" y="653"/>
                </a:cubicBezTo>
                <a:close/>
                <a:moveTo>
                  <a:pt x="546" y="654"/>
                </a:moveTo>
                <a:cubicBezTo>
                  <a:pt x="547" y="654"/>
                  <a:pt x="548" y="655"/>
                  <a:pt x="547" y="656"/>
                </a:cubicBezTo>
                <a:cubicBezTo>
                  <a:pt x="546" y="656"/>
                  <a:pt x="546" y="654"/>
                  <a:pt x="546" y="654"/>
                </a:cubicBezTo>
                <a:close/>
                <a:moveTo>
                  <a:pt x="543" y="650"/>
                </a:moveTo>
                <a:cubicBezTo>
                  <a:pt x="544" y="649"/>
                  <a:pt x="545" y="650"/>
                  <a:pt x="545" y="650"/>
                </a:cubicBezTo>
                <a:cubicBezTo>
                  <a:pt x="546" y="653"/>
                  <a:pt x="542" y="651"/>
                  <a:pt x="543" y="650"/>
                </a:cubicBezTo>
                <a:close/>
                <a:moveTo>
                  <a:pt x="542" y="658"/>
                </a:moveTo>
                <a:cubicBezTo>
                  <a:pt x="544" y="657"/>
                  <a:pt x="543" y="659"/>
                  <a:pt x="542" y="658"/>
                </a:cubicBezTo>
                <a:close/>
                <a:moveTo>
                  <a:pt x="564" y="640"/>
                </a:moveTo>
                <a:cubicBezTo>
                  <a:pt x="565" y="640"/>
                  <a:pt x="564" y="641"/>
                  <a:pt x="564" y="641"/>
                </a:cubicBezTo>
                <a:cubicBezTo>
                  <a:pt x="564" y="643"/>
                  <a:pt x="562" y="640"/>
                  <a:pt x="564" y="640"/>
                </a:cubicBezTo>
                <a:close/>
                <a:moveTo>
                  <a:pt x="549" y="622"/>
                </a:moveTo>
                <a:cubicBezTo>
                  <a:pt x="549" y="622"/>
                  <a:pt x="549" y="622"/>
                  <a:pt x="549" y="622"/>
                </a:cubicBezTo>
                <a:cubicBezTo>
                  <a:pt x="548" y="621"/>
                  <a:pt x="549" y="622"/>
                  <a:pt x="549" y="622"/>
                </a:cubicBezTo>
                <a:close/>
                <a:moveTo>
                  <a:pt x="541" y="636"/>
                </a:moveTo>
                <a:cubicBezTo>
                  <a:pt x="543" y="634"/>
                  <a:pt x="547" y="636"/>
                  <a:pt x="547" y="638"/>
                </a:cubicBezTo>
                <a:cubicBezTo>
                  <a:pt x="547" y="643"/>
                  <a:pt x="539" y="639"/>
                  <a:pt x="541" y="636"/>
                </a:cubicBezTo>
                <a:close/>
                <a:moveTo>
                  <a:pt x="547" y="620"/>
                </a:moveTo>
                <a:cubicBezTo>
                  <a:pt x="547" y="620"/>
                  <a:pt x="547" y="620"/>
                  <a:pt x="547" y="619"/>
                </a:cubicBezTo>
                <a:cubicBezTo>
                  <a:pt x="546" y="619"/>
                  <a:pt x="546" y="619"/>
                  <a:pt x="546" y="619"/>
                </a:cubicBezTo>
                <a:cubicBezTo>
                  <a:pt x="546" y="619"/>
                  <a:pt x="547" y="620"/>
                  <a:pt x="547" y="620"/>
                </a:cubicBezTo>
                <a:close/>
                <a:moveTo>
                  <a:pt x="546" y="630"/>
                </a:moveTo>
                <a:cubicBezTo>
                  <a:pt x="547" y="633"/>
                  <a:pt x="544" y="631"/>
                  <a:pt x="543" y="630"/>
                </a:cubicBezTo>
                <a:cubicBezTo>
                  <a:pt x="543" y="629"/>
                  <a:pt x="546" y="629"/>
                  <a:pt x="546" y="630"/>
                </a:cubicBezTo>
                <a:close/>
                <a:moveTo>
                  <a:pt x="541" y="625"/>
                </a:moveTo>
                <a:cubicBezTo>
                  <a:pt x="542" y="625"/>
                  <a:pt x="542" y="626"/>
                  <a:pt x="542" y="626"/>
                </a:cubicBezTo>
                <a:cubicBezTo>
                  <a:pt x="543" y="628"/>
                  <a:pt x="540" y="626"/>
                  <a:pt x="541" y="625"/>
                </a:cubicBezTo>
                <a:close/>
                <a:moveTo>
                  <a:pt x="537" y="624"/>
                </a:moveTo>
                <a:cubicBezTo>
                  <a:pt x="537" y="624"/>
                  <a:pt x="538" y="625"/>
                  <a:pt x="538" y="625"/>
                </a:cubicBezTo>
                <a:cubicBezTo>
                  <a:pt x="539" y="626"/>
                  <a:pt x="535" y="625"/>
                  <a:pt x="537" y="624"/>
                </a:cubicBezTo>
                <a:close/>
                <a:moveTo>
                  <a:pt x="546" y="599"/>
                </a:moveTo>
                <a:cubicBezTo>
                  <a:pt x="547" y="598"/>
                  <a:pt x="547" y="601"/>
                  <a:pt x="546" y="599"/>
                </a:cubicBezTo>
                <a:close/>
                <a:moveTo>
                  <a:pt x="541" y="575"/>
                </a:moveTo>
                <a:cubicBezTo>
                  <a:pt x="542" y="576"/>
                  <a:pt x="541" y="573"/>
                  <a:pt x="541" y="575"/>
                </a:cubicBezTo>
                <a:close/>
                <a:moveTo>
                  <a:pt x="537" y="591"/>
                </a:moveTo>
                <a:cubicBezTo>
                  <a:pt x="537" y="591"/>
                  <a:pt x="537" y="591"/>
                  <a:pt x="537" y="591"/>
                </a:cubicBezTo>
                <a:cubicBezTo>
                  <a:pt x="535" y="590"/>
                  <a:pt x="539" y="590"/>
                  <a:pt x="537" y="591"/>
                </a:cubicBezTo>
                <a:close/>
                <a:moveTo>
                  <a:pt x="539" y="565"/>
                </a:moveTo>
                <a:cubicBezTo>
                  <a:pt x="539" y="565"/>
                  <a:pt x="539" y="565"/>
                  <a:pt x="539" y="565"/>
                </a:cubicBezTo>
                <a:cubicBezTo>
                  <a:pt x="539" y="564"/>
                  <a:pt x="539" y="563"/>
                  <a:pt x="539" y="565"/>
                </a:cubicBezTo>
                <a:close/>
                <a:moveTo>
                  <a:pt x="565" y="556"/>
                </a:moveTo>
                <a:cubicBezTo>
                  <a:pt x="564" y="557"/>
                  <a:pt x="564" y="555"/>
                  <a:pt x="565" y="556"/>
                </a:cubicBezTo>
                <a:close/>
                <a:moveTo>
                  <a:pt x="562" y="554"/>
                </a:moveTo>
                <a:cubicBezTo>
                  <a:pt x="564" y="554"/>
                  <a:pt x="562" y="555"/>
                  <a:pt x="562" y="554"/>
                </a:cubicBezTo>
                <a:close/>
                <a:moveTo>
                  <a:pt x="559" y="574"/>
                </a:moveTo>
                <a:cubicBezTo>
                  <a:pt x="559" y="574"/>
                  <a:pt x="559" y="574"/>
                  <a:pt x="560" y="574"/>
                </a:cubicBezTo>
                <a:cubicBezTo>
                  <a:pt x="560" y="574"/>
                  <a:pt x="560" y="574"/>
                  <a:pt x="560" y="574"/>
                </a:cubicBezTo>
                <a:cubicBezTo>
                  <a:pt x="560" y="574"/>
                  <a:pt x="560" y="574"/>
                  <a:pt x="560" y="574"/>
                </a:cubicBezTo>
                <a:cubicBezTo>
                  <a:pt x="559" y="574"/>
                  <a:pt x="559" y="574"/>
                  <a:pt x="559" y="573"/>
                </a:cubicBezTo>
                <a:cubicBezTo>
                  <a:pt x="559" y="573"/>
                  <a:pt x="559" y="574"/>
                  <a:pt x="559" y="574"/>
                </a:cubicBezTo>
                <a:close/>
                <a:moveTo>
                  <a:pt x="554" y="557"/>
                </a:moveTo>
                <a:cubicBezTo>
                  <a:pt x="554" y="558"/>
                  <a:pt x="553" y="554"/>
                  <a:pt x="554" y="557"/>
                </a:cubicBezTo>
                <a:close/>
                <a:moveTo>
                  <a:pt x="551" y="572"/>
                </a:moveTo>
                <a:cubicBezTo>
                  <a:pt x="552" y="572"/>
                  <a:pt x="552" y="574"/>
                  <a:pt x="552" y="574"/>
                </a:cubicBezTo>
                <a:cubicBezTo>
                  <a:pt x="552" y="575"/>
                  <a:pt x="551" y="573"/>
                  <a:pt x="551" y="572"/>
                </a:cubicBezTo>
                <a:close/>
                <a:moveTo>
                  <a:pt x="551" y="559"/>
                </a:moveTo>
                <a:cubicBezTo>
                  <a:pt x="551" y="559"/>
                  <a:pt x="552" y="560"/>
                  <a:pt x="551" y="559"/>
                </a:cubicBezTo>
                <a:cubicBezTo>
                  <a:pt x="551" y="559"/>
                  <a:pt x="551" y="559"/>
                  <a:pt x="551" y="559"/>
                </a:cubicBezTo>
                <a:close/>
                <a:moveTo>
                  <a:pt x="552" y="557"/>
                </a:moveTo>
                <a:cubicBezTo>
                  <a:pt x="552" y="558"/>
                  <a:pt x="553" y="559"/>
                  <a:pt x="552" y="559"/>
                </a:cubicBezTo>
                <a:cubicBezTo>
                  <a:pt x="550" y="560"/>
                  <a:pt x="551" y="555"/>
                  <a:pt x="552" y="557"/>
                </a:cubicBezTo>
                <a:close/>
                <a:moveTo>
                  <a:pt x="551" y="551"/>
                </a:moveTo>
                <a:cubicBezTo>
                  <a:pt x="551" y="552"/>
                  <a:pt x="551" y="550"/>
                  <a:pt x="550" y="550"/>
                </a:cubicBezTo>
                <a:cubicBezTo>
                  <a:pt x="551" y="549"/>
                  <a:pt x="551" y="551"/>
                  <a:pt x="551" y="551"/>
                </a:cubicBezTo>
                <a:close/>
                <a:moveTo>
                  <a:pt x="592" y="604"/>
                </a:moveTo>
                <a:cubicBezTo>
                  <a:pt x="592" y="605"/>
                  <a:pt x="593" y="606"/>
                  <a:pt x="593" y="608"/>
                </a:cubicBezTo>
                <a:cubicBezTo>
                  <a:pt x="592" y="607"/>
                  <a:pt x="591" y="606"/>
                  <a:pt x="592" y="604"/>
                </a:cubicBezTo>
                <a:close/>
                <a:moveTo>
                  <a:pt x="595" y="604"/>
                </a:moveTo>
                <a:cubicBezTo>
                  <a:pt x="596" y="606"/>
                  <a:pt x="594" y="603"/>
                  <a:pt x="595" y="604"/>
                </a:cubicBezTo>
                <a:close/>
                <a:moveTo>
                  <a:pt x="606" y="616"/>
                </a:moveTo>
                <a:cubicBezTo>
                  <a:pt x="606" y="616"/>
                  <a:pt x="606" y="617"/>
                  <a:pt x="606" y="617"/>
                </a:cubicBezTo>
                <a:cubicBezTo>
                  <a:pt x="605" y="618"/>
                  <a:pt x="605" y="616"/>
                  <a:pt x="606" y="616"/>
                </a:cubicBezTo>
                <a:close/>
                <a:moveTo>
                  <a:pt x="679" y="480"/>
                </a:moveTo>
                <a:cubicBezTo>
                  <a:pt x="678" y="480"/>
                  <a:pt x="678" y="480"/>
                  <a:pt x="678" y="479"/>
                </a:cubicBezTo>
                <a:cubicBezTo>
                  <a:pt x="678" y="478"/>
                  <a:pt x="680" y="480"/>
                  <a:pt x="679" y="480"/>
                </a:cubicBezTo>
                <a:close/>
                <a:moveTo>
                  <a:pt x="663" y="546"/>
                </a:moveTo>
                <a:cubicBezTo>
                  <a:pt x="664" y="544"/>
                  <a:pt x="665" y="546"/>
                  <a:pt x="666" y="547"/>
                </a:cubicBezTo>
                <a:cubicBezTo>
                  <a:pt x="666" y="550"/>
                  <a:pt x="661" y="548"/>
                  <a:pt x="663" y="546"/>
                </a:cubicBezTo>
                <a:close/>
                <a:moveTo>
                  <a:pt x="668" y="558"/>
                </a:moveTo>
                <a:cubicBezTo>
                  <a:pt x="668" y="558"/>
                  <a:pt x="668" y="558"/>
                  <a:pt x="667" y="558"/>
                </a:cubicBezTo>
                <a:cubicBezTo>
                  <a:pt x="664" y="557"/>
                  <a:pt x="669" y="555"/>
                  <a:pt x="668" y="558"/>
                </a:cubicBezTo>
                <a:close/>
                <a:moveTo>
                  <a:pt x="668" y="529"/>
                </a:moveTo>
                <a:cubicBezTo>
                  <a:pt x="669" y="528"/>
                  <a:pt x="669" y="529"/>
                  <a:pt x="670" y="529"/>
                </a:cubicBezTo>
                <a:cubicBezTo>
                  <a:pt x="670" y="531"/>
                  <a:pt x="667" y="530"/>
                  <a:pt x="668" y="529"/>
                </a:cubicBezTo>
                <a:close/>
                <a:moveTo>
                  <a:pt x="671" y="547"/>
                </a:moveTo>
                <a:cubicBezTo>
                  <a:pt x="670" y="546"/>
                  <a:pt x="670" y="545"/>
                  <a:pt x="671" y="545"/>
                </a:cubicBezTo>
                <a:cubicBezTo>
                  <a:pt x="671" y="545"/>
                  <a:pt x="673" y="547"/>
                  <a:pt x="671" y="547"/>
                </a:cubicBezTo>
                <a:close/>
                <a:moveTo>
                  <a:pt x="674" y="539"/>
                </a:moveTo>
                <a:cubicBezTo>
                  <a:pt x="674" y="540"/>
                  <a:pt x="675" y="541"/>
                  <a:pt x="674" y="541"/>
                </a:cubicBezTo>
                <a:cubicBezTo>
                  <a:pt x="672" y="541"/>
                  <a:pt x="674" y="537"/>
                  <a:pt x="674" y="539"/>
                </a:cubicBezTo>
                <a:close/>
                <a:moveTo>
                  <a:pt x="674" y="500"/>
                </a:moveTo>
                <a:cubicBezTo>
                  <a:pt x="675" y="501"/>
                  <a:pt x="673" y="501"/>
                  <a:pt x="674" y="500"/>
                </a:cubicBezTo>
                <a:close/>
                <a:moveTo>
                  <a:pt x="674" y="542"/>
                </a:moveTo>
                <a:cubicBezTo>
                  <a:pt x="674" y="542"/>
                  <a:pt x="674" y="543"/>
                  <a:pt x="674" y="544"/>
                </a:cubicBezTo>
                <a:cubicBezTo>
                  <a:pt x="674" y="544"/>
                  <a:pt x="675" y="544"/>
                  <a:pt x="674" y="545"/>
                </a:cubicBezTo>
                <a:cubicBezTo>
                  <a:pt x="674" y="545"/>
                  <a:pt x="674" y="545"/>
                  <a:pt x="674" y="545"/>
                </a:cubicBezTo>
                <a:cubicBezTo>
                  <a:pt x="674" y="546"/>
                  <a:pt x="674" y="547"/>
                  <a:pt x="674" y="549"/>
                </a:cubicBezTo>
                <a:cubicBezTo>
                  <a:pt x="673" y="547"/>
                  <a:pt x="673" y="544"/>
                  <a:pt x="674" y="542"/>
                </a:cubicBezTo>
                <a:close/>
                <a:moveTo>
                  <a:pt x="676" y="552"/>
                </a:moveTo>
                <a:cubicBezTo>
                  <a:pt x="676" y="553"/>
                  <a:pt x="676" y="553"/>
                  <a:pt x="676" y="553"/>
                </a:cubicBezTo>
                <a:cubicBezTo>
                  <a:pt x="675" y="554"/>
                  <a:pt x="675" y="551"/>
                  <a:pt x="676" y="552"/>
                </a:cubicBezTo>
                <a:close/>
                <a:moveTo>
                  <a:pt x="675" y="516"/>
                </a:moveTo>
                <a:cubicBezTo>
                  <a:pt x="676" y="516"/>
                  <a:pt x="676" y="517"/>
                  <a:pt x="676" y="517"/>
                </a:cubicBezTo>
                <a:cubicBezTo>
                  <a:pt x="677" y="519"/>
                  <a:pt x="674" y="517"/>
                  <a:pt x="675" y="516"/>
                </a:cubicBezTo>
                <a:close/>
                <a:moveTo>
                  <a:pt x="674" y="502"/>
                </a:moveTo>
                <a:cubicBezTo>
                  <a:pt x="675" y="502"/>
                  <a:pt x="676" y="504"/>
                  <a:pt x="676" y="505"/>
                </a:cubicBezTo>
                <a:cubicBezTo>
                  <a:pt x="675" y="505"/>
                  <a:pt x="675" y="503"/>
                  <a:pt x="674" y="502"/>
                </a:cubicBezTo>
                <a:close/>
                <a:moveTo>
                  <a:pt x="675" y="481"/>
                </a:moveTo>
                <a:cubicBezTo>
                  <a:pt x="674" y="481"/>
                  <a:pt x="674" y="480"/>
                  <a:pt x="674" y="480"/>
                </a:cubicBezTo>
                <a:cubicBezTo>
                  <a:pt x="675" y="479"/>
                  <a:pt x="675" y="480"/>
                  <a:pt x="675" y="481"/>
                </a:cubicBezTo>
                <a:close/>
                <a:moveTo>
                  <a:pt x="672" y="412"/>
                </a:moveTo>
                <a:cubicBezTo>
                  <a:pt x="675" y="413"/>
                  <a:pt x="672" y="417"/>
                  <a:pt x="670" y="416"/>
                </a:cubicBezTo>
                <a:cubicBezTo>
                  <a:pt x="670" y="416"/>
                  <a:pt x="670" y="411"/>
                  <a:pt x="672" y="412"/>
                </a:cubicBezTo>
                <a:close/>
                <a:moveTo>
                  <a:pt x="668" y="453"/>
                </a:moveTo>
                <a:cubicBezTo>
                  <a:pt x="669" y="453"/>
                  <a:pt x="668" y="454"/>
                  <a:pt x="667" y="453"/>
                </a:cubicBezTo>
                <a:cubicBezTo>
                  <a:pt x="667" y="453"/>
                  <a:pt x="668" y="452"/>
                  <a:pt x="668" y="453"/>
                </a:cubicBezTo>
                <a:close/>
                <a:moveTo>
                  <a:pt x="667" y="446"/>
                </a:moveTo>
                <a:cubicBezTo>
                  <a:pt x="665" y="447"/>
                  <a:pt x="668" y="444"/>
                  <a:pt x="667" y="446"/>
                </a:cubicBezTo>
                <a:close/>
                <a:moveTo>
                  <a:pt x="673" y="492"/>
                </a:moveTo>
                <a:cubicBezTo>
                  <a:pt x="672" y="498"/>
                  <a:pt x="665" y="495"/>
                  <a:pt x="665" y="490"/>
                </a:cubicBezTo>
                <a:cubicBezTo>
                  <a:pt x="665" y="482"/>
                  <a:pt x="674" y="486"/>
                  <a:pt x="673" y="492"/>
                </a:cubicBezTo>
                <a:close/>
                <a:moveTo>
                  <a:pt x="664" y="429"/>
                </a:moveTo>
                <a:cubicBezTo>
                  <a:pt x="665" y="429"/>
                  <a:pt x="665" y="430"/>
                  <a:pt x="664" y="430"/>
                </a:cubicBezTo>
                <a:cubicBezTo>
                  <a:pt x="662" y="430"/>
                  <a:pt x="663" y="427"/>
                  <a:pt x="664" y="429"/>
                </a:cubicBezTo>
                <a:close/>
                <a:moveTo>
                  <a:pt x="663" y="455"/>
                </a:moveTo>
                <a:cubicBezTo>
                  <a:pt x="663" y="455"/>
                  <a:pt x="662" y="456"/>
                  <a:pt x="662" y="456"/>
                </a:cubicBezTo>
                <a:cubicBezTo>
                  <a:pt x="662" y="456"/>
                  <a:pt x="662" y="455"/>
                  <a:pt x="663" y="455"/>
                </a:cubicBezTo>
                <a:close/>
                <a:moveTo>
                  <a:pt x="661" y="411"/>
                </a:moveTo>
                <a:cubicBezTo>
                  <a:pt x="661" y="411"/>
                  <a:pt x="661" y="411"/>
                  <a:pt x="661" y="410"/>
                </a:cubicBezTo>
                <a:cubicBezTo>
                  <a:pt x="661" y="410"/>
                  <a:pt x="661" y="410"/>
                  <a:pt x="661" y="410"/>
                </a:cubicBezTo>
                <a:cubicBezTo>
                  <a:pt x="661" y="410"/>
                  <a:pt x="661" y="411"/>
                  <a:pt x="661" y="411"/>
                </a:cubicBezTo>
                <a:close/>
                <a:moveTo>
                  <a:pt x="633" y="545"/>
                </a:moveTo>
                <a:cubicBezTo>
                  <a:pt x="633" y="545"/>
                  <a:pt x="633" y="545"/>
                  <a:pt x="633" y="545"/>
                </a:cubicBezTo>
                <a:cubicBezTo>
                  <a:pt x="633" y="545"/>
                  <a:pt x="632" y="544"/>
                  <a:pt x="633" y="545"/>
                </a:cubicBezTo>
                <a:close/>
                <a:moveTo>
                  <a:pt x="633" y="509"/>
                </a:moveTo>
                <a:cubicBezTo>
                  <a:pt x="632" y="508"/>
                  <a:pt x="633" y="507"/>
                  <a:pt x="634" y="507"/>
                </a:cubicBezTo>
                <a:cubicBezTo>
                  <a:pt x="635" y="507"/>
                  <a:pt x="635" y="510"/>
                  <a:pt x="633" y="509"/>
                </a:cubicBezTo>
                <a:close/>
                <a:moveTo>
                  <a:pt x="635" y="516"/>
                </a:moveTo>
                <a:cubicBezTo>
                  <a:pt x="634" y="517"/>
                  <a:pt x="634" y="516"/>
                  <a:pt x="634" y="516"/>
                </a:cubicBezTo>
                <a:cubicBezTo>
                  <a:pt x="634" y="515"/>
                  <a:pt x="635" y="516"/>
                  <a:pt x="635" y="516"/>
                </a:cubicBezTo>
                <a:close/>
                <a:moveTo>
                  <a:pt x="637" y="522"/>
                </a:moveTo>
                <a:cubicBezTo>
                  <a:pt x="638" y="522"/>
                  <a:pt x="639" y="528"/>
                  <a:pt x="639" y="529"/>
                </a:cubicBezTo>
                <a:cubicBezTo>
                  <a:pt x="638" y="534"/>
                  <a:pt x="636" y="523"/>
                  <a:pt x="637" y="522"/>
                </a:cubicBezTo>
                <a:close/>
                <a:moveTo>
                  <a:pt x="639" y="541"/>
                </a:moveTo>
                <a:cubicBezTo>
                  <a:pt x="639" y="541"/>
                  <a:pt x="640" y="539"/>
                  <a:pt x="640" y="541"/>
                </a:cubicBezTo>
                <a:cubicBezTo>
                  <a:pt x="640" y="540"/>
                  <a:pt x="640" y="542"/>
                  <a:pt x="639" y="541"/>
                </a:cubicBezTo>
                <a:close/>
                <a:moveTo>
                  <a:pt x="641" y="545"/>
                </a:moveTo>
                <a:cubicBezTo>
                  <a:pt x="638" y="545"/>
                  <a:pt x="640" y="542"/>
                  <a:pt x="642" y="543"/>
                </a:cubicBezTo>
                <a:cubicBezTo>
                  <a:pt x="643" y="543"/>
                  <a:pt x="642" y="546"/>
                  <a:pt x="641" y="545"/>
                </a:cubicBezTo>
                <a:close/>
                <a:moveTo>
                  <a:pt x="652" y="501"/>
                </a:moveTo>
                <a:cubicBezTo>
                  <a:pt x="652" y="501"/>
                  <a:pt x="651" y="499"/>
                  <a:pt x="652" y="500"/>
                </a:cubicBezTo>
                <a:cubicBezTo>
                  <a:pt x="652" y="500"/>
                  <a:pt x="653" y="501"/>
                  <a:pt x="652" y="501"/>
                </a:cubicBezTo>
                <a:close/>
                <a:moveTo>
                  <a:pt x="655" y="533"/>
                </a:moveTo>
                <a:cubicBezTo>
                  <a:pt x="654" y="529"/>
                  <a:pt x="654" y="522"/>
                  <a:pt x="654" y="518"/>
                </a:cubicBezTo>
                <a:cubicBezTo>
                  <a:pt x="654" y="520"/>
                  <a:pt x="654" y="517"/>
                  <a:pt x="654" y="517"/>
                </a:cubicBezTo>
                <a:cubicBezTo>
                  <a:pt x="656" y="517"/>
                  <a:pt x="655" y="519"/>
                  <a:pt x="655" y="521"/>
                </a:cubicBezTo>
                <a:cubicBezTo>
                  <a:pt x="655" y="523"/>
                  <a:pt x="656" y="529"/>
                  <a:pt x="655" y="533"/>
                </a:cubicBezTo>
                <a:close/>
                <a:moveTo>
                  <a:pt x="659" y="476"/>
                </a:moveTo>
                <a:cubicBezTo>
                  <a:pt x="659" y="479"/>
                  <a:pt x="659" y="474"/>
                  <a:pt x="659" y="476"/>
                </a:cubicBezTo>
                <a:close/>
                <a:moveTo>
                  <a:pt x="659" y="479"/>
                </a:moveTo>
                <a:cubicBezTo>
                  <a:pt x="660" y="482"/>
                  <a:pt x="659" y="477"/>
                  <a:pt x="659" y="479"/>
                </a:cubicBezTo>
                <a:close/>
                <a:moveTo>
                  <a:pt x="659" y="492"/>
                </a:moveTo>
                <a:cubicBezTo>
                  <a:pt x="659" y="492"/>
                  <a:pt x="659" y="493"/>
                  <a:pt x="659" y="493"/>
                </a:cubicBezTo>
                <a:cubicBezTo>
                  <a:pt x="660" y="495"/>
                  <a:pt x="658" y="493"/>
                  <a:pt x="659" y="492"/>
                </a:cubicBezTo>
                <a:close/>
                <a:moveTo>
                  <a:pt x="658" y="525"/>
                </a:moveTo>
                <a:cubicBezTo>
                  <a:pt x="659" y="525"/>
                  <a:pt x="659" y="526"/>
                  <a:pt x="658" y="526"/>
                </a:cubicBezTo>
                <a:cubicBezTo>
                  <a:pt x="657" y="526"/>
                  <a:pt x="658" y="525"/>
                  <a:pt x="658" y="525"/>
                </a:cubicBezTo>
                <a:close/>
                <a:moveTo>
                  <a:pt x="655" y="464"/>
                </a:moveTo>
                <a:cubicBezTo>
                  <a:pt x="654" y="464"/>
                  <a:pt x="654" y="461"/>
                  <a:pt x="655" y="461"/>
                </a:cubicBezTo>
                <a:cubicBezTo>
                  <a:pt x="656" y="461"/>
                  <a:pt x="656" y="464"/>
                  <a:pt x="655" y="464"/>
                </a:cubicBezTo>
                <a:close/>
                <a:moveTo>
                  <a:pt x="654" y="423"/>
                </a:moveTo>
                <a:cubicBezTo>
                  <a:pt x="654" y="423"/>
                  <a:pt x="654" y="423"/>
                  <a:pt x="653" y="423"/>
                </a:cubicBezTo>
                <a:cubicBezTo>
                  <a:pt x="653" y="422"/>
                  <a:pt x="653" y="422"/>
                  <a:pt x="653" y="422"/>
                </a:cubicBezTo>
                <a:cubicBezTo>
                  <a:pt x="653" y="422"/>
                  <a:pt x="653" y="423"/>
                  <a:pt x="654" y="423"/>
                </a:cubicBezTo>
                <a:close/>
                <a:moveTo>
                  <a:pt x="655" y="454"/>
                </a:moveTo>
                <a:cubicBezTo>
                  <a:pt x="653" y="452"/>
                  <a:pt x="649" y="448"/>
                  <a:pt x="649" y="445"/>
                </a:cubicBezTo>
                <a:cubicBezTo>
                  <a:pt x="651" y="449"/>
                  <a:pt x="654" y="450"/>
                  <a:pt x="655" y="454"/>
                </a:cubicBezTo>
                <a:close/>
                <a:moveTo>
                  <a:pt x="648" y="439"/>
                </a:moveTo>
                <a:cubicBezTo>
                  <a:pt x="648" y="439"/>
                  <a:pt x="648" y="440"/>
                  <a:pt x="648" y="440"/>
                </a:cubicBezTo>
                <a:cubicBezTo>
                  <a:pt x="647" y="440"/>
                  <a:pt x="647" y="438"/>
                  <a:pt x="648" y="439"/>
                </a:cubicBezTo>
                <a:close/>
                <a:moveTo>
                  <a:pt x="647" y="500"/>
                </a:moveTo>
                <a:cubicBezTo>
                  <a:pt x="648" y="501"/>
                  <a:pt x="648" y="502"/>
                  <a:pt x="647" y="502"/>
                </a:cubicBezTo>
                <a:cubicBezTo>
                  <a:pt x="643" y="503"/>
                  <a:pt x="646" y="496"/>
                  <a:pt x="647" y="500"/>
                </a:cubicBezTo>
                <a:close/>
                <a:moveTo>
                  <a:pt x="646" y="457"/>
                </a:moveTo>
                <a:cubicBezTo>
                  <a:pt x="646" y="457"/>
                  <a:pt x="646" y="458"/>
                  <a:pt x="646" y="458"/>
                </a:cubicBezTo>
                <a:cubicBezTo>
                  <a:pt x="644" y="459"/>
                  <a:pt x="645" y="456"/>
                  <a:pt x="646" y="457"/>
                </a:cubicBezTo>
                <a:close/>
                <a:moveTo>
                  <a:pt x="642" y="405"/>
                </a:moveTo>
                <a:cubicBezTo>
                  <a:pt x="642" y="406"/>
                  <a:pt x="643" y="406"/>
                  <a:pt x="642" y="406"/>
                </a:cubicBezTo>
                <a:cubicBezTo>
                  <a:pt x="642" y="407"/>
                  <a:pt x="642" y="405"/>
                  <a:pt x="642" y="405"/>
                </a:cubicBezTo>
                <a:close/>
                <a:moveTo>
                  <a:pt x="642" y="528"/>
                </a:moveTo>
                <a:cubicBezTo>
                  <a:pt x="645" y="524"/>
                  <a:pt x="650" y="530"/>
                  <a:pt x="651" y="533"/>
                </a:cubicBezTo>
                <a:cubicBezTo>
                  <a:pt x="651" y="543"/>
                  <a:pt x="638" y="533"/>
                  <a:pt x="642" y="528"/>
                </a:cubicBezTo>
                <a:close/>
                <a:moveTo>
                  <a:pt x="641" y="494"/>
                </a:moveTo>
                <a:cubicBezTo>
                  <a:pt x="640" y="493"/>
                  <a:pt x="640" y="491"/>
                  <a:pt x="641" y="490"/>
                </a:cubicBezTo>
                <a:cubicBezTo>
                  <a:pt x="641" y="491"/>
                  <a:pt x="641" y="492"/>
                  <a:pt x="641" y="494"/>
                </a:cubicBezTo>
                <a:close/>
                <a:moveTo>
                  <a:pt x="641" y="488"/>
                </a:moveTo>
                <a:cubicBezTo>
                  <a:pt x="641" y="488"/>
                  <a:pt x="641" y="488"/>
                  <a:pt x="641" y="488"/>
                </a:cubicBezTo>
                <a:cubicBezTo>
                  <a:pt x="641" y="488"/>
                  <a:pt x="641" y="488"/>
                  <a:pt x="641" y="488"/>
                </a:cubicBezTo>
                <a:cubicBezTo>
                  <a:pt x="641" y="488"/>
                  <a:pt x="641" y="488"/>
                  <a:pt x="641" y="488"/>
                </a:cubicBezTo>
                <a:close/>
                <a:moveTo>
                  <a:pt x="641" y="452"/>
                </a:moveTo>
                <a:cubicBezTo>
                  <a:pt x="641" y="452"/>
                  <a:pt x="641" y="452"/>
                  <a:pt x="641" y="452"/>
                </a:cubicBezTo>
                <a:cubicBezTo>
                  <a:pt x="641" y="454"/>
                  <a:pt x="640" y="450"/>
                  <a:pt x="641" y="452"/>
                </a:cubicBezTo>
                <a:close/>
                <a:moveTo>
                  <a:pt x="641" y="478"/>
                </a:moveTo>
                <a:cubicBezTo>
                  <a:pt x="641" y="478"/>
                  <a:pt x="641" y="479"/>
                  <a:pt x="641" y="479"/>
                </a:cubicBezTo>
                <a:cubicBezTo>
                  <a:pt x="641" y="479"/>
                  <a:pt x="641" y="479"/>
                  <a:pt x="641" y="480"/>
                </a:cubicBezTo>
                <a:cubicBezTo>
                  <a:pt x="641" y="480"/>
                  <a:pt x="641" y="481"/>
                  <a:pt x="641" y="480"/>
                </a:cubicBezTo>
                <a:cubicBezTo>
                  <a:pt x="641" y="480"/>
                  <a:pt x="641" y="479"/>
                  <a:pt x="641" y="479"/>
                </a:cubicBezTo>
                <a:cubicBezTo>
                  <a:pt x="641" y="479"/>
                  <a:pt x="641" y="479"/>
                  <a:pt x="641" y="479"/>
                </a:cubicBezTo>
                <a:cubicBezTo>
                  <a:pt x="641" y="479"/>
                  <a:pt x="641" y="478"/>
                  <a:pt x="641" y="478"/>
                </a:cubicBezTo>
                <a:close/>
                <a:moveTo>
                  <a:pt x="641" y="482"/>
                </a:moveTo>
                <a:cubicBezTo>
                  <a:pt x="641" y="483"/>
                  <a:pt x="641" y="485"/>
                  <a:pt x="641" y="487"/>
                </a:cubicBezTo>
                <a:cubicBezTo>
                  <a:pt x="640" y="486"/>
                  <a:pt x="640" y="484"/>
                  <a:pt x="641" y="482"/>
                </a:cubicBezTo>
                <a:close/>
                <a:moveTo>
                  <a:pt x="640" y="442"/>
                </a:moveTo>
                <a:cubicBezTo>
                  <a:pt x="639" y="440"/>
                  <a:pt x="634" y="435"/>
                  <a:pt x="634" y="432"/>
                </a:cubicBezTo>
                <a:cubicBezTo>
                  <a:pt x="636" y="435"/>
                  <a:pt x="639" y="439"/>
                  <a:pt x="640" y="442"/>
                </a:cubicBezTo>
                <a:close/>
                <a:moveTo>
                  <a:pt x="633" y="488"/>
                </a:moveTo>
                <a:cubicBezTo>
                  <a:pt x="634" y="488"/>
                  <a:pt x="634" y="489"/>
                  <a:pt x="634" y="489"/>
                </a:cubicBezTo>
                <a:cubicBezTo>
                  <a:pt x="634" y="492"/>
                  <a:pt x="630" y="488"/>
                  <a:pt x="633" y="488"/>
                </a:cubicBezTo>
                <a:close/>
                <a:moveTo>
                  <a:pt x="633" y="524"/>
                </a:moveTo>
                <a:cubicBezTo>
                  <a:pt x="634" y="524"/>
                  <a:pt x="634" y="526"/>
                  <a:pt x="632" y="526"/>
                </a:cubicBezTo>
                <a:cubicBezTo>
                  <a:pt x="631" y="526"/>
                  <a:pt x="631" y="524"/>
                  <a:pt x="633" y="524"/>
                </a:cubicBezTo>
                <a:close/>
                <a:moveTo>
                  <a:pt x="582" y="488"/>
                </a:moveTo>
                <a:cubicBezTo>
                  <a:pt x="583" y="489"/>
                  <a:pt x="581" y="487"/>
                  <a:pt x="582" y="488"/>
                </a:cubicBezTo>
                <a:close/>
                <a:moveTo>
                  <a:pt x="583" y="573"/>
                </a:moveTo>
                <a:cubicBezTo>
                  <a:pt x="585" y="572"/>
                  <a:pt x="587" y="574"/>
                  <a:pt x="589" y="575"/>
                </a:cubicBezTo>
                <a:cubicBezTo>
                  <a:pt x="587" y="575"/>
                  <a:pt x="585" y="574"/>
                  <a:pt x="583" y="573"/>
                </a:cubicBezTo>
                <a:close/>
                <a:moveTo>
                  <a:pt x="590" y="563"/>
                </a:moveTo>
                <a:cubicBezTo>
                  <a:pt x="591" y="564"/>
                  <a:pt x="590" y="565"/>
                  <a:pt x="590" y="563"/>
                </a:cubicBezTo>
                <a:close/>
                <a:moveTo>
                  <a:pt x="590" y="549"/>
                </a:moveTo>
                <a:cubicBezTo>
                  <a:pt x="588" y="548"/>
                  <a:pt x="590" y="547"/>
                  <a:pt x="590" y="549"/>
                </a:cubicBezTo>
                <a:close/>
                <a:moveTo>
                  <a:pt x="595" y="560"/>
                </a:moveTo>
                <a:cubicBezTo>
                  <a:pt x="594" y="559"/>
                  <a:pt x="594" y="557"/>
                  <a:pt x="595" y="555"/>
                </a:cubicBezTo>
                <a:cubicBezTo>
                  <a:pt x="596" y="556"/>
                  <a:pt x="595" y="558"/>
                  <a:pt x="595" y="560"/>
                </a:cubicBezTo>
                <a:close/>
                <a:moveTo>
                  <a:pt x="603" y="595"/>
                </a:moveTo>
                <a:cubicBezTo>
                  <a:pt x="600" y="596"/>
                  <a:pt x="600" y="592"/>
                  <a:pt x="603" y="595"/>
                </a:cubicBezTo>
                <a:close/>
                <a:moveTo>
                  <a:pt x="607" y="583"/>
                </a:moveTo>
                <a:cubicBezTo>
                  <a:pt x="603" y="584"/>
                  <a:pt x="604" y="579"/>
                  <a:pt x="604" y="577"/>
                </a:cubicBezTo>
                <a:cubicBezTo>
                  <a:pt x="607" y="576"/>
                  <a:pt x="611" y="582"/>
                  <a:pt x="607" y="583"/>
                </a:cubicBezTo>
                <a:close/>
                <a:moveTo>
                  <a:pt x="606" y="564"/>
                </a:moveTo>
                <a:cubicBezTo>
                  <a:pt x="608" y="564"/>
                  <a:pt x="609" y="565"/>
                  <a:pt x="610" y="567"/>
                </a:cubicBezTo>
                <a:cubicBezTo>
                  <a:pt x="610" y="567"/>
                  <a:pt x="610" y="567"/>
                  <a:pt x="610" y="567"/>
                </a:cubicBezTo>
                <a:cubicBezTo>
                  <a:pt x="610" y="567"/>
                  <a:pt x="610" y="567"/>
                  <a:pt x="610" y="567"/>
                </a:cubicBezTo>
                <a:cubicBezTo>
                  <a:pt x="611" y="568"/>
                  <a:pt x="612" y="569"/>
                  <a:pt x="612" y="569"/>
                </a:cubicBezTo>
                <a:cubicBezTo>
                  <a:pt x="613" y="569"/>
                  <a:pt x="613" y="569"/>
                  <a:pt x="613" y="570"/>
                </a:cubicBezTo>
                <a:cubicBezTo>
                  <a:pt x="613" y="570"/>
                  <a:pt x="613" y="570"/>
                  <a:pt x="613" y="570"/>
                </a:cubicBezTo>
                <a:cubicBezTo>
                  <a:pt x="613" y="570"/>
                  <a:pt x="613" y="570"/>
                  <a:pt x="613" y="570"/>
                </a:cubicBezTo>
                <a:cubicBezTo>
                  <a:pt x="613" y="570"/>
                  <a:pt x="613" y="570"/>
                  <a:pt x="613" y="571"/>
                </a:cubicBezTo>
                <a:cubicBezTo>
                  <a:pt x="613" y="570"/>
                  <a:pt x="612" y="570"/>
                  <a:pt x="612" y="570"/>
                </a:cubicBezTo>
                <a:cubicBezTo>
                  <a:pt x="610" y="568"/>
                  <a:pt x="608" y="565"/>
                  <a:pt x="606" y="564"/>
                </a:cubicBezTo>
                <a:close/>
                <a:moveTo>
                  <a:pt x="613" y="568"/>
                </a:moveTo>
                <a:cubicBezTo>
                  <a:pt x="611" y="567"/>
                  <a:pt x="613" y="565"/>
                  <a:pt x="613" y="568"/>
                </a:cubicBezTo>
                <a:close/>
                <a:moveTo>
                  <a:pt x="616" y="579"/>
                </a:moveTo>
                <a:cubicBezTo>
                  <a:pt x="612" y="580"/>
                  <a:pt x="611" y="573"/>
                  <a:pt x="613" y="572"/>
                </a:cubicBezTo>
                <a:cubicBezTo>
                  <a:pt x="616" y="570"/>
                  <a:pt x="618" y="575"/>
                  <a:pt x="618" y="576"/>
                </a:cubicBezTo>
                <a:cubicBezTo>
                  <a:pt x="618" y="578"/>
                  <a:pt x="617" y="579"/>
                  <a:pt x="616" y="579"/>
                </a:cubicBezTo>
                <a:close/>
                <a:moveTo>
                  <a:pt x="615" y="543"/>
                </a:moveTo>
                <a:cubicBezTo>
                  <a:pt x="616" y="543"/>
                  <a:pt x="617" y="543"/>
                  <a:pt x="617" y="544"/>
                </a:cubicBezTo>
                <a:cubicBezTo>
                  <a:pt x="618" y="547"/>
                  <a:pt x="613" y="545"/>
                  <a:pt x="615" y="543"/>
                </a:cubicBezTo>
                <a:close/>
                <a:moveTo>
                  <a:pt x="615" y="515"/>
                </a:moveTo>
                <a:cubicBezTo>
                  <a:pt x="616" y="515"/>
                  <a:pt x="616" y="516"/>
                  <a:pt x="616" y="516"/>
                </a:cubicBezTo>
                <a:cubicBezTo>
                  <a:pt x="617" y="518"/>
                  <a:pt x="614" y="516"/>
                  <a:pt x="615" y="515"/>
                </a:cubicBezTo>
                <a:close/>
                <a:moveTo>
                  <a:pt x="617" y="556"/>
                </a:moveTo>
                <a:cubicBezTo>
                  <a:pt x="617" y="556"/>
                  <a:pt x="617" y="556"/>
                  <a:pt x="617" y="556"/>
                </a:cubicBezTo>
                <a:cubicBezTo>
                  <a:pt x="615" y="555"/>
                  <a:pt x="618" y="555"/>
                  <a:pt x="617" y="556"/>
                </a:cubicBezTo>
                <a:close/>
                <a:moveTo>
                  <a:pt x="618" y="554"/>
                </a:moveTo>
                <a:cubicBezTo>
                  <a:pt x="618" y="553"/>
                  <a:pt x="618" y="555"/>
                  <a:pt x="618" y="555"/>
                </a:cubicBezTo>
                <a:cubicBezTo>
                  <a:pt x="618" y="556"/>
                  <a:pt x="616" y="555"/>
                  <a:pt x="618" y="554"/>
                </a:cubicBezTo>
                <a:close/>
                <a:moveTo>
                  <a:pt x="618" y="537"/>
                </a:moveTo>
                <a:cubicBezTo>
                  <a:pt x="617" y="536"/>
                  <a:pt x="617" y="533"/>
                  <a:pt x="619" y="534"/>
                </a:cubicBezTo>
                <a:cubicBezTo>
                  <a:pt x="620" y="534"/>
                  <a:pt x="620" y="538"/>
                  <a:pt x="618" y="537"/>
                </a:cubicBezTo>
                <a:close/>
                <a:moveTo>
                  <a:pt x="621" y="553"/>
                </a:moveTo>
                <a:cubicBezTo>
                  <a:pt x="619" y="554"/>
                  <a:pt x="620" y="549"/>
                  <a:pt x="621" y="552"/>
                </a:cubicBezTo>
                <a:cubicBezTo>
                  <a:pt x="622" y="552"/>
                  <a:pt x="622" y="553"/>
                  <a:pt x="621" y="553"/>
                </a:cubicBezTo>
                <a:close/>
                <a:moveTo>
                  <a:pt x="623" y="544"/>
                </a:moveTo>
                <a:cubicBezTo>
                  <a:pt x="622" y="543"/>
                  <a:pt x="624" y="543"/>
                  <a:pt x="623" y="544"/>
                </a:cubicBezTo>
                <a:close/>
                <a:moveTo>
                  <a:pt x="624" y="553"/>
                </a:moveTo>
                <a:cubicBezTo>
                  <a:pt x="625" y="554"/>
                  <a:pt x="623" y="551"/>
                  <a:pt x="624" y="553"/>
                </a:cubicBezTo>
                <a:close/>
                <a:moveTo>
                  <a:pt x="624" y="503"/>
                </a:moveTo>
                <a:cubicBezTo>
                  <a:pt x="622" y="502"/>
                  <a:pt x="623" y="497"/>
                  <a:pt x="626" y="497"/>
                </a:cubicBezTo>
                <a:cubicBezTo>
                  <a:pt x="629" y="498"/>
                  <a:pt x="627" y="505"/>
                  <a:pt x="624" y="503"/>
                </a:cubicBezTo>
                <a:close/>
                <a:moveTo>
                  <a:pt x="628" y="419"/>
                </a:moveTo>
                <a:cubicBezTo>
                  <a:pt x="629" y="420"/>
                  <a:pt x="628" y="421"/>
                  <a:pt x="627" y="420"/>
                </a:cubicBezTo>
                <a:cubicBezTo>
                  <a:pt x="627" y="419"/>
                  <a:pt x="628" y="419"/>
                  <a:pt x="628" y="419"/>
                </a:cubicBezTo>
                <a:close/>
                <a:moveTo>
                  <a:pt x="628" y="466"/>
                </a:moveTo>
                <a:cubicBezTo>
                  <a:pt x="629" y="467"/>
                  <a:pt x="627" y="472"/>
                  <a:pt x="624" y="469"/>
                </a:cubicBezTo>
                <a:cubicBezTo>
                  <a:pt x="623" y="468"/>
                  <a:pt x="626" y="465"/>
                  <a:pt x="628" y="466"/>
                </a:cubicBezTo>
                <a:close/>
                <a:moveTo>
                  <a:pt x="624" y="448"/>
                </a:moveTo>
                <a:cubicBezTo>
                  <a:pt x="627" y="450"/>
                  <a:pt x="625" y="451"/>
                  <a:pt x="624" y="448"/>
                </a:cubicBezTo>
                <a:close/>
                <a:moveTo>
                  <a:pt x="624" y="438"/>
                </a:moveTo>
                <a:cubicBezTo>
                  <a:pt x="625" y="439"/>
                  <a:pt x="623" y="437"/>
                  <a:pt x="624" y="438"/>
                </a:cubicBezTo>
                <a:close/>
                <a:moveTo>
                  <a:pt x="625" y="439"/>
                </a:moveTo>
                <a:cubicBezTo>
                  <a:pt x="628" y="439"/>
                  <a:pt x="628" y="444"/>
                  <a:pt x="625" y="444"/>
                </a:cubicBezTo>
                <a:cubicBezTo>
                  <a:pt x="623" y="444"/>
                  <a:pt x="623" y="439"/>
                  <a:pt x="625" y="439"/>
                </a:cubicBezTo>
                <a:close/>
                <a:moveTo>
                  <a:pt x="623" y="483"/>
                </a:moveTo>
                <a:cubicBezTo>
                  <a:pt x="624" y="484"/>
                  <a:pt x="622" y="484"/>
                  <a:pt x="623" y="483"/>
                </a:cubicBezTo>
                <a:close/>
                <a:moveTo>
                  <a:pt x="621" y="454"/>
                </a:moveTo>
                <a:cubicBezTo>
                  <a:pt x="622" y="454"/>
                  <a:pt x="621" y="455"/>
                  <a:pt x="621" y="455"/>
                </a:cubicBezTo>
                <a:cubicBezTo>
                  <a:pt x="620" y="454"/>
                  <a:pt x="621" y="454"/>
                  <a:pt x="621" y="454"/>
                </a:cubicBezTo>
                <a:close/>
                <a:moveTo>
                  <a:pt x="618" y="462"/>
                </a:moveTo>
                <a:cubicBezTo>
                  <a:pt x="618" y="462"/>
                  <a:pt x="619" y="463"/>
                  <a:pt x="619" y="463"/>
                </a:cubicBezTo>
                <a:cubicBezTo>
                  <a:pt x="618" y="464"/>
                  <a:pt x="618" y="461"/>
                  <a:pt x="618" y="462"/>
                </a:cubicBezTo>
                <a:close/>
                <a:moveTo>
                  <a:pt x="615" y="421"/>
                </a:moveTo>
                <a:cubicBezTo>
                  <a:pt x="616" y="421"/>
                  <a:pt x="616" y="422"/>
                  <a:pt x="616" y="422"/>
                </a:cubicBezTo>
                <a:cubicBezTo>
                  <a:pt x="615" y="423"/>
                  <a:pt x="615" y="421"/>
                  <a:pt x="615" y="421"/>
                </a:cubicBezTo>
                <a:close/>
                <a:moveTo>
                  <a:pt x="625" y="495"/>
                </a:moveTo>
                <a:cubicBezTo>
                  <a:pt x="624" y="495"/>
                  <a:pt x="622" y="497"/>
                  <a:pt x="621" y="496"/>
                </a:cubicBezTo>
                <a:cubicBezTo>
                  <a:pt x="620" y="495"/>
                  <a:pt x="622" y="494"/>
                  <a:pt x="621" y="493"/>
                </a:cubicBezTo>
                <a:cubicBezTo>
                  <a:pt x="620" y="490"/>
                  <a:pt x="616" y="488"/>
                  <a:pt x="615" y="485"/>
                </a:cubicBezTo>
                <a:cubicBezTo>
                  <a:pt x="618" y="487"/>
                  <a:pt x="621" y="491"/>
                  <a:pt x="625" y="495"/>
                </a:cubicBezTo>
                <a:close/>
                <a:moveTo>
                  <a:pt x="612" y="402"/>
                </a:moveTo>
                <a:cubicBezTo>
                  <a:pt x="613" y="401"/>
                  <a:pt x="614" y="403"/>
                  <a:pt x="614" y="403"/>
                </a:cubicBezTo>
                <a:cubicBezTo>
                  <a:pt x="614" y="406"/>
                  <a:pt x="610" y="403"/>
                  <a:pt x="612" y="402"/>
                </a:cubicBezTo>
                <a:close/>
                <a:moveTo>
                  <a:pt x="612" y="522"/>
                </a:moveTo>
                <a:cubicBezTo>
                  <a:pt x="613" y="522"/>
                  <a:pt x="613" y="524"/>
                  <a:pt x="612" y="524"/>
                </a:cubicBezTo>
                <a:cubicBezTo>
                  <a:pt x="611" y="523"/>
                  <a:pt x="611" y="522"/>
                  <a:pt x="612" y="522"/>
                </a:cubicBezTo>
                <a:close/>
                <a:moveTo>
                  <a:pt x="612" y="517"/>
                </a:moveTo>
                <a:cubicBezTo>
                  <a:pt x="613" y="519"/>
                  <a:pt x="612" y="516"/>
                  <a:pt x="612" y="517"/>
                </a:cubicBezTo>
                <a:close/>
                <a:moveTo>
                  <a:pt x="613" y="502"/>
                </a:moveTo>
                <a:cubicBezTo>
                  <a:pt x="613" y="503"/>
                  <a:pt x="614" y="504"/>
                  <a:pt x="613" y="505"/>
                </a:cubicBezTo>
                <a:cubicBezTo>
                  <a:pt x="613" y="504"/>
                  <a:pt x="612" y="503"/>
                  <a:pt x="613" y="502"/>
                </a:cubicBezTo>
                <a:close/>
                <a:moveTo>
                  <a:pt x="612" y="484"/>
                </a:moveTo>
                <a:cubicBezTo>
                  <a:pt x="613" y="484"/>
                  <a:pt x="614" y="487"/>
                  <a:pt x="612" y="487"/>
                </a:cubicBezTo>
                <a:cubicBezTo>
                  <a:pt x="610" y="486"/>
                  <a:pt x="611" y="484"/>
                  <a:pt x="612" y="484"/>
                </a:cubicBezTo>
                <a:close/>
                <a:moveTo>
                  <a:pt x="611" y="489"/>
                </a:moveTo>
                <a:cubicBezTo>
                  <a:pt x="612" y="488"/>
                  <a:pt x="612" y="490"/>
                  <a:pt x="612" y="490"/>
                </a:cubicBezTo>
                <a:cubicBezTo>
                  <a:pt x="613" y="493"/>
                  <a:pt x="609" y="489"/>
                  <a:pt x="611" y="489"/>
                </a:cubicBezTo>
                <a:close/>
                <a:moveTo>
                  <a:pt x="609" y="556"/>
                </a:moveTo>
                <a:cubicBezTo>
                  <a:pt x="612" y="553"/>
                  <a:pt x="618" y="559"/>
                  <a:pt x="614" y="562"/>
                </a:cubicBezTo>
                <a:cubicBezTo>
                  <a:pt x="615" y="561"/>
                  <a:pt x="617" y="563"/>
                  <a:pt x="616" y="564"/>
                </a:cubicBezTo>
                <a:cubicBezTo>
                  <a:pt x="615" y="566"/>
                  <a:pt x="612" y="563"/>
                  <a:pt x="614" y="562"/>
                </a:cubicBezTo>
                <a:cubicBezTo>
                  <a:pt x="611" y="563"/>
                  <a:pt x="607" y="558"/>
                  <a:pt x="609" y="556"/>
                </a:cubicBezTo>
                <a:close/>
                <a:moveTo>
                  <a:pt x="607" y="532"/>
                </a:moveTo>
                <a:cubicBezTo>
                  <a:pt x="607" y="532"/>
                  <a:pt x="608" y="533"/>
                  <a:pt x="608" y="533"/>
                </a:cubicBezTo>
                <a:cubicBezTo>
                  <a:pt x="607" y="534"/>
                  <a:pt x="607" y="532"/>
                  <a:pt x="607" y="532"/>
                </a:cubicBezTo>
                <a:close/>
                <a:moveTo>
                  <a:pt x="607" y="517"/>
                </a:moveTo>
                <a:cubicBezTo>
                  <a:pt x="607" y="517"/>
                  <a:pt x="606" y="517"/>
                  <a:pt x="606" y="517"/>
                </a:cubicBezTo>
                <a:cubicBezTo>
                  <a:pt x="606" y="517"/>
                  <a:pt x="606" y="517"/>
                  <a:pt x="606" y="517"/>
                </a:cubicBezTo>
                <a:cubicBezTo>
                  <a:pt x="606" y="517"/>
                  <a:pt x="607" y="517"/>
                  <a:pt x="607" y="517"/>
                </a:cubicBezTo>
                <a:close/>
                <a:moveTo>
                  <a:pt x="606" y="571"/>
                </a:moveTo>
                <a:cubicBezTo>
                  <a:pt x="606" y="570"/>
                  <a:pt x="606" y="570"/>
                  <a:pt x="606" y="570"/>
                </a:cubicBezTo>
                <a:cubicBezTo>
                  <a:pt x="606" y="571"/>
                  <a:pt x="607" y="572"/>
                  <a:pt x="606" y="571"/>
                </a:cubicBezTo>
                <a:close/>
                <a:moveTo>
                  <a:pt x="605" y="461"/>
                </a:moveTo>
                <a:cubicBezTo>
                  <a:pt x="605" y="461"/>
                  <a:pt x="606" y="462"/>
                  <a:pt x="605" y="462"/>
                </a:cubicBezTo>
                <a:cubicBezTo>
                  <a:pt x="605" y="463"/>
                  <a:pt x="605" y="461"/>
                  <a:pt x="605" y="461"/>
                </a:cubicBezTo>
                <a:close/>
                <a:moveTo>
                  <a:pt x="602" y="525"/>
                </a:moveTo>
                <a:cubicBezTo>
                  <a:pt x="603" y="527"/>
                  <a:pt x="604" y="530"/>
                  <a:pt x="604" y="534"/>
                </a:cubicBezTo>
                <a:cubicBezTo>
                  <a:pt x="603" y="531"/>
                  <a:pt x="602" y="528"/>
                  <a:pt x="602" y="525"/>
                </a:cubicBezTo>
                <a:close/>
                <a:moveTo>
                  <a:pt x="604" y="450"/>
                </a:moveTo>
                <a:cubicBezTo>
                  <a:pt x="604" y="450"/>
                  <a:pt x="604" y="450"/>
                  <a:pt x="604" y="450"/>
                </a:cubicBezTo>
                <a:cubicBezTo>
                  <a:pt x="603" y="450"/>
                  <a:pt x="604" y="450"/>
                  <a:pt x="604" y="450"/>
                </a:cubicBezTo>
                <a:close/>
                <a:moveTo>
                  <a:pt x="604" y="477"/>
                </a:moveTo>
                <a:cubicBezTo>
                  <a:pt x="603" y="476"/>
                  <a:pt x="604" y="475"/>
                  <a:pt x="604" y="477"/>
                </a:cubicBezTo>
                <a:close/>
                <a:moveTo>
                  <a:pt x="602" y="450"/>
                </a:moveTo>
                <a:cubicBezTo>
                  <a:pt x="602" y="450"/>
                  <a:pt x="601" y="450"/>
                  <a:pt x="601" y="450"/>
                </a:cubicBezTo>
                <a:cubicBezTo>
                  <a:pt x="599" y="450"/>
                  <a:pt x="603" y="448"/>
                  <a:pt x="602" y="450"/>
                </a:cubicBezTo>
                <a:close/>
                <a:moveTo>
                  <a:pt x="601" y="516"/>
                </a:moveTo>
                <a:cubicBezTo>
                  <a:pt x="602" y="518"/>
                  <a:pt x="602" y="521"/>
                  <a:pt x="602" y="522"/>
                </a:cubicBezTo>
                <a:cubicBezTo>
                  <a:pt x="602" y="522"/>
                  <a:pt x="600" y="518"/>
                  <a:pt x="601" y="516"/>
                </a:cubicBezTo>
                <a:close/>
                <a:moveTo>
                  <a:pt x="597" y="521"/>
                </a:moveTo>
                <a:cubicBezTo>
                  <a:pt x="598" y="521"/>
                  <a:pt x="598" y="522"/>
                  <a:pt x="599" y="522"/>
                </a:cubicBezTo>
                <a:cubicBezTo>
                  <a:pt x="599" y="523"/>
                  <a:pt x="597" y="522"/>
                  <a:pt x="597" y="521"/>
                </a:cubicBezTo>
                <a:close/>
                <a:moveTo>
                  <a:pt x="597" y="542"/>
                </a:moveTo>
                <a:cubicBezTo>
                  <a:pt x="598" y="545"/>
                  <a:pt x="593" y="542"/>
                  <a:pt x="595" y="540"/>
                </a:cubicBezTo>
                <a:cubicBezTo>
                  <a:pt x="596" y="539"/>
                  <a:pt x="597" y="541"/>
                  <a:pt x="597" y="542"/>
                </a:cubicBezTo>
                <a:close/>
                <a:moveTo>
                  <a:pt x="594" y="433"/>
                </a:moveTo>
                <a:cubicBezTo>
                  <a:pt x="593" y="434"/>
                  <a:pt x="594" y="431"/>
                  <a:pt x="594" y="433"/>
                </a:cubicBezTo>
                <a:close/>
                <a:moveTo>
                  <a:pt x="595" y="451"/>
                </a:moveTo>
                <a:cubicBezTo>
                  <a:pt x="595" y="451"/>
                  <a:pt x="595" y="452"/>
                  <a:pt x="596" y="453"/>
                </a:cubicBezTo>
                <a:cubicBezTo>
                  <a:pt x="596" y="455"/>
                  <a:pt x="592" y="452"/>
                  <a:pt x="595" y="451"/>
                </a:cubicBezTo>
                <a:close/>
                <a:moveTo>
                  <a:pt x="595" y="520"/>
                </a:moveTo>
                <a:cubicBezTo>
                  <a:pt x="595" y="520"/>
                  <a:pt x="595" y="520"/>
                  <a:pt x="594" y="519"/>
                </a:cubicBezTo>
                <a:cubicBezTo>
                  <a:pt x="594" y="519"/>
                  <a:pt x="594" y="519"/>
                  <a:pt x="594" y="519"/>
                </a:cubicBezTo>
                <a:cubicBezTo>
                  <a:pt x="594" y="519"/>
                  <a:pt x="595" y="520"/>
                  <a:pt x="595" y="520"/>
                </a:cubicBezTo>
                <a:close/>
                <a:moveTo>
                  <a:pt x="595" y="538"/>
                </a:moveTo>
                <a:cubicBezTo>
                  <a:pt x="595" y="543"/>
                  <a:pt x="590" y="531"/>
                  <a:pt x="590" y="529"/>
                </a:cubicBezTo>
                <a:cubicBezTo>
                  <a:pt x="591" y="532"/>
                  <a:pt x="589" y="528"/>
                  <a:pt x="589" y="527"/>
                </a:cubicBezTo>
                <a:cubicBezTo>
                  <a:pt x="591" y="527"/>
                  <a:pt x="592" y="531"/>
                  <a:pt x="592" y="531"/>
                </a:cubicBezTo>
                <a:cubicBezTo>
                  <a:pt x="593" y="533"/>
                  <a:pt x="595" y="536"/>
                  <a:pt x="595" y="538"/>
                </a:cubicBezTo>
                <a:close/>
                <a:moveTo>
                  <a:pt x="590" y="422"/>
                </a:moveTo>
                <a:cubicBezTo>
                  <a:pt x="589" y="421"/>
                  <a:pt x="591" y="423"/>
                  <a:pt x="590" y="422"/>
                </a:cubicBezTo>
                <a:close/>
                <a:moveTo>
                  <a:pt x="591" y="452"/>
                </a:moveTo>
                <a:cubicBezTo>
                  <a:pt x="591" y="452"/>
                  <a:pt x="591" y="454"/>
                  <a:pt x="590" y="454"/>
                </a:cubicBezTo>
                <a:cubicBezTo>
                  <a:pt x="589" y="454"/>
                  <a:pt x="590" y="452"/>
                  <a:pt x="591" y="452"/>
                </a:cubicBezTo>
                <a:close/>
                <a:moveTo>
                  <a:pt x="588" y="505"/>
                </a:moveTo>
                <a:cubicBezTo>
                  <a:pt x="590" y="505"/>
                  <a:pt x="591" y="509"/>
                  <a:pt x="590" y="510"/>
                </a:cubicBezTo>
                <a:cubicBezTo>
                  <a:pt x="588" y="511"/>
                  <a:pt x="587" y="507"/>
                  <a:pt x="588" y="505"/>
                </a:cubicBezTo>
                <a:close/>
                <a:moveTo>
                  <a:pt x="589" y="546"/>
                </a:moveTo>
                <a:cubicBezTo>
                  <a:pt x="589" y="545"/>
                  <a:pt x="589" y="545"/>
                  <a:pt x="589" y="545"/>
                </a:cubicBezTo>
                <a:cubicBezTo>
                  <a:pt x="589" y="545"/>
                  <a:pt x="589" y="545"/>
                  <a:pt x="589" y="546"/>
                </a:cubicBezTo>
                <a:cubicBezTo>
                  <a:pt x="589" y="546"/>
                  <a:pt x="589" y="546"/>
                  <a:pt x="589" y="546"/>
                </a:cubicBezTo>
                <a:cubicBezTo>
                  <a:pt x="589" y="546"/>
                  <a:pt x="589" y="546"/>
                  <a:pt x="589" y="546"/>
                </a:cubicBezTo>
                <a:close/>
                <a:moveTo>
                  <a:pt x="590" y="552"/>
                </a:moveTo>
                <a:cubicBezTo>
                  <a:pt x="589" y="552"/>
                  <a:pt x="587" y="550"/>
                  <a:pt x="587" y="549"/>
                </a:cubicBezTo>
                <a:cubicBezTo>
                  <a:pt x="589" y="549"/>
                  <a:pt x="588" y="551"/>
                  <a:pt x="590" y="552"/>
                </a:cubicBezTo>
                <a:close/>
                <a:moveTo>
                  <a:pt x="587" y="548"/>
                </a:moveTo>
                <a:cubicBezTo>
                  <a:pt x="586" y="545"/>
                  <a:pt x="587" y="549"/>
                  <a:pt x="587" y="548"/>
                </a:cubicBezTo>
                <a:close/>
                <a:moveTo>
                  <a:pt x="586" y="410"/>
                </a:moveTo>
                <a:cubicBezTo>
                  <a:pt x="586" y="410"/>
                  <a:pt x="586" y="410"/>
                  <a:pt x="586" y="410"/>
                </a:cubicBezTo>
                <a:cubicBezTo>
                  <a:pt x="586" y="410"/>
                  <a:pt x="586" y="410"/>
                  <a:pt x="586" y="410"/>
                </a:cubicBezTo>
                <a:close/>
                <a:moveTo>
                  <a:pt x="586" y="566"/>
                </a:moveTo>
                <a:cubicBezTo>
                  <a:pt x="585" y="565"/>
                  <a:pt x="587" y="568"/>
                  <a:pt x="586" y="566"/>
                </a:cubicBezTo>
                <a:close/>
                <a:moveTo>
                  <a:pt x="585" y="530"/>
                </a:moveTo>
                <a:cubicBezTo>
                  <a:pt x="586" y="530"/>
                  <a:pt x="586" y="532"/>
                  <a:pt x="585" y="531"/>
                </a:cubicBezTo>
                <a:cubicBezTo>
                  <a:pt x="584" y="531"/>
                  <a:pt x="585" y="530"/>
                  <a:pt x="585" y="530"/>
                </a:cubicBezTo>
                <a:close/>
                <a:moveTo>
                  <a:pt x="583" y="469"/>
                </a:moveTo>
                <a:cubicBezTo>
                  <a:pt x="583" y="469"/>
                  <a:pt x="584" y="470"/>
                  <a:pt x="583" y="470"/>
                </a:cubicBezTo>
                <a:cubicBezTo>
                  <a:pt x="583" y="471"/>
                  <a:pt x="583" y="468"/>
                  <a:pt x="583" y="469"/>
                </a:cubicBezTo>
                <a:close/>
                <a:moveTo>
                  <a:pt x="582" y="481"/>
                </a:moveTo>
                <a:cubicBezTo>
                  <a:pt x="582" y="481"/>
                  <a:pt x="582" y="482"/>
                  <a:pt x="582" y="482"/>
                </a:cubicBezTo>
                <a:cubicBezTo>
                  <a:pt x="584" y="484"/>
                  <a:pt x="580" y="480"/>
                  <a:pt x="582" y="481"/>
                </a:cubicBezTo>
                <a:close/>
                <a:moveTo>
                  <a:pt x="574" y="537"/>
                </a:moveTo>
                <a:cubicBezTo>
                  <a:pt x="573" y="535"/>
                  <a:pt x="575" y="538"/>
                  <a:pt x="574" y="537"/>
                </a:cubicBezTo>
                <a:close/>
                <a:moveTo>
                  <a:pt x="577" y="514"/>
                </a:moveTo>
                <a:cubicBezTo>
                  <a:pt x="576" y="514"/>
                  <a:pt x="576" y="510"/>
                  <a:pt x="575" y="509"/>
                </a:cubicBezTo>
                <a:cubicBezTo>
                  <a:pt x="578" y="509"/>
                  <a:pt x="576" y="512"/>
                  <a:pt x="577" y="514"/>
                </a:cubicBezTo>
                <a:close/>
                <a:moveTo>
                  <a:pt x="579" y="552"/>
                </a:moveTo>
                <a:cubicBezTo>
                  <a:pt x="577" y="553"/>
                  <a:pt x="576" y="548"/>
                  <a:pt x="576" y="546"/>
                </a:cubicBezTo>
                <a:cubicBezTo>
                  <a:pt x="578" y="547"/>
                  <a:pt x="581" y="552"/>
                  <a:pt x="579" y="552"/>
                </a:cubicBezTo>
                <a:close/>
                <a:moveTo>
                  <a:pt x="577" y="515"/>
                </a:moveTo>
                <a:cubicBezTo>
                  <a:pt x="578" y="522"/>
                  <a:pt x="580" y="527"/>
                  <a:pt x="581" y="534"/>
                </a:cubicBezTo>
                <a:cubicBezTo>
                  <a:pt x="579" y="528"/>
                  <a:pt x="577" y="522"/>
                  <a:pt x="577" y="515"/>
                </a:cubicBezTo>
                <a:close/>
                <a:moveTo>
                  <a:pt x="580" y="426"/>
                </a:moveTo>
                <a:cubicBezTo>
                  <a:pt x="581" y="426"/>
                  <a:pt x="581" y="427"/>
                  <a:pt x="581" y="427"/>
                </a:cubicBezTo>
                <a:cubicBezTo>
                  <a:pt x="582" y="429"/>
                  <a:pt x="579" y="427"/>
                  <a:pt x="580" y="426"/>
                </a:cubicBezTo>
                <a:close/>
                <a:moveTo>
                  <a:pt x="578" y="464"/>
                </a:moveTo>
                <a:cubicBezTo>
                  <a:pt x="577" y="465"/>
                  <a:pt x="577" y="464"/>
                  <a:pt x="577" y="464"/>
                </a:cubicBezTo>
                <a:cubicBezTo>
                  <a:pt x="578" y="463"/>
                  <a:pt x="578" y="464"/>
                  <a:pt x="578" y="464"/>
                </a:cubicBezTo>
                <a:close/>
                <a:moveTo>
                  <a:pt x="576" y="475"/>
                </a:moveTo>
                <a:cubicBezTo>
                  <a:pt x="576" y="474"/>
                  <a:pt x="577" y="477"/>
                  <a:pt x="576" y="475"/>
                </a:cubicBezTo>
                <a:close/>
                <a:moveTo>
                  <a:pt x="576" y="497"/>
                </a:moveTo>
                <a:cubicBezTo>
                  <a:pt x="576" y="497"/>
                  <a:pt x="576" y="498"/>
                  <a:pt x="576" y="498"/>
                </a:cubicBezTo>
                <a:cubicBezTo>
                  <a:pt x="576" y="499"/>
                  <a:pt x="576" y="497"/>
                  <a:pt x="576" y="497"/>
                </a:cubicBezTo>
                <a:close/>
                <a:moveTo>
                  <a:pt x="576" y="507"/>
                </a:moveTo>
                <a:cubicBezTo>
                  <a:pt x="577" y="507"/>
                  <a:pt x="577" y="508"/>
                  <a:pt x="576" y="508"/>
                </a:cubicBezTo>
                <a:cubicBezTo>
                  <a:pt x="574" y="509"/>
                  <a:pt x="575" y="505"/>
                  <a:pt x="576" y="507"/>
                </a:cubicBezTo>
                <a:close/>
                <a:moveTo>
                  <a:pt x="575" y="486"/>
                </a:moveTo>
                <a:cubicBezTo>
                  <a:pt x="575" y="485"/>
                  <a:pt x="576" y="488"/>
                  <a:pt x="575" y="486"/>
                </a:cubicBezTo>
                <a:close/>
                <a:moveTo>
                  <a:pt x="573" y="519"/>
                </a:moveTo>
                <a:cubicBezTo>
                  <a:pt x="574" y="524"/>
                  <a:pt x="577" y="528"/>
                  <a:pt x="576" y="533"/>
                </a:cubicBezTo>
                <a:cubicBezTo>
                  <a:pt x="573" y="530"/>
                  <a:pt x="572" y="524"/>
                  <a:pt x="573" y="519"/>
                </a:cubicBezTo>
                <a:close/>
                <a:moveTo>
                  <a:pt x="556" y="517"/>
                </a:moveTo>
                <a:cubicBezTo>
                  <a:pt x="556" y="517"/>
                  <a:pt x="556" y="516"/>
                  <a:pt x="556" y="516"/>
                </a:cubicBezTo>
                <a:cubicBezTo>
                  <a:pt x="554" y="516"/>
                  <a:pt x="557" y="515"/>
                  <a:pt x="556" y="517"/>
                </a:cubicBezTo>
                <a:close/>
                <a:moveTo>
                  <a:pt x="559" y="486"/>
                </a:moveTo>
                <a:cubicBezTo>
                  <a:pt x="558" y="486"/>
                  <a:pt x="559" y="485"/>
                  <a:pt x="559" y="485"/>
                </a:cubicBezTo>
                <a:cubicBezTo>
                  <a:pt x="559" y="485"/>
                  <a:pt x="559" y="486"/>
                  <a:pt x="559" y="486"/>
                </a:cubicBezTo>
                <a:close/>
                <a:moveTo>
                  <a:pt x="561" y="516"/>
                </a:moveTo>
                <a:cubicBezTo>
                  <a:pt x="560" y="516"/>
                  <a:pt x="560" y="515"/>
                  <a:pt x="560" y="515"/>
                </a:cubicBezTo>
                <a:cubicBezTo>
                  <a:pt x="562" y="514"/>
                  <a:pt x="563" y="517"/>
                  <a:pt x="561" y="516"/>
                </a:cubicBezTo>
                <a:close/>
                <a:moveTo>
                  <a:pt x="572" y="517"/>
                </a:moveTo>
                <a:cubicBezTo>
                  <a:pt x="572" y="517"/>
                  <a:pt x="567" y="506"/>
                  <a:pt x="569" y="506"/>
                </a:cubicBezTo>
                <a:cubicBezTo>
                  <a:pt x="569" y="505"/>
                  <a:pt x="572" y="514"/>
                  <a:pt x="572" y="515"/>
                </a:cubicBezTo>
                <a:cubicBezTo>
                  <a:pt x="572" y="515"/>
                  <a:pt x="572" y="516"/>
                  <a:pt x="572" y="517"/>
                </a:cubicBezTo>
                <a:close/>
                <a:moveTo>
                  <a:pt x="569" y="480"/>
                </a:moveTo>
                <a:cubicBezTo>
                  <a:pt x="570" y="480"/>
                  <a:pt x="570" y="480"/>
                  <a:pt x="570" y="480"/>
                </a:cubicBezTo>
                <a:cubicBezTo>
                  <a:pt x="571" y="482"/>
                  <a:pt x="567" y="479"/>
                  <a:pt x="569" y="480"/>
                </a:cubicBezTo>
                <a:close/>
                <a:moveTo>
                  <a:pt x="570" y="451"/>
                </a:moveTo>
                <a:cubicBezTo>
                  <a:pt x="570" y="451"/>
                  <a:pt x="570" y="452"/>
                  <a:pt x="570" y="453"/>
                </a:cubicBezTo>
                <a:cubicBezTo>
                  <a:pt x="568" y="454"/>
                  <a:pt x="568" y="449"/>
                  <a:pt x="570" y="451"/>
                </a:cubicBezTo>
                <a:close/>
                <a:moveTo>
                  <a:pt x="569" y="528"/>
                </a:moveTo>
                <a:cubicBezTo>
                  <a:pt x="569" y="528"/>
                  <a:pt x="569" y="529"/>
                  <a:pt x="569" y="529"/>
                </a:cubicBezTo>
                <a:cubicBezTo>
                  <a:pt x="567" y="529"/>
                  <a:pt x="569" y="526"/>
                  <a:pt x="569" y="528"/>
                </a:cubicBezTo>
                <a:close/>
                <a:moveTo>
                  <a:pt x="567" y="520"/>
                </a:moveTo>
                <a:cubicBezTo>
                  <a:pt x="567" y="520"/>
                  <a:pt x="567" y="519"/>
                  <a:pt x="567" y="519"/>
                </a:cubicBezTo>
                <a:cubicBezTo>
                  <a:pt x="568" y="519"/>
                  <a:pt x="567" y="521"/>
                  <a:pt x="567" y="520"/>
                </a:cubicBezTo>
                <a:close/>
                <a:moveTo>
                  <a:pt x="567" y="511"/>
                </a:moveTo>
                <a:cubicBezTo>
                  <a:pt x="566" y="511"/>
                  <a:pt x="566" y="509"/>
                  <a:pt x="566" y="508"/>
                </a:cubicBezTo>
                <a:cubicBezTo>
                  <a:pt x="567" y="509"/>
                  <a:pt x="567" y="510"/>
                  <a:pt x="567" y="511"/>
                </a:cubicBezTo>
                <a:close/>
                <a:moveTo>
                  <a:pt x="566" y="507"/>
                </a:moveTo>
                <a:cubicBezTo>
                  <a:pt x="565" y="506"/>
                  <a:pt x="567" y="504"/>
                  <a:pt x="566" y="507"/>
                </a:cubicBezTo>
                <a:close/>
                <a:moveTo>
                  <a:pt x="565" y="501"/>
                </a:moveTo>
                <a:cubicBezTo>
                  <a:pt x="565" y="501"/>
                  <a:pt x="565" y="501"/>
                  <a:pt x="565" y="501"/>
                </a:cubicBezTo>
                <a:cubicBezTo>
                  <a:pt x="565" y="501"/>
                  <a:pt x="565" y="501"/>
                  <a:pt x="565" y="500"/>
                </a:cubicBezTo>
                <a:cubicBezTo>
                  <a:pt x="565" y="501"/>
                  <a:pt x="565" y="501"/>
                  <a:pt x="565" y="501"/>
                </a:cubicBezTo>
                <a:close/>
                <a:moveTo>
                  <a:pt x="565" y="508"/>
                </a:moveTo>
                <a:cubicBezTo>
                  <a:pt x="566" y="510"/>
                  <a:pt x="562" y="508"/>
                  <a:pt x="564" y="507"/>
                </a:cubicBezTo>
                <a:cubicBezTo>
                  <a:pt x="564" y="507"/>
                  <a:pt x="565" y="507"/>
                  <a:pt x="565" y="508"/>
                </a:cubicBezTo>
                <a:close/>
                <a:moveTo>
                  <a:pt x="564" y="502"/>
                </a:moveTo>
                <a:cubicBezTo>
                  <a:pt x="564" y="502"/>
                  <a:pt x="564" y="503"/>
                  <a:pt x="564" y="503"/>
                </a:cubicBezTo>
                <a:cubicBezTo>
                  <a:pt x="565" y="505"/>
                  <a:pt x="561" y="503"/>
                  <a:pt x="564" y="502"/>
                </a:cubicBezTo>
                <a:close/>
                <a:moveTo>
                  <a:pt x="560" y="494"/>
                </a:moveTo>
                <a:cubicBezTo>
                  <a:pt x="562" y="492"/>
                  <a:pt x="564" y="496"/>
                  <a:pt x="564" y="496"/>
                </a:cubicBezTo>
                <a:cubicBezTo>
                  <a:pt x="565" y="501"/>
                  <a:pt x="557" y="496"/>
                  <a:pt x="560" y="494"/>
                </a:cubicBezTo>
                <a:close/>
                <a:moveTo>
                  <a:pt x="557" y="439"/>
                </a:moveTo>
                <a:cubicBezTo>
                  <a:pt x="557" y="440"/>
                  <a:pt x="556" y="438"/>
                  <a:pt x="557" y="439"/>
                </a:cubicBezTo>
                <a:close/>
                <a:moveTo>
                  <a:pt x="555" y="457"/>
                </a:moveTo>
                <a:cubicBezTo>
                  <a:pt x="556" y="456"/>
                  <a:pt x="558" y="461"/>
                  <a:pt x="558" y="460"/>
                </a:cubicBezTo>
                <a:cubicBezTo>
                  <a:pt x="558" y="462"/>
                  <a:pt x="558" y="464"/>
                  <a:pt x="559" y="467"/>
                </a:cubicBezTo>
                <a:cubicBezTo>
                  <a:pt x="560" y="471"/>
                  <a:pt x="564" y="476"/>
                  <a:pt x="564" y="480"/>
                </a:cubicBezTo>
                <a:cubicBezTo>
                  <a:pt x="560" y="478"/>
                  <a:pt x="561" y="472"/>
                  <a:pt x="559" y="469"/>
                </a:cubicBezTo>
                <a:cubicBezTo>
                  <a:pt x="558" y="468"/>
                  <a:pt x="556" y="462"/>
                  <a:pt x="555" y="459"/>
                </a:cubicBezTo>
                <a:cubicBezTo>
                  <a:pt x="555" y="458"/>
                  <a:pt x="553" y="457"/>
                  <a:pt x="555" y="457"/>
                </a:cubicBezTo>
                <a:close/>
                <a:moveTo>
                  <a:pt x="549" y="528"/>
                </a:moveTo>
                <a:cubicBezTo>
                  <a:pt x="549" y="527"/>
                  <a:pt x="550" y="527"/>
                  <a:pt x="550" y="528"/>
                </a:cubicBezTo>
                <a:cubicBezTo>
                  <a:pt x="551" y="529"/>
                  <a:pt x="549" y="528"/>
                  <a:pt x="549" y="528"/>
                </a:cubicBezTo>
                <a:close/>
                <a:moveTo>
                  <a:pt x="540" y="511"/>
                </a:moveTo>
                <a:cubicBezTo>
                  <a:pt x="540" y="513"/>
                  <a:pt x="539" y="510"/>
                  <a:pt x="540" y="511"/>
                </a:cubicBezTo>
                <a:close/>
                <a:moveTo>
                  <a:pt x="541" y="554"/>
                </a:moveTo>
                <a:cubicBezTo>
                  <a:pt x="543" y="553"/>
                  <a:pt x="546" y="557"/>
                  <a:pt x="546" y="557"/>
                </a:cubicBezTo>
                <a:cubicBezTo>
                  <a:pt x="546" y="563"/>
                  <a:pt x="538" y="556"/>
                  <a:pt x="541" y="554"/>
                </a:cubicBezTo>
                <a:close/>
                <a:moveTo>
                  <a:pt x="541" y="528"/>
                </a:moveTo>
                <a:cubicBezTo>
                  <a:pt x="541" y="527"/>
                  <a:pt x="543" y="529"/>
                  <a:pt x="542" y="529"/>
                </a:cubicBezTo>
                <a:cubicBezTo>
                  <a:pt x="542" y="529"/>
                  <a:pt x="541" y="529"/>
                  <a:pt x="541" y="528"/>
                </a:cubicBezTo>
                <a:close/>
                <a:moveTo>
                  <a:pt x="549" y="540"/>
                </a:moveTo>
                <a:cubicBezTo>
                  <a:pt x="550" y="541"/>
                  <a:pt x="548" y="539"/>
                  <a:pt x="549" y="540"/>
                </a:cubicBezTo>
                <a:close/>
                <a:moveTo>
                  <a:pt x="548" y="494"/>
                </a:moveTo>
                <a:cubicBezTo>
                  <a:pt x="547" y="494"/>
                  <a:pt x="547" y="493"/>
                  <a:pt x="547" y="492"/>
                </a:cubicBezTo>
                <a:cubicBezTo>
                  <a:pt x="547" y="492"/>
                  <a:pt x="548" y="493"/>
                  <a:pt x="548" y="494"/>
                </a:cubicBezTo>
                <a:close/>
                <a:moveTo>
                  <a:pt x="546" y="541"/>
                </a:moveTo>
                <a:cubicBezTo>
                  <a:pt x="546" y="544"/>
                  <a:pt x="543" y="538"/>
                  <a:pt x="546" y="539"/>
                </a:cubicBezTo>
                <a:cubicBezTo>
                  <a:pt x="546" y="539"/>
                  <a:pt x="546" y="540"/>
                  <a:pt x="546" y="541"/>
                </a:cubicBezTo>
                <a:close/>
                <a:moveTo>
                  <a:pt x="545" y="522"/>
                </a:moveTo>
                <a:cubicBezTo>
                  <a:pt x="545" y="521"/>
                  <a:pt x="546" y="522"/>
                  <a:pt x="546" y="522"/>
                </a:cubicBezTo>
                <a:cubicBezTo>
                  <a:pt x="546" y="523"/>
                  <a:pt x="544" y="522"/>
                  <a:pt x="545" y="522"/>
                </a:cubicBezTo>
                <a:close/>
                <a:moveTo>
                  <a:pt x="545" y="470"/>
                </a:moveTo>
                <a:cubicBezTo>
                  <a:pt x="545" y="468"/>
                  <a:pt x="544" y="467"/>
                  <a:pt x="544" y="465"/>
                </a:cubicBezTo>
                <a:cubicBezTo>
                  <a:pt x="545" y="466"/>
                  <a:pt x="546" y="468"/>
                  <a:pt x="545" y="470"/>
                </a:cubicBezTo>
                <a:close/>
                <a:moveTo>
                  <a:pt x="543" y="518"/>
                </a:moveTo>
                <a:cubicBezTo>
                  <a:pt x="543" y="518"/>
                  <a:pt x="543" y="518"/>
                  <a:pt x="544" y="518"/>
                </a:cubicBezTo>
                <a:cubicBezTo>
                  <a:pt x="545" y="517"/>
                  <a:pt x="546" y="522"/>
                  <a:pt x="543" y="521"/>
                </a:cubicBezTo>
                <a:cubicBezTo>
                  <a:pt x="543" y="521"/>
                  <a:pt x="542" y="520"/>
                  <a:pt x="542" y="519"/>
                </a:cubicBezTo>
                <a:cubicBezTo>
                  <a:pt x="542" y="519"/>
                  <a:pt x="541" y="519"/>
                  <a:pt x="541" y="518"/>
                </a:cubicBezTo>
                <a:cubicBezTo>
                  <a:pt x="541" y="517"/>
                  <a:pt x="543" y="517"/>
                  <a:pt x="543" y="518"/>
                </a:cubicBezTo>
                <a:cubicBezTo>
                  <a:pt x="543" y="518"/>
                  <a:pt x="543" y="518"/>
                  <a:pt x="543" y="518"/>
                </a:cubicBezTo>
                <a:close/>
                <a:moveTo>
                  <a:pt x="541" y="454"/>
                </a:moveTo>
                <a:cubicBezTo>
                  <a:pt x="542" y="456"/>
                  <a:pt x="543" y="459"/>
                  <a:pt x="543" y="461"/>
                </a:cubicBezTo>
                <a:cubicBezTo>
                  <a:pt x="542" y="459"/>
                  <a:pt x="541" y="457"/>
                  <a:pt x="541" y="454"/>
                </a:cubicBezTo>
                <a:close/>
                <a:moveTo>
                  <a:pt x="539" y="439"/>
                </a:moveTo>
                <a:cubicBezTo>
                  <a:pt x="541" y="443"/>
                  <a:pt x="541" y="450"/>
                  <a:pt x="542" y="454"/>
                </a:cubicBezTo>
                <a:cubicBezTo>
                  <a:pt x="540" y="450"/>
                  <a:pt x="540" y="445"/>
                  <a:pt x="539" y="439"/>
                </a:cubicBezTo>
                <a:close/>
                <a:moveTo>
                  <a:pt x="539" y="439"/>
                </a:moveTo>
                <a:cubicBezTo>
                  <a:pt x="538" y="438"/>
                  <a:pt x="538" y="436"/>
                  <a:pt x="538" y="434"/>
                </a:cubicBezTo>
                <a:cubicBezTo>
                  <a:pt x="540" y="435"/>
                  <a:pt x="540" y="437"/>
                  <a:pt x="539" y="439"/>
                </a:cubicBezTo>
                <a:close/>
                <a:moveTo>
                  <a:pt x="539" y="432"/>
                </a:moveTo>
                <a:cubicBezTo>
                  <a:pt x="539" y="433"/>
                  <a:pt x="540" y="433"/>
                  <a:pt x="539" y="434"/>
                </a:cubicBezTo>
                <a:cubicBezTo>
                  <a:pt x="538" y="434"/>
                  <a:pt x="538" y="429"/>
                  <a:pt x="539" y="432"/>
                </a:cubicBezTo>
                <a:close/>
                <a:moveTo>
                  <a:pt x="538" y="420"/>
                </a:moveTo>
                <a:cubicBezTo>
                  <a:pt x="538" y="420"/>
                  <a:pt x="539" y="420"/>
                  <a:pt x="538" y="421"/>
                </a:cubicBezTo>
                <a:cubicBezTo>
                  <a:pt x="537" y="421"/>
                  <a:pt x="537" y="418"/>
                  <a:pt x="538" y="420"/>
                </a:cubicBezTo>
                <a:close/>
                <a:moveTo>
                  <a:pt x="537" y="551"/>
                </a:moveTo>
                <a:cubicBezTo>
                  <a:pt x="538" y="550"/>
                  <a:pt x="539" y="551"/>
                  <a:pt x="539" y="552"/>
                </a:cubicBezTo>
                <a:cubicBezTo>
                  <a:pt x="539" y="554"/>
                  <a:pt x="536" y="553"/>
                  <a:pt x="537" y="551"/>
                </a:cubicBezTo>
                <a:close/>
                <a:moveTo>
                  <a:pt x="535" y="409"/>
                </a:moveTo>
                <a:cubicBezTo>
                  <a:pt x="536" y="409"/>
                  <a:pt x="536" y="411"/>
                  <a:pt x="535" y="409"/>
                </a:cubicBezTo>
                <a:close/>
                <a:moveTo>
                  <a:pt x="535" y="418"/>
                </a:moveTo>
                <a:cubicBezTo>
                  <a:pt x="533" y="417"/>
                  <a:pt x="535" y="416"/>
                  <a:pt x="535" y="418"/>
                </a:cubicBezTo>
                <a:close/>
                <a:moveTo>
                  <a:pt x="534" y="460"/>
                </a:moveTo>
                <a:cubicBezTo>
                  <a:pt x="535" y="460"/>
                  <a:pt x="536" y="461"/>
                  <a:pt x="536" y="461"/>
                </a:cubicBezTo>
                <a:cubicBezTo>
                  <a:pt x="537" y="465"/>
                  <a:pt x="533" y="461"/>
                  <a:pt x="534" y="460"/>
                </a:cubicBezTo>
                <a:close/>
                <a:moveTo>
                  <a:pt x="301" y="28"/>
                </a:moveTo>
                <a:cubicBezTo>
                  <a:pt x="300" y="27"/>
                  <a:pt x="303" y="29"/>
                  <a:pt x="301" y="28"/>
                </a:cubicBezTo>
                <a:close/>
                <a:moveTo>
                  <a:pt x="308" y="19"/>
                </a:moveTo>
                <a:cubicBezTo>
                  <a:pt x="310" y="20"/>
                  <a:pt x="312" y="22"/>
                  <a:pt x="314" y="24"/>
                </a:cubicBezTo>
                <a:cubicBezTo>
                  <a:pt x="311" y="23"/>
                  <a:pt x="310" y="21"/>
                  <a:pt x="308" y="19"/>
                </a:cubicBezTo>
                <a:close/>
                <a:moveTo>
                  <a:pt x="314" y="19"/>
                </a:moveTo>
                <a:cubicBezTo>
                  <a:pt x="314" y="19"/>
                  <a:pt x="314" y="19"/>
                  <a:pt x="314" y="19"/>
                </a:cubicBezTo>
                <a:cubicBezTo>
                  <a:pt x="315" y="20"/>
                  <a:pt x="314" y="19"/>
                  <a:pt x="314" y="19"/>
                </a:cubicBezTo>
                <a:close/>
                <a:moveTo>
                  <a:pt x="286" y="38"/>
                </a:moveTo>
                <a:cubicBezTo>
                  <a:pt x="286" y="38"/>
                  <a:pt x="286" y="38"/>
                  <a:pt x="286" y="38"/>
                </a:cubicBezTo>
                <a:cubicBezTo>
                  <a:pt x="286" y="38"/>
                  <a:pt x="287" y="38"/>
                  <a:pt x="287" y="38"/>
                </a:cubicBezTo>
                <a:cubicBezTo>
                  <a:pt x="287" y="38"/>
                  <a:pt x="287" y="38"/>
                  <a:pt x="286" y="38"/>
                </a:cubicBezTo>
                <a:close/>
                <a:moveTo>
                  <a:pt x="290" y="56"/>
                </a:moveTo>
                <a:cubicBezTo>
                  <a:pt x="291" y="55"/>
                  <a:pt x="292" y="57"/>
                  <a:pt x="290" y="56"/>
                </a:cubicBezTo>
                <a:close/>
                <a:moveTo>
                  <a:pt x="294" y="57"/>
                </a:moveTo>
                <a:cubicBezTo>
                  <a:pt x="292" y="57"/>
                  <a:pt x="293" y="55"/>
                  <a:pt x="294" y="57"/>
                </a:cubicBezTo>
                <a:close/>
                <a:moveTo>
                  <a:pt x="292" y="34"/>
                </a:moveTo>
                <a:cubicBezTo>
                  <a:pt x="293" y="33"/>
                  <a:pt x="294" y="34"/>
                  <a:pt x="294" y="35"/>
                </a:cubicBezTo>
                <a:cubicBezTo>
                  <a:pt x="293" y="35"/>
                  <a:pt x="293" y="34"/>
                  <a:pt x="292" y="34"/>
                </a:cubicBezTo>
                <a:close/>
                <a:moveTo>
                  <a:pt x="301" y="46"/>
                </a:moveTo>
                <a:cubicBezTo>
                  <a:pt x="302" y="47"/>
                  <a:pt x="299" y="45"/>
                  <a:pt x="301" y="46"/>
                </a:cubicBezTo>
                <a:close/>
                <a:moveTo>
                  <a:pt x="300" y="50"/>
                </a:moveTo>
                <a:cubicBezTo>
                  <a:pt x="298" y="49"/>
                  <a:pt x="302" y="52"/>
                  <a:pt x="300" y="50"/>
                </a:cubicBezTo>
                <a:close/>
                <a:moveTo>
                  <a:pt x="301" y="48"/>
                </a:moveTo>
                <a:cubicBezTo>
                  <a:pt x="300" y="48"/>
                  <a:pt x="300" y="47"/>
                  <a:pt x="300" y="47"/>
                </a:cubicBezTo>
                <a:cubicBezTo>
                  <a:pt x="301" y="45"/>
                  <a:pt x="304" y="50"/>
                  <a:pt x="301" y="48"/>
                </a:cubicBezTo>
                <a:close/>
                <a:moveTo>
                  <a:pt x="197" y="116"/>
                </a:moveTo>
                <a:cubicBezTo>
                  <a:pt x="197" y="115"/>
                  <a:pt x="196" y="115"/>
                  <a:pt x="197" y="115"/>
                </a:cubicBezTo>
                <a:cubicBezTo>
                  <a:pt x="198" y="114"/>
                  <a:pt x="199" y="117"/>
                  <a:pt x="197" y="116"/>
                </a:cubicBezTo>
                <a:close/>
                <a:moveTo>
                  <a:pt x="204" y="118"/>
                </a:moveTo>
                <a:cubicBezTo>
                  <a:pt x="205" y="118"/>
                  <a:pt x="206" y="119"/>
                  <a:pt x="205" y="119"/>
                </a:cubicBezTo>
                <a:cubicBezTo>
                  <a:pt x="205" y="120"/>
                  <a:pt x="203" y="119"/>
                  <a:pt x="204" y="118"/>
                </a:cubicBezTo>
                <a:close/>
                <a:moveTo>
                  <a:pt x="201" y="107"/>
                </a:moveTo>
                <a:cubicBezTo>
                  <a:pt x="205" y="105"/>
                  <a:pt x="202" y="110"/>
                  <a:pt x="201" y="107"/>
                </a:cubicBezTo>
                <a:cubicBezTo>
                  <a:pt x="201" y="106"/>
                  <a:pt x="201" y="107"/>
                  <a:pt x="201" y="107"/>
                </a:cubicBezTo>
                <a:close/>
                <a:moveTo>
                  <a:pt x="203" y="122"/>
                </a:moveTo>
                <a:cubicBezTo>
                  <a:pt x="203" y="122"/>
                  <a:pt x="202" y="122"/>
                  <a:pt x="202" y="121"/>
                </a:cubicBezTo>
                <a:cubicBezTo>
                  <a:pt x="202" y="121"/>
                  <a:pt x="202" y="121"/>
                  <a:pt x="202" y="121"/>
                </a:cubicBezTo>
                <a:cubicBezTo>
                  <a:pt x="202" y="120"/>
                  <a:pt x="201" y="119"/>
                  <a:pt x="200" y="118"/>
                </a:cubicBezTo>
                <a:cubicBezTo>
                  <a:pt x="202" y="119"/>
                  <a:pt x="203" y="121"/>
                  <a:pt x="205" y="124"/>
                </a:cubicBezTo>
                <a:cubicBezTo>
                  <a:pt x="204" y="123"/>
                  <a:pt x="203" y="123"/>
                  <a:pt x="203" y="122"/>
                </a:cubicBezTo>
                <a:close/>
                <a:moveTo>
                  <a:pt x="205" y="124"/>
                </a:moveTo>
                <a:cubicBezTo>
                  <a:pt x="206" y="123"/>
                  <a:pt x="207" y="128"/>
                  <a:pt x="205" y="126"/>
                </a:cubicBezTo>
                <a:cubicBezTo>
                  <a:pt x="205" y="125"/>
                  <a:pt x="204" y="125"/>
                  <a:pt x="205" y="124"/>
                </a:cubicBezTo>
                <a:close/>
                <a:moveTo>
                  <a:pt x="205" y="140"/>
                </a:moveTo>
                <a:cubicBezTo>
                  <a:pt x="204" y="140"/>
                  <a:pt x="204" y="139"/>
                  <a:pt x="205" y="139"/>
                </a:cubicBezTo>
                <a:cubicBezTo>
                  <a:pt x="206" y="138"/>
                  <a:pt x="207" y="141"/>
                  <a:pt x="205" y="140"/>
                </a:cubicBezTo>
                <a:close/>
                <a:moveTo>
                  <a:pt x="77" y="199"/>
                </a:moveTo>
                <a:cubicBezTo>
                  <a:pt x="79" y="200"/>
                  <a:pt x="77" y="201"/>
                  <a:pt x="77" y="199"/>
                </a:cubicBezTo>
                <a:close/>
                <a:moveTo>
                  <a:pt x="21" y="249"/>
                </a:moveTo>
                <a:cubicBezTo>
                  <a:pt x="20" y="248"/>
                  <a:pt x="22" y="247"/>
                  <a:pt x="21" y="249"/>
                </a:cubicBezTo>
                <a:close/>
                <a:moveTo>
                  <a:pt x="24" y="252"/>
                </a:moveTo>
                <a:cubicBezTo>
                  <a:pt x="23" y="252"/>
                  <a:pt x="23" y="251"/>
                  <a:pt x="24" y="251"/>
                </a:cubicBezTo>
                <a:cubicBezTo>
                  <a:pt x="24" y="250"/>
                  <a:pt x="24" y="252"/>
                  <a:pt x="24" y="252"/>
                </a:cubicBezTo>
                <a:close/>
                <a:moveTo>
                  <a:pt x="23" y="249"/>
                </a:moveTo>
                <a:cubicBezTo>
                  <a:pt x="23" y="249"/>
                  <a:pt x="24" y="248"/>
                  <a:pt x="24" y="248"/>
                </a:cubicBezTo>
                <a:cubicBezTo>
                  <a:pt x="26" y="247"/>
                  <a:pt x="24" y="251"/>
                  <a:pt x="23" y="249"/>
                </a:cubicBezTo>
                <a:close/>
                <a:moveTo>
                  <a:pt x="26" y="245"/>
                </a:moveTo>
                <a:cubicBezTo>
                  <a:pt x="25" y="245"/>
                  <a:pt x="25" y="244"/>
                  <a:pt x="25" y="244"/>
                </a:cubicBezTo>
                <a:cubicBezTo>
                  <a:pt x="26" y="243"/>
                  <a:pt x="26" y="245"/>
                  <a:pt x="26" y="245"/>
                </a:cubicBezTo>
                <a:close/>
                <a:moveTo>
                  <a:pt x="33" y="251"/>
                </a:moveTo>
                <a:cubicBezTo>
                  <a:pt x="34" y="250"/>
                  <a:pt x="34" y="253"/>
                  <a:pt x="33" y="253"/>
                </a:cubicBezTo>
                <a:cubicBezTo>
                  <a:pt x="33" y="252"/>
                  <a:pt x="33" y="251"/>
                  <a:pt x="33" y="251"/>
                </a:cubicBezTo>
                <a:close/>
                <a:moveTo>
                  <a:pt x="28" y="258"/>
                </a:moveTo>
                <a:cubicBezTo>
                  <a:pt x="28" y="259"/>
                  <a:pt x="27" y="257"/>
                  <a:pt x="27" y="257"/>
                </a:cubicBezTo>
                <a:cubicBezTo>
                  <a:pt x="28" y="256"/>
                  <a:pt x="28" y="258"/>
                  <a:pt x="28" y="258"/>
                </a:cubicBezTo>
                <a:close/>
                <a:moveTo>
                  <a:pt x="29" y="249"/>
                </a:moveTo>
                <a:cubicBezTo>
                  <a:pt x="29" y="248"/>
                  <a:pt x="30" y="249"/>
                  <a:pt x="29" y="250"/>
                </a:cubicBezTo>
                <a:cubicBezTo>
                  <a:pt x="29" y="250"/>
                  <a:pt x="28" y="249"/>
                  <a:pt x="29" y="249"/>
                </a:cubicBezTo>
                <a:close/>
                <a:moveTo>
                  <a:pt x="29" y="275"/>
                </a:moveTo>
                <a:cubicBezTo>
                  <a:pt x="29" y="276"/>
                  <a:pt x="30" y="274"/>
                  <a:pt x="29" y="275"/>
                </a:cubicBezTo>
                <a:close/>
                <a:moveTo>
                  <a:pt x="29" y="247"/>
                </a:moveTo>
                <a:cubicBezTo>
                  <a:pt x="29" y="247"/>
                  <a:pt x="28" y="247"/>
                  <a:pt x="29" y="248"/>
                </a:cubicBezTo>
                <a:cubicBezTo>
                  <a:pt x="28" y="247"/>
                  <a:pt x="28" y="246"/>
                  <a:pt x="28" y="246"/>
                </a:cubicBezTo>
                <a:cubicBezTo>
                  <a:pt x="28" y="246"/>
                  <a:pt x="28" y="245"/>
                  <a:pt x="28" y="245"/>
                </a:cubicBezTo>
                <a:cubicBezTo>
                  <a:pt x="28" y="244"/>
                  <a:pt x="25" y="241"/>
                  <a:pt x="27" y="240"/>
                </a:cubicBezTo>
                <a:cubicBezTo>
                  <a:pt x="31" y="239"/>
                  <a:pt x="30" y="243"/>
                  <a:pt x="30" y="244"/>
                </a:cubicBezTo>
                <a:cubicBezTo>
                  <a:pt x="30" y="244"/>
                  <a:pt x="30" y="245"/>
                  <a:pt x="30" y="245"/>
                </a:cubicBezTo>
                <a:cubicBezTo>
                  <a:pt x="31" y="245"/>
                  <a:pt x="31" y="247"/>
                  <a:pt x="30" y="247"/>
                </a:cubicBezTo>
                <a:cubicBezTo>
                  <a:pt x="30" y="247"/>
                  <a:pt x="30" y="247"/>
                  <a:pt x="30" y="247"/>
                </a:cubicBezTo>
                <a:cubicBezTo>
                  <a:pt x="29" y="247"/>
                  <a:pt x="29" y="247"/>
                  <a:pt x="29" y="247"/>
                </a:cubicBezTo>
                <a:close/>
                <a:moveTo>
                  <a:pt x="30" y="259"/>
                </a:moveTo>
                <a:cubicBezTo>
                  <a:pt x="31" y="258"/>
                  <a:pt x="32" y="262"/>
                  <a:pt x="31" y="262"/>
                </a:cubicBezTo>
                <a:cubicBezTo>
                  <a:pt x="30" y="262"/>
                  <a:pt x="29" y="260"/>
                  <a:pt x="30" y="259"/>
                </a:cubicBezTo>
                <a:close/>
                <a:moveTo>
                  <a:pt x="32" y="282"/>
                </a:moveTo>
                <a:cubicBezTo>
                  <a:pt x="32" y="281"/>
                  <a:pt x="33" y="281"/>
                  <a:pt x="33" y="282"/>
                </a:cubicBezTo>
                <a:cubicBezTo>
                  <a:pt x="33" y="284"/>
                  <a:pt x="29" y="282"/>
                  <a:pt x="32" y="282"/>
                </a:cubicBezTo>
                <a:close/>
                <a:moveTo>
                  <a:pt x="33" y="261"/>
                </a:moveTo>
                <a:cubicBezTo>
                  <a:pt x="33" y="261"/>
                  <a:pt x="32" y="260"/>
                  <a:pt x="33" y="259"/>
                </a:cubicBezTo>
                <a:cubicBezTo>
                  <a:pt x="34" y="259"/>
                  <a:pt x="34" y="261"/>
                  <a:pt x="33" y="261"/>
                </a:cubicBezTo>
                <a:close/>
                <a:moveTo>
                  <a:pt x="34" y="281"/>
                </a:moveTo>
                <a:cubicBezTo>
                  <a:pt x="33" y="279"/>
                  <a:pt x="35" y="278"/>
                  <a:pt x="34" y="281"/>
                </a:cubicBezTo>
                <a:close/>
                <a:moveTo>
                  <a:pt x="35" y="279"/>
                </a:moveTo>
                <a:cubicBezTo>
                  <a:pt x="35" y="280"/>
                  <a:pt x="34" y="277"/>
                  <a:pt x="35" y="277"/>
                </a:cubicBezTo>
                <a:cubicBezTo>
                  <a:pt x="36" y="278"/>
                  <a:pt x="36" y="278"/>
                  <a:pt x="35" y="279"/>
                </a:cubicBezTo>
                <a:close/>
                <a:moveTo>
                  <a:pt x="37" y="226"/>
                </a:moveTo>
                <a:cubicBezTo>
                  <a:pt x="37" y="226"/>
                  <a:pt x="37" y="227"/>
                  <a:pt x="37" y="228"/>
                </a:cubicBezTo>
                <a:cubicBezTo>
                  <a:pt x="37" y="228"/>
                  <a:pt x="36" y="227"/>
                  <a:pt x="37" y="226"/>
                </a:cubicBezTo>
                <a:close/>
                <a:moveTo>
                  <a:pt x="38" y="238"/>
                </a:moveTo>
                <a:cubicBezTo>
                  <a:pt x="37" y="238"/>
                  <a:pt x="37" y="236"/>
                  <a:pt x="38" y="236"/>
                </a:cubicBezTo>
                <a:cubicBezTo>
                  <a:pt x="39" y="235"/>
                  <a:pt x="39" y="238"/>
                  <a:pt x="38" y="238"/>
                </a:cubicBezTo>
                <a:close/>
                <a:moveTo>
                  <a:pt x="40" y="226"/>
                </a:moveTo>
                <a:cubicBezTo>
                  <a:pt x="41" y="226"/>
                  <a:pt x="40" y="228"/>
                  <a:pt x="40" y="228"/>
                </a:cubicBezTo>
                <a:cubicBezTo>
                  <a:pt x="39" y="228"/>
                  <a:pt x="38" y="227"/>
                  <a:pt x="40" y="226"/>
                </a:cubicBezTo>
                <a:close/>
                <a:moveTo>
                  <a:pt x="40" y="265"/>
                </a:moveTo>
                <a:cubicBezTo>
                  <a:pt x="39" y="266"/>
                  <a:pt x="40" y="264"/>
                  <a:pt x="40" y="265"/>
                </a:cubicBezTo>
                <a:close/>
                <a:moveTo>
                  <a:pt x="40" y="249"/>
                </a:moveTo>
                <a:cubicBezTo>
                  <a:pt x="40" y="249"/>
                  <a:pt x="41" y="250"/>
                  <a:pt x="41" y="250"/>
                </a:cubicBezTo>
                <a:cubicBezTo>
                  <a:pt x="40" y="250"/>
                  <a:pt x="40" y="250"/>
                  <a:pt x="40" y="249"/>
                </a:cubicBezTo>
                <a:close/>
                <a:moveTo>
                  <a:pt x="41" y="284"/>
                </a:moveTo>
                <a:cubicBezTo>
                  <a:pt x="40" y="284"/>
                  <a:pt x="39" y="281"/>
                  <a:pt x="40" y="281"/>
                </a:cubicBezTo>
                <a:cubicBezTo>
                  <a:pt x="41" y="280"/>
                  <a:pt x="42" y="283"/>
                  <a:pt x="41" y="284"/>
                </a:cubicBezTo>
                <a:close/>
                <a:moveTo>
                  <a:pt x="40" y="241"/>
                </a:moveTo>
                <a:cubicBezTo>
                  <a:pt x="39" y="241"/>
                  <a:pt x="38" y="238"/>
                  <a:pt x="40" y="237"/>
                </a:cubicBezTo>
                <a:cubicBezTo>
                  <a:pt x="42" y="237"/>
                  <a:pt x="41" y="241"/>
                  <a:pt x="40" y="241"/>
                </a:cubicBezTo>
                <a:close/>
                <a:moveTo>
                  <a:pt x="57" y="241"/>
                </a:moveTo>
                <a:cubicBezTo>
                  <a:pt x="57" y="241"/>
                  <a:pt x="56" y="243"/>
                  <a:pt x="56" y="243"/>
                </a:cubicBezTo>
                <a:cubicBezTo>
                  <a:pt x="56" y="243"/>
                  <a:pt x="56" y="241"/>
                  <a:pt x="57" y="241"/>
                </a:cubicBezTo>
                <a:close/>
                <a:moveTo>
                  <a:pt x="53" y="238"/>
                </a:moveTo>
                <a:cubicBezTo>
                  <a:pt x="56" y="242"/>
                  <a:pt x="53" y="244"/>
                  <a:pt x="53" y="238"/>
                </a:cubicBezTo>
                <a:close/>
                <a:moveTo>
                  <a:pt x="47" y="255"/>
                </a:moveTo>
                <a:cubicBezTo>
                  <a:pt x="46" y="254"/>
                  <a:pt x="48" y="253"/>
                  <a:pt x="47" y="255"/>
                </a:cubicBezTo>
                <a:close/>
                <a:moveTo>
                  <a:pt x="46" y="251"/>
                </a:moveTo>
                <a:cubicBezTo>
                  <a:pt x="47" y="251"/>
                  <a:pt x="47" y="253"/>
                  <a:pt x="46" y="253"/>
                </a:cubicBezTo>
                <a:cubicBezTo>
                  <a:pt x="45" y="253"/>
                  <a:pt x="46" y="251"/>
                  <a:pt x="46" y="251"/>
                </a:cubicBezTo>
                <a:close/>
                <a:moveTo>
                  <a:pt x="42" y="252"/>
                </a:moveTo>
                <a:cubicBezTo>
                  <a:pt x="43" y="251"/>
                  <a:pt x="44" y="254"/>
                  <a:pt x="43" y="254"/>
                </a:cubicBezTo>
                <a:cubicBezTo>
                  <a:pt x="42" y="255"/>
                  <a:pt x="42" y="252"/>
                  <a:pt x="42" y="252"/>
                </a:cubicBezTo>
                <a:close/>
                <a:moveTo>
                  <a:pt x="43" y="259"/>
                </a:moveTo>
                <a:cubicBezTo>
                  <a:pt x="43" y="260"/>
                  <a:pt x="44" y="261"/>
                  <a:pt x="43" y="262"/>
                </a:cubicBezTo>
                <a:cubicBezTo>
                  <a:pt x="42" y="261"/>
                  <a:pt x="42" y="260"/>
                  <a:pt x="43" y="259"/>
                </a:cubicBezTo>
                <a:close/>
                <a:moveTo>
                  <a:pt x="43" y="292"/>
                </a:moveTo>
                <a:cubicBezTo>
                  <a:pt x="43" y="292"/>
                  <a:pt x="43" y="292"/>
                  <a:pt x="44" y="292"/>
                </a:cubicBezTo>
                <a:cubicBezTo>
                  <a:pt x="44" y="292"/>
                  <a:pt x="44" y="292"/>
                  <a:pt x="44" y="292"/>
                </a:cubicBezTo>
                <a:cubicBezTo>
                  <a:pt x="44" y="292"/>
                  <a:pt x="43" y="292"/>
                  <a:pt x="43" y="292"/>
                </a:cubicBezTo>
                <a:close/>
                <a:moveTo>
                  <a:pt x="44" y="265"/>
                </a:moveTo>
                <a:cubicBezTo>
                  <a:pt x="44" y="265"/>
                  <a:pt x="43" y="264"/>
                  <a:pt x="44" y="264"/>
                </a:cubicBezTo>
                <a:cubicBezTo>
                  <a:pt x="44" y="263"/>
                  <a:pt x="45" y="264"/>
                  <a:pt x="44" y="265"/>
                </a:cubicBezTo>
                <a:close/>
                <a:moveTo>
                  <a:pt x="47" y="274"/>
                </a:moveTo>
                <a:cubicBezTo>
                  <a:pt x="46" y="275"/>
                  <a:pt x="44" y="270"/>
                  <a:pt x="46" y="269"/>
                </a:cubicBezTo>
                <a:cubicBezTo>
                  <a:pt x="48" y="269"/>
                  <a:pt x="48" y="274"/>
                  <a:pt x="47" y="274"/>
                </a:cubicBezTo>
                <a:close/>
                <a:moveTo>
                  <a:pt x="48" y="282"/>
                </a:moveTo>
                <a:cubicBezTo>
                  <a:pt x="46" y="280"/>
                  <a:pt x="50" y="279"/>
                  <a:pt x="48" y="282"/>
                </a:cubicBezTo>
                <a:close/>
                <a:moveTo>
                  <a:pt x="51" y="287"/>
                </a:moveTo>
                <a:cubicBezTo>
                  <a:pt x="48" y="289"/>
                  <a:pt x="51" y="281"/>
                  <a:pt x="52" y="285"/>
                </a:cubicBezTo>
                <a:cubicBezTo>
                  <a:pt x="52" y="286"/>
                  <a:pt x="51" y="287"/>
                  <a:pt x="51" y="287"/>
                </a:cubicBezTo>
                <a:close/>
                <a:moveTo>
                  <a:pt x="53" y="285"/>
                </a:moveTo>
                <a:cubicBezTo>
                  <a:pt x="54" y="284"/>
                  <a:pt x="54" y="285"/>
                  <a:pt x="54" y="285"/>
                </a:cubicBezTo>
                <a:cubicBezTo>
                  <a:pt x="53" y="286"/>
                  <a:pt x="54" y="285"/>
                  <a:pt x="53" y="285"/>
                </a:cubicBezTo>
                <a:close/>
                <a:moveTo>
                  <a:pt x="55" y="281"/>
                </a:moveTo>
                <a:cubicBezTo>
                  <a:pt x="54" y="282"/>
                  <a:pt x="56" y="280"/>
                  <a:pt x="55" y="281"/>
                </a:cubicBezTo>
                <a:close/>
                <a:moveTo>
                  <a:pt x="57" y="266"/>
                </a:moveTo>
                <a:cubicBezTo>
                  <a:pt x="56" y="266"/>
                  <a:pt x="54" y="265"/>
                  <a:pt x="54" y="265"/>
                </a:cubicBezTo>
                <a:cubicBezTo>
                  <a:pt x="50" y="263"/>
                  <a:pt x="46" y="255"/>
                  <a:pt x="50" y="252"/>
                </a:cubicBezTo>
                <a:cubicBezTo>
                  <a:pt x="52" y="251"/>
                  <a:pt x="56" y="253"/>
                  <a:pt x="56" y="254"/>
                </a:cubicBezTo>
                <a:cubicBezTo>
                  <a:pt x="56" y="255"/>
                  <a:pt x="56" y="256"/>
                  <a:pt x="56" y="257"/>
                </a:cubicBezTo>
                <a:cubicBezTo>
                  <a:pt x="56" y="258"/>
                  <a:pt x="57" y="258"/>
                  <a:pt x="57" y="258"/>
                </a:cubicBezTo>
                <a:cubicBezTo>
                  <a:pt x="58" y="260"/>
                  <a:pt x="57" y="262"/>
                  <a:pt x="57" y="264"/>
                </a:cubicBezTo>
                <a:cubicBezTo>
                  <a:pt x="57" y="265"/>
                  <a:pt x="57" y="265"/>
                  <a:pt x="57" y="266"/>
                </a:cubicBezTo>
                <a:close/>
                <a:moveTo>
                  <a:pt x="58" y="333"/>
                </a:moveTo>
                <a:cubicBezTo>
                  <a:pt x="58" y="333"/>
                  <a:pt x="57" y="333"/>
                  <a:pt x="57" y="332"/>
                </a:cubicBezTo>
                <a:cubicBezTo>
                  <a:pt x="57" y="331"/>
                  <a:pt x="58" y="332"/>
                  <a:pt x="58" y="333"/>
                </a:cubicBezTo>
                <a:close/>
                <a:moveTo>
                  <a:pt x="64" y="334"/>
                </a:moveTo>
                <a:cubicBezTo>
                  <a:pt x="63" y="334"/>
                  <a:pt x="63" y="333"/>
                  <a:pt x="64" y="332"/>
                </a:cubicBezTo>
                <a:cubicBezTo>
                  <a:pt x="64" y="332"/>
                  <a:pt x="65" y="334"/>
                  <a:pt x="64" y="334"/>
                </a:cubicBezTo>
                <a:close/>
                <a:moveTo>
                  <a:pt x="70" y="242"/>
                </a:moveTo>
                <a:cubicBezTo>
                  <a:pt x="71" y="242"/>
                  <a:pt x="72" y="242"/>
                  <a:pt x="72" y="243"/>
                </a:cubicBezTo>
                <a:cubicBezTo>
                  <a:pt x="72" y="245"/>
                  <a:pt x="68" y="243"/>
                  <a:pt x="70" y="242"/>
                </a:cubicBezTo>
                <a:close/>
                <a:moveTo>
                  <a:pt x="71" y="259"/>
                </a:moveTo>
                <a:cubicBezTo>
                  <a:pt x="70" y="259"/>
                  <a:pt x="70" y="258"/>
                  <a:pt x="70" y="258"/>
                </a:cubicBezTo>
                <a:cubicBezTo>
                  <a:pt x="71" y="257"/>
                  <a:pt x="71" y="259"/>
                  <a:pt x="71" y="259"/>
                </a:cubicBezTo>
                <a:close/>
                <a:moveTo>
                  <a:pt x="68" y="253"/>
                </a:moveTo>
                <a:cubicBezTo>
                  <a:pt x="69" y="252"/>
                  <a:pt x="69" y="254"/>
                  <a:pt x="68" y="254"/>
                </a:cubicBezTo>
                <a:cubicBezTo>
                  <a:pt x="68" y="254"/>
                  <a:pt x="67" y="253"/>
                  <a:pt x="68" y="253"/>
                </a:cubicBezTo>
                <a:close/>
                <a:moveTo>
                  <a:pt x="68" y="246"/>
                </a:moveTo>
                <a:cubicBezTo>
                  <a:pt x="68" y="246"/>
                  <a:pt x="69" y="247"/>
                  <a:pt x="68" y="247"/>
                </a:cubicBezTo>
                <a:cubicBezTo>
                  <a:pt x="68" y="247"/>
                  <a:pt x="67" y="247"/>
                  <a:pt x="68" y="246"/>
                </a:cubicBezTo>
                <a:close/>
                <a:moveTo>
                  <a:pt x="69" y="248"/>
                </a:moveTo>
                <a:cubicBezTo>
                  <a:pt x="68" y="246"/>
                  <a:pt x="69" y="250"/>
                  <a:pt x="69" y="248"/>
                </a:cubicBezTo>
                <a:close/>
                <a:moveTo>
                  <a:pt x="67" y="243"/>
                </a:moveTo>
                <a:cubicBezTo>
                  <a:pt x="68" y="244"/>
                  <a:pt x="68" y="245"/>
                  <a:pt x="69" y="246"/>
                </a:cubicBezTo>
                <a:cubicBezTo>
                  <a:pt x="68" y="246"/>
                  <a:pt x="67" y="244"/>
                  <a:pt x="67" y="243"/>
                </a:cubicBezTo>
                <a:close/>
                <a:moveTo>
                  <a:pt x="67" y="277"/>
                </a:moveTo>
                <a:cubicBezTo>
                  <a:pt x="69" y="275"/>
                  <a:pt x="70" y="280"/>
                  <a:pt x="70" y="282"/>
                </a:cubicBezTo>
                <a:cubicBezTo>
                  <a:pt x="68" y="281"/>
                  <a:pt x="66" y="279"/>
                  <a:pt x="67" y="277"/>
                </a:cubicBezTo>
                <a:close/>
                <a:moveTo>
                  <a:pt x="66" y="267"/>
                </a:moveTo>
                <a:cubicBezTo>
                  <a:pt x="65" y="267"/>
                  <a:pt x="65" y="266"/>
                  <a:pt x="66" y="266"/>
                </a:cubicBezTo>
                <a:cubicBezTo>
                  <a:pt x="67" y="265"/>
                  <a:pt x="66" y="267"/>
                  <a:pt x="66" y="267"/>
                </a:cubicBezTo>
                <a:close/>
                <a:moveTo>
                  <a:pt x="64" y="237"/>
                </a:moveTo>
                <a:cubicBezTo>
                  <a:pt x="65" y="236"/>
                  <a:pt x="66" y="239"/>
                  <a:pt x="65" y="239"/>
                </a:cubicBezTo>
                <a:cubicBezTo>
                  <a:pt x="64" y="239"/>
                  <a:pt x="64" y="238"/>
                  <a:pt x="64" y="237"/>
                </a:cubicBezTo>
                <a:close/>
                <a:moveTo>
                  <a:pt x="64" y="255"/>
                </a:moveTo>
                <a:cubicBezTo>
                  <a:pt x="64" y="255"/>
                  <a:pt x="65" y="256"/>
                  <a:pt x="64" y="257"/>
                </a:cubicBezTo>
                <a:cubicBezTo>
                  <a:pt x="64" y="256"/>
                  <a:pt x="64" y="256"/>
                  <a:pt x="64" y="255"/>
                </a:cubicBezTo>
                <a:close/>
                <a:moveTo>
                  <a:pt x="64" y="265"/>
                </a:moveTo>
                <a:cubicBezTo>
                  <a:pt x="64" y="265"/>
                  <a:pt x="64" y="265"/>
                  <a:pt x="64" y="265"/>
                </a:cubicBezTo>
                <a:cubicBezTo>
                  <a:pt x="65" y="264"/>
                  <a:pt x="62" y="267"/>
                  <a:pt x="64" y="265"/>
                </a:cubicBezTo>
                <a:close/>
                <a:moveTo>
                  <a:pt x="63" y="259"/>
                </a:moveTo>
                <a:cubicBezTo>
                  <a:pt x="64" y="258"/>
                  <a:pt x="64" y="259"/>
                  <a:pt x="64" y="259"/>
                </a:cubicBezTo>
                <a:cubicBezTo>
                  <a:pt x="64" y="260"/>
                  <a:pt x="63" y="259"/>
                  <a:pt x="63" y="259"/>
                </a:cubicBezTo>
                <a:close/>
                <a:moveTo>
                  <a:pt x="59" y="265"/>
                </a:moveTo>
                <a:cubicBezTo>
                  <a:pt x="60" y="265"/>
                  <a:pt x="61" y="268"/>
                  <a:pt x="60" y="269"/>
                </a:cubicBezTo>
                <a:cubicBezTo>
                  <a:pt x="59" y="269"/>
                  <a:pt x="58" y="266"/>
                  <a:pt x="59" y="265"/>
                </a:cubicBezTo>
                <a:close/>
                <a:moveTo>
                  <a:pt x="67" y="342"/>
                </a:moveTo>
                <a:cubicBezTo>
                  <a:pt x="66" y="343"/>
                  <a:pt x="65" y="341"/>
                  <a:pt x="66" y="341"/>
                </a:cubicBezTo>
                <a:cubicBezTo>
                  <a:pt x="67" y="341"/>
                  <a:pt x="67" y="342"/>
                  <a:pt x="67" y="342"/>
                </a:cubicBezTo>
                <a:close/>
                <a:moveTo>
                  <a:pt x="70" y="301"/>
                </a:moveTo>
                <a:cubicBezTo>
                  <a:pt x="70" y="301"/>
                  <a:pt x="69" y="301"/>
                  <a:pt x="69" y="301"/>
                </a:cubicBezTo>
                <a:cubicBezTo>
                  <a:pt x="68" y="302"/>
                  <a:pt x="66" y="299"/>
                  <a:pt x="65" y="297"/>
                </a:cubicBezTo>
                <a:cubicBezTo>
                  <a:pt x="65" y="298"/>
                  <a:pt x="65" y="300"/>
                  <a:pt x="65" y="301"/>
                </a:cubicBezTo>
                <a:cubicBezTo>
                  <a:pt x="65" y="306"/>
                  <a:pt x="63" y="297"/>
                  <a:pt x="63" y="297"/>
                </a:cubicBezTo>
                <a:cubicBezTo>
                  <a:pt x="62" y="291"/>
                  <a:pt x="61" y="287"/>
                  <a:pt x="60" y="282"/>
                </a:cubicBezTo>
                <a:cubicBezTo>
                  <a:pt x="60" y="281"/>
                  <a:pt x="59" y="274"/>
                  <a:pt x="60" y="273"/>
                </a:cubicBezTo>
                <a:cubicBezTo>
                  <a:pt x="61" y="272"/>
                  <a:pt x="62" y="281"/>
                  <a:pt x="63" y="284"/>
                </a:cubicBezTo>
                <a:cubicBezTo>
                  <a:pt x="63" y="288"/>
                  <a:pt x="63" y="291"/>
                  <a:pt x="64" y="293"/>
                </a:cubicBezTo>
                <a:cubicBezTo>
                  <a:pt x="64" y="291"/>
                  <a:pt x="65" y="289"/>
                  <a:pt x="68" y="289"/>
                </a:cubicBezTo>
                <a:cubicBezTo>
                  <a:pt x="73" y="289"/>
                  <a:pt x="72" y="297"/>
                  <a:pt x="70" y="301"/>
                </a:cubicBezTo>
                <a:close/>
                <a:moveTo>
                  <a:pt x="72" y="283"/>
                </a:moveTo>
                <a:cubicBezTo>
                  <a:pt x="72" y="283"/>
                  <a:pt x="72" y="283"/>
                  <a:pt x="72" y="283"/>
                </a:cubicBezTo>
                <a:cubicBezTo>
                  <a:pt x="74" y="282"/>
                  <a:pt x="70" y="285"/>
                  <a:pt x="72" y="283"/>
                </a:cubicBezTo>
                <a:close/>
                <a:moveTo>
                  <a:pt x="25" y="317"/>
                </a:moveTo>
                <a:cubicBezTo>
                  <a:pt x="27" y="317"/>
                  <a:pt x="26" y="320"/>
                  <a:pt x="25" y="320"/>
                </a:cubicBezTo>
                <a:cubicBezTo>
                  <a:pt x="24" y="321"/>
                  <a:pt x="23" y="317"/>
                  <a:pt x="25" y="317"/>
                </a:cubicBezTo>
                <a:close/>
                <a:moveTo>
                  <a:pt x="24" y="294"/>
                </a:moveTo>
                <a:cubicBezTo>
                  <a:pt x="26" y="293"/>
                  <a:pt x="25" y="296"/>
                  <a:pt x="24" y="296"/>
                </a:cubicBezTo>
                <a:cubicBezTo>
                  <a:pt x="23" y="296"/>
                  <a:pt x="23" y="295"/>
                  <a:pt x="24" y="294"/>
                </a:cubicBezTo>
                <a:close/>
                <a:moveTo>
                  <a:pt x="8" y="242"/>
                </a:moveTo>
                <a:cubicBezTo>
                  <a:pt x="9" y="241"/>
                  <a:pt x="9" y="244"/>
                  <a:pt x="8" y="243"/>
                </a:cubicBezTo>
                <a:cubicBezTo>
                  <a:pt x="8" y="243"/>
                  <a:pt x="8" y="242"/>
                  <a:pt x="8" y="242"/>
                </a:cubicBezTo>
                <a:close/>
                <a:moveTo>
                  <a:pt x="2" y="238"/>
                </a:moveTo>
                <a:cubicBezTo>
                  <a:pt x="2" y="237"/>
                  <a:pt x="0" y="239"/>
                  <a:pt x="2" y="238"/>
                </a:cubicBezTo>
                <a:close/>
                <a:moveTo>
                  <a:pt x="2" y="242"/>
                </a:moveTo>
                <a:cubicBezTo>
                  <a:pt x="2" y="242"/>
                  <a:pt x="2" y="241"/>
                  <a:pt x="2" y="241"/>
                </a:cubicBezTo>
                <a:cubicBezTo>
                  <a:pt x="3" y="240"/>
                  <a:pt x="3" y="242"/>
                  <a:pt x="2" y="242"/>
                </a:cubicBezTo>
                <a:close/>
                <a:moveTo>
                  <a:pt x="3" y="351"/>
                </a:moveTo>
                <a:cubicBezTo>
                  <a:pt x="2" y="353"/>
                  <a:pt x="4" y="350"/>
                  <a:pt x="3" y="351"/>
                </a:cubicBezTo>
                <a:close/>
                <a:moveTo>
                  <a:pt x="3" y="442"/>
                </a:moveTo>
                <a:cubicBezTo>
                  <a:pt x="3" y="442"/>
                  <a:pt x="3" y="442"/>
                  <a:pt x="3" y="442"/>
                </a:cubicBezTo>
                <a:cubicBezTo>
                  <a:pt x="4" y="441"/>
                  <a:pt x="1" y="445"/>
                  <a:pt x="3" y="442"/>
                </a:cubicBezTo>
                <a:close/>
                <a:moveTo>
                  <a:pt x="11" y="295"/>
                </a:moveTo>
                <a:cubicBezTo>
                  <a:pt x="13" y="295"/>
                  <a:pt x="12" y="300"/>
                  <a:pt x="11" y="299"/>
                </a:cubicBezTo>
                <a:cubicBezTo>
                  <a:pt x="9" y="299"/>
                  <a:pt x="10" y="295"/>
                  <a:pt x="11" y="295"/>
                </a:cubicBezTo>
                <a:close/>
                <a:moveTo>
                  <a:pt x="9" y="283"/>
                </a:moveTo>
                <a:cubicBezTo>
                  <a:pt x="12" y="283"/>
                  <a:pt x="10" y="288"/>
                  <a:pt x="8" y="288"/>
                </a:cubicBezTo>
                <a:cubicBezTo>
                  <a:pt x="6" y="288"/>
                  <a:pt x="7" y="283"/>
                  <a:pt x="9" y="283"/>
                </a:cubicBezTo>
                <a:close/>
                <a:moveTo>
                  <a:pt x="5" y="239"/>
                </a:moveTo>
                <a:cubicBezTo>
                  <a:pt x="6" y="239"/>
                  <a:pt x="6" y="243"/>
                  <a:pt x="5" y="243"/>
                </a:cubicBezTo>
                <a:cubicBezTo>
                  <a:pt x="4" y="243"/>
                  <a:pt x="3" y="239"/>
                  <a:pt x="5" y="239"/>
                </a:cubicBezTo>
                <a:close/>
                <a:moveTo>
                  <a:pt x="5" y="282"/>
                </a:moveTo>
                <a:cubicBezTo>
                  <a:pt x="4" y="281"/>
                  <a:pt x="7" y="281"/>
                  <a:pt x="5" y="282"/>
                </a:cubicBezTo>
                <a:close/>
                <a:moveTo>
                  <a:pt x="6" y="383"/>
                </a:moveTo>
                <a:cubicBezTo>
                  <a:pt x="5" y="382"/>
                  <a:pt x="7" y="381"/>
                  <a:pt x="6" y="383"/>
                </a:cubicBezTo>
                <a:close/>
                <a:moveTo>
                  <a:pt x="7" y="413"/>
                </a:moveTo>
                <a:cubicBezTo>
                  <a:pt x="7" y="414"/>
                  <a:pt x="7" y="414"/>
                  <a:pt x="7" y="413"/>
                </a:cubicBezTo>
                <a:close/>
                <a:moveTo>
                  <a:pt x="7" y="412"/>
                </a:moveTo>
                <a:cubicBezTo>
                  <a:pt x="6" y="411"/>
                  <a:pt x="8" y="410"/>
                  <a:pt x="7" y="412"/>
                </a:cubicBezTo>
                <a:close/>
                <a:moveTo>
                  <a:pt x="11" y="364"/>
                </a:moveTo>
                <a:cubicBezTo>
                  <a:pt x="9" y="362"/>
                  <a:pt x="12" y="361"/>
                  <a:pt x="11" y="364"/>
                </a:cubicBezTo>
                <a:close/>
                <a:moveTo>
                  <a:pt x="11" y="360"/>
                </a:moveTo>
                <a:cubicBezTo>
                  <a:pt x="10" y="360"/>
                  <a:pt x="11" y="359"/>
                  <a:pt x="11" y="358"/>
                </a:cubicBezTo>
                <a:cubicBezTo>
                  <a:pt x="12" y="359"/>
                  <a:pt x="11" y="360"/>
                  <a:pt x="11" y="360"/>
                </a:cubicBezTo>
                <a:close/>
                <a:moveTo>
                  <a:pt x="12" y="342"/>
                </a:moveTo>
                <a:cubicBezTo>
                  <a:pt x="11" y="344"/>
                  <a:pt x="9" y="343"/>
                  <a:pt x="7" y="345"/>
                </a:cubicBezTo>
                <a:cubicBezTo>
                  <a:pt x="4" y="343"/>
                  <a:pt x="3" y="336"/>
                  <a:pt x="6" y="332"/>
                </a:cubicBezTo>
                <a:cubicBezTo>
                  <a:pt x="10" y="324"/>
                  <a:pt x="16" y="336"/>
                  <a:pt x="12" y="342"/>
                </a:cubicBezTo>
                <a:close/>
                <a:moveTo>
                  <a:pt x="13" y="293"/>
                </a:moveTo>
                <a:cubicBezTo>
                  <a:pt x="12" y="293"/>
                  <a:pt x="12" y="291"/>
                  <a:pt x="13" y="291"/>
                </a:cubicBezTo>
                <a:cubicBezTo>
                  <a:pt x="14" y="292"/>
                  <a:pt x="14" y="294"/>
                  <a:pt x="13" y="293"/>
                </a:cubicBezTo>
                <a:close/>
                <a:moveTo>
                  <a:pt x="20" y="292"/>
                </a:moveTo>
                <a:cubicBezTo>
                  <a:pt x="19" y="292"/>
                  <a:pt x="18" y="288"/>
                  <a:pt x="20" y="288"/>
                </a:cubicBezTo>
                <a:cubicBezTo>
                  <a:pt x="22" y="288"/>
                  <a:pt x="21" y="292"/>
                  <a:pt x="20" y="292"/>
                </a:cubicBezTo>
                <a:close/>
                <a:moveTo>
                  <a:pt x="21" y="325"/>
                </a:moveTo>
                <a:cubicBezTo>
                  <a:pt x="21" y="325"/>
                  <a:pt x="20" y="324"/>
                  <a:pt x="21" y="324"/>
                </a:cubicBezTo>
                <a:cubicBezTo>
                  <a:pt x="22" y="324"/>
                  <a:pt x="22" y="325"/>
                  <a:pt x="21" y="325"/>
                </a:cubicBezTo>
                <a:close/>
                <a:moveTo>
                  <a:pt x="22" y="295"/>
                </a:moveTo>
                <a:cubicBezTo>
                  <a:pt x="21" y="296"/>
                  <a:pt x="21" y="293"/>
                  <a:pt x="21" y="293"/>
                </a:cubicBezTo>
                <a:cubicBezTo>
                  <a:pt x="22" y="292"/>
                  <a:pt x="23" y="295"/>
                  <a:pt x="22" y="295"/>
                </a:cubicBezTo>
                <a:close/>
                <a:moveTo>
                  <a:pt x="26" y="373"/>
                </a:moveTo>
                <a:cubicBezTo>
                  <a:pt x="25" y="372"/>
                  <a:pt x="28" y="371"/>
                  <a:pt x="26" y="373"/>
                </a:cubicBezTo>
                <a:close/>
                <a:moveTo>
                  <a:pt x="27" y="459"/>
                </a:moveTo>
                <a:cubicBezTo>
                  <a:pt x="26" y="458"/>
                  <a:pt x="28" y="457"/>
                  <a:pt x="27" y="459"/>
                </a:cubicBezTo>
                <a:close/>
                <a:moveTo>
                  <a:pt x="31" y="330"/>
                </a:moveTo>
                <a:cubicBezTo>
                  <a:pt x="32" y="329"/>
                  <a:pt x="32" y="332"/>
                  <a:pt x="31" y="332"/>
                </a:cubicBezTo>
                <a:cubicBezTo>
                  <a:pt x="31" y="332"/>
                  <a:pt x="31" y="330"/>
                  <a:pt x="31" y="330"/>
                </a:cubicBezTo>
                <a:close/>
                <a:moveTo>
                  <a:pt x="31" y="465"/>
                </a:moveTo>
                <a:cubicBezTo>
                  <a:pt x="30" y="463"/>
                  <a:pt x="30" y="461"/>
                  <a:pt x="31" y="458"/>
                </a:cubicBezTo>
                <a:cubicBezTo>
                  <a:pt x="32" y="460"/>
                  <a:pt x="31" y="463"/>
                  <a:pt x="31" y="465"/>
                </a:cubicBezTo>
                <a:close/>
                <a:moveTo>
                  <a:pt x="33" y="366"/>
                </a:moveTo>
                <a:cubicBezTo>
                  <a:pt x="32" y="360"/>
                  <a:pt x="31" y="354"/>
                  <a:pt x="31" y="348"/>
                </a:cubicBezTo>
                <a:cubicBezTo>
                  <a:pt x="33" y="353"/>
                  <a:pt x="33" y="362"/>
                  <a:pt x="35" y="369"/>
                </a:cubicBezTo>
                <a:cubicBezTo>
                  <a:pt x="36" y="374"/>
                  <a:pt x="33" y="367"/>
                  <a:pt x="33" y="366"/>
                </a:cubicBezTo>
                <a:close/>
                <a:moveTo>
                  <a:pt x="35" y="330"/>
                </a:moveTo>
                <a:cubicBezTo>
                  <a:pt x="36" y="331"/>
                  <a:pt x="35" y="331"/>
                  <a:pt x="35" y="330"/>
                </a:cubicBezTo>
                <a:close/>
                <a:moveTo>
                  <a:pt x="46" y="336"/>
                </a:moveTo>
                <a:cubicBezTo>
                  <a:pt x="46" y="336"/>
                  <a:pt x="46" y="337"/>
                  <a:pt x="46" y="337"/>
                </a:cubicBezTo>
                <a:cubicBezTo>
                  <a:pt x="46" y="338"/>
                  <a:pt x="45" y="337"/>
                  <a:pt x="46" y="336"/>
                </a:cubicBezTo>
                <a:close/>
                <a:moveTo>
                  <a:pt x="39" y="421"/>
                </a:moveTo>
                <a:cubicBezTo>
                  <a:pt x="38" y="420"/>
                  <a:pt x="40" y="419"/>
                  <a:pt x="39" y="421"/>
                </a:cubicBezTo>
                <a:close/>
                <a:moveTo>
                  <a:pt x="40" y="416"/>
                </a:moveTo>
                <a:cubicBezTo>
                  <a:pt x="38" y="417"/>
                  <a:pt x="39" y="414"/>
                  <a:pt x="39" y="414"/>
                </a:cubicBezTo>
                <a:cubicBezTo>
                  <a:pt x="40" y="414"/>
                  <a:pt x="39" y="415"/>
                  <a:pt x="40" y="416"/>
                </a:cubicBezTo>
                <a:close/>
                <a:moveTo>
                  <a:pt x="43" y="333"/>
                </a:moveTo>
                <a:cubicBezTo>
                  <a:pt x="43" y="333"/>
                  <a:pt x="42" y="334"/>
                  <a:pt x="42" y="334"/>
                </a:cubicBezTo>
                <a:cubicBezTo>
                  <a:pt x="41" y="335"/>
                  <a:pt x="42" y="332"/>
                  <a:pt x="43" y="333"/>
                </a:cubicBezTo>
                <a:close/>
                <a:moveTo>
                  <a:pt x="43" y="405"/>
                </a:moveTo>
                <a:cubicBezTo>
                  <a:pt x="43" y="407"/>
                  <a:pt x="44" y="410"/>
                  <a:pt x="43" y="411"/>
                </a:cubicBezTo>
                <a:cubicBezTo>
                  <a:pt x="42" y="411"/>
                  <a:pt x="42" y="407"/>
                  <a:pt x="43" y="405"/>
                </a:cubicBezTo>
                <a:close/>
                <a:moveTo>
                  <a:pt x="43" y="446"/>
                </a:moveTo>
                <a:cubicBezTo>
                  <a:pt x="43" y="447"/>
                  <a:pt x="42" y="448"/>
                  <a:pt x="43" y="446"/>
                </a:cubicBezTo>
                <a:close/>
                <a:moveTo>
                  <a:pt x="43" y="449"/>
                </a:moveTo>
                <a:cubicBezTo>
                  <a:pt x="43" y="449"/>
                  <a:pt x="44" y="450"/>
                  <a:pt x="44" y="450"/>
                </a:cubicBezTo>
                <a:cubicBezTo>
                  <a:pt x="43" y="451"/>
                  <a:pt x="42" y="450"/>
                  <a:pt x="43" y="449"/>
                </a:cubicBezTo>
                <a:close/>
                <a:moveTo>
                  <a:pt x="43" y="404"/>
                </a:moveTo>
                <a:cubicBezTo>
                  <a:pt x="42" y="404"/>
                  <a:pt x="43" y="394"/>
                  <a:pt x="43" y="395"/>
                </a:cubicBezTo>
                <a:cubicBezTo>
                  <a:pt x="44" y="397"/>
                  <a:pt x="45" y="401"/>
                  <a:pt x="43" y="404"/>
                </a:cubicBezTo>
                <a:close/>
                <a:moveTo>
                  <a:pt x="44" y="379"/>
                </a:moveTo>
                <a:cubicBezTo>
                  <a:pt x="44" y="379"/>
                  <a:pt x="44" y="379"/>
                  <a:pt x="44" y="379"/>
                </a:cubicBezTo>
                <a:cubicBezTo>
                  <a:pt x="44" y="379"/>
                  <a:pt x="44" y="379"/>
                  <a:pt x="44" y="379"/>
                </a:cubicBezTo>
                <a:cubicBezTo>
                  <a:pt x="44" y="379"/>
                  <a:pt x="44" y="379"/>
                  <a:pt x="44" y="379"/>
                </a:cubicBezTo>
                <a:close/>
                <a:moveTo>
                  <a:pt x="46" y="410"/>
                </a:moveTo>
                <a:cubicBezTo>
                  <a:pt x="44" y="409"/>
                  <a:pt x="44" y="404"/>
                  <a:pt x="47" y="405"/>
                </a:cubicBezTo>
                <a:cubicBezTo>
                  <a:pt x="49" y="406"/>
                  <a:pt x="48" y="410"/>
                  <a:pt x="46" y="410"/>
                </a:cubicBezTo>
                <a:close/>
                <a:moveTo>
                  <a:pt x="48" y="365"/>
                </a:moveTo>
                <a:cubicBezTo>
                  <a:pt x="45" y="365"/>
                  <a:pt x="45" y="360"/>
                  <a:pt x="47" y="360"/>
                </a:cubicBezTo>
                <a:cubicBezTo>
                  <a:pt x="50" y="360"/>
                  <a:pt x="49" y="365"/>
                  <a:pt x="48" y="365"/>
                </a:cubicBezTo>
                <a:close/>
                <a:moveTo>
                  <a:pt x="52" y="444"/>
                </a:moveTo>
                <a:cubicBezTo>
                  <a:pt x="51" y="444"/>
                  <a:pt x="50" y="442"/>
                  <a:pt x="51" y="441"/>
                </a:cubicBezTo>
                <a:cubicBezTo>
                  <a:pt x="52" y="440"/>
                  <a:pt x="52" y="444"/>
                  <a:pt x="52" y="444"/>
                </a:cubicBezTo>
                <a:close/>
                <a:moveTo>
                  <a:pt x="55" y="387"/>
                </a:moveTo>
                <a:cubicBezTo>
                  <a:pt x="56" y="388"/>
                  <a:pt x="55" y="389"/>
                  <a:pt x="55" y="390"/>
                </a:cubicBezTo>
                <a:cubicBezTo>
                  <a:pt x="55" y="389"/>
                  <a:pt x="54" y="388"/>
                  <a:pt x="55" y="387"/>
                </a:cubicBezTo>
                <a:close/>
                <a:moveTo>
                  <a:pt x="54" y="397"/>
                </a:moveTo>
                <a:cubicBezTo>
                  <a:pt x="55" y="396"/>
                  <a:pt x="55" y="399"/>
                  <a:pt x="54" y="399"/>
                </a:cubicBezTo>
                <a:cubicBezTo>
                  <a:pt x="54" y="400"/>
                  <a:pt x="52" y="397"/>
                  <a:pt x="54" y="397"/>
                </a:cubicBezTo>
                <a:close/>
                <a:moveTo>
                  <a:pt x="55" y="464"/>
                </a:moveTo>
                <a:cubicBezTo>
                  <a:pt x="54" y="459"/>
                  <a:pt x="54" y="453"/>
                  <a:pt x="54" y="448"/>
                </a:cubicBezTo>
                <a:cubicBezTo>
                  <a:pt x="56" y="453"/>
                  <a:pt x="56" y="459"/>
                  <a:pt x="55" y="464"/>
                </a:cubicBezTo>
                <a:close/>
                <a:moveTo>
                  <a:pt x="57" y="480"/>
                </a:moveTo>
                <a:cubicBezTo>
                  <a:pt x="56" y="476"/>
                  <a:pt x="56" y="471"/>
                  <a:pt x="56" y="467"/>
                </a:cubicBezTo>
                <a:cubicBezTo>
                  <a:pt x="56" y="471"/>
                  <a:pt x="58" y="475"/>
                  <a:pt x="57" y="480"/>
                </a:cubicBezTo>
                <a:close/>
                <a:moveTo>
                  <a:pt x="64" y="450"/>
                </a:moveTo>
                <a:cubicBezTo>
                  <a:pt x="63" y="451"/>
                  <a:pt x="64" y="449"/>
                  <a:pt x="64" y="450"/>
                </a:cubicBezTo>
                <a:close/>
                <a:moveTo>
                  <a:pt x="71" y="454"/>
                </a:moveTo>
                <a:cubicBezTo>
                  <a:pt x="72" y="455"/>
                  <a:pt x="70" y="456"/>
                  <a:pt x="71" y="454"/>
                </a:cubicBezTo>
                <a:close/>
                <a:moveTo>
                  <a:pt x="75" y="408"/>
                </a:moveTo>
                <a:cubicBezTo>
                  <a:pt x="75" y="408"/>
                  <a:pt x="75" y="408"/>
                  <a:pt x="75" y="408"/>
                </a:cubicBezTo>
                <a:cubicBezTo>
                  <a:pt x="75" y="408"/>
                  <a:pt x="75" y="408"/>
                  <a:pt x="75" y="408"/>
                </a:cubicBezTo>
                <a:cubicBezTo>
                  <a:pt x="75" y="408"/>
                  <a:pt x="75" y="408"/>
                  <a:pt x="75" y="408"/>
                </a:cubicBezTo>
                <a:close/>
                <a:moveTo>
                  <a:pt x="80" y="382"/>
                </a:moveTo>
                <a:cubicBezTo>
                  <a:pt x="80" y="382"/>
                  <a:pt x="80" y="382"/>
                  <a:pt x="80" y="382"/>
                </a:cubicBezTo>
                <a:cubicBezTo>
                  <a:pt x="80" y="382"/>
                  <a:pt x="80" y="382"/>
                  <a:pt x="80" y="382"/>
                </a:cubicBezTo>
                <a:cubicBezTo>
                  <a:pt x="80" y="382"/>
                  <a:pt x="80" y="382"/>
                  <a:pt x="80" y="382"/>
                </a:cubicBezTo>
                <a:close/>
                <a:moveTo>
                  <a:pt x="78" y="214"/>
                </a:moveTo>
                <a:cubicBezTo>
                  <a:pt x="78" y="214"/>
                  <a:pt x="78" y="212"/>
                  <a:pt x="78" y="212"/>
                </a:cubicBezTo>
                <a:cubicBezTo>
                  <a:pt x="78" y="211"/>
                  <a:pt x="79" y="213"/>
                  <a:pt x="78" y="214"/>
                </a:cubicBezTo>
                <a:close/>
                <a:moveTo>
                  <a:pt x="78" y="214"/>
                </a:moveTo>
                <a:cubicBezTo>
                  <a:pt x="79" y="214"/>
                  <a:pt x="78" y="216"/>
                  <a:pt x="78" y="216"/>
                </a:cubicBezTo>
                <a:cubicBezTo>
                  <a:pt x="78" y="216"/>
                  <a:pt x="77" y="215"/>
                  <a:pt x="78" y="214"/>
                </a:cubicBezTo>
                <a:close/>
                <a:moveTo>
                  <a:pt x="76" y="204"/>
                </a:moveTo>
                <a:cubicBezTo>
                  <a:pt x="77" y="205"/>
                  <a:pt x="77" y="206"/>
                  <a:pt x="77" y="208"/>
                </a:cubicBezTo>
                <a:cubicBezTo>
                  <a:pt x="77" y="207"/>
                  <a:pt x="75" y="206"/>
                  <a:pt x="76" y="204"/>
                </a:cubicBezTo>
                <a:close/>
                <a:moveTo>
                  <a:pt x="76" y="221"/>
                </a:moveTo>
                <a:cubicBezTo>
                  <a:pt x="76" y="221"/>
                  <a:pt x="76" y="221"/>
                  <a:pt x="76" y="221"/>
                </a:cubicBezTo>
                <a:cubicBezTo>
                  <a:pt x="76" y="222"/>
                  <a:pt x="75" y="221"/>
                  <a:pt x="76" y="221"/>
                </a:cubicBezTo>
                <a:close/>
                <a:moveTo>
                  <a:pt x="77" y="253"/>
                </a:moveTo>
                <a:cubicBezTo>
                  <a:pt x="77" y="254"/>
                  <a:pt x="75" y="251"/>
                  <a:pt x="76" y="251"/>
                </a:cubicBezTo>
                <a:cubicBezTo>
                  <a:pt x="77" y="251"/>
                  <a:pt x="78" y="253"/>
                  <a:pt x="77" y="253"/>
                </a:cubicBezTo>
                <a:close/>
                <a:moveTo>
                  <a:pt x="76" y="260"/>
                </a:moveTo>
                <a:cubicBezTo>
                  <a:pt x="79" y="259"/>
                  <a:pt x="79" y="264"/>
                  <a:pt x="77" y="265"/>
                </a:cubicBezTo>
                <a:cubicBezTo>
                  <a:pt x="75" y="266"/>
                  <a:pt x="74" y="261"/>
                  <a:pt x="76" y="260"/>
                </a:cubicBezTo>
                <a:close/>
                <a:moveTo>
                  <a:pt x="78" y="258"/>
                </a:moveTo>
                <a:cubicBezTo>
                  <a:pt x="77" y="257"/>
                  <a:pt x="79" y="256"/>
                  <a:pt x="78" y="258"/>
                </a:cubicBezTo>
                <a:close/>
                <a:moveTo>
                  <a:pt x="76" y="353"/>
                </a:moveTo>
                <a:cubicBezTo>
                  <a:pt x="75" y="353"/>
                  <a:pt x="74" y="351"/>
                  <a:pt x="75" y="351"/>
                </a:cubicBezTo>
                <a:cubicBezTo>
                  <a:pt x="75" y="351"/>
                  <a:pt x="76" y="353"/>
                  <a:pt x="76" y="353"/>
                </a:cubicBezTo>
                <a:close/>
                <a:moveTo>
                  <a:pt x="79" y="279"/>
                </a:moveTo>
                <a:cubicBezTo>
                  <a:pt x="79" y="278"/>
                  <a:pt x="81" y="279"/>
                  <a:pt x="81" y="278"/>
                </a:cubicBezTo>
                <a:cubicBezTo>
                  <a:pt x="81" y="277"/>
                  <a:pt x="80" y="276"/>
                  <a:pt x="79" y="276"/>
                </a:cubicBezTo>
                <a:cubicBezTo>
                  <a:pt x="78" y="276"/>
                  <a:pt x="78" y="278"/>
                  <a:pt x="77" y="277"/>
                </a:cubicBezTo>
                <a:cubicBezTo>
                  <a:pt x="78" y="278"/>
                  <a:pt x="77" y="279"/>
                  <a:pt x="77" y="277"/>
                </a:cubicBezTo>
                <a:cubicBezTo>
                  <a:pt x="76" y="277"/>
                  <a:pt x="77" y="276"/>
                  <a:pt x="77" y="275"/>
                </a:cubicBezTo>
                <a:cubicBezTo>
                  <a:pt x="76" y="274"/>
                  <a:pt x="76" y="274"/>
                  <a:pt x="76" y="272"/>
                </a:cubicBezTo>
                <a:cubicBezTo>
                  <a:pt x="76" y="271"/>
                  <a:pt x="79" y="267"/>
                  <a:pt x="81" y="270"/>
                </a:cubicBezTo>
                <a:cubicBezTo>
                  <a:pt x="82" y="273"/>
                  <a:pt x="83" y="278"/>
                  <a:pt x="81" y="280"/>
                </a:cubicBezTo>
                <a:cubicBezTo>
                  <a:pt x="81" y="281"/>
                  <a:pt x="78" y="281"/>
                  <a:pt x="79" y="279"/>
                </a:cubicBezTo>
                <a:close/>
                <a:moveTo>
                  <a:pt x="82" y="357"/>
                </a:moveTo>
                <a:cubicBezTo>
                  <a:pt x="82" y="358"/>
                  <a:pt x="82" y="358"/>
                  <a:pt x="82" y="359"/>
                </a:cubicBezTo>
                <a:cubicBezTo>
                  <a:pt x="82" y="359"/>
                  <a:pt x="82" y="358"/>
                  <a:pt x="82" y="357"/>
                </a:cubicBezTo>
                <a:close/>
                <a:moveTo>
                  <a:pt x="81" y="298"/>
                </a:moveTo>
                <a:cubicBezTo>
                  <a:pt x="82" y="299"/>
                  <a:pt x="83" y="302"/>
                  <a:pt x="83" y="304"/>
                </a:cubicBezTo>
                <a:cubicBezTo>
                  <a:pt x="81" y="302"/>
                  <a:pt x="82" y="300"/>
                  <a:pt x="81" y="298"/>
                </a:cubicBezTo>
                <a:close/>
                <a:moveTo>
                  <a:pt x="81" y="240"/>
                </a:moveTo>
                <a:cubicBezTo>
                  <a:pt x="83" y="236"/>
                  <a:pt x="78" y="238"/>
                  <a:pt x="77" y="238"/>
                </a:cubicBezTo>
                <a:cubicBezTo>
                  <a:pt x="76" y="236"/>
                  <a:pt x="78" y="233"/>
                  <a:pt x="78" y="230"/>
                </a:cubicBezTo>
                <a:cubicBezTo>
                  <a:pt x="78" y="229"/>
                  <a:pt x="76" y="224"/>
                  <a:pt x="77" y="223"/>
                </a:cubicBezTo>
                <a:cubicBezTo>
                  <a:pt x="79" y="223"/>
                  <a:pt x="79" y="229"/>
                  <a:pt x="79" y="229"/>
                </a:cubicBezTo>
                <a:cubicBezTo>
                  <a:pt x="80" y="230"/>
                  <a:pt x="83" y="226"/>
                  <a:pt x="84" y="226"/>
                </a:cubicBezTo>
                <a:cubicBezTo>
                  <a:pt x="92" y="224"/>
                  <a:pt x="89" y="237"/>
                  <a:pt x="87" y="241"/>
                </a:cubicBezTo>
                <a:cubicBezTo>
                  <a:pt x="84" y="246"/>
                  <a:pt x="86" y="236"/>
                  <a:pt x="81" y="240"/>
                </a:cubicBezTo>
                <a:close/>
                <a:moveTo>
                  <a:pt x="83" y="303"/>
                </a:moveTo>
                <a:cubicBezTo>
                  <a:pt x="83" y="302"/>
                  <a:pt x="85" y="304"/>
                  <a:pt x="84" y="304"/>
                </a:cubicBezTo>
                <a:cubicBezTo>
                  <a:pt x="84" y="304"/>
                  <a:pt x="83" y="303"/>
                  <a:pt x="83" y="303"/>
                </a:cubicBezTo>
                <a:close/>
                <a:moveTo>
                  <a:pt x="84" y="307"/>
                </a:moveTo>
                <a:cubicBezTo>
                  <a:pt x="83" y="306"/>
                  <a:pt x="84" y="305"/>
                  <a:pt x="84" y="307"/>
                </a:cubicBezTo>
                <a:close/>
                <a:moveTo>
                  <a:pt x="85" y="311"/>
                </a:moveTo>
                <a:cubicBezTo>
                  <a:pt x="84" y="311"/>
                  <a:pt x="84" y="309"/>
                  <a:pt x="84" y="308"/>
                </a:cubicBezTo>
                <a:cubicBezTo>
                  <a:pt x="84" y="309"/>
                  <a:pt x="85" y="310"/>
                  <a:pt x="85" y="311"/>
                </a:cubicBezTo>
                <a:close/>
                <a:moveTo>
                  <a:pt x="83" y="365"/>
                </a:moveTo>
                <a:cubicBezTo>
                  <a:pt x="84" y="366"/>
                  <a:pt x="83" y="367"/>
                  <a:pt x="84" y="368"/>
                </a:cubicBezTo>
                <a:cubicBezTo>
                  <a:pt x="83" y="368"/>
                  <a:pt x="83" y="366"/>
                  <a:pt x="83" y="365"/>
                </a:cubicBezTo>
                <a:close/>
                <a:moveTo>
                  <a:pt x="84" y="329"/>
                </a:moveTo>
                <a:cubicBezTo>
                  <a:pt x="85" y="329"/>
                  <a:pt x="86" y="330"/>
                  <a:pt x="85" y="331"/>
                </a:cubicBezTo>
                <a:cubicBezTo>
                  <a:pt x="84" y="331"/>
                  <a:pt x="84" y="329"/>
                  <a:pt x="84" y="329"/>
                </a:cubicBezTo>
                <a:close/>
                <a:moveTo>
                  <a:pt x="85" y="377"/>
                </a:moveTo>
                <a:cubicBezTo>
                  <a:pt x="84" y="377"/>
                  <a:pt x="85" y="376"/>
                  <a:pt x="85" y="375"/>
                </a:cubicBezTo>
                <a:cubicBezTo>
                  <a:pt x="84" y="374"/>
                  <a:pt x="85" y="376"/>
                  <a:pt x="85" y="377"/>
                </a:cubicBezTo>
                <a:close/>
                <a:moveTo>
                  <a:pt x="85" y="378"/>
                </a:moveTo>
                <a:cubicBezTo>
                  <a:pt x="85" y="378"/>
                  <a:pt x="85" y="379"/>
                  <a:pt x="85" y="380"/>
                </a:cubicBezTo>
                <a:cubicBezTo>
                  <a:pt x="85" y="380"/>
                  <a:pt x="85" y="378"/>
                  <a:pt x="85" y="378"/>
                </a:cubicBezTo>
                <a:close/>
                <a:moveTo>
                  <a:pt x="86" y="260"/>
                </a:moveTo>
                <a:cubicBezTo>
                  <a:pt x="84" y="260"/>
                  <a:pt x="83" y="256"/>
                  <a:pt x="87" y="256"/>
                </a:cubicBezTo>
                <a:cubicBezTo>
                  <a:pt x="89" y="256"/>
                  <a:pt x="88" y="261"/>
                  <a:pt x="86" y="260"/>
                </a:cubicBezTo>
                <a:close/>
                <a:moveTo>
                  <a:pt x="90" y="332"/>
                </a:moveTo>
                <a:cubicBezTo>
                  <a:pt x="89" y="332"/>
                  <a:pt x="88" y="328"/>
                  <a:pt x="90" y="328"/>
                </a:cubicBezTo>
                <a:cubicBezTo>
                  <a:pt x="90" y="328"/>
                  <a:pt x="90" y="331"/>
                  <a:pt x="90" y="332"/>
                </a:cubicBezTo>
                <a:close/>
                <a:moveTo>
                  <a:pt x="91" y="222"/>
                </a:moveTo>
                <a:cubicBezTo>
                  <a:pt x="91" y="223"/>
                  <a:pt x="91" y="224"/>
                  <a:pt x="91" y="225"/>
                </a:cubicBezTo>
                <a:cubicBezTo>
                  <a:pt x="90" y="224"/>
                  <a:pt x="90" y="223"/>
                  <a:pt x="91" y="222"/>
                </a:cubicBezTo>
                <a:close/>
                <a:moveTo>
                  <a:pt x="91" y="228"/>
                </a:moveTo>
                <a:cubicBezTo>
                  <a:pt x="91" y="229"/>
                  <a:pt x="90" y="228"/>
                  <a:pt x="91" y="227"/>
                </a:cubicBezTo>
                <a:cubicBezTo>
                  <a:pt x="91" y="227"/>
                  <a:pt x="92" y="228"/>
                  <a:pt x="91" y="228"/>
                </a:cubicBezTo>
                <a:close/>
                <a:moveTo>
                  <a:pt x="158" y="205"/>
                </a:moveTo>
                <a:cubicBezTo>
                  <a:pt x="159" y="205"/>
                  <a:pt x="159" y="208"/>
                  <a:pt x="158" y="208"/>
                </a:cubicBezTo>
                <a:cubicBezTo>
                  <a:pt x="158" y="208"/>
                  <a:pt x="157" y="206"/>
                  <a:pt x="158" y="205"/>
                </a:cubicBezTo>
                <a:close/>
                <a:moveTo>
                  <a:pt x="154" y="169"/>
                </a:moveTo>
                <a:cubicBezTo>
                  <a:pt x="155" y="168"/>
                  <a:pt x="155" y="171"/>
                  <a:pt x="154" y="171"/>
                </a:cubicBezTo>
                <a:cubicBezTo>
                  <a:pt x="154" y="171"/>
                  <a:pt x="153" y="170"/>
                  <a:pt x="154" y="169"/>
                </a:cubicBezTo>
                <a:close/>
                <a:moveTo>
                  <a:pt x="155" y="227"/>
                </a:moveTo>
                <a:cubicBezTo>
                  <a:pt x="154" y="227"/>
                  <a:pt x="153" y="225"/>
                  <a:pt x="154" y="225"/>
                </a:cubicBezTo>
                <a:cubicBezTo>
                  <a:pt x="155" y="224"/>
                  <a:pt x="155" y="227"/>
                  <a:pt x="155" y="227"/>
                </a:cubicBezTo>
                <a:close/>
                <a:moveTo>
                  <a:pt x="154" y="181"/>
                </a:moveTo>
                <a:cubicBezTo>
                  <a:pt x="154" y="181"/>
                  <a:pt x="155" y="182"/>
                  <a:pt x="154" y="182"/>
                </a:cubicBezTo>
                <a:cubicBezTo>
                  <a:pt x="153" y="183"/>
                  <a:pt x="153" y="182"/>
                  <a:pt x="154" y="181"/>
                </a:cubicBezTo>
                <a:close/>
                <a:moveTo>
                  <a:pt x="150" y="242"/>
                </a:moveTo>
                <a:cubicBezTo>
                  <a:pt x="149" y="242"/>
                  <a:pt x="150" y="241"/>
                  <a:pt x="150" y="241"/>
                </a:cubicBezTo>
                <a:cubicBezTo>
                  <a:pt x="150" y="240"/>
                  <a:pt x="150" y="242"/>
                  <a:pt x="150" y="242"/>
                </a:cubicBezTo>
                <a:close/>
                <a:moveTo>
                  <a:pt x="149" y="249"/>
                </a:moveTo>
                <a:cubicBezTo>
                  <a:pt x="149" y="249"/>
                  <a:pt x="150" y="251"/>
                  <a:pt x="150" y="251"/>
                </a:cubicBezTo>
                <a:cubicBezTo>
                  <a:pt x="149" y="251"/>
                  <a:pt x="149" y="249"/>
                  <a:pt x="149" y="249"/>
                </a:cubicBezTo>
                <a:close/>
                <a:moveTo>
                  <a:pt x="150" y="301"/>
                </a:moveTo>
                <a:cubicBezTo>
                  <a:pt x="149" y="300"/>
                  <a:pt x="149" y="299"/>
                  <a:pt x="149" y="299"/>
                </a:cubicBezTo>
                <a:cubicBezTo>
                  <a:pt x="149" y="299"/>
                  <a:pt x="150" y="300"/>
                  <a:pt x="150" y="301"/>
                </a:cubicBezTo>
                <a:close/>
                <a:moveTo>
                  <a:pt x="149" y="200"/>
                </a:moveTo>
                <a:cubicBezTo>
                  <a:pt x="151" y="199"/>
                  <a:pt x="150" y="203"/>
                  <a:pt x="149" y="203"/>
                </a:cubicBezTo>
                <a:cubicBezTo>
                  <a:pt x="148" y="202"/>
                  <a:pt x="148" y="200"/>
                  <a:pt x="149" y="200"/>
                </a:cubicBezTo>
                <a:close/>
                <a:moveTo>
                  <a:pt x="148" y="231"/>
                </a:moveTo>
                <a:cubicBezTo>
                  <a:pt x="148" y="232"/>
                  <a:pt x="147" y="231"/>
                  <a:pt x="147" y="231"/>
                </a:cubicBezTo>
                <a:cubicBezTo>
                  <a:pt x="147" y="231"/>
                  <a:pt x="148" y="231"/>
                  <a:pt x="148" y="231"/>
                </a:cubicBezTo>
                <a:close/>
                <a:moveTo>
                  <a:pt x="147" y="333"/>
                </a:moveTo>
                <a:cubicBezTo>
                  <a:pt x="146" y="334"/>
                  <a:pt x="149" y="333"/>
                  <a:pt x="147" y="333"/>
                </a:cubicBezTo>
                <a:close/>
                <a:moveTo>
                  <a:pt x="146" y="173"/>
                </a:moveTo>
                <a:cubicBezTo>
                  <a:pt x="146" y="173"/>
                  <a:pt x="146" y="172"/>
                  <a:pt x="146" y="172"/>
                </a:cubicBezTo>
                <a:cubicBezTo>
                  <a:pt x="148" y="172"/>
                  <a:pt x="144" y="175"/>
                  <a:pt x="146" y="173"/>
                </a:cubicBezTo>
                <a:close/>
                <a:moveTo>
                  <a:pt x="145" y="190"/>
                </a:moveTo>
                <a:cubicBezTo>
                  <a:pt x="145" y="190"/>
                  <a:pt x="146" y="190"/>
                  <a:pt x="146" y="190"/>
                </a:cubicBezTo>
                <a:cubicBezTo>
                  <a:pt x="148" y="189"/>
                  <a:pt x="144" y="192"/>
                  <a:pt x="145" y="190"/>
                </a:cubicBezTo>
                <a:close/>
                <a:moveTo>
                  <a:pt x="144" y="178"/>
                </a:moveTo>
                <a:cubicBezTo>
                  <a:pt x="145" y="178"/>
                  <a:pt x="145" y="180"/>
                  <a:pt x="144" y="180"/>
                </a:cubicBezTo>
                <a:cubicBezTo>
                  <a:pt x="144" y="180"/>
                  <a:pt x="143" y="178"/>
                  <a:pt x="144" y="178"/>
                </a:cubicBezTo>
                <a:close/>
                <a:moveTo>
                  <a:pt x="145" y="222"/>
                </a:moveTo>
                <a:cubicBezTo>
                  <a:pt x="145" y="221"/>
                  <a:pt x="146" y="220"/>
                  <a:pt x="147" y="221"/>
                </a:cubicBezTo>
                <a:cubicBezTo>
                  <a:pt x="148" y="221"/>
                  <a:pt x="148" y="224"/>
                  <a:pt x="147" y="224"/>
                </a:cubicBezTo>
                <a:cubicBezTo>
                  <a:pt x="146" y="224"/>
                  <a:pt x="146" y="223"/>
                  <a:pt x="145" y="222"/>
                </a:cubicBezTo>
                <a:cubicBezTo>
                  <a:pt x="145" y="222"/>
                  <a:pt x="145" y="222"/>
                  <a:pt x="145" y="222"/>
                </a:cubicBezTo>
                <a:cubicBezTo>
                  <a:pt x="144" y="221"/>
                  <a:pt x="144" y="219"/>
                  <a:pt x="143" y="217"/>
                </a:cubicBezTo>
                <a:cubicBezTo>
                  <a:pt x="144" y="218"/>
                  <a:pt x="145" y="220"/>
                  <a:pt x="145" y="222"/>
                </a:cubicBezTo>
                <a:close/>
                <a:moveTo>
                  <a:pt x="145" y="245"/>
                </a:moveTo>
                <a:cubicBezTo>
                  <a:pt x="147" y="244"/>
                  <a:pt x="146" y="248"/>
                  <a:pt x="145" y="248"/>
                </a:cubicBezTo>
                <a:cubicBezTo>
                  <a:pt x="144" y="248"/>
                  <a:pt x="143" y="246"/>
                  <a:pt x="145" y="245"/>
                </a:cubicBezTo>
                <a:close/>
                <a:moveTo>
                  <a:pt x="145" y="314"/>
                </a:moveTo>
                <a:cubicBezTo>
                  <a:pt x="145" y="314"/>
                  <a:pt x="144" y="313"/>
                  <a:pt x="144" y="312"/>
                </a:cubicBezTo>
                <a:cubicBezTo>
                  <a:pt x="144" y="311"/>
                  <a:pt x="145" y="314"/>
                  <a:pt x="145" y="314"/>
                </a:cubicBezTo>
                <a:close/>
                <a:moveTo>
                  <a:pt x="141" y="194"/>
                </a:moveTo>
                <a:cubicBezTo>
                  <a:pt x="141" y="194"/>
                  <a:pt x="140" y="193"/>
                  <a:pt x="140" y="193"/>
                </a:cubicBezTo>
                <a:cubicBezTo>
                  <a:pt x="140" y="192"/>
                  <a:pt x="142" y="194"/>
                  <a:pt x="141" y="194"/>
                </a:cubicBezTo>
                <a:close/>
                <a:moveTo>
                  <a:pt x="142" y="199"/>
                </a:moveTo>
                <a:cubicBezTo>
                  <a:pt x="141" y="199"/>
                  <a:pt x="141" y="198"/>
                  <a:pt x="141" y="197"/>
                </a:cubicBezTo>
                <a:cubicBezTo>
                  <a:pt x="141" y="197"/>
                  <a:pt x="142" y="198"/>
                  <a:pt x="142" y="199"/>
                </a:cubicBezTo>
                <a:close/>
                <a:moveTo>
                  <a:pt x="142" y="216"/>
                </a:moveTo>
                <a:cubicBezTo>
                  <a:pt x="141" y="214"/>
                  <a:pt x="140" y="211"/>
                  <a:pt x="139" y="209"/>
                </a:cubicBezTo>
                <a:cubicBezTo>
                  <a:pt x="141" y="210"/>
                  <a:pt x="142" y="214"/>
                  <a:pt x="142" y="216"/>
                </a:cubicBezTo>
                <a:close/>
                <a:moveTo>
                  <a:pt x="141" y="232"/>
                </a:moveTo>
                <a:cubicBezTo>
                  <a:pt x="141" y="233"/>
                  <a:pt x="141" y="231"/>
                  <a:pt x="141" y="232"/>
                </a:cubicBezTo>
                <a:close/>
                <a:moveTo>
                  <a:pt x="140" y="226"/>
                </a:moveTo>
                <a:cubicBezTo>
                  <a:pt x="139" y="224"/>
                  <a:pt x="140" y="224"/>
                  <a:pt x="140" y="226"/>
                </a:cubicBezTo>
                <a:close/>
                <a:moveTo>
                  <a:pt x="134" y="215"/>
                </a:moveTo>
                <a:cubicBezTo>
                  <a:pt x="134" y="216"/>
                  <a:pt x="133" y="215"/>
                  <a:pt x="133" y="215"/>
                </a:cubicBezTo>
                <a:cubicBezTo>
                  <a:pt x="133" y="214"/>
                  <a:pt x="134" y="215"/>
                  <a:pt x="134" y="215"/>
                </a:cubicBezTo>
                <a:close/>
                <a:moveTo>
                  <a:pt x="128" y="205"/>
                </a:moveTo>
                <a:cubicBezTo>
                  <a:pt x="128" y="203"/>
                  <a:pt x="128" y="202"/>
                  <a:pt x="130" y="202"/>
                </a:cubicBezTo>
                <a:cubicBezTo>
                  <a:pt x="131" y="202"/>
                  <a:pt x="132" y="206"/>
                  <a:pt x="131" y="207"/>
                </a:cubicBezTo>
                <a:cubicBezTo>
                  <a:pt x="130" y="208"/>
                  <a:pt x="130" y="207"/>
                  <a:pt x="129" y="207"/>
                </a:cubicBezTo>
                <a:cubicBezTo>
                  <a:pt x="129" y="207"/>
                  <a:pt x="129" y="207"/>
                  <a:pt x="129" y="207"/>
                </a:cubicBezTo>
                <a:cubicBezTo>
                  <a:pt x="128" y="207"/>
                  <a:pt x="127" y="205"/>
                  <a:pt x="128" y="205"/>
                </a:cubicBezTo>
                <a:close/>
                <a:moveTo>
                  <a:pt x="131" y="346"/>
                </a:moveTo>
                <a:cubicBezTo>
                  <a:pt x="133" y="346"/>
                  <a:pt x="132" y="348"/>
                  <a:pt x="131" y="346"/>
                </a:cubicBezTo>
                <a:close/>
                <a:moveTo>
                  <a:pt x="128" y="352"/>
                </a:moveTo>
                <a:cubicBezTo>
                  <a:pt x="129" y="352"/>
                  <a:pt x="129" y="353"/>
                  <a:pt x="129" y="353"/>
                </a:cubicBezTo>
                <a:cubicBezTo>
                  <a:pt x="128" y="354"/>
                  <a:pt x="128" y="353"/>
                  <a:pt x="128" y="352"/>
                </a:cubicBezTo>
                <a:close/>
                <a:moveTo>
                  <a:pt x="128" y="244"/>
                </a:moveTo>
                <a:cubicBezTo>
                  <a:pt x="128" y="243"/>
                  <a:pt x="129" y="245"/>
                  <a:pt x="129" y="246"/>
                </a:cubicBezTo>
                <a:cubicBezTo>
                  <a:pt x="128" y="245"/>
                  <a:pt x="129" y="245"/>
                  <a:pt x="128" y="244"/>
                </a:cubicBezTo>
                <a:close/>
                <a:moveTo>
                  <a:pt x="128" y="274"/>
                </a:moveTo>
                <a:cubicBezTo>
                  <a:pt x="129" y="275"/>
                  <a:pt x="129" y="276"/>
                  <a:pt x="130" y="277"/>
                </a:cubicBezTo>
                <a:cubicBezTo>
                  <a:pt x="129" y="277"/>
                  <a:pt x="128" y="275"/>
                  <a:pt x="128" y="274"/>
                </a:cubicBezTo>
                <a:close/>
                <a:moveTo>
                  <a:pt x="129" y="246"/>
                </a:moveTo>
                <a:cubicBezTo>
                  <a:pt x="132" y="246"/>
                  <a:pt x="128" y="249"/>
                  <a:pt x="129" y="247"/>
                </a:cubicBezTo>
                <a:cubicBezTo>
                  <a:pt x="129" y="247"/>
                  <a:pt x="129" y="246"/>
                  <a:pt x="129" y="246"/>
                </a:cubicBezTo>
                <a:close/>
                <a:moveTo>
                  <a:pt x="129" y="241"/>
                </a:moveTo>
                <a:cubicBezTo>
                  <a:pt x="130" y="240"/>
                  <a:pt x="130" y="242"/>
                  <a:pt x="130" y="242"/>
                </a:cubicBezTo>
                <a:cubicBezTo>
                  <a:pt x="130" y="242"/>
                  <a:pt x="129" y="241"/>
                  <a:pt x="129" y="241"/>
                </a:cubicBezTo>
                <a:close/>
                <a:moveTo>
                  <a:pt x="130" y="275"/>
                </a:moveTo>
                <a:cubicBezTo>
                  <a:pt x="129" y="274"/>
                  <a:pt x="130" y="273"/>
                  <a:pt x="130" y="274"/>
                </a:cubicBezTo>
                <a:cubicBezTo>
                  <a:pt x="131" y="274"/>
                  <a:pt x="131" y="275"/>
                  <a:pt x="130" y="275"/>
                </a:cubicBezTo>
                <a:close/>
                <a:moveTo>
                  <a:pt x="128" y="210"/>
                </a:moveTo>
                <a:cubicBezTo>
                  <a:pt x="127" y="210"/>
                  <a:pt x="127" y="208"/>
                  <a:pt x="127" y="207"/>
                </a:cubicBezTo>
                <a:cubicBezTo>
                  <a:pt x="128" y="208"/>
                  <a:pt x="128" y="209"/>
                  <a:pt x="128" y="210"/>
                </a:cubicBezTo>
                <a:close/>
                <a:moveTo>
                  <a:pt x="126" y="269"/>
                </a:moveTo>
                <a:cubicBezTo>
                  <a:pt x="127" y="270"/>
                  <a:pt x="128" y="271"/>
                  <a:pt x="128" y="273"/>
                </a:cubicBezTo>
                <a:cubicBezTo>
                  <a:pt x="127" y="272"/>
                  <a:pt x="126" y="271"/>
                  <a:pt x="126" y="269"/>
                </a:cubicBezTo>
                <a:close/>
                <a:moveTo>
                  <a:pt x="123" y="221"/>
                </a:moveTo>
                <a:cubicBezTo>
                  <a:pt x="123" y="221"/>
                  <a:pt x="124" y="221"/>
                  <a:pt x="124" y="222"/>
                </a:cubicBezTo>
                <a:cubicBezTo>
                  <a:pt x="124" y="222"/>
                  <a:pt x="122" y="222"/>
                  <a:pt x="123" y="221"/>
                </a:cubicBezTo>
                <a:close/>
                <a:moveTo>
                  <a:pt x="125" y="273"/>
                </a:moveTo>
                <a:cubicBezTo>
                  <a:pt x="123" y="272"/>
                  <a:pt x="123" y="271"/>
                  <a:pt x="123" y="270"/>
                </a:cubicBezTo>
                <a:cubicBezTo>
                  <a:pt x="124" y="270"/>
                  <a:pt x="125" y="272"/>
                  <a:pt x="125" y="273"/>
                </a:cubicBezTo>
                <a:close/>
                <a:moveTo>
                  <a:pt x="119" y="230"/>
                </a:moveTo>
                <a:cubicBezTo>
                  <a:pt x="119" y="231"/>
                  <a:pt x="119" y="230"/>
                  <a:pt x="119" y="230"/>
                </a:cubicBezTo>
                <a:cubicBezTo>
                  <a:pt x="116" y="228"/>
                  <a:pt x="120" y="229"/>
                  <a:pt x="119" y="230"/>
                </a:cubicBezTo>
                <a:close/>
                <a:moveTo>
                  <a:pt x="116" y="209"/>
                </a:moveTo>
                <a:cubicBezTo>
                  <a:pt x="117" y="209"/>
                  <a:pt x="117" y="211"/>
                  <a:pt x="117" y="211"/>
                </a:cubicBezTo>
                <a:cubicBezTo>
                  <a:pt x="117" y="211"/>
                  <a:pt x="116" y="210"/>
                  <a:pt x="116" y="209"/>
                </a:cubicBezTo>
                <a:close/>
                <a:moveTo>
                  <a:pt x="117" y="220"/>
                </a:moveTo>
                <a:cubicBezTo>
                  <a:pt x="118" y="221"/>
                  <a:pt x="118" y="223"/>
                  <a:pt x="118" y="224"/>
                </a:cubicBezTo>
                <a:cubicBezTo>
                  <a:pt x="118" y="226"/>
                  <a:pt x="119" y="228"/>
                  <a:pt x="118" y="228"/>
                </a:cubicBezTo>
                <a:cubicBezTo>
                  <a:pt x="118" y="228"/>
                  <a:pt x="118" y="228"/>
                  <a:pt x="118" y="227"/>
                </a:cubicBezTo>
                <a:cubicBezTo>
                  <a:pt x="118" y="228"/>
                  <a:pt x="118" y="228"/>
                  <a:pt x="118" y="228"/>
                </a:cubicBezTo>
                <a:cubicBezTo>
                  <a:pt x="118" y="228"/>
                  <a:pt x="117" y="229"/>
                  <a:pt x="117" y="229"/>
                </a:cubicBezTo>
                <a:cubicBezTo>
                  <a:pt x="116" y="229"/>
                  <a:pt x="111" y="224"/>
                  <a:pt x="112" y="221"/>
                </a:cubicBezTo>
                <a:cubicBezTo>
                  <a:pt x="112" y="219"/>
                  <a:pt x="115" y="218"/>
                  <a:pt x="117" y="220"/>
                </a:cubicBezTo>
                <a:close/>
                <a:moveTo>
                  <a:pt x="114" y="428"/>
                </a:moveTo>
                <a:cubicBezTo>
                  <a:pt x="114" y="430"/>
                  <a:pt x="112" y="427"/>
                  <a:pt x="112" y="425"/>
                </a:cubicBezTo>
                <a:cubicBezTo>
                  <a:pt x="111" y="421"/>
                  <a:pt x="110" y="416"/>
                  <a:pt x="110" y="413"/>
                </a:cubicBezTo>
                <a:cubicBezTo>
                  <a:pt x="110" y="413"/>
                  <a:pt x="110" y="411"/>
                  <a:pt x="110" y="411"/>
                </a:cubicBezTo>
                <a:cubicBezTo>
                  <a:pt x="111" y="411"/>
                  <a:pt x="114" y="426"/>
                  <a:pt x="114" y="428"/>
                </a:cubicBezTo>
                <a:close/>
                <a:moveTo>
                  <a:pt x="111" y="324"/>
                </a:moveTo>
                <a:cubicBezTo>
                  <a:pt x="110" y="325"/>
                  <a:pt x="111" y="323"/>
                  <a:pt x="111" y="324"/>
                </a:cubicBezTo>
                <a:close/>
                <a:moveTo>
                  <a:pt x="113" y="271"/>
                </a:moveTo>
                <a:cubicBezTo>
                  <a:pt x="115" y="271"/>
                  <a:pt x="117" y="274"/>
                  <a:pt x="115" y="276"/>
                </a:cubicBezTo>
                <a:cubicBezTo>
                  <a:pt x="112" y="280"/>
                  <a:pt x="109" y="271"/>
                  <a:pt x="113" y="271"/>
                </a:cubicBezTo>
                <a:close/>
                <a:moveTo>
                  <a:pt x="114" y="252"/>
                </a:moveTo>
                <a:cubicBezTo>
                  <a:pt x="114" y="252"/>
                  <a:pt x="115" y="253"/>
                  <a:pt x="114" y="254"/>
                </a:cubicBezTo>
                <a:cubicBezTo>
                  <a:pt x="113" y="254"/>
                  <a:pt x="113" y="252"/>
                  <a:pt x="114" y="252"/>
                </a:cubicBezTo>
                <a:close/>
                <a:moveTo>
                  <a:pt x="115" y="374"/>
                </a:moveTo>
                <a:cubicBezTo>
                  <a:pt x="117" y="374"/>
                  <a:pt x="117" y="378"/>
                  <a:pt x="115" y="378"/>
                </a:cubicBezTo>
                <a:cubicBezTo>
                  <a:pt x="115" y="378"/>
                  <a:pt x="113" y="375"/>
                  <a:pt x="115" y="374"/>
                </a:cubicBezTo>
                <a:close/>
                <a:moveTo>
                  <a:pt x="115" y="266"/>
                </a:moveTo>
                <a:cubicBezTo>
                  <a:pt x="118" y="267"/>
                  <a:pt x="116" y="270"/>
                  <a:pt x="115" y="266"/>
                </a:cubicBezTo>
                <a:close/>
                <a:moveTo>
                  <a:pt x="110" y="225"/>
                </a:moveTo>
                <a:cubicBezTo>
                  <a:pt x="112" y="225"/>
                  <a:pt x="110" y="226"/>
                  <a:pt x="110" y="225"/>
                </a:cubicBezTo>
                <a:close/>
                <a:moveTo>
                  <a:pt x="108" y="237"/>
                </a:moveTo>
                <a:cubicBezTo>
                  <a:pt x="106" y="236"/>
                  <a:pt x="109" y="235"/>
                  <a:pt x="108" y="237"/>
                </a:cubicBezTo>
                <a:close/>
                <a:moveTo>
                  <a:pt x="106" y="237"/>
                </a:moveTo>
                <a:cubicBezTo>
                  <a:pt x="107" y="236"/>
                  <a:pt x="108" y="238"/>
                  <a:pt x="107" y="239"/>
                </a:cubicBezTo>
                <a:cubicBezTo>
                  <a:pt x="106" y="239"/>
                  <a:pt x="106" y="237"/>
                  <a:pt x="106" y="237"/>
                </a:cubicBezTo>
                <a:close/>
                <a:moveTo>
                  <a:pt x="97" y="223"/>
                </a:moveTo>
                <a:cubicBezTo>
                  <a:pt x="98" y="223"/>
                  <a:pt x="98" y="225"/>
                  <a:pt x="96" y="225"/>
                </a:cubicBezTo>
                <a:cubicBezTo>
                  <a:pt x="95" y="224"/>
                  <a:pt x="96" y="223"/>
                  <a:pt x="97" y="223"/>
                </a:cubicBezTo>
                <a:close/>
                <a:moveTo>
                  <a:pt x="96" y="249"/>
                </a:moveTo>
                <a:cubicBezTo>
                  <a:pt x="97" y="250"/>
                  <a:pt x="96" y="250"/>
                  <a:pt x="96" y="249"/>
                </a:cubicBezTo>
                <a:close/>
                <a:moveTo>
                  <a:pt x="96" y="195"/>
                </a:moveTo>
                <a:cubicBezTo>
                  <a:pt x="96" y="195"/>
                  <a:pt x="96" y="196"/>
                  <a:pt x="96" y="197"/>
                </a:cubicBezTo>
                <a:cubicBezTo>
                  <a:pt x="96" y="197"/>
                  <a:pt x="95" y="196"/>
                  <a:pt x="96" y="195"/>
                </a:cubicBezTo>
                <a:close/>
                <a:moveTo>
                  <a:pt x="93" y="195"/>
                </a:moveTo>
                <a:cubicBezTo>
                  <a:pt x="94" y="195"/>
                  <a:pt x="93" y="195"/>
                  <a:pt x="93" y="195"/>
                </a:cubicBezTo>
                <a:cubicBezTo>
                  <a:pt x="93" y="195"/>
                  <a:pt x="93" y="195"/>
                  <a:pt x="93" y="195"/>
                </a:cubicBezTo>
                <a:close/>
                <a:moveTo>
                  <a:pt x="93" y="195"/>
                </a:moveTo>
                <a:cubicBezTo>
                  <a:pt x="93" y="196"/>
                  <a:pt x="93" y="196"/>
                  <a:pt x="93" y="195"/>
                </a:cubicBezTo>
                <a:close/>
                <a:moveTo>
                  <a:pt x="92" y="212"/>
                </a:moveTo>
                <a:cubicBezTo>
                  <a:pt x="91" y="213"/>
                  <a:pt x="90" y="211"/>
                  <a:pt x="89" y="211"/>
                </a:cubicBezTo>
                <a:cubicBezTo>
                  <a:pt x="88" y="207"/>
                  <a:pt x="94" y="209"/>
                  <a:pt x="92" y="212"/>
                </a:cubicBezTo>
                <a:close/>
                <a:moveTo>
                  <a:pt x="92" y="259"/>
                </a:moveTo>
                <a:cubicBezTo>
                  <a:pt x="91" y="259"/>
                  <a:pt x="93" y="251"/>
                  <a:pt x="92" y="248"/>
                </a:cubicBezTo>
                <a:cubicBezTo>
                  <a:pt x="94" y="249"/>
                  <a:pt x="93" y="260"/>
                  <a:pt x="92" y="259"/>
                </a:cubicBezTo>
                <a:close/>
                <a:moveTo>
                  <a:pt x="93" y="228"/>
                </a:moveTo>
                <a:cubicBezTo>
                  <a:pt x="91" y="227"/>
                  <a:pt x="93" y="226"/>
                  <a:pt x="93" y="228"/>
                </a:cubicBezTo>
                <a:close/>
                <a:moveTo>
                  <a:pt x="92" y="225"/>
                </a:moveTo>
                <a:cubicBezTo>
                  <a:pt x="92" y="225"/>
                  <a:pt x="92" y="223"/>
                  <a:pt x="92" y="223"/>
                </a:cubicBezTo>
                <a:cubicBezTo>
                  <a:pt x="93" y="223"/>
                  <a:pt x="93" y="226"/>
                  <a:pt x="92" y="225"/>
                </a:cubicBezTo>
                <a:close/>
                <a:moveTo>
                  <a:pt x="94" y="198"/>
                </a:moveTo>
                <a:cubicBezTo>
                  <a:pt x="95" y="198"/>
                  <a:pt x="95" y="199"/>
                  <a:pt x="95" y="199"/>
                </a:cubicBezTo>
                <a:cubicBezTo>
                  <a:pt x="95" y="199"/>
                  <a:pt x="93" y="200"/>
                  <a:pt x="93" y="200"/>
                </a:cubicBezTo>
                <a:cubicBezTo>
                  <a:pt x="92" y="200"/>
                  <a:pt x="92" y="198"/>
                  <a:pt x="94" y="198"/>
                </a:cubicBezTo>
                <a:close/>
                <a:moveTo>
                  <a:pt x="94" y="407"/>
                </a:moveTo>
                <a:cubicBezTo>
                  <a:pt x="95" y="409"/>
                  <a:pt x="93" y="409"/>
                  <a:pt x="94" y="407"/>
                </a:cubicBezTo>
                <a:close/>
                <a:moveTo>
                  <a:pt x="96" y="275"/>
                </a:moveTo>
                <a:cubicBezTo>
                  <a:pt x="95" y="275"/>
                  <a:pt x="95" y="273"/>
                  <a:pt x="95" y="272"/>
                </a:cubicBezTo>
                <a:cubicBezTo>
                  <a:pt x="97" y="271"/>
                  <a:pt x="97" y="275"/>
                  <a:pt x="96" y="275"/>
                </a:cubicBezTo>
                <a:close/>
                <a:moveTo>
                  <a:pt x="95" y="257"/>
                </a:moveTo>
                <a:cubicBezTo>
                  <a:pt x="97" y="257"/>
                  <a:pt x="98" y="260"/>
                  <a:pt x="98" y="262"/>
                </a:cubicBezTo>
                <a:cubicBezTo>
                  <a:pt x="97" y="260"/>
                  <a:pt x="96" y="259"/>
                  <a:pt x="95" y="257"/>
                </a:cubicBezTo>
                <a:close/>
                <a:moveTo>
                  <a:pt x="99" y="345"/>
                </a:moveTo>
                <a:cubicBezTo>
                  <a:pt x="98" y="346"/>
                  <a:pt x="98" y="344"/>
                  <a:pt x="98" y="344"/>
                </a:cubicBezTo>
                <a:cubicBezTo>
                  <a:pt x="99" y="344"/>
                  <a:pt x="99" y="345"/>
                  <a:pt x="99" y="345"/>
                </a:cubicBezTo>
                <a:close/>
                <a:moveTo>
                  <a:pt x="99" y="391"/>
                </a:moveTo>
                <a:cubicBezTo>
                  <a:pt x="100" y="393"/>
                  <a:pt x="99" y="393"/>
                  <a:pt x="99" y="391"/>
                </a:cubicBezTo>
                <a:close/>
                <a:moveTo>
                  <a:pt x="98" y="263"/>
                </a:moveTo>
                <a:cubicBezTo>
                  <a:pt x="99" y="265"/>
                  <a:pt x="100" y="266"/>
                  <a:pt x="100" y="268"/>
                </a:cubicBezTo>
                <a:cubicBezTo>
                  <a:pt x="100" y="267"/>
                  <a:pt x="99" y="265"/>
                  <a:pt x="98" y="263"/>
                </a:cubicBezTo>
                <a:close/>
                <a:moveTo>
                  <a:pt x="100" y="245"/>
                </a:moveTo>
                <a:cubicBezTo>
                  <a:pt x="98" y="243"/>
                  <a:pt x="100" y="243"/>
                  <a:pt x="100" y="245"/>
                </a:cubicBezTo>
                <a:close/>
                <a:moveTo>
                  <a:pt x="98" y="231"/>
                </a:moveTo>
                <a:cubicBezTo>
                  <a:pt x="97" y="231"/>
                  <a:pt x="98" y="227"/>
                  <a:pt x="99" y="227"/>
                </a:cubicBezTo>
                <a:cubicBezTo>
                  <a:pt x="101" y="227"/>
                  <a:pt x="101" y="232"/>
                  <a:pt x="98" y="231"/>
                </a:cubicBezTo>
                <a:close/>
                <a:moveTo>
                  <a:pt x="99" y="205"/>
                </a:moveTo>
                <a:cubicBezTo>
                  <a:pt x="99" y="204"/>
                  <a:pt x="100" y="206"/>
                  <a:pt x="99" y="206"/>
                </a:cubicBezTo>
                <a:cubicBezTo>
                  <a:pt x="99" y="206"/>
                  <a:pt x="99" y="205"/>
                  <a:pt x="99" y="205"/>
                </a:cubicBezTo>
                <a:close/>
                <a:moveTo>
                  <a:pt x="102" y="420"/>
                </a:moveTo>
                <a:cubicBezTo>
                  <a:pt x="102" y="420"/>
                  <a:pt x="102" y="420"/>
                  <a:pt x="102" y="420"/>
                </a:cubicBezTo>
                <a:cubicBezTo>
                  <a:pt x="102" y="420"/>
                  <a:pt x="102" y="420"/>
                  <a:pt x="102" y="420"/>
                </a:cubicBezTo>
                <a:cubicBezTo>
                  <a:pt x="102" y="420"/>
                  <a:pt x="102" y="420"/>
                  <a:pt x="102" y="420"/>
                </a:cubicBezTo>
                <a:close/>
                <a:moveTo>
                  <a:pt x="101" y="348"/>
                </a:moveTo>
                <a:cubicBezTo>
                  <a:pt x="99" y="349"/>
                  <a:pt x="102" y="346"/>
                  <a:pt x="102" y="347"/>
                </a:cubicBezTo>
                <a:cubicBezTo>
                  <a:pt x="102" y="348"/>
                  <a:pt x="102" y="348"/>
                  <a:pt x="101" y="348"/>
                </a:cubicBezTo>
                <a:close/>
                <a:moveTo>
                  <a:pt x="102" y="273"/>
                </a:moveTo>
                <a:cubicBezTo>
                  <a:pt x="101" y="273"/>
                  <a:pt x="101" y="271"/>
                  <a:pt x="101" y="270"/>
                </a:cubicBezTo>
                <a:cubicBezTo>
                  <a:pt x="102" y="270"/>
                  <a:pt x="103" y="273"/>
                  <a:pt x="102" y="273"/>
                </a:cubicBezTo>
                <a:close/>
                <a:moveTo>
                  <a:pt x="102" y="211"/>
                </a:moveTo>
                <a:cubicBezTo>
                  <a:pt x="102" y="210"/>
                  <a:pt x="103" y="210"/>
                  <a:pt x="102" y="210"/>
                </a:cubicBezTo>
                <a:cubicBezTo>
                  <a:pt x="102" y="210"/>
                  <a:pt x="102" y="211"/>
                  <a:pt x="102" y="211"/>
                </a:cubicBezTo>
                <a:close/>
                <a:moveTo>
                  <a:pt x="101" y="211"/>
                </a:moveTo>
                <a:cubicBezTo>
                  <a:pt x="101" y="211"/>
                  <a:pt x="101" y="210"/>
                  <a:pt x="101" y="210"/>
                </a:cubicBezTo>
                <a:cubicBezTo>
                  <a:pt x="101" y="211"/>
                  <a:pt x="100" y="212"/>
                  <a:pt x="101" y="211"/>
                </a:cubicBezTo>
                <a:close/>
                <a:moveTo>
                  <a:pt x="103" y="355"/>
                </a:moveTo>
                <a:cubicBezTo>
                  <a:pt x="102" y="355"/>
                  <a:pt x="102" y="354"/>
                  <a:pt x="102" y="353"/>
                </a:cubicBezTo>
                <a:cubicBezTo>
                  <a:pt x="103" y="354"/>
                  <a:pt x="103" y="354"/>
                  <a:pt x="103" y="355"/>
                </a:cubicBezTo>
                <a:close/>
                <a:moveTo>
                  <a:pt x="105" y="290"/>
                </a:moveTo>
                <a:cubicBezTo>
                  <a:pt x="105" y="291"/>
                  <a:pt x="104" y="291"/>
                  <a:pt x="103" y="290"/>
                </a:cubicBezTo>
                <a:cubicBezTo>
                  <a:pt x="101" y="289"/>
                  <a:pt x="106" y="287"/>
                  <a:pt x="105" y="290"/>
                </a:cubicBezTo>
                <a:close/>
                <a:moveTo>
                  <a:pt x="103" y="252"/>
                </a:moveTo>
                <a:cubicBezTo>
                  <a:pt x="104" y="252"/>
                  <a:pt x="103" y="253"/>
                  <a:pt x="103" y="252"/>
                </a:cubicBezTo>
                <a:close/>
                <a:moveTo>
                  <a:pt x="105" y="207"/>
                </a:moveTo>
                <a:cubicBezTo>
                  <a:pt x="104" y="207"/>
                  <a:pt x="103" y="205"/>
                  <a:pt x="102" y="205"/>
                </a:cubicBezTo>
                <a:cubicBezTo>
                  <a:pt x="102" y="206"/>
                  <a:pt x="103" y="207"/>
                  <a:pt x="102" y="207"/>
                </a:cubicBezTo>
                <a:cubicBezTo>
                  <a:pt x="102" y="206"/>
                  <a:pt x="98" y="203"/>
                  <a:pt x="98" y="200"/>
                </a:cubicBezTo>
                <a:cubicBezTo>
                  <a:pt x="98" y="199"/>
                  <a:pt x="99" y="196"/>
                  <a:pt x="102" y="196"/>
                </a:cubicBezTo>
                <a:cubicBezTo>
                  <a:pt x="103" y="197"/>
                  <a:pt x="106" y="201"/>
                  <a:pt x="106" y="203"/>
                </a:cubicBezTo>
                <a:cubicBezTo>
                  <a:pt x="105" y="204"/>
                  <a:pt x="105" y="205"/>
                  <a:pt x="105" y="206"/>
                </a:cubicBezTo>
                <a:cubicBezTo>
                  <a:pt x="105" y="206"/>
                  <a:pt x="106" y="207"/>
                  <a:pt x="105" y="207"/>
                </a:cubicBezTo>
                <a:close/>
                <a:moveTo>
                  <a:pt x="106" y="270"/>
                </a:moveTo>
                <a:cubicBezTo>
                  <a:pt x="105" y="270"/>
                  <a:pt x="106" y="270"/>
                  <a:pt x="106" y="270"/>
                </a:cubicBezTo>
                <a:close/>
                <a:moveTo>
                  <a:pt x="106" y="271"/>
                </a:moveTo>
                <a:cubicBezTo>
                  <a:pt x="106" y="271"/>
                  <a:pt x="106" y="271"/>
                  <a:pt x="106" y="271"/>
                </a:cubicBezTo>
                <a:cubicBezTo>
                  <a:pt x="106" y="271"/>
                  <a:pt x="106" y="271"/>
                  <a:pt x="106" y="271"/>
                </a:cubicBezTo>
                <a:cubicBezTo>
                  <a:pt x="106" y="271"/>
                  <a:pt x="106" y="271"/>
                  <a:pt x="106" y="271"/>
                </a:cubicBezTo>
                <a:close/>
                <a:moveTo>
                  <a:pt x="107" y="250"/>
                </a:moveTo>
                <a:cubicBezTo>
                  <a:pt x="107" y="249"/>
                  <a:pt x="108" y="250"/>
                  <a:pt x="109" y="250"/>
                </a:cubicBezTo>
                <a:cubicBezTo>
                  <a:pt x="112" y="250"/>
                  <a:pt x="112" y="254"/>
                  <a:pt x="111" y="255"/>
                </a:cubicBezTo>
                <a:cubicBezTo>
                  <a:pt x="111" y="255"/>
                  <a:pt x="111" y="255"/>
                  <a:pt x="111" y="255"/>
                </a:cubicBezTo>
                <a:cubicBezTo>
                  <a:pt x="111" y="255"/>
                  <a:pt x="111" y="255"/>
                  <a:pt x="111" y="255"/>
                </a:cubicBezTo>
                <a:cubicBezTo>
                  <a:pt x="111" y="259"/>
                  <a:pt x="102" y="254"/>
                  <a:pt x="107" y="250"/>
                </a:cubicBezTo>
                <a:close/>
                <a:moveTo>
                  <a:pt x="107" y="458"/>
                </a:moveTo>
                <a:cubicBezTo>
                  <a:pt x="108" y="460"/>
                  <a:pt x="106" y="460"/>
                  <a:pt x="107" y="458"/>
                </a:cubicBezTo>
                <a:close/>
                <a:moveTo>
                  <a:pt x="109" y="360"/>
                </a:moveTo>
                <a:cubicBezTo>
                  <a:pt x="111" y="360"/>
                  <a:pt x="110" y="363"/>
                  <a:pt x="109" y="363"/>
                </a:cubicBezTo>
                <a:cubicBezTo>
                  <a:pt x="108" y="362"/>
                  <a:pt x="108" y="361"/>
                  <a:pt x="109" y="360"/>
                </a:cubicBezTo>
                <a:close/>
                <a:moveTo>
                  <a:pt x="109" y="423"/>
                </a:moveTo>
                <a:cubicBezTo>
                  <a:pt x="109" y="423"/>
                  <a:pt x="108" y="420"/>
                  <a:pt x="110" y="422"/>
                </a:cubicBezTo>
                <a:cubicBezTo>
                  <a:pt x="112" y="425"/>
                  <a:pt x="112" y="431"/>
                  <a:pt x="113" y="435"/>
                </a:cubicBezTo>
                <a:cubicBezTo>
                  <a:pt x="111" y="432"/>
                  <a:pt x="109" y="427"/>
                  <a:pt x="109" y="423"/>
                </a:cubicBezTo>
                <a:close/>
                <a:moveTo>
                  <a:pt x="113" y="436"/>
                </a:moveTo>
                <a:cubicBezTo>
                  <a:pt x="115" y="437"/>
                  <a:pt x="117" y="442"/>
                  <a:pt x="117" y="446"/>
                </a:cubicBezTo>
                <a:cubicBezTo>
                  <a:pt x="115" y="443"/>
                  <a:pt x="114" y="439"/>
                  <a:pt x="113" y="436"/>
                </a:cubicBezTo>
                <a:close/>
                <a:moveTo>
                  <a:pt x="116" y="414"/>
                </a:moveTo>
                <a:cubicBezTo>
                  <a:pt x="116" y="415"/>
                  <a:pt x="114" y="414"/>
                  <a:pt x="116" y="414"/>
                </a:cubicBezTo>
                <a:close/>
                <a:moveTo>
                  <a:pt x="117" y="400"/>
                </a:moveTo>
                <a:cubicBezTo>
                  <a:pt x="115" y="401"/>
                  <a:pt x="112" y="391"/>
                  <a:pt x="116" y="392"/>
                </a:cubicBezTo>
                <a:cubicBezTo>
                  <a:pt x="118" y="393"/>
                  <a:pt x="117" y="396"/>
                  <a:pt x="117" y="397"/>
                </a:cubicBezTo>
                <a:cubicBezTo>
                  <a:pt x="117" y="398"/>
                  <a:pt x="116" y="398"/>
                  <a:pt x="116" y="398"/>
                </a:cubicBezTo>
                <a:cubicBezTo>
                  <a:pt x="116" y="398"/>
                  <a:pt x="118" y="400"/>
                  <a:pt x="117" y="400"/>
                </a:cubicBezTo>
                <a:close/>
                <a:moveTo>
                  <a:pt x="119" y="371"/>
                </a:moveTo>
                <a:cubicBezTo>
                  <a:pt x="117" y="370"/>
                  <a:pt x="120" y="368"/>
                  <a:pt x="119" y="371"/>
                </a:cubicBezTo>
                <a:close/>
                <a:moveTo>
                  <a:pt x="118" y="368"/>
                </a:moveTo>
                <a:cubicBezTo>
                  <a:pt x="118" y="368"/>
                  <a:pt x="117" y="366"/>
                  <a:pt x="118" y="366"/>
                </a:cubicBezTo>
                <a:cubicBezTo>
                  <a:pt x="119" y="365"/>
                  <a:pt x="120" y="369"/>
                  <a:pt x="118" y="368"/>
                </a:cubicBezTo>
                <a:close/>
                <a:moveTo>
                  <a:pt x="119" y="278"/>
                </a:moveTo>
                <a:cubicBezTo>
                  <a:pt x="118" y="278"/>
                  <a:pt x="118" y="277"/>
                  <a:pt x="118" y="276"/>
                </a:cubicBezTo>
                <a:cubicBezTo>
                  <a:pt x="121" y="274"/>
                  <a:pt x="122" y="280"/>
                  <a:pt x="119" y="278"/>
                </a:cubicBezTo>
                <a:close/>
                <a:moveTo>
                  <a:pt x="120" y="239"/>
                </a:moveTo>
                <a:cubicBezTo>
                  <a:pt x="119" y="241"/>
                  <a:pt x="117" y="235"/>
                  <a:pt x="119" y="235"/>
                </a:cubicBezTo>
                <a:cubicBezTo>
                  <a:pt x="121" y="234"/>
                  <a:pt x="122" y="238"/>
                  <a:pt x="120" y="239"/>
                </a:cubicBezTo>
                <a:close/>
                <a:moveTo>
                  <a:pt x="133" y="398"/>
                </a:moveTo>
                <a:cubicBezTo>
                  <a:pt x="131" y="392"/>
                  <a:pt x="130" y="386"/>
                  <a:pt x="128" y="380"/>
                </a:cubicBezTo>
                <a:cubicBezTo>
                  <a:pt x="125" y="375"/>
                  <a:pt x="122" y="370"/>
                  <a:pt x="122" y="364"/>
                </a:cubicBezTo>
                <a:cubicBezTo>
                  <a:pt x="122" y="364"/>
                  <a:pt x="123" y="363"/>
                  <a:pt x="123" y="363"/>
                </a:cubicBezTo>
                <a:cubicBezTo>
                  <a:pt x="124" y="363"/>
                  <a:pt x="128" y="373"/>
                  <a:pt x="128" y="376"/>
                </a:cubicBezTo>
                <a:cubicBezTo>
                  <a:pt x="129" y="381"/>
                  <a:pt x="131" y="385"/>
                  <a:pt x="132" y="390"/>
                </a:cubicBezTo>
                <a:cubicBezTo>
                  <a:pt x="132" y="392"/>
                  <a:pt x="136" y="397"/>
                  <a:pt x="135" y="399"/>
                </a:cubicBezTo>
                <a:cubicBezTo>
                  <a:pt x="135" y="403"/>
                  <a:pt x="133" y="398"/>
                  <a:pt x="133" y="398"/>
                </a:cubicBezTo>
                <a:close/>
                <a:moveTo>
                  <a:pt x="134" y="304"/>
                </a:moveTo>
                <a:cubicBezTo>
                  <a:pt x="134" y="304"/>
                  <a:pt x="133" y="304"/>
                  <a:pt x="133" y="303"/>
                </a:cubicBezTo>
                <a:cubicBezTo>
                  <a:pt x="133" y="303"/>
                  <a:pt x="134" y="304"/>
                  <a:pt x="134" y="304"/>
                </a:cubicBezTo>
                <a:close/>
                <a:moveTo>
                  <a:pt x="134" y="250"/>
                </a:moveTo>
                <a:cubicBezTo>
                  <a:pt x="135" y="250"/>
                  <a:pt x="136" y="254"/>
                  <a:pt x="134" y="254"/>
                </a:cubicBezTo>
                <a:cubicBezTo>
                  <a:pt x="134" y="254"/>
                  <a:pt x="132" y="250"/>
                  <a:pt x="134" y="250"/>
                </a:cubicBezTo>
                <a:close/>
                <a:moveTo>
                  <a:pt x="136" y="417"/>
                </a:moveTo>
                <a:cubicBezTo>
                  <a:pt x="137" y="418"/>
                  <a:pt x="137" y="419"/>
                  <a:pt x="138" y="420"/>
                </a:cubicBezTo>
                <a:cubicBezTo>
                  <a:pt x="137" y="420"/>
                  <a:pt x="136" y="418"/>
                  <a:pt x="136" y="417"/>
                </a:cubicBezTo>
                <a:close/>
                <a:moveTo>
                  <a:pt x="137" y="421"/>
                </a:moveTo>
                <a:cubicBezTo>
                  <a:pt x="137" y="422"/>
                  <a:pt x="138" y="420"/>
                  <a:pt x="137" y="421"/>
                </a:cubicBezTo>
                <a:close/>
                <a:moveTo>
                  <a:pt x="135" y="249"/>
                </a:moveTo>
                <a:cubicBezTo>
                  <a:pt x="136" y="248"/>
                  <a:pt x="133" y="247"/>
                  <a:pt x="132" y="246"/>
                </a:cubicBezTo>
                <a:cubicBezTo>
                  <a:pt x="129" y="238"/>
                  <a:pt x="140" y="237"/>
                  <a:pt x="139" y="245"/>
                </a:cubicBezTo>
                <a:cubicBezTo>
                  <a:pt x="139" y="246"/>
                  <a:pt x="138" y="249"/>
                  <a:pt x="135" y="249"/>
                </a:cubicBezTo>
                <a:close/>
                <a:moveTo>
                  <a:pt x="138" y="250"/>
                </a:moveTo>
                <a:cubicBezTo>
                  <a:pt x="138" y="250"/>
                  <a:pt x="138" y="249"/>
                  <a:pt x="138" y="249"/>
                </a:cubicBezTo>
                <a:cubicBezTo>
                  <a:pt x="139" y="248"/>
                  <a:pt x="139" y="250"/>
                  <a:pt x="138" y="250"/>
                </a:cubicBezTo>
                <a:close/>
                <a:moveTo>
                  <a:pt x="140" y="271"/>
                </a:moveTo>
                <a:cubicBezTo>
                  <a:pt x="140" y="271"/>
                  <a:pt x="140" y="270"/>
                  <a:pt x="140" y="271"/>
                </a:cubicBezTo>
                <a:close/>
                <a:moveTo>
                  <a:pt x="139" y="232"/>
                </a:moveTo>
                <a:cubicBezTo>
                  <a:pt x="140" y="232"/>
                  <a:pt x="141" y="232"/>
                  <a:pt x="141" y="232"/>
                </a:cubicBezTo>
                <a:cubicBezTo>
                  <a:pt x="145" y="235"/>
                  <a:pt x="139" y="234"/>
                  <a:pt x="139" y="232"/>
                </a:cubicBezTo>
                <a:close/>
                <a:moveTo>
                  <a:pt x="142" y="304"/>
                </a:moveTo>
                <a:cubicBezTo>
                  <a:pt x="143" y="306"/>
                  <a:pt x="145" y="309"/>
                  <a:pt x="143" y="310"/>
                </a:cubicBezTo>
                <a:cubicBezTo>
                  <a:pt x="144" y="308"/>
                  <a:pt x="142" y="307"/>
                  <a:pt x="142" y="304"/>
                </a:cubicBezTo>
                <a:close/>
                <a:moveTo>
                  <a:pt x="144" y="445"/>
                </a:moveTo>
                <a:cubicBezTo>
                  <a:pt x="144" y="445"/>
                  <a:pt x="144" y="444"/>
                  <a:pt x="144" y="444"/>
                </a:cubicBezTo>
                <a:cubicBezTo>
                  <a:pt x="147" y="445"/>
                  <a:pt x="141" y="446"/>
                  <a:pt x="144" y="445"/>
                </a:cubicBezTo>
                <a:close/>
                <a:moveTo>
                  <a:pt x="144" y="390"/>
                </a:moveTo>
                <a:cubicBezTo>
                  <a:pt x="145" y="390"/>
                  <a:pt x="144" y="391"/>
                  <a:pt x="145" y="391"/>
                </a:cubicBezTo>
                <a:cubicBezTo>
                  <a:pt x="144" y="392"/>
                  <a:pt x="144" y="390"/>
                  <a:pt x="144" y="390"/>
                </a:cubicBezTo>
                <a:close/>
                <a:moveTo>
                  <a:pt x="145" y="345"/>
                </a:moveTo>
                <a:cubicBezTo>
                  <a:pt x="141" y="343"/>
                  <a:pt x="142" y="334"/>
                  <a:pt x="147" y="334"/>
                </a:cubicBezTo>
                <a:cubicBezTo>
                  <a:pt x="153" y="335"/>
                  <a:pt x="151" y="349"/>
                  <a:pt x="145" y="345"/>
                </a:cubicBezTo>
                <a:close/>
                <a:moveTo>
                  <a:pt x="150" y="229"/>
                </a:moveTo>
                <a:cubicBezTo>
                  <a:pt x="151" y="228"/>
                  <a:pt x="152" y="230"/>
                  <a:pt x="151" y="230"/>
                </a:cubicBezTo>
                <a:cubicBezTo>
                  <a:pt x="151" y="231"/>
                  <a:pt x="150" y="229"/>
                  <a:pt x="150" y="229"/>
                </a:cubicBezTo>
                <a:close/>
                <a:moveTo>
                  <a:pt x="152" y="263"/>
                </a:moveTo>
                <a:cubicBezTo>
                  <a:pt x="150" y="260"/>
                  <a:pt x="152" y="259"/>
                  <a:pt x="152" y="263"/>
                </a:cubicBezTo>
                <a:close/>
                <a:moveTo>
                  <a:pt x="156" y="234"/>
                </a:moveTo>
                <a:cubicBezTo>
                  <a:pt x="155" y="233"/>
                  <a:pt x="153" y="230"/>
                  <a:pt x="152" y="229"/>
                </a:cubicBezTo>
                <a:cubicBezTo>
                  <a:pt x="151" y="226"/>
                  <a:pt x="157" y="231"/>
                  <a:pt x="156" y="234"/>
                </a:cubicBezTo>
                <a:close/>
                <a:moveTo>
                  <a:pt x="153" y="303"/>
                </a:moveTo>
                <a:cubicBezTo>
                  <a:pt x="154" y="304"/>
                  <a:pt x="152" y="305"/>
                  <a:pt x="153" y="303"/>
                </a:cubicBezTo>
                <a:close/>
                <a:moveTo>
                  <a:pt x="156" y="299"/>
                </a:moveTo>
                <a:cubicBezTo>
                  <a:pt x="155" y="299"/>
                  <a:pt x="155" y="299"/>
                  <a:pt x="155" y="299"/>
                </a:cubicBezTo>
                <a:cubicBezTo>
                  <a:pt x="155" y="299"/>
                  <a:pt x="156" y="298"/>
                  <a:pt x="156" y="298"/>
                </a:cubicBezTo>
                <a:cubicBezTo>
                  <a:pt x="156" y="298"/>
                  <a:pt x="156" y="298"/>
                  <a:pt x="156" y="299"/>
                </a:cubicBezTo>
                <a:close/>
                <a:moveTo>
                  <a:pt x="157" y="293"/>
                </a:moveTo>
                <a:cubicBezTo>
                  <a:pt x="157" y="293"/>
                  <a:pt x="152" y="289"/>
                  <a:pt x="154" y="288"/>
                </a:cubicBezTo>
                <a:cubicBezTo>
                  <a:pt x="156" y="286"/>
                  <a:pt x="158" y="293"/>
                  <a:pt x="157" y="293"/>
                </a:cubicBezTo>
                <a:close/>
                <a:moveTo>
                  <a:pt x="158" y="227"/>
                </a:moveTo>
                <a:cubicBezTo>
                  <a:pt x="158" y="227"/>
                  <a:pt x="159" y="228"/>
                  <a:pt x="159" y="228"/>
                </a:cubicBezTo>
                <a:cubicBezTo>
                  <a:pt x="158" y="229"/>
                  <a:pt x="158" y="227"/>
                  <a:pt x="158" y="227"/>
                </a:cubicBezTo>
                <a:close/>
                <a:moveTo>
                  <a:pt x="180" y="198"/>
                </a:moveTo>
                <a:cubicBezTo>
                  <a:pt x="180" y="198"/>
                  <a:pt x="179" y="198"/>
                  <a:pt x="179" y="197"/>
                </a:cubicBezTo>
                <a:cubicBezTo>
                  <a:pt x="180" y="197"/>
                  <a:pt x="181" y="198"/>
                  <a:pt x="180" y="198"/>
                </a:cubicBezTo>
                <a:close/>
                <a:moveTo>
                  <a:pt x="177" y="199"/>
                </a:moveTo>
                <a:cubicBezTo>
                  <a:pt x="178" y="199"/>
                  <a:pt x="179" y="201"/>
                  <a:pt x="177" y="200"/>
                </a:cubicBezTo>
                <a:cubicBezTo>
                  <a:pt x="177" y="200"/>
                  <a:pt x="177" y="200"/>
                  <a:pt x="177" y="199"/>
                </a:cubicBezTo>
                <a:close/>
                <a:moveTo>
                  <a:pt x="175" y="198"/>
                </a:moveTo>
                <a:cubicBezTo>
                  <a:pt x="177" y="197"/>
                  <a:pt x="174" y="198"/>
                  <a:pt x="175" y="198"/>
                </a:cubicBezTo>
                <a:close/>
                <a:moveTo>
                  <a:pt x="178" y="260"/>
                </a:moveTo>
                <a:cubicBezTo>
                  <a:pt x="176" y="259"/>
                  <a:pt x="176" y="258"/>
                  <a:pt x="175" y="257"/>
                </a:cubicBezTo>
                <a:cubicBezTo>
                  <a:pt x="176" y="257"/>
                  <a:pt x="178" y="259"/>
                  <a:pt x="178" y="260"/>
                </a:cubicBezTo>
                <a:close/>
                <a:moveTo>
                  <a:pt x="174" y="205"/>
                </a:moveTo>
                <a:cubicBezTo>
                  <a:pt x="173" y="205"/>
                  <a:pt x="175" y="206"/>
                  <a:pt x="174" y="207"/>
                </a:cubicBezTo>
                <a:cubicBezTo>
                  <a:pt x="174" y="207"/>
                  <a:pt x="172" y="205"/>
                  <a:pt x="174" y="205"/>
                </a:cubicBezTo>
                <a:close/>
                <a:moveTo>
                  <a:pt x="173" y="231"/>
                </a:moveTo>
                <a:cubicBezTo>
                  <a:pt x="171" y="230"/>
                  <a:pt x="174" y="232"/>
                  <a:pt x="173" y="231"/>
                </a:cubicBezTo>
                <a:close/>
                <a:moveTo>
                  <a:pt x="170" y="230"/>
                </a:moveTo>
                <a:cubicBezTo>
                  <a:pt x="171" y="230"/>
                  <a:pt x="172" y="233"/>
                  <a:pt x="171" y="234"/>
                </a:cubicBezTo>
                <a:cubicBezTo>
                  <a:pt x="170" y="235"/>
                  <a:pt x="168" y="231"/>
                  <a:pt x="170" y="230"/>
                </a:cubicBezTo>
                <a:close/>
                <a:moveTo>
                  <a:pt x="167" y="193"/>
                </a:moveTo>
                <a:cubicBezTo>
                  <a:pt x="168" y="192"/>
                  <a:pt x="169" y="194"/>
                  <a:pt x="168" y="195"/>
                </a:cubicBezTo>
                <a:cubicBezTo>
                  <a:pt x="167" y="195"/>
                  <a:pt x="167" y="193"/>
                  <a:pt x="167" y="193"/>
                </a:cubicBezTo>
                <a:close/>
                <a:moveTo>
                  <a:pt x="168" y="274"/>
                </a:moveTo>
                <a:cubicBezTo>
                  <a:pt x="167" y="273"/>
                  <a:pt x="167" y="272"/>
                  <a:pt x="166" y="272"/>
                </a:cubicBezTo>
                <a:cubicBezTo>
                  <a:pt x="167" y="272"/>
                  <a:pt x="168" y="273"/>
                  <a:pt x="168" y="274"/>
                </a:cubicBezTo>
                <a:close/>
                <a:moveTo>
                  <a:pt x="166" y="208"/>
                </a:moveTo>
                <a:cubicBezTo>
                  <a:pt x="166" y="208"/>
                  <a:pt x="166" y="208"/>
                  <a:pt x="166" y="207"/>
                </a:cubicBezTo>
                <a:cubicBezTo>
                  <a:pt x="166" y="206"/>
                  <a:pt x="168" y="208"/>
                  <a:pt x="166" y="208"/>
                </a:cubicBezTo>
                <a:close/>
                <a:moveTo>
                  <a:pt x="167" y="224"/>
                </a:moveTo>
                <a:cubicBezTo>
                  <a:pt x="165" y="222"/>
                  <a:pt x="165" y="218"/>
                  <a:pt x="163" y="214"/>
                </a:cubicBezTo>
                <a:cubicBezTo>
                  <a:pt x="166" y="217"/>
                  <a:pt x="166" y="221"/>
                  <a:pt x="167" y="224"/>
                </a:cubicBezTo>
                <a:close/>
                <a:moveTo>
                  <a:pt x="166" y="338"/>
                </a:moveTo>
                <a:cubicBezTo>
                  <a:pt x="164" y="337"/>
                  <a:pt x="166" y="334"/>
                  <a:pt x="166" y="338"/>
                </a:cubicBezTo>
                <a:close/>
                <a:moveTo>
                  <a:pt x="163" y="266"/>
                </a:moveTo>
                <a:cubicBezTo>
                  <a:pt x="165" y="266"/>
                  <a:pt x="165" y="269"/>
                  <a:pt x="166" y="270"/>
                </a:cubicBezTo>
                <a:cubicBezTo>
                  <a:pt x="164" y="270"/>
                  <a:pt x="164" y="267"/>
                  <a:pt x="163" y="266"/>
                </a:cubicBezTo>
                <a:close/>
                <a:moveTo>
                  <a:pt x="161" y="230"/>
                </a:moveTo>
                <a:cubicBezTo>
                  <a:pt x="159" y="230"/>
                  <a:pt x="160" y="228"/>
                  <a:pt x="161" y="230"/>
                </a:cubicBezTo>
                <a:close/>
                <a:moveTo>
                  <a:pt x="162" y="222"/>
                </a:moveTo>
                <a:cubicBezTo>
                  <a:pt x="162" y="222"/>
                  <a:pt x="164" y="223"/>
                  <a:pt x="164" y="223"/>
                </a:cubicBezTo>
                <a:cubicBezTo>
                  <a:pt x="165" y="223"/>
                  <a:pt x="166" y="224"/>
                  <a:pt x="165" y="226"/>
                </a:cubicBezTo>
                <a:cubicBezTo>
                  <a:pt x="165" y="226"/>
                  <a:pt x="164" y="226"/>
                  <a:pt x="164" y="225"/>
                </a:cubicBezTo>
                <a:cubicBezTo>
                  <a:pt x="164" y="226"/>
                  <a:pt x="163" y="229"/>
                  <a:pt x="162" y="229"/>
                </a:cubicBezTo>
                <a:cubicBezTo>
                  <a:pt x="159" y="229"/>
                  <a:pt x="161" y="222"/>
                  <a:pt x="162" y="222"/>
                </a:cubicBezTo>
                <a:close/>
                <a:moveTo>
                  <a:pt x="162" y="231"/>
                </a:moveTo>
                <a:cubicBezTo>
                  <a:pt x="162" y="231"/>
                  <a:pt x="163" y="232"/>
                  <a:pt x="162" y="232"/>
                </a:cubicBezTo>
                <a:cubicBezTo>
                  <a:pt x="162" y="232"/>
                  <a:pt x="162" y="231"/>
                  <a:pt x="162" y="231"/>
                </a:cubicBezTo>
                <a:close/>
                <a:moveTo>
                  <a:pt x="163" y="344"/>
                </a:moveTo>
                <a:cubicBezTo>
                  <a:pt x="164" y="346"/>
                  <a:pt x="166" y="350"/>
                  <a:pt x="167" y="353"/>
                </a:cubicBezTo>
                <a:cubicBezTo>
                  <a:pt x="165" y="351"/>
                  <a:pt x="164" y="347"/>
                  <a:pt x="163" y="344"/>
                </a:cubicBezTo>
                <a:close/>
                <a:moveTo>
                  <a:pt x="167" y="354"/>
                </a:moveTo>
                <a:cubicBezTo>
                  <a:pt x="167" y="353"/>
                  <a:pt x="168" y="355"/>
                  <a:pt x="168" y="355"/>
                </a:cubicBezTo>
                <a:cubicBezTo>
                  <a:pt x="168" y="355"/>
                  <a:pt x="167" y="355"/>
                  <a:pt x="167" y="354"/>
                </a:cubicBezTo>
                <a:close/>
                <a:moveTo>
                  <a:pt x="170" y="358"/>
                </a:moveTo>
                <a:cubicBezTo>
                  <a:pt x="169" y="358"/>
                  <a:pt x="168" y="356"/>
                  <a:pt x="168" y="356"/>
                </a:cubicBezTo>
                <a:cubicBezTo>
                  <a:pt x="168" y="355"/>
                  <a:pt x="171" y="358"/>
                  <a:pt x="170" y="358"/>
                </a:cubicBezTo>
                <a:close/>
                <a:moveTo>
                  <a:pt x="171" y="267"/>
                </a:moveTo>
                <a:cubicBezTo>
                  <a:pt x="169" y="267"/>
                  <a:pt x="170" y="265"/>
                  <a:pt x="171" y="267"/>
                </a:cubicBezTo>
                <a:close/>
                <a:moveTo>
                  <a:pt x="173" y="269"/>
                </a:moveTo>
                <a:cubicBezTo>
                  <a:pt x="171" y="269"/>
                  <a:pt x="172" y="267"/>
                  <a:pt x="173" y="269"/>
                </a:cubicBezTo>
                <a:close/>
                <a:moveTo>
                  <a:pt x="173" y="268"/>
                </a:moveTo>
                <a:cubicBezTo>
                  <a:pt x="172" y="269"/>
                  <a:pt x="170" y="264"/>
                  <a:pt x="173" y="264"/>
                </a:cubicBezTo>
                <a:cubicBezTo>
                  <a:pt x="175" y="264"/>
                  <a:pt x="175" y="268"/>
                  <a:pt x="173" y="268"/>
                </a:cubicBezTo>
                <a:close/>
                <a:moveTo>
                  <a:pt x="177" y="280"/>
                </a:moveTo>
                <a:cubicBezTo>
                  <a:pt x="175" y="280"/>
                  <a:pt x="175" y="278"/>
                  <a:pt x="174" y="277"/>
                </a:cubicBezTo>
                <a:cubicBezTo>
                  <a:pt x="175" y="277"/>
                  <a:pt x="176" y="279"/>
                  <a:pt x="177" y="280"/>
                </a:cubicBezTo>
                <a:close/>
                <a:moveTo>
                  <a:pt x="179" y="434"/>
                </a:moveTo>
                <a:cubicBezTo>
                  <a:pt x="179" y="433"/>
                  <a:pt x="178" y="432"/>
                  <a:pt x="179" y="431"/>
                </a:cubicBezTo>
                <a:cubicBezTo>
                  <a:pt x="179" y="432"/>
                  <a:pt x="179" y="433"/>
                  <a:pt x="179" y="434"/>
                </a:cubicBezTo>
                <a:close/>
                <a:moveTo>
                  <a:pt x="178" y="387"/>
                </a:moveTo>
                <a:cubicBezTo>
                  <a:pt x="177" y="387"/>
                  <a:pt x="174" y="383"/>
                  <a:pt x="176" y="381"/>
                </a:cubicBezTo>
                <a:cubicBezTo>
                  <a:pt x="176" y="381"/>
                  <a:pt x="178" y="381"/>
                  <a:pt x="178" y="381"/>
                </a:cubicBezTo>
                <a:cubicBezTo>
                  <a:pt x="178" y="380"/>
                  <a:pt x="176" y="378"/>
                  <a:pt x="176" y="377"/>
                </a:cubicBezTo>
                <a:cubicBezTo>
                  <a:pt x="176" y="377"/>
                  <a:pt x="179" y="381"/>
                  <a:pt x="179" y="383"/>
                </a:cubicBezTo>
                <a:cubicBezTo>
                  <a:pt x="179" y="383"/>
                  <a:pt x="178" y="387"/>
                  <a:pt x="178" y="387"/>
                </a:cubicBezTo>
                <a:close/>
                <a:moveTo>
                  <a:pt x="178" y="354"/>
                </a:moveTo>
                <a:cubicBezTo>
                  <a:pt x="179" y="353"/>
                  <a:pt x="180" y="356"/>
                  <a:pt x="179" y="356"/>
                </a:cubicBezTo>
                <a:cubicBezTo>
                  <a:pt x="178" y="356"/>
                  <a:pt x="178" y="354"/>
                  <a:pt x="178" y="354"/>
                </a:cubicBezTo>
                <a:close/>
                <a:moveTo>
                  <a:pt x="181" y="290"/>
                </a:moveTo>
                <a:cubicBezTo>
                  <a:pt x="179" y="287"/>
                  <a:pt x="177" y="285"/>
                  <a:pt x="176" y="284"/>
                </a:cubicBezTo>
                <a:cubicBezTo>
                  <a:pt x="176" y="281"/>
                  <a:pt x="179" y="285"/>
                  <a:pt x="179" y="285"/>
                </a:cubicBezTo>
                <a:cubicBezTo>
                  <a:pt x="180" y="287"/>
                  <a:pt x="180" y="288"/>
                  <a:pt x="181" y="290"/>
                </a:cubicBezTo>
                <a:cubicBezTo>
                  <a:pt x="181" y="290"/>
                  <a:pt x="181" y="291"/>
                  <a:pt x="181" y="291"/>
                </a:cubicBezTo>
                <a:cubicBezTo>
                  <a:pt x="181" y="291"/>
                  <a:pt x="181" y="290"/>
                  <a:pt x="181" y="290"/>
                </a:cubicBezTo>
                <a:close/>
                <a:moveTo>
                  <a:pt x="182" y="217"/>
                </a:moveTo>
                <a:cubicBezTo>
                  <a:pt x="182" y="218"/>
                  <a:pt x="181" y="217"/>
                  <a:pt x="181" y="217"/>
                </a:cubicBezTo>
                <a:cubicBezTo>
                  <a:pt x="179" y="215"/>
                  <a:pt x="183" y="216"/>
                  <a:pt x="182" y="217"/>
                </a:cubicBezTo>
                <a:close/>
                <a:moveTo>
                  <a:pt x="310" y="745"/>
                </a:moveTo>
                <a:cubicBezTo>
                  <a:pt x="309" y="747"/>
                  <a:pt x="304" y="748"/>
                  <a:pt x="302" y="747"/>
                </a:cubicBezTo>
                <a:cubicBezTo>
                  <a:pt x="301" y="747"/>
                  <a:pt x="299" y="748"/>
                  <a:pt x="298" y="747"/>
                </a:cubicBezTo>
                <a:cubicBezTo>
                  <a:pt x="297" y="747"/>
                  <a:pt x="298" y="744"/>
                  <a:pt x="296" y="744"/>
                </a:cubicBezTo>
                <a:cubicBezTo>
                  <a:pt x="300" y="744"/>
                  <a:pt x="295" y="742"/>
                  <a:pt x="295" y="742"/>
                </a:cubicBezTo>
                <a:cubicBezTo>
                  <a:pt x="294" y="739"/>
                  <a:pt x="301" y="738"/>
                  <a:pt x="302" y="738"/>
                </a:cubicBezTo>
                <a:cubicBezTo>
                  <a:pt x="304" y="738"/>
                  <a:pt x="311" y="740"/>
                  <a:pt x="310" y="745"/>
                </a:cubicBezTo>
                <a:close/>
                <a:moveTo>
                  <a:pt x="295" y="179"/>
                </a:moveTo>
                <a:cubicBezTo>
                  <a:pt x="292" y="179"/>
                  <a:pt x="292" y="177"/>
                  <a:pt x="295" y="179"/>
                </a:cubicBezTo>
                <a:close/>
                <a:moveTo>
                  <a:pt x="292" y="164"/>
                </a:moveTo>
                <a:cubicBezTo>
                  <a:pt x="292" y="164"/>
                  <a:pt x="292" y="163"/>
                  <a:pt x="292" y="163"/>
                </a:cubicBezTo>
                <a:cubicBezTo>
                  <a:pt x="292" y="162"/>
                  <a:pt x="294" y="164"/>
                  <a:pt x="292" y="164"/>
                </a:cubicBezTo>
                <a:close/>
                <a:moveTo>
                  <a:pt x="295" y="173"/>
                </a:moveTo>
                <a:cubicBezTo>
                  <a:pt x="294" y="173"/>
                  <a:pt x="294" y="171"/>
                  <a:pt x="295" y="172"/>
                </a:cubicBezTo>
                <a:cubicBezTo>
                  <a:pt x="295" y="172"/>
                  <a:pt x="295" y="173"/>
                  <a:pt x="295" y="173"/>
                </a:cubicBezTo>
                <a:close/>
                <a:moveTo>
                  <a:pt x="293" y="108"/>
                </a:moveTo>
                <a:cubicBezTo>
                  <a:pt x="294" y="106"/>
                  <a:pt x="296" y="110"/>
                  <a:pt x="297" y="112"/>
                </a:cubicBezTo>
                <a:cubicBezTo>
                  <a:pt x="295" y="112"/>
                  <a:pt x="292" y="110"/>
                  <a:pt x="293" y="108"/>
                </a:cubicBezTo>
                <a:close/>
                <a:moveTo>
                  <a:pt x="296" y="183"/>
                </a:moveTo>
                <a:cubicBezTo>
                  <a:pt x="298" y="182"/>
                  <a:pt x="300" y="186"/>
                  <a:pt x="298" y="187"/>
                </a:cubicBezTo>
                <a:cubicBezTo>
                  <a:pt x="296" y="189"/>
                  <a:pt x="294" y="184"/>
                  <a:pt x="296" y="183"/>
                </a:cubicBezTo>
                <a:close/>
                <a:moveTo>
                  <a:pt x="297" y="144"/>
                </a:moveTo>
                <a:cubicBezTo>
                  <a:pt x="299" y="144"/>
                  <a:pt x="298" y="146"/>
                  <a:pt x="297" y="144"/>
                </a:cubicBezTo>
                <a:close/>
                <a:moveTo>
                  <a:pt x="300" y="188"/>
                </a:moveTo>
                <a:cubicBezTo>
                  <a:pt x="299" y="187"/>
                  <a:pt x="301" y="189"/>
                  <a:pt x="300" y="188"/>
                </a:cubicBezTo>
                <a:close/>
                <a:moveTo>
                  <a:pt x="301" y="225"/>
                </a:moveTo>
                <a:cubicBezTo>
                  <a:pt x="301" y="225"/>
                  <a:pt x="300" y="224"/>
                  <a:pt x="300" y="224"/>
                </a:cubicBezTo>
                <a:cubicBezTo>
                  <a:pt x="301" y="224"/>
                  <a:pt x="302" y="225"/>
                  <a:pt x="301" y="225"/>
                </a:cubicBezTo>
                <a:close/>
                <a:moveTo>
                  <a:pt x="300" y="518"/>
                </a:moveTo>
                <a:cubicBezTo>
                  <a:pt x="301" y="519"/>
                  <a:pt x="299" y="517"/>
                  <a:pt x="299" y="517"/>
                </a:cubicBezTo>
                <a:cubicBezTo>
                  <a:pt x="299" y="516"/>
                  <a:pt x="300" y="517"/>
                  <a:pt x="300" y="518"/>
                </a:cubicBezTo>
                <a:close/>
                <a:moveTo>
                  <a:pt x="300" y="733"/>
                </a:moveTo>
                <a:cubicBezTo>
                  <a:pt x="301" y="733"/>
                  <a:pt x="299" y="734"/>
                  <a:pt x="299" y="734"/>
                </a:cubicBezTo>
                <a:cubicBezTo>
                  <a:pt x="298" y="733"/>
                  <a:pt x="300" y="733"/>
                  <a:pt x="300" y="733"/>
                </a:cubicBezTo>
                <a:close/>
                <a:moveTo>
                  <a:pt x="298" y="724"/>
                </a:moveTo>
                <a:cubicBezTo>
                  <a:pt x="298" y="723"/>
                  <a:pt x="300" y="725"/>
                  <a:pt x="298" y="724"/>
                </a:cubicBezTo>
                <a:close/>
                <a:moveTo>
                  <a:pt x="297" y="681"/>
                </a:moveTo>
                <a:cubicBezTo>
                  <a:pt x="297" y="681"/>
                  <a:pt x="297" y="681"/>
                  <a:pt x="297" y="681"/>
                </a:cubicBezTo>
                <a:cubicBezTo>
                  <a:pt x="298" y="681"/>
                  <a:pt x="298" y="682"/>
                  <a:pt x="297" y="681"/>
                </a:cubicBezTo>
                <a:close/>
                <a:moveTo>
                  <a:pt x="303" y="683"/>
                </a:moveTo>
                <a:cubicBezTo>
                  <a:pt x="303" y="683"/>
                  <a:pt x="304" y="682"/>
                  <a:pt x="305" y="683"/>
                </a:cubicBezTo>
                <a:cubicBezTo>
                  <a:pt x="305" y="683"/>
                  <a:pt x="303" y="683"/>
                  <a:pt x="303" y="683"/>
                </a:cubicBezTo>
                <a:close/>
                <a:moveTo>
                  <a:pt x="304" y="731"/>
                </a:moveTo>
                <a:cubicBezTo>
                  <a:pt x="305" y="731"/>
                  <a:pt x="302" y="730"/>
                  <a:pt x="304" y="731"/>
                </a:cubicBezTo>
                <a:close/>
                <a:moveTo>
                  <a:pt x="303" y="675"/>
                </a:moveTo>
                <a:cubicBezTo>
                  <a:pt x="305" y="673"/>
                  <a:pt x="305" y="677"/>
                  <a:pt x="303" y="675"/>
                </a:cubicBezTo>
                <a:close/>
                <a:moveTo>
                  <a:pt x="302" y="671"/>
                </a:moveTo>
                <a:cubicBezTo>
                  <a:pt x="302" y="669"/>
                  <a:pt x="304" y="669"/>
                  <a:pt x="305" y="670"/>
                </a:cubicBezTo>
                <a:cubicBezTo>
                  <a:pt x="306" y="671"/>
                  <a:pt x="302" y="672"/>
                  <a:pt x="302" y="671"/>
                </a:cubicBezTo>
                <a:close/>
                <a:moveTo>
                  <a:pt x="304" y="158"/>
                </a:moveTo>
                <a:cubicBezTo>
                  <a:pt x="304" y="158"/>
                  <a:pt x="303" y="158"/>
                  <a:pt x="304" y="157"/>
                </a:cubicBezTo>
                <a:cubicBezTo>
                  <a:pt x="304" y="157"/>
                  <a:pt x="305" y="158"/>
                  <a:pt x="304" y="158"/>
                </a:cubicBezTo>
                <a:close/>
                <a:moveTo>
                  <a:pt x="304" y="613"/>
                </a:moveTo>
                <a:cubicBezTo>
                  <a:pt x="305" y="615"/>
                  <a:pt x="301" y="614"/>
                  <a:pt x="302" y="612"/>
                </a:cubicBezTo>
                <a:cubicBezTo>
                  <a:pt x="302" y="612"/>
                  <a:pt x="304" y="612"/>
                  <a:pt x="304" y="613"/>
                </a:cubicBezTo>
                <a:close/>
                <a:moveTo>
                  <a:pt x="305" y="735"/>
                </a:moveTo>
                <a:cubicBezTo>
                  <a:pt x="307" y="734"/>
                  <a:pt x="308" y="736"/>
                  <a:pt x="305" y="735"/>
                </a:cubicBezTo>
                <a:close/>
                <a:moveTo>
                  <a:pt x="307" y="737"/>
                </a:moveTo>
                <a:cubicBezTo>
                  <a:pt x="307" y="737"/>
                  <a:pt x="308" y="737"/>
                  <a:pt x="309" y="737"/>
                </a:cubicBezTo>
                <a:cubicBezTo>
                  <a:pt x="308" y="737"/>
                  <a:pt x="308" y="737"/>
                  <a:pt x="307" y="737"/>
                </a:cubicBezTo>
                <a:close/>
                <a:moveTo>
                  <a:pt x="311" y="752"/>
                </a:moveTo>
                <a:cubicBezTo>
                  <a:pt x="311" y="752"/>
                  <a:pt x="311" y="752"/>
                  <a:pt x="311" y="752"/>
                </a:cubicBezTo>
                <a:cubicBezTo>
                  <a:pt x="313" y="752"/>
                  <a:pt x="312" y="753"/>
                  <a:pt x="311" y="752"/>
                </a:cubicBezTo>
                <a:close/>
                <a:moveTo>
                  <a:pt x="314" y="737"/>
                </a:moveTo>
                <a:cubicBezTo>
                  <a:pt x="315" y="736"/>
                  <a:pt x="316" y="737"/>
                  <a:pt x="316" y="738"/>
                </a:cubicBezTo>
                <a:cubicBezTo>
                  <a:pt x="317" y="739"/>
                  <a:pt x="313" y="738"/>
                  <a:pt x="314" y="737"/>
                </a:cubicBezTo>
                <a:close/>
                <a:moveTo>
                  <a:pt x="313" y="737"/>
                </a:moveTo>
                <a:cubicBezTo>
                  <a:pt x="309" y="737"/>
                  <a:pt x="308" y="733"/>
                  <a:pt x="302" y="734"/>
                </a:cubicBezTo>
                <a:cubicBezTo>
                  <a:pt x="303" y="733"/>
                  <a:pt x="305" y="733"/>
                  <a:pt x="306" y="732"/>
                </a:cubicBezTo>
                <a:cubicBezTo>
                  <a:pt x="306" y="732"/>
                  <a:pt x="305" y="731"/>
                  <a:pt x="305" y="732"/>
                </a:cubicBezTo>
                <a:cubicBezTo>
                  <a:pt x="305" y="731"/>
                  <a:pt x="306" y="731"/>
                  <a:pt x="306" y="731"/>
                </a:cubicBezTo>
                <a:cubicBezTo>
                  <a:pt x="307" y="729"/>
                  <a:pt x="304" y="729"/>
                  <a:pt x="306" y="728"/>
                </a:cubicBezTo>
                <a:cubicBezTo>
                  <a:pt x="307" y="727"/>
                  <a:pt x="308" y="728"/>
                  <a:pt x="310" y="728"/>
                </a:cubicBezTo>
                <a:cubicBezTo>
                  <a:pt x="310" y="728"/>
                  <a:pt x="313" y="728"/>
                  <a:pt x="315" y="729"/>
                </a:cubicBezTo>
                <a:cubicBezTo>
                  <a:pt x="319" y="730"/>
                  <a:pt x="318" y="736"/>
                  <a:pt x="313" y="737"/>
                </a:cubicBezTo>
                <a:close/>
                <a:moveTo>
                  <a:pt x="306" y="205"/>
                </a:moveTo>
                <a:cubicBezTo>
                  <a:pt x="307" y="205"/>
                  <a:pt x="306" y="206"/>
                  <a:pt x="306" y="206"/>
                </a:cubicBezTo>
                <a:cubicBezTo>
                  <a:pt x="304" y="205"/>
                  <a:pt x="306" y="204"/>
                  <a:pt x="306" y="205"/>
                </a:cubicBezTo>
                <a:close/>
                <a:moveTo>
                  <a:pt x="305" y="103"/>
                </a:moveTo>
                <a:cubicBezTo>
                  <a:pt x="307" y="102"/>
                  <a:pt x="308" y="105"/>
                  <a:pt x="306" y="104"/>
                </a:cubicBezTo>
                <a:cubicBezTo>
                  <a:pt x="305" y="104"/>
                  <a:pt x="305" y="103"/>
                  <a:pt x="305" y="103"/>
                </a:cubicBezTo>
                <a:close/>
                <a:moveTo>
                  <a:pt x="311" y="167"/>
                </a:moveTo>
                <a:cubicBezTo>
                  <a:pt x="311" y="167"/>
                  <a:pt x="311" y="167"/>
                  <a:pt x="311" y="167"/>
                </a:cubicBezTo>
                <a:cubicBezTo>
                  <a:pt x="311" y="167"/>
                  <a:pt x="311" y="167"/>
                  <a:pt x="312" y="167"/>
                </a:cubicBezTo>
                <a:cubicBezTo>
                  <a:pt x="312" y="167"/>
                  <a:pt x="311" y="167"/>
                  <a:pt x="311" y="167"/>
                </a:cubicBezTo>
                <a:close/>
                <a:moveTo>
                  <a:pt x="310" y="638"/>
                </a:moveTo>
                <a:cubicBezTo>
                  <a:pt x="314" y="639"/>
                  <a:pt x="311" y="641"/>
                  <a:pt x="310" y="638"/>
                </a:cubicBezTo>
                <a:close/>
                <a:moveTo>
                  <a:pt x="311" y="123"/>
                </a:moveTo>
                <a:cubicBezTo>
                  <a:pt x="309" y="123"/>
                  <a:pt x="312" y="124"/>
                  <a:pt x="311" y="123"/>
                </a:cubicBezTo>
                <a:close/>
                <a:moveTo>
                  <a:pt x="310" y="111"/>
                </a:moveTo>
                <a:cubicBezTo>
                  <a:pt x="311" y="111"/>
                  <a:pt x="312" y="112"/>
                  <a:pt x="311" y="112"/>
                </a:cubicBezTo>
                <a:cubicBezTo>
                  <a:pt x="311" y="112"/>
                  <a:pt x="310" y="112"/>
                  <a:pt x="310" y="111"/>
                </a:cubicBezTo>
                <a:close/>
                <a:moveTo>
                  <a:pt x="308" y="612"/>
                </a:moveTo>
                <a:cubicBezTo>
                  <a:pt x="308" y="611"/>
                  <a:pt x="310" y="612"/>
                  <a:pt x="310" y="612"/>
                </a:cubicBezTo>
                <a:cubicBezTo>
                  <a:pt x="311" y="614"/>
                  <a:pt x="308" y="613"/>
                  <a:pt x="308" y="612"/>
                </a:cubicBezTo>
                <a:close/>
                <a:moveTo>
                  <a:pt x="316" y="436"/>
                </a:moveTo>
                <a:cubicBezTo>
                  <a:pt x="317" y="435"/>
                  <a:pt x="318" y="436"/>
                  <a:pt x="318" y="437"/>
                </a:cubicBezTo>
                <a:cubicBezTo>
                  <a:pt x="320" y="439"/>
                  <a:pt x="316" y="436"/>
                  <a:pt x="316" y="436"/>
                </a:cubicBezTo>
                <a:close/>
                <a:moveTo>
                  <a:pt x="317" y="526"/>
                </a:moveTo>
                <a:cubicBezTo>
                  <a:pt x="317" y="526"/>
                  <a:pt x="318" y="527"/>
                  <a:pt x="319" y="528"/>
                </a:cubicBezTo>
                <a:cubicBezTo>
                  <a:pt x="319" y="529"/>
                  <a:pt x="317" y="527"/>
                  <a:pt x="317" y="526"/>
                </a:cubicBezTo>
                <a:close/>
                <a:moveTo>
                  <a:pt x="316" y="682"/>
                </a:moveTo>
                <a:cubicBezTo>
                  <a:pt x="318" y="683"/>
                  <a:pt x="316" y="684"/>
                  <a:pt x="316" y="682"/>
                </a:cubicBezTo>
                <a:close/>
                <a:moveTo>
                  <a:pt x="315" y="197"/>
                </a:moveTo>
                <a:cubicBezTo>
                  <a:pt x="315" y="196"/>
                  <a:pt x="317" y="197"/>
                  <a:pt x="316" y="198"/>
                </a:cubicBezTo>
                <a:cubicBezTo>
                  <a:pt x="316" y="198"/>
                  <a:pt x="315" y="197"/>
                  <a:pt x="315" y="197"/>
                </a:cubicBezTo>
                <a:close/>
                <a:moveTo>
                  <a:pt x="315" y="98"/>
                </a:moveTo>
                <a:cubicBezTo>
                  <a:pt x="313" y="97"/>
                  <a:pt x="318" y="96"/>
                  <a:pt x="317" y="98"/>
                </a:cubicBezTo>
                <a:cubicBezTo>
                  <a:pt x="316" y="98"/>
                  <a:pt x="316" y="98"/>
                  <a:pt x="315" y="98"/>
                </a:cubicBezTo>
                <a:close/>
                <a:moveTo>
                  <a:pt x="314" y="99"/>
                </a:moveTo>
                <a:cubicBezTo>
                  <a:pt x="317" y="99"/>
                  <a:pt x="315" y="102"/>
                  <a:pt x="314" y="99"/>
                </a:cubicBezTo>
                <a:close/>
                <a:moveTo>
                  <a:pt x="314" y="129"/>
                </a:moveTo>
                <a:cubicBezTo>
                  <a:pt x="314" y="129"/>
                  <a:pt x="314" y="129"/>
                  <a:pt x="314" y="129"/>
                </a:cubicBezTo>
                <a:cubicBezTo>
                  <a:pt x="311" y="127"/>
                  <a:pt x="317" y="129"/>
                  <a:pt x="314" y="129"/>
                </a:cubicBezTo>
                <a:close/>
                <a:moveTo>
                  <a:pt x="313" y="166"/>
                </a:moveTo>
                <a:cubicBezTo>
                  <a:pt x="315" y="165"/>
                  <a:pt x="313" y="168"/>
                  <a:pt x="313" y="166"/>
                </a:cubicBezTo>
                <a:cubicBezTo>
                  <a:pt x="312" y="166"/>
                  <a:pt x="313" y="166"/>
                  <a:pt x="313" y="166"/>
                </a:cubicBezTo>
                <a:close/>
                <a:moveTo>
                  <a:pt x="313" y="636"/>
                </a:moveTo>
                <a:cubicBezTo>
                  <a:pt x="313" y="636"/>
                  <a:pt x="314" y="637"/>
                  <a:pt x="314" y="637"/>
                </a:cubicBezTo>
                <a:cubicBezTo>
                  <a:pt x="316" y="639"/>
                  <a:pt x="311" y="637"/>
                  <a:pt x="313" y="636"/>
                </a:cubicBezTo>
                <a:close/>
                <a:moveTo>
                  <a:pt x="316" y="540"/>
                </a:moveTo>
                <a:cubicBezTo>
                  <a:pt x="317" y="539"/>
                  <a:pt x="318" y="540"/>
                  <a:pt x="319" y="541"/>
                </a:cubicBezTo>
                <a:cubicBezTo>
                  <a:pt x="319" y="542"/>
                  <a:pt x="316" y="541"/>
                  <a:pt x="316" y="540"/>
                </a:cubicBezTo>
                <a:close/>
                <a:moveTo>
                  <a:pt x="318" y="161"/>
                </a:moveTo>
                <a:cubicBezTo>
                  <a:pt x="318" y="162"/>
                  <a:pt x="317" y="161"/>
                  <a:pt x="317" y="161"/>
                </a:cubicBezTo>
                <a:cubicBezTo>
                  <a:pt x="315" y="158"/>
                  <a:pt x="320" y="159"/>
                  <a:pt x="318" y="161"/>
                </a:cubicBezTo>
                <a:close/>
                <a:moveTo>
                  <a:pt x="317" y="121"/>
                </a:moveTo>
                <a:cubicBezTo>
                  <a:pt x="319" y="122"/>
                  <a:pt x="316" y="121"/>
                  <a:pt x="317" y="121"/>
                </a:cubicBezTo>
                <a:close/>
                <a:moveTo>
                  <a:pt x="318" y="139"/>
                </a:moveTo>
                <a:cubicBezTo>
                  <a:pt x="319" y="138"/>
                  <a:pt x="320" y="141"/>
                  <a:pt x="319" y="140"/>
                </a:cubicBezTo>
                <a:cubicBezTo>
                  <a:pt x="319" y="140"/>
                  <a:pt x="318" y="140"/>
                  <a:pt x="318" y="139"/>
                </a:cubicBezTo>
                <a:close/>
                <a:moveTo>
                  <a:pt x="318" y="103"/>
                </a:moveTo>
                <a:cubicBezTo>
                  <a:pt x="319" y="103"/>
                  <a:pt x="319" y="104"/>
                  <a:pt x="319" y="104"/>
                </a:cubicBezTo>
                <a:cubicBezTo>
                  <a:pt x="319" y="104"/>
                  <a:pt x="319" y="104"/>
                  <a:pt x="319" y="104"/>
                </a:cubicBezTo>
                <a:cubicBezTo>
                  <a:pt x="319" y="103"/>
                  <a:pt x="318" y="103"/>
                  <a:pt x="318" y="103"/>
                </a:cubicBezTo>
                <a:close/>
                <a:moveTo>
                  <a:pt x="319" y="603"/>
                </a:moveTo>
                <a:cubicBezTo>
                  <a:pt x="320" y="602"/>
                  <a:pt x="321" y="603"/>
                  <a:pt x="321" y="603"/>
                </a:cubicBezTo>
                <a:cubicBezTo>
                  <a:pt x="321" y="605"/>
                  <a:pt x="318" y="603"/>
                  <a:pt x="319" y="603"/>
                </a:cubicBezTo>
                <a:close/>
                <a:moveTo>
                  <a:pt x="322" y="158"/>
                </a:moveTo>
                <a:cubicBezTo>
                  <a:pt x="321" y="159"/>
                  <a:pt x="320" y="157"/>
                  <a:pt x="321" y="157"/>
                </a:cubicBezTo>
                <a:cubicBezTo>
                  <a:pt x="322" y="157"/>
                  <a:pt x="322" y="158"/>
                  <a:pt x="322" y="158"/>
                </a:cubicBezTo>
                <a:close/>
                <a:moveTo>
                  <a:pt x="322" y="131"/>
                </a:moveTo>
                <a:cubicBezTo>
                  <a:pt x="323" y="132"/>
                  <a:pt x="321" y="131"/>
                  <a:pt x="322" y="131"/>
                </a:cubicBezTo>
                <a:close/>
                <a:moveTo>
                  <a:pt x="321" y="762"/>
                </a:moveTo>
                <a:cubicBezTo>
                  <a:pt x="322" y="762"/>
                  <a:pt x="323" y="762"/>
                  <a:pt x="324" y="763"/>
                </a:cubicBezTo>
                <a:cubicBezTo>
                  <a:pt x="325" y="766"/>
                  <a:pt x="316" y="764"/>
                  <a:pt x="321" y="762"/>
                </a:cubicBezTo>
                <a:close/>
                <a:moveTo>
                  <a:pt x="328" y="213"/>
                </a:moveTo>
                <a:cubicBezTo>
                  <a:pt x="328" y="213"/>
                  <a:pt x="327" y="213"/>
                  <a:pt x="327" y="212"/>
                </a:cubicBezTo>
                <a:cubicBezTo>
                  <a:pt x="325" y="210"/>
                  <a:pt x="330" y="211"/>
                  <a:pt x="328" y="213"/>
                </a:cubicBezTo>
                <a:close/>
                <a:moveTo>
                  <a:pt x="326" y="141"/>
                </a:moveTo>
                <a:cubicBezTo>
                  <a:pt x="326" y="141"/>
                  <a:pt x="327" y="142"/>
                  <a:pt x="327" y="142"/>
                </a:cubicBezTo>
                <a:cubicBezTo>
                  <a:pt x="327" y="142"/>
                  <a:pt x="326" y="142"/>
                  <a:pt x="326" y="141"/>
                </a:cubicBezTo>
                <a:close/>
                <a:moveTo>
                  <a:pt x="340" y="128"/>
                </a:moveTo>
                <a:cubicBezTo>
                  <a:pt x="342" y="128"/>
                  <a:pt x="347" y="132"/>
                  <a:pt x="349" y="135"/>
                </a:cubicBezTo>
                <a:cubicBezTo>
                  <a:pt x="349" y="135"/>
                  <a:pt x="351" y="135"/>
                  <a:pt x="350" y="136"/>
                </a:cubicBezTo>
                <a:cubicBezTo>
                  <a:pt x="349" y="137"/>
                  <a:pt x="345" y="134"/>
                  <a:pt x="346" y="135"/>
                </a:cubicBezTo>
                <a:cubicBezTo>
                  <a:pt x="344" y="134"/>
                  <a:pt x="343" y="131"/>
                  <a:pt x="342" y="130"/>
                </a:cubicBezTo>
                <a:cubicBezTo>
                  <a:pt x="338" y="126"/>
                  <a:pt x="333" y="125"/>
                  <a:pt x="330" y="121"/>
                </a:cubicBezTo>
                <a:cubicBezTo>
                  <a:pt x="334" y="121"/>
                  <a:pt x="336" y="126"/>
                  <a:pt x="340" y="128"/>
                </a:cubicBezTo>
                <a:close/>
                <a:moveTo>
                  <a:pt x="331" y="113"/>
                </a:moveTo>
                <a:cubicBezTo>
                  <a:pt x="332" y="112"/>
                  <a:pt x="332" y="114"/>
                  <a:pt x="332" y="114"/>
                </a:cubicBezTo>
                <a:cubicBezTo>
                  <a:pt x="331" y="114"/>
                  <a:pt x="331" y="113"/>
                  <a:pt x="331" y="113"/>
                </a:cubicBezTo>
                <a:close/>
                <a:moveTo>
                  <a:pt x="335" y="82"/>
                </a:moveTo>
                <a:cubicBezTo>
                  <a:pt x="334" y="81"/>
                  <a:pt x="337" y="82"/>
                  <a:pt x="335" y="82"/>
                </a:cubicBezTo>
                <a:close/>
                <a:moveTo>
                  <a:pt x="337" y="101"/>
                </a:moveTo>
                <a:cubicBezTo>
                  <a:pt x="338" y="100"/>
                  <a:pt x="338" y="102"/>
                  <a:pt x="339" y="101"/>
                </a:cubicBezTo>
                <a:cubicBezTo>
                  <a:pt x="339" y="102"/>
                  <a:pt x="337" y="102"/>
                  <a:pt x="337" y="101"/>
                </a:cubicBezTo>
                <a:close/>
                <a:moveTo>
                  <a:pt x="355" y="124"/>
                </a:moveTo>
                <a:cubicBezTo>
                  <a:pt x="354" y="123"/>
                  <a:pt x="352" y="122"/>
                  <a:pt x="351" y="120"/>
                </a:cubicBezTo>
                <a:cubicBezTo>
                  <a:pt x="353" y="121"/>
                  <a:pt x="354" y="122"/>
                  <a:pt x="355" y="124"/>
                </a:cubicBezTo>
                <a:close/>
                <a:moveTo>
                  <a:pt x="353" y="90"/>
                </a:moveTo>
                <a:cubicBezTo>
                  <a:pt x="353" y="90"/>
                  <a:pt x="353" y="90"/>
                  <a:pt x="353" y="90"/>
                </a:cubicBezTo>
                <a:cubicBezTo>
                  <a:pt x="355" y="92"/>
                  <a:pt x="353" y="90"/>
                  <a:pt x="353" y="90"/>
                </a:cubicBezTo>
                <a:close/>
                <a:moveTo>
                  <a:pt x="366" y="123"/>
                </a:moveTo>
                <a:cubicBezTo>
                  <a:pt x="365" y="124"/>
                  <a:pt x="364" y="123"/>
                  <a:pt x="364" y="123"/>
                </a:cubicBezTo>
                <a:cubicBezTo>
                  <a:pt x="361" y="121"/>
                  <a:pt x="367" y="121"/>
                  <a:pt x="366" y="123"/>
                </a:cubicBezTo>
                <a:close/>
                <a:moveTo>
                  <a:pt x="365" y="109"/>
                </a:moveTo>
                <a:cubicBezTo>
                  <a:pt x="365" y="109"/>
                  <a:pt x="365" y="109"/>
                  <a:pt x="365" y="109"/>
                </a:cubicBezTo>
                <a:cubicBezTo>
                  <a:pt x="363" y="108"/>
                  <a:pt x="367" y="109"/>
                  <a:pt x="365" y="109"/>
                </a:cubicBezTo>
                <a:close/>
                <a:moveTo>
                  <a:pt x="364" y="93"/>
                </a:moveTo>
                <a:cubicBezTo>
                  <a:pt x="363" y="94"/>
                  <a:pt x="363" y="93"/>
                  <a:pt x="363" y="93"/>
                </a:cubicBezTo>
                <a:cubicBezTo>
                  <a:pt x="361" y="92"/>
                  <a:pt x="364" y="92"/>
                  <a:pt x="364" y="93"/>
                </a:cubicBezTo>
                <a:close/>
                <a:moveTo>
                  <a:pt x="363" y="131"/>
                </a:moveTo>
                <a:cubicBezTo>
                  <a:pt x="361" y="130"/>
                  <a:pt x="359" y="128"/>
                  <a:pt x="358" y="126"/>
                </a:cubicBezTo>
                <a:cubicBezTo>
                  <a:pt x="360" y="127"/>
                  <a:pt x="361" y="129"/>
                  <a:pt x="363" y="131"/>
                </a:cubicBezTo>
                <a:close/>
                <a:moveTo>
                  <a:pt x="368" y="604"/>
                </a:moveTo>
                <a:cubicBezTo>
                  <a:pt x="365" y="603"/>
                  <a:pt x="367" y="602"/>
                  <a:pt x="368" y="604"/>
                </a:cubicBezTo>
                <a:close/>
                <a:moveTo>
                  <a:pt x="367" y="364"/>
                </a:moveTo>
                <a:cubicBezTo>
                  <a:pt x="369" y="364"/>
                  <a:pt x="370" y="367"/>
                  <a:pt x="371" y="368"/>
                </a:cubicBezTo>
                <a:cubicBezTo>
                  <a:pt x="369" y="368"/>
                  <a:pt x="368" y="365"/>
                  <a:pt x="367" y="364"/>
                </a:cubicBezTo>
                <a:close/>
                <a:moveTo>
                  <a:pt x="367" y="638"/>
                </a:moveTo>
                <a:cubicBezTo>
                  <a:pt x="368" y="637"/>
                  <a:pt x="368" y="639"/>
                  <a:pt x="367" y="638"/>
                </a:cubicBezTo>
                <a:close/>
                <a:moveTo>
                  <a:pt x="373" y="642"/>
                </a:moveTo>
                <a:cubicBezTo>
                  <a:pt x="375" y="643"/>
                  <a:pt x="376" y="644"/>
                  <a:pt x="376" y="646"/>
                </a:cubicBezTo>
                <a:cubicBezTo>
                  <a:pt x="377" y="652"/>
                  <a:pt x="365" y="646"/>
                  <a:pt x="365" y="645"/>
                </a:cubicBezTo>
                <a:cubicBezTo>
                  <a:pt x="365" y="644"/>
                  <a:pt x="372" y="642"/>
                  <a:pt x="373" y="642"/>
                </a:cubicBezTo>
                <a:close/>
                <a:moveTo>
                  <a:pt x="374" y="562"/>
                </a:moveTo>
                <a:cubicBezTo>
                  <a:pt x="375" y="563"/>
                  <a:pt x="372" y="562"/>
                  <a:pt x="373" y="561"/>
                </a:cubicBezTo>
                <a:cubicBezTo>
                  <a:pt x="374" y="561"/>
                  <a:pt x="374" y="562"/>
                  <a:pt x="374" y="562"/>
                </a:cubicBezTo>
                <a:close/>
                <a:moveTo>
                  <a:pt x="374" y="444"/>
                </a:moveTo>
                <a:cubicBezTo>
                  <a:pt x="373" y="445"/>
                  <a:pt x="373" y="442"/>
                  <a:pt x="374" y="444"/>
                </a:cubicBezTo>
                <a:close/>
                <a:moveTo>
                  <a:pt x="372" y="582"/>
                </a:moveTo>
                <a:cubicBezTo>
                  <a:pt x="375" y="582"/>
                  <a:pt x="372" y="584"/>
                  <a:pt x="372" y="582"/>
                </a:cubicBezTo>
                <a:close/>
                <a:moveTo>
                  <a:pt x="371" y="374"/>
                </a:moveTo>
                <a:cubicBezTo>
                  <a:pt x="372" y="373"/>
                  <a:pt x="372" y="375"/>
                  <a:pt x="371" y="374"/>
                </a:cubicBezTo>
                <a:close/>
                <a:moveTo>
                  <a:pt x="365" y="654"/>
                </a:moveTo>
                <a:cubicBezTo>
                  <a:pt x="366" y="652"/>
                  <a:pt x="367" y="655"/>
                  <a:pt x="365" y="654"/>
                </a:cubicBezTo>
                <a:close/>
                <a:moveTo>
                  <a:pt x="366" y="661"/>
                </a:moveTo>
                <a:cubicBezTo>
                  <a:pt x="369" y="661"/>
                  <a:pt x="370" y="659"/>
                  <a:pt x="371" y="661"/>
                </a:cubicBezTo>
                <a:cubicBezTo>
                  <a:pt x="372" y="661"/>
                  <a:pt x="371" y="662"/>
                  <a:pt x="372" y="663"/>
                </a:cubicBezTo>
                <a:cubicBezTo>
                  <a:pt x="375" y="666"/>
                  <a:pt x="386" y="664"/>
                  <a:pt x="386" y="668"/>
                </a:cubicBezTo>
                <a:cubicBezTo>
                  <a:pt x="387" y="671"/>
                  <a:pt x="373" y="665"/>
                  <a:pt x="372" y="664"/>
                </a:cubicBezTo>
                <a:cubicBezTo>
                  <a:pt x="369" y="662"/>
                  <a:pt x="364" y="662"/>
                  <a:pt x="362" y="661"/>
                </a:cubicBezTo>
                <a:cubicBezTo>
                  <a:pt x="362" y="660"/>
                  <a:pt x="361" y="660"/>
                  <a:pt x="361" y="659"/>
                </a:cubicBezTo>
                <a:cubicBezTo>
                  <a:pt x="362" y="657"/>
                  <a:pt x="364" y="661"/>
                  <a:pt x="366" y="661"/>
                </a:cubicBezTo>
                <a:close/>
                <a:moveTo>
                  <a:pt x="377" y="623"/>
                </a:moveTo>
                <a:cubicBezTo>
                  <a:pt x="379" y="623"/>
                  <a:pt x="377" y="625"/>
                  <a:pt x="377" y="623"/>
                </a:cubicBezTo>
                <a:close/>
                <a:moveTo>
                  <a:pt x="385" y="646"/>
                </a:moveTo>
                <a:cubicBezTo>
                  <a:pt x="385" y="645"/>
                  <a:pt x="387" y="645"/>
                  <a:pt x="387" y="646"/>
                </a:cubicBezTo>
                <a:cubicBezTo>
                  <a:pt x="387" y="647"/>
                  <a:pt x="385" y="647"/>
                  <a:pt x="385" y="646"/>
                </a:cubicBezTo>
                <a:close/>
                <a:moveTo>
                  <a:pt x="387" y="661"/>
                </a:moveTo>
                <a:cubicBezTo>
                  <a:pt x="389" y="662"/>
                  <a:pt x="384" y="662"/>
                  <a:pt x="385" y="661"/>
                </a:cubicBezTo>
                <a:cubicBezTo>
                  <a:pt x="385" y="660"/>
                  <a:pt x="387" y="660"/>
                  <a:pt x="387" y="661"/>
                </a:cubicBezTo>
                <a:close/>
                <a:moveTo>
                  <a:pt x="385" y="654"/>
                </a:moveTo>
                <a:cubicBezTo>
                  <a:pt x="388" y="654"/>
                  <a:pt x="385" y="656"/>
                  <a:pt x="385" y="654"/>
                </a:cubicBezTo>
                <a:close/>
                <a:moveTo>
                  <a:pt x="380" y="671"/>
                </a:moveTo>
                <a:cubicBezTo>
                  <a:pt x="382" y="672"/>
                  <a:pt x="380" y="673"/>
                  <a:pt x="380" y="671"/>
                </a:cubicBezTo>
                <a:close/>
                <a:moveTo>
                  <a:pt x="379" y="676"/>
                </a:moveTo>
                <a:cubicBezTo>
                  <a:pt x="379" y="676"/>
                  <a:pt x="380" y="675"/>
                  <a:pt x="380" y="675"/>
                </a:cubicBezTo>
                <a:cubicBezTo>
                  <a:pt x="380" y="676"/>
                  <a:pt x="380" y="677"/>
                  <a:pt x="379" y="676"/>
                </a:cubicBezTo>
                <a:close/>
                <a:moveTo>
                  <a:pt x="378" y="669"/>
                </a:moveTo>
                <a:cubicBezTo>
                  <a:pt x="377" y="669"/>
                  <a:pt x="377" y="666"/>
                  <a:pt x="378" y="668"/>
                </a:cubicBezTo>
                <a:cubicBezTo>
                  <a:pt x="378" y="668"/>
                  <a:pt x="378" y="669"/>
                  <a:pt x="378" y="669"/>
                </a:cubicBezTo>
                <a:close/>
                <a:moveTo>
                  <a:pt x="366" y="677"/>
                </a:moveTo>
                <a:cubicBezTo>
                  <a:pt x="369" y="676"/>
                  <a:pt x="367" y="673"/>
                  <a:pt x="368" y="672"/>
                </a:cubicBezTo>
                <a:cubicBezTo>
                  <a:pt x="370" y="671"/>
                  <a:pt x="373" y="675"/>
                  <a:pt x="372" y="677"/>
                </a:cubicBezTo>
                <a:cubicBezTo>
                  <a:pt x="371" y="678"/>
                  <a:pt x="368" y="676"/>
                  <a:pt x="366" y="677"/>
                </a:cubicBezTo>
                <a:close/>
                <a:moveTo>
                  <a:pt x="369" y="695"/>
                </a:moveTo>
                <a:cubicBezTo>
                  <a:pt x="369" y="694"/>
                  <a:pt x="371" y="694"/>
                  <a:pt x="371" y="695"/>
                </a:cubicBezTo>
                <a:cubicBezTo>
                  <a:pt x="372" y="696"/>
                  <a:pt x="369" y="696"/>
                  <a:pt x="369" y="695"/>
                </a:cubicBezTo>
                <a:close/>
                <a:moveTo>
                  <a:pt x="365" y="733"/>
                </a:moveTo>
                <a:cubicBezTo>
                  <a:pt x="365" y="731"/>
                  <a:pt x="367" y="731"/>
                  <a:pt x="368" y="732"/>
                </a:cubicBezTo>
                <a:cubicBezTo>
                  <a:pt x="369" y="733"/>
                  <a:pt x="365" y="733"/>
                  <a:pt x="365" y="733"/>
                </a:cubicBezTo>
                <a:close/>
                <a:moveTo>
                  <a:pt x="364" y="734"/>
                </a:moveTo>
                <a:cubicBezTo>
                  <a:pt x="365" y="734"/>
                  <a:pt x="366" y="734"/>
                  <a:pt x="366" y="734"/>
                </a:cubicBezTo>
                <a:cubicBezTo>
                  <a:pt x="367" y="736"/>
                  <a:pt x="363" y="735"/>
                  <a:pt x="364" y="734"/>
                </a:cubicBezTo>
                <a:close/>
                <a:moveTo>
                  <a:pt x="363" y="683"/>
                </a:moveTo>
                <a:cubicBezTo>
                  <a:pt x="365" y="682"/>
                  <a:pt x="364" y="684"/>
                  <a:pt x="363" y="683"/>
                </a:cubicBezTo>
                <a:close/>
                <a:moveTo>
                  <a:pt x="361" y="684"/>
                </a:moveTo>
                <a:cubicBezTo>
                  <a:pt x="360" y="685"/>
                  <a:pt x="360" y="682"/>
                  <a:pt x="361" y="684"/>
                </a:cubicBezTo>
                <a:close/>
                <a:moveTo>
                  <a:pt x="360" y="465"/>
                </a:moveTo>
                <a:cubicBezTo>
                  <a:pt x="360" y="465"/>
                  <a:pt x="361" y="466"/>
                  <a:pt x="361" y="466"/>
                </a:cubicBezTo>
                <a:cubicBezTo>
                  <a:pt x="362" y="468"/>
                  <a:pt x="358" y="466"/>
                  <a:pt x="360" y="465"/>
                </a:cubicBezTo>
                <a:close/>
                <a:moveTo>
                  <a:pt x="361" y="695"/>
                </a:moveTo>
                <a:cubicBezTo>
                  <a:pt x="360" y="696"/>
                  <a:pt x="361" y="694"/>
                  <a:pt x="361" y="695"/>
                </a:cubicBezTo>
                <a:close/>
                <a:moveTo>
                  <a:pt x="364" y="650"/>
                </a:moveTo>
                <a:cubicBezTo>
                  <a:pt x="365" y="652"/>
                  <a:pt x="361" y="651"/>
                  <a:pt x="362" y="649"/>
                </a:cubicBezTo>
                <a:cubicBezTo>
                  <a:pt x="363" y="649"/>
                  <a:pt x="364" y="650"/>
                  <a:pt x="364" y="650"/>
                </a:cubicBezTo>
                <a:close/>
                <a:moveTo>
                  <a:pt x="365" y="376"/>
                </a:moveTo>
                <a:cubicBezTo>
                  <a:pt x="363" y="376"/>
                  <a:pt x="364" y="373"/>
                  <a:pt x="365" y="376"/>
                </a:cubicBezTo>
                <a:close/>
                <a:moveTo>
                  <a:pt x="361" y="355"/>
                </a:moveTo>
                <a:cubicBezTo>
                  <a:pt x="362" y="354"/>
                  <a:pt x="363" y="356"/>
                  <a:pt x="363" y="357"/>
                </a:cubicBezTo>
                <a:cubicBezTo>
                  <a:pt x="362" y="356"/>
                  <a:pt x="362" y="356"/>
                  <a:pt x="361" y="355"/>
                </a:cubicBezTo>
                <a:close/>
                <a:moveTo>
                  <a:pt x="356" y="702"/>
                </a:moveTo>
                <a:cubicBezTo>
                  <a:pt x="359" y="702"/>
                  <a:pt x="356" y="704"/>
                  <a:pt x="356" y="702"/>
                </a:cubicBezTo>
                <a:close/>
                <a:moveTo>
                  <a:pt x="356" y="683"/>
                </a:moveTo>
                <a:cubicBezTo>
                  <a:pt x="356" y="682"/>
                  <a:pt x="357" y="683"/>
                  <a:pt x="357" y="683"/>
                </a:cubicBezTo>
                <a:cubicBezTo>
                  <a:pt x="358" y="684"/>
                  <a:pt x="355" y="683"/>
                  <a:pt x="356" y="683"/>
                </a:cubicBezTo>
                <a:close/>
                <a:moveTo>
                  <a:pt x="359" y="708"/>
                </a:moveTo>
                <a:cubicBezTo>
                  <a:pt x="360" y="710"/>
                  <a:pt x="356" y="709"/>
                  <a:pt x="356" y="708"/>
                </a:cubicBezTo>
                <a:cubicBezTo>
                  <a:pt x="356" y="707"/>
                  <a:pt x="359" y="707"/>
                  <a:pt x="359" y="708"/>
                </a:cubicBezTo>
                <a:close/>
                <a:moveTo>
                  <a:pt x="358" y="153"/>
                </a:moveTo>
                <a:cubicBezTo>
                  <a:pt x="356" y="152"/>
                  <a:pt x="359" y="153"/>
                  <a:pt x="358" y="153"/>
                </a:cubicBezTo>
                <a:close/>
                <a:moveTo>
                  <a:pt x="358" y="538"/>
                </a:moveTo>
                <a:cubicBezTo>
                  <a:pt x="358" y="539"/>
                  <a:pt x="357" y="539"/>
                  <a:pt x="357" y="539"/>
                </a:cubicBezTo>
                <a:cubicBezTo>
                  <a:pt x="356" y="538"/>
                  <a:pt x="357" y="537"/>
                  <a:pt x="358" y="538"/>
                </a:cubicBezTo>
                <a:close/>
                <a:moveTo>
                  <a:pt x="359" y="673"/>
                </a:moveTo>
                <a:cubicBezTo>
                  <a:pt x="360" y="674"/>
                  <a:pt x="356" y="674"/>
                  <a:pt x="356" y="673"/>
                </a:cubicBezTo>
                <a:cubicBezTo>
                  <a:pt x="357" y="673"/>
                  <a:pt x="358" y="672"/>
                  <a:pt x="359" y="673"/>
                </a:cubicBezTo>
                <a:close/>
                <a:moveTo>
                  <a:pt x="359" y="678"/>
                </a:moveTo>
                <a:cubicBezTo>
                  <a:pt x="359" y="678"/>
                  <a:pt x="356" y="681"/>
                  <a:pt x="355" y="681"/>
                </a:cubicBezTo>
                <a:cubicBezTo>
                  <a:pt x="354" y="682"/>
                  <a:pt x="349" y="681"/>
                  <a:pt x="349" y="680"/>
                </a:cubicBezTo>
                <a:cubicBezTo>
                  <a:pt x="348" y="680"/>
                  <a:pt x="348" y="677"/>
                  <a:pt x="348" y="675"/>
                </a:cubicBezTo>
                <a:cubicBezTo>
                  <a:pt x="349" y="674"/>
                  <a:pt x="352" y="674"/>
                  <a:pt x="355" y="675"/>
                </a:cubicBezTo>
                <a:cubicBezTo>
                  <a:pt x="356" y="675"/>
                  <a:pt x="359" y="677"/>
                  <a:pt x="359" y="678"/>
                </a:cubicBezTo>
                <a:close/>
                <a:moveTo>
                  <a:pt x="354" y="738"/>
                </a:moveTo>
                <a:cubicBezTo>
                  <a:pt x="355" y="738"/>
                  <a:pt x="356" y="738"/>
                  <a:pt x="356" y="739"/>
                </a:cubicBezTo>
                <a:cubicBezTo>
                  <a:pt x="357" y="741"/>
                  <a:pt x="353" y="739"/>
                  <a:pt x="354" y="738"/>
                </a:cubicBezTo>
                <a:close/>
                <a:moveTo>
                  <a:pt x="354" y="757"/>
                </a:moveTo>
                <a:cubicBezTo>
                  <a:pt x="354" y="757"/>
                  <a:pt x="356" y="757"/>
                  <a:pt x="356" y="757"/>
                </a:cubicBezTo>
                <a:cubicBezTo>
                  <a:pt x="357" y="759"/>
                  <a:pt x="353" y="759"/>
                  <a:pt x="354" y="757"/>
                </a:cubicBezTo>
                <a:close/>
                <a:moveTo>
                  <a:pt x="349" y="683"/>
                </a:moveTo>
                <a:cubicBezTo>
                  <a:pt x="350" y="681"/>
                  <a:pt x="354" y="683"/>
                  <a:pt x="354" y="685"/>
                </a:cubicBezTo>
                <a:cubicBezTo>
                  <a:pt x="355" y="688"/>
                  <a:pt x="347" y="685"/>
                  <a:pt x="349" y="683"/>
                </a:cubicBezTo>
                <a:close/>
                <a:moveTo>
                  <a:pt x="348" y="704"/>
                </a:moveTo>
                <a:cubicBezTo>
                  <a:pt x="350" y="703"/>
                  <a:pt x="349" y="705"/>
                  <a:pt x="348" y="704"/>
                </a:cubicBezTo>
                <a:close/>
                <a:moveTo>
                  <a:pt x="352" y="646"/>
                </a:moveTo>
                <a:cubicBezTo>
                  <a:pt x="355" y="644"/>
                  <a:pt x="355" y="648"/>
                  <a:pt x="352" y="646"/>
                </a:cubicBezTo>
                <a:close/>
                <a:moveTo>
                  <a:pt x="354" y="388"/>
                </a:moveTo>
                <a:cubicBezTo>
                  <a:pt x="354" y="388"/>
                  <a:pt x="355" y="389"/>
                  <a:pt x="355" y="389"/>
                </a:cubicBezTo>
                <a:cubicBezTo>
                  <a:pt x="355" y="390"/>
                  <a:pt x="354" y="389"/>
                  <a:pt x="354" y="388"/>
                </a:cubicBezTo>
                <a:close/>
                <a:moveTo>
                  <a:pt x="354" y="626"/>
                </a:moveTo>
                <a:cubicBezTo>
                  <a:pt x="354" y="629"/>
                  <a:pt x="352" y="631"/>
                  <a:pt x="350" y="630"/>
                </a:cubicBezTo>
                <a:cubicBezTo>
                  <a:pt x="350" y="630"/>
                  <a:pt x="349" y="629"/>
                  <a:pt x="349" y="629"/>
                </a:cubicBezTo>
                <a:cubicBezTo>
                  <a:pt x="348" y="630"/>
                  <a:pt x="348" y="632"/>
                  <a:pt x="346" y="632"/>
                </a:cubicBezTo>
                <a:cubicBezTo>
                  <a:pt x="343" y="632"/>
                  <a:pt x="342" y="629"/>
                  <a:pt x="341" y="626"/>
                </a:cubicBezTo>
                <a:cubicBezTo>
                  <a:pt x="341" y="626"/>
                  <a:pt x="340" y="625"/>
                  <a:pt x="339" y="624"/>
                </a:cubicBezTo>
                <a:cubicBezTo>
                  <a:pt x="340" y="625"/>
                  <a:pt x="339" y="621"/>
                  <a:pt x="340" y="621"/>
                </a:cubicBezTo>
                <a:cubicBezTo>
                  <a:pt x="340" y="621"/>
                  <a:pt x="341" y="621"/>
                  <a:pt x="341" y="621"/>
                </a:cubicBezTo>
                <a:cubicBezTo>
                  <a:pt x="342" y="621"/>
                  <a:pt x="341" y="619"/>
                  <a:pt x="342" y="619"/>
                </a:cubicBezTo>
                <a:cubicBezTo>
                  <a:pt x="348" y="618"/>
                  <a:pt x="354" y="623"/>
                  <a:pt x="354" y="626"/>
                </a:cubicBezTo>
                <a:close/>
                <a:moveTo>
                  <a:pt x="346" y="657"/>
                </a:moveTo>
                <a:cubicBezTo>
                  <a:pt x="347" y="656"/>
                  <a:pt x="348" y="658"/>
                  <a:pt x="346" y="657"/>
                </a:cubicBezTo>
                <a:close/>
                <a:moveTo>
                  <a:pt x="341" y="652"/>
                </a:moveTo>
                <a:cubicBezTo>
                  <a:pt x="342" y="652"/>
                  <a:pt x="344" y="653"/>
                  <a:pt x="344" y="653"/>
                </a:cubicBezTo>
                <a:cubicBezTo>
                  <a:pt x="344" y="655"/>
                  <a:pt x="340" y="654"/>
                  <a:pt x="341" y="652"/>
                </a:cubicBezTo>
                <a:close/>
                <a:moveTo>
                  <a:pt x="332" y="599"/>
                </a:moveTo>
                <a:cubicBezTo>
                  <a:pt x="331" y="600"/>
                  <a:pt x="329" y="598"/>
                  <a:pt x="328" y="598"/>
                </a:cubicBezTo>
                <a:cubicBezTo>
                  <a:pt x="330" y="597"/>
                  <a:pt x="331" y="599"/>
                  <a:pt x="332" y="599"/>
                </a:cubicBezTo>
                <a:close/>
                <a:moveTo>
                  <a:pt x="328" y="470"/>
                </a:moveTo>
                <a:cubicBezTo>
                  <a:pt x="328" y="470"/>
                  <a:pt x="329" y="470"/>
                  <a:pt x="329" y="471"/>
                </a:cubicBezTo>
                <a:cubicBezTo>
                  <a:pt x="330" y="473"/>
                  <a:pt x="326" y="471"/>
                  <a:pt x="328" y="470"/>
                </a:cubicBezTo>
                <a:close/>
                <a:moveTo>
                  <a:pt x="331" y="572"/>
                </a:moveTo>
                <a:cubicBezTo>
                  <a:pt x="331" y="573"/>
                  <a:pt x="331" y="573"/>
                  <a:pt x="331" y="573"/>
                </a:cubicBezTo>
                <a:cubicBezTo>
                  <a:pt x="331" y="573"/>
                  <a:pt x="331" y="573"/>
                  <a:pt x="331" y="573"/>
                </a:cubicBezTo>
                <a:cubicBezTo>
                  <a:pt x="331" y="572"/>
                  <a:pt x="331" y="572"/>
                  <a:pt x="331" y="572"/>
                </a:cubicBezTo>
                <a:close/>
                <a:moveTo>
                  <a:pt x="334" y="652"/>
                </a:moveTo>
                <a:cubicBezTo>
                  <a:pt x="335" y="654"/>
                  <a:pt x="331" y="654"/>
                  <a:pt x="331" y="652"/>
                </a:cubicBezTo>
                <a:cubicBezTo>
                  <a:pt x="332" y="651"/>
                  <a:pt x="333" y="652"/>
                  <a:pt x="334" y="652"/>
                </a:cubicBezTo>
                <a:close/>
                <a:moveTo>
                  <a:pt x="334" y="375"/>
                </a:moveTo>
                <a:cubicBezTo>
                  <a:pt x="333" y="374"/>
                  <a:pt x="334" y="377"/>
                  <a:pt x="334" y="375"/>
                </a:cubicBezTo>
                <a:close/>
                <a:moveTo>
                  <a:pt x="331" y="609"/>
                </a:moveTo>
                <a:cubicBezTo>
                  <a:pt x="332" y="609"/>
                  <a:pt x="332" y="611"/>
                  <a:pt x="331" y="609"/>
                </a:cubicBezTo>
                <a:close/>
                <a:moveTo>
                  <a:pt x="331" y="720"/>
                </a:moveTo>
                <a:cubicBezTo>
                  <a:pt x="336" y="719"/>
                  <a:pt x="336" y="723"/>
                  <a:pt x="331" y="720"/>
                </a:cubicBezTo>
                <a:close/>
                <a:moveTo>
                  <a:pt x="332" y="660"/>
                </a:moveTo>
                <a:cubicBezTo>
                  <a:pt x="333" y="659"/>
                  <a:pt x="335" y="661"/>
                  <a:pt x="337" y="662"/>
                </a:cubicBezTo>
                <a:cubicBezTo>
                  <a:pt x="335" y="663"/>
                  <a:pt x="333" y="661"/>
                  <a:pt x="332" y="660"/>
                </a:cubicBezTo>
                <a:close/>
                <a:moveTo>
                  <a:pt x="334" y="653"/>
                </a:moveTo>
                <a:cubicBezTo>
                  <a:pt x="334" y="651"/>
                  <a:pt x="339" y="651"/>
                  <a:pt x="339" y="653"/>
                </a:cubicBezTo>
                <a:cubicBezTo>
                  <a:pt x="340" y="657"/>
                  <a:pt x="334" y="655"/>
                  <a:pt x="334" y="653"/>
                </a:cubicBezTo>
                <a:close/>
                <a:moveTo>
                  <a:pt x="337" y="184"/>
                </a:moveTo>
                <a:cubicBezTo>
                  <a:pt x="338" y="185"/>
                  <a:pt x="336" y="183"/>
                  <a:pt x="337" y="184"/>
                </a:cubicBezTo>
                <a:close/>
                <a:moveTo>
                  <a:pt x="338" y="594"/>
                </a:moveTo>
                <a:cubicBezTo>
                  <a:pt x="339" y="594"/>
                  <a:pt x="337" y="594"/>
                  <a:pt x="337" y="594"/>
                </a:cubicBezTo>
                <a:cubicBezTo>
                  <a:pt x="337" y="593"/>
                  <a:pt x="338" y="593"/>
                  <a:pt x="338" y="594"/>
                </a:cubicBezTo>
                <a:close/>
                <a:moveTo>
                  <a:pt x="337" y="603"/>
                </a:moveTo>
                <a:cubicBezTo>
                  <a:pt x="338" y="605"/>
                  <a:pt x="334" y="603"/>
                  <a:pt x="335" y="602"/>
                </a:cubicBezTo>
                <a:cubicBezTo>
                  <a:pt x="336" y="601"/>
                  <a:pt x="337" y="602"/>
                  <a:pt x="337" y="603"/>
                </a:cubicBezTo>
                <a:close/>
                <a:moveTo>
                  <a:pt x="342" y="350"/>
                </a:moveTo>
                <a:cubicBezTo>
                  <a:pt x="343" y="353"/>
                  <a:pt x="337" y="349"/>
                  <a:pt x="339" y="348"/>
                </a:cubicBezTo>
                <a:cubicBezTo>
                  <a:pt x="340" y="347"/>
                  <a:pt x="342" y="350"/>
                  <a:pt x="342" y="350"/>
                </a:cubicBezTo>
                <a:close/>
                <a:moveTo>
                  <a:pt x="339" y="147"/>
                </a:moveTo>
                <a:cubicBezTo>
                  <a:pt x="340" y="146"/>
                  <a:pt x="343" y="150"/>
                  <a:pt x="340" y="149"/>
                </a:cubicBezTo>
                <a:cubicBezTo>
                  <a:pt x="340" y="148"/>
                  <a:pt x="339" y="148"/>
                  <a:pt x="339" y="147"/>
                </a:cubicBezTo>
                <a:close/>
                <a:moveTo>
                  <a:pt x="340" y="607"/>
                </a:moveTo>
                <a:cubicBezTo>
                  <a:pt x="343" y="607"/>
                  <a:pt x="340" y="609"/>
                  <a:pt x="340" y="607"/>
                </a:cubicBezTo>
                <a:close/>
                <a:moveTo>
                  <a:pt x="339" y="475"/>
                </a:moveTo>
                <a:cubicBezTo>
                  <a:pt x="340" y="474"/>
                  <a:pt x="341" y="475"/>
                  <a:pt x="341" y="475"/>
                </a:cubicBezTo>
                <a:cubicBezTo>
                  <a:pt x="342" y="477"/>
                  <a:pt x="339" y="476"/>
                  <a:pt x="339" y="475"/>
                </a:cubicBezTo>
                <a:close/>
                <a:moveTo>
                  <a:pt x="339" y="735"/>
                </a:moveTo>
                <a:cubicBezTo>
                  <a:pt x="340" y="735"/>
                  <a:pt x="340" y="736"/>
                  <a:pt x="339" y="735"/>
                </a:cubicBezTo>
                <a:cubicBezTo>
                  <a:pt x="339" y="735"/>
                  <a:pt x="339" y="735"/>
                  <a:pt x="339" y="735"/>
                </a:cubicBezTo>
                <a:close/>
                <a:moveTo>
                  <a:pt x="344" y="348"/>
                </a:moveTo>
                <a:cubicBezTo>
                  <a:pt x="344" y="348"/>
                  <a:pt x="343" y="346"/>
                  <a:pt x="344" y="347"/>
                </a:cubicBezTo>
                <a:cubicBezTo>
                  <a:pt x="344" y="347"/>
                  <a:pt x="345" y="348"/>
                  <a:pt x="344" y="348"/>
                </a:cubicBezTo>
                <a:close/>
                <a:moveTo>
                  <a:pt x="346" y="610"/>
                </a:moveTo>
                <a:cubicBezTo>
                  <a:pt x="345" y="612"/>
                  <a:pt x="344" y="609"/>
                  <a:pt x="342" y="609"/>
                </a:cubicBezTo>
                <a:cubicBezTo>
                  <a:pt x="344" y="608"/>
                  <a:pt x="345" y="610"/>
                  <a:pt x="346" y="610"/>
                </a:cubicBezTo>
                <a:close/>
                <a:moveTo>
                  <a:pt x="344" y="176"/>
                </a:moveTo>
                <a:cubicBezTo>
                  <a:pt x="343" y="176"/>
                  <a:pt x="343" y="176"/>
                  <a:pt x="342" y="175"/>
                </a:cubicBezTo>
                <a:cubicBezTo>
                  <a:pt x="341" y="174"/>
                  <a:pt x="344" y="174"/>
                  <a:pt x="344" y="176"/>
                </a:cubicBezTo>
                <a:close/>
                <a:moveTo>
                  <a:pt x="347" y="192"/>
                </a:moveTo>
                <a:cubicBezTo>
                  <a:pt x="347" y="192"/>
                  <a:pt x="347" y="192"/>
                  <a:pt x="347" y="192"/>
                </a:cubicBezTo>
                <a:cubicBezTo>
                  <a:pt x="347" y="192"/>
                  <a:pt x="347" y="192"/>
                  <a:pt x="347" y="192"/>
                </a:cubicBezTo>
                <a:close/>
                <a:moveTo>
                  <a:pt x="348" y="594"/>
                </a:moveTo>
                <a:cubicBezTo>
                  <a:pt x="348" y="593"/>
                  <a:pt x="349" y="594"/>
                  <a:pt x="349" y="594"/>
                </a:cubicBezTo>
                <a:cubicBezTo>
                  <a:pt x="350" y="596"/>
                  <a:pt x="347" y="595"/>
                  <a:pt x="348" y="594"/>
                </a:cubicBezTo>
                <a:close/>
                <a:moveTo>
                  <a:pt x="348" y="564"/>
                </a:moveTo>
                <a:cubicBezTo>
                  <a:pt x="349" y="563"/>
                  <a:pt x="351" y="564"/>
                  <a:pt x="351" y="565"/>
                </a:cubicBezTo>
                <a:cubicBezTo>
                  <a:pt x="352" y="569"/>
                  <a:pt x="347" y="566"/>
                  <a:pt x="348" y="564"/>
                </a:cubicBezTo>
                <a:close/>
                <a:moveTo>
                  <a:pt x="349" y="471"/>
                </a:moveTo>
                <a:cubicBezTo>
                  <a:pt x="350" y="472"/>
                  <a:pt x="349" y="470"/>
                  <a:pt x="349" y="471"/>
                </a:cubicBezTo>
                <a:close/>
                <a:moveTo>
                  <a:pt x="348" y="85"/>
                </a:moveTo>
                <a:cubicBezTo>
                  <a:pt x="349" y="85"/>
                  <a:pt x="350" y="87"/>
                  <a:pt x="351" y="87"/>
                </a:cubicBezTo>
                <a:cubicBezTo>
                  <a:pt x="350" y="87"/>
                  <a:pt x="349" y="86"/>
                  <a:pt x="348" y="85"/>
                </a:cubicBezTo>
                <a:close/>
                <a:moveTo>
                  <a:pt x="330" y="414"/>
                </a:moveTo>
                <a:cubicBezTo>
                  <a:pt x="331" y="414"/>
                  <a:pt x="331" y="415"/>
                  <a:pt x="330" y="416"/>
                </a:cubicBezTo>
                <a:cubicBezTo>
                  <a:pt x="325" y="416"/>
                  <a:pt x="329" y="409"/>
                  <a:pt x="330" y="414"/>
                </a:cubicBezTo>
                <a:close/>
                <a:moveTo>
                  <a:pt x="328" y="177"/>
                </a:moveTo>
                <a:cubicBezTo>
                  <a:pt x="328" y="176"/>
                  <a:pt x="329" y="178"/>
                  <a:pt x="328" y="177"/>
                </a:cubicBezTo>
                <a:close/>
                <a:moveTo>
                  <a:pt x="328" y="658"/>
                </a:moveTo>
                <a:cubicBezTo>
                  <a:pt x="327" y="658"/>
                  <a:pt x="326" y="657"/>
                  <a:pt x="326" y="657"/>
                </a:cubicBezTo>
                <a:cubicBezTo>
                  <a:pt x="327" y="657"/>
                  <a:pt x="327" y="657"/>
                  <a:pt x="328" y="658"/>
                </a:cubicBezTo>
                <a:close/>
                <a:moveTo>
                  <a:pt x="326" y="743"/>
                </a:moveTo>
                <a:cubicBezTo>
                  <a:pt x="325" y="744"/>
                  <a:pt x="324" y="742"/>
                  <a:pt x="326" y="743"/>
                </a:cubicBezTo>
                <a:close/>
                <a:moveTo>
                  <a:pt x="325" y="755"/>
                </a:moveTo>
                <a:cubicBezTo>
                  <a:pt x="325" y="755"/>
                  <a:pt x="326" y="755"/>
                  <a:pt x="326" y="756"/>
                </a:cubicBezTo>
                <a:cubicBezTo>
                  <a:pt x="326" y="758"/>
                  <a:pt x="324" y="753"/>
                  <a:pt x="325" y="755"/>
                </a:cubicBezTo>
                <a:close/>
                <a:moveTo>
                  <a:pt x="325" y="738"/>
                </a:moveTo>
                <a:cubicBezTo>
                  <a:pt x="325" y="737"/>
                  <a:pt x="327" y="737"/>
                  <a:pt x="327" y="738"/>
                </a:cubicBezTo>
                <a:cubicBezTo>
                  <a:pt x="328" y="739"/>
                  <a:pt x="326" y="738"/>
                  <a:pt x="325" y="738"/>
                </a:cubicBezTo>
                <a:close/>
                <a:moveTo>
                  <a:pt x="325" y="124"/>
                </a:moveTo>
                <a:cubicBezTo>
                  <a:pt x="325" y="124"/>
                  <a:pt x="325" y="124"/>
                  <a:pt x="325" y="124"/>
                </a:cubicBezTo>
                <a:cubicBezTo>
                  <a:pt x="323" y="123"/>
                  <a:pt x="328" y="123"/>
                  <a:pt x="325" y="124"/>
                </a:cubicBezTo>
                <a:close/>
                <a:moveTo>
                  <a:pt x="326" y="382"/>
                </a:moveTo>
                <a:cubicBezTo>
                  <a:pt x="326" y="383"/>
                  <a:pt x="325" y="381"/>
                  <a:pt x="326" y="382"/>
                </a:cubicBezTo>
                <a:close/>
                <a:moveTo>
                  <a:pt x="326" y="596"/>
                </a:moveTo>
                <a:cubicBezTo>
                  <a:pt x="327" y="597"/>
                  <a:pt x="323" y="595"/>
                  <a:pt x="324" y="595"/>
                </a:cubicBezTo>
                <a:cubicBezTo>
                  <a:pt x="325" y="594"/>
                  <a:pt x="326" y="596"/>
                  <a:pt x="326" y="596"/>
                </a:cubicBezTo>
                <a:close/>
                <a:moveTo>
                  <a:pt x="326" y="759"/>
                </a:moveTo>
                <a:cubicBezTo>
                  <a:pt x="327" y="760"/>
                  <a:pt x="323" y="760"/>
                  <a:pt x="324" y="758"/>
                </a:cubicBezTo>
                <a:cubicBezTo>
                  <a:pt x="324" y="758"/>
                  <a:pt x="326" y="758"/>
                  <a:pt x="326" y="759"/>
                </a:cubicBezTo>
                <a:close/>
                <a:moveTo>
                  <a:pt x="321" y="769"/>
                </a:moveTo>
                <a:cubicBezTo>
                  <a:pt x="321" y="768"/>
                  <a:pt x="323" y="769"/>
                  <a:pt x="323" y="769"/>
                </a:cubicBezTo>
                <a:cubicBezTo>
                  <a:pt x="323" y="770"/>
                  <a:pt x="322" y="769"/>
                  <a:pt x="321" y="769"/>
                </a:cubicBezTo>
                <a:close/>
                <a:moveTo>
                  <a:pt x="323" y="770"/>
                </a:moveTo>
                <a:cubicBezTo>
                  <a:pt x="324" y="768"/>
                  <a:pt x="330" y="767"/>
                  <a:pt x="330" y="770"/>
                </a:cubicBezTo>
                <a:cubicBezTo>
                  <a:pt x="330" y="773"/>
                  <a:pt x="323" y="772"/>
                  <a:pt x="323" y="770"/>
                </a:cubicBezTo>
                <a:close/>
                <a:moveTo>
                  <a:pt x="336" y="777"/>
                </a:moveTo>
                <a:cubicBezTo>
                  <a:pt x="337" y="778"/>
                  <a:pt x="335" y="776"/>
                  <a:pt x="336" y="777"/>
                </a:cubicBezTo>
                <a:close/>
                <a:moveTo>
                  <a:pt x="326" y="757"/>
                </a:moveTo>
                <a:cubicBezTo>
                  <a:pt x="327" y="757"/>
                  <a:pt x="326" y="754"/>
                  <a:pt x="326" y="755"/>
                </a:cubicBezTo>
                <a:cubicBezTo>
                  <a:pt x="326" y="753"/>
                  <a:pt x="333" y="752"/>
                  <a:pt x="335" y="754"/>
                </a:cubicBezTo>
                <a:cubicBezTo>
                  <a:pt x="335" y="754"/>
                  <a:pt x="336" y="757"/>
                  <a:pt x="337" y="757"/>
                </a:cubicBezTo>
                <a:cubicBezTo>
                  <a:pt x="336" y="758"/>
                  <a:pt x="328" y="759"/>
                  <a:pt x="326" y="757"/>
                </a:cubicBezTo>
                <a:close/>
                <a:moveTo>
                  <a:pt x="335" y="748"/>
                </a:moveTo>
                <a:cubicBezTo>
                  <a:pt x="335" y="747"/>
                  <a:pt x="337" y="747"/>
                  <a:pt x="337" y="748"/>
                </a:cubicBezTo>
                <a:cubicBezTo>
                  <a:pt x="338" y="749"/>
                  <a:pt x="336" y="749"/>
                  <a:pt x="335" y="748"/>
                </a:cubicBezTo>
                <a:close/>
                <a:moveTo>
                  <a:pt x="328" y="744"/>
                </a:moveTo>
                <a:cubicBezTo>
                  <a:pt x="328" y="743"/>
                  <a:pt x="329" y="742"/>
                  <a:pt x="329" y="741"/>
                </a:cubicBezTo>
                <a:cubicBezTo>
                  <a:pt x="329" y="742"/>
                  <a:pt x="332" y="740"/>
                  <a:pt x="332" y="740"/>
                </a:cubicBezTo>
                <a:cubicBezTo>
                  <a:pt x="334" y="740"/>
                  <a:pt x="339" y="741"/>
                  <a:pt x="337" y="745"/>
                </a:cubicBezTo>
                <a:cubicBezTo>
                  <a:pt x="336" y="748"/>
                  <a:pt x="329" y="746"/>
                  <a:pt x="328" y="744"/>
                </a:cubicBezTo>
                <a:close/>
                <a:moveTo>
                  <a:pt x="339" y="774"/>
                </a:moveTo>
                <a:cubicBezTo>
                  <a:pt x="339" y="773"/>
                  <a:pt x="337" y="773"/>
                  <a:pt x="337" y="772"/>
                </a:cubicBezTo>
                <a:cubicBezTo>
                  <a:pt x="338" y="770"/>
                  <a:pt x="344" y="770"/>
                  <a:pt x="344" y="772"/>
                </a:cubicBezTo>
                <a:cubicBezTo>
                  <a:pt x="345" y="775"/>
                  <a:pt x="339" y="775"/>
                  <a:pt x="339" y="774"/>
                </a:cubicBezTo>
                <a:close/>
                <a:moveTo>
                  <a:pt x="353" y="716"/>
                </a:moveTo>
                <a:cubicBezTo>
                  <a:pt x="351" y="716"/>
                  <a:pt x="346" y="715"/>
                  <a:pt x="345" y="713"/>
                </a:cubicBezTo>
                <a:cubicBezTo>
                  <a:pt x="348" y="714"/>
                  <a:pt x="350" y="715"/>
                  <a:pt x="353" y="716"/>
                </a:cubicBezTo>
                <a:close/>
                <a:moveTo>
                  <a:pt x="345" y="744"/>
                </a:moveTo>
                <a:cubicBezTo>
                  <a:pt x="345" y="743"/>
                  <a:pt x="348" y="743"/>
                  <a:pt x="348" y="744"/>
                </a:cubicBezTo>
                <a:cubicBezTo>
                  <a:pt x="349" y="745"/>
                  <a:pt x="345" y="744"/>
                  <a:pt x="345" y="744"/>
                </a:cubicBezTo>
                <a:close/>
                <a:moveTo>
                  <a:pt x="345" y="734"/>
                </a:moveTo>
                <a:cubicBezTo>
                  <a:pt x="346" y="733"/>
                  <a:pt x="349" y="733"/>
                  <a:pt x="349" y="735"/>
                </a:cubicBezTo>
                <a:cubicBezTo>
                  <a:pt x="350" y="737"/>
                  <a:pt x="345" y="735"/>
                  <a:pt x="345" y="734"/>
                </a:cubicBezTo>
                <a:close/>
                <a:moveTo>
                  <a:pt x="349" y="764"/>
                </a:moveTo>
                <a:cubicBezTo>
                  <a:pt x="349" y="763"/>
                  <a:pt x="350" y="763"/>
                  <a:pt x="350" y="764"/>
                </a:cubicBezTo>
                <a:cubicBezTo>
                  <a:pt x="351" y="764"/>
                  <a:pt x="349" y="765"/>
                  <a:pt x="349" y="764"/>
                </a:cubicBezTo>
                <a:close/>
                <a:moveTo>
                  <a:pt x="350" y="725"/>
                </a:moveTo>
                <a:cubicBezTo>
                  <a:pt x="350" y="724"/>
                  <a:pt x="353" y="724"/>
                  <a:pt x="354" y="725"/>
                </a:cubicBezTo>
                <a:cubicBezTo>
                  <a:pt x="355" y="727"/>
                  <a:pt x="350" y="727"/>
                  <a:pt x="350" y="725"/>
                </a:cubicBezTo>
                <a:close/>
                <a:moveTo>
                  <a:pt x="353" y="770"/>
                </a:moveTo>
                <a:cubicBezTo>
                  <a:pt x="353" y="769"/>
                  <a:pt x="358" y="767"/>
                  <a:pt x="359" y="769"/>
                </a:cubicBezTo>
                <a:cubicBezTo>
                  <a:pt x="359" y="772"/>
                  <a:pt x="354" y="771"/>
                  <a:pt x="353" y="770"/>
                </a:cubicBezTo>
                <a:close/>
                <a:moveTo>
                  <a:pt x="359" y="772"/>
                </a:moveTo>
                <a:cubicBezTo>
                  <a:pt x="359" y="772"/>
                  <a:pt x="359" y="771"/>
                  <a:pt x="360" y="771"/>
                </a:cubicBezTo>
                <a:cubicBezTo>
                  <a:pt x="360" y="771"/>
                  <a:pt x="359" y="772"/>
                  <a:pt x="359" y="772"/>
                </a:cubicBezTo>
                <a:close/>
                <a:moveTo>
                  <a:pt x="360" y="723"/>
                </a:moveTo>
                <a:cubicBezTo>
                  <a:pt x="360" y="723"/>
                  <a:pt x="360" y="723"/>
                  <a:pt x="360" y="723"/>
                </a:cubicBezTo>
                <a:cubicBezTo>
                  <a:pt x="360" y="723"/>
                  <a:pt x="359" y="722"/>
                  <a:pt x="360" y="723"/>
                </a:cubicBezTo>
                <a:close/>
                <a:moveTo>
                  <a:pt x="361" y="721"/>
                </a:moveTo>
                <a:cubicBezTo>
                  <a:pt x="363" y="719"/>
                  <a:pt x="365" y="722"/>
                  <a:pt x="361" y="721"/>
                </a:cubicBezTo>
                <a:close/>
                <a:moveTo>
                  <a:pt x="356" y="717"/>
                </a:moveTo>
                <a:cubicBezTo>
                  <a:pt x="358" y="718"/>
                  <a:pt x="362" y="717"/>
                  <a:pt x="364" y="719"/>
                </a:cubicBezTo>
                <a:cubicBezTo>
                  <a:pt x="367" y="721"/>
                  <a:pt x="356" y="719"/>
                  <a:pt x="356" y="717"/>
                </a:cubicBezTo>
                <a:close/>
                <a:moveTo>
                  <a:pt x="365" y="760"/>
                </a:moveTo>
                <a:cubicBezTo>
                  <a:pt x="364" y="760"/>
                  <a:pt x="365" y="759"/>
                  <a:pt x="366" y="760"/>
                </a:cubicBezTo>
                <a:cubicBezTo>
                  <a:pt x="366" y="760"/>
                  <a:pt x="365" y="760"/>
                  <a:pt x="365" y="760"/>
                </a:cubicBezTo>
                <a:close/>
                <a:moveTo>
                  <a:pt x="368" y="740"/>
                </a:moveTo>
                <a:cubicBezTo>
                  <a:pt x="368" y="740"/>
                  <a:pt x="369" y="739"/>
                  <a:pt x="369" y="740"/>
                </a:cubicBezTo>
                <a:cubicBezTo>
                  <a:pt x="370" y="741"/>
                  <a:pt x="368" y="741"/>
                  <a:pt x="368" y="740"/>
                </a:cubicBezTo>
                <a:close/>
                <a:moveTo>
                  <a:pt x="364" y="737"/>
                </a:moveTo>
                <a:cubicBezTo>
                  <a:pt x="364" y="735"/>
                  <a:pt x="369" y="735"/>
                  <a:pt x="369" y="737"/>
                </a:cubicBezTo>
                <a:cubicBezTo>
                  <a:pt x="371" y="739"/>
                  <a:pt x="364" y="738"/>
                  <a:pt x="364" y="737"/>
                </a:cubicBezTo>
                <a:close/>
                <a:moveTo>
                  <a:pt x="370" y="740"/>
                </a:moveTo>
                <a:cubicBezTo>
                  <a:pt x="370" y="739"/>
                  <a:pt x="372" y="739"/>
                  <a:pt x="373" y="740"/>
                </a:cubicBezTo>
                <a:cubicBezTo>
                  <a:pt x="374" y="741"/>
                  <a:pt x="370" y="741"/>
                  <a:pt x="370" y="740"/>
                </a:cubicBezTo>
                <a:close/>
                <a:moveTo>
                  <a:pt x="371" y="748"/>
                </a:moveTo>
                <a:cubicBezTo>
                  <a:pt x="371" y="748"/>
                  <a:pt x="372" y="747"/>
                  <a:pt x="373" y="748"/>
                </a:cubicBezTo>
                <a:cubicBezTo>
                  <a:pt x="374" y="750"/>
                  <a:pt x="371" y="749"/>
                  <a:pt x="371" y="748"/>
                </a:cubicBezTo>
                <a:close/>
                <a:moveTo>
                  <a:pt x="373" y="754"/>
                </a:moveTo>
                <a:cubicBezTo>
                  <a:pt x="373" y="753"/>
                  <a:pt x="375" y="755"/>
                  <a:pt x="373" y="754"/>
                </a:cubicBezTo>
                <a:close/>
                <a:moveTo>
                  <a:pt x="375" y="726"/>
                </a:moveTo>
                <a:cubicBezTo>
                  <a:pt x="376" y="725"/>
                  <a:pt x="376" y="728"/>
                  <a:pt x="375" y="726"/>
                </a:cubicBezTo>
                <a:close/>
                <a:moveTo>
                  <a:pt x="375" y="708"/>
                </a:moveTo>
                <a:cubicBezTo>
                  <a:pt x="378" y="708"/>
                  <a:pt x="375" y="710"/>
                  <a:pt x="375" y="708"/>
                </a:cubicBezTo>
                <a:close/>
                <a:moveTo>
                  <a:pt x="376" y="704"/>
                </a:moveTo>
                <a:cubicBezTo>
                  <a:pt x="377" y="703"/>
                  <a:pt x="380" y="704"/>
                  <a:pt x="380" y="706"/>
                </a:cubicBezTo>
                <a:cubicBezTo>
                  <a:pt x="381" y="709"/>
                  <a:pt x="375" y="706"/>
                  <a:pt x="376" y="704"/>
                </a:cubicBezTo>
                <a:close/>
                <a:moveTo>
                  <a:pt x="380" y="746"/>
                </a:moveTo>
                <a:cubicBezTo>
                  <a:pt x="380" y="747"/>
                  <a:pt x="378" y="746"/>
                  <a:pt x="379" y="746"/>
                </a:cubicBezTo>
                <a:cubicBezTo>
                  <a:pt x="380" y="745"/>
                  <a:pt x="380" y="746"/>
                  <a:pt x="380" y="746"/>
                </a:cubicBezTo>
                <a:close/>
                <a:moveTo>
                  <a:pt x="378" y="716"/>
                </a:moveTo>
                <a:cubicBezTo>
                  <a:pt x="378" y="716"/>
                  <a:pt x="378" y="715"/>
                  <a:pt x="379" y="715"/>
                </a:cubicBezTo>
                <a:cubicBezTo>
                  <a:pt x="382" y="714"/>
                  <a:pt x="380" y="718"/>
                  <a:pt x="378" y="716"/>
                </a:cubicBezTo>
                <a:close/>
                <a:moveTo>
                  <a:pt x="380" y="749"/>
                </a:moveTo>
                <a:cubicBezTo>
                  <a:pt x="380" y="749"/>
                  <a:pt x="381" y="748"/>
                  <a:pt x="382" y="748"/>
                </a:cubicBezTo>
                <a:cubicBezTo>
                  <a:pt x="383" y="749"/>
                  <a:pt x="380" y="750"/>
                  <a:pt x="380" y="749"/>
                </a:cubicBezTo>
                <a:close/>
                <a:moveTo>
                  <a:pt x="381" y="734"/>
                </a:moveTo>
                <a:cubicBezTo>
                  <a:pt x="382" y="734"/>
                  <a:pt x="383" y="734"/>
                  <a:pt x="383" y="735"/>
                </a:cubicBezTo>
                <a:cubicBezTo>
                  <a:pt x="384" y="738"/>
                  <a:pt x="378" y="736"/>
                  <a:pt x="381" y="734"/>
                </a:cubicBezTo>
                <a:close/>
                <a:moveTo>
                  <a:pt x="384" y="754"/>
                </a:moveTo>
                <a:cubicBezTo>
                  <a:pt x="384" y="754"/>
                  <a:pt x="384" y="754"/>
                  <a:pt x="385" y="754"/>
                </a:cubicBezTo>
                <a:cubicBezTo>
                  <a:pt x="385" y="755"/>
                  <a:pt x="384" y="755"/>
                  <a:pt x="384" y="754"/>
                </a:cubicBezTo>
                <a:close/>
                <a:moveTo>
                  <a:pt x="386" y="712"/>
                </a:moveTo>
                <a:cubicBezTo>
                  <a:pt x="386" y="712"/>
                  <a:pt x="386" y="712"/>
                  <a:pt x="386" y="712"/>
                </a:cubicBezTo>
                <a:cubicBezTo>
                  <a:pt x="388" y="712"/>
                  <a:pt x="387" y="713"/>
                  <a:pt x="386" y="712"/>
                </a:cubicBezTo>
                <a:close/>
                <a:moveTo>
                  <a:pt x="387" y="722"/>
                </a:moveTo>
                <a:cubicBezTo>
                  <a:pt x="387" y="722"/>
                  <a:pt x="390" y="721"/>
                  <a:pt x="390" y="723"/>
                </a:cubicBezTo>
                <a:cubicBezTo>
                  <a:pt x="390" y="724"/>
                  <a:pt x="388" y="723"/>
                  <a:pt x="387" y="722"/>
                </a:cubicBezTo>
                <a:close/>
                <a:moveTo>
                  <a:pt x="389" y="709"/>
                </a:moveTo>
                <a:cubicBezTo>
                  <a:pt x="387" y="709"/>
                  <a:pt x="387" y="707"/>
                  <a:pt x="389" y="709"/>
                </a:cubicBezTo>
                <a:close/>
                <a:moveTo>
                  <a:pt x="391" y="719"/>
                </a:moveTo>
                <a:cubicBezTo>
                  <a:pt x="391" y="719"/>
                  <a:pt x="391" y="720"/>
                  <a:pt x="391" y="720"/>
                </a:cubicBezTo>
                <a:cubicBezTo>
                  <a:pt x="390" y="720"/>
                  <a:pt x="391" y="719"/>
                  <a:pt x="391" y="719"/>
                </a:cubicBezTo>
                <a:close/>
                <a:moveTo>
                  <a:pt x="391" y="736"/>
                </a:moveTo>
                <a:cubicBezTo>
                  <a:pt x="389" y="735"/>
                  <a:pt x="393" y="737"/>
                  <a:pt x="391" y="736"/>
                </a:cubicBezTo>
                <a:close/>
                <a:moveTo>
                  <a:pt x="390" y="565"/>
                </a:moveTo>
                <a:cubicBezTo>
                  <a:pt x="391" y="567"/>
                  <a:pt x="389" y="563"/>
                  <a:pt x="390" y="565"/>
                </a:cubicBezTo>
                <a:close/>
                <a:moveTo>
                  <a:pt x="390" y="396"/>
                </a:moveTo>
                <a:cubicBezTo>
                  <a:pt x="389" y="395"/>
                  <a:pt x="391" y="397"/>
                  <a:pt x="390" y="396"/>
                </a:cubicBezTo>
                <a:close/>
                <a:moveTo>
                  <a:pt x="398" y="675"/>
                </a:moveTo>
                <a:cubicBezTo>
                  <a:pt x="398" y="675"/>
                  <a:pt x="397" y="676"/>
                  <a:pt x="397" y="677"/>
                </a:cubicBezTo>
                <a:cubicBezTo>
                  <a:pt x="397" y="679"/>
                  <a:pt x="403" y="680"/>
                  <a:pt x="405" y="682"/>
                </a:cubicBezTo>
                <a:cubicBezTo>
                  <a:pt x="408" y="684"/>
                  <a:pt x="411" y="686"/>
                  <a:pt x="413" y="688"/>
                </a:cubicBezTo>
                <a:cubicBezTo>
                  <a:pt x="407" y="687"/>
                  <a:pt x="401" y="679"/>
                  <a:pt x="396" y="677"/>
                </a:cubicBezTo>
                <a:cubicBezTo>
                  <a:pt x="392" y="676"/>
                  <a:pt x="389" y="677"/>
                  <a:pt x="390" y="671"/>
                </a:cubicBezTo>
                <a:cubicBezTo>
                  <a:pt x="392" y="673"/>
                  <a:pt x="397" y="671"/>
                  <a:pt x="398" y="675"/>
                </a:cubicBezTo>
                <a:close/>
                <a:moveTo>
                  <a:pt x="391" y="523"/>
                </a:moveTo>
                <a:cubicBezTo>
                  <a:pt x="392" y="523"/>
                  <a:pt x="392" y="524"/>
                  <a:pt x="393" y="525"/>
                </a:cubicBezTo>
                <a:cubicBezTo>
                  <a:pt x="392" y="525"/>
                  <a:pt x="391" y="523"/>
                  <a:pt x="391" y="523"/>
                </a:cubicBezTo>
                <a:close/>
                <a:moveTo>
                  <a:pt x="402" y="645"/>
                </a:moveTo>
                <a:cubicBezTo>
                  <a:pt x="402" y="646"/>
                  <a:pt x="397" y="644"/>
                  <a:pt x="398" y="644"/>
                </a:cubicBezTo>
                <a:cubicBezTo>
                  <a:pt x="399" y="643"/>
                  <a:pt x="401" y="645"/>
                  <a:pt x="402" y="645"/>
                </a:cubicBezTo>
                <a:close/>
                <a:moveTo>
                  <a:pt x="401" y="387"/>
                </a:moveTo>
                <a:cubicBezTo>
                  <a:pt x="402" y="388"/>
                  <a:pt x="400" y="385"/>
                  <a:pt x="401" y="387"/>
                </a:cubicBezTo>
                <a:close/>
                <a:moveTo>
                  <a:pt x="408" y="130"/>
                </a:moveTo>
                <a:cubicBezTo>
                  <a:pt x="407" y="131"/>
                  <a:pt x="406" y="130"/>
                  <a:pt x="406" y="129"/>
                </a:cubicBezTo>
                <a:cubicBezTo>
                  <a:pt x="407" y="129"/>
                  <a:pt x="407" y="130"/>
                  <a:pt x="408" y="130"/>
                </a:cubicBezTo>
                <a:close/>
                <a:moveTo>
                  <a:pt x="406" y="94"/>
                </a:moveTo>
                <a:cubicBezTo>
                  <a:pt x="407" y="94"/>
                  <a:pt x="407" y="94"/>
                  <a:pt x="408" y="95"/>
                </a:cubicBezTo>
                <a:cubicBezTo>
                  <a:pt x="407" y="95"/>
                  <a:pt x="406" y="95"/>
                  <a:pt x="406" y="94"/>
                </a:cubicBezTo>
                <a:close/>
                <a:moveTo>
                  <a:pt x="412" y="602"/>
                </a:moveTo>
                <a:cubicBezTo>
                  <a:pt x="413" y="605"/>
                  <a:pt x="408" y="603"/>
                  <a:pt x="407" y="602"/>
                </a:cubicBezTo>
                <a:cubicBezTo>
                  <a:pt x="407" y="599"/>
                  <a:pt x="412" y="600"/>
                  <a:pt x="412" y="602"/>
                </a:cubicBezTo>
                <a:close/>
                <a:moveTo>
                  <a:pt x="409" y="131"/>
                </a:moveTo>
                <a:cubicBezTo>
                  <a:pt x="409" y="132"/>
                  <a:pt x="408" y="130"/>
                  <a:pt x="409" y="131"/>
                </a:cubicBezTo>
                <a:close/>
                <a:moveTo>
                  <a:pt x="421" y="663"/>
                </a:moveTo>
                <a:cubicBezTo>
                  <a:pt x="423" y="664"/>
                  <a:pt x="437" y="669"/>
                  <a:pt x="438" y="671"/>
                </a:cubicBezTo>
                <a:cubicBezTo>
                  <a:pt x="438" y="673"/>
                  <a:pt x="434" y="671"/>
                  <a:pt x="433" y="670"/>
                </a:cubicBezTo>
                <a:cubicBezTo>
                  <a:pt x="431" y="669"/>
                  <a:pt x="417" y="663"/>
                  <a:pt x="417" y="661"/>
                </a:cubicBezTo>
                <a:cubicBezTo>
                  <a:pt x="416" y="659"/>
                  <a:pt x="421" y="663"/>
                  <a:pt x="421" y="663"/>
                </a:cubicBezTo>
                <a:close/>
                <a:moveTo>
                  <a:pt x="420" y="624"/>
                </a:moveTo>
                <a:cubicBezTo>
                  <a:pt x="420" y="623"/>
                  <a:pt x="421" y="624"/>
                  <a:pt x="421" y="625"/>
                </a:cubicBezTo>
                <a:cubicBezTo>
                  <a:pt x="421" y="626"/>
                  <a:pt x="419" y="624"/>
                  <a:pt x="420" y="624"/>
                </a:cubicBezTo>
                <a:close/>
                <a:moveTo>
                  <a:pt x="422" y="659"/>
                </a:moveTo>
                <a:cubicBezTo>
                  <a:pt x="422" y="659"/>
                  <a:pt x="423" y="659"/>
                  <a:pt x="423" y="659"/>
                </a:cubicBezTo>
                <a:cubicBezTo>
                  <a:pt x="423" y="661"/>
                  <a:pt x="421" y="659"/>
                  <a:pt x="422" y="659"/>
                </a:cubicBezTo>
                <a:close/>
                <a:moveTo>
                  <a:pt x="435" y="515"/>
                </a:moveTo>
                <a:cubicBezTo>
                  <a:pt x="435" y="516"/>
                  <a:pt x="435" y="517"/>
                  <a:pt x="436" y="518"/>
                </a:cubicBezTo>
                <a:cubicBezTo>
                  <a:pt x="437" y="521"/>
                  <a:pt x="441" y="526"/>
                  <a:pt x="445" y="530"/>
                </a:cubicBezTo>
                <a:cubicBezTo>
                  <a:pt x="448" y="533"/>
                  <a:pt x="451" y="534"/>
                  <a:pt x="453" y="537"/>
                </a:cubicBezTo>
                <a:cubicBezTo>
                  <a:pt x="453" y="537"/>
                  <a:pt x="453" y="538"/>
                  <a:pt x="453" y="539"/>
                </a:cubicBezTo>
                <a:cubicBezTo>
                  <a:pt x="452" y="539"/>
                  <a:pt x="447" y="534"/>
                  <a:pt x="446" y="532"/>
                </a:cubicBezTo>
                <a:cubicBezTo>
                  <a:pt x="444" y="530"/>
                  <a:pt x="442" y="528"/>
                  <a:pt x="440" y="526"/>
                </a:cubicBezTo>
                <a:cubicBezTo>
                  <a:pt x="438" y="524"/>
                  <a:pt x="437" y="519"/>
                  <a:pt x="434" y="518"/>
                </a:cubicBezTo>
                <a:cubicBezTo>
                  <a:pt x="434" y="518"/>
                  <a:pt x="432" y="519"/>
                  <a:pt x="431" y="519"/>
                </a:cubicBezTo>
                <a:cubicBezTo>
                  <a:pt x="427" y="517"/>
                  <a:pt x="431" y="510"/>
                  <a:pt x="435" y="515"/>
                </a:cubicBezTo>
                <a:close/>
                <a:moveTo>
                  <a:pt x="434" y="370"/>
                </a:moveTo>
                <a:cubicBezTo>
                  <a:pt x="435" y="370"/>
                  <a:pt x="436" y="372"/>
                  <a:pt x="436" y="373"/>
                </a:cubicBezTo>
                <a:cubicBezTo>
                  <a:pt x="435" y="373"/>
                  <a:pt x="435" y="371"/>
                  <a:pt x="434" y="370"/>
                </a:cubicBezTo>
                <a:close/>
                <a:moveTo>
                  <a:pt x="437" y="135"/>
                </a:moveTo>
                <a:cubicBezTo>
                  <a:pt x="437" y="135"/>
                  <a:pt x="438" y="135"/>
                  <a:pt x="438" y="136"/>
                </a:cubicBezTo>
                <a:cubicBezTo>
                  <a:pt x="438" y="136"/>
                  <a:pt x="437" y="136"/>
                  <a:pt x="437" y="135"/>
                </a:cubicBezTo>
                <a:close/>
                <a:moveTo>
                  <a:pt x="448" y="408"/>
                </a:moveTo>
                <a:cubicBezTo>
                  <a:pt x="449" y="411"/>
                  <a:pt x="445" y="407"/>
                  <a:pt x="446" y="406"/>
                </a:cubicBezTo>
                <a:cubicBezTo>
                  <a:pt x="447" y="406"/>
                  <a:pt x="448" y="408"/>
                  <a:pt x="448" y="408"/>
                </a:cubicBezTo>
                <a:close/>
                <a:moveTo>
                  <a:pt x="448" y="167"/>
                </a:moveTo>
                <a:cubicBezTo>
                  <a:pt x="449" y="168"/>
                  <a:pt x="446" y="166"/>
                  <a:pt x="448" y="167"/>
                </a:cubicBezTo>
                <a:close/>
                <a:moveTo>
                  <a:pt x="447" y="435"/>
                </a:moveTo>
                <a:cubicBezTo>
                  <a:pt x="448" y="435"/>
                  <a:pt x="449" y="436"/>
                  <a:pt x="449" y="438"/>
                </a:cubicBezTo>
                <a:cubicBezTo>
                  <a:pt x="449" y="439"/>
                  <a:pt x="448" y="440"/>
                  <a:pt x="447" y="440"/>
                </a:cubicBezTo>
                <a:cubicBezTo>
                  <a:pt x="442" y="441"/>
                  <a:pt x="444" y="433"/>
                  <a:pt x="447" y="435"/>
                </a:cubicBezTo>
                <a:close/>
                <a:moveTo>
                  <a:pt x="446" y="515"/>
                </a:moveTo>
                <a:cubicBezTo>
                  <a:pt x="446" y="514"/>
                  <a:pt x="446" y="515"/>
                  <a:pt x="446" y="515"/>
                </a:cubicBezTo>
                <a:close/>
                <a:moveTo>
                  <a:pt x="445" y="441"/>
                </a:moveTo>
                <a:cubicBezTo>
                  <a:pt x="445" y="443"/>
                  <a:pt x="444" y="439"/>
                  <a:pt x="445" y="441"/>
                </a:cubicBezTo>
                <a:close/>
                <a:moveTo>
                  <a:pt x="445" y="494"/>
                </a:moveTo>
                <a:cubicBezTo>
                  <a:pt x="445" y="494"/>
                  <a:pt x="444" y="495"/>
                  <a:pt x="444" y="495"/>
                </a:cubicBezTo>
                <a:cubicBezTo>
                  <a:pt x="443" y="494"/>
                  <a:pt x="444" y="493"/>
                  <a:pt x="445" y="494"/>
                </a:cubicBezTo>
                <a:close/>
                <a:moveTo>
                  <a:pt x="452" y="150"/>
                </a:moveTo>
                <a:cubicBezTo>
                  <a:pt x="452" y="150"/>
                  <a:pt x="452" y="150"/>
                  <a:pt x="452" y="150"/>
                </a:cubicBezTo>
                <a:cubicBezTo>
                  <a:pt x="452" y="150"/>
                  <a:pt x="452" y="150"/>
                  <a:pt x="452" y="150"/>
                </a:cubicBezTo>
                <a:cubicBezTo>
                  <a:pt x="452" y="150"/>
                  <a:pt x="452" y="150"/>
                  <a:pt x="452" y="150"/>
                </a:cubicBezTo>
                <a:close/>
                <a:moveTo>
                  <a:pt x="456" y="548"/>
                </a:moveTo>
                <a:cubicBezTo>
                  <a:pt x="455" y="548"/>
                  <a:pt x="454" y="546"/>
                  <a:pt x="454" y="546"/>
                </a:cubicBezTo>
                <a:cubicBezTo>
                  <a:pt x="455" y="546"/>
                  <a:pt x="455" y="547"/>
                  <a:pt x="456" y="548"/>
                </a:cubicBezTo>
                <a:close/>
                <a:moveTo>
                  <a:pt x="454" y="436"/>
                </a:moveTo>
                <a:cubicBezTo>
                  <a:pt x="454" y="436"/>
                  <a:pt x="454" y="436"/>
                  <a:pt x="454" y="436"/>
                </a:cubicBezTo>
                <a:cubicBezTo>
                  <a:pt x="455" y="437"/>
                  <a:pt x="454" y="436"/>
                  <a:pt x="454" y="436"/>
                </a:cubicBezTo>
                <a:close/>
                <a:moveTo>
                  <a:pt x="459" y="622"/>
                </a:moveTo>
                <a:cubicBezTo>
                  <a:pt x="459" y="623"/>
                  <a:pt x="459" y="624"/>
                  <a:pt x="457" y="623"/>
                </a:cubicBezTo>
                <a:cubicBezTo>
                  <a:pt x="455" y="622"/>
                  <a:pt x="448" y="615"/>
                  <a:pt x="448" y="614"/>
                </a:cubicBezTo>
                <a:cubicBezTo>
                  <a:pt x="450" y="613"/>
                  <a:pt x="451" y="617"/>
                  <a:pt x="452" y="617"/>
                </a:cubicBezTo>
                <a:cubicBezTo>
                  <a:pt x="454" y="619"/>
                  <a:pt x="459" y="619"/>
                  <a:pt x="459" y="622"/>
                </a:cubicBezTo>
                <a:close/>
                <a:moveTo>
                  <a:pt x="458" y="565"/>
                </a:moveTo>
                <a:cubicBezTo>
                  <a:pt x="456" y="564"/>
                  <a:pt x="457" y="563"/>
                  <a:pt x="458" y="565"/>
                </a:cubicBezTo>
                <a:close/>
                <a:moveTo>
                  <a:pt x="459" y="565"/>
                </a:moveTo>
                <a:cubicBezTo>
                  <a:pt x="460" y="565"/>
                  <a:pt x="458" y="567"/>
                  <a:pt x="459" y="565"/>
                </a:cubicBezTo>
                <a:close/>
                <a:moveTo>
                  <a:pt x="459" y="642"/>
                </a:moveTo>
                <a:cubicBezTo>
                  <a:pt x="459" y="642"/>
                  <a:pt x="458" y="641"/>
                  <a:pt x="458" y="641"/>
                </a:cubicBezTo>
                <a:cubicBezTo>
                  <a:pt x="458" y="640"/>
                  <a:pt x="459" y="641"/>
                  <a:pt x="459" y="642"/>
                </a:cubicBezTo>
                <a:close/>
                <a:moveTo>
                  <a:pt x="454" y="648"/>
                </a:moveTo>
                <a:cubicBezTo>
                  <a:pt x="455" y="648"/>
                  <a:pt x="457" y="649"/>
                  <a:pt x="457" y="649"/>
                </a:cubicBezTo>
                <a:cubicBezTo>
                  <a:pt x="458" y="652"/>
                  <a:pt x="453" y="650"/>
                  <a:pt x="454" y="648"/>
                </a:cubicBezTo>
                <a:close/>
                <a:moveTo>
                  <a:pt x="454" y="659"/>
                </a:moveTo>
                <a:cubicBezTo>
                  <a:pt x="454" y="659"/>
                  <a:pt x="455" y="658"/>
                  <a:pt x="456" y="659"/>
                </a:cubicBezTo>
                <a:cubicBezTo>
                  <a:pt x="457" y="659"/>
                  <a:pt x="455" y="660"/>
                  <a:pt x="454" y="659"/>
                </a:cubicBezTo>
                <a:close/>
                <a:moveTo>
                  <a:pt x="452" y="632"/>
                </a:moveTo>
                <a:cubicBezTo>
                  <a:pt x="452" y="632"/>
                  <a:pt x="453" y="632"/>
                  <a:pt x="453" y="633"/>
                </a:cubicBezTo>
                <a:cubicBezTo>
                  <a:pt x="454" y="635"/>
                  <a:pt x="450" y="634"/>
                  <a:pt x="452" y="632"/>
                </a:cubicBezTo>
                <a:close/>
                <a:moveTo>
                  <a:pt x="449" y="622"/>
                </a:moveTo>
                <a:cubicBezTo>
                  <a:pt x="449" y="622"/>
                  <a:pt x="450" y="622"/>
                  <a:pt x="450" y="623"/>
                </a:cubicBezTo>
                <a:cubicBezTo>
                  <a:pt x="451" y="624"/>
                  <a:pt x="449" y="623"/>
                  <a:pt x="449" y="622"/>
                </a:cubicBezTo>
                <a:close/>
                <a:moveTo>
                  <a:pt x="446" y="640"/>
                </a:moveTo>
                <a:cubicBezTo>
                  <a:pt x="446" y="640"/>
                  <a:pt x="444" y="639"/>
                  <a:pt x="444" y="639"/>
                </a:cubicBezTo>
                <a:cubicBezTo>
                  <a:pt x="445" y="639"/>
                  <a:pt x="446" y="640"/>
                  <a:pt x="446" y="640"/>
                </a:cubicBezTo>
                <a:close/>
                <a:moveTo>
                  <a:pt x="445" y="602"/>
                </a:moveTo>
                <a:cubicBezTo>
                  <a:pt x="447" y="601"/>
                  <a:pt x="447" y="603"/>
                  <a:pt x="445" y="602"/>
                </a:cubicBezTo>
                <a:close/>
                <a:moveTo>
                  <a:pt x="444" y="571"/>
                </a:moveTo>
                <a:cubicBezTo>
                  <a:pt x="446" y="569"/>
                  <a:pt x="449" y="573"/>
                  <a:pt x="449" y="574"/>
                </a:cubicBezTo>
                <a:cubicBezTo>
                  <a:pt x="449" y="579"/>
                  <a:pt x="441" y="574"/>
                  <a:pt x="444" y="571"/>
                </a:cubicBezTo>
                <a:close/>
                <a:moveTo>
                  <a:pt x="429" y="648"/>
                </a:moveTo>
                <a:cubicBezTo>
                  <a:pt x="432" y="648"/>
                  <a:pt x="434" y="647"/>
                  <a:pt x="436" y="649"/>
                </a:cubicBezTo>
                <a:cubicBezTo>
                  <a:pt x="437" y="650"/>
                  <a:pt x="437" y="652"/>
                  <a:pt x="437" y="652"/>
                </a:cubicBezTo>
                <a:cubicBezTo>
                  <a:pt x="438" y="654"/>
                  <a:pt x="441" y="652"/>
                  <a:pt x="442" y="654"/>
                </a:cubicBezTo>
                <a:cubicBezTo>
                  <a:pt x="443" y="657"/>
                  <a:pt x="439" y="658"/>
                  <a:pt x="439" y="658"/>
                </a:cubicBezTo>
                <a:cubicBezTo>
                  <a:pt x="436" y="659"/>
                  <a:pt x="435" y="653"/>
                  <a:pt x="431" y="654"/>
                </a:cubicBezTo>
                <a:cubicBezTo>
                  <a:pt x="430" y="654"/>
                  <a:pt x="429" y="655"/>
                  <a:pt x="428" y="654"/>
                </a:cubicBezTo>
                <a:cubicBezTo>
                  <a:pt x="432" y="653"/>
                  <a:pt x="424" y="648"/>
                  <a:pt x="429" y="648"/>
                </a:cubicBezTo>
                <a:close/>
                <a:moveTo>
                  <a:pt x="428" y="646"/>
                </a:moveTo>
                <a:cubicBezTo>
                  <a:pt x="428" y="646"/>
                  <a:pt x="428" y="646"/>
                  <a:pt x="428" y="646"/>
                </a:cubicBezTo>
                <a:cubicBezTo>
                  <a:pt x="430" y="647"/>
                  <a:pt x="426" y="646"/>
                  <a:pt x="428" y="646"/>
                </a:cubicBezTo>
                <a:close/>
                <a:moveTo>
                  <a:pt x="426" y="638"/>
                </a:moveTo>
                <a:cubicBezTo>
                  <a:pt x="427" y="637"/>
                  <a:pt x="427" y="638"/>
                  <a:pt x="427" y="638"/>
                </a:cubicBezTo>
                <a:cubicBezTo>
                  <a:pt x="428" y="639"/>
                  <a:pt x="426" y="639"/>
                  <a:pt x="426" y="638"/>
                </a:cubicBezTo>
                <a:close/>
                <a:moveTo>
                  <a:pt x="429" y="628"/>
                </a:moveTo>
                <a:cubicBezTo>
                  <a:pt x="429" y="627"/>
                  <a:pt x="431" y="628"/>
                  <a:pt x="432" y="627"/>
                </a:cubicBezTo>
                <a:cubicBezTo>
                  <a:pt x="433" y="625"/>
                  <a:pt x="437" y="628"/>
                  <a:pt x="437" y="630"/>
                </a:cubicBezTo>
                <a:cubicBezTo>
                  <a:pt x="437" y="634"/>
                  <a:pt x="435" y="632"/>
                  <a:pt x="433" y="633"/>
                </a:cubicBezTo>
                <a:cubicBezTo>
                  <a:pt x="434" y="633"/>
                  <a:pt x="432" y="634"/>
                  <a:pt x="432" y="634"/>
                </a:cubicBezTo>
                <a:cubicBezTo>
                  <a:pt x="430" y="633"/>
                  <a:pt x="428" y="630"/>
                  <a:pt x="429" y="628"/>
                </a:cubicBezTo>
                <a:close/>
                <a:moveTo>
                  <a:pt x="429" y="579"/>
                </a:moveTo>
                <a:cubicBezTo>
                  <a:pt x="430" y="579"/>
                  <a:pt x="429" y="581"/>
                  <a:pt x="429" y="580"/>
                </a:cubicBezTo>
                <a:cubicBezTo>
                  <a:pt x="429" y="580"/>
                  <a:pt x="429" y="579"/>
                  <a:pt x="429" y="579"/>
                </a:cubicBezTo>
                <a:close/>
                <a:moveTo>
                  <a:pt x="430" y="612"/>
                </a:moveTo>
                <a:cubicBezTo>
                  <a:pt x="431" y="612"/>
                  <a:pt x="431" y="613"/>
                  <a:pt x="432" y="613"/>
                </a:cubicBezTo>
                <a:cubicBezTo>
                  <a:pt x="431" y="614"/>
                  <a:pt x="430" y="613"/>
                  <a:pt x="430" y="612"/>
                </a:cubicBezTo>
                <a:close/>
                <a:moveTo>
                  <a:pt x="433" y="549"/>
                </a:moveTo>
                <a:cubicBezTo>
                  <a:pt x="434" y="549"/>
                  <a:pt x="434" y="549"/>
                  <a:pt x="434" y="550"/>
                </a:cubicBezTo>
                <a:cubicBezTo>
                  <a:pt x="435" y="551"/>
                  <a:pt x="432" y="549"/>
                  <a:pt x="433" y="549"/>
                </a:cubicBezTo>
                <a:close/>
                <a:moveTo>
                  <a:pt x="443" y="617"/>
                </a:moveTo>
                <a:cubicBezTo>
                  <a:pt x="442" y="618"/>
                  <a:pt x="443" y="618"/>
                  <a:pt x="443" y="618"/>
                </a:cubicBezTo>
                <a:cubicBezTo>
                  <a:pt x="444" y="619"/>
                  <a:pt x="442" y="618"/>
                  <a:pt x="443" y="617"/>
                </a:cubicBezTo>
                <a:close/>
                <a:moveTo>
                  <a:pt x="443" y="632"/>
                </a:moveTo>
                <a:cubicBezTo>
                  <a:pt x="443" y="632"/>
                  <a:pt x="443" y="632"/>
                  <a:pt x="443" y="632"/>
                </a:cubicBezTo>
                <a:cubicBezTo>
                  <a:pt x="442" y="632"/>
                  <a:pt x="443" y="632"/>
                  <a:pt x="443" y="632"/>
                </a:cubicBezTo>
                <a:close/>
                <a:moveTo>
                  <a:pt x="442" y="613"/>
                </a:moveTo>
                <a:cubicBezTo>
                  <a:pt x="442" y="612"/>
                  <a:pt x="443" y="613"/>
                  <a:pt x="443" y="613"/>
                </a:cubicBezTo>
                <a:cubicBezTo>
                  <a:pt x="443" y="615"/>
                  <a:pt x="441" y="613"/>
                  <a:pt x="442" y="613"/>
                </a:cubicBezTo>
                <a:close/>
                <a:moveTo>
                  <a:pt x="443" y="582"/>
                </a:moveTo>
                <a:cubicBezTo>
                  <a:pt x="443" y="583"/>
                  <a:pt x="443" y="583"/>
                  <a:pt x="443" y="583"/>
                </a:cubicBezTo>
                <a:cubicBezTo>
                  <a:pt x="443" y="585"/>
                  <a:pt x="442" y="581"/>
                  <a:pt x="443" y="582"/>
                </a:cubicBezTo>
                <a:close/>
                <a:moveTo>
                  <a:pt x="441" y="554"/>
                </a:moveTo>
                <a:cubicBezTo>
                  <a:pt x="442" y="553"/>
                  <a:pt x="447" y="555"/>
                  <a:pt x="446" y="558"/>
                </a:cubicBezTo>
                <a:cubicBezTo>
                  <a:pt x="445" y="558"/>
                  <a:pt x="440" y="556"/>
                  <a:pt x="441" y="554"/>
                </a:cubicBezTo>
                <a:close/>
                <a:moveTo>
                  <a:pt x="441" y="609"/>
                </a:moveTo>
                <a:cubicBezTo>
                  <a:pt x="442" y="610"/>
                  <a:pt x="440" y="608"/>
                  <a:pt x="441" y="609"/>
                </a:cubicBezTo>
                <a:close/>
                <a:moveTo>
                  <a:pt x="440" y="534"/>
                </a:moveTo>
                <a:cubicBezTo>
                  <a:pt x="441" y="534"/>
                  <a:pt x="441" y="535"/>
                  <a:pt x="441" y="535"/>
                </a:cubicBezTo>
                <a:cubicBezTo>
                  <a:pt x="441" y="536"/>
                  <a:pt x="440" y="535"/>
                  <a:pt x="440" y="534"/>
                </a:cubicBezTo>
                <a:close/>
                <a:moveTo>
                  <a:pt x="442" y="648"/>
                </a:moveTo>
                <a:cubicBezTo>
                  <a:pt x="442" y="651"/>
                  <a:pt x="437" y="649"/>
                  <a:pt x="438" y="646"/>
                </a:cubicBezTo>
                <a:cubicBezTo>
                  <a:pt x="438" y="645"/>
                  <a:pt x="442" y="646"/>
                  <a:pt x="442" y="648"/>
                </a:cubicBezTo>
                <a:close/>
                <a:moveTo>
                  <a:pt x="435" y="615"/>
                </a:moveTo>
                <a:cubicBezTo>
                  <a:pt x="437" y="617"/>
                  <a:pt x="438" y="618"/>
                  <a:pt x="440" y="619"/>
                </a:cubicBezTo>
                <a:cubicBezTo>
                  <a:pt x="439" y="620"/>
                  <a:pt x="436" y="617"/>
                  <a:pt x="435" y="615"/>
                </a:cubicBezTo>
                <a:close/>
                <a:moveTo>
                  <a:pt x="437" y="603"/>
                </a:moveTo>
                <a:cubicBezTo>
                  <a:pt x="436" y="604"/>
                  <a:pt x="436" y="602"/>
                  <a:pt x="437" y="603"/>
                </a:cubicBezTo>
                <a:close/>
                <a:moveTo>
                  <a:pt x="436" y="529"/>
                </a:moveTo>
                <a:cubicBezTo>
                  <a:pt x="438" y="528"/>
                  <a:pt x="438" y="531"/>
                  <a:pt x="439" y="532"/>
                </a:cubicBezTo>
                <a:cubicBezTo>
                  <a:pt x="438" y="531"/>
                  <a:pt x="437" y="529"/>
                  <a:pt x="436" y="529"/>
                </a:cubicBezTo>
                <a:close/>
                <a:moveTo>
                  <a:pt x="435" y="525"/>
                </a:moveTo>
                <a:cubicBezTo>
                  <a:pt x="435" y="526"/>
                  <a:pt x="435" y="527"/>
                  <a:pt x="436" y="527"/>
                </a:cubicBezTo>
                <a:cubicBezTo>
                  <a:pt x="435" y="528"/>
                  <a:pt x="434" y="526"/>
                  <a:pt x="435" y="525"/>
                </a:cubicBezTo>
                <a:close/>
                <a:moveTo>
                  <a:pt x="432" y="638"/>
                </a:moveTo>
                <a:cubicBezTo>
                  <a:pt x="432" y="637"/>
                  <a:pt x="436" y="638"/>
                  <a:pt x="436" y="639"/>
                </a:cubicBezTo>
                <a:cubicBezTo>
                  <a:pt x="437" y="642"/>
                  <a:pt x="432" y="639"/>
                  <a:pt x="432" y="638"/>
                </a:cubicBezTo>
                <a:close/>
                <a:moveTo>
                  <a:pt x="435" y="641"/>
                </a:moveTo>
                <a:cubicBezTo>
                  <a:pt x="435" y="641"/>
                  <a:pt x="436" y="641"/>
                  <a:pt x="436" y="642"/>
                </a:cubicBezTo>
                <a:cubicBezTo>
                  <a:pt x="437" y="643"/>
                  <a:pt x="434" y="643"/>
                  <a:pt x="435" y="641"/>
                </a:cubicBezTo>
                <a:close/>
                <a:moveTo>
                  <a:pt x="444" y="668"/>
                </a:moveTo>
                <a:cubicBezTo>
                  <a:pt x="444" y="669"/>
                  <a:pt x="443" y="670"/>
                  <a:pt x="442" y="668"/>
                </a:cubicBezTo>
                <a:cubicBezTo>
                  <a:pt x="442" y="668"/>
                  <a:pt x="444" y="666"/>
                  <a:pt x="444" y="668"/>
                </a:cubicBezTo>
                <a:close/>
                <a:moveTo>
                  <a:pt x="449" y="565"/>
                </a:moveTo>
                <a:cubicBezTo>
                  <a:pt x="450" y="564"/>
                  <a:pt x="451" y="565"/>
                  <a:pt x="451" y="566"/>
                </a:cubicBezTo>
                <a:cubicBezTo>
                  <a:pt x="453" y="568"/>
                  <a:pt x="448" y="567"/>
                  <a:pt x="449" y="565"/>
                </a:cubicBezTo>
                <a:close/>
                <a:moveTo>
                  <a:pt x="455" y="614"/>
                </a:moveTo>
                <a:cubicBezTo>
                  <a:pt x="456" y="615"/>
                  <a:pt x="454" y="614"/>
                  <a:pt x="454" y="614"/>
                </a:cubicBezTo>
                <a:cubicBezTo>
                  <a:pt x="454" y="613"/>
                  <a:pt x="455" y="613"/>
                  <a:pt x="455" y="614"/>
                </a:cubicBezTo>
                <a:close/>
                <a:moveTo>
                  <a:pt x="452" y="555"/>
                </a:moveTo>
                <a:cubicBezTo>
                  <a:pt x="453" y="554"/>
                  <a:pt x="454" y="555"/>
                  <a:pt x="454" y="556"/>
                </a:cubicBezTo>
                <a:cubicBezTo>
                  <a:pt x="456" y="559"/>
                  <a:pt x="450" y="556"/>
                  <a:pt x="452" y="555"/>
                </a:cubicBezTo>
                <a:close/>
                <a:moveTo>
                  <a:pt x="451" y="548"/>
                </a:moveTo>
                <a:cubicBezTo>
                  <a:pt x="453" y="547"/>
                  <a:pt x="455" y="549"/>
                  <a:pt x="455" y="550"/>
                </a:cubicBezTo>
                <a:cubicBezTo>
                  <a:pt x="455" y="553"/>
                  <a:pt x="450" y="550"/>
                  <a:pt x="451" y="548"/>
                </a:cubicBezTo>
                <a:close/>
                <a:moveTo>
                  <a:pt x="454" y="498"/>
                </a:moveTo>
                <a:cubicBezTo>
                  <a:pt x="454" y="498"/>
                  <a:pt x="454" y="499"/>
                  <a:pt x="454" y="499"/>
                </a:cubicBezTo>
                <a:cubicBezTo>
                  <a:pt x="453" y="499"/>
                  <a:pt x="452" y="496"/>
                  <a:pt x="454" y="498"/>
                </a:cubicBezTo>
                <a:close/>
                <a:moveTo>
                  <a:pt x="454" y="414"/>
                </a:moveTo>
                <a:cubicBezTo>
                  <a:pt x="454" y="416"/>
                  <a:pt x="453" y="412"/>
                  <a:pt x="454" y="414"/>
                </a:cubicBezTo>
                <a:close/>
                <a:moveTo>
                  <a:pt x="452" y="462"/>
                </a:moveTo>
                <a:cubicBezTo>
                  <a:pt x="454" y="463"/>
                  <a:pt x="452" y="464"/>
                  <a:pt x="452" y="462"/>
                </a:cubicBezTo>
                <a:close/>
                <a:moveTo>
                  <a:pt x="453" y="501"/>
                </a:moveTo>
                <a:cubicBezTo>
                  <a:pt x="452" y="500"/>
                  <a:pt x="453" y="502"/>
                  <a:pt x="453" y="501"/>
                </a:cubicBezTo>
                <a:close/>
                <a:moveTo>
                  <a:pt x="429" y="475"/>
                </a:moveTo>
                <a:cubicBezTo>
                  <a:pt x="429" y="474"/>
                  <a:pt x="430" y="475"/>
                  <a:pt x="430" y="476"/>
                </a:cubicBezTo>
                <a:cubicBezTo>
                  <a:pt x="431" y="478"/>
                  <a:pt x="427" y="476"/>
                  <a:pt x="429" y="475"/>
                </a:cubicBezTo>
                <a:close/>
                <a:moveTo>
                  <a:pt x="429" y="611"/>
                </a:moveTo>
                <a:cubicBezTo>
                  <a:pt x="429" y="612"/>
                  <a:pt x="426" y="610"/>
                  <a:pt x="427" y="610"/>
                </a:cubicBezTo>
                <a:cubicBezTo>
                  <a:pt x="427" y="609"/>
                  <a:pt x="428" y="610"/>
                  <a:pt x="429" y="611"/>
                </a:cubicBezTo>
                <a:close/>
                <a:moveTo>
                  <a:pt x="427" y="634"/>
                </a:moveTo>
                <a:cubicBezTo>
                  <a:pt x="428" y="633"/>
                  <a:pt x="429" y="634"/>
                  <a:pt x="429" y="634"/>
                </a:cubicBezTo>
                <a:cubicBezTo>
                  <a:pt x="431" y="637"/>
                  <a:pt x="425" y="636"/>
                  <a:pt x="427" y="634"/>
                </a:cubicBezTo>
                <a:close/>
                <a:moveTo>
                  <a:pt x="425" y="607"/>
                </a:moveTo>
                <a:cubicBezTo>
                  <a:pt x="426" y="606"/>
                  <a:pt x="426" y="607"/>
                  <a:pt x="426" y="607"/>
                </a:cubicBezTo>
                <a:cubicBezTo>
                  <a:pt x="427" y="609"/>
                  <a:pt x="424" y="607"/>
                  <a:pt x="425" y="607"/>
                </a:cubicBezTo>
                <a:close/>
                <a:moveTo>
                  <a:pt x="426" y="620"/>
                </a:moveTo>
                <a:cubicBezTo>
                  <a:pt x="426" y="622"/>
                  <a:pt x="423" y="620"/>
                  <a:pt x="423" y="619"/>
                </a:cubicBezTo>
                <a:cubicBezTo>
                  <a:pt x="423" y="618"/>
                  <a:pt x="426" y="619"/>
                  <a:pt x="426" y="620"/>
                </a:cubicBezTo>
                <a:close/>
                <a:moveTo>
                  <a:pt x="420" y="690"/>
                </a:moveTo>
                <a:cubicBezTo>
                  <a:pt x="420" y="689"/>
                  <a:pt x="411" y="686"/>
                  <a:pt x="416" y="684"/>
                </a:cubicBezTo>
                <a:cubicBezTo>
                  <a:pt x="417" y="683"/>
                  <a:pt x="420" y="684"/>
                  <a:pt x="420" y="685"/>
                </a:cubicBezTo>
                <a:cubicBezTo>
                  <a:pt x="421" y="687"/>
                  <a:pt x="418" y="688"/>
                  <a:pt x="423" y="689"/>
                </a:cubicBezTo>
                <a:cubicBezTo>
                  <a:pt x="421" y="689"/>
                  <a:pt x="420" y="689"/>
                  <a:pt x="420" y="690"/>
                </a:cubicBezTo>
                <a:close/>
                <a:moveTo>
                  <a:pt x="418" y="700"/>
                </a:moveTo>
                <a:cubicBezTo>
                  <a:pt x="417" y="701"/>
                  <a:pt x="418" y="702"/>
                  <a:pt x="417" y="702"/>
                </a:cubicBezTo>
                <a:cubicBezTo>
                  <a:pt x="416" y="703"/>
                  <a:pt x="406" y="701"/>
                  <a:pt x="406" y="698"/>
                </a:cubicBezTo>
                <a:cubicBezTo>
                  <a:pt x="406" y="697"/>
                  <a:pt x="408" y="696"/>
                  <a:pt x="406" y="695"/>
                </a:cubicBezTo>
                <a:cubicBezTo>
                  <a:pt x="405" y="694"/>
                  <a:pt x="416" y="695"/>
                  <a:pt x="419" y="696"/>
                </a:cubicBezTo>
                <a:cubicBezTo>
                  <a:pt x="417" y="696"/>
                  <a:pt x="420" y="699"/>
                  <a:pt x="420" y="699"/>
                </a:cubicBezTo>
                <a:cubicBezTo>
                  <a:pt x="420" y="700"/>
                  <a:pt x="419" y="699"/>
                  <a:pt x="418" y="700"/>
                </a:cubicBezTo>
                <a:close/>
                <a:moveTo>
                  <a:pt x="420" y="714"/>
                </a:moveTo>
                <a:cubicBezTo>
                  <a:pt x="422" y="716"/>
                  <a:pt x="416" y="715"/>
                  <a:pt x="418" y="714"/>
                </a:cubicBezTo>
                <a:cubicBezTo>
                  <a:pt x="418" y="714"/>
                  <a:pt x="419" y="714"/>
                  <a:pt x="420" y="714"/>
                </a:cubicBezTo>
                <a:close/>
                <a:moveTo>
                  <a:pt x="410" y="719"/>
                </a:moveTo>
                <a:cubicBezTo>
                  <a:pt x="410" y="718"/>
                  <a:pt x="411" y="718"/>
                  <a:pt x="411" y="719"/>
                </a:cubicBezTo>
                <a:cubicBezTo>
                  <a:pt x="412" y="720"/>
                  <a:pt x="410" y="719"/>
                  <a:pt x="410" y="719"/>
                </a:cubicBezTo>
                <a:close/>
                <a:moveTo>
                  <a:pt x="403" y="686"/>
                </a:moveTo>
                <a:cubicBezTo>
                  <a:pt x="403" y="685"/>
                  <a:pt x="408" y="686"/>
                  <a:pt x="408" y="687"/>
                </a:cubicBezTo>
                <a:cubicBezTo>
                  <a:pt x="409" y="690"/>
                  <a:pt x="403" y="687"/>
                  <a:pt x="403" y="686"/>
                </a:cubicBezTo>
                <a:close/>
                <a:moveTo>
                  <a:pt x="406" y="697"/>
                </a:moveTo>
                <a:cubicBezTo>
                  <a:pt x="404" y="698"/>
                  <a:pt x="402" y="697"/>
                  <a:pt x="403" y="695"/>
                </a:cubicBezTo>
                <a:cubicBezTo>
                  <a:pt x="404" y="696"/>
                  <a:pt x="405" y="697"/>
                  <a:pt x="406" y="697"/>
                </a:cubicBezTo>
                <a:close/>
                <a:moveTo>
                  <a:pt x="414" y="652"/>
                </a:moveTo>
                <a:cubicBezTo>
                  <a:pt x="415" y="651"/>
                  <a:pt x="417" y="653"/>
                  <a:pt x="417" y="653"/>
                </a:cubicBezTo>
                <a:cubicBezTo>
                  <a:pt x="418" y="656"/>
                  <a:pt x="412" y="653"/>
                  <a:pt x="414" y="652"/>
                </a:cubicBezTo>
                <a:close/>
                <a:moveTo>
                  <a:pt x="418" y="679"/>
                </a:moveTo>
                <a:cubicBezTo>
                  <a:pt x="418" y="679"/>
                  <a:pt x="415" y="680"/>
                  <a:pt x="415" y="678"/>
                </a:cubicBezTo>
                <a:cubicBezTo>
                  <a:pt x="414" y="677"/>
                  <a:pt x="418" y="676"/>
                  <a:pt x="418" y="679"/>
                </a:cubicBezTo>
                <a:close/>
                <a:moveTo>
                  <a:pt x="414" y="669"/>
                </a:moveTo>
                <a:cubicBezTo>
                  <a:pt x="413" y="667"/>
                  <a:pt x="415" y="670"/>
                  <a:pt x="414" y="669"/>
                </a:cubicBezTo>
                <a:close/>
                <a:moveTo>
                  <a:pt x="411" y="641"/>
                </a:moveTo>
                <a:cubicBezTo>
                  <a:pt x="412" y="639"/>
                  <a:pt x="414" y="640"/>
                  <a:pt x="414" y="641"/>
                </a:cubicBezTo>
                <a:cubicBezTo>
                  <a:pt x="415" y="643"/>
                  <a:pt x="411" y="642"/>
                  <a:pt x="411" y="641"/>
                </a:cubicBezTo>
                <a:close/>
                <a:moveTo>
                  <a:pt x="420" y="682"/>
                </a:moveTo>
                <a:cubicBezTo>
                  <a:pt x="419" y="681"/>
                  <a:pt x="420" y="682"/>
                  <a:pt x="421" y="682"/>
                </a:cubicBezTo>
                <a:cubicBezTo>
                  <a:pt x="421" y="683"/>
                  <a:pt x="420" y="683"/>
                  <a:pt x="420" y="682"/>
                </a:cubicBezTo>
                <a:close/>
                <a:moveTo>
                  <a:pt x="422" y="683"/>
                </a:moveTo>
                <a:cubicBezTo>
                  <a:pt x="423" y="683"/>
                  <a:pt x="424" y="684"/>
                  <a:pt x="425" y="684"/>
                </a:cubicBezTo>
                <a:cubicBezTo>
                  <a:pt x="424" y="685"/>
                  <a:pt x="422" y="684"/>
                  <a:pt x="422" y="683"/>
                </a:cubicBezTo>
                <a:close/>
                <a:moveTo>
                  <a:pt x="425" y="673"/>
                </a:moveTo>
                <a:cubicBezTo>
                  <a:pt x="426" y="672"/>
                  <a:pt x="427" y="673"/>
                  <a:pt x="428" y="673"/>
                </a:cubicBezTo>
                <a:cubicBezTo>
                  <a:pt x="429" y="676"/>
                  <a:pt x="424" y="674"/>
                  <a:pt x="425" y="673"/>
                </a:cubicBezTo>
                <a:close/>
                <a:moveTo>
                  <a:pt x="426" y="681"/>
                </a:moveTo>
                <a:cubicBezTo>
                  <a:pt x="427" y="680"/>
                  <a:pt x="427" y="683"/>
                  <a:pt x="426" y="681"/>
                </a:cubicBezTo>
                <a:close/>
                <a:moveTo>
                  <a:pt x="427" y="693"/>
                </a:moveTo>
                <a:cubicBezTo>
                  <a:pt x="427" y="693"/>
                  <a:pt x="427" y="694"/>
                  <a:pt x="427" y="694"/>
                </a:cubicBezTo>
                <a:cubicBezTo>
                  <a:pt x="424" y="696"/>
                  <a:pt x="425" y="691"/>
                  <a:pt x="427" y="693"/>
                </a:cubicBezTo>
                <a:close/>
                <a:moveTo>
                  <a:pt x="426" y="685"/>
                </a:moveTo>
                <a:cubicBezTo>
                  <a:pt x="427" y="686"/>
                  <a:pt x="429" y="686"/>
                  <a:pt x="430" y="687"/>
                </a:cubicBezTo>
                <a:cubicBezTo>
                  <a:pt x="428" y="686"/>
                  <a:pt x="426" y="686"/>
                  <a:pt x="426" y="685"/>
                </a:cubicBezTo>
                <a:close/>
                <a:moveTo>
                  <a:pt x="416" y="649"/>
                </a:moveTo>
                <a:cubicBezTo>
                  <a:pt x="420" y="650"/>
                  <a:pt x="417" y="652"/>
                  <a:pt x="416" y="649"/>
                </a:cubicBezTo>
                <a:close/>
                <a:moveTo>
                  <a:pt x="418" y="563"/>
                </a:moveTo>
                <a:cubicBezTo>
                  <a:pt x="417" y="563"/>
                  <a:pt x="417" y="562"/>
                  <a:pt x="416" y="562"/>
                </a:cubicBezTo>
                <a:cubicBezTo>
                  <a:pt x="417" y="561"/>
                  <a:pt x="418" y="562"/>
                  <a:pt x="418" y="563"/>
                </a:cubicBezTo>
                <a:close/>
                <a:moveTo>
                  <a:pt x="414" y="556"/>
                </a:moveTo>
                <a:cubicBezTo>
                  <a:pt x="415" y="555"/>
                  <a:pt x="417" y="556"/>
                  <a:pt x="417" y="557"/>
                </a:cubicBezTo>
                <a:cubicBezTo>
                  <a:pt x="417" y="558"/>
                  <a:pt x="414" y="557"/>
                  <a:pt x="414" y="556"/>
                </a:cubicBezTo>
                <a:close/>
                <a:moveTo>
                  <a:pt x="415" y="631"/>
                </a:moveTo>
                <a:cubicBezTo>
                  <a:pt x="416" y="633"/>
                  <a:pt x="415" y="635"/>
                  <a:pt x="414" y="635"/>
                </a:cubicBezTo>
                <a:cubicBezTo>
                  <a:pt x="414" y="635"/>
                  <a:pt x="410" y="636"/>
                  <a:pt x="409" y="635"/>
                </a:cubicBezTo>
                <a:cubicBezTo>
                  <a:pt x="408" y="634"/>
                  <a:pt x="411" y="632"/>
                  <a:pt x="410" y="631"/>
                </a:cubicBezTo>
                <a:cubicBezTo>
                  <a:pt x="409" y="631"/>
                  <a:pt x="407" y="632"/>
                  <a:pt x="407" y="631"/>
                </a:cubicBezTo>
                <a:cubicBezTo>
                  <a:pt x="405" y="627"/>
                  <a:pt x="414" y="627"/>
                  <a:pt x="415" y="631"/>
                </a:cubicBezTo>
                <a:close/>
                <a:moveTo>
                  <a:pt x="410" y="640"/>
                </a:moveTo>
                <a:cubicBezTo>
                  <a:pt x="410" y="642"/>
                  <a:pt x="408" y="641"/>
                  <a:pt x="408" y="639"/>
                </a:cubicBezTo>
                <a:cubicBezTo>
                  <a:pt x="408" y="638"/>
                  <a:pt x="411" y="637"/>
                  <a:pt x="410" y="640"/>
                </a:cubicBezTo>
                <a:close/>
                <a:moveTo>
                  <a:pt x="408" y="660"/>
                </a:moveTo>
                <a:cubicBezTo>
                  <a:pt x="407" y="661"/>
                  <a:pt x="407" y="658"/>
                  <a:pt x="408" y="659"/>
                </a:cubicBezTo>
                <a:cubicBezTo>
                  <a:pt x="408" y="660"/>
                  <a:pt x="408" y="660"/>
                  <a:pt x="408" y="660"/>
                </a:cubicBezTo>
                <a:close/>
                <a:moveTo>
                  <a:pt x="407" y="611"/>
                </a:moveTo>
                <a:cubicBezTo>
                  <a:pt x="408" y="611"/>
                  <a:pt x="408" y="611"/>
                  <a:pt x="408" y="611"/>
                </a:cubicBezTo>
                <a:cubicBezTo>
                  <a:pt x="409" y="613"/>
                  <a:pt x="406" y="612"/>
                  <a:pt x="407" y="611"/>
                </a:cubicBezTo>
                <a:close/>
                <a:moveTo>
                  <a:pt x="408" y="568"/>
                </a:moveTo>
                <a:cubicBezTo>
                  <a:pt x="407" y="567"/>
                  <a:pt x="409" y="569"/>
                  <a:pt x="408" y="568"/>
                </a:cubicBezTo>
                <a:close/>
                <a:moveTo>
                  <a:pt x="408" y="164"/>
                </a:moveTo>
                <a:cubicBezTo>
                  <a:pt x="406" y="164"/>
                  <a:pt x="406" y="162"/>
                  <a:pt x="405" y="162"/>
                </a:cubicBezTo>
                <a:cubicBezTo>
                  <a:pt x="406" y="161"/>
                  <a:pt x="407" y="163"/>
                  <a:pt x="408" y="164"/>
                </a:cubicBezTo>
                <a:close/>
                <a:moveTo>
                  <a:pt x="405" y="462"/>
                </a:moveTo>
                <a:cubicBezTo>
                  <a:pt x="407" y="463"/>
                  <a:pt x="405" y="464"/>
                  <a:pt x="405" y="462"/>
                </a:cubicBezTo>
                <a:close/>
                <a:moveTo>
                  <a:pt x="404" y="93"/>
                </a:moveTo>
                <a:cubicBezTo>
                  <a:pt x="405" y="93"/>
                  <a:pt x="405" y="93"/>
                  <a:pt x="406" y="94"/>
                </a:cubicBezTo>
                <a:cubicBezTo>
                  <a:pt x="405" y="94"/>
                  <a:pt x="404" y="94"/>
                  <a:pt x="404" y="93"/>
                </a:cubicBezTo>
                <a:close/>
                <a:moveTo>
                  <a:pt x="404" y="393"/>
                </a:moveTo>
                <a:cubicBezTo>
                  <a:pt x="403" y="393"/>
                  <a:pt x="404" y="392"/>
                  <a:pt x="403" y="391"/>
                </a:cubicBezTo>
                <a:cubicBezTo>
                  <a:pt x="403" y="391"/>
                  <a:pt x="404" y="392"/>
                  <a:pt x="404" y="393"/>
                </a:cubicBezTo>
                <a:close/>
                <a:moveTo>
                  <a:pt x="408" y="622"/>
                </a:moveTo>
                <a:cubicBezTo>
                  <a:pt x="408" y="626"/>
                  <a:pt x="401" y="622"/>
                  <a:pt x="402" y="620"/>
                </a:cubicBezTo>
                <a:cubicBezTo>
                  <a:pt x="403" y="617"/>
                  <a:pt x="408" y="620"/>
                  <a:pt x="408" y="622"/>
                </a:cubicBezTo>
                <a:close/>
                <a:moveTo>
                  <a:pt x="406" y="655"/>
                </a:moveTo>
                <a:cubicBezTo>
                  <a:pt x="407" y="657"/>
                  <a:pt x="403" y="656"/>
                  <a:pt x="403" y="655"/>
                </a:cubicBezTo>
                <a:cubicBezTo>
                  <a:pt x="403" y="654"/>
                  <a:pt x="405" y="655"/>
                  <a:pt x="406" y="655"/>
                </a:cubicBezTo>
                <a:close/>
                <a:moveTo>
                  <a:pt x="403" y="640"/>
                </a:moveTo>
                <a:cubicBezTo>
                  <a:pt x="402" y="641"/>
                  <a:pt x="402" y="639"/>
                  <a:pt x="403" y="639"/>
                </a:cubicBezTo>
                <a:cubicBezTo>
                  <a:pt x="403" y="640"/>
                  <a:pt x="403" y="640"/>
                  <a:pt x="403" y="640"/>
                </a:cubicBezTo>
                <a:close/>
                <a:moveTo>
                  <a:pt x="402" y="649"/>
                </a:moveTo>
                <a:cubicBezTo>
                  <a:pt x="402" y="651"/>
                  <a:pt x="398" y="649"/>
                  <a:pt x="399" y="648"/>
                </a:cubicBezTo>
                <a:cubicBezTo>
                  <a:pt x="400" y="647"/>
                  <a:pt x="402" y="649"/>
                  <a:pt x="402" y="649"/>
                </a:cubicBezTo>
                <a:close/>
                <a:moveTo>
                  <a:pt x="402" y="492"/>
                </a:moveTo>
                <a:cubicBezTo>
                  <a:pt x="403" y="493"/>
                  <a:pt x="401" y="490"/>
                  <a:pt x="402" y="492"/>
                </a:cubicBezTo>
                <a:close/>
                <a:moveTo>
                  <a:pt x="397" y="651"/>
                </a:moveTo>
                <a:cubicBezTo>
                  <a:pt x="397" y="650"/>
                  <a:pt x="398" y="651"/>
                  <a:pt x="398" y="651"/>
                </a:cubicBezTo>
                <a:cubicBezTo>
                  <a:pt x="399" y="652"/>
                  <a:pt x="397" y="651"/>
                  <a:pt x="397" y="651"/>
                </a:cubicBezTo>
                <a:close/>
                <a:moveTo>
                  <a:pt x="396" y="629"/>
                </a:moveTo>
                <a:cubicBezTo>
                  <a:pt x="397" y="628"/>
                  <a:pt x="398" y="630"/>
                  <a:pt x="398" y="630"/>
                </a:cubicBezTo>
                <a:cubicBezTo>
                  <a:pt x="398" y="631"/>
                  <a:pt x="397" y="629"/>
                  <a:pt x="396" y="629"/>
                </a:cubicBezTo>
                <a:close/>
                <a:moveTo>
                  <a:pt x="402" y="683"/>
                </a:moveTo>
                <a:cubicBezTo>
                  <a:pt x="401" y="683"/>
                  <a:pt x="401" y="683"/>
                  <a:pt x="400" y="682"/>
                </a:cubicBezTo>
                <a:cubicBezTo>
                  <a:pt x="400" y="682"/>
                  <a:pt x="402" y="683"/>
                  <a:pt x="402" y="683"/>
                </a:cubicBezTo>
                <a:close/>
                <a:moveTo>
                  <a:pt x="399" y="681"/>
                </a:moveTo>
                <a:cubicBezTo>
                  <a:pt x="400" y="682"/>
                  <a:pt x="397" y="681"/>
                  <a:pt x="399" y="681"/>
                </a:cubicBezTo>
                <a:close/>
                <a:moveTo>
                  <a:pt x="394" y="689"/>
                </a:moveTo>
                <a:cubicBezTo>
                  <a:pt x="394" y="688"/>
                  <a:pt x="396" y="689"/>
                  <a:pt x="396" y="689"/>
                </a:cubicBezTo>
                <a:cubicBezTo>
                  <a:pt x="397" y="690"/>
                  <a:pt x="395" y="689"/>
                  <a:pt x="394" y="689"/>
                </a:cubicBezTo>
                <a:close/>
                <a:moveTo>
                  <a:pt x="393" y="724"/>
                </a:moveTo>
                <a:cubicBezTo>
                  <a:pt x="394" y="724"/>
                  <a:pt x="390" y="723"/>
                  <a:pt x="393" y="724"/>
                </a:cubicBezTo>
                <a:close/>
                <a:moveTo>
                  <a:pt x="391" y="742"/>
                </a:moveTo>
                <a:cubicBezTo>
                  <a:pt x="391" y="740"/>
                  <a:pt x="392" y="742"/>
                  <a:pt x="393" y="742"/>
                </a:cubicBezTo>
                <a:cubicBezTo>
                  <a:pt x="394" y="743"/>
                  <a:pt x="391" y="742"/>
                  <a:pt x="391" y="742"/>
                </a:cubicBezTo>
                <a:close/>
                <a:moveTo>
                  <a:pt x="399" y="697"/>
                </a:moveTo>
                <a:cubicBezTo>
                  <a:pt x="399" y="701"/>
                  <a:pt x="393" y="699"/>
                  <a:pt x="393" y="697"/>
                </a:cubicBezTo>
                <a:cubicBezTo>
                  <a:pt x="393" y="695"/>
                  <a:pt x="399" y="695"/>
                  <a:pt x="399" y="697"/>
                </a:cubicBezTo>
                <a:close/>
                <a:moveTo>
                  <a:pt x="394" y="717"/>
                </a:moveTo>
                <a:cubicBezTo>
                  <a:pt x="394" y="717"/>
                  <a:pt x="394" y="716"/>
                  <a:pt x="394" y="717"/>
                </a:cubicBezTo>
                <a:cubicBezTo>
                  <a:pt x="394" y="717"/>
                  <a:pt x="394" y="717"/>
                  <a:pt x="394" y="717"/>
                </a:cubicBezTo>
                <a:close/>
                <a:moveTo>
                  <a:pt x="394" y="727"/>
                </a:moveTo>
                <a:cubicBezTo>
                  <a:pt x="393" y="727"/>
                  <a:pt x="394" y="726"/>
                  <a:pt x="394" y="726"/>
                </a:cubicBezTo>
                <a:cubicBezTo>
                  <a:pt x="395" y="726"/>
                  <a:pt x="394" y="728"/>
                  <a:pt x="394" y="727"/>
                </a:cubicBezTo>
                <a:close/>
                <a:moveTo>
                  <a:pt x="395" y="745"/>
                </a:moveTo>
                <a:cubicBezTo>
                  <a:pt x="396" y="746"/>
                  <a:pt x="393" y="745"/>
                  <a:pt x="395" y="745"/>
                </a:cubicBezTo>
                <a:close/>
                <a:moveTo>
                  <a:pt x="396" y="726"/>
                </a:moveTo>
                <a:cubicBezTo>
                  <a:pt x="396" y="726"/>
                  <a:pt x="397" y="726"/>
                  <a:pt x="397" y="726"/>
                </a:cubicBezTo>
                <a:cubicBezTo>
                  <a:pt x="397" y="729"/>
                  <a:pt x="395" y="723"/>
                  <a:pt x="396" y="726"/>
                </a:cubicBezTo>
                <a:close/>
                <a:moveTo>
                  <a:pt x="404" y="726"/>
                </a:moveTo>
                <a:cubicBezTo>
                  <a:pt x="404" y="725"/>
                  <a:pt x="405" y="725"/>
                  <a:pt x="405" y="726"/>
                </a:cubicBezTo>
                <a:cubicBezTo>
                  <a:pt x="406" y="727"/>
                  <a:pt x="404" y="726"/>
                  <a:pt x="404" y="726"/>
                </a:cubicBezTo>
                <a:close/>
                <a:moveTo>
                  <a:pt x="399" y="722"/>
                </a:moveTo>
                <a:cubicBezTo>
                  <a:pt x="404" y="727"/>
                  <a:pt x="392" y="723"/>
                  <a:pt x="394" y="719"/>
                </a:cubicBezTo>
                <a:cubicBezTo>
                  <a:pt x="394" y="719"/>
                  <a:pt x="395" y="719"/>
                  <a:pt x="396" y="719"/>
                </a:cubicBezTo>
                <a:cubicBezTo>
                  <a:pt x="396" y="719"/>
                  <a:pt x="396" y="716"/>
                  <a:pt x="396" y="715"/>
                </a:cubicBezTo>
                <a:cubicBezTo>
                  <a:pt x="396" y="715"/>
                  <a:pt x="399" y="714"/>
                  <a:pt x="400" y="714"/>
                </a:cubicBezTo>
                <a:cubicBezTo>
                  <a:pt x="404" y="713"/>
                  <a:pt x="405" y="717"/>
                  <a:pt x="408" y="718"/>
                </a:cubicBezTo>
                <a:cubicBezTo>
                  <a:pt x="406" y="720"/>
                  <a:pt x="403" y="723"/>
                  <a:pt x="399" y="722"/>
                </a:cubicBezTo>
                <a:close/>
                <a:moveTo>
                  <a:pt x="409" y="735"/>
                </a:moveTo>
                <a:cubicBezTo>
                  <a:pt x="408" y="733"/>
                  <a:pt x="410" y="736"/>
                  <a:pt x="409" y="735"/>
                </a:cubicBezTo>
                <a:close/>
                <a:moveTo>
                  <a:pt x="415" y="738"/>
                </a:moveTo>
                <a:cubicBezTo>
                  <a:pt x="415" y="739"/>
                  <a:pt x="413" y="737"/>
                  <a:pt x="415" y="738"/>
                </a:cubicBezTo>
                <a:close/>
                <a:moveTo>
                  <a:pt x="408" y="727"/>
                </a:moveTo>
                <a:cubicBezTo>
                  <a:pt x="408" y="724"/>
                  <a:pt x="415" y="723"/>
                  <a:pt x="415" y="727"/>
                </a:cubicBezTo>
                <a:cubicBezTo>
                  <a:pt x="416" y="731"/>
                  <a:pt x="408" y="729"/>
                  <a:pt x="408" y="727"/>
                </a:cubicBezTo>
                <a:close/>
                <a:moveTo>
                  <a:pt x="417" y="733"/>
                </a:moveTo>
                <a:cubicBezTo>
                  <a:pt x="415" y="733"/>
                  <a:pt x="417" y="731"/>
                  <a:pt x="417" y="733"/>
                </a:cubicBezTo>
                <a:close/>
                <a:moveTo>
                  <a:pt x="419" y="726"/>
                </a:moveTo>
                <a:cubicBezTo>
                  <a:pt x="419" y="727"/>
                  <a:pt x="419" y="727"/>
                  <a:pt x="418" y="727"/>
                </a:cubicBezTo>
                <a:cubicBezTo>
                  <a:pt x="418" y="727"/>
                  <a:pt x="418" y="726"/>
                  <a:pt x="418" y="726"/>
                </a:cubicBezTo>
                <a:cubicBezTo>
                  <a:pt x="415" y="724"/>
                  <a:pt x="411" y="721"/>
                  <a:pt x="411" y="721"/>
                </a:cubicBezTo>
                <a:cubicBezTo>
                  <a:pt x="412" y="720"/>
                  <a:pt x="418" y="725"/>
                  <a:pt x="421" y="726"/>
                </a:cubicBezTo>
                <a:cubicBezTo>
                  <a:pt x="421" y="726"/>
                  <a:pt x="420" y="726"/>
                  <a:pt x="419" y="726"/>
                </a:cubicBezTo>
                <a:close/>
                <a:moveTo>
                  <a:pt x="420" y="705"/>
                </a:moveTo>
                <a:cubicBezTo>
                  <a:pt x="420" y="704"/>
                  <a:pt x="423" y="707"/>
                  <a:pt x="423" y="707"/>
                </a:cubicBezTo>
                <a:cubicBezTo>
                  <a:pt x="423" y="710"/>
                  <a:pt x="417" y="706"/>
                  <a:pt x="420" y="705"/>
                </a:cubicBezTo>
                <a:close/>
                <a:moveTo>
                  <a:pt x="422" y="709"/>
                </a:moveTo>
                <a:cubicBezTo>
                  <a:pt x="420" y="708"/>
                  <a:pt x="423" y="710"/>
                  <a:pt x="422" y="709"/>
                </a:cubicBezTo>
                <a:close/>
                <a:moveTo>
                  <a:pt x="422" y="712"/>
                </a:moveTo>
                <a:cubicBezTo>
                  <a:pt x="422" y="711"/>
                  <a:pt x="423" y="711"/>
                  <a:pt x="423" y="711"/>
                </a:cubicBezTo>
                <a:cubicBezTo>
                  <a:pt x="423" y="710"/>
                  <a:pt x="423" y="708"/>
                  <a:pt x="425" y="711"/>
                </a:cubicBezTo>
                <a:cubicBezTo>
                  <a:pt x="425" y="711"/>
                  <a:pt x="425" y="711"/>
                  <a:pt x="425" y="711"/>
                </a:cubicBezTo>
                <a:cubicBezTo>
                  <a:pt x="424" y="712"/>
                  <a:pt x="424" y="712"/>
                  <a:pt x="424" y="712"/>
                </a:cubicBezTo>
                <a:cubicBezTo>
                  <a:pt x="424" y="712"/>
                  <a:pt x="424" y="712"/>
                  <a:pt x="424" y="712"/>
                </a:cubicBezTo>
                <a:cubicBezTo>
                  <a:pt x="425" y="715"/>
                  <a:pt x="420" y="713"/>
                  <a:pt x="422" y="712"/>
                </a:cubicBezTo>
                <a:close/>
                <a:moveTo>
                  <a:pt x="425" y="708"/>
                </a:moveTo>
                <a:cubicBezTo>
                  <a:pt x="425" y="707"/>
                  <a:pt x="426" y="707"/>
                  <a:pt x="426" y="708"/>
                </a:cubicBezTo>
                <a:cubicBezTo>
                  <a:pt x="427" y="709"/>
                  <a:pt x="424" y="709"/>
                  <a:pt x="425" y="708"/>
                </a:cubicBezTo>
                <a:close/>
                <a:moveTo>
                  <a:pt x="426" y="712"/>
                </a:moveTo>
                <a:cubicBezTo>
                  <a:pt x="428" y="712"/>
                  <a:pt x="428" y="714"/>
                  <a:pt x="426" y="712"/>
                </a:cubicBezTo>
                <a:close/>
                <a:moveTo>
                  <a:pt x="422" y="722"/>
                </a:moveTo>
                <a:cubicBezTo>
                  <a:pt x="422" y="721"/>
                  <a:pt x="424" y="722"/>
                  <a:pt x="424" y="722"/>
                </a:cubicBezTo>
                <a:cubicBezTo>
                  <a:pt x="425" y="724"/>
                  <a:pt x="421" y="723"/>
                  <a:pt x="422" y="722"/>
                </a:cubicBezTo>
                <a:close/>
                <a:moveTo>
                  <a:pt x="429" y="731"/>
                </a:moveTo>
                <a:cubicBezTo>
                  <a:pt x="425" y="733"/>
                  <a:pt x="428" y="726"/>
                  <a:pt x="428" y="730"/>
                </a:cubicBezTo>
                <a:cubicBezTo>
                  <a:pt x="428" y="730"/>
                  <a:pt x="429" y="731"/>
                  <a:pt x="429" y="731"/>
                </a:cubicBezTo>
                <a:close/>
                <a:moveTo>
                  <a:pt x="428" y="722"/>
                </a:moveTo>
                <a:cubicBezTo>
                  <a:pt x="428" y="721"/>
                  <a:pt x="430" y="723"/>
                  <a:pt x="429" y="723"/>
                </a:cubicBezTo>
                <a:cubicBezTo>
                  <a:pt x="429" y="724"/>
                  <a:pt x="427" y="723"/>
                  <a:pt x="428" y="722"/>
                </a:cubicBezTo>
                <a:cubicBezTo>
                  <a:pt x="427" y="723"/>
                  <a:pt x="424" y="722"/>
                  <a:pt x="424" y="720"/>
                </a:cubicBezTo>
                <a:cubicBezTo>
                  <a:pt x="424" y="720"/>
                  <a:pt x="426" y="718"/>
                  <a:pt x="425" y="718"/>
                </a:cubicBezTo>
                <a:cubicBezTo>
                  <a:pt x="426" y="718"/>
                  <a:pt x="429" y="721"/>
                  <a:pt x="428" y="722"/>
                </a:cubicBezTo>
                <a:close/>
                <a:moveTo>
                  <a:pt x="427" y="702"/>
                </a:moveTo>
                <a:cubicBezTo>
                  <a:pt x="427" y="702"/>
                  <a:pt x="428" y="702"/>
                  <a:pt x="428" y="702"/>
                </a:cubicBezTo>
                <a:cubicBezTo>
                  <a:pt x="428" y="704"/>
                  <a:pt x="426" y="702"/>
                  <a:pt x="427" y="702"/>
                </a:cubicBezTo>
                <a:close/>
                <a:moveTo>
                  <a:pt x="424" y="697"/>
                </a:moveTo>
                <a:cubicBezTo>
                  <a:pt x="425" y="697"/>
                  <a:pt x="429" y="698"/>
                  <a:pt x="430" y="699"/>
                </a:cubicBezTo>
                <a:cubicBezTo>
                  <a:pt x="430" y="700"/>
                  <a:pt x="425" y="699"/>
                  <a:pt x="424" y="697"/>
                </a:cubicBezTo>
                <a:close/>
                <a:moveTo>
                  <a:pt x="430" y="690"/>
                </a:moveTo>
                <a:cubicBezTo>
                  <a:pt x="430" y="690"/>
                  <a:pt x="431" y="690"/>
                  <a:pt x="431" y="690"/>
                </a:cubicBezTo>
                <a:cubicBezTo>
                  <a:pt x="432" y="691"/>
                  <a:pt x="429" y="691"/>
                  <a:pt x="430" y="690"/>
                </a:cubicBezTo>
                <a:close/>
                <a:moveTo>
                  <a:pt x="435" y="698"/>
                </a:moveTo>
                <a:cubicBezTo>
                  <a:pt x="435" y="698"/>
                  <a:pt x="436" y="698"/>
                  <a:pt x="436" y="698"/>
                </a:cubicBezTo>
                <a:cubicBezTo>
                  <a:pt x="436" y="699"/>
                  <a:pt x="435" y="699"/>
                  <a:pt x="435" y="698"/>
                </a:cubicBezTo>
                <a:close/>
                <a:moveTo>
                  <a:pt x="437" y="693"/>
                </a:moveTo>
                <a:cubicBezTo>
                  <a:pt x="435" y="692"/>
                  <a:pt x="438" y="694"/>
                  <a:pt x="437" y="693"/>
                </a:cubicBezTo>
                <a:close/>
                <a:moveTo>
                  <a:pt x="438" y="696"/>
                </a:moveTo>
                <a:cubicBezTo>
                  <a:pt x="439" y="697"/>
                  <a:pt x="437" y="694"/>
                  <a:pt x="438" y="696"/>
                </a:cubicBezTo>
                <a:close/>
                <a:moveTo>
                  <a:pt x="432" y="689"/>
                </a:moveTo>
                <a:cubicBezTo>
                  <a:pt x="429" y="687"/>
                  <a:pt x="433" y="688"/>
                  <a:pt x="434" y="689"/>
                </a:cubicBezTo>
                <a:cubicBezTo>
                  <a:pt x="437" y="690"/>
                  <a:pt x="443" y="691"/>
                  <a:pt x="443" y="693"/>
                </a:cubicBezTo>
                <a:cubicBezTo>
                  <a:pt x="440" y="691"/>
                  <a:pt x="436" y="691"/>
                  <a:pt x="432" y="689"/>
                </a:cubicBezTo>
                <a:close/>
                <a:moveTo>
                  <a:pt x="439" y="682"/>
                </a:moveTo>
                <a:cubicBezTo>
                  <a:pt x="439" y="682"/>
                  <a:pt x="439" y="682"/>
                  <a:pt x="439" y="682"/>
                </a:cubicBezTo>
                <a:cubicBezTo>
                  <a:pt x="438" y="684"/>
                  <a:pt x="437" y="680"/>
                  <a:pt x="439" y="682"/>
                </a:cubicBezTo>
                <a:close/>
                <a:moveTo>
                  <a:pt x="446" y="681"/>
                </a:moveTo>
                <a:cubicBezTo>
                  <a:pt x="446" y="681"/>
                  <a:pt x="447" y="681"/>
                  <a:pt x="447" y="681"/>
                </a:cubicBezTo>
                <a:cubicBezTo>
                  <a:pt x="447" y="682"/>
                  <a:pt x="445" y="682"/>
                  <a:pt x="446" y="681"/>
                </a:cubicBezTo>
                <a:close/>
                <a:moveTo>
                  <a:pt x="442" y="678"/>
                </a:moveTo>
                <a:cubicBezTo>
                  <a:pt x="440" y="677"/>
                  <a:pt x="440" y="675"/>
                  <a:pt x="440" y="674"/>
                </a:cubicBezTo>
                <a:cubicBezTo>
                  <a:pt x="439" y="674"/>
                  <a:pt x="436" y="675"/>
                  <a:pt x="437" y="673"/>
                </a:cubicBezTo>
                <a:cubicBezTo>
                  <a:pt x="438" y="672"/>
                  <a:pt x="438" y="674"/>
                  <a:pt x="439" y="673"/>
                </a:cubicBezTo>
                <a:cubicBezTo>
                  <a:pt x="441" y="673"/>
                  <a:pt x="441" y="672"/>
                  <a:pt x="442" y="672"/>
                </a:cubicBezTo>
                <a:cubicBezTo>
                  <a:pt x="444" y="671"/>
                  <a:pt x="447" y="673"/>
                  <a:pt x="447" y="675"/>
                </a:cubicBezTo>
                <a:cubicBezTo>
                  <a:pt x="447" y="678"/>
                  <a:pt x="445" y="679"/>
                  <a:pt x="442" y="678"/>
                </a:cubicBezTo>
                <a:close/>
                <a:moveTo>
                  <a:pt x="445" y="642"/>
                </a:moveTo>
                <a:cubicBezTo>
                  <a:pt x="446" y="641"/>
                  <a:pt x="447" y="641"/>
                  <a:pt x="447" y="642"/>
                </a:cubicBezTo>
                <a:cubicBezTo>
                  <a:pt x="448" y="643"/>
                  <a:pt x="445" y="642"/>
                  <a:pt x="445" y="642"/>
                </a:cubicBezTo>
                <a:close/>
                <a:moveTo>
                  <a:pt x="447" y="580"/>
                </a:moveTo>
                <a:cubicBezTo>
                  <a:pt x="448" y="579"/>
                  <a:pt x="449" y="581"/>
                  <a:pt x="449" y="581"/>
                </a:cubicBezTo>
                <a:cubicBezTo>
                  <a:pt x="450" y="583"/>
                  <a:pt x="446" y="581"/>
                  <a:pt x="447" y="580"/>
                </a:cubicBezTo>
                <a:close/>
                <a:moveTo>
                  <a:pt x="448" y="651"/>
                </a:moveTo>
                <a:cubicBezTo>
                  <a:pt x="448" y="651"/>
                  <a:pt x="447" y="651"/>
                  <a:pt x="447" y="651"/>
                </a:cubicBezTo>
                <a:cubicBezTo>
                  <a:pt x="448" y="651"/>
                  <a:pt x="448" y="651"/>
                  <a:pt x="448" y="651"/>
                </a:cubicBezTo>
                <a:cubicBezTo>
                  <a:pt x="448" y="651"/>
                  <a:pt x="448" y="651"/>
                  <a:pt x="448" y="651"/>
                </a:cubicBezTo>
                <a:close/>
                <a:moveTo>
                  <a:pt x="448" y="640"/>
                </a:moveTo>
                <a:cubicBezTo>
                  <a:pt x="448" y="640"/>
                  <a:pt x="449" y="640"/>
                  <a:pt x="450" y="641"/>
                </a:cubicBezTo>
                <a:cubicBezTo>
                  <a:pt x="450" y="642"/>
                  <a:pt x="448" y="641"/>
                  <a:pt x="448" y="640"/>
                </a:cubicBezTo>
                <a:close/>
                <a:moveTo>
                  <a:pt x="450" y="636"/>
                </a:moveTo>
                <a:cubicBezTo>
                  <a:pt x="451" y="636"/>
                  <a:pt x="451" y="636"/>
                  <a:pt x="451" y="636"/>
                </a:cubicBezTo>
                <a:cubicBezTo>
                  <a:pt x="452" y="638"/>
                  <a:pt x="449" y="636"/>
                  <a:pt x="450" y="636"/>
                </a:cubicBezTo>
                <a:close/>
                <a:moveTo>
                  <a:pt x="451" y="642"/>
                </a:moveTo>
                <a:cubicBezTo>
                  <a:pt x="452" y="641"/>
                  <a:pt x="453" y="642"/>
                  <a:pt x="454" y="643"/>
                </a:cubicBezTo>
                <a:cubicBezTo>
                  <a:pt x="456" y="646"/>
                  <a:pt x="448" y="644"/>
                  <a:pt x="451" y="642"/>
                </a:cubicBezTo>
                <a:close/>
                <a:moveTo>
                  <a:pt x="451" y="666"/>
                </a:moveTo>
                <a:cubicBezTo>
                  <a:pt x="452" y="665"/>
                  <a:pt x="452" y="666"/>
                  <a:pt x="453" y="666"/>
                </a:cubicBezTo>
                <a:cubicBezTo>
                  <a:pt x="454" y="668"/>
                  <a:pt x="450" y="666"/>
                  <a:pt x="451" y="666"/>
                </a:cubicBezTo>
                <a:close/>
                <a:moveTo>
                  <a:pt x="453" y="682"/>
                </a:moveTo>
                <a:cubicBezTo>
                  <a:pt x="453" y="682"/>
                  <a:pt x="453" y="682"/>
                  <a:pt x="453" y="681"/>
                </a:cubicBezTo>
                <a:cubicBezTo>
                  <a:pt x="454" y="681"/>
                  <a:pt x="454" y="683"/>
                  <a:pt x="453" y="682"/>
                </a:cubicBezTo>
                <a:close/>
                <a:moveTo>
                  <a:pt x="456" y="685"/>
                </a:moveTo>
                <a:cubicBezTo>
                  <a:pt x="456" y="684"/>
                  <a:pt x="457" y="685"/>
                  <a:pt x="458" y="685"/>
                </a:cubicBezTo>
                <a:cubicBezTo>
                  <a:pt x="459" y="686"/>
                  <a:pt x="456" y="686"/>
                  <a:pt x="456" y="685"/>
                </a:cubicBezTo>
                <a:close/>
                <a:moveTo>
                  <a:pt x="458" y="702"/>
                </a:moveTo>
                <a:cubicBezTo>
                  <a:pt x="458" y="701"/>
                  <a:pt x="459" y="701"/>
                  <a:pt x="459" y="702"/>
                </a:cubicBezTo>
                <a:cubicBezTo>
                  <a:pt x="460" y="704"/>
                  <a:pt x="456" y="703"/>
                  <a:pt x="458" y="702"/>
                </a:cubicBezTo>
                <a:close/>
                <a:moveTo>
                  <a:pt x="460" y="691"/>
                </a:moveTo>
                <a:cubicBezTo>
                  <a:pt x="460" y="689"/>
                  <a:pt x="464" y="690"/>
                  <a:pt x="464" y="690"/>
                </a:cubicBezTo>
                <a:cubicBezTo>
                  <a:pt x="466" y="692"/>
                  <a:pt x="460" y="691"/>
                  <a:pt x="460" y="691"/>
                </a:cubicBezTo>
                <a:close/>
                <a:moveTo>
                  <a:pt x="466" y="690"/>
                </a:moveTo>
                <a:cubicBezTo>
                  <a:pt x="465" y="692"/>
                  <a:pt x="465" y="689"/>
                  <a:pt x="466" y="690"/>
                </a:cubicBezTo>
                <a:close/>
                <a:moveTo>
                  <a:pt x="459" y="679"/>
                </a:moveTo>
                <a:cubicBezTo>
                  <a:pt x="459" y="678"/>
                  <a:pt x="459" y="677"/>
                  <a:pt x="459" y="677"/>
                </a:cubicBezTo>
                <a:cubicBezTo>
                  <a:pt x="457" y="676"/>
                  <a:pt x="456" y="677"/>
                  <a:pt x="454" y="677"/>
                </a:cubicBezTo>
                <a:cubicBezTo>
                  <a:pt x="460" y="675"/>
                  <a:pt x="449" y="672"/>
                  <a:pt x="453" y="669"/>
                </a:cubicBezTo>
                <a:cubicBezTo>
                  <a:pt x="454" y="668"/>
                  <a:pt x="457" y="670"/>
                  <a:pt x="457" y="667"/>
                </a:cubicBezTo>
                <a:cubicBezTo>
                  <a:pt x="457" y="671"/>
                  <a:pt x="461" y="666"/>
                  <a:pt x="465" y="667"/>
                </a:cubicBezTo>
                <a:cubicBezTo>
                  <a:pt x="467" y="668"/>
                  <a:pt x="469" y="671"/>
                  <a:pt x="469" y="673"/>
                </a:cubicBezTo>
                <a:cubicBezTo>
                  <a:pt x="469" y="673"/>
                  <a:pt x="462" y="681"/>
                  <a:pt x="459" y="679"/>
                </a:cubicBezTo>
                <a:close/>
                <a:moveTo>
                  <a:pt x="460" y="633"/>
                </a:moveTo>
                <a:cubicBezTo>
                  <a:pt x="461" y="633"/>
                  <a:pt x="458" y="632"/>
                  <a:pt x="460" y="633"/>
                </a:cubicBezTo>
                <a:close/>
                <a:moveTo>
                  <a:pt x="460" y="643"/>
                </a:moveTo>
                <a:cubicBezTo>
                  <a:pt x="459" y="644"/>
                  <a:pt x="459" y="641"/>
                  <a:pt x="460" y="643"/>
                </a:cubicBezTo>
                <a:close/>
                <a:moveTo>
                  <a:pt x="471" y="641"/>
                </a:moveTo>
                <a:cubicBezTo>
                  <a:pt x="467" y="642"/>
                  <a:pt x="468" y="638"/>
                  <a:pt x="471" y="641"/>
                </a:cubicBezTo>
                <a:close/>
                <a:moveTo>
                  <a:pt x="469" y="656"/>
                </a:moveTo>
                <a:cubicBezTo>
                  <a:pt x="470" y="656"/>
                  <a:pt x="467" y="655"/>
                  <a:pt x="469" y="656"/>
                </a:cubicBezTo>
                <a:close/>
                <a:moveTo>
                  <a:pt x="467" y="622"/>
                </a:moveTo>
                <a:cubicBezTo>
                  <a:pt x="467" y="621"/>
                  <a:pt x="468" y="622"/>
                  <a:pt x="468" y="622"/>
                </a:cubicBezTo>
                <a:cubicBezTo>
                  <a:pt x="469" y="624"/>
                  <a:pt x="466" y="622"/>
                  <a:pt x="467" y="622"/>
                </a:cubicBezTo>
                <a:close/>
                <a:moveTo>
                  <a:pt x="466" y="598"/>
                </a:moveTo>
                <a:cubicBezTo>
                  <a:pt x="467" y="598"/>
                  <a:pt x="467" y="599"/>
                  <a:pt x="467" y="599"/>
                </a:cubicBezTo>
                <a:cubicBezTo>
                  <a:pt x="468" y="601"/>
                  <a:pt x="465" y="599"/>
                  <a:pt x="466" y="598"/>
                </a:cubicBezTo>
                <a:close/>
                <a:moveTo>
                  <a:pt x="470" y="684"/>
                </a:moveTo>
                <a:cubicBezTo>
                  <a:pt x="472" y="686"/>
                  <a:pt x="466" y="685"/>
                  <a:pt x="467" y="683"/>
                </a:cubicBezTo>
                <a:cubicBezTo>
                  <a:pt x="468" y="682"/>
                  <a:pt x="470" y="683"/>
                  <a:pt x="470" y="684"/>
                </a:cubicBezTo>
                <a:close/>
                <a:moveTo>
                  <a:pt x="469" y="666"/>
                </a:moveTo>
                <a:cubicBezTo>
                  <a:pt x="469" y="665"/>
                  <a:pt x="470" y="665"/>
                  <a:pt x="470" y="666"/>
                </a:cubicBezTo>
                <a:cubicBezTo>
                  <a:pt x="471" y="667"/>
                  <a:pt x="469" y="666"/>
                  <a:pt x="469" y="666"/>
                </a:cubicBezTo>
                <a:close/>
                <a:moveTo>
                  <a:pt x="470" y="689"/>
                </a:moveTo>
                <a:cubicBezTo>
                  <a:pt x="475" y="693"/>
                  <a:pt x="467" y="695"/>
                  <a:pt x="467" y="690"/>
                </a:cubicBezTo>
                <a:cubicBezTo>
                  <a:pt x="467" y="690"/>
                  <a:pt x="468" y="687"/>
                  <a:pt x="468" y="687"/>
                </a:cubicBezTo>
                <a:cubicBezTo>
                  <a:pt x="472" y="685"/>
                  <a:pt x="474" y="691"/>
                  <a:pt x="470" y="689"/>
                </a:cubicBezTo>
                <a:close/>
                <a:moveTo>
                  <a:pt x="472" y="667"/>
                </a:moveTo>
                <a:cubicBezTo>
                  <a:pt x="472" y="667"/>
                  <a:pt x="473" y="668"/>
                  <a:pt x="473" y="668"/>
                </a:cubicBezTo>
                <a:cubicBezTo>
                  <a:pt x="475" y="670"/>
                  <a:pt x="470" y="668"/>
                  <a:pt x="472" y="667"/>
                </a:cubicBezTo>
                <a:close/>
                <a:moveTo>
                  <a:pt x="474" y="664"/>
                </a:moveTo>
                <a:cubicBezTo>
                  <a:pt x="474" y="664"/>
                  <a:pt x="475" y="664"/>
                  <a:pt x="475" y="665"/>
                </a:cubicBezTo>
                <a:cubicBezTo>
                  <a:pt x="476" y="667"/>
                  <a:pt x="472" y="665"/>
                  <a:pt x="474" y="664"/>
                </a:cubicBezTo>
                <a:close/>
                <a:moveTo>
                  <a:pt x="476" y="687"/>
                </a:moveTo>
                <a:cubicBezTo>
                  <a:pt x="475" y="687"/>
                  <a:pt x="475" y="684"/>
                  <a:pt x="476" y="685"/>
                </a:cubicBezTo>
                <a:cubicBezTo>
                  <a:pt x="476" y="685"/>
                  <a:pt x="476" y="686"/>
                  <a:pt x="476" y="687"/>
                </a:cubicBezTo>
                <a:close/>
                <a:moveTo>
                  <a:pt x="476" y="673"/>
                </a:moveTo>
                <a:cubicBezTo>
                  <a:pt x="476" y="673"/>
                  <a:pt x="477" y="672"/>
                  <a:pt x="477" y="673"/>
                </a:cubicBezTo>
                <a:cubicBezTo>
                  <a:pt x="478" y="674"/>
                  <a:pt x="476" y="674"/>
                  <a:pt x="476" y="673"/>
                </a:cubicBezTo>
                <a:close/>
                <a:moveTo>
                  <a:pt x="481" y="671"/>
                </a:moveTo>
                <a:cubicBezTo>
                  <a:pt x="477" y="671"/>
                  <a:pt x="479" y="668"/>
                  <a:pt x="481" y="671"/>
                </a:cubicBezTo>
                <a:close/>
                <a:moveTo>
                  <a:pt x="482" y="658"/>
                </a:moveTo>
                <a:cubicBezTo>
                  <a:pt x="477" y="657"/>
                  <a:pt x="479" y="654"/>
                  <a:pt x="482" y="658"/>
                </a:cubicBezTo>
                <a:close/>
                <a:moveTo>
                  <a:pt x="480" y="668"/>
                </a:moveTo>
                <a:cubicBezTo>
                  <a:pt x="481" y="667"/>
                  <a:pt x="481" y="669"/>
                  <a:pt x="480" y="668"/>
                </a:cubicBezTo>
                <a:close/>
                <a:moveTo>
                  <a:pt x="487" y="691"/>
                </a:moveTo>
                <a:cubicBezTo>
                  <a:pt x="488" y="690"/>
                  <a:pt x="489" y="692"/>
                  <a:pt x="489" y="692"/>
                </a:cubicBezTo>
                <a:cubicBezTo>
                  <a:pt x="490" y="695"/>
                  <a:pt x="486" y="693"/>
                  <a:pt x="487" y="691"/>
                </a:cubicBezTo>
                <a:close/>
                <a:moveTo>
                  <a:pt x="493" y="686"/>
                </a:moveTo>
                <a:cubicBezTo>
                  <a:pt x="493" y="686"/>
                  <a:pt x="493" y="686"/>
                  <a:pt x="493" y="686"/>
                </a:cubicBezTo>
                <a:cubicBezTo>
                  <a:pt x="493" y="686"/>
                  <a:pt x="493" y="686"/>
                  <a:pt x="493" y="686"/>
                </a:cubicBezTo>
                <a:cubicBezTo>
                  <a:pt x="493" y="686"/>
                  <a:pt x="493" y="686"/>
                  <a:pt x="493" y="686"/>
                </a:cubicBezTo>
                <a:close/>
                <a:moveTo>
                  <a:pt x="495" y="682"/>
                </a:moveTo>
                <a:cubicBezTo>
                  <a:pt x="497" y="683"/>
                  <a:pt x="494" y="681"/>
                  <a:pt x="495" y="682"/>
                </a:cubicBezTo>
                <a:close/>
                <a:moveTo>
                  <a:pt x="497" y="681"/>
                </a:moveTo>
                <a:cubicBezTo>
                  <a:pt x="497" y="681"/>
                  <a:pt x="497" y="681"/>
                  <a:pt x="497" y="681"/>
                </a:cubicBezTo>
                <a:cubicBezTo>
                  <a:pt x="496" y="680"/>
                  <a:pt x="497" y="681"/>
                  <a:pt x="497" y="681"/>
                </a:cubicBezTo>
                <a:close/>
                <a:moveTo>
                  <a:pt x="496" y="673"/>
                </a:moveTo>
                <a:cubicBezTo>
                  <a:pt x="497" y="674"/>
                  <a:pt x="494" y="674"/>
                  <a:pt x="495" y="673"/>
                </a:cubicBezTo>
                <a:cubicBezTo>
                  <a:pt x="495" y="673"/>
                  <a:pt x="496" y="672"/>
                  <a:pt x="496" y="673"/>
                </a:cubicBezTo>
                <a:close/>
                <a:moveTo>
                  <a:pt x="494" y="670"/>
                </a:moveTo>
                <a:cubicBezTo>
                  <a:pt x="494" y="670"/>
                  <a:pt x="495" y="669"/>
                  <a:pt x="495" y="670"/>
                </a:cubicBezTo>
                <a:cubicBezTo>
                  <a:pt x="496" y="671"/>
                  <a:pt x="492" y="670"/>
                  <a:pt x="494" y="670"/>
                </a:cubicBezTo>
                <a:close/>
                <a:moveTo>
                  <a:pt x="492" y="681"/>
                </a:moveTo>
                <a:cubicBezTo>
                  <a:pt x="492" y="682"/>
                  <a:pt x="494" y="684"/>
                  <a:pt x="494" y="685"/>
                </a:cubicBezTo>
                <a:cubicBezTo>
                  <a:pt x="493" y="685"/>
                  <a:pt x="489" y="685"/>
                  <a:pt x="492" y="682"/>
                </a:cubicBezTo>
                <a:cubicBezTo>
                  <a:pt x="488" y="683"/>
                  <a:pt x="489" y="680"/>
                  <a:pt x="492" y="681"/>
                </a:cubicBezTo>
                <a:close/>
                <a:moveTo>
                  <a:pt x="488" y="684"/>
                </a:moveTo>
                <a:cubicBezTo>
                  <a:pt x="488" y="684"/>
                  <a:pt x="490" y="685"/>
                  <a:pt x="490" y="685"/>
                </a:cubicBezTo>
                <a:cubicBezTo>
                  <a:pt x="491" y="687"/>
                  <a:pt x="486" y="686"/>
                  <a:pt x="488" y="684"/>
                </a:cubicBezTo>
                <a:close/>
                <a:moveTo>
                  <a:pt x="485" y="687"/>
                </a:moveTo>
                <a:cubicBezTo>
                  <a:pt x="485" y="686"/>
                  <a:pt x="486" y="685"/>
                  <a:pt x="487" y="687"/>
                </a:cubicBezTo>
                <a:cubicBezTo>
                  <a:pt x="489" y="688"/>
                  <a:pt x="485" y="688"/>
                  <a:pt x="485" y="687"/>
                </a:cubicBezTo>
                <a:close/>
                <a:moveTo>
                  <a:pt x="485" y="684"/>
                </a:moveTo>
                <a:cubicBezTo>
                  <a:pt x="485" y="683"/>
                  <a:pt x="486" y="683"/>
                  <a:pt x="486" y="683"/>
                </a:cubicBezTo>
                <a:cubicBezTo>
                  <a:pt x="487" y="685"/>
                  <a:pt x="485" y="684"/>
                  <a:pt x="485" y="684"/>
                </a:cubicBezTo>
                <a:close/>
                <a:moveTo>
                  <a:pt x="485" y="683"/>
                </a:moveTo>
                <a:cubicBezTo>
                  <a:pt x="480" y="684"/>
                  <a:pt x="485" y="678"/>
                  <a:pt x="487" y="680"/>
                </a:cubicBezTo>
                <a:cubicBezTo>
                  <a:pt x="487" y="680"/>
                  <a:pt x="485" y="683"/>
                  <a:pt x="485" y="683"/>
                </a:cubicBezTo>
                <a:close/>
                <a:moveTo>
                  <a:pt x="484" y="665"/>
                </a:moveTo>
                <a:cubicBezTo>
                  <a:pt x="484" y="665"/>
                  <a:pt x="485" y="666"/>
                  <a:pt x="485" y="666"/>
                </a:cubicBezTo>
                <a:cubicBezTo>
                  <a:pt x="486" y="667"/>
                  <a:pt x="483" y="666"/>
                  <a:pt x="484" y="665"/>
                </a:cubicBezTo>
                <a:close/>
                <a:moveTo>
                  <a:pt x="486" y="676"/>
                </a:moveTo>
                <a:cubicBezTo>
                  <a:pt x="485" y="676"/>
                  <a:pt x="483" y="672"/>
                  <a:pt x="481" y="672"/>
                </a:cubicBezTo>
                <a:cubicBezTo>
                  <a:pt x="484" y="671"/>
                  <a:pt x="487" y="675"/>
                  <a:pt x="486" y="676"/>
                </a:cubicBezTo>
                <a:close/>
                <a:moveTo>
                  <a:pt x="484" y="651"/>
                </a:moveTo>
                <a:cubicBezTo>
                  <a:pt x="482" y="653"/>
                  <a:pt x="480" y="649"/>
                  <a:pt x="479" y="648"/>
                </a:cubicBezTo>
                <a:cubicBezTo>
                  <a:pt x="480" y="648"/>
                  <a:pt x="485" y="650"/>
                  <a:pt x="484" y="651"/>
                </a:cubicBezTo>
                <a:close/>
                <a:moveTo>
                  <a:pt x="482" y="644"/>
                </a:moveTo>
                <a:cubicBezTo>
                  <a:pt x="484" y="644"/>
                  <a:pt x="483" y="646"/>
                  <a:pt x="482" y="644"/>
                </a:cubicBezTo>
                <a:close/>
                <a:moveTo>
                  <a:pt x="482" y="639"/>
                </a:moveTo>
                <a:cubicBezTo>
                  <a:pt x="483" y="642"/>
                  <a:pt x="477" y="641"/>
                  <a:pt x="478" y="639"/>
                </a:cubicBezTo>
                <a:cubicBezTo>
                  <a:pt x="479" y="637"/>
                  <a:pt x="482" y="638"/>
                  <a:pt x="482" y="639"/>
                </a:cubicBezTo>
                <a:close/>
                <a:moveTo>
                  <a:pt x="481" y="637"/>
                </a:moveTo>
                <a:cubicBezTo>
                  <a:pt x="480" y="636"/>
                  <a:pt x="481" y="635"/>
                  <a:pt x="481" y="637"/>
                </a:cubicBezTo>
                <a:close/>
                <a:moveTo>
                  <a:pt x="482" y="621"/>
                </a:moveTo>
                <a:cubicBezTo>
                  <a:pt x="481" y="622"/>
                  <a:pt x="481" y="621"/>
                  <a:pt x="480" y="621"/>
                </a:cubicBezTo>
                <a:cubicBezTo>
                  <a:pt x="481" y="620"/>
                  <a:pt x="481" y="621"/>
                  <a:pt x="482" y="621"/>
                </a:cubicBezTo>
                <a:close/>
                <a:moveTo>
                  <a:pt x="480" y="622"/>
                </a:moveTo>
                <a:cubicBezTo>
                  <a:pt x="481" y="622"/>
                  <a:pt x="480" y="623"/>
                  <a:pt x="479" y="622"/>
                </a:cubicBezTo>
                <a:cubicBezTo>
                  <a:pt x="479" y="622"/>
                  <a:pt x="480" y="621"/>
                  <a:pt x="480" y="622"/>
                </a:cubicBezTo>
                <a:close/>
                <a:moveTo>
                  <a:pt x="479" y="615"/>
                </a:moveTo>
                <a:cubicBezTo>
                  <a:pt x="480" y="616"/>
                  <a:pt x="477" y="615"/>
                  <a:pt x="477" y="615"/>
                </a:cubicBezTo>
                <a:cubicBezTo>
                  <a:pt x="477" y="614"/>
                  <a:pt x="479" y="614"/>
                  <a:pt x="479" y="615"/>
                </a:cubicBezTo>
                <a:close/>
                <a:moveTo>
                  <a:pt x="477" y="640"/>
                </a:moveTo>
                <a:cubicBezTo>
                  <a:pt x="478" y="641"/>
                  <a:pt x="476" y="638"/>
                  <a:pt x="477" y="640"/>
                </a:cubicBezTo>
                <a:close/>
                <a:moveTo>
                  <a:pt x="477" y="654"/>
                </a:moveTo>
                <a:cubicBezTo>
                  <a:pt x="478" y="655"/>
                  <a:pt x="476" y="654"/>
                  <a:pt x="476" y="654"/>
                </a:cubicBezTo>
                <a:cubicBezTo>
                  <a:pt x="475" y="653"/>
                  <a:pt x="477" y="654"/>
                  <a:pt x="477" y="654"/>
                </a:cubicBezTo>
                <a:close/>
                <a:moveTo>
                  <a:pt x="476" y="611"/>
                </a:moveTo>
                <a:cubicBezTo>
                  <a:pt x="477" y="612"/>
                  <a:pt x="475" y="609"/>
                  <a:pt x="476" y="611"/>
                </a:cubicBezTo>
                <a:close/>
                <a:moveTo>
                  <a:pt x="476" y="642"/>
                </a:moveTo>
                <a:cubicBezTo>
                  <a:pt x="475" y="643"/>
                  <a:pt x="475" y="640"/>
                  <a:pt x="476" y="642"/>
                </a:cubicBezTo>
                <a:close/>
                <a:moveTo>
                  <a:pt x="474" y="617"/>
                </a:moveTo>
                <a:cubicBezTo>
                  <a:pt x="475" y="617"/>
                  <a:pt x="474" y="618"/>
                  <a:pt x="473" y="617"/>
                </a:cubicBezTo>
                <a:cubicBezTo>
                  <a:pt x="473" y="617"/>
                  <a:pt x="474" y="616"/>
                  <a:pt x="474" y="617"/>
                </a:cubicBezTo>
                <a:close/>
                <a:moveTo>
                  <a:pt x="476" y="646"/>
                </a:moveTo>
                <a:cubicBezTo>
                  <a:pt x="475" y="645"/>
                  <a:pt x="474" y="644"/>
                  <a:pt x="473" y="644"/>
                </a:cubicBezTo>
                <a:cubicBezTo>
                  <a:pt x="474" y="644"/>
                  <a:pt x="476" y="645"/>
                  <a:pt x="476" y="646"/>
                </a:cubicBezTo>
                <a:close/>
                <a:moveTo>
                  <a:pt x="475" y="654"/>
                </a:moveTo>
                <a:cubicBezTo>
                  <a:pt x="475" y="654"/>
                  <a:pt x="474" y="657"/>
                  <a:pt x="473" y="656"/>
                </a:cubicBezTo>
                <a:cubicBezTo>
                  <a:pt x="471" y="655"/>
                  <a:pt x="474" y="651"/>
                  <a:pt x="475" y="654"/>
                </a:cubicBezTo>
                <a:close/>
                <a:moveTo>
                  <a:pt x="474" y="661"/>
                </a:moveTo>
                <a:cubicBezTo>
                  <a:pt x="476" y="667"/>
                  <a:pt x="462" y="660"/>
                  <a:pt x="467" y="656"/>
                </a:cubicBezTo>
                <a:cubicBezTo>
                  <a:pt x="466" y="657"/>
                  <a:pt x="470" y="657"/>
                  <a:pt x="469" y="657"/>
                </a:cubicBezTo>
                <a:cubicBezTo>
                  <a:pt x="470" y="657"/>
                  <a:pt x="474" y="660"/>
                  <a:pt x="474" y="661"/>
                </a:cubicBezTo>
                <a:close/>
                <a:moveTo>
                  <a:pt x="468" y="591"/>
                </a:moveTo>
                <a:cubicBezTo>
                  <a:pt x="466" y="590"/>
                  <a:pt x="467" y="589"/>
                  <a:pt x="466" y="588"/>
                </a:cubicBezTo>
                <a:cubicBezTo>
                  <a:pt x="466" y="587"/>
                  <a:pt x="465" y="586"/>
                  <a:pt x="465" y="585"/>
                </a:cubicBezTo>
                <a:cubicBezTo>
                  <a:pt x="466" y="581"/>
                  <a:pt x="472" y="585"/>
                  <a:pt x="471" y="589"/>
                </a:cubicBezTo>
                <a:cubicBezTo>
                  <a:pt x="471" y="590"/>
                  <a:pt x="470" y="593"/>
                  <a:pt x="468" y="591"/>
                </a:cubicBezTo>
                <a:close/>
                <a:moveTo>
                  <a:pt x="466" y="483"/>
                </a:moveTo>
                <a:cubicBezTo>
                  <a:pt x="468" y="484"/>
                  <a:pt x="467" y="485"/>
                  <a:pt x="469" y="486"/>
                </a:cubicBezTo>
                <a:cubicBezTo>
                  <a:pt x="468" y="486"/>
                  <a:pt x="466" y="485"/>
                  <a:pt x="466" y="483"/>
                </a:cubicBezTo>
                <a:close/>
                <a:moveTo>
                  <a:pt x="475" y="566"/>
                </a:moveTo>
                <a:cubicBezTo>
                  <a:pt x="476" y="565"/>
                  <a:pt x="478" y="567"/>
                  <a:pt x="478" y="567"/>
                </a:cubicBezTo>
                <a:cubicBezTo>
                  <a:pt x="479" y="569"/>
                  <a:pt x="474" y="567"/>
                  <a:pt x="475" y="566"/>
                </a:cubicBezTo>
                <a:close/>
                <a:moveTo>
                  <a:pt x="477" y="592"/>
                </a:moveTo>
                <a:cubicBezTo>
                  <a:pt x="477" y="592"/>
                  <a:pt x="476" y="591"/>
                  <a:pt x="477" y="592"/>
                </a:cubicBezTo>
                <a:cubicBezTo>
                  <a:pt x="477" y="593"/>
                  <a:pt x="477" y="592"/>
                  <a:pt x="477" y="592"/>
                </a:cubicBezTo>
                <a:close/>
                <a:moveTo>
                  <a:pt x="477" y="587"/>
                </a:moveTo>
                <a:cubicBezTo>
                  <a:pt x="478" y="586"/>
                  <a:pt x="479" y="588"/>
                  <a:pt x="480" y="588"/>
                </a:cubicBezTo>
                <a:cubicBezTo>
                  <a:pt x="480" y="591"/>
                  <a:pt x="475" y="588"/>
                  <a:pt x="477" y="587"/>
                </a:cubicBezTo>
                <a:close/>
                <a:moveTo>
                  <a:pt x="479" y="454"/>
                </a:moveTo>
                <a:cubicBezTo>
                  <a:pt x="478" y="453"/>
                  <a:pt x="480" y="456"/>
                  <a:pt x="479" y="454"/>
                </a:cubicBezTo>
                <a:close/>
                <a:moveTo>
                  <a:pt x="496" y="587"/>
                </a:moveTo>
                <a:cubicBezTo>
                  <a:pt x="497" y="588"/>
                  <a:pt x="495" y="587"/>
                  <a:pt x="495" y="586"/>
                </a:cubicBezTo>
                <a:cubicBezTo>
                  <a:pt x="496" y="586"/>
                  <a:pt x="496" y="586"/>
                  <a:pt x="496" y="587"/>
                </a:cubicBezTo>
                <a:close/>
                <a:moveTo>
                  <a:pt x="496" y="580"/>
                </a:moveTo>
                <a:cubicBezTo>
                  <a:pt x="495" y="578"/>
                  <a:pt x="496" y="582"/>
                  <a:pt x="496" y="580"/>
                </a:cubicBezTo>
                <a:close/>
                <a:moveTo>
                  <a:pt x="496" y="559"/>
                </a:moveTo>
                <a:cubicBezTo>
                  <a:pt x="496" y="559"/>
                  <a:pt x="496" y="559"/>
                  <a:pt x="496" y="560"/>
                </a:cubicBezTo>
                <a:cubicBezTo>
                  <a:pt x="497" y="561"/>
                  <a:pt x="496" y="560"/>
                  <a:pt x="496" y="559"/>
                </a:cubicBezTo>
                <a:close/>
                <a:moveTo>
                  <a:pt x="496" y="596"/>
                </a:moveTo>
                <a:cubicBezTo>
                  <a:pt x="495" y="595"/>
                  <a:pt x="497" y="597"/>
                  <a:pt x="496" y="596"/>
                </a:cubicBezTo>
                <a:close/>
                <a:moveTo>
                  <a:pt x="496" y="590"/>
                </a:moveTo>
                <a:cubicBezTo>
                  <a:pt x="497" y="589"/>
                  <a:pt x="498" y="592"/>
                  <a:pt x="496" y="592"/>
                </a:cubicBezTo>
                <a:cubicBezTo>
                  <a:pt x="495" y="593"/>
                  <a:pt x="495" y="591"/>
                  <a:pt x="496" y="590"/>
                </a:cubicBezTo>
                <a:close/>
                <a:moveTo>
                  <a:pt x="499" y="609"/>
                </a:moveTo>
                <a:cubicBezTo>
                  <a:pt x="502" y="612"/>
                  <a:pt x="502" y="609"/>
                  <a:pt x="504" y="609"/>
                </a:cubicBezTo>
                <a:cubicBezTo>
                  <a:pt x="504" y="609"/>
                  <a:pt x="506" y="610"/>
                  <a:pt x="506" y="611"/>
                </a:cubicBezTo>
                <a:cubicBezTo>
                  <a:pt x="508" y="615"/>
                  <a:pt x="499" y="614"/>
                  <a:pt x="499" y="609"/>
                </a:cubicBezTo>
                <a:close/>
                <a:moveTo>
                  <a:pt x="505" y="598"/>
                </a:moveTo>
                <a:cubicBezTo>
                  <a:pt x="505" y="600"/>
                  <a:pt x="503" y="601"/>
                  <a:pt x="501" y="601"/>
                </a:cubicBezTo>
                <a:cubicBezTo>
                  <a:pt x="498" y="601"/>
                  <a:pt x="497" y="598"/>
                  <a:pt x="497" y="595"/>
                </a:cubicBezTo>
                <a:cubicBezTo>
                  <a:pt x="497" y="595"/>
                  <a:pt x="497" y="594"/>
                  <a:pt x="496" y="594"/>
                </a:cubicBezTo>
                <a:cubicBezTo>
                  <a:pt x="497" y="593"/>
                  <a:pt x="500" y="593"/>
                  <a:pt x="500" y="593"/>
                </a:cubicBezTo>
                <a:cubicBezTo>
                  <a:pt x="501" y="591"/>
                  <a:pt x="496" y="591"/>
                  <a:pt x="497" y="589"/>
                </a:cubicBezTo>
                <a:cubicBezTo>
                  <a:pt x="498" y="587"/>
                  <a:pt x="500" y="590"/>
                  <a:pt x="500" y="591"/>
                </a:cubicBezTo>
                <a:cubicBezTo>
                  <a:pt x="502" y="592"/>
                  <a:pt x="503" y="590"/>
                  <a:pt x="503" y="593"/>
                </a:cubicBezTo>
                <a:cubicBezTo>
                  <a:pt x="503" y="594"/>
                  <a:pt x="506" y="597"/>
                  <a:pt x="506" y="597"/>
                </a:cubicBezTo>
                <a:cubicBezTo>
                  <a:pt x="507" y="597"/>
                  <a:pt x="507" y="595"/>
                  <a:pt x="508" y="597"/>
                </a:cubicBezTo>
                <a:cubicBezTo>
                  <a:pt x="508" y="596"/>
                  <a:pt x="507" y="600"/>
                  <a:pt x="508" y="600"/>
                </a:cubicBezTo>
                <a:cubicBezTo>
                  <a:pt x="507" y="600"/>
                  <a:pt x="506" y="600"/>
                  <a:pt x="505" y="598"/>
                </a:cubicBezTo>
                <a:close/>
                <a:moveTo>
                  <a:pt x="499" y="528"/>
                </a:moveTo>
                <a:cubicBezTo>
                  <a:pt x="500" y="528"/>
                  <a:pt x="500" y="529"/>
                  <a:pt x="501" y="529"/>
                </a:cubicBezTo>
                <a:cubicBezTo>
                  <a:pt x="502" y="530"/>
                  <a:pt x="498" y="529"/>
                  <a:pt x="499" y="528"/>
                </a:cubicBezTo>
                <a:close/>
                <a:moveTo>
                  <a:pt x="501" y="521"/>
                </a:moveTo>
                <a:cubicBezTo>
                  <a:pt x="502" y="520"/>
                  <a:pt x="502" y="522"/>
                  <a:pt x="502" y="522"/>
                </a:cubicBezTo>
                <a:cubicBezTo>
                  <a:pt x="502" y="523"/>
                  <a:pt x="500" y="521"/>
                  <a:pt x="501" y="521"/>
                </a:cubicBezTo>
                <a:close/>
                <a:moveTo>
                  <a:pt x="509" y="616"/>
                </a:moveTo>
                <a:cubicBezTo>
                  <a:pt x="508" y="616"/>
                  <a:pt x="507" y="614"/>
                  <a:pt x="508" y="614"/>
                </a:cubicBezTo>
                <a:cubicBezTo>
                  <a:pt x="510" y="614"/>
                  <a:pt x="510" y="616"/>
                  <a:pt x="509" y="616"/>
                </a:cubicBezTo>
                <a:close/>
                <a:moveTo>
                  <a:pt x="510" y="615"/>
                </a:moveTo>
                <a:cubicBezTo>
                  <a:pt x="510" y="615"/>
                  <a:pt x="511" y="615"/>
                  <a:pt x="511" y="616"/>
                </a:cubicBezTo>
                <a:cubicBezTo>
                  <a:pt x="512" y="617"/>
                  <a:pt x="510" y="616"/>
                  <a:pt x="510" y="615"/>
                </a:cubicBezTo>
                <a:close/>
                <a:moveTo>
                  <a:pt x="515" y="611"/>
                </a:moveTo>
                <a:cubicBezTo>
                  <a:pt x="514" y="610"/>
                  <a:pt x="516" y="610"/>
                  <a:pt x="515" y="611"/>
                </a:cubicBezTo>
                <a:close/>
                <a:moveTo>
                  <a:pt x="518" y="606"/>
                </a:moveTo>
                <a:cubicBezTo>
                  <a:pt x="517" y="604"/>
                  <a:pt x="519" y="603"/>
                  <a:pt x="518" y="606"/>
                </a:cubicBezTo>
                <a:close/>
                <a:moveTo>
                  <a:pt x="518" y="567"/>
                </a:moveTo>
                <a:cubicBezTo>
                  <a:pt x="517" y="568"/>
                  <a:pt x="518" y="565"/>
                  <a:pt x="518" y="567"/>
                </a:cubicBezTo>
                <a:close/>
                <a:moveTo>
                  <a:pt x="520" y="607"/>
                </a:moveTo>
                <a:cubicBezTo>
                  <a:pt x="519" y="607"/>
                  <a:pt x="520" y="607"/>
                  <a:pt x="520" y="607"/>
                </a:cubicBezTo>
                <a:close/>
                <a:moveTo>
                  <a:pt x="520" y="607"/>
                </a:moveTo>
                <a:cubicBezTo>
                  <a:pt x="520" y="608"/>
                  <a:pt x="520" y="608"/>
                  <a:pt x="520" y="608"/>
                </a:cubicBezTo>
                <a:cubicBezTo>
                  <a:pt x="520" y="608"/>
                  <a:pt x="520" y="608"/>
                  <a:pt x="520" y="608"/>
                </a:cubicBezTo>
                <a:cubicBezTo>
                  <a:pt x="520" y="608"/>
                  <a:pt x="520" y="608"/>
                  <a:pt x="520" y="607"/>
                </a:cubicBezTo>
                <a:close/>
                <a:moveTo>
                  <a:pt x="520" y="587"/>
                </a:moveTo>
                <a:cubicBezTo>
                  <a:pt x="520" y="587"/>
                  <a:pt x="521" y="588"/>
                  <a:pt x="521" y="588"/>
                </a:cubicBezTo>
                <a:cubicBezTo>
                  <a:pt x="522" y="589"/>
                  <a:pt x="519" y="588"/>
                  <a:pt x="520" y="587"/>
                </a:cubicBezTo>
                <a:close/>
                <a:moveTo>
                  <a:pt x="524" y="590"/>
                </a:moveTo>
                <a:cubicBezTo>
                  <a:pt x="523" y="591"/>
                  <a:pt x="524" y="588"/>
                  <a:pt x="524" y="590"/>
                </a:cubicBezTo>
                <a:close/>
                <a:moveTo>
                  <a:pt x="525" y="609"/>
                </a:moveTo>
                <a:cubicBezTo>
                  <a:pt x="528" y="610"/>
                  <a:pt x="527" y="613"/>
                  <a:pt x="529" y="615"/>
                </a:cubicBezTo>
                <a:cubicBezTo>
                  <a:pt x="527" y="614"/>
                  <a:pt x="526" y="611"/>
                  <a:pt x="525" y="609"/>
                </a:cubicBezTo>
                <a:close/>
                <a:moveTo>
                  <a:pt x="525" y="580"/>
                </a:moveTo>
                <a:cubicBezTo>
                  <a:pt x="525" y="582"/>
                  <a:pt x="522" y="580"/>
                  <a:pt x="523" y="579"/>
                </a:cubicBezTo>
                <a:cubicBezTo>
                  <a:pt x="524" y="578"/>
                  <a:pt x="525" y="579"/>
                  <a:pt x="525" y="580"/>
                </a:cubicBezTo>
                <a:close/>
                <a:moveTo>
                  <a:pt x="524" y="565"/>
                </a:moveTo>
                <a:cubicBezTo>
                  <a:pt x="524" y="564"/>
                  <a:pt x="525" y="566"/>
                  <a:pt x="525" y="566"/>
                </a:cubicBezTo>
                <a:cubicBezTo>
                  <a:pt x="525" y="568"/>
                  <a:pt x="523" y="566"/>
                  <a:pt x="524" y="565"/>
                </a:cubicBezTo>
                <a:close/>
                <a:moveTo>
                  <a:pt x="524" y="549"/>
                </a:moveTo>
                <a:cubicBezTo>
                  <a:pt x="525" y="547"/>
                  <a:pt x="529" y="549"/>
                  <a:pt x="529" y="551"/>
                </a:cubicBezTo>
                <a:cubicBezTo>
                  <a:pt x="530" y="557"/>
                  <a:pt x="524" y="550"/>
                  <a:pt x="524" y="549"/>
                </a:cubicBezTo>
                <a:close/>
                <a:moveTo>
                  <a:pt x="525" y="541"/>
                </a:moveTo>
                <a:cubicBezTo>
                  <a:pt x="523" y="541"/>
                  <a:pt x="525" y="539"/>
                  <a:pt x="525" y="541"/>
                </a:cubicBezTo>
                <a:close/>
                <a:moveTo>
                  <a:pt x="526" y="576"/>
                </a:moveTo>
                <a:cubicBezTo>
                  <a:pt x="526" y="576"/>
                  <a:pt x="526" y="576"/>
                  <a:pt x="526" y="576"/>
                </a:cubicBezTo>
                <a:cubicBezTo>
                  <a:pt x="526" y="574"/>
                  <a:pt x="526" y="576"/>
                  <a:pt x="526" y="576"/>
                </a:cubicBezTo>
                <a:close/>
                <a:moveTo>
                  <a:pt x="530" y="596"/>
                </a:moveTo>
                <a:cubicBezTo>
                  <a:pt x="530" y="596"/>
                  <a:pt x="530" y="597"/>
                  <a:pt x="531" y="597"/>
                </a:cubicBezTo>
                <a:cubicBezTo>
                  <a:pt x="531" y="599"/>
                  <a:pt x="528" y="596"/>
                  <a:pt x="530" y="596"/>
                </a:cubicBezTo>
                <a:close/>
                <a:moveTo>
                  <a:pt x="527" y="595"/>
                </a:moveTo>
                <a:cubicBezTo>
                  <a:pt x="526" y="594"/>
                  <a:pt x="528" y="590"/>
                  <a:pt x="530" y="591"/>
                </a:cubicBezTo>
                <a:cubicBezTo>
                  <a:pt x="532" y="592"/>
                  <a:pt x="531" y="598"/>
                  <a:pt x="527" y="595"/>
                </a:cubicBezTo>
                <a:close/>
                <a:moveTo>
                  <a:pt x="533" y="617"/>
                </a:moveTo>
                <a:cubicBezTo>
                  <a:pt x="533" y="618"/>
                  <a:pt x="532" y="616"/>
                  <a:pt x="533" y="617"/>
                </a:cubicBezTo>
                <a:close/>
                <a:moveTo>
                  <a:pt x="533" y="600"/>
                </a:moveTo>
                <a:cubicBezTo>
                  <a:pt x="534" y="601"/>
                  <a:pt x="531" y="600"/>
                  <a:pt x="532" y="599"/>
                </a:cubicBezTo>
                <a:cubicBezTo>
                  <a:pt x="532" y="598"/>
                  <a:pt x="533" y="599"/>
                  <a:pt x="533" y="600"/>
                </a:cubicBezTo>
                <a:close/>
                <a:moveTo>
                  <a:pt x="531" y="579"/>
                </a:moveTo>
                <a:cubicBezTo>
                  <a:pt x="530" y="577"/>
                  <a:pt x="529" y="575"/>
                  <a:pt x="529" y="572"/>
                </a:cubicBezTo>
                <a:cubicBezTo>
                  <a:pt x="530" y="574"/>
                  <a:pt x="531" y="576"/>
                  <a:pt x="531" y="579"/>
                </a:cubicBezTo>
                <a:close/>
                <a:moveTo>
                  <a:pt x="532" y="541"/>
                </a:moveTo>
                <a:cubicBezTo>
                  <a:pt x="533" y="541"/>
                  <a:pt x="530" y="540"/>
                  <a:pt x="532" y="541"/>
                </a:cubicBezTo>
                <a:close/>
                <a:moveTo>
                  <a:pt x="531" y="502"/>
                </a:moveTo>
                <a:cubicBezTo>
                  <a:pt x="529" y="501"/>
                  <a:pt x="529" y="499"/>
                  <a:pt x="529" y="498"/>
                </a:cubicBezTo>
                <a:cubicBezTo>
                  <a:pt x="530" y="499"/>
                  <a:pt x="530" y="500"/>
                  <a:pt x="531" y="502"/>
                </a:cubicBezTo>
                <a:close/>
                <a:moveTo>
                  <a:pt x="526" y="400"/>
                </a:moveTo>
                <a:cubicBezTo>
                  <a:pt x="528" y="399"/>
                  <a:pt x="530" y="401"/>
                  <a:pt x="529" y="402"/>
                </a:cubicBezTo>
                <a:cubicBezTo>
                  <a:pt x="529" y="406"/>
                  <a:pt x="525" y="401"/>
                  <a:pt x="526" y="400"/>
                </a:cubicBezTo>
                <a:close/>
                <a:moveTo>
                  <a:pt x="529" y="495"/>
                </a:moveTo>
                <a:cubicBezTo>
                  <a:pt x="528" y="491"/>
                  <a:pt x="529" y="498"/>
                  <a:pt x="529" y="495"/>
                </a:cubicBezTo>
                <a:close/>
                <a:moveTo>
                  <a:pt x="528" y="472"/>
                </a:moveTo>
                <a:cubicBezTo>
                  <a:pt x="528" y="473"/>
                  <a:pt x="528" y="472"/>
                  <a:pt x="528" y="473"/>
                </a:cubicBezTo>
                <a:cubicBezTo>
                  <a:pt x="529" y="474"/>
                  <a:pt x="526" y="471"/>
                  <a:pt x="528" y="472"/>
                </a:cubicBezTo>
                <a:close/>
                <a:moveTo>
                  <a:pt x="527" y="451"/>
                </a:moveTo>
                <a:cubicBezTo>
                  <a:pt x="527" y="452"/>
                  <a:pt x="527" y="453"/>
                  <a:pt x="527" y="454"/>
                </a:cubicBezTo>
                <a:cubicBezTo>
                  <a:pt x="527" y="452"/>
                  <a:pt x="527" y="452"/>
                  <a:pt x="527" y="451"/>
                </a:cubicBezTo>
                <a:close/>
                <a:moveTo>
                  <a:pt x="526" y="427"/>
                </a:moveTo>
                <a:cubicBezTo>
                  <a:pt x="525" y="428"/>
                  <a:pt x="526" y="425"/>
                  <a:pt x="526" y="427"/>
                </a:cubicBezTo>
                <a:close/>
                <a:moveTo>
                  <a:pt x="525" y="423"/>
                </a:moveTo>
                <a:cubicBezTo>
                  <a:pt x="525" y="424"/>
                  <a:pt x="526" y="425"/>
                  <a:pt x="525" y="426"/>
                </a:cubicBezTo>
                <a:cubicBezTo>
                  <a:pt x="525" y="425"/>
                  <a:pt x="524" y="424"/>
                  <a:pt x="525" y="423"/>
                </a:cubicBezTo>
                <a:close/>
                <a:moveTo>
                  <a:pt x="523" y="458"/>
                </a:moveTo>
                <a:cubicBezTo>
                  <a:pt x="523" y="458"/>
                  <a:pt x="523" y="458"/>
                  <a:pt x="523" y="458"/>
                </a:cubicBezTo>
                <a:cubicBezTo>
                  <a:pt x="523" y="458"/>
                  <a:pt x="523" y="458"/>
                  <a:pt x="523" y="458"/>
                </a:cubicBezTo>
                <a:cubicBezTo>
                  <a:pt x="523" y="458"/>
                  <a:pt x="523" y="458"/>
                  <a:pt x="523" y="458"/>
                </a:cubicBezTo>
                <a:close/>
                <a:moveTo>
                  <a:pt x="530" y="536"/>
                </a:moveTo>
                <a:cubicBezTo>
                  <a:pt x="527" y="532"/>
                  <a:pt x="525" y="528"/>
                  <a:pt x="523" y="523"/>
                </a:cubicBezTo>
                <a:cubicBezTo>
                  <a:pt x="526" y="527"/>
                  <a:pt x="529" y="531"/>
                  <a:pt x="530" y="536"/>
                </a:cubicBezTo>
                <a:close/>
                <a:moveTo>
                  <a:pt x="525" y="586"/>
                </a:moveTo>
                <a:cubicBezTo>
                  <a:pt x="525" y="586"/>
                  <a:pt x="525" y="587"/>
                  <a:pt x="524" y="587"/>
                </a:cubicBezTo>
                <a:cubicBezTo>
                  <a:pt x="520" y="589"/>
                  <a:pt x="523" y="581"/>
                  <a:pt x="525" y="586"/>
                </a:cubicBezTo>
                <a:close/>
                <a:moveTo>
                  <a:pt x="521" y="487"/>
                </a:moveTo>
                <a:cubicBezTo>
                  <a:pt x="522" y="487"/>
                  <a:pt x="522" y="487"/>
                  <a:pt x="522" y="487"/>
                </a:cubicBezTo>
                <a:cubicBezTo>
                  <a:pt x="523" y="489"/>
                  <a:pt x="520" y="487"/>
                  <a:pt x="521" y="487"/>
                </a:cubicBezTo>
                <a:close/>
                <a:moveTo>
                  <a:pt x="520" y="406"/>
                </a:moveTo>
                <a:cubicBezTo>
                  <a:pt x="519" y="407"/>
                  <a:pt x="519" y="405"/>
                  <a:pt x="519" y="404"/>
                </a:cubicBezTo>
                <a:cubicBezTo>
                  <a:pt x="520" y="404"/>
                  <a:pt x="520" y="406"/>
                  <a:pt x="520" y="406"/>
                </a:cubicBezTo>
                <a:close/>
                <a:moveTo>
                  <a:pt x="518" y="118"/>
                </a:moveTo>
                <a:cubicBezTo>
                  <a:pt x="516" y="117"/>
                  <a:pt x="520" y="119"/>
                  <a:pt x="518" y="118"/>
                </a:cubicBezTo>
                <a:close/>
                <a:moveTo>
                  <a:pt x="520" y="517"/>
                </a:moveTo>
                <a:cubicBezTo>
                  <a:pt x="520" y="517"/>
                  <a:pt x="523" y="522"/>
                  <a:pt x="521" y="521"/>
                </a:cubicBezTo>
                <a:cubicBezTo>
                  <a:pt x="519" y="520"/>
                  <a:pt x="518" y="514"/>
                  <a:pt x="517" y="511"/>
                </a:cubicBezTo>
                <a:cubicBezTo>
                  <a:pt x="518" y="512"/>
                  <a:pt x="519" y="515"/>
                  <a:pt x="520" y="517"/>
                </a:cubicBezTo>
                <a:close/>
                <a:moveTo>
                  <a:pt x="517" y="510"/>
                </a:moveTo>
                <a:cubicBezTo>
                  <a:pt x="516" y="508"/>
                  <a:pt x="515" y="507"/>
                  <a:pt x="515" y="506"/>
                </a:cubicBezTo>
                <a:cubicBezTo>
                  <a:pt x="516" y="506"/>
                  <a:pt x="517" y="508"/>
                  <a:pt x="517" y="510"/>
                </a:cubicBezTo>
                <a:close/>
                <a:moveTo>
                  <a:pt x="517" y="585"/>
                </a:moveTo>
                <a:cubicBezTo>
                  <a:pt x="516" y="585"/>
                  <a:pt x="516" y="584"/>
                  <a:pt x="516" y="584"/>
                </a:cubicBezTo>
                <a:cubicBezTo>
                  <a:pt x="517" y="584"/>
                  <a:pt x="517" y="585"/>
                  <a:pt x="517" y="585"/>
                </a:cubicBezTo>
                <a:close/>
                <a:moveTo>
                  <a:pt x="513" y="496"/>
                </a:moveTo>
                <a:cubicBezTo>
                  <a:pt x="514" y="498"/>
                  <a:pt x="515" y="500"/>
                  <a:pt x="516" y="502"/>
                </a:cubicBezTo>
                <a:cubicBezTo>
                  <a:pt x="516" y="502"/>
                  <a:pt x="513" y="498"/>
                  <a:pt x="513" y="496"/>
                </a:cubicBezTo>
                <a:close/>
                <a:moveTo>
                  <a:pt x="513" y="532"/>
                </a:moveTo>
                <a:cubicBezTo>
                  <a:pt x="513" y="532"/>
                  <a:pt x="513" y="531"/>
                  <a:pt x="513" y="532"/>
                </a:cubicBezTo>
                <a:cubicBezTo>
                  <a:pt x="513" y="532"/>
                  <a:pt x="513" y="532"/>
                  <a:pt x="513" y="532"/>
                </a:cubicBezTo>
                <a:close/>
                <a:moveTo>
                  <a:pt x="514" y="115"/>
                </a:moveTo>
                <a:cubicBezTo>
                  <a:pt x="514" y="116"/>
                  <a:pt x="512" y="115"/>
                  <a:pt x="512" y="114"/>
                </a:cubicBezTo>
                <a:cubicBezTo>
                  <a:pt x="513" y="114"/>
                  <a:pt x="513" y="115"/>
                  <a:pt x="514" y="115"/>
                </a:cubicBezTo>
                <a:close/>
                <a:moveTo>
                  <a:pt x="513" y="495"/>
                </a:moveTo>
                <a:cubicBezTo>
                  <a:pt x="513" y="496"/>
                  <a:pt x="512" y="493"/>
                  <a:pt x="513" y="495"/>
                </a:cubicBezTo>
                <a:close/>
                <a:moveTo>
                  <a:pt x="515" y="592"/>
                </a:moveTo>
                <a:cubicBezTo>
                  <a:pt x="516" y="594"/>
                  <a:pt x="518" y="595"/>
                  <a:pt x="518" y="598"/>
                </a:cubicBezTo>
                <a:cubicBezTo>
                  <a:pt x="514" y="592"/>
                  <a:pt x="511" y="585"/>
                  <a:pt x="507" y="580"/>
                </a:cubicBezTo>
                <a:cubicBezTo>
                  <a:pt x="504" y="575"/>
                  <a:pt x="511" y="583"/>
                  <a:pt x="512" y="584"/>
                </a:cubicBezTo>
                <a:cubicBezTo>
                  <a:pt x="513" y="586"/>
                  <a:pt x="514" y="590"/>
                  <a:pt x="515" y="592"/>
                </a:cubicBezTo>
                <a:close/>
                <a:moveTo>
                  <a:pt x="509" y="537"/>
                </a:moveTo>
                <a:cubicBezTo>
                  <a:pt x="509" y="539"/>
                  <a:pt x="507" y="537"/>
                  <a:pt x="508" y="537"/>
                </a:cubicBezTo>
                <a:cubicBezTo>
                  <a:pt x="508" y="536"/>
                  <a:pt x="509" y="537"/>
                  <a:pt x="509" y="537"/>
                </a:cubicBezTo>
                <a:close/>
                <a:moveTo>
                  <a:pt x="508" y="484"/>
                </a:moveTo>
                <a:cubicBezTo>
                  <a:pt x="509" y="485"/>
                  <a:pt x="508" y="483"/>
                  <a:pt x="508" y="484"/>
                </a:cubicBezTo>
                <a:close/>
                <a:moveTo>
                  <a:pt x="510" y="544"/>
                </a:moveTo>
                <a:cubicBezTo>
                  <a:pt x="510" y="544"/>
                  <a:pt x="510" y="545"/>
                  <a:pt x="510" y="545"/>
                </a:cubicBezTo>
                <a:cubicBezTo>
                  <a:pt x="507" y="546"/>
                  <a:pt x="508" y="541"/>
                  <a:pt x="510" y="544"/>
                </a:cubicBezTo>
                <a:close/>
                <a:moveTo>
                  <a:pt x="507" y="463"/>
                </a:moveTo>
                <a:cubicBezTo>
                  <a:pt x="508" y="467"/>
                  <a:pt x="511" y="471"/>
                  <a:pt x="511" y="476"/>
                </a:cubicBezTo>
                <a:cubicBezTo>
                  <a:pt x="509" y="472"/>
                  <a:pt x="508" y="468"/>
                  <a:pt x="507" y="463"/>
                </a:cubicBezTo>
                <a:close/>
                <a:moveTo>
                  <a:pt x="508" y="387"/>
                </a:moveTo>
                <a:cubicBezTo>
                  <a:pt x="506" y="384"/>
                  <a:pt x="505" y="381"/>
                  <a:pt x="505" y="378"/>
                </a:cubicBezTo>
                <a:cubicBezTo>
                  <a:pt x="506" y="381"/>
                  <a:pt x="507" y="383"/>
                  <a:pt x="508" y="387"/>
                </a:cubicBezTo>
                <a:close/>
                <a:moveTo>
                  <a:pt x="507" y="528"/>
                </a:moveTo>
                <a:cubicBezTo>
                  <a:pt x="506" y="529"/>
                  <a:pt x="505" y="527"/>
                  <a:pt x="504" y="526"/>
                </a:cubicBezTo>
                <a:cubicBezTo>
                  <a:pt x="506" y="525"/>
                  <a:pt x="506" y="528"/>
                  <a:pt x="507" y="528"/>
                </a:cubicBezTo>
                <a:close/>
                <a:moveTo>
                  <a:pt x="504" y="525"/>
                </a:moveTo>
                <a:cubicBezTo>
                  <a:pt x="504" y="525"/>
                  <a:pt x="502" y="524"/>
                  <a:pt x="503" y="523"/>
                </a:cubicBezTo>
                <a:cubicBezTo>
                  <a:pt x="504" y="523"/>
                  <a:pt x="503" y="524"/>
                  <a:pt x="504" y="525"/>
                </a:cubicBezTo>
                <a:close/>
                <a:moveTo>
                  <a:pt x="503" y="434"/>
                </a:moveTo>
                <a:cubicBezTo>
                  <a:pt x="502" y="434"/>
                  <a:pt x="502" y="433"/>
                  <a:pt x="502" y="432"/>
                </a:cubicBezTo>
                <a:cubicBezTo>
                  <a:pt x="503" y="433"/>
                  <a:pt x="503" y="434"/>
                  <a:pt x="503" y="434"/>
                </a:cubicBezTo>
                <a:close/>
                <a:moveTo>
                  <a:pt x="501" y="431"/>
                </a:moveTo>
                <a:cubicBezTo>
                  <a:pt x="502" y="430"/>
                  <a:pt x="502" y="432"/>
                  <a:pt x="501" y="431"/>
                </a:cubicBezTo>
                <a:close/>
                <a:moveTo>
                  <a:pt x="500" y="448"/>
                </a:moveTo>
                <a:cubicBezTo>
                  <a:pt x="500" y="447"/>
                  <a:pt x="501" y="447"/>
                  <a:pt x="501" y="447"/>
                </a:cubicBezTo>
                <a:cubicBezTo>
                  <a:pt x="502" y="448"/>
                  <a:pt x="500" y="448"/>
                  <a:pt x="500" y="448"/>
                </a:cubicBezTo>
                <a:close/>
                <a:moveTo>
                  <a:pt x="501" y="429"/>
                </a:moveTo>
                <a:cubicBezTo>
                  <a:pt x="500" y="429"/>
                  <a:pt x="499" y="427"/>
                  <a:pt x="499" y="426"/>
                </a:cubicBezTo>
                <a:cubicBezTo>
                  <a:pt x="500" y="427"/>
                  <a:pt x="500" y="428"/>
                  <a:pt x="501" y="429"/>
                </a:cubicBezTo>
                <a:close/>
                <a:moveTo>
                  <a:pt x="499" y="566"/>
                </a:moveTo>
                <a:cubicBezTo>
                  <a:pt x="500" y="568"/>
                  <a:pt x="495" y="566"/>
                  <a:pt x="497" y="565"/>
                </a:cubicBezTo>
                <a:cubicBezTo>
                  <a:pt x="498" y="564"/>
                  <a:pt x="499" y="565"/>
                  <a:pt x="499" y="566"/>
                </a:cubicBezTo>
                <a:close/>
                <a:moveTo>
                  <a:pt x="498" y="149"/>
                </a:moveTo>
                <a:cubicBezTo>
                  <a:pt x="497" y="149"/>
                  <a:pt x="496" y="149"/>
                  <a:pt x="495" y="148"/>
                </a:cubicBezTo>
                <a:cubicBezTo>
                  <a:pt x="496" y="147"/>
                  <a:pt x="497" y="149"/>
                  <a:pt x="498" y="149"/>
                </a:cubicBezTo>
                <a:close/>
                <a:moveTo>
                  <a:pt x="494" y="480"/>
                </a:moveTo>
                <a:cubicBezTo>
                  <a:pt x="495" y="480"/>
                  <a:pt x="494" y="482"/>
                  <a:pt x="494" y="481"/>
                </a:cubicBezTo>
                <a:cubicBezTo>
                  <a:pt x="494" y="481"/>
                  <a:pt x="494" y="480"/>
                  <a:pt x="494" y="480"/>
                </a:cubicBezTo>
                <a:close/>
                <a:moveTo>
                  <a:pt x="487" y="591"/>
                </a:moveTo>
                <a:cubicBezTo>
                  <a:pt x="488" y="592"/>
                  <a:pt x="491" y="594"/>
                  <a:pt x="491" y="595"/>
                </a:cubicBezTo>
                <a:cubicBezTo>
                  <a:pt x="491" y="596"/>
                  <a:pt x="487" y="593"/>
                  <a:pt x="487" y="591"/>
                </a:cubicBezTo>
                <a:close/>
                <a:moveTo>
                  <a:pt x="487" y="573"/>
                </a:moveTo>
                <a:cubicBezTo>
                  <a:pt x="486" y="573"/>
                  <a:pt x="488" y="573"/>
                  <a:pt x="487" y="573"/>
                </a:cubicBezTo>
                <a:close/>
                <a:moveTo>
                  <a:pt x="490" y="482"/>
                </a:moveTo>
                <a:cubicBezTo>
                  <a:pt x="490" y="485"/>
                  <a:pt x="485" y="482"/>
                  <a:pt x="487" y="481"/>
                </a:cubicBezTo>
                <a:cubicBezTo>
                  <a:pt x="488" y="480"/>
                  <a:pt x="490" y="482"/>
                  <a:pt x="490" y="482"/>
                </a:cubicBezTo>
                <a:close/>
                <a:moveTo>
                  <a:pt x="487" y="468"/>
                </a:moveTo>
                <a:cubicBezTo>
                  <a:pt x="487" y="469"/>
                  <a:pt x="486" y="466"/>
                  <a:pt x="487" y="468"/>
                </a:cubicBezTo>
                <a:close/>
                <a:moveTo>
                  <a:pt x="486" y="380"/>
                </a:moveTo>
                <a:cubicBezTo>
                  <a:pt x="486" y="379"/>
                  <a:pt x="488" y="382"/>
                  <a:pt x="486" y="380"/>
                </a:cubicBezTo>
                <a:close/>
                <a:moveTo>
                  <a:pt x="486" y="467"/>
                </a:moveTo>
                <a:cubicBezTo>
                  <a:pt x="486" y="466"/>
                  <a:pt x="485" y="466"/>
                  <a:pt x="485" y="465"/>
                </a:cubicBezTo>
                <a:cubicBezTo>
                  <a:pt x="486" y="465"/>
                  <a:pt x="486" y="466"/>
                  <a:pt x="486" y="467"/>
                </a:cubicBezTo>
                <a:close/>
                <a:moveTo>
                  <a:pt x="486" y="560"/>
                </a:moveTo>
                <a:cubicBezTo>
                  <a:pt x="485" y="561"/>
                  <a:pt x="485" y="558"/>
                  <a:pt x="486" y="560"/>
                </a:cubicBezTo>
                <a:close/>
                <a:moveTo>
                  <a:pt x="484" y="463"/>
                </a:moveTo>
                <a:cubicBezTo>
                  <a:pt x="485" y="463"/>
                  <a:pt x="485" y="464"/>
                  <a:pt x="485" y="464"/>
                </a:cubicBezTo>
                <a:cubicBezTo>
                  <a:pt x="485" y="464"/>
                  <a:pt x="484" y="464"/>
                  <a:pt x="484" y="463"/>
                </a:cubicBezTo>
                <a:close/>
                <a:moveTo>
                  <a:pt x="484" y="462"/>
                </a:moveTo>
                <a:cubicBezTo>
                  <a:pt x="483" y="461"/>
                  <a:pt x="484" y="460"/>
                  <a:pt x="484" y="462"/>
                </a:cubicBezTo>
                <a:close/>
                <a:moveTo>
                  <a:pt x="484" y="465"/>
                </a:moveTo>
                <a:cubicBezTo>
                  <a:pt x="483" y="465"/>
                  <a:pt x="483" y="464"/>
                  <a:pt x="483" y="463"/>
                </a:cubicBezTo>
                <a:cubicBezTo>
                  <a:pt x="484" y="463"/>
                  <a:pt x="484" y="464"/>
                  <a:pt x="484" y="465"/>
                </a:cubicBezTo>
                <a:close/>
                <a:moveTo>
                  <a:pt x="483" y="460"/>
                </a:moveTo>
                <a:cubicBezTo>
                  <a:pt x="482" y="459"/>
                  <a:pt x="481" y="458"/>
                  <a:pt x="482" y="456"/>
                </a:cubicBezTo>
                <a:cubicBezTo>
                  <a:pt x="482" y="457"/>
                  <a:pt x="483" y="458"/>
                  <a:pt x="483" y="460"/>
                </a:cubicBezTo>
                <a:close/>
                <a:moveTo>
                  <a:pt x="482" y="461"/>
                </a:moveTo>
                <a:cubicBezTo>
                  <a:pt x="483" y="462"/>
                  <a:pt x="481" y="460"/>
                  <a:pt x="482" y="461"/>
                </a:cubicBezTo>
                <a:close/>
                <a:moveTo>
                  <a:pt x="486" y="590"/>
                </a:moveTo>
                <a:cubicBezTo>
                  <a:pt x="484" y="587"/>
                  <a:pt x="482" y="585"/>
                  <a:pt x="481" y="582"/>
                </a:cubicBezTo>
                <a:cubicBezTo>
                  <a:pt x="483" y="584"/>
                  <a:pt x="485" y="587"/>
                  <a:pt x="486" y="590"/>
                </a:cubicBezTo>
                <a:close/>
                <a:moveTo>
                  <a:pt x="480" y="457"/>
                </a:moveTo>
                <a:cubicBezTo>
                  <a:pt x="480" y="457"/>
                  <a:pt x="479" y="454"/>
                  <a:pt x="480" y="457"/>
                </a:cubicBezTo>
                <a:close/>
                <a:moveTo>
                  <a:pt x="479" y="414"/>
                </a:moveTo>
                <a:cubicBezTo>
                  <a:pt x="479" y="413"/>
                  <a:pt x="478" y="413"/>
                  <a:pt x="479" y="412"/>
                </a:cubicBezTo>
                <a:cubicBezTo>
                  <a:pt x="479" y="413"/>
                  <a:pt x="480" y="413"/>
                  <a:pt x="479" y="414"/>
                </a:cubicBezTo>
                <a:close/>
                <a:moveTo>
                  <a:pt x="478" y="401"/>
                </a:moveTo>
                <a:cubicBezTo>
                  <a:pt x="477" y="400"/>
                  <a:pt x="475" y="397"/>
                  <a:pt x="475" y="394"/>
                </a:cubicBezTo>
                <a:cubicBezTo>
                  <a:pt x="477" y="396"/>
                  <a:pt x="480" y="404"/>
                  <a:pt x="478" y="401"/>
                </a:cubicBezTo>
                <a:close/>
                <a:moveTo>
                  <a:pt x="474" y="393"/>
                </a:moveTo>
                <a:cubicBezTo>
                  <a:pt x="474" y="393"/>
                  <a:pt x="474" y="393"/>
                  <a:pt x="474" y="393"/>
                </a:cubicBezTo>
                <a:cubicBezTo>
                  <a:pt x="474" y="393"/>
                  <a:pt x="474" y="393"/>
                  <a:pt x="474" y="393"/>
                </a:cubicBezTo>
                <a:cubicBezTo>
                  <a:pt x="474" y="393"/>
                  <a:pt x="474" y="393"/>
                  <a:pt x="474" y="393"/>
                </a:cubicBezTo>
                <a:close/>
                <a:moveTo>
                  <a:pt x="469" y="488"/>
                </a:moveTo>
                <a:cubicBezTo>
                  <a:pt x="471" y="488"/>
                  <a:pt x="472" y="491"/>
                  <a:pt x="473" y="493"/>
                </a:cubicBezTo>
                <a:cubicBezTo>
                  <a:pt x="471" y="492"/>
                  <a:pt x="470" y="489"/>
                  <a:pt x="469" y="488"/>
                </a:cubicBezTo>
                <a:close/>
                <a:moveTo>
                  <a:pt x="472" y="391"/>
                </a:moveTo>
                <a:cubicBezTo>
                  <a:pt x="471" y="389"/>
                  <a:pt x="470" y="388"/>
                  <a:pt x="469" y="385"/>
                </a:cubicBezTo>
                <a:cubicBezTo>
                  <a:pt x="471" y="386"/>
                  <a:pt x="472" y="389"/>
                  <a:pt x="472" y="391"/>
                </a:cubicBezTo>
                <a:close/>
                <a:moveTo>
                  <a:pt x="469" y="124"/>
                </a:moveTo>
                <a:cubicBezTo>
                  <a:pt x="469" y="125"/>
                  <a:pt x="467" y="124"/>
                  <a:pt x="467" y="124"/>
                </a:cubicBezTo>
                <a:cubicBezTo>
                  <a:pt x="464" y="122"/>
                  <a:pt x="470" y="123"/>
                  <a:pt x="469" y="124"/>
                </a:cubicBezTo>
                <a:close/>
                <a:moveTo>
                  <a:pt x="466" y="430"/>
                </a:moveTo>
                <a:cubicBezTo>
                  <a:pt x="466" y="434"/>
                  <a:pt x="471" y="437"/>
                  <a:pt x="470" y="440"/>
                </a:cubicBezTo>
                <a:cubicBezTo>
                  <a:pt x="470" y="440"/>
                  <a:pt x="465" y="433"/>
                  <a:pt x="466" y="430"/>
                </a:cubicBezTo>
                <a:close/>
                <a:moveTo>
                  <a:pt x="465" y="555"/>
                </a:moveTo>
                <a:cubicBezTo>
                  <a:pt x="465" y="555"/>
                  <a:pt x="466" y="556"/>
                  <a:pt x="466" y="556"/>
                </a:cubicBezTo>
                <a:cubicBezTo>
                  <a:pt x="467" y="557"/>
                  <a:pt x="464" y="556"/>
                  <a:pt x="465" y="555"/>
                </a:cubicBezTo>
                <a:close/>
                <a:moveTo>
                  <a:pt x="465" y="575"/>
                </a:moveTo>
                <a:cubicBezTo>
                  <a:pt x="465" y="575"/>
                  <a:pt x="465" y="575"/>
                  <a:pt x="466" y="576"/>
                </a:cubicBezTo>
                <a:cubicBezTo>
                  <a:pt x="467" y="577"/>
                  <a:pt x="464" y="576"/>
                  <a:pt x="465" y="575"/>
                </a:cubicBezTo>
                <a:close/>
                <a:moveTo>
                  <a:pt x="463" y="584"/>
                </a:moveTo>
                <a:cubicBezTo>
                  <a:pt x="464" y="583"/>
                  <a:pt x="464" y="584"/>
                  <a:pt x="465" y="585"/>
                </a:cubicBezTo>
                <a:cubicBezTo>
                  <a:pt x="465" y="586"/>
                  <a:pt x="463" y="585"/>
                  <a:pt x="463" y="584"/>
                </a:cubicBezTo>
                <a:close/>
                <a:moveTo>
                  <a:pt x="464" y="655"/>
                </a:moveTo>
                <a:cubicBezTo>
                  <a:pt x="464" y="656"/>
                  <a:pt x="462" y="656"/>
                  <a:pt x="462" y="655"/>
                </a:cubicBezTo>
                <a:cubicBezTo>
                  <a:pt x="462" y="655"/>
                  <a:pt x="464" y="654"/>
                  <a:pt x="464" y="655"/>
                </a:cubicBezTo>
                <a:close/>
                <a:moveTo>
                  <a:pt x="463" y="619"/>
                </a:moveTo>
                <a:cubicBezTo>
                  <a:pt x="462" y="620"/>
                  <a:pt x="461" y="619"/>
                  <a:pt x="461" y="618"/>
                </a:cubicBezTo>
                <a:cubicBezTo>
                  <a:pt x="462" y="619"/>
                  <a:pt x="462" y="619"/>
                  <a:pt x="463" y="619"/>
                </a:cubicBezTo>
                <a:close/>
                <a:moveTo>
                  <a:pt x="461" y="536"/>
                </a:moveTo>
                <a:cubicBezTo>
                  <a:pt x="462" y="537"/>
                  <a:pt x="458" y="535"/>
                  <a:pt x="459" y="534"/>
                </a:cubicBezTo>
                <a:cubicBezTo>
                  <a:pt x="461" y="533"/>
                  <a:pt x="461" y="535"/>
                  <a:pt x="461" y="536"/>
                </a:cubicBezTo>
                <a:close/>
                <a:moveTo>
                  <a:pt x="454" y="150"/>
                </a:moveTo>
                <a:cubicBezTo>
                  <a:pt x="456" y="152"/>
                  <a:pt x="459" y="152"/>
                  <a:pt x="460" y="154"/>
                </a:cubicBezTo>
                <a:cubicBezTo>
                  <a:pt x="458" y="154"/>
                  <a:pt x="456" y="152"/>
                  <a:pt x="454" y="150"/>
                </a:cubicBezTo>
                <a:close/>
                <a:moveTo>
                  <a:pt x="459" y="122"/>
                </a:moveTo>
                <a:cubicBezTo>
                  <a:pt x="457" y="120"/>
                  <a:pt x="461" y="123"/>
                  <a:pt x="459" y="122"/>
                </a:cubicBezTo>
                <a:close/>
                <a:moveTo>
                  <a:pt x="453" y="94"/>
                </a:moveTo>
                <a:cubicBezTo>
                  <a:pt x="451" y="92"/>
                  <a:pt x="455" y="96"/>
                  <a:pt x="453" y="94"/>
                </a:cubicBezTo>
                <a:close/>
                <a:moveTo>
                  <a:pt x="451" y="96"/>
                </a:moveTo>
                <a:cubicBezTo>
                  <a:pt x="455" y="93"/>
                  <a:pt x="458" y="100"/>
                  <a:pt x="454" y="100"/>
                </a:cubicBezTo>
                <a:cubicBezTo>
                  <a:pt x="453" y="101"/>
                  <a:pt x="452" y="100"/>
                  <a:pt x="451" y="98"/>
                </a:cubicBezTo>
                <a:cubicBezTo>
                  <a:pt x="450" y="97"/>
                  <a:pt x="450" y="96"/>
                  <a:pt x="451" y="96"/>
                </a:cubicBezTo>
                <a:close/>
                <a:moveTo>
                  <a:pt x="447" y="103"/>
                </a:moveTo>
                <a:cubicBezTo>
                  <a:pt x="447" y="103"/>
                  <a:pt x="447" y="103"/>
                  <a:pt x="447" y="103"/>
                </a:cubicBezTo>
                <a:cubicBezTo>
                  <a:pt x="446" y="103"/>
                  <a:pt x="447" y="103"/>
                  <a:pt x="447" y="103"/>
                </a:cubicBezTo>
                <a:close/>
                <a:moveTo>
                  <a:pt x="444" y="145"/>
                </a:moveTo>
                <a:cubicBezTo>
                  <a:pt x="446" y="145"/>
                  <a:pt x="449" y="147"/>
                  <a:pt x="451" y="149"/>
                </a:cubicBezTo>
                <a:cubicBezTo>
                  <a:pt x="448" y="149"/>
                  <a:pt x="441" y="143"/>
                  <a:pt x="444" y="145"/>
                </a:cubicBezTo>
                <a:close/>
                <a:moveTo>
                  <a:pt x="442" y="515"/>
                </a:moveTo>
                <a:cubicBezTo>
                  <a:pt x="440" y="516"/>
                  <a:pt x="441" y="513"/>
                  <a:pt x="442" y="515"/>
                </a:cubicBezTo>
                <a:close/>
                <a:moveTo>
                  <a:pt x="436" y="80"/>
                </a:moveTo>
                <a:cubicBezTo>
                  <a:pt x="434" y="80"/>
                  <a:pt x="435" y="78"/>
                  <a:pt x="436" y="80"/>
                </a:cubicBezTo>
                <a:close/>
                <a:moveTo>
                  <a:pt x="440" y="114"/>
                </a:moveTo>
                <a:cubicBezTo>
                  <a:pt x="438" y="111"/>
                  <a:pt x="432" y="110"/>
                  <a:pt x="431" y="107"/>
                </a:cubicBezTo>
                <a:cubicBezTo>
                  <a:pt x="432" y="108"/>
                  <a:pt x="439" y="111"/>
                  <a:pt x="440" y="114"/>
                </a:cubicBezTo>
                <a:close/>
                <a:moveTo>
                  <a:pt x="433" y="179"/>
                </a:moveTo>
                <a:cubicBezTo>
                  <a:pt x="431" y="177"/>
                  <a:pt x="428" y="175"/>
                  <a:pt x="426" y="172"/>
                </a:cubicBezTo>
                <a:cubicBezTo>
                  <a:pt x="429" y="174"/>
                  <a:pt x="432" y="176"/>
                  <a:pt x="433" y="179"/>
                </a:cubicBezTo>
                <a:close/>
                <a:moveTo>
                  <a:pt x="425" y="594"/>
                </a:moveTo>
                <a:cubicBezTo>
                  <a:pt x="425" y="595"/>
                  <a:pt x="426" y="595"/>
                  <a:pt x="426" y="595"/>
                </a:cubicBezTo>
                <a:cubicBezTo>
                  <a:pt x="426" y="596"/>
                  <a:pt x="424" y="595"/>
                  <a:pt x="425" y="594"/>
                </a:cubicBezTo>
                <a:close/>
                <a:moveTo>
                  <a:pt x="426" y="549"/>
                </a:moveTo>
                <a:cubicBezTo>
                  <a:pt x="426" y="550"/>
                  <a:pt x="425" y="548"/>
                  <a:pt x="426" y="549"/>
                </a:cubicBezTo>
                <a:close/>
                <a:moveTo>
                  <a:pt x="426" y="468"/>
                </a:moveTo>
                <a:cubicBezTo>
                  <a:pt x="423" y="467"/>
                  <a:pt x="426" y="466"/>
                  <a:pt x="426" y="468"/>
                </a:cubicBezTo>
                <a:close/>
                <a:moveTo>
                  <a:pt x="425" y="542"/>
                </a:moveTo>
                <a:cubicBezTo>
                  <a:pt x="424" y="541"/>
                  <a:pt x="424" y="539"/>
                  <a:pt x="424" y="538"/>
                </a:cubicBezTo>
                <a:cubicBezTo>
                  <a:pt x="426" y="538"/>
                  <a:pt x="425" y="541"/>
                  <a:pt x="425" y="542"/>
                </a:cubicBezTo>
                <a:close/>
                <a:moveTo>
                  <a:pt x="423" y="592"/>
                </a:moveTo>
                <a:cubicBezTo>
                  <a:pt x="421" y="592"/>
                  <a:pt x="420" y="590"/>
                  <a:pt x="418" y="589"/>
                </a:cubicBezTo>
                <a:cubicBezTo>
                  <a:pt x="420" y="590"/>
                  <a:pt x="419" y="589"/>
                  <a:pt x="420" y="588"/>
                </a:cubicBezTo>
                <a:cubicBezTo>
                  <a:pt x="423" y="587"/>
                  <a:pt x="425" y="591"/>
                  <a:pt x="423" y="592"/>
                </a:cubicBezTo>
                <a:close/>
                <a:moveTo>
                  <a:pt x="420" y="499"/>
                </a:moveTo>
                <a:cubicBezTo>
                  <a:pt x="419" y="500"/>
                  <a:pt x="417" y="496"/>
                  <a:pt x="416" y="494"/>
                </a:cubicBezTo>
                <a:cubicBezTo>
                  <a:pt x="418" y="496"/>
                  <a:pt x="419" y="497"/>
                  <a:pt x="420" y="499"/>
                </a:cubicBezTo>
                <a:close/>
                <a:moveTo>
                  <a:pt x="417" y="100"/>
                </a:moveTo>
                <a:cubicBezTo>
                  <a:pt x="418" y="101"/>
                  <a:pt x="415" y="99"/>
                  <a:pt x="417" y="100"/>
                </a:cubicBezTo>
                <a:close/>
                <a:moveTo>
                  <a:pt x="416" y="49"/>
                </a:moveTo>
                <a:cubicBezTo>
                  <a:pt x="416" y="49"/>
                  <a:pt x="415" y="49"/>
                  <a:pt x="416" y="49"/>
                </a:cubicBezTo>
                <a:cubicBezTo>
                  <a:pt x="416" y="48"/>
                  <a:pt x="418" y="50"/>
                  <a:pt x="416" y="49"/>
                </a:cubicBezTo>
                <a:close/>
                <a:moveTo>
                  <a:pt x="413" y="491"/>
                </a:moveTo>
                <a:cubicBezTo>
                  <a:pt x="414" y="491"/>
                  <a:pt x="414" y="493"/>
                  <a:pt x="416" y="494"/>
                </a:cubicBezTo>
                <a:cubicBezTo>
                  <a:pt x="415" y="494"/>
                  <a:pt x="413" y="492"/>
                  <a:pt x="413" y="491"/>
                </a:cubicBezTo>
                <a:close/>
                <a:moveTo>
                  <a:pt x="415" y="46"/>
                </a:moveTo>
                <a:cubicBezTo>
                  <a:pt x="417" y="47"/>
                  <a:pt x="414" y="45"/>
                  <a:pt x="415" y="46"/>
                </a:cubicBezTo>
                <a:close/>
                <a:moveTo>
                  <a:pt x="414" y="98"/>
                </a:moveTo>
                <a:cubicBezTo>
                  <a:pt x="414" y="97"/>
                  <a:pt x="417" y="100"/>
                  <a:pt x="414" y="98"/>
                </a:cubicBezTo>
                <a:close/>
                <a:moveTo>
                  <a:pt x="414" y="134"/>
                </a:moveTo>
                <a:cubicBezTo>
                  <a:pt x="413" y="134"/>
                  <a:pt x="412" y="133"/>
                  <a:pt x="411" y="133"/>
                </a:cubicBezTo>
                <a:cubicBezTo>
                  <a:pt x="411" y="132"/>
                  <a:pt x="413" y="133"/>
                  <a:pt x="414" y="134"/>
                </a:cubicBezTo>
                <a:close/>
                <a:moveTo>
                  <a:pt x="413" y="99"/>
                </a:moveTo>
                <a:cubicBezTo>
                  <a:pt x="412" y="99"/>
                  <a:pt x="411" y="98"/>
                  <a:pt x="411" y="97"/>
                </a:cubicBezTo>
                <a:cubicBezTo>
                  <a:pt x="412" y="98"/>
                  <a:pt x="413" y="98"/>
                  <a:pt x="413" y="99"/>
                </a:cubicBezTo>
                <a:close/>
                <a:moveTo>
                  <a:pt x="411" y="96"/>
                </a:moveTo>
                <a:cubicBezTo>
                  <a:pt x="409" y="95"/>
                  <a:pt x="412" y="96"/>
                  <a:pt x="411" y="96"/>
                </a:cubicBezTo>
                <a:close/>
                <a:moveTo>
                  <a:pt x="412" y="68"/>
                </a:moveTo>
                <a:cubicBezTo>
                  <a:pt x="411" y="68"/>
                  <a:pt x="410" y="67"/>
                  <a:pt x="409" y="67"/>
                </a:cubicBezTo>
                <a:cubicBezTo>
                  <a:pt x="410" y="66"/>
                  <a:pt x="412" y="67"/>
                  <a:pt x="412" y="68"/>
                </a:cubicBezTo>
                <a:close/>
                <a:moveTo>
                  <a:pt x="408" y="95"/>
                </a:moveTo>
                <a:cubicBezTo>
                  <a:pt x="410" y="96"/>
                  <a:pt x="409" y="97"/>
                  <a:pt x="408" y="95"/>
                </a:cubicBezTo>
                <a:close/>
                <a:moveTo>
                  <a:pt x="406" y="93"/>
                </a:moveTo>
                <a:cubicBezTo>
                  <a:pt x="407" y="93"/>
                  <a:pt x="408" y="94"/>
                  <a:pt x="409" y="95"/>
                </a:cubicBezTo>
                <a:cubicBezTo>
                  <a:pt x="408" y="94"/>
                  <a:pt x="407" y="94"/>
                  <a:pt x="406" y="93"/>
                </a:cubicBezTo>
                <a:close/>
                <a:moveTo>
                  <a:pt x="408" y="66"/>
                </a:moveTo>
                <a:cubicBezTo>
                  <a:pt x="406" y="66"/>
                  <a:pt x="404" y="64"/>
                  <a:pt x="402" y="63"/>
                </a:cubicBezTo>
                <a:cubicBezTo>
                  <a:pt x="404" y="63"/>
                  <a:pt x="406" y="65"/>
                  <a:pt x="408" y="66"/>
                </a:cubicBezTo>
                <a:close/>
                <a:moveTo>
                  <a:pt x="403" y="92"/>
                </a:moveTo>
                <a:cubicBezTo>
                  <a:pt x="402" y="91"/>
                  <a:pt x="404" y="94"/>
                  <a:pt x="403" y="92"/>
                </a:cubicBezTo>
                <a:close/>
                <a:moveTo>
                  <a:pt x="402" y="116"/>
                </a:moveTo>
                <a:cubicBezTo>
                  <a:pt x="402" y="116"/>
                  <a:pt x="401" y="117"/>
                  <a:pt x="401" y="117"/>
                </a:cubicBezTo>
                <a:cubicBezTo>
                  <a:pt x="400" y="117"/>
                  <a:pt x="401" y="115"/>
                  <a:pt x="402" y="116"/>
                </a:cubicBezTo>
                <a:close/>
                <a:moveTo>
                  <a:pt x="404" y="171"/>
                </a:moveTo>
                <a:cubicBezTo>
                  <a:pt x="403" y="173"/>
                  <a:pt x="400" y="171"/>
                  <a:pt x="400" y="170"/>
                </a:cubicBezTo>
                <a:cubicBezTo>
                  <a:pt x="398" y="167"/>
                  <a:pt x="404" y="169"/>
                  <a:pt x="404" y="171"/>
                </a:cubicBezTo>
                <a:close/>
                <a:moveTo>
                  <a:pt x="398" y="513"/>
                </a:moveTo>
                <a:cubicBezTo>
                  <a:pt x="398" y="512"/>
                  <a:pt x="399" y="513"/>
                  <a:pt x="400" y="513"/>
                </a:cubicBezTo>
                <a:cubicBezTo>
                  <a:pt x="401" y="516"/>
                  <a:pt x="396" y="514"/>
                  <a:pt x="398" y="513"/>
                </a:cubicBezTo>
                <a:close/>
                <a:moveTo>
                  <a:pt x="397" y="471"/>
                </a:moveTo>
                <a:cubicBezTo>
                  <a:pt x="396" y="472"/>
                  <a:pt x="396" y="469"/>
                  <a:pt x="397" y="470"/>
                </a:cubicBezTo>
                <a:cubicBezTo>
                  <a:pt x="397" y="470"/>
                  <a:pt x="397" y="471"/>
                  <a:pt x="397" y="471"/>
                </a:cubicBezTo>
                <a:close/>
                <a:moveTo>
                  <a:pt x="397" y="427"/>
                </a:moveTo>
                <a:cubicBezTo>
                  <a:pt x="398" y="428"/>
                  <a:pt x="394" y="427"/>
                  <a:pt x="396" y="426"/>
                </a:cubicBezTo>
                <a:cubicBezTo>
                  <a:pt x="396" y="426"/>
                  <a:pt x="397" y="427"/>
                  <a:pt x="397" y="427"/>
                </a:cubicBezTo>
                <a:close/>
                <a:moveTo>
                  <a:pt x="396" y="81"/>
                </a:moveTo>
                <a:cubicBezTo>
                  <a:pt x="396" y="82"/>
                  <a:pt x="393" y="82"/>
                  <a:pt x="393" y="81"/>
                </a:cubicBezTo>
                <a:cubicBezTo>
                  <a:pt x="391" y="79"/>
                  <a:pt x="397" y="79"/>
                  <a:pt x="396" y="81"/>
                </a:cubicBezTo>
                <a:close/>
                <a:moveTo>
                  <a:pt x="393" y="150"/>
                </a:moveTo>
                <a:cubicBezTo>
                  <a:pt x="392" y="150"/>
                  <a:pt x="391" y="149"/>
                  <a:pt x="391" y="148"/>
                </a:cubicBezTo>
                <a:cubicBezTo>
                  <a:pt x="392" y="148"/>
                  <a:pt x="393" y="149"/>
                  <a:pt x="393" y="150"/>
                </a:cubicBezTo>
                <a:close/>
                <a:moveTo>
                  <a:pt x="395" y="400"/>
                </a:moveTo>
                <a:cubicBezTo>
                  <a:pt x="394" y="403"/>
                  <a:pt x="389" y="398"/>
                  <a:pt x="390" y="397"/>
                </a:cubicBezTo>
                <a:cubicBezTo>
                  <a:pt x="392" y="395"/>
                  <a:pt x="395" y="399"/>
                  <a:pt x="395" y="400"/>
                </a:cubicBezTo>
                <a:close/>
                <a:moveTo>
                  <a:pt x="391" y="167"/>
                </a:moveTo>
                <a:cubicBezTo>
                  <a:pt x="390" y="168"/>
                  <a:pt x="389" y="166"/>
                  <a:pt x="391" y="167"/>
                </a:cubicBezTo>
                <a:close/>
                <a:moveTo>
                  <a:pt x="390" y="147"/>
                </a:moveTo>
                <a:cubicBezTo>
                  <a:pt x="390" y="146"/>
                  <a:pt x="391" y="149"/>
                  <a:pt x="390" y="147"/>
                </a:cubicBezTo>
                <a:close/>
                <a:moveTo>
                  <a:pt x="390" y="84"/>
                </a:moveTo>
                <a:cubicBezTo>
                  <a:pt x="390" y="85"/>
                  <a:pt x="390" y="85"/>
                  <a:pt x="390" y="85"/>
                </a:cubicBezTo>
                <a:cubicBezTo>
                  <a:pt x="389" y="86"/>
                  <a:pt x="389" y="84"/>
                  <a:pt x="390" y="84"/>
                </a:cubicBezTo>
                <a:close/>
                <a:moveTo>
                  <a:pt x="391" y="691"/>
                </a:moveTo>
                <a:cubicBezTo>
                  <a:pt x="391" y="691"/>
                  <a:pt x="391" y="691"/>
                  <a:pt x="391" y="692"/>
                </a:cubicBezTo>
                <a:cubicBezTo>
                  <a:pt x="388" y="691"/>
                  <a:pt x="382" y="691"/>
                  <a:pt x="384" y="687"/>
                </a:cubicBezTo>
                <a:cubicBezTo>
                  <a:pt x="384" y="687"/>
                  <a:pt x="387" y="686"/>
                  <a:pt x="388" y="687"/>
                </a:cubicBezTo>
                <a:cubicBezTo>
                  <a:pt x="391" y="688"/>
                  <a:pt x="388" y="691"/>
                  <a:pt x="391" y="691"/>
                </a:cubicBezTo>
                <a:close/>
                <a:moveTo>
                  <a:pt x="381" y="643"/>
                </a:moveTo>
                <a:cubicBezTo>
                  <a:pt x="381" y="642"/>
                  <a:pt x="381" y="641"/>
                  <a:pt x="381" y="641"/>
                </a:cubicBezTo>
                <a:cubicBezTo>
                  <a:pt x="381" y="641"/>
                  <a:pt x="379" y="641"/>
                  <a:pt x="379" y="640"/>
                </a:cubicBezTo>
                <a:cubicBezTo>
                  <a:pt x="380" y="637"/>
                  <a:pt x="387" y="642"/>
                  <a:pt x="388" y="643"/>
                </a:cubicBezTo>
                <a:cubicBezTo>
                  <a:pt x="387" y="642"/>
                  <a:pt x="383" y="646"/>
                  <a:pt x="381" y="643"/>
                </a:cubicBezTo>
                <a:close/>
                <a:moveTo>
                  <a:pt x="382" y="615"/>
                </a:moveTo>
                <a:cubicBezTo>
                  <a:pt x="383" y="616"/>
                  <a:pt x="381" y="614"/>
                  <a:pt x="382" y="615"/>
                </a:cubicBezTo>
                <a:close/>
                <a:moveTo>
                  <a:pt x="383" y="159"/>
                </a:moveTo>
                <a:cubicBezTo>
                  <a:pt x="383" y="158"/>
                  <a:pt x="385" y="161"/>
                  <a:pt x="383" y="160"/>
                </a:cubicBezTo>
                <a:cubicBezTo>
                  <a:pt x="383" y="160"/>
                  <a:pt x="382" y="159"/>
                  <a:pt x="383" y="159"/>
                </a:cubicBezTo>
                <a:close/>
                <a:moveTo>
                  <a:pt x="387" y="432"/>
                </a:moveTo>
                <a:cubicBezTo>
                  <a:pt x="387" y="432"/>
                  <a:pt x="387" y="433"/>
                  <a:pt x="387" y="433"/>
                </a:cubicBezTo>
                <a:cubicBezTo>
                  <a:pt x="386" y="434"/>
                  <a:pt x="386" y="432"/>
                  <a:pt x="387" y="432"/>
                </a:cubicBezTo>
                <a:close/>
                <a:moveTo>
                  <a:pt x="387" y="159"/>
                </a:moveTo>
                <a:cubicBezTo>
                  <a:pt x="388" y="159"/>
                  <a:pt x="387" y="161"/>
                  <a:pt x="387" y="159"/>
                </a:cubicBezTo>
                <a:close/>
                <a:moveTo>
                  <a:pt x="388" y="106"/>
                </a:moveTo>
                <a:cubicBezTo>
                  <a:pt x="384" y="103"/>
                  <a:pt x="381" y="102"/>
                  <a:pt x="378" y="97"/>
                </a:cubicBezTo>
                <a:cubicBezTo>
                  <a:pt x="382" y="99"/>
                  <a:pt x="385" y="103"/>
                  <a:pt x="388" y="106"/>
                </a:cubicBezTo>
                <a:close/>
                <a:moveTo>
                  <a:pt x="377" y="583"/>
                </a:moveTo>
                <a:cubicBezTo>
                  <a:pt x="379" y="584"/>
                  <a:pt x="377" y="585"/>
                  <a:pt x="377" y="583"/>
                </a:cubicBezTo>
                <a:close/>
                <a:moveTo>
                  <a:pt x="376" y="149"/>
                </a:moveTo>
                <a:cubicBezTo>
                  <a:pt x="376" y="149"/>
                  <a:pt x="375" y="149"/>
                  <a:pt x="376" y="148"/>
                </a:cubicBezTo>
                <a:cubicBezTo>
                  <a:pt x="376" y="147"/>
                  <a:pt x="378" y="151"/>
                  <a:pt x="376" y="149"/>
                </a:cubicBezTo>
                <a:close/>
                <a:moveTo>
                  <a:pt x="376" y="89"/>
                </a:moveTo>
                <a:cubicBezTo>
                  <a:pt x="375" y="89"/>
                  <a:pt x="377" y="90"/>
                  <a:pt x="376" y="89"/>
                </a:cubicBezTo>
                <a:close/>
                <a:moveTo>
                  <a:pt x="376" y="119"/>
                </a:moveTo>
                <a:cubicBezTo>
                  <a:pt x="376" y="119"/>
                  <a:pt x="376" y="119"/>
                  <a:pt x="376" y="119"/>
                </a:cubicBezTo>
                <a:cubicBezTo>
                  <a:pt x="376" y="119"/>
                  <a:pt x="377" y="119"/>
                  <a:pt x="376" y="119"/>
                </a:cubicBezTo>
                <a:close/>
                <a:moveTo>
                  <a:pt x="377" y="127"/>
                </a:moveTo>
                <a:cubicBezTo>
                  <a:pt x="376" y="126"/>
                  <a:pt x="376" y="126"/>
                  <a:pt x="375" y="125"/>
                </a:cubicBezTo>
                <a:cubicBezTo>
                  <a:pt x="376" y="126"/>
                  <a:pt x="377" y="126"/>
                  <a:pt x="377" y="127"/>
                </a:cubicBezTo>
                <a:close/>
                <a:moveTo>
                  <a:pt x="376" y="147"/>
                </a:moveTo>
                <a:cubicBezTo>
                  <a:pt x="374" y="147"/>
                  <a:pt x="373" y="146"/>
                  <a:pt x="372" y="144"/>
                </a:cubicBezTo>
                <a:cubicBezTo>
                  <a:pt x="374" y="144"/>
                  <a:pt x="375" y="146"/>
                  <a:pt x="376" y="147"/>
                </a:cubicBezTo>
                <a:close/>
                <a:moveTo>
                  <a:pt x="362" y="132"/>
                </a:moveTo>
                <a:cubicBezTo>
                  <a:pt x="366" y="134"/>
                  <a:pt x="369" y="139"/>
                  <a:pt x="372" y="143"/>
                </a:cubicBezTo>
                <a:cubicBezTo>
                  <a:pt x="369" y="141"/>
                  <a:pt x="365" y="135"/>
                  <a:pt x="362" y="132"/>
                </a:cubicBezTo>
                <a:close/>
                <a:moveTo>
                  <a:pt x="367" y="82"/>
                </a:moveTo>
                <a:cubicBezTo>
                  <a:pt x="366" y="81"/>
                  <a:pt x="368" y="83"/>
                  <a:pt x="367" y="82"/>
                </a:cubicBezTo>
                <a:close/>
                <a:moveTo>
                  <a:pt x="366" y="81"/>
                </a:moveTo>
                <a:cubicBezTo>
                  <a:pt x="364" y="81"/>
                  <a:pt x="362" y="79"/>
                  <a:pt x="360" y="77"/>
                </a:cubicBezTo>
                <a:cubicBezTo>
                  <a:pt x="361" y="78"/>
                  <a:pt x="365" y="79"/>
                  <a:pt x="366" y="81"/>
                </a:cubicBezTo>
                <a:close/>
                <a:moveTo>
                  <a:pt x="364" y="54"/>
                </a:moveTo>
                <a:cubicBezTo>
                  <a:pt x="363" y="54"/>
                  <a:pt x="362" y="53"/>
                  <a:pt x="362" y="53"/>
                </a:cubicBezTo>
                <a:cubicBezTo>
                  <a:pt x="362" y="52"/>
                  <a:pt x="364" y="53"/>
                  <a:pt x="364" y="54"/>
                </a:cubicBezTo>
                <a:close/>
                <a:moveTo>
                  <a:pt x="361" y="47"/>
                </a:moveTo>
                <a:cubicBezTo>
                  <a:pt x="361" y="47"/>
                  <a:pt x="360" y="47"/>
                  <a:pt x="360" y="47"/>
                </a:cubicBezTo>
                <a:cubicBezTo>
                  <a:pt x="358" y="46"/>
                  <a:pt x="362" y="45"/>
                  <a:pt x="361" y="47"/>
                </a:cubicBezTo>
                <a:close/>
                <a:moveTo>
                  <a:pt x="361" y="52"/>
                </a:moveTo>
                <a:cubicBezTo>
                  <a:pt x="360" y="53"/>
                  <a:pt x="360" y="52"/>
                  <a:pt x="359" y="52"/>
                </a:cubicBezTo>
                <a:cubicBezTo>
                  <a:pt x="359" y="51"/>
                  <a:pt x="361" y="52"/>
                  <a:pt x="361" y="52"/>
                </a:cubicBezTo>
                <a:close/>
                <a:moveTo>
                  <a:pt x="359" y="74"/>
                </a:moveTo>
                <a:cubicBezTo>
                  <a:pt x="359" y="74"/>
                  <a:pt x="357" y="73"/>
                  <a:pt x="356" y="71"/>
                </a:cubicBezTo>
                <a:cubicBezTo>
                  <a:pt x="357" y="72"/>
                  <a:pt x="358" y="72"/>
                  <a:pt x="359" y="74"/>
                </a:cubicBezTo>
                <a:close/>
                <a:moveTo>
                  <a:pt x="356" y="12"/>
                </a:moveTo>
                <a:cubicBezTo>
                  <a:pt x="357" y="11"/>
                  <a:pt x="358" y="13"/>
                  <a:pt x="356" y="12"/>
                </a:cubicBezTo>
                <a:close/>
                <a:moveTo>
                  <a:pt x="358" y="51"/>
                </a:moveTo>
                <a:cubicBezTo>
                  <a:pt x="357" y="52"/>
                  <a:pt x="356" y="51"/>
                  <a:pt x="355" y="50"/>
                </a:cubicBezTo>
                <a:cubicBezTo>
                  <a:pt x="355" y="49"/>
                  <a:pt x="357" y="51"/>
                  <a:pt x="358" y="51"/>
                </a:cubicBezTo>
                <a:close/>
                <a:moveTo>
                  <a:pt x="350" y="44"/>
                </a:moveTo>
                <a:cubicBezTo>
                  <a:pt x="349" y="44"/>
                  <a:pt x="349" y="44"/>
                  <a:pt x="349" y="43"/>
                </a:cubicBezTo>
                <a:cubicBezTo>
                  <a:pt x="348" y="43"/>
                  <a:pt x="350" y="43"/>
                  <a:pt x="350" y="44"/>
                </a:cubicBezTo>
                <a:close/>
                <a:moveTo>
                  <a:pt x="348" y="18"/>
                </a:moveTo>
                <a:cubicBezTo>
                  <a:pt x="346" y="17"/>
                  <a:pt x="349" y="18"/>
                  <a:pt x="348" y="18"/>
                </a:cubicBezTo>
                <a:close/>
                <a:moveTo>
                  <a:pt x="348" y="50"/>
                </a:moveTo>
                <a:cubicBezTo>
                  <a:pt x="347" y="50"/>
                  <a:pt x="347" y="50"/>
                  <a:pt x="347" y="50"/>
                </a:cubicBezTo>
                <a:cubicBezTo>
                  <a:pt x="348" y="50"/>
                  <a:pt x="348" y="51"/>
                  <a:pt x="348" y="50"/>
                </a:cubicBezTo>
                <a:close/>
                <a:moveTo>
                  <a:pt x="347" y="64"/>
                </a:moveTo>
                <a:cubicBezTo>
                  <a:pt x="349" y="64"/>
                  <a:pt x="352" y="68"/>
                  <a:pt x="355" y="71"/>
                </a:cubicBezTo>
                <a:cubicBezTo>
                  <a:pt x="353" y="70"/>
                  <a:pt x="351" y="68"/>
                  <a:pt x="349" y="66"/>
                </a:cubicBezTo>
                <a:cubicBezTo>
                  <a:pt x="349" y="66"/>
                  <a:pt x="344" y="64"/>
                  <a:pt x="347" y="64"/>
                </a:cubicBezTo>
                <a:close/>
                <a:moveTo>
                  <a:pt x="345" y="38"/>
                </a:moveTo>
                <a:cubicBezTo>
                  <a:pt x="345" y="38"/>
                  <a:pt x="344" y="38"/>
                  <a:pt x="344" y="37"/>
                </a:cubicBezTo>
                <a:cubicBezTo>
                  <a:pt x="345" y="35"/>
                  <a:pt x="347" y="40"/>
                  <a:pt x="345" y="38"/>
                </a:cubicBezTo>
                <a:close/>
                <a:moveTo>
                  <a:pt x="345" y="14"/>
                </a:moveTo>
                <a:cubicBezTo>
                  <a:pt x="345" y="15"/>
                  <a:pt x="343" y="14"/>
                  <a:pt x="343" y="14"/>
                </a:cubicBezTo>
                <a:cubicBezTo>
                  <a:pt x="341" y="12"/>
                  <a:pt x="346" y="12"/>
                  <a:pt x="345" y="14"/>
                </a:cubicBezTo>
                <a:close/>
                <a:moveTo>
                  <a:pt x="333" y="49"/>
                </a:moveTo>
                <a:cubicBezTo>
                  <a:pt x="335" y="48"/>
                  <a:pt x="334" y="50"/>
                  <a:pt x="333" y="49"/>
                </a:cubicBezTo>
                <a:close/>
                <a:moveTo>
                  <a:pt x="344" y="63"/>
                </a:moveTo>
                <a:cubicBezTo>
                  <a:pt x="339" y="61"/>
                  <a:pt x="335" y="59"/>
                  <a:pt x="331" y="56"/>
                </a:cubicBezTo>
                <a:cubicBezTo>
                  <a:pt x="336" y="57"/>
                  <a:pt x="340" y="60"/>
                  <a:pt x="344" y="63"/>
                </a:cubicBezTo>
                <a:close/>
                <a:moveTo>
                  <a:pt x="331" y="76"/>
                </a:moveTo>
                <a:cubicBezTo>
                  <a:pt x="331" y="77"/>
                  <a:pt x="329" y="78"/>
                  <a:pt x="329" y="77"/>
                </a:cubicBezTo>
                <a:cubicBezTo>
                  <a:pt x="329" y="77"/>
                  <a:pt x="329" y="77"/>
                  <a:pt x="329" y="77"/>
                </a:cubicBezTo>
                <a:cubicBezTo>
                  <a:pt x="329" y="78"/>
                  <a:pt x="329" y="78"/>
                  <a:pt x="328" y="78"/>
                </a:cubicBezTo>
                <a:cubicBezTo>
                  <a:pt x="327" y="79"/>
                  <a:pt x="324" y="75"/>
                  <a:pt x="327" y="75"/>
                </a:cubicBezTo>
                <a:cubicBezTo>
                  <a:pt x="328" y="75"/>
                  <a:pt x="329" y="75"/>
                  <a:pt x="329" y="76"/>
                </a:cubicBezTo>
                <a:cubicBezTo>
                  <a:pt x="329" y="76"/>
                  <a:pt x="330" y="75"/>
                  <a:pt x="331" y="76"/>
                </a:cubicBezTo>
                <a:close/>
                <a:moveTo>
                  <a:pt x="327" y="52"/>
                </a:moveTo>
                <a:cubicBezTo>
                  <a:pt x="326" y="52"/>
                  <a:pt x="329" y="52"/>
                  <a:pt x="327" y="52"/>
                </a:cubicBezTo>
                <a:close/>
                <a:moveTo>
                  <a:pt x="325" y="23"/>
                </a:moveTo>
                <a:cubicBezTo>
                  <a:pt x="325" y="22"/>
                  <a:pt x="326" y="24"/>
                  <a:pt x="325" y="23"/>
                </a:cubicBezTo>
                <a:close/>
                <a:moveTo>
                  <a:pt x="330" y="41"/>
                </a:moveTo>
                <a:cubicBezTo>
                  <a:pt x="330" y="43"/>
                  <a:pt x="325" y="43"/>
                  <a:pt x="324" y="42"/>
                </a:cubicBezTo>
                <a:cubicBezTo>
                  <a:pt x="321" y="38"/>
                  <a:pt x="330" y="41"/>
                  <a:pt x="330" y="41"/>
                </a:cubicBezTo>
                <a:close/>
                <a:moveTo>
                  <a:pt x="326" y="75"/>
                </a:moveTo>
                <a:cubicBezTo>
                  <a:pt x="326" y="76"/>
                  <a:pt x="325" y="76"/>
                  <a:pt x="325" y="75"/>
                </a:cubicBezTo>
                <a:cubicBezTo>
                  <a:pt x="324" y="75"/>
                  <a:pt x="326" y="74"/>
                  <a:pt x="326" y="75"/>
                </a:cubicBezTo>
                <a:close/>
                <a:moveTo>
                  <a:pt x="324" y="68"/>
                </a:moveTo>
                <a:cubicBezTo>
                  <a:pt x="324" y="67"/>
                  <a:pt x="325" y="67"/>
                  <a:pt x="325" y="68"/>
                </a:cubicBezTo>
                <a:cubicBezTo>
                  <a:pt x="326" y="69"/>
                  <a:pt x="324" y="68"/>
                  <a:pt x="324" y="68"/>
                </a:cubicBezTo>
                <a:close/>
                <a:moveTo>
                  <a:pt x="327" y="107"/>
                </a:moveTo>
                <a:cubicBezTo>
                  <a:pt x="326" y="109"/>
                  <a:pt x="322" y="107"/>
                  <a:pt x="322" y="107"/>
                </a:cubicBezTo>
                <a:cubicBezTo>
                  <a:pt x="319" y="103"/>
                  <a:pt x="328" y="104"/>
                  <a:pt x="327" y="107"/>
                </a:cubicBezTo>
                <a:close/>
                <a:moveTo>
                  <a:pt x="322" y="27"/>
                </a:moveTo>
                <a:cubicBezTo>
                  <a:pt x="321" y="28"/>
                  <a:pt x="320" y="27"/>
                  <a:pt x="320" y="27"/>
                </a:cubicBezTo>
                <a:cubicBezTo>
                  <a:pt x="319" y="25"/>
                  <a:pt x="322" y="26"/>
                  <a:pt x="322" y="27"/>
                </a:cubicBezTo>
                <a:close/>
                <a:moveTo>
                  <a:pt x="319" y="102"/>
                </a:moveTo>
                <a:cubicBezTo>
                  <a:pt x="319" y="102"/>
                  <a:pt x="318" y="102"/>
                  <a:pt x="318" y="101"/>
                </a:cubicBezTo>
                <a:cubicBezTo>
                  <a:pt x="316" y="100"/>
                  <a:pt x="321" y="100"/>
                  <a:pt x="319" y="102"/>
                </a:cubicBezTo>
                <a:close/>
                <a:moveTo>
                  <a:pt x="319" y="85"/>
                </a:moveTo>
                <a:cubicBezTo>
                  <a:pt x="321" y="85"/>
                  <a:pt x="318" y="87"/>
                  <a:pt x="318" y="85"/>
                </a:cubicBezTo>
                <a:cubicBezTo>
                  <a:pt x="318" y="85"/>
                  <a:pt x="319" y="85"/>
                  <a:pt x="319" y="85"/>
                </a:cubicBezTo>
                <a:close/>
                <a:moveTo>
                  <a:pt x="319" y="73"/>
                </a:moveTo>
                <a:cubicBezTo>
                  <a:pt x="319" y="73"/>
                  <a:pt x="318" y="73"/>
                  <a:pt x="318" y="73"/>
                </a:cubicBezTo>
                <a:cubicBezTo>
                  <a:pt x="316" y="73"/>
                  <a:pt x="318" y="72"/>
                  <a:pt x="319" y="73"/>
                </a:cubicBezTo>
                <a:close/>
                <a:moveTo>
                  <a:pt x="317" y="46"/>
                </a:moveTo>
                <a:cubicBezTo>
                  <a:pt x="317" y="47"/>
                  <a:pt x="315" y="47"/>
                  <a:pt x="315" y="46"/>
                </a:cubicBezTo>
                <a:cubicBezTo>
                  <a:pt x="314" y="45"/>
                  <a:pt x="317" y="44"/>
                  <a:pt x="317" y="46"/>
                </a:cubicBezTo>
                <a:close/>
                <a:moveTo>
                  <a:pt x="315" y="61"/>
                </a:moveTo>
                <a:cubicBezTo>
                  <a:pt x="315" y="61"/>
                  <a:pt x="315" y="60"/>
                  <a:pt x="315" y="60"/>
                </a:cubicBezTo>
                <a:cubicBezTo>
                  <a:pt x="313" y="57"/>
                  <a:pt x="319" y="61"/>
                  <a:pt x="315" y="61"/>
                </a:cubicBezTo>
                <a:close/>
                <a:moveTo>
                  <a:pt x="314" y="88"/>
                </a:moveTo>
                <a:cubicBezTo>
                  <a:pt x="315" y="88"/>
                  <a:pt x="316" y="89"/>
                  <a:pt x="315" y="89"/>
                </a:cubicBezTo>
                <a:cubicBezTo>
                  <a:pt x="315" y="90"/>
                  <a:pt x="313" y="89"/>
                  <a:pt x="314" y="88"/>
                </a:cubicBezTo>
                <a:close/>
                <a:moveTo>
                  <a:pt x="314" y="98"/>
                </a:moveTo>
                <a:cubicBezTo>
                  <a:pt x="313" y="98"/>
                  <a:pt x="312" y="97"/>
                  <a:pt x="312" y="96"/>
                </a:cubicBezTo>
                <a:cubicBezTo>
                  <a:pt x="313" y="96"/>
                  <a:pt x="313" y="97"/>
                  <a:pt x="314" y="98"/>
                </a:cubicBezTo>
                <a:close/>
                <a:moveTo>
                  <a:pt x="313" y="62"/>
                </a:moveTo>
                <a:cubicBezTo>
                  <a:pt x="311" y="61"/>
                  <a:pt x="314" y="62"/>
                  <a:pt x="313" y="62"/>
                </a:cubicBezTo>
                <a:close/>
                <a:moveTo>
                  <a:pt x="308" y="35"/>
                </a:moveTo>
                <a:cubicBezTo>
                  <a:pt x="307" y="34"/>
                  <a:pt x="310" y="37"/>
                  <a:pt x="308" y="35"/>
                </a:cubicBezTo>
                <a:close/>
                <a:moveTo>
                  <a:pt x="305" y="53"/>
                </a:moveTo>
                <a:cubicBezTo>
                  <a:pt x="305" y="52"/>
                  <a:pt x="306" y="54"/>
                  <a:pt x="306" y="54"/>
                </a:cubicBezTo>
                <a:cubicBezTo>
                  <a:pt x="306" y="54"/>
                  <a:pt x="306" y="53"/>
                  <a:pt x="305" y="53"/>
                </a:cubicBezTo>
                <a:close/>
                <a:moveTo>
                  <a:pt x="306" y="45"/>
                </a:moveTo>
                <a:cubicBezTo>
                  <a:pt x="304" y="40"/>
                  <a:pt x="314" y="43"/>
                  <a:pt x="312" y="46"/>
                </a:cubicBezTo>
                <a:cubicBezTo>
                  <a:pt x="311" y="48"/>
                  <a:pt x="307" y="45"/>
                  <a:pt x="306" y="45"/>
                </a:cubicBezTo>
                <a:close/>
                <a:moveTo>
                  <a:pt x="307" y="88"/>
                </a:moveTo>
                <a:cubicBezTo>
                  <a:pt x="308" y="88"/>
                  <a:pt x="307" y="89"/>
                  <a:pt x="307" y="89"/>
                </a:cubicBezTo>
                <a:cubicBezTo>
                  <a:pt x="307" y="89"/>
                  <a:pt x="306" y="87"/>
                  <a:pt x="307" y="88"/>
                </a:cubicBezTo>
                <a:close/>
                <a:moveTo>
                  <a:pt x="313" y="101"/>
                </a:moveTo>
                <a:cubicBezTo>
                  <a:pt x="313" y="102"/>
                  <a:pt x="306" y="96"/>
                  <a:pt x="305" y="95"/>
                </a:cubicBezTo>
                <a:cubicBezTo>
                  <a:pt x="305" y="95"/>
                  <a:pt x="305" y="94"/>
                  <a:pt x="305" y="93"/>
                </a:cubicBezTo>
                <a:cubicBezTo>
                  <a:pt x="305" y="93"/>
                  <a:pt x="314" y="100"/>
                  <a:pt x="313" y="101"/>
                </a:cubicBezTo>
                <a:close/>
                <a:moveTo>
                  <a:pt x="306" y="102"/>
                </a:moveTo>
                <a:cubicBezTo>
                  <a:pt x="304" y="103"/>
                  <a:pt x="303" y="99"/>
                  <a:pt x="302" y="98"/>
                </a:cubicBezTo>
                <a:cubicBezTo>
                  <a:pt x="303" y="98"/>
                  <a:pt x="305" y="101"/>
                  <a:pt x="306" y="102"/>
                </a:cubicBezTo>
                <a:close/>
                <a:moveTo>
                  <a:pt x="301" y="81"/>
                </a:moveTo>
                <a:cubicBezTo>
                  <a:pt x="302" y="80"/>
                  <a:pt x="303" y="84"/>
                  <a:pt x="301" y="82"/>
                </a:cubicBezTo>
                <a:cubicBezTo>
                  <a:pt x="301" y="82"/>
                  <a:pt x="301" y="82"/>
                  <a:pt x="301" y="81"/>
                </a:cubicBezTo>
                <a:close/>
                <a:moveTo>
                  <a:pt x="303" y="92"/>
                </a:moveTo>
                <a:cubicBezTo>
                  <a:pt x="299" y="88"/>
                  <a:pt x="295" y="86"/>
                  <a:pt x="293" y="81"/>
                </a:cubicBezTo>
                <a:cubicBezTo>
                  <a:pt x="297" y="83"/>
                  <a:pt x="301" y="88"/>
                  <a:pt x="303" y="92"/>
                </a:cubicBezTo>
                <a:close/>
                <a:moveTo>
                  <a:pt x="293" y="77"/>
                </a:moveTo>
                <a:cubicBezTo>
                  <a:pt x="293" y="77"/>
                  <a:pt x="293" y="77"/>
                  <a:pt x="293" y="77"/>
                </a:cubicBezTo>
                <a:cubicBezTo>
                  <a:pt x="293" y="77"/>
                  <a:pt x="293" y="77"/>
                  <a:pt x="293" y="77"/>
                </a:cubicBezTo>
                <a:cubicBezTo>
                  <a:pt x="293" y="77"/>
                  <a:pt x="293" y="77"/>
                  <a:pt x="293" y="77"/>
                </a:cubicBezTo>
                <a:close/>
                <a:moveTo>
                  <a:pt x="302" y="98"/>
                </a:moveTo>
                <a:cubicBezTo>
                  <a:pt x="297" y="92"/>
                  <a:pt x="293" y="88"/>
                  <a:pt x="288" y="83"/>
                </a:cubicBezTo>
                <a:cubicBezTo>
                  <a:pt x="293" y="87"/>
                  <a:pt x="298" y="91"/>
                  <a:pt x="302" y="98"/>
                </a:cubicBezTo>
                <a:close/>
                <a:moveTo>
                  <a:pt x="295" y="198"/>
                </a:moveTo>
                <a:cubicBezTo>
                  <a:pt x="291" y="196"/>
                  <a:pt x="287" y="194"/>
                  <a:pt x="284" y="192"/>
                </a:cubicBezTo>
                <a:cubicBezTo>
                  <a:pt x="286" y="193"/>
                  <a:pt x="293" y="196"/>
                  <a:pt x="295" y="198"/>
                </a:cubicBezTo>
                <a:close/>
                <a:moveTo>
                  <a:pt x="287" y="663"/>
                </a:moveTo>
                <a:cubicBezTo>
                  <a:pt x="288" y="663"/>
                  <a:pt x="289" y="664"/>
                  <a:pt x="289" y="664"/>
                </a:cubicBezTo>
                <a:cubicBezTo>
                  <a:pt x="290" y="665"/>
                  <a:pt x="286" y="664"/>
                  <a:pt x="287" y="663"/>
                </a:cubicBezTo>
                <a:close/>
                <a:moveTo>
                  <a:pt x="283" y="230"/>
                </a:moveTo>
                <a:cubicBezTo>
                  <a:pt x="284" y="231"/>
                  <a:pt x="281" y="228"/>
                  <a:pt x="283" y="230"/>
                </a:cubicBezTo>
                <a:close/>
                <a:moveTo>
                  <a:pt x="282" y="216"/>
                </a:moveTo>
                <a:cubicBezTo>
                  <a:pt x="282" y="216"/>
                  <a:pt x="282" y="216"/>
                  <a:pt x="282" y="216"/>
                </a:cubicBezTo>
                <a:cubicBezTo>
                  <a:pt x="283" y="216"/>
                  <a:pt x="283" y="216"/>
                  <a:pt x="283" y="216"/>
                </a:cubicBezTo>
                <a:cubicBezTo>
                  <a:pt x="283" y="216"/>
                  <a:pt x="282" y="216"/>
                  <a:pt x="282" y="216"/>
                </a:cubicBezTo>
                <a:close/>
                <a:moveTo>
                  <a:pt x="283" y="165"/>
                </a:moveTo>
                <a:cubicBezTo>
                  <a:pt x="280" y="165"/>
                  <a:pt x="280" y="160"/>
                  <a:pt x="284" y="161"/>
                </a:cubicBezTo>
                <a:cubicBezTo>
                  <a:pt x="286" y="162"/>
                  <a:pt x="285" y="166"/>
                  <a:pt x="283" y="165"/>
                </a:cubicBezTo>
                <a:close/>
                <a:moveTo>
                  <a:pt x="279" y="199"/>
                </a:moveTo>
                <a:cubicBezTo>
                  <a:pt x="279" y="199"/>
                  <a:pt x="278" y="198"/>
                  <a:pt x="279" y="198"/>
                </a:cubicBezTo>
                <a:cubicBezTo>
                  <a:pt x="279" y="198"/>
                  <a:pt x="280" y="199"/>
                  <a:pt x="279" y="199"/>
                </a:cubicBezTo>
                <a:close/>
                <a:moveTo>
                  <a:pt x="278" y="184"/>
                </a:moveTo>
                <a:cubicBezTo>
                  <a:pt x="278" y="184"/>
                  <a:pt x="278" y="185"/>
                  <a:pt x="278" y="185"/>
                </a:cubicBezTo>
                <a:cubicBezTo>
                  <a:pt x="277" y="183"/>
                  <a:pt x="280" y="185"/>
                  <a:pt x="278" y="184"/>
                </a:cubicBezTo>
                <a:close/>
                <a:moveTo>
                  <a:pt x="270" y="138"/>
                </a:moveTo>
                <a:cubicBezTo>
                  <a:pt x="271" y="139"/>
                  <a:pt x="272" y="136"/>
                  <a:pt x="273" y="136"/>
                </a:cubicBezTo>
                <a:cubicBezTo>
                  <a:pt x="275" y="137"/>
                  <a:pt x="273" y="138"/>
                  <a:pt x="274" y="139"/>
                </a:cubicBezTo>
                <a:cubicBezTo>
                  <a:pt x="277" y="141"/>
                  <a:pt x="282" y="141"/>
                  <a:pt x="284" y="143"/>
                </a:cubicBezTo>
                <a:cubicBezTo>
                  <a:pt x="280" y="142"/>
                  <a:pt x="275" y="140"/>
                  <a:pt x="270" y="138"/>
                </a:cubicBezTo>
                <a:close/>
                <a:moveTo>
                  <a:pt x="278" y="148"/>
                </a:moveTo>
                <a:cubicBezTo>
                  <a:pt x="276" y="148"/>
                  <a:pt x="278" y="147"/>
                  <a:pt x="278" y="148"/>
                </a:cubicBezTo>
                <a:close/>
                <a:moveTo>
                  <a:pt x="265" y="190"/>
                </a:moveTo>
                <a:cubicBezTo>
                  <a:pt x="268" y="190"/>
                  <a:pt x="273" y="192"/>
                  <a:pt x="275" y="194"/>
                </a:cubicBezTo>
                <a:cubicBezTo>
                  <a:pt x="271" y="192"/>
                  <a:pt x="268" y="192"/>
                  <a:pt x="265" y="190"/>
                </a:cubicBezTo>
                <a:close/>
                <a:moveTo>
                  <a:pt x="273" y="554"/>
                </a:moveTo>
                <a:cubicBezTo>
                  <a:pt x="273" y="554"/>
                  <a:pt x="273" y="553"/>
                  <a:pt x="273" y="554"/>
                </a:cubicBezTo>
                <a:cubicBezTo>
                  <a:pt x="273" y="554"/>
                  <a:pt x="273" y="554"/>
                  <a:pt x="273" y="554"/>
                </a:cubicBezTo>
                <a:close/>
                <a:moveTo>
                  <a:pt x="271" y="230"/>
                </a:moveTo>
                <a:cubicBezTo>
                  <a:pt x="272" y="230"/>
                  <a:pt x="274" y="234"/>
                  <a:pt x="272" y="235"/>
                </a:cubicBezTo>
                <a:cubicBezTo>
                  <a:pt x="269" y="235"/>
                  <a:pt x="269" y="231"/>
                  <a:pt x="271" y="230"/>
                </a:cubicBezTo>
                <a:close/>
                <a:moveTo>
                  <a:pt x="270" y="215"/>
                </a:moveTo>
                <a:cubicBezTo>
                  <a:pt x="271" y="214"/>
                  <a:pt x="272" y="217"/>
                  <a:pt x="270" y="216"/>
                </a:cubicBezTo>
                <a:cubicBezTo>
                  <a:pt x="270" y="216"/>
                  <a:pt x="269" y="215"/>
                  <a:pt x="270" y="215"/>
                </a:cubicBezTo>
                <a:close/>
                <a:moveTo>
                  <a:pt x="267" y="262"/>
                </a:moveTo>
                <a:cubicBezTo>
                  <a:pt x="269" y="261"/>
                  <a:pt x="268" y="263"/>
                  <a:pt x="267" y="262"/>
                </a:cubicBezTo>
                <a:close/>
                <a:moveTo>
                  <a:pt x="258" y="254"/>
                </a:moveTo>
                <a:cubicBezTo>
                  <a:pt x="260" y="255"/>
                  <a:pt x="261" y="257"/>
                  <a:pt x="263" y="258"/>
                </a:cubicBezTo>
                <a:cubicBezTo>
                  <a:pt x="261" y="258"/>
                  <a:pt x="260" y="256"/>
                  <a:pt x="258" y="254"/>
                </a:cubicBezTo>
                <a:close/>
                <a:moveTo>
                  <a:pt x="261" y="509"/>
                </a:moveTo>
                <a:cubicBezTo>
                  <a:pt x="261" y="510"/>
                  <a:pt x="260" y="509"/>
                  <a:pt x="260" y="509"/>
                </a:cubicBezTo>
                <a:cubicBezTo>
                  <a:pt x="260" y="508"/>
                  <a:pt x="261" y="509"/>
                  <a:pt x="261" y="509"/>
                </a:cubicBezTo>
                <a:close/>
                <a:moveTo>
                  <a:pt x="258" y="191"/>
                </a:moveTo>
                <a:cubicBezTo>
                  <a:pt x="258" y="191"/>
                  <a:pt x="259" y="193"/>
                  <a:pt x="258" y="193"/>
                </a:cubicBezTo>
                <a:cubicBezTo>
                  <a:pt x="257" y="193"/>
                  <a:pt x="258" y="192"/>
                  <a:pt x="258" y="191"/>
                </a:cubicBezTo>
                <a:close/>
                <a:moveTo>
                  <a:pt x="260" y="233"/>
                </a:moveTo>
                <a:cubicBezTo>
                  <a:pt x="262" y="233"/>
                  <a:pt x="258" y="234"/>
                  <a:pt x="260" y="233"/>
                </a:cubicBezTo>
                <a:close/>
                <a:moveTo>
                  <a:pt x="260" y="231"/>
                </a:moveTo>
                <a:cubicBezTo>
                  <a:pt x="261" y="233"/>
                  <a:pt x="263" y="236"/>
                  <a:pt x="264" y="238"/>
                </a:cubicBezTo>
                <a:cubicBezTo>
                  <a:pt x="262" y="237"/>
                  <a:pt x="261" y="233"/>
                  <a:pt x="260" y="231"/>
                </a:cubicBezTo>
                <a:close/>
                <a:moveTo>
                  <a:pt x="260" y="229"/>
                </a:moveTo>
                <a:cubicBezTo>
                  <a:pt x="260" y="229"/>
                  <a:pt x="261" y="230"/>
                  <a:pt x="261" y="230"/>
                </a:cubicBezTo>
                <a:cubicBezTo>
                  <a:pt x="261" y="230"/>
                  <a:pt x="260" y="229"/>
                  <a:pt x="260" y="229"/>
                </a:cubicBezTo>
                <a:close/>
                <a:moveTo>
                  <a:pt x="261" y="154"/>
                </a:moveTo>
                <a:cubicBezTo>
                  <a:pt x="262" y="155"/>
                  <a:pt x="263" y="157"/>
                  <a:pt x="263" y="158"/>
                </a:cubicBezTo>
                <a:cubicBezTo>
                  <a:pt x="262" y="157"/>
                  <a:pt x="261" y="156"/>
                  <a:pt x="261" y="154"/>
                </a:cubicBezTo>
                <a:close/>
                <a:moveTo>
                  <a:pt x="263" y="68"/>
                </a:moveTo>
                <a:cubicBezTo>
                  <a:pt x="264" y="69"/>
                  <a:pt x="265" y="70"/>
                  <a:pt x="266" y="72"/>
                </a:cubicBezTo>
                <a:cubicBezTo>
                  <a:pt x="264" y="72"/>
                  <a:pt x="264" y="69"/>
                  <a:pt x="263" y="68"/>
                </a:cubicBezTo>
                <a:close/>
                <a:moveTo>
                  <a:pt x="266" y="63"/>
                </a:moveTo>
                <a:cubicBezTo>
                  <a:pt x="264" y="62"/>
                  <a:pt x="265" y="61"/>
                  <a:pt x="266" y="63"/>
                </a:cubicBezTo>
                <a:close/>
                <a:moveTo>
                  <a:pt x="267" y="132"/>
                </a:moveTo>
                <a:cubicBezTo>
                  <a:pt x="269" y="132"/>
                  <a:pt x="271" y="137"/>
                  <a:pt x="268" y="137"/>
                </a:cubicBezTo>
                <a:cubicBezTo>
                  <a:pt x="266" y="138"/>
                  <a:pt x="263" y="132"/>
                  <a:pt x="267" y="132"/>
                </a:cubicBezTo>
                <a:close/>
                <a:moveTo>
                  <a:pt x="267" y="108"/>
                </a:moveTo>
                <a:cubicBezTo>
                  <a:pt x="268" y="108"/>
                  <a:pt x="268" y="109"/>
                  <a:pt x="268" y="109"/>
                </a:cubicBezTo>
                <a:cubicBezTo>
                  <a:pt x="267" y="110"/>
                  <a:pt x="265" y="108"/>
                  <a:pt x="267" y="108"/>
                </a:cubicBezTo>
                <a:close/>
                <a:moveTo>
                  <a:pt x="270" y="113"/>
                </a:moveTo>
                <a:cubicBezTo>
                  <a:pt x="268" y="113"/>
                  <a:pt x="271" y="114"/>
                  <a:pt x="270" y="113"/>
                </a:cubicBezTo>
                <a:close/>
                <a:moveTo>
                  <a:pt x="267" y="149"/>
                </a:moveTo>
                <a:cubicBezTo>
                  <a:pt x="266" y="150"/>
                  <a:pt x="266" y="149"/>
                  <a:pt x="265" y="148"/>
                </a:cubicBezTo>
                <a:cubicBezTo>
                  <a:pt x="264" y="146"/>
                  <a:pt x="269" y="148"/>
                  <a:pt x="267" y="149"/>
                </a:cubicBezTo>
                <a:close/>
                <a:moveTo>
                  <a:pt x="264" y="161"/>
                </a:moveTo>
                <a:cubicBezTo>
                  <a:pt x="265" y="161"/>
                  <a:pt x="265" y="162"/>
                  <a:pt x="265" y="162"/>
                </a:cubicBezTo>
                <a:cubicBezTo>
                  <a:pt x="265" y="162"/>
                  <a:pt x="263" y="158"/>
                  <a:pt x="264" y="161"/>
                </a:cubicBezTo>
                <a:close/>
                <a:moveTo>
                  <a:pt x="266" y="512"/>
                </a:moveTo>
                <a:cubicBezTo>
                  <a:pt x="264" y="513"/>
                  <a:pt x="264" y="510"/>
                  <a:pt x="266" y="512"/>
                </a:cubicBezTo>
                <a:close/>
                <a:moveTo>
                  <a:pt x="271" y="181"/>
                </a:moveTo>
                <a:cubicBezTo>
                  <a:pt x="272" y="180"/>
                  <a:pt x="273" y="183"/>
                  <a:pt x="272" y="182"/>
                </a:cubicBezTo>
                <a:cubicBezTo>
                  <a:pt x="271" y="182"/>
                  <a:pt x="271" y="182"/>
                  <a:pt x="271" y="181"/>
                </a:cubicBezTo>
                <a:close/>
                <a:moveTo>
                  <a:pt x="283" y="92"/>
                </a:moveTo>
                <a:cubicBezTo>
                  <a:pt x="280" y="90"/>
                  <a:pt x="285" y="92"/>
                  <a:pt x="284" y="93"/>
                </a:cubicBezTo>
                <a:cubicBezTo>
                  <a:pt x="284" y="94"/>
                  <a:pt x="281" y="91"/>
                  <a:pt x="280" y="91"/>
                </a:cubicBezTo>
                <a:cubicBezTo>
                  <a:pt x="279" y="90"/>
                  <a:pt x="275" y="89"/>
                  <a:pt x="274" y="87"/>
                </a:cubicBezTo>
                <a:cubicBezTo>
                  <a:pt x="272" y="83"/>
                  <a:pt x="282" y="91"/>
                  <a:pt x="283" y="92"/>
                </a:cubicBezTo>
                <a:close/>
                <a:moveTo>
                  <a:pt x="273" y="75"/>
                </a:moveTo>
                <a:cubicBezTo>
                  <a:pt x="275" y="75"/>
                  <a:pt x="274" y="77"/>
                  <a:pt x="273" y="75"/>
                </a:cubicBezTo>
                <a:close/>
                <a:moveTo>
                  <a:pt x="283" y="102"/>
                </a:moveTo>
                <a:cubicBezTo>
                  <a:pt x="283" y="102"/>
                  <a:pt x="283" y="102"/>
                  <a:pt x="284" y="103"/>
                </a:cubicBezTo>
                <a:cubicBezTo>
                  <a:pt x="284" y="103"/>
                  <a:pt x="284" y="103"/>
                  <a:pt x="284" y="103"/>
                </a:cubicBezTo>
                <a:cubicBezTo>
                  <a:pt x="284" y="102"/>
                  <a:pt x="283" y="102"/>
                  <a:pt x="283" y="102"/>
                </a:cubicBezTo>
                <a:close/>
                <a:moveTo>
                  <a:pt x="285" y="137"/>
                </a:moveTo>
                <a:cubicBezTo>
                  <a:pt x="285" y="138"/>
                  <a:pt x="284" y="137"/>
                  <a:pt x="283" y="137"/>
                </a:cubicBezTo>
                <a:cubicBezTo>
                  <a:pt x="282" y="134"/>
                  <a:pt x="287" y="136"/>
                  <a:pt x="285" y="137"/>
                </a:cubicBezTo>
                <a:close/>
                <a:moveTo>
                  <a:pt x="276" y="104"/>
                </a:moveTo>
                <a:cubicBezTo>
                  <a:pt x="276" y="104"/>
                  <a:pt x="280" y="107"/>
                  <a:pt x="280" y="109"/>
                </a:cubicBezTo>
                <a:cubicBezTo>
                  <a:pt x="279" y="108"/>
                  <a:pt x="276" y="105"/>
                  <a:pt x="276" y="104"/>
                </a:cubicBezTo>
                <a:close/>
                <a:moveTo>
                  <a:pt x="277" y="127"/>
                </a:moveTo>
                <a:cubicBezTo>
                  <a:pt x="276" y="126"/>
                  <a:pt x="276" y="126"/>
                  <a:pt x="275" y="125"/>
                </a:cubicBezTo>
                <a:cubicBezTo>
                  <a:pt x="276" y="125"/>
                  <a:pt x="277" y="126"/>
                  <a:pt x="277" y="127"/>
                </a:cubicBezTo>
                <a:close/>
                <a:moveTo>
                  <a:pt x="279" y="102"/>
                </a:moveTo>
                <a:cubicBezTo>
                  <a:pt x="278" y="102"/>
                  <a:pt x="281" y="102"/>
                  <a:pt x="281" y="102"/>
                </a:cubicBezTo>
                <a:cubicBezTo>
                  <a:pt x="280" y="103"/>
                  <a:pt x="279" y="102"/>
                  <a:pt x="279" y="102"/>
                </a:cubicBezTo>
                <a:close/>
                <a:moveTo>
                  <a:pt x="275" y="111"/>
                </a:moveTo>
                <a:cubicBezTo>
                  <a:pt x="275" y="111"/>
                  <a:pt x="275" y="111"/>
                  <a:pt x="274" y="110"/>
                </a:cubicBezTo>
                <a:cubicBezTo>
                  <a:pt x="275" y="111"/>
                  <a:pt x="275" y="111"/>
                  <a:pt x="275" y="111"/>
                </a:cubicBezTo>
                <a:cubicBezTo>
                  <a:pt x="275" y="111"/>
                  <a:pt x="275" y="111"/>
                  <a:pt x="275" y="111"/>
                </a:cubicBezTo>
                <a:close/>
                <a:moveTo>
                  <a:pt x="287" y="142"/>
                </a:moveTo>
                <a:cubicBezTo>
                  <a:pt x="286" y="143"/>
                  <a:pt x="284" y="140"/>
                  <a:pt x="286" y="140"/>
                </a:cubicBezTo>
                <a:cubicBezTo>
                  <a:pt x="287" y="139"/>
                  <a:pt x="288" y="141"/>
                  <a:pt x="287" y="142"/>
                </a:cubicBezTo>
                <a:close/>
                <a:moveTo>
                  <a:pt x="286" y="87"/>
                </a:moveTo>
                <a:cubicBezTo>
                  <a:pt x="287" y="87"/>
                  <a:pt x="287" y="88"/>
                  <a:pt x="286" y="89"/>
                </a:cubicBezTo>
                <a:cubicBezTo>
                  <a:pt x="286" y="89"/>
                  <a:pt x="285" y="88"/>
                  <a:pt x="286" y="87"/>
                </a:cubicBezTo>
                <a:close/>
                <a:moveTo>
                  <a:pt x="280" y="66"/>
                </a:moveTo>
                <a:cubicBezTo>
                  <a:pt x="282" y="65"/>
                  <a:pt x="285" y="69"/>
                  <a:pt x="286" y="70"/>
                </a:cubicBezTo>
                <a:cubicBezTo>
                  <a:pt x="284" y="71"/>
                  <a:pt x="279" y="68"/>
                  <a:pt x="280" y="66"/>
                </a:cubicBezTo>
                <a:close/>
                <a:moveTo>
                  <a:pt x="276" y="74"/>
                </a:moveTo>
                <a:cubicBezTo>
                  <a:pt x="278" y="76"/>
                  <a:pt x="275" y="73"/>
                  <a:pt x="276" y="74"/>
                </a:cubicBezTo>
                <a:close/>
                <a:moveTo>
                  <a:pt x="276" y="77"/>
                </a:moveTo>
                <a:cubicBezTo>
                  <a:pt x="276" y="77"/>
                  <a:pt x="276" y="77"/>
                  <a:pt x="276" y="77"/>
                </a:cubicBezTo>
                <a:cubicBezTo>
                  <a:pt x="276" y="77"/>
                  <a:pt x="276" y="77"/>
                  <a:pt x="275" y="77"/>
                </a:cubicBezTo>
                <a:cubicBezTo>
                  <a:pt x="276" y="77"/>
                  <a:pt x="276" y="77"/>
                  <a:pt x="276" y="77"/>
                </a:cubicBezTo>
                <a:close/>
                <a:moveTo>
                  <a:pt x="275" y="74"/>
                </a:moveTo>
                <a:cubicBezTo>
                  <a:pt x="274" y="74"/>
                  <a:pt x="273" y="72"/>
                  <a:pt x="271" y="72"/>
                </a:cubicBezTo>
                <a:cubicBezTo>
                  <a:pt x="272" y="71"/>
                  <a:pt x="274" y="73"/>
                  <a:pt x="275" y="74"/>
                </a:cubicBezTo>
                <a:close/>
                <a:moveTo>
                  <a:pt x="273" y="85"/>
                </a:moveTo>
                <a:cubicBezTo>
                  <a:pt x="273" y="86"/>
                  <a:pt x="271" y="85"/>
                  <a:pt x="270" y="85"/>
                </a:cubicBezTo>
                <a:cubicBezTo>
                  <a:pt x="268" y="83"/>
                  <a:pt x="274" y="82"/>
                  <a:pt x="273" y="85"/>
                </a:cubicBezTo>
                <a:close/>
                <a:moveTo>
                  <a:pt x="275" y="102"/>
                </a:moveTo>
                <a:cubicBezTo>
                  <a:pt x="272" y="100"/>
                  <a:pt x="270" y="98"/>
                  <a:pt x="268" y="95"/>
                </a:cubicBezTo>
                <a:cubicBezTo>
                  <a:pt x="271" y="97"/>
                  <a:pt x="273" y="99"/>
                  <a:pt x="275" y="102"/>
                </a:cubicBezTo>
                <a:close/>
                <a:moveTo>
                  <a:pt x="268" y="117"/>
                </a:moveTo>
                <a:cubicBezTo>
                  <a:pt x="268" y="118"/>
                  <a:pt x="267" y="117"/>
                  <a:pt x="267" y="116"/>
                </a:cubicBezTo>
                <a:cubicBezTo>
                  <a:pt x="265" y="115"/>
                  <a:pt x="269" y="116"/>
                  <a:pt x="268" y="117"/>
                </a:cubicBezTo>
                <a:close/>
                <a:moveTo>
                  <a:pt x="268" y="58"/>
                </a:moveTo>
                <a:cubicBezTo>
                  <a:pt x="269" y="59"/>
                  <a:pt x="266" y="57"/>
                  <a:pt x="268" y="58"/>
                </a:cubicBezTo>
                <a:close/>
                <a:moveTo>
                  <a:pt x="267" y="98"/>
                </a:moveTo>
                <a:cubicBezTo>
                  <a:pt x="267" y="98"/>
                  <a:pt x="265" y="98"/>
                  <a:pt x="265" y="97"/>
                </a:cubicBezTo>
                <a:cubicBezTo>
                  <a:pt x="265" y="97"/>
                  <a:pt x="267" y="98"/>
                  <a:pt x="267" y="98"/>
                </a:cubicBezTo>
                <a:close/>
                <a:moveTo>
                  <a:pt x="266" y="51"/>
                </a:moveTo>
                <a:cubicBezTo>
                  <a:pt x="265" y="52"/>
                  <a:pt x="262" y="52"/>
                  <a:pt x="260" y="51"/>
                </a:cubicBezTo>
                <a:cubicBezTo>
                  <a:pt x="262" y="50"/>
                  <a:pt x="264" y="51"/>
                  <a:pt x="266" y="51"/>
                </a:cubicBezTo>
                <a:close/>
                <a:moveTo>
                  <a:pt x="260" y="153"/>
                </a:moveTo>
                <a:cubicBezTo>
                  <a:pt x="260" y="153"/>
                  <a:pt x="260" y="153"/>
                  <a:pt x="260" y="153"/>
                </a:cubicBezTo>
                <a:cubicBezTo>
                  <a:pt x="260" y="153"/>
                  <a:pt x="260" y="153"/>
                  <a:pt x="260" y="153"/>
                </a:cubicBezTo>
                <a:cubicBezTo>
                  <a:pt x="260" y="153"/>
                  <a:pt x="260" y="153"/>
                  <a:pt x="260" y="153"/>
                </a:cubicBezTo>
                <a:close/>
                <a:moveTo>
                  <a:pt x="260" y="181"/>
                </a:moveTo>
                <a:cubicBezTo>
                  <a:pt x="261" y="181"/>
                  <a:pt x="262" y="183"/>
                  <a:pt x="261" y="183"/>
                </a:cubicBezTo>
                <a:cubicBezTo>
                  <a:pt x="261" y="184"/>
                  <a:pt x="259" y="182"/>
                  <a:pt x="260" y="181"/>
                </a:cubicBezTo>
                <a:close/>
                <a:moveTo>
                  <a:pt x="260" y="152"/>
                </a:moveTo>
                <a:cubicBezTo>
                  <a:pt x="259" y="152"/>
                  <a:pt x="259" y="152"/>
                  <a:pt x="260" y="152"/>
                </a:cubicBezTo>
                <a:close/>
                <a:moveTo>
                  <a:pt x="259" y="202"/>
                </a:moveTo>
                <a:cubicBezTo>
                  <a:pt x="261" y="201"/>
                  <a:pt x="259" y="205"/>
                  <a:pt x="259" y="202"/>
                </a:cubicBezTo>
                <a:close/>
                <a:moveTo>
                  <a:pt x="259" y="152"/>
                </a:moveTo>
                <a:cubicBezTo>
                  <a:pt x="258" y="151"/>
                  <a:pt x="257" y="150"/>
                  <a:pt x="257" y="148"/>
                </a:cubicBezTo>
                <a:cubicBezTo>
                  <a:pt x="258" y="149"/>
                  <a:pt x="259" y="150"/>
                  <a:pt x="259" y="152"/>
                </a:cubicBezTo>
                <a:close/>
                <a:moveTo>
                  <a:pt x="255" y="100"/>
                </a:moveTo>
                <a:cubicBezTo>
                  <a:pt x="256" y="100"/>
                  <a:pt x="257" y="102"/>
                  <a:pt x="255" y="103"/>
                </a:cubicBezTo>
                <a:cubicBezTo>
                  <a:pt x="254" y="103"/>
                  <a:pt x="252" y="100"/>
                  <a:pt x="255" y="100"/>
                </a:cubicBezTo>
                <a:close/>
                <a:moveTo>
                  <a:pt x="255" y="196"/>
                </a:moveTo>
                <a:cubicBezTo>
                  <a:pt x="256" y="196"/>
                  <a:pt x="255" y="198"/>
                  <a:pt x="255" y="198"/>
                </a:cubicBezTo>
                <a:cubicBezTo>
                  <a:pt x="254" y="198"/>
                  <a:pt x="254" y="196"/>
                  <a:pt x="255" y="196"/>
                </a:cubicBezTo>
                <a:close/>
                <a:moveTo>
                  <a:pt x="253" y="79"/>
                </a:moveTo>
                <a:cubicBezTo>
                  <a:pt x="252" y="82"/>
                  <a:pt x="243" y="80"/>
                  <a:pt x="246" y="76"/>
                </a:cubicBezTo>
                <a:cubicBezTo>
                  <a:pt x="245" y="77"/>
                  <a:pt x="242" y="76"/>
                  <a:pt x="242" y="75"/>
                </a:cubicBezTo>
                <a:cubicBezTo>
                  <a:pt x="243" y="73"/>
                  <a:pt x="247" y="74"/>
                  <a:pt x="246" y="76"/>
                </a:cubicBezTo>
                <a:cubicBezTo>
                  <a:pt x="247" y="74"/>
                  <a:pt x="253" y="76"/>
                  <a:pt x="253" y="79"/>
                </a:cubicBezTo>
                <a:close/>
                <a:moveTo>
                  <a:pt x="249" y="118"/>
                </a:moveTo>
                <a:cubicBezTo>
                  <a:pt x="248" y="119"/>
                  <a:pt x="247" y="117"/>
                  <a:pt x="248" y="116"/>
                </a:cubicBezTo>
                <a:cubicBezTo>
                  <a:pt x="249" y="116"/>
                  <a:pt x="250" y="118"/>
                  <a:pt x="249" y="118"/>
                </a:cubicBezTo>
                <a:close/>
                <a:moveTo>
                  <a:pt x="244" y="88"/>
                </a:moveTo>
                <a:cubicBezTo>
                  <a:pt x="244" y="88"/>
                  <a:pt x="243" y="87"/>
                  <a:pt x="244" y="87"/>
                </a:cubicBezTo>
                <a:cubicBezTo>
                  <a:pt x="245" y="85"/>
                  <a:pt x="247" y="90"/>
                  <a:pt x="244" y="88"/>
                </a:cubicBezTo>
                <a:close/>
                <a:moveTo>
                  <a:pt x="244" y="70"/>
                </a:moveTo>
                <a:cubicBezTo>
                  <a:pt x="246" y="70"/>
                  <a:pt x="244" y="73"/>
                  <a:pt x="244" y="70"/>
                </a:cubicBezTo>
                <a:close/>
                <a:moveTo>
                  <a:pt x="248" y="64"/>
                </a:moveTo>
                <a:cubicBezTo>
                  <a:pt x="249" y="65"/>
                  <a:pt x="246" y="64"/>
                  <a:pt x="248" y="64"/>
                </a:cubicBezTo>
                <a:close/>
                <a:moveTo>
                  <a:pt x="243" y="69"/>
                </a:moveTo>
                <a:cubicBezTo>
                  <a:pt x="246" y="69"/>
                  <a:pt x="249" y="70"/>
                  <a:pt x="251" y="71"/>
                </a:cubicBezTo>
                <a:cubicBezTo>
                  <a:pt x="250" y="71"/>
                  <a:pt x="248" y="70"/>
                  <a:pt x="246" y="70"/>
                </a:cubicBezTo>
                <a:cubicBezTo>
                  <a:pt x="246" y="70"/>
                  <a:pt x="246" y="70"/>
                  <a:pt x="246" y="70"/>
                </a:cubicBezTo>
                <a:cubicBezTo>
                  <a:pt x="246" y="70"/>
                  <a:pt x="246" y="70"/>
                  <a:pt x="246" y="70"/>
                </a:cubicBezTo>
                <a:cubicBezTo>
                  <a:pt x="245" y="69"/>
                  <a:pt x="244" y="69"/>
                  <a:pt x="243" y="69"/>
                </a:cubicBezTo>
                <a:cubicBezTo>
                  <a:pt x="243" y="69"/>
                  <a:pt x="243" y="70"/>
                  <a:pt x="242" y="69"/>
                </a:cubicBezTo>
                <a:cubicBezTo>
                  <a:pt x="242" y="69"/>
                  <a:pt x="242" y="69"/>
                  <a:pt x="242" y="69"/>
                </a:cubicBezTo>
                <a:cubicBezTo>
                  <a:pt x="242" y="69"/>
                  <a:pt x="242" y="69"/>
                  <a:pt x="242" y="69"/>
                </a:cubicBezTo>
                <a:cubicBezTo>
                  <a:pt x="242" y="68"/>
                  <a:pt x="242" y="68"/>
                  <a:pt x="242" y="68"/>
                </a:cubicBezTo>
                <a:cubicBezTo>
                  <a:pt x="242" y="68"/>
                  <a:pt x="243" y="68"/>
                  <a:pt x="243" y="69"/>
                </a:cubicBezTo>
                <a:close/>
                <a:moveTo>
                  <a:pt x="242" y="89"/>
                </a:moveTo>
                <a:cubicBezTo>
                  <a:pt x="241" y="88"/>
                  <a:pt x="243" y="90"/>
                  <a:pt x="242" y="89"/>
                </a:cubicBezTo>
                <a:close/>
                <a:moveTo>
                  <a:pt x="234" y="66"/>
                </a:moveTo>
                <a:cubicBezTo>
                  <a:pt x="234" y="64"/>
                  <a:pt x="234" y="63"/>
                  <a:pt x="235" y="62"/>
                </a:cubicBezTo>
                <a:cubicBezTo>
                  <a:pt x="238" y="60"/>
                  <a:pt x="242" y="65"/>
                  <a:pt x="241" y="67"/>
                </a:cubicBezTo>
                <a:cubicBezTo>
                  <a:pt x="240" y="69"/>
                  <a:pt x="235" y="67"/>
                  <a:pt x="234" y="66"/>
                </a:cubicBezTo>
                <a:close/>
                <a:moveTo>
                  <a:pt x="246" y="122"/>
                </a:moveTo>
                <a:cubicBezTo>
                  <a:pt x="245" y="123"/>
                  <a:pt x="241" y="118"/>
                  <a:pt x="241" y="117"/>
                </a:cubicBezTo>
                <a:cubicBezTo>
                  <a:pt x="239" y="112"/>
                  <a:pt x="247" y="121"/>
                  <a:pt x="246" y="122"/>
                </a:cubicBezTo>
                <a:close/>
                <a:moveTo>
                  <a:pt x="242" y="252"/>
                </a:moveTo>
                <a:cubicBezTo>
                  <a:pt x="242" y="252"/>
                  <a:pt x="245" y="257"/>
                  <a:pt x="243" y="256"/>
                </a:cubicBezTo>
                <a:cubicBezTo>
                  <a:pt x="242" y="256"/>
                  <a:pt x="242" y="251"/>
                  <a:pt x="242" y="251"/>
                </a:cubicBezTo>
                <a:cubicBezTo>
                  <a:pt x="240" y="247"/>
                  <a:pt x="237" y="245"/>
                  <a:pt x="237" y="241"/>
                </a:cubicBezTo>
                <a:cubicBezTo>
                  <a:pt x="240" y="242"/>
                  <a:pt x="242" y="250"/>
                  <a:pt x="242" y="252"/>
                </a:cubicBezTo>
                <a:close/>
                <a:moveTo>
                  <a:pt x="241" y="246"/>
                </a:moveTo>
                <a:cubicBezTo>
                  <a:pt x="242" y="246"/>
                  <a:pt x="243" y="248"/>
                  <a:pt x="242" y="248"/>
                </a:cubicBezTo>
                <a:cubicBezTo>
                  <a:pt x="242" y="248"/>
                  <a:pt x="241" y="247"/>
                  <a:pt x="241" y="246"/>
                </a:cubicBezTo>
                <a:close/>
                <a:moveTo>
                  <a:pt x="244" y="213"/>
                </a:moveTo>
                <a:cubicBezTo>
                  <a:pt x="243" y="213"/>
                  <a:pt x="243" y="213"/>
                  <a:pt x="243" y="213"/>
                </a:cubicBezTo>
                <a:cubicBezTo>
                  <a:pt x="241" y="212"/>
                  <a:pt x="244" y="211"/>
                  <a:pt x="244" y="213"/>
                </a:cubicBezTo>
                <a:close/>
                <a:moveTo>
                  <a:pt x="241" y="158"/>
                </a:moveTo>
                <a:cubicBezTo>
                  <a:pt x="240" y="157"/>
                  <a:pt x="243" y="158"/>
                  <a:pt x="242" y="159"/>
                </a:cubicBezTo>
                <a:cubicBezTo>
                  <a:pt x="242" y="159"/>
                  <a:pt x="242" y="158"/>
                  <a:pt x="241" y="158"/>
                </a:cubicBezTo>
                <a:close/>
                <a:moveTo>
                  <a:pt x="243" y="148"/>
                </a:moveTo>
                <a:cubicBezTo>
                  <a:pt x="244" y="147"/>
                  <a:pt x="245" y="149"/>
                  <a:pt x="244" y="149"/>
                </a:cubicBezTo>
                <a:cubicBezTo>
                  <a:pt x="244" y="149"/>
                  <a:pt x="243" y="148"/>
                  <a:pt x="243" y="148"/>
                </a:cubicBezTo>
                <a:close/>
                <a:moveTo>
                  <a:pt x="244" y="215"/>
                </a:moveTo>
                <a:cubicBezTo>
                  <a:pt x="244" y="215"/>
                  <a:pt x="246" y="216"/>
                  <a:pt x="245" y="216"/>
                </a:cubicBezTo>
                <a:cubicBezTo>
                  <a:pt x="244" y="216"/>
                  <a:pt x="244" y="216"/>
                  <a:pt x="244" y="215"/>
                </a:cubicBezTo>
                <a:close/>
                <a:moveTo>
                  <a:pt x="230" y="166"/>
                </a:moveTo>
                <a:cubicBezTo>
                  <a:pt x="228" y="160"/>
                  <a:pt x="236" y="159"/>
                  <a:pt x="238" y="164"/>
                </a:cubicBezTo>
                <a:cubicBezTo>
                  <a:pt x="242" y="171"/>
                  <a:pt x="232" y="172"/>
                  <a:pt x="230" y="166"/>
                </a:cubicBezTo>
                <a:close/>
                <a:moveTo>
                  <a:pt x="236" y="177"/>
                </a:moveTo>
                <a:cubicBezTo>
                  <a:pt x="236" y="178"/>
                  <a:pt x="235" y="177"/>
                  <a:pt x="234" y="177"/>
                </a:cubicBezTo>
                <a:cubicBezTo>
                  <a:pt x="235" y="176"/>
                  <a:pt x="236" y="177"/>
                  <a:pt x="236" y="177"/>
                </a:cubicBezTo>
                <a:close/>
                <a:moveTo>
                  <a:pt x="234" y="190"/>
                </a:moveTo>
                <a:cubicBezTo>
                  <a:pt x="233" y="190"/>
                  <a:pt x="234" y="188"/>
                  <a:pt x="234" y="190"/>
                </a:cubicBezTo>
                <a:close/>
                <a:moveTo>
                  <a:pt x="230" y="190"/>
                </a:moveTo>
                <a:cubicBezTo>
                  <a:pt x="231" y="189"/>
                  <a:pt x="233" y="191"/>
                  <a:pt x="233" y="191"/>
                </a:cubicBezTo>
                <a:cubicBezTo>
                  <a:pt x="232" y="192"/>
                  <a:pt x="230" y="190"/>
                  <a:pt x="230" y="190"/>
                </a:cubicBezTo>
                <a:close/>
                <a:moveTo>
                  <a:pt x="232" y="199"/>
                </a:moveTo>
                <a:cubicBezTo>
                  <a:pt x="232" y="200"/>
                  <a:pt x="231" y="198"/>
                  <a:pt x="232" y="198"/>
                </a:cubicBezTo>
                <a:cubicBezTo>
                  <a:pt x="232" y="199"/>
                  <a:pt x="232" y="199"/>
                  <a:pt x="232" y="199"/>
                </a:cubicBezTo>
                <a:close/>
                <a:moveTo>
                  <a:pt x="232" y="179"/>
                </a:moveTo>
                <a:cubicBezTo>
                  <a:pt x="232" y="179"/>
                  <a:pt x="233" y="179"/>
                  <a:pt x="233" y="180"/>
                </a:cubicBezTo>
                <a:cubicBezTo>
                  <a:pt x="233" y="180"/>
                  <a:pt x="231" y="180"/>
                  <a:pt x="232" y="179"/>
                </a:cubicBezTo>
                <a:close/>
                <a:moveTo>
                  <a:pt x="238" y="100"/>
                </a:moveTo>
                <a:cubicBezTo>
                  <a:pt x="238" y="100"/>
                  <a:pt x="238" y="100"/>
                  <a:pt x="238" y="100"/>
                </a:cubicBezTo>
                <a:cubicBezTo>
                  <a:pt x="238" y="100"/>
                  <a:pt x="239" y="101"/>
                  <a:pt x="238" y="100"/>
                </a:cubicBezTo>
                <a:close/>
                <a:moveTo>
                  <a:pt x="235" y="107"/>
                </a:moveTo>
                <a:cubicBezTo>
                  <a:pt x="235" y="107"/>
                  <a:pt x="234" y="109"/>
                  <a:pt x="234" y="107"/>
                </a:cubicBezTo>
                <a:cubicBezTo>
                  <a:pt x="234" y="108"/>
                  <a:pt x="233" y="106"/>
                  <a:pt x="235" y="107"/>
                </a:cubicBezTo>
                <a:close/>
                <a:moveTo>
                  <a:pt x="231" y="104"/>
                </a:moveTo>
                <a:cubicBezTo>
                  <a:pt x="233" y="103"/>
                  <a:pt x="233" y="107"/>
                  <a:pt x="231" y="107"/>
                </a:cubicBezTo>
                <a:cubicBezTo>
                  <a:pt x="230" y="107"/>
                  <a:pt x="229" y="104"/>
                  <a:pt x="231" y="104"/>
                </a:cubicBezTo>
                <a:close/>
                <a:moveTo>
                  <a:pt x="238" y="120"/>
                </a:moveTo>
                <a:cubicBezTo>
                  <a:pt x="238" y="124"/>
                  <a:pt x="230" y="122"/>
                  <a:pt x="229" y="120"/>
                </a:cubicBezTo>
                <a:cubicBezTo>
                  <a:pt x="223" y="112"/>
                  <a:pt x="239" y="113"/>
                  <a:pt x="238" y="120"/>
                </a:cubicBezTo>
                <a:close/>
                <a:moveTo>
                  <a:pt x="233" y="134"/>
                </a:moveTo>
                <a:cubicBezTo>
                  <a:pt x="233" y="133"/>
                  <a:pt x="234" y="135"/>
                  <a:pt x="234" y="135"/>
                </a:cubicBezTo>
                <a:cubicBezTo>
                  <a:pt x="232" y="136"/>
                  <a:pt x="232" y="133"/>
                  <a:pt x="231" y="132"/>
                </a:cubicBezTo>
                <a:cubicBezTo>
                  <a:pt x="230" y="130"/>
                  <a:pt x="226" y="126"/>
                  <a:pt x="225" y="122"/>
                </a:cubicBezTo>
                <a:cubicBezTo>
                  <a:pt x="228" y="124"/>
                  <a:pt x="232" y="131"/>
                  <a:pt x="233" y="134"/>
                </a:cubicBezTo>
                <a:close/>
                <a:moveTo>
                  <a:pt x="226" y="205"/>
                </a:moveTo>
                <a:cubicBezTo>
                  <a:pt x="227" y="204"/>
                  <a:pt x="227" y="206"/>
                  <a:pt x="227" y="206"/>
                </a:cubicBezTo>
                <a:cubicBezTo>
                  <a:pt x="226" y="206"/>
                  <a:pt x="226" y="205"/>
                  <a:pt x="226" y="205"/>
                </a:cubicBezTo>
                <a:close/>
                <a:moveTo>
                  <a:pt x="226" y="130"/>
                </a:moveTo>
                <a:cubicBezTo>
                  <a:pt x="226" y="130"/>
                  <a:pt x="225" y="129"/>
                  <a:pt x="226" y="129"/>
                </a:cubicBezTo>
                <a:cubicBezTo>
                  <a:pt x="226" y="129"/>
                  <a:pt x="226" y="130"/>
                  <a:pt x="226" y="130"/>
                </a:cubicBezTo>
                <a:close/>
                <a:moveTo>
                  <a:pt x="226" y="159"/>
                </a:moveTo>
                <a:cubicBezTo>
                  <a:pt x="224" y="159"/>
                  <a:pt x="226" y="158"/>
                  <a:pt x="226" y="159"/>
                </a:cubicBezTo>
                <a:close/>
                <a:moveTo>
                  <a:pt x="225" y="158"/>
                </a:moveTo>
                <a:cubicBezTo>
                  <a:pt x="224" y="159"/>
                  <a:pt x="222" y="157"/>
                  <a:pt x="221" y="157"/>
                </a:cubicBezTo>
                <a:cubicBezTo>
                  <a:pt x="222" y="156"/>
                  <a:pt x="224" y="158"/>
                  <a:pt x="225" y="158"/>
                </a:cubicBezTo>
                <a:close/>
                <a:moveTo>
                  <a:pt x="224" y="169"/>
                </a:moveTo>
                <a:cubicBezTo>
                  <a:pt x="225" y="170"/>
                  <a:pt x="224" y="174"/>
                  <a:pt x="225" y="175"/>
                </a:cubicBezTo>
                <a:cubicBezTo>
                  <a:pt x="226" y="178"/>
                  <a:pt x="226" y="177"/>
                  <a:pt x="223" y="179"/>
                </a:cubicBezTo>
                <a:cubicBezTo>
                  <a:pt x="221" y="182"/>
                  <a:pt x="216" y="182"/>
                  <a:pt x="217" y="178"/>
                </a:cubicBezTo>
                <a:cubicBezTo>
                  <a:pt x="222" y="179"/>
                  <a:pt x="215" y="177"/>
                  <a:pt x="214" y="175"/>
                </a:cubicBezTo>
                <a:cubicBezTo>
                  <a:pt x="213" y="175"/>
                  <a:pt x="213" y="169"/>
                  <a:pt x="214" y="168"/>
                </a:cubicBezTo>
                <a:cubicBezTo>
                  <a:pt x="217" y="164"/>
                  <a:pt x="222" y="166"/>
                  <a:pt x="224" y="169"/>
                </a:cubicBezTo>
                <a:close/>
                <a:moveTo>
                  <a:pt x="212" y="179"/>
                </a:moveTo>
                <a:cubicBezTo>
                  <a:pt x="213" y="179"/>
                  <a:pt x="213" y="182"/>
                  <a:pt x="212" y="181"/>
                </a:cubicBezTo>
                <a:cubicBezTo>
                  <a:pt x="211" y="181"/>
                  <a:pt x="211" y="180"/>
                  <a:pt x="212" y="179"/>
                </a:cubicBezTo>
                <a:close/>
                <a:moveTo>
                  <a:pt x="211" y="154"/>
                </a:moveTo>
                <a:cubicBezTo>
                  <a:pt x="212" y="153"/>
                  <a:pt x="213" y="154"/>
                  <a:pt x="213" y="155"/>
                </a:cubicBezTo>
                <a:cubicBezTo>
                  <a:pt x="213" y="155"/>
                  <a:pt x="212" y="154"/>
                  <a:pt x="211" y="154"/>
                </a:cubicBezTo>
                <a:close/>
                <a:moveTo>
                  <a:pt x="214" y="225"/>
                </a:moveTo>
                <a:cubicBezTo>
                  <a:pt x="213" y="224"/>
                  <a:pt x="212" y="223"/>
                  <a:pt x="212" y="221"/>
                </a:cubicBezTo>
                <a:cubicBezTo>
                  <a:pt x="212" y="223"/>
                  <a:pt x="214" y="223"/>
                  <a:pt x="214" y="225"/>
                </a:cubicBezTo>
                <a:close/>
                <a:moveTo>
                  <a:pt x="213" y="174"/>
                </a:moveTo>
                <a:cubicBezTo>
                  <a:pt x="212" y="176"/>
                  <a:pt x="218" y="182"/>
                  <a:pt x="216" y="182"/>
                </a:cubicBezTo>
                <a:cubicBezTo>
                  <a:pt x="215" y="182"/>
                  <a:pt x="211" y="176"/>
                  <a:pt x="213" y="174"/>
                </a:cubicBezTo>
                <a:close/>
                <a:moveTo>
                  <a:pt x="219" y="185"/>
                </a:moveTo>
                <a:cubicBezTo>
                  <a:pt x="218" y="186"/>
                  <a:pt x="216" y="185"/>
                  <a:pt x="216" y="184"/>
                </a:cubicBezTo>
                <a:cubicBezTo>
                  <a:pt x="214" y="182"/>
                  <a:pt x="220" y="182"/>
                  <a:pt x="219" y="185"/>
                </a:cubicBezTo>
                <a:close/>
                <a:moveTo>
                  <a:pt x="217" y="156"/>
                </a:moveTo>
                <a:cubicBezTo>
                  <a:pt x="217" y="156"/>
                  <a:pt x="217" y="156"/>
                  <a:pt x="217" y="156"/>
                </a:cubicBezTo>
                <a:cubicBezTo>
                  <a:pt x="215" y="155"/>
                  <a:pt x="219" y="156"/>
                  <a:pt x="217" y="156"/>
                </a:cubicBezTo>
                <a:close/>
                <a:moveTo>
                  <a:pt x="216" y="132"/>
                </a:moveTo>
                <a:cubicBezTo>
                  <a:pt x="216" y="133"/>
                  <a:pt x="215" y="133"/>
                  <a:pt x="214" y="132"/>
                </a:cubicBezTo>
                <a:cubicBezTo>
                  <a:pt x="213" y="131"/>
                  <a:pt x="216" y="130"/>
                  <a:pt x="216" y="132"/>
                </a:cubicBezTo>
                <a:close/>
                <a:moveTo>
                  <a:pt x="216" y="146"/>
                </a:moveTo>
                <a:cubicBezTo>
                  <a:pt x="216" y="147"/>
                  <a:pt x="215" y="146"/>
                  <a:pt x="215" y="146"/>
                </a:cubicBezTo>
                <a:cubicBezTo>
                  <a:pt x="213" y="145"/>
                  <a:pt x="216" y="145"/>
                  <a:pt x="216" y="146"/>
                </a:cubicBezTo>
                <a:close/>
                <a:moveTo>
                  <a:pt x="220" y="156"/>
                </a:moveTo>
                <a:cubicBezTo>
                  <a:pt x="217" y="155"/>
                  <a:pt x="214" y="154"/>
                  <a:pt x="211" y="152"/>
                </a:cubicBezTo>
                <a:cubicBezTo>
                  <a:pt x="214" y="152"/>
                  <a:pt x="218" y="154"/>
                  <a:pt x="220" y="156"/>
                </a:cubicBezTo>
                <a:close/>
                <a:moveTo>
                  <a:pt x="212" y="115"/>
                </a:moveTo>
                <a:cubicBezTo>
                  <a:pt x="212" y="117"/>
                  <a:pt x="209" y="116"/>
                  <a:pt x="209" y="115"/>
                </a:cubicBezTo>
                <a:cubicBezTo>
                  <a:pt x="207" y="112"/>
                  <a:pt x="212" y="112"/>
                  <a:pt x="212" y="115"/>
                </a:cubicBezTo>
                <a:close/>
                <a:moveTo>
                  <a:pt x="210" y="146"/>
                </a:moveTo>
                <a:cubicBezTo>
                  <a:pt x="209" y="146"/>
                  <a:pt x="209" y="145"/>
                  <a:pt x="209" y="144"/>
                </a:cubicBezTo>
                <a:cubicBezTo>
                  <a:pt x="209" y="144"/>
                  <a:pt x="210" y="146"/>
                  <a:pt x="210" y="146"/>
                </a:cubicBezTo>
                <a:close/>
                <a:moveTo>
                  <a:pt x="209" y="150"/>
                </a:moveTo>
                <a:cubicBezTo>
                  <a:pt x="207" y="148"/>
                  <a:pt x="210" y="149"/>
                  <a:pt x="209" y="150"/>
                </a:cubicBezTo>
                <a:close/>
                <a:moveTo>
                  <a:pt x="207" y="167"/>
                </a:moveTo>
                <a:cubicBezTo>
                  <a:pt x="207" y="167"/>
                  <a:pt x="207" y="167"/>
                  <a:pt x="207" y="167"/>
                </a:cubicBezTo>
                <a:cubicBezTo>
                  <a:pt x="209" y="166"/>
                  <a:pt x="206" y="169"/>
                  <a:pt x="207" y="167"/>
                </a:cubicBezTo>
                <a:close/>
                <a:moveTo>
                  <a:pt x="204" y="221"/>
                </a:moveTo>
                <a:cubicBezTo>
                  <a:pt x="205" y="220"/>
                  <a:pt x="206" y="222"/>
                  <a:pt x="205" y="222"/>
                </a:cubicBezTo>
                <a:cubicBezTo>
                  <a:pt x="204" y="222"/>
                  <a:pt x="204" y="221"/>
                  <a:pt x="204" y="221"/>
                </a:cubicBezTo>
                <a:close/>
                <a:moveTo>
                  <a:pt x="204" y="239"/>
                </a:moveTo>
                <a:cubicBezTo>
                  <a:pt x="205" y="239"/>
                  <a:pt x="206" y="241"/>
                  <a:pt x="205" y="242"/>
                </a:cubicBezTo>
                <a:cubicBezTo>
                  <a:pt x="204" y="242"/>
                  <a:pt x="202" y="240"/>
                  <a:pt x="204" y="239"/>
                </a:cubicBezTo>
                <a:close/>
                <a:moveTo>
                  <a:pt x="203" y="346"/>
                </a:moveTo>
                <a:cubicBezTo>
                  <a:pt x="205" y="346"/>
                  <a:pt x="205" y="348"/>
                  <a:pt x="203" y="346"/>
                </a:cubicBezTo>
                <a:close/>
                <a:moveTo>
                  <a:pt x="202" y="233"/>
                </a:moveTo>
                <a:cubicBezTo>
                  <a:pt x="202" y="233"/>
                  <a:pt x="203" y="235"/>
                  <a:pt x="202" y="235"/>
                </a:cubicBezTo>
                <a:cubicBezTo>
                  <a:pt x="202" y="235"/>
                  <a:pt x="201" y="233"/>
                  <a:pt x="202" y="233"/>
                </a:cubicBezTo>
                <a:close/>
                <a:moveTo>
                  <a:pt x="202" y="232"/>
                </a:moveTo>
                <a:cubicBezTo>
                  <a:pt x="200" y="232"/>
                  <a:pt x="202" y="231"/>
                  <a:pt x="202" y="232"/>
                </a:cubicBezTo>
                <a:close/>
                <a:moveTo>
                  <a:pt x="202" y="345"/>
                </a:moveTo>
                <a:cubicBezTo>
                  <a:pt x="204" y="347"/>
                  <a:pt x="201" y="343"/>
                  <a:pt x="202" y="345"/>
                </a:cubicBezTo>
                <a:close/>
                <a:moveTo>
                  <a:pt x="201" y="171"/>
                </a:moveTo>
                <a:cubicBezTo>
                  <a:pt x="201" y="172"/>
                  <a:pt x="203" y="172"/>
                  <a:pt x="202" y="173"/>
                </a:cubicBezTo>
                <a:cubicBezTo>
                  <a:pt x="202" y="174"/>
                  <a:pt x="200" y="171"/>
                  <a:pt x="201" y="171"/>
                </a:cubicBezTo>
                <a:close/>
                <a:moveTo>
                  <a:pt x="200" y="182"/>
                </a:moveTo>
                <a:cubicBezTo>
                  <a:pt x="201" y="181"/>
                  <a:pt x="202" y="184"/>
                  <a:pt x="201" y="184"/>
                </a:cubicBezTo>
                <a:cubicBezTo>
                  <a:pt x="199" y="185"/>
                  <a:pt x="200" y="182"/>
                  <a:pt x="200" y="182"/>
                </a:cubicBezTo>
                <a:close/>
                <a:moveTo>
                  <a:pt x="199" y="304"/>
                </a:moveTo>
                <a:cubicBezTo>
                  <a:pt x="198" y="304"/>
                  <a:pt x="198" y="302"/>
                  <a:pt x="199" y="302"/>
                </a:cubicBezTo>
                <a:cubicBezTo>
                  <a:pt x="200" y="302"/>
                  <a:pt x="200" y="304"/>
                  <a:pt x="199" y="304"/>
                </a:cubicBezTo>
                <a:close/>
                <a:moveTo>
                  <a:pt x="200" y="321"/>
                </a:moveTo>
                <a:cubicBezTo>
                  <a:pt x="200" y="321"/>
                  <a:pt x="200" y="321"/>
                  <a:pt x="200" y="321"/>
                </a:cubicBezTo>
                <a:cubicBezTo>
                  <a:pt x="200" y="321"/>
                  <a:pt x="200" y="321"/>
                  <a:pt x="200" y="321"/>
                </a:cubicBezTo>
                <a:cubicBezTo>
                  <a:pt x="200" y="321"/>
                  <a:pt x="200" y="321"/>
                  <a:pt x="200" y="321"/>
                </a:cubicBezTo>
                <a:close/>
                <a:moveTo>
                  <a:pt x="198" y="238"/>
                </a:moveTo>
                <a:cubicBezTo>
                  <a:pt x="199" y="239"/>
                  <a:pt x="200" y="240"/>
                  <a:pt x="201" y="242"/>
                </a:cubicBezTo>
                <a:cubicBezTo>
                  <a:pt x="199" y="241"/>
                  <a:pt x="198" y="240"/>
                  <a:pt x="198" y="238"/>
                </a:cubicBezTo>
                <a:close/>
                <a:moveTo>
                  <a:pt x="198" y="266"/>
                </a:moveTo>
                <a:cubicBezTo>
                  <a:pt x="197" y="267"/>
                  <a:pt x="197" y="265"/>
                  <a:pt x="197" y="265"/>
                </a:cubicBezTo>
                <a:cubicBezTo>
                  <a:pt x="197" y="265"/>
                  <a:pt x="199" y="266"/>
                  <a:pt x="198" y="266"/>
                </a:cubicBezTo>
                <a:close/>
                <a:moveTo>
                  <a:pt x="199" y="228"/>
                </a:moveTo>
                <a:cubicBezTo>
                  <a:pt x="197" y="229"/>
                  <a:pt x="195" y="222"/>
                  <a:pt x="198" y="222"/>
                </a:cubicBezTo>
                <a:cubicBezTo>
                  <a:pt x="201" y="222"/>
                  <a:pt x="201" y="228"/>
                  <a:pt x="199" y="228"/>
                </a:cubicBezTo>
                <a:close/>
                <a:moveTo>
                  <a:pt x="197" y="165"/>
                </a:moveTo>
                <a:cubicBezTo>
                  <a:pt x="198" y="165"/>
                  <a:pt x="201" y="171"/>
                  <a:pt x="198" y="172"/>
                </a:cubicBezTo>
                <a:cubicBezTo>
                  <a:pt x="194" y="173"/>
                  <a:pt x="192" y="164"/>
                  <a:pt x="197" y="165"/>
                </a:cubicBezTo>
                <a:close/>
                <a:moveTo>
                  <a:pt x="196" y="264"/>
                </a:moveTo>
                <a:cubicBezTo>
                  <a:pt x="195" y="263"/>
                  <a:pt x="195" y="262"/>
                  <a:pt x="194" y="261"/>
                </a:cubicBezTo>
                <a:cubicBezTo>
                  <a:pt x="195" y="261"/>
                  <a:pt x="196" y="263"/>
                  <a:pt x="196" y="264"/>
                </a:cubicBezTo>
                <a:close/>
                <a:moveTo>
                  <a:pt x="194" y="242"/>
                </a:moveTo>
                <a:cubicBezTo>
                  <a:pt x="194" y="242"/>
                  <a:pt x="194" y="242"/>
                  <a:pt x="194" y="242"/>
                </a:cubicBezTo>
                <a:cubicBezTo>
                  <a:pt x="196" y="241"/>
                  <a:pt x="192" y="244"/>
                  <a:pt x="194" y="242"/>
                </a:cubicBezTo>
                <a:close/>
                <a:moveTo>
                  <a:pt x="194" y="188"/>
                </a:moveTo>
                <a:cubicBezTo>
                  <a:pt x="195" y="188"/>
                  <a:pt x="195" y="191"/>
                  <a:pt x="194" y="191"/>
                </a:cubicBezTo>
                <a:cubicBezTo>
                  <a:pt x="193" y="191"/>
                  <a:pt x="192" y="188"/>
                  <a:pt x="194" y="188"/>
                </a:cubicBezTo>
                <a:close/>
                <a:moveTo>
                  <a:pt x="192" y="192"/>
                </a:moveTo>
                <a:cubicBezTo>
                  <a:pt x="190" y="193"/>
                  <a:pt x="193" y="192"/>
                  <a:pt x="192" y="192"/>
                </a:cubicBezTo>
                <a:close/>
                <a:moveTo>
                  <a:pt x="191" y="224"/>
                </a:moveTo>
                <a:cubicBezTo>
                  <a:pt x="191" y="225"/>
                  <a:pt x="190" y="223"/>
                  <a:pt x="190" y="223"/>
                </a:cubicBezTo>
                <a:cubicBezTo>
                  <a:pt x="191" y="222"/>
                  <a:pt x="192" y="224"/>
                  <a:pt x="191" y="224"/>
                </a:cubicBezTo>
                <a:close/>
                <a:moveTo>
                  <a:pt x="191" y="190"/>
                </a:moveTo>
                <a:cubicBezTo>
                  <a:pt x="191" y="189"/>
                  <a:pt x="191" y="189"/>
                  <a:pt x="190" y="188"/>
                </a:cubicBezTo>
                <a:cubicBezTo>
                  <a:pt x="191" y="188"/>
                  <a:pt x="191" y="189"/>
                  <a:pt x="191" y="190"/>
                </a:cubicBezTo>
                <a:close/>
                <a:moveTo>
                  <a:pt x="192" y="243"/>
                </a:moveTo>
                <a:cubicBezTo>
                  <a:pt x="192" y="241"/>
                  <a:pt x="191" y="242"/>
                  <a:pt x="190" y="243"/>
                </a:cubicBezTo>
                <a:cubicBezTo>
                  <a:pt x="188" y="243"/>
                  <a:pt x="184" y="239"/>
                  <a:pt x="186" y="235"/>
                </a:cubicBezTo>
                <a:cubicBezTo>
                  <a:pt x="189" y="230"/>
                  <a:pt x="196" y="237"/>
                  <a:pt x="192" y="243"/>
                </a:cubicBezTo>
                <a:close/>
                <a:moveTo>
                  <a:pt x="192" y="254"/>
                </a:moveTo>
                <a:cubicBezTo>
                  <a:pt x="191" y="255"/>
                  <a:pt x="191" y="253"/>
                  <a:pt x="191" y="253"/>
                </a:cubicBezTo>
                <a:cubicBezTo>
                  <a:pt x="192" y="252"/>
                  <a:pt x="192" y="254"/>
                  <a:pt x="192" y="254"/>
                </a:cubicBezTo>
                <a:close/>
                <a:moveTo>
                  <a:pt x="190" y="274"/>
                </a:moveTo>
                <a:cubicBezTo>
                  <a:pt x="190" y="274"/>
                  <a:pt x="189" y="272"/>
                  <a:pt x="190" y="272"/>
                </a:cubicBezTo>
                <a:cubicBezTo>
                  <a:pt x="191" y="271"/>
                  <a:pt x="191" y="274"/>
                  <a:pt x="190" y="274"/>
                </a:cubicBezTo>
                <a:close/>
                <a:moveTo>
                  <a:pt x="186" y="193"/>
                </a:moveTo>
                <a:cubicBezTo>
                  <a:pt x="189" y="193"/>
                  <a:pt x="188" y="197"/>
                  <a:pt x="187" y="197"/>
                </a:cubicBezTo>
                <a:cubicBezTo>
                  <a:pt x="185" y="197"/>
                  <a:pt x="185" y="193"/>
                  <a:pt x="186" y="193"/>
                </a:cubicBezTo>
                <a:close/>
                <a:moveTo>
                  <a:pt x="185" y="198"/>
                </a:moveTo>
                <a:cubicBezTo>
                  <a:pt x="187" y="198"/>
                  <a:pt x="186" y="200"/>
                  <a:pt x="185" y="198"/>
                </a:cubicBezTo>
                <a:close/>
                <a:moveTo>
                  <a:pt x="183" y="252"/>
                </a:moveTo>
                <a:cubicBezTo>
                  <a:pt x="184" y="252"/>
                  <a:pt x="184" y="254"/>
                  <a:pt x="183" y="253"/>
                </a:cubicBezTo>
                <a:cubicBezTo>
                  <a:pt x="183" y="253"/>
                  <a:pt x="183" y="253"/>
                  <a:pt x="183" y="252"/>
                </a:cubicBezTo>
                <a:close/>
                <a:moveTo>
                  <a:pt x="184" y="268"/>
                </a:moveTo>
                <a:cubicBezTo>
                  <a:pt x="184" y="268"/>
                  <a:pt x="185" y="269"/>
                  <a:pt x="184" y="269"/>
                </a:cubicBezTo>
                <a:cubicBezTo>
                  <a:pt x="184" y="270"/>
                  <a:pt x="182" y="268"/>
                  <a:pt x="184" y="268"/>
                </a:cubicBezTo>
                <a:close/>
                <a:moveTo>
                  <a:pt x="184" y="309"/>
                </a:moveTo>
                <a:cubicBezTo>
                  <a:pt x="183" y="309"/>
                  <a:pt x="182" y="307"/>
                  <a:pt x="183" y="306"/>
                </a:cubicBezTo>
                <a:cubicBezTo>
                  <a:pt x="185" y="305"/>
                  <a:pt x="185" y="309"/>
                  <a:pt x="184" y="309"/>
                </a:cubicBezTo>
                <a:close/>
                <a:moveTo>
                  <a:pt x="184" y="256"/>
                </a:moveTo>
                <a:cubicBezTo>
                  <a:pt x="183" y="256"/>
                  <a:pt x="182" y="254"/>
                  <a:pt x="184" y="254"/>
                </a:cubicBezTo>
                <a:cubicBezTo>
                  <a:pt x="185" y="254"/>
                  <a:pt x="185" y="256"/>
                  <a:pt x="184" y="256"/>
                </a:cubicBezTo>
                <a:close/>
                <a:moveTo>
                  <a:pt x="186" y="272"/>
                </a:moveTo>
                <a:cubicBezTo>
                  <a:pt x="190" y="271"/>
                  <a:pt x="189" y="278"/>
                  <a:pt x="187" y="278"/>
                </a:cubicBezTo>
                <a:cubicBezTo>
                  <a:pt x="185" y="278"/>
                  <a:pt x="184" y="273"/>
                  <a:pt x="186" y="272"/>
                </a:cubicBezTo>
                <a:close/>
                <a:moveTo>
                  <a:pt x="189" y="304"/>
                </a:moveTo>
                <a:cubicBezTo>
                  <a:pt x="193" y="304"/>
                  <a:pt x="193" y="312"/>
                  <a:pt x="190" y="312"/>
                </a:cubicBezTo>
                <a:cubicBezTo>
                  <a:pt x="187" y="312"/>
                  <a:pt x="185" y="305"/>
                  <a:pt x="189" y="304"/>
                </a:cubicBezTo>
                <a:close/>
                <a:moveTo>
                  <a:pt x="193" y="375"/>
                </a:moveTo>
                <a:cubicBezTo>
                  <a:pt x="193" y="375"/>
                  <a:pt x="192" y="374"/>
                  <a:pt x="193" y="374"/>
                </a:cubicBezTo>
                <a:cubicBezTo>
                  <a:pt x="193" y="374"/>
                  <a:pt x="194" y="375"/>
                  <a:pt x="193" y="375"/>
                </a:cubicBezTo>
                <a:close/>
                <a:moveTo>
                  <a:pt x="205" y="365"/>
                </a:moveTo>
                <a:cubicBezTo>
                  <a:pt x="205" y="366"/>
                  <a:pt x="203" y="362"/>
                  <a:pt x="204" y="364"/>
                </a:cubicBezTo>
                <a:cubicBezTo>
                  <a:pt x="199" y="355"/>
                  <a:pt x="192" y="344"/>
                  <a:pt x="189" y="335"/>
                </a:cubicBezTo>
                <a:cubicBezTo>
                  <a:pt x="195" y="343"/>
                  <a:pt x="199" y="352"/>
                  <a:pt x="204" y="362"/>
                </a:cubicBezTo>
                <a:cubicBezTo>
                  <a:pt x="204" y="362"/>
                  <a:pt x="206" y="364"/>
                  <a:pt x="205" y="365"/>
                </a:cubicBezTo>
                <a:close/>
                <a:moveTo>
                  <a:pt x="206" y="165"/>
                </a:moveTo>
                <a:cubicBezTo>
                  <a:pt x="204" y="165"/>
                  <a:pt x="205" y="163"/>
                  <a:pt x="206" y="165"/>
                </a:cubicBezTo>
                <a:close/>
                <a:moveTo>
                  <a:pt x="212" y="221"/>
                </a:moveTo>
                <a:cubicBezTo>
                  <a:pt x="210" y="220"/>
                  <a:pt x="208" y="217"/>
                  <a:pt x="206" y="215"/>
                </a:cubicBezTo>
                <a:cubicBezTo>
                  <a:pt x="209" y="216"/>
                  <a:pt x="210" y="219"/>
                  <a:pt x="212" y="221"/>
                </a:cubicBezTo>
                <a:close/>
                <a:moveTo>
                  <a:pt x="207" y="224"/>
                </a:moveTo>
                <a:cubicBezTo>
                  <a:pt x="205" y="222"/>
                  <a:pt x="211" y="223"/>
                  <a:pt x="209" y="225"/>
                </a:cubicBezTo>
                <a:cubicBezTo>
                  <a:pt x="209" y="226"/>
                  <a:pt x="208" y="225"/>
                  <a:pt x="207" y="224"/>
                </a:cubicBezTo>
                <a:close/>
                <a:moveTo>
                  <a:pt x="209" y="243"/>
                </a:moveTo>
                <a:cubicBezTo>
                  <a:pt x="210" y="243"/>
                  <a:pt x="211" y="244"/>
                  <a:pt x="211" y="244"/>
                </a:cubicBezTo>
                <a:cubicBezTo>
                  <a:pt x="211" y="247"/>
                  <a:pt x="208" y="245"/>
                  <a:pt x="209" y="243"/>
                </a:cubicBezTo>
                <a:close/>
                <a:moveTo>
                  <a:pt x="214" y="405"/>
                </a:moveTo>
                <a:cubicBezTo>
                  <a:pt x="214" y="405"/>
                  <a:pt x="215" y="405"/>
                  <a:pt x="215" y="405"/>
                </a:cubicBezTo>
                <a:cubicBezTo>
                  <a:pt x="216" y="406"/>
                  <a:pt x="213" y="406"/>
                  <a:pt x="214" y="405"/>
                </a:cubicBezTo>
                <a:close/>
                <a:moveTo>
                  <a:pt x="211" y="256"/>
                </a:moveTo>
                <a:cubicBezTo>
                  <a:pt x="211" y="256"/>
                  <a:pt x="210" y="254"/>
                  <a:pt x="211" y="254"/>
                </a:cubicBezTo>
                <a:cubicBezTo>
                  <a:pt x="214" y="256"/>
                  <a:pt x="216" y="261"/>
                  <a:pt x="217" y="264"/>
                </a:cubicBezTo>
                <a:cubicBezTo>
                  <a:pt x="215" y="261"/>
                  <a:pt x="212" y="258"/>
                  <a:pt x="211" y="256"/>
                </a:cubicBezTo>
                <a:close/>
                <a:moveTo>
                  <a:pt x="219" y="262"/>
                </a:moveTo>
                <a:cubicBezTo>
                  <a:pt x="218" y="262"/>
                  <a:pt x="217" y="260"/>
                  <a:pt x="219" y="260"/>
                </a:cubicBezTo>
                <a:cubicBezTo>
                  <a:pt x="219" y="260"/>
                  <a:pt x="220" y="261"/>
                  <a:pt x="219" y="262"/>
                </a:cubicBezTo>
                <a:close/>
                <a:moveTo>
                  <a:pt x="221" y="386"/>
                </a:moveTo>
                <a:cubicBezTo>
                  <a:pt x="221" y="385"/>
                  <a:pt x="222" y="386"/>
                  <a:pt x="222" y="386"/>
                </a:cubicBezTo>
                <a:cubicBezTo>
                  <a:pt x="221" y="387"/>
                  <a:pt x="220" y="387"/>
                  <a:pt x="221" y="386"/>
                </a:cubicBezTo>
                <a:close/>
                <a:moveTo>
                  <a:pt x="222" y="327"/>
                </a:moveTo>
                <a:cubicBezTo>
                  <a:pt x="220" y="326"/>
                  <a:pt x="222" y="326"/>
                  <a:pt x="222" y="327"/>
                </a:cubicBezTo>
                <a:close/>
                <a:moveTo>
                  <a:pt x="224" y="204"/>
                </a:moveTo>
                <a:cubicBezTo>
                  <a:pt x="223" y="205"/>
                  <a:pt x="222" y="205"/>
                  <a:pt x="222" y="205"/>
                </a:cubicBezTo>
                <a:cubicBezTo>
                  <a:pt x="221" y="204"/>
                  <a:pt x="221" y="203"/>
                  <a:pt x="222" y="203"/>
                </a:cubicBezTo>
                <a:cubicBezTo>
                  <a:pt x="222" y="202"/>
                  <a:pt x="222" y="201"/>
                  <a:pt x="222" y="201"/>
                </a:cubicBezTo>
                <a:cubicBezTo>
                  <a:pt x="221" y="200"/>
                  <a:pt x="215" y="194"/>
                  <a:pt x="216" y="194"/>
                </a:cubicBezTo>
                <a:cubicBezTo>
                  <a:pt x="218" y="192"/>
                  <a:pt x="222" y="201"/>
                  <a:pt x="223" y="202"/>
                </a:cubicBezTo>
                <a:cubicBezTo>
                  <a:pt x="224" y="203"/>
                  <a:pt x="225" y="204"/>
                  <a:pt x="224" y="204"/>
                </a:cubicBezTo>
                <a:cubicBezTo>
                  <a:pt x="224" y="204"/>
                  <a:pt x="224" y="204"/>
                  <a:pt x="224" y="204"/>
                </a:cubicBezTo>
                <a:cubicBezTo>
                  <a:pt x="224" y="204"/>
                  <a:pt x="224" y="204"/>
                  <a:pt x="224" y="204"/>
                </a:cubicBezTo>
                <a:close/>
                <a:moveTo>
                  <a:pt x="227" y="215"/>
                </a:moveTo>
                <a:cubicBezTo>
                  <a:pt x="224" y="216"/>
                  <a:pt x="222" y="210"/>
                  <a:pt x="225" y="210"/>
                </a:cubicBezTo>
                <a:cubicBezTo>
                  <a:pt x="227" y="210"/>
                  <a:pt x="228" y="214"/>
                  <a:pt x="227" y="215"/>
                </a:cubicBezTo>
                <a:close/>
                <a:moveTo>
                  <a:pt x="230" y="252"/>
                </a:moveTo>
                <a:cubicBezTo>
                  <a:pt x="230" y="251"/>
                  <a:pt x="231" y="252"/>
                  <a:pt x="231" y="252"/>
                </a:cubicBezTo>
                <a:cubicBezTo>
                  <a:pt x="231" y="252"/>
                  <a:pt x="230" y="252"/>
                  <a:pt x="230" y="252"/>
                </a:cubicBezTo>
                <a:close/>
                <a:moveTo>
                  <a:pt x="232" y="218"/>
                </a:moveTo>
                <a:cubicBezTo>
                  <a:pt x="232" y="218"/>
                  <a:pt x="232" y="218"/>
                  <a:pt x="232" y="218"/>
                </a:cubicBezTo>
                <a:cubicBezTo>
                  <a:pt x="231" y="217"/>
                  <a:pt x="230" y="216"/>
                  <a:pt x="229" y="216"/>
                </a:cubicBezTo>
                <a:cubicBezTo>
                  <a:pt x="229" y="216"/>
                  <a:pt x="230" y="215"/>
                  <a:pt x="230" y="215"/>
                </a:cubicBezTo>
                <a:cubicBezTo>
                  <a:pt x="230" y="214"/>
                  <a:pt x="232" y="217"/>
                  <a:pt x="234" y="218"/>
                </a:cubicBezTo>
                <a:cubicBezTo>
                  <a:pt x="235" y="219"/>
                  <a:pt x="242" y="224"/>
                  <a:pt x="243" y="226"/>
                </a:cubicBezTo>
                <a:cubicBezTo>
                  <a:pt x="244" y="228"/>
                  <a:pt x="241" y="224"/>
                  <a:pt x="240" y="224"/>
                </a:cubicBezTo>
                <a:cubicBezTo>
                  <a:pt x="239" y="222"/>
                  <a:pt x="235" y="220"/>
                  <a:pt x="232" y="218"/>
                </a:cubicBezTo>
                <a:cubicBezTo>
                  <a:pt x="233" y="219"/>
                  <a:pt x="233" y="219"/>
                  <a:pt x="232" y="219"/>
                </a:cubicBezTo>
                <a:cubicBezTo>
                  <a:pt x="232" y="219"/>
                  <a:pt x="232" y="218"/>
                  <a:pt x="232" y="218"/>
                </a:cubicBezTo>
                <a:close/>
                <a:moveTo>
                  <a:pt x="233" y="254"/>
                </a:moveTo>
                <a:cubicBezTo>
                  <a:pt x="233" y="254"/>
                  <a:pt x="232" y="253"/>
                  <a:pt x="232" y="253"/>
                </a:cubicBezTo>
                <a:cubicBezTo>
                  <a:pt x="232" y="253"/>
                  <a:pt x="234" y="253"/>
                  <a:pt x="233" y="254"/>
                </a:cubicBezTo>
                <a:close/>
                <a:moveTo>
                  <a:pt x="233" y="257"/>
                </a:moveTo>
                <a:cubicBezTo>
                  <a:pt x="232" y="257"/>
                  <a:pt x="232" y="255"/>
                  <a:pt x="233" y="255"/>
                </a:cubicBezTo>
                <a:cubicBezTo>
                  <a:pt x="234" y="254"/>
                  <a:pt x="234" y="257"/>
                  <a:pt x="233" y="257"/>
                </a:cubicBezTo>
                <a:close/>
                <a:moveTo>
                  <a:pt x="234" y="240"/>
                </a:moveTo>
                <a:cubicBezTo>
                  <a:pt x="234" y="240"/>
                  <a:pt x="234" y="240"/>
                  <a:pt x="234" y="239"/>
                </a:cubicBezTo>
                <a:cubicBezTo>
                  <a:pt x="235" y="237"/>
                  <a:pt x="237" y="243"/>
                  <a:pt x="234" y="240"/>
                </a:cubicBezTo>
                <a:close/>
                <a:moveTo>
                  <a:pt x="239" y="261"/>
                </a:moveTo>
                <a:cubicBezTo>
                  <a:pt x="240" y="261"/>
                  <a:pt x="242" y="263"/>
                  <a:pt x="240" y="264"/>
                </a:cubicBezTo>
                <a:cubicBezTo>
                  <a:pt x="238" y="266"/>
                  <a:pt x="235" y="260"/>
                  <a:pt x="239" y="261"/>
                </a:cubicBezTo>
                <a:close/>
                <a:moveTo>
                  <a:pt x="243" y="722"/>
                </a:moveTo>
                <a:cubicBezTo>
                  <a:pt x="243" y="722"/>
                  <a:pt x="243" y="722"/>
                  <a:pt x="243" y="722"/>
                </a:cubicBezTo>
                <a:cubicBezTo>
                  <a:pt x="244" y="724"/>
                  <a:pt x="241" y="719"/>
                  <a:pt x="243" y="722"/>
                </a:cubicBezTo>
                <a:close/>
                <a:moveTo>
                  <a:pt x="240" y="314"/>
                </a:moveTo>
                <a:cubicBezTo>
                  <a:pt x="242" y="315"/>
                  <a:pt x="242" y="318"/>
                  <a:pt x="244" y="319"/>
                </a:cubicBezTo>
                <a:cubicBezTo>
                  <a:pt x="242" y="318"/>
                  <a:pt x="241" y="316"/>
                  <a:pt x="240" y="314"/>
                </a:cubicBezTo>
                <a:close/>
                <a:moveTo>
                  <a:pt x="245" y="274"/>
                </a:moveTo>
                <a:cubicBezTo>
                  <a:pt x="247" y="273"/>
                  <a:pt x="246" y="276"/>
                  <a:pt x="245" y="276"/>
                </a:cubicBezTo>
                <a:cubicBezTo>
                  <a:pt x="244" y="277"/>
                  <a:pt x="243" y="274"/>
                  <a:pt x="245" y="274"/>
                </a:cubicBezTo>
                <a:close/>
                <a:moveTo>
                  <a:pt x="246" y="680"/>
                </a:moveTo>
                <a:cubicBezTo>
                  <a:pt x="244" y="679"/>
                  <a:pt x="247" y="680"/>
                  <a:pt x="246" y="680"/>
                </a:cubicBezTo>
                <a:close/>
                <a:moveTo>
                  <a:pt x="245" y="321"/>
                </a:moveTo>
                <a:cubicBezTo>
                  <a:pt x="248" y="323"/>
                  <a:pt x="245" y="324"/>
                  <a:pt x="245" y="321"/>
                </a:cubicBezTo>
                <a:close/>
                <a:moveTo>
                  <a:pt x="247" y="85"/>
                </a:moveTo>
                <a:cubicBezTo>
                  <a:pt x="246" y="86"/>
                  <a:pt x="245" y="85"/>
                  <a:pt x="245" y="84"/>
                </a:cubicBezTo>
                <a:cubicBezTo>
                  <a:pt x="244" y="83"/>
                  <a:pt x="247" y="83"/>
                  <a:pt x="247" y="85"/>
                </a:cubicBezTo>
                <a:close/>
                <a:moveTo>
                  <a:pt x="246" y="83"/>
                </a:moveTo>
                <a:cubicBezTo>
                  <a:pt x="246" y="82"/>
                  <a:pt x="246" y="83"/>
                  <a:pt x="246" y="83"/>
                </a:cubicBezTo>
                <a:cubicBezTo>
                  <a:pt x="248" y="82"/>
                  <a:pt x="245" y="84"/>
                  <a:pt x="246" y="83"/>
                </a:cubicBezTo>
                <a:close/>
                <a:moveTo>
                  <a:pt x="247" y="96"/>
                </a:moveTo>
                <a:cubicBezTo>
                  <a:pt x="248" y="97"/>
                  <a:pt x="247" y="97"/>
                  <a:pt x="247" y="96"/>
                </a:cubicBezTo>
                <a:close/>
                <a:moveTo>
                  <a:pt x="249" y="170"/>
                </a:moveTo>
                <a:cubicBezTo>
                  <a:pt x="247" y="168"/>
                  <a:pt x="250" y="172"/>
                  <a:pt x="249" y="170"/>
                </a:cubicBezTo>
                <a:close/>
                <a:moveTo>
                  <a:pt x="248" y="146"/>
                </a:moveTo>
                <a:cubicBezTo>
                  <a:pt x="248" y="146"/>
                  <a:pt x="247" y="145"/>
                  <a:pt x="248" y="144"/>
                </a:cubicBezTo>
                <a:cubicBezTo>
                  <a:pt x="250" y="141"/>
                  <a:pt x="251" y="149"/>
                  <a:pt x="248" y="146"/>
                </a:cubicBezTo>
                <a:close/>
                <a:moveTo>
                  <a:pt x="251" y="173"/>
                </a:moveTo>
                <a:cubicBezTo>
                  <a:pt x="249" y="171"/>
                  <a:pt x="252" y="175"/>
                  <a:pt x="251" y="173"/>
                </a:cubicBezTo>
                <a:close/>
                <a:moveTo>
                  <a:pt x="251" y="126"/>
                </a:moveTo>
                <a:cubicBezTo>
                  <a:pt x="251" y="125"/>
                  <a:pt x="252" y="126"/>
                  <a:pt x="252" y="126"/>
                </a:cubicBezTo>
                <a:cubicBezTo>
                  <a:pt x="252" y="126"/>
                  <a:pt x="251" y="126"/>
                  <a:pt x="251" y="126"/>
                </a:cubicBezTo>
                <a:close/>
                <a:moveTo>
                  <a:pt x="254" y="93"/>
                </a:moveTo>
                <a:cubicBezTo>
                  <a:pt x="254" y="93"/>
                  <a:pt x="253" y="93"/>
                  <a:pt x="252" y="93"/>
                </a:cubicBezTo>
                <a:cubicBezTo>
                  <a:pt x="250" y="91"/>
                  <a:pt x="255" y="90"/>
                  <a:pt x="254" y="93"/>
                </a:cubicBezTo>
                <a:close/>
                <a:moveTo>
                  <a:pt x="253" y="639"/>
                </a:moveTo>
                <a:cubicBezTo>
                  <a:pt x="253" y="638"/>
                  <a:pt x="255" y="639"/>
                  <a:pt x="255" y="639"/>
                </a:cubicBezTo>
                <a:cubicBezTo>
                  <a:pt x="256" y="641"/>
                  <a:pt x="252" y="640"/>
                  <a:pt x="253" y="639"/>
                </a:cubicBezTo>
                <a:close/>
                <a:moveTo>
                  <a:pt x="254" y="281"/>
                </a:moveTo>
                <a:cubicBezTo>
                  <a:pt x="256" y="282"/>
                  <a:pt x="255" y="284"/>
                  <a:pt x="254" y="281"/>
                </a:cubicBezTo>
                <a:close/>
                <a:moveTo>
                  <a:pt x="256" y="131"/>
                </a:moveTo>
                <a:cubicBezTo>
                  <a:pt x="258" y="131"/>
                  <a:pt x="257" y="133"/>
                  <a:pt x="256" y="133"/>
                </a:cubicBezTo>
                <a:cubicBezTo>
                  <a:pt x="255" y="133"/>
                  <a:pt x="254" y="131"/>
                  <a:pt x="256" y="131"/>
                </a:cubicBezTo>
                <a:close/>
                <a:moveTo>
                  <a:pt x="256" y="252"/>
                </a:moveTo>
                <a:cubicBezTo>
                  <a:pt x="256" y="252"/>
                  <a:pt x="258" y="254"/>
                  <a:pt x="258" y="254"/>
                </a:cubicBezTo>
                <a:cubicBezTo>
                  <a:pt x="258" y="254"/>
                  <a:pt x="256" y="253"/>
                  <a:pt x="256" y="252"/>
                </a:cubicBezTo>
                <a:close/>
                <a:moveTo>
                  <a:pt x="257" y="723"/>
                </a:moveTo>
                <a:cubicBezTo>
                  <a:pt x="257" y="723"/>
                  <a:pt x="258" y="723"/>
                  <a:pt x="258" y="723"/>
                </a:cubicBezTo>
                <a:cubicBezTo>
                  <a:pt x="260" y="724"/>
                  <a:pt x="256" y="723"/>
                  <a:pt x="257" y="723"/>
                </a:cubicBezTo>
                <a:close/>
                <a:moveTo>
                  <a:pt x="257" y="608"/>
                </a:moveTo>
                <a:cubicBezTo>
                  <a:pt x="258" y="607"/>
                  <a:pt x="261" y="610"/>
                  <a:pt x="260" y="610"/>
                </a:cubicBezTo>
                <a:cubicBezTo>
                  <a:pt x="265" y="613"/>
                  <a:pt x="273" y="615"/>
                  <a:pt x="279" y="618"/>
                </a:cubicBezTo>
                <a:cubicBezTo>
                  <a:pt x="279" y="618"/>
                  <a:pt x="281" y="619"/>
                  <a:pt x="281" y="619"/>
                </a:cubicBezTo>
                <a:cubicBezTo>
                  <a:pt x="282" y="621"/>
                  <a:pt x="264" y="613"/>
                  <a:pt x="261" y="611"/>
                </a:cubicBezTo>
                <a:cubicBezTo>
                  <a:pt x="261" y="611"/>
                  <a:pt x="256" y="609"/>
                  <a:pt x="257" y="608"/>
                </a:cubicBezTo>
                <a:close/>
                <a:moveTo>
                  <a:pt x="271" y="686"/>
                </a:moveTo>
                <a:cubicBezTo>
                  <a:pt x="271" y="688"/>
                  <a:pt x="269" y="684"/>
                  <a:pt x="270" y="686"/>
                </a:cubicBezTo>
                <a:cubicBezTo>
                  <a:pt x="270" y="686"/>
                  <a:pt x="271" y="686"/>
                  <a:pt x="271" y="686"/>
                </a:cubicBezTo>
                <a:close/>
                <a:moveTo>
                  <a:pt x="270" y="730"/>
                </a:moveTo>
                <a:cubicBezTo>
                  <a:pt x="270" y="731"/>
                  <a:pt x="268" y="729"/>
                  <a:pt x="270" y="730"/>
                </a:cubicBezTo>
                <a:close/>
                <a:moveTo>
                  <a:pt x="269" y="705"/>
                </a:moveTo>
                <a:cubicBezTo>
                  <a:pt x="269" y="705"/>
                  <a:pt x="271" y="705"/>
                  <a:pt x="271" y="705"/>
                </a:cubicBezTo>
                <a:cubicBezTo>
                  <a:pt x="272" y="707"/>
                  <a:pt x="268" y="706"/>
                  <a:pt x="269" y="705"/>
                </a:cubicBezTo>
                <a:close/>
                <a:moveTo>
                  <a:pt x="270" y="699"/>
                </a:moveTo>
                <a:cubicBezTo>
                  <a:pt x="272" y="697"/>
                  <a:pt x="273" y="701"/>
                  <a:pt x="270" y="699"/>
                </a:cubicBezTo>
                <a:close/>
                <a:moveTo>
                  <a:pt x="277" y="747"/>
                </a:moveTo>
                <a:cubicBezTo>
                  <a:pt x="275" y="746"/>
                  <a:pt x="279" y="748"/>
                  <a:pt x="277" y="747"/>
                </a:cubicBezTo>
                <a:close/>
                <a:moveTo>
                  <a:pt x="277" y="671"/>
                </a:moveTo>
                <a:cubicBezTo>
                  <a:pt x="279" y="670"/>
                  <a:pt x="279" y="671"/>
                  <a:pt x="279" y="671"/>
                </a:cubicBezTo>
                <a:cubicBezTo>
                  <a:pt x="281" y="673"/>
                  <a:pt x="276" y="671"/>
                  <a:pt x="277" y="671"/>
                </a:cubicBezTo>
                <a:close/>
                <a:moveTo>
                  <a:pt x="280" y="741"/>
                </a:moveTo>
                <a:cubicBezTo>
                  <a:pt x="280" y="740"/>
                  <a:pt x="284" y="740"/>
                  <a:pt x="285" y="741"/>
                </a:cubicBezTo>
                <a:cubicBezTo>
                  <a:pt x="285" y="743"/>
                  <a:pt x="280" y="742"/>
                  <a:pt x="280" y="741"/>
                </a:cubicBezTo>
                <a:close/>
                <a:moveTo>
                  <a:pt x="284" y="510"/>
                </a:moveTo>
                <a:cubicBezTo>
                  <a:pt x="284" y="510"/>
                  <a:pt x="285" y="510"/>
                  <a:pt x="286" y="510"/>
                </a:cubicBezTo>
                <a:cubicBezTo>
                  <a:pt x="287" y="512"/>
                  <a:pt x="283" y="512"/>
                  <a:pt x="284" y="510"/>
                </a:cubicBezTo>
                <a:close/>
                <a:moveTo>
                  <a:pt x="286" y="669"/>
                </a:moveTo>
                <a:cubicBezTo>
                  <a:pt x="286" y="667"/>
                  <a:pt x="289" y="668"/>
                  <a:pt x="289" y="669"/>
                </a:cubicBezTo>
                <a:cubicBezTo>
                  <a:pt x="290" y="671"/>
                  <a:pt x="286" y="670"/>
                  <a:pt x="286" y="669"/>
                </a:cubicBezTo>
                <a:close/>
                <a:moveTo>
                  <a:pt x="308" y="749"/>
                </a:moveTo>
                <a:cubicBezTo>
                  <a:pt x="302" y="750"/>
                  <a:pt x="295" y="748"/>
                  <a:pt x="288" y="746"/>
                </a:cubicBezTo>
                <a:cubicBezTo>
                  <a:pt x="294" y="747"/>
                  <a:pt x="301" y="748"/>
                  <a:pt x="308" y="7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137" name="TextBox 136">
            <a:extLst>
              <a:ext uri="{FF2B5EF4-FFF2-40B4-BE49-F238E27FC236}">
                <a16:creationId xmlns="" xmlns:a16="http://schemas.microsoft.com/office/drawing/2014/main" id="{768F1D36-CE52-475C-8583-9C7DC7B45BDE}"/>
              </a:ext>
            </a:extLst>
          </p:cNvPr>
          <p:cNvSpPr txBox="1"/>
          <p:nvPr/>
        </p:nvSpPr>
        <p:spPr>
          <a:xfrm>
            <a:off x="2870200" y="2744891"/>
            <a:ext cx="6451600" cy="123110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0" dirty="0">
                <a:solidFill>
                  <a:schemeClr val="bg1"/>
                </a:solidFill>
                <a:latin typeface="+mj-lt"/>
              </a:rPr>
              <a:t>SUPPLY CHAIN</a:t>
            </a:r>
            <a:endParaRPr lang="en-ID" sz="8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="" xmlns:a16="http://schemas.microsoft.com/office/drawing/2014/main" id="{47590D5A-20C9-4E97-A017-D6057EBAEC6A}"/>
              </a:ext>
            </a:extLst>
          </p:cNvPr>
          <p:cNvSpPr/>
          <p:nvPr/>
        </p:nvSpPr>
        <p:spPr>
          <a:xfrm>
            <a:off x="3032760" y="4826192"/>
            <a:ext cx="62484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bg1"/>
                </a:solidFill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</a:rPr>
              <a:t>dolor</a:t>
            </a:r>
            <a:r>
              <a:rPr lang="en-ID" sz="1400" dirty="0">
                <a:solidFill>
                  <a:schemeClr val="bg1"/>
                </a:solidFill>
              </a:rPr>
              <a:t> sit </a:t>
            </a:r>
            <a:r>
              <a:rPr lang="en-ID" sz="1400" dirty="0" err="1">
                <a:solidFill>
                  <a:schemeClr val="bg1"/>
                </a:solidFill>
              </a:rPr>
              <a:t>amet</a:t>
            </a:r>
            <a:r>
              <a:rPr lang="en-ID" sz="1400" dirty="0">
                <a:solidFill>
                  <a:schemeClr val="bg1"/>
                </a:solidFill>
              </a:rPr>
              <a:t>, </a:t>
            </a:r>
            <a:r>
              <a:rPr lang="en-ID" sz="1400" dirty="0" err="1">
                <a:solidFill>
                  <a:schemeClr val="bg1"/>
                </a:solidFill>
              </a:rPr>
              <a:t>consectetur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adipiscing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elit</a:t>
            </a:r>
            <a:r>
              <a:rPr lang="en-ID" sz="1400" dirty="0">
                <a:solidFill>
                  <a:schemeClr val="bg1"/>
                </a:solidFill>
              </a:rPr>
              <a:t>. </a:t>
            </a:r>
            <a:r>
              <a:rPr lang="en-ID" sz="1400" dirty="0" err="1">
                <a:solidFill>
                  <a:schemeClr val="bg1"/>
                </a:solidFill>
              </a:rPr>
              <a:t>Praesent</a:t>
            </a:r>
            <a:r>
              <a:rPr lang="en-ID" sz="1400" dirty="0">
                <a:solidFill>
                  <a:schemeClr val="bg1"/>
                </a:solidFill>
              </a:rPr>
              <a:t> non lacinia </a:t>
            </a:r>
            <a:r>
              <a:rPr lang="en-ID" sz="1400" dirty="0" err="1">
                <a:solidFill>
                  <a:schemeClr val="bg1"/>
                </a:solidFill>
              </a:rPr>
              <a:t>massa</a:t>
            </a:r>
            <a:r>
              <a:rPr lang="en-ID" sz="1400" dirty="0">
                <a:solidFill>
                  <a:schemeClr val="bg1"/>
                </a:solidFill>
              </a:rPr>
              <a:t>, a pharetra ante. </a:t>
            </a:r>
            <a:r>
              <a:rPr lang="en-ID" sz="1400" dirty="0" err="1">
                <a:solidFill>
                  <a:schemeClr val="bg1"/>
                </a:solidFill>
              </a:rPr>
              <a:t>Nullam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condimentum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vel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diam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sed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tincidunt</a:t>
            </a:r>
            <a:r>
              <a:rPr lang="en-ID" sz="1400" dirty="0">
                <a:solidFill>
                  <a:schemeClr val="bg1"/>
                </a:solidFill>
              </a:rPr>
              <a:t>. </a:t>
            </a:r>
            <a:endParaRPr lang="en-US" sz="1400" dirty="0">
              <a:solidFill>
                <a:schemeClr val="bg1"/>
              </a:solidFill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214549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print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Rectangle 134">
            <a:extLst>
              <a:ext uri="{FF2B5EF4-FFF2-40B4-BE49-F238E27FC236}">
                <a16:creationId xmlns="" xmlns:a16="http://schemas.microsoft.com/office/drawing/2014/main" id="{65948572-934F-4876-96DE-8C1436DEF572}"/>
              </a:ext>
            </a:extLst>
          </p:cNvPr>
          <p:cNvSpPr/>
          <p:nvPr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tx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34" name="Freeform 131">
            <a:extLst>
              <a:ext uri="{FF2B5EF4-FFF2-40B4-BE49-F238E27FC236}">
                <a16:creationId xmlns="" xmlns:a16="http://schemas.microsoft.com/office/drawing/2014/main" id="{F04BFBE0-7B0C-4F4A-A96D-225E1D206BA4}"/>
              </a:ext>
            </a:extLst>
          </p:cNvPr>
          <p:cNvSpPr>
            <a:spLocks noEditPoints="1"/>
          </p:cNvSpPr>
          <p:nvPr/>
        </p:nvSpPr>
        <p:spPr bwMode="auto">
          <a:xfrm>
            <a:off x="6475308" y="3567113"/>
            <a:ext cx="5716692" cy="6581774"/>
          </a:xfrm>
          <a:custGeom>
            <a:avLst/>
            <a:gdLst>
              <a:gd name="T0" fmla="*/ 472 w 680"/>
              <a:gd name="T1" fmla="*/ 703 h 784"/>
              <a:gd name="T2" fmla="*/ 510 w 680"/>
              <a:gd name="T3" fmla="*/ 633 h 784"/>
              <a:gd name="T4" fmla="*/ 527 w 680"/>
              <a:gd name="T5" fmla="*/ 618 h 784"/>
              <a:gd name="T6" fmla="*/ 559 w 680"/>
              <a:gd name="T7" fmla="*/ 657 h 784"/>
              <a:gd name="T8" fmla="*/ 551 w 680"/>
              <a:gd name="T9" fmla="*/ 603 h 784"/>
              <a:gd name="T10" fmla="*/ 581 w 680"/>
              <a:gd name="T11" fmla="*/ 564 h 784"/>
              <a:gd name="T12" fmla="*/ 625 w 680"/>
              <a:gd name="T13" fmla="*/ 572 h 784"/>
              <a:gd name="T14" fmla="*/ 679 w 680"/>
              <a:gd name="T15" fmla="*/ 423 h 784"/>
              <a:gd name="T16" fmla="*/ 245 w 680"/>
              <a:gd name="T17" fmla="*/ 55 h 784"/>
              <a:gd name="T18" fmla="*/ 197 w 680"/>
              <a:gd name="T19" fmla="*/ 116 h 784"/>
              <a:gd name="T20" fmla="*/ 139 w 680"/>
              <a:gd name="T21" fmla="*/ 176 h 784"/>
              <a:gd name="T22" fmla="*/ 91 w 680"/>
              <a:gd name="T23" fmla="*/ 199 h 784"/>
              <a:gd name="T24" fmla="*/ 61 w 680"/>
              <a:gd name="T25" fmla="*/ 218 h 784"/>
              <a:gd name="T26" fmla="*/ 38 w 680"/>
              <a:gd name="T27" fmla="*/ 290 h 784"/>
              <a:gd name="T28" fmla="*/ 55 w 680"/>
              <a:gd name="T29" fmla="*/ 350 h 784"/>
              <a:gd name="T30" fmla="*/ 6 w 680"/>
              <a:gd name="T31" fmla="*/ 262 h 784"/>
              <a:gd name="T32" fmla="*/ 492 w 680"/>
              <a:gd name="T33" fmla="*/ 624 h 784"/>
              <a:gd name="T34" fmla="*/ 552 w 680"/>
              <a:gd name="T35" fmla="*/ 574 h 784"/>
              <a:gd name="T36" fmla="*/ 633 w 680"/>
              <a:gd name="T37" fmla="*/ 545 h 784"/>
              <a:gd name="T38" fmla="*/ 641 w 680"/>
              <a:gd name="T39" fmla="*/ 482 h 784"/>
              <a:gd name="T40" fmla="*/ 625 w 680"/>
              <a:gd name="T41" fmla="*/ 439 h 784"/>
              <a:gd name="T42" fmla="*/ 595 w 680"/>
              <a:gd name="T43" fmla="*/ 520 h 784"/>
              <a:gd name="T44" fmla="*/ 561 w 680"/>
              <a:gd name="T45" fmla="*/ 516 h 784"/>
              <a:gd name="T46" fmla="*/ 539 w 680"/>
              <a:gd name="T47" fmla="*/ 439 h 784"/>
              <a:gd name="T48" fmla="*/ 26 w 680"/>
              <a:gd name="T49" fmla="*/ 245 h 784"/>
              <a:gd name="T50" fmla="*/ 44 w 680"/>
              <a:gd name="T51" fmla="*/ 264 h 784"/>
              <a:gd name="T52" fmla="*/ 68 w 680"/>
              <a:gd name="T53" fmla="*/ 289 h 784"/>
              <a:gd name="T54" fmla="*/ 46 w 680"/>
              <a:gd name="T55" fmla="*/ 337 h 784"/>
              <a:gd name="T56" fmla="*/ 75 w 680"/>
              <a:gd name="T57" fmla="*/ 351 h 784"/>
              <a:gd name="T58" fmla="*/ 149 w 680"/>
              <a:gd name="T59" fmla="*/ 200 h 784"/>
              <a:gd name="T60" fmla="*/ 124 w 680"/>
              <a:gd name="T61" fmla="*/ 222 h 784"/>
              <a:gd name="T62" fmla="*/ 95 w 680"/>
              <a:gd name="T63" fmla="*/ 257 h 784"/>
              <a:gd name="T64" fmla="*/ 117 w 680"/>
              <a:gd name="T65" fmla="*/ 400 h 784"/>
              <a:gd name="T66" fmla="*/ 177 w 680"/>
              <a:gd name="T67" fmla="*/ 200 h 784"/>
              <a:gd name="T68" fmla="*/ 181 w 680"/>
              <a:gd name="T69" fmla="*/ 290 h 784"/>
              <a:gd name="T70" fmla="*/ 306 w 680"/>
              <a:gd name="T71" fmla="*/ 205 h 784"/>
              <a:gd name="T72" fmla="*/ 350 w 680"/>
              <a:gd name="T73" fmla="*/ 136 h 784"/>
              <a:gd name="T74" fmla="*/ 366 w 680"/>
              <a:gd name="T75" fmla="*/ 677 h 784"/>
              <a:gd name="T76" fmla="*/ 346 w 680"/>
              <a:gd name="T77" fmla="*/ 657 h 784"/>
              <a:gd name="T78" fmla="*/ 328 w 680"/>
              <a:gd name="T79" fmla="*/ 658 h 784"/>
              <a:gd name="T80" fmla="*/ 368 w 680"/>
              <a:gd name="T81" fmla="*/ 740 h 784"/>
              <a:gd name="T82" fmla="*/ 421 w 680"/>
              <a:gd name="T83" fmla="*/ 663 h 784"/>
              <a:gd name="T84" fmla="*/ 446 w 680"/>
              <a:gd name="T85" fmla="*/ 640 h 784"/>
              <a:gd name="T86" fmla="*/ 451 w 680"/>
              <a:gd name="T87" fmla="*/ 566 h 784"/>
              <a:gd name="T88" fmla="*/ 426 w 680"/>
              <a:gd name="T89" fmla="*/ 681 h 784"/>
              <a:gd name="T90" fmla="*/ 399 w 680"/>
              <a:gd name="T91" fmla="*/ 697 h 784"/>
              <a:gd name="T92" fmla="*/ 437 w 680"/>
              <a:gd name="T93" fmla="*/ 693 h 784"/>
              <a:gd name="T94" fmla="*/ 467 w 680"/>
              <a:gd name="T95" fmla="*/ 683 h 784"/>
              <a:gd name="T96" fmla="*/ 482 w 680"/>
              <a:gd name="T97" fmla="*/ 621 h 784"/>
              <a:gd name="T98" fmla="*/ 499 w 680"/>
              <a:gd name="T99" fmla="*/ 528 h 784"/>
              <a:gd name="T100" fmla="*/ 523 w 680"/>
              <a:gd name="T101" fmla="*/ 458 h 784"/>
              <a:gd name="T102" fmla="*/ 495 w 680"/>
              <a:gd name="T103" fmla="*/ 148 h 784"/>
              <a:gd name="T104" fmla="*/ 461 w 680"/>
              <a:gd name="T105" fmla="*/ 536 h 784"/>
              <a:gd name="T106" fmla="*/ 401 w 680"/>
              <a:gd name="T107" fmla="*/ 117 h 784"/>
              <a:gd name="T108" fmla="*/ 364 w 680"/>
              <a:gd name="T109" fmla="*/ 54 h 784"/>
              <a:gd name="T110" fmla="*/ 314 w 680"/>
              <a:gd name="T111" fmla="*/ 88 h 784"/>
              <a:gd name="T112" fmla="*/ 267 w 680"/>
              <a:gd name="T113" fmla="*/ 262 h 784"/>
              <a:gd name="T114" fmla="*/ 280 w 680"/>
              <a:gd name="T115" fmla="*/ 66 h 784"/>
              <a:gd name="T116" fmla="*/ 241 w 680"/>
              <a:gd name="T117" fmla="*/ 67 h 784"/>
              <a:gd name="T118" fmla="*/ 212 w 680"/>
              <a:gd name="T119" fmla="*/ 179 h 784"/>
              <a:gd name="T120" fmla="*/ 194 w 680"/>
              <a:gd name="T121" fmla="*/ 242 h 784"/>
              <a:gd name="T122" fmla="*/ 222 w 680"/>
              <a:gd name="T123" fmla="*/ 327 h 784"/>
              <a:gd name="T124" fmla="*/ 256 w 680"/>
              <a:gd name="T125" fmla="*/ 133 h 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80" h="784">
                <a:moveTo>
                  <a:pt x="298" y="758"/>
                </a:moveTo>
                <a:cubicBezTo>
                  <a:pt x="300" y="757"/>
                  <a:pt x="304" y="758"/>
                  <a:pt x="305" y="756"/>
                </a:cubicBezTo>
                <a:cubicBezTo>
                  <a:pt x="305" y="756"/>
                  <a:pt x="304" y="755"/>
                  <a:pt x="305" y="755"/>
                </a:cubicBezTo>
                <a:cubicBezTo>
                  <a:pt x="307" y="753"/>
                  <a:pt x="311" y="754"/>
                  <a:pt x="312" y="754"/>
                </a:cubicBezTo>
                <a:cubicBezTo>
                  <a:pt x="324" y="757"/>
                  <a:pt x="318" y="767"/>
                  <a:pt x="306" y="764"/>
                </a:cubicBezTo>
                <a:cubicBezTo>
                  <a:pt x="304" y="763"/>
                  <a:pt x="305" y="762"/>
                  <a:pt x="302" y="762"/>
                </a:cubicBezTo>
                <a:cubicBezTo>
                  <a:pt x="340" y="784"/>
                  <a:pt x="340" y="784"/>
                  <a:pt x="340" y="784"/>
                </a:cubicBezTo>
                <a:cubicBezTo>
                  <a:pt x="340" y="783"/>
                  <a:pt x="341" y="783"/>
                  <a:pt x="341" y="783"/>
                </a:cubicBezTo>
                <a:cubicBezTo>
                  <a:pt x="344" y="782"/>
                  <a:pt x="344" y="782"/>
                  <a:pt x="344" y="782"/>
                </a:cubicBezTo>
                <a:cubicBezTo>
                  <a:pt x="344" y="782"/>
                  <a:pt x="343" y="782"/>
                  <a:pt x="343" y="781"/>
                </a:cubicBezTo>
                <a:cubicBezTo>
                  <a:pt x="344" y="781"/>
                  <a:pt x="344" y="781"/>
                  <a:pt x="344" y="782"/>
                </a:cubicBezTo>
                <a:cubicBezTo>
                  <a:pt x="346" y="781"/>
                  <a:pt x="346" y="781"/>
                  <a:pt x="346" y="781"/>
                </a:cubicBezTo>
                <a:cubicBezTo>
                  <a:pt x="346" y="780"/>
                  <a:pt x="345" y="780"/>
                  <a:pt x="345" y="779"/>
                </a:cubicBezTo>
                <a:cubicBezTo>
                  <a:pt x="345" y="777"/>
                  <a:pt x="351" y="775"/>
                  <a:pt x="354" y="776"/>
                </a:cubicBezTo>
                <a:cubicBezTo>
                  <a:pt x="363" y="770"/>
                  <a:pt x="363" y="770"/>
                  <a:pt x="363" y="770"/>
                </a:cubicBezTo>
                <a:cubicBezTo>
                  <a:pt x="363" y="770"/>
                  <a:pt x="363" y="770"/>
                  <a:pt x="363" y="770"/>
                </a:cubicBezTo>
                <a:cubicBezTo>
                  <a:pt x="363" y="770"/>
                  <a:pt x="360" y="768"/>
                  <a:pt x="361" y="766"/>
                </a:cubicBezTo>
                <a:cubicBezTo>
                  <a:pt x="361" y="765"/>
                  <a:pt x="364" y="765"/>
                  <a:pt x="364" y="765"/>
                </a:cubicBezTo>
                <a:cubicBezTo>
                  <a:pt x="366" y="762"/>
                  <a:pt x="364" y="765"/>
                  <a:pt x="366" y="764"/>
                </a:cubicBezTo>
                <a:cubicBezTo>
                  <a:pt x="366" y="764"/>
                  <a:pt x="367" y="763"/>
                  <a:pt x="367" y="763"/>
                </a:cubicBezTo>
                <a:cubicBezTo>
                  <a:pt x="369" y="763"/>
                  <a:pt x="371" y="764"/>
                  <a:pt x="372" y="766"/>
                </a:cubicBezTo>
                <a:cubicBezTo>
                  <a:pt x="420" y="738"/>
                  <a:pt x="420" y="738"/>
                  <a:pt x="420" y="738"/>
                </a:cubicBezTo>
                <a:cubicBezTo>
                  <a:pt x="420" y="737"/>
                  <a:pt x="419" y="737"/>
                  <a:pt x="419" y="737"/>
                </a:cubicBezTo>
                <a:cubicBezTo>
                  <a:pt x="419" y="735"/>
                  <a:pt x="420" y="737"/>
                  <a:pt x="421" y="737"/>
                </a:cubicBezTo>
                <a:cubicBezTo>
                  <a:pt x="419" y="734"/>
                  <a:pt x="424" y="734"/>
                  <a:pt x="423" y="732"/>
                </a:cubicBezTo>
                <a:cubicBezTo>
                  <a:pt x="425" y="733"/>
                  <a:pt x="426" y="733"/>
                  <a:pt x="428" y="733"/>
                </a:cubicBezTo>
                <a:cubicBezTo>
                  <a:pt x="444" y="724"/>
                  <a:pt x="444" y="724"/>
                  <a:pt x="444" y="724"/>
                </a:cubicBezTo>
                <a:cubicBezTo>
                  <a:pt x="442" y="723"/>
                  <a:pt x="441" y="723"/>
                  <a:pt x="440" y="723"/>
                </a:cubicBezTo>
                <a:cubicBezTo>
                  <a:pt x="439" y="723"/>
                  <a:pt x="439" y="724"/>
                  <a:pt x="438" y="724"/>
                </a:cubicBezTo>
                <a:cubicBezTo>
                  <a:pt x="438" y="724"/>
                  <a:pt x="431" y="722"/>
                  <a:pt x="431" y="721"/>
                </a:cubicBezTo>
                <a:cubicBezTo>
                  <a:pt x="430" y="721"/>
                  <a:pt x="429" y="718"/>
                  <a:pt x="429" y="718"/>
                </a:cubicBezTo>
                <a:cubicBezTo>
                  <a:pt x="429" y="718"/>
                  <a:pt x="428" y="718"/>
                  <a:pt x="428" y="717"/>
                </a:cubicBezTo>
                <a:cubicBezTo>
                  <a:pt x="428" y="716"/>
                  <a:pt x="432" y="715"/>
                  <a:pt x="436" y="715"/>
                </a:cubicBezTo>
                <a:cubicBezTo>
                  <a:pt x="436" y="715"/>
                  <a:pt x="436" y="715"/>
                  <a:pt x="436" y="715"/>
                </a:cubicBezTo>
                <a:cubicBezTo>
                  <a:pt x="436" y="715"/>
                  <a:pt x="436" y="715"/>
                  <a:pt x="436" y="715"/>
                </a:cubicBezTo>
                <a:cubicBezTo>
                  <a:pt x="437" y="715"/>
                  <a:pt x="437" y="715"/>
                  <a:pt x="438" y="715"/>
                </a:cubicBezTo>
                <a:cubicBezTo>
                  <a:pt x="440" y="714"/>
                  <a:pt x="442" y="713"/>
                  <a:pt x="440" y="711"/>
                </a:cubicBezTo>
                <a:cubicBezTo>
                  <a:pt x="441" y="712"/>
                  <a:pt x="437" y="712"/>
                  <a:pt x="437" y="711"/>
                </a:cubicBezTo>
                <a:cubicBezTo>
                  <a:pt x="437" y="711"/>
                  <a:pt x="444" y="710"/>
                  <a:pt x="443" y="708"/>
                </a:cubicBezTo>
                <a:cubicBezTo>
                  <a:pt x="443" y="709"/>
                  <a:pt x="440" y="706"/>
                  <a:pt x="441" y="706"/>
                </a:cubicBezTo>
                <a:cubicBezTo>
                  <a:pt x="441" y="705"/>
                  <a:pt x="444" y="705"/>
                  <a:pt x="446" y="705"/>
                </a:cubicBezTo>
                <a:cubicBezTo>
                  <a:pt x="446" y="705"/>
                  <a:pt x="446" y="704"/>
                  <a:pt x="446" y="704"/>
                </a:cubicBezTo>
                <a:cubicBezTo>
                  <a:pt x="446" y="704"/>
                  <a:pt x="446" y="703"/>
                  <a:pt x="446" y="703"/>
                </a:cubicBezTo>
                <a:cubicBezTo>
                  <a:pt x="445" y="702"/>
                  <a:pt x="444" y="703"/>
                  <a:pt x="445" y="701"/>
                </a:cubicBezTo>
                <a:cubicBezTo>
                  <a:pt x="443" y="702"/>
                  <a:pt x="442" y="702"/>
                  <a:pt x="440" y="703"/>
                </a:cubicBezTo>
                <a:cubicBezTo>
                  <a:pt x="442" y="703"/>
                  <a:pt x="442" y="700"/>
                  <a:pt x="443" y="700"/>
                </a:cubicBezTo>
                <a:cubicBezTo>
                  <a:pt x="446" y="700"/>
                  <a:pt x="443" y="700"/>
                  <a:pt x="442" y="698"/>
                </a:cubicBezTo>
                <a:cubicBezTo>
                  <a:pt x="441" y="699"/>
                  <a:pt x="442" y="699"/>
                  <a:pt x="442" y="700"/>
                </a:cubicBezTo>
                <a:cubicBezTo>
                  <a:pt x="440" y="705"/>
                  <a:pt x="434" y="698"/>
                  <a:pt x="437" y="696"/>
                </a:cubicBezTo>
                <a:cubicBezTo>
                  <a:pt x="438" y="696"/>
                  <a:pt x="441" y="698"/>
                  <a:pt x="441" y="697"/>
                </a:cubicBezTo>
                <a:cubicBezTo>
                  <a:pt x="443" y="697"/>
                  <a:pt x="443" y="696"/>
                  <a:pt x="443" y="694"/>
                </a:cubicBezTo>
                <a:cubicBezTo>
                  <a:pt x="444" y="694"/>
                  <a:pt x="445" y="695"/>
                  <a:pt x="447" y="695"/>
                </a:cubicBezTo>
                <a:cubicBezTo>
                  <a:pt x="447" y="695"/>
                  <a:pt x="446" y="694"/>
                  <a:pt x="447" y="694"/>
                </a:cubicBezTo>
                <a:cubicBezTo>
                  <a:pt x="448" y="692"/>
                  <a:pt x="454" y="695"/>
                  <a:pt x="453" y="693"/>
                </a:cubicBezTo>
                <a:cubicBezTo>
                  <a:pt x="454" y="693"/>
                  <a:pt x="454" y="693"/>
                  <a:pt x="454" y="693"/>
                </a:cubicBezTo>
                <a:cubicBezTo>
                  <a:pt x="454" y="693"/>
                  <a:pt x="454" y="693"/>
                  <a:pt x="454" y="693"/>
                </a:cubicBezTo>
                <a:cubicBezTo>
                  <a:pt x="455" y="693"/>
                  <a:pt x="455" y="693"/>
                  <a:pt x="455" y="693"/>
                </a:cubicBezTo>
                <a:cubicBezTo>
                  <a:pt x="454" y="693"/>
                  <a:pt x="454" y="693"/>
                  <a:pt x="454" y="693"/>
                </a:cubicBezTo>
                <a:cubicBezTo>
                  <a:pt x="455" y="694"/>
                  <a:pt x="456" y="697"/>
                  <a:pt x="457" y="699"/>
                </a:cubicBezTo>
                <a:cubicBezTo>
                  <a:pt x="457" y="700"/>
                  <a:pt x="458" y="700"/>
                  <a:pt x="458" y="701"/>
                </a:cubicBezTo>
                <a:cubicBezTo>
                  <a:pt x="457" y="702"/>
                  <a:pt x="455" y="700"/>
                  <a:pt x="455" y="702"/>
                </a:cubicBezTo>
                <a:cubicBezTo>
                  <a:pt x="455" y="706"/>
                  <a:pt x="463" y="704"/>
                  <a:pt x="461" y="698"/>
                </a:cubicBezTo>
                <a:cubicBezTo>
                  <a:pt x="463" y="700"/>
                  <a:pt x="465" y="701"/>
                  <a:pt x="466" y="703"/>
                </a:cubicBezTo>
                <a:cubicBezTo>
                  <a:pt x="466" y="702"/>
                  <a:pt x="468" y="702"/>
                  <a:pt x="468" y="703"/>
                </a:cubicBezTo>
                <a:cubicBezTo>
                  <a:pt x="469" y="704"/>
                  <a:pt x="467" y="704"/>
                  <a:pt x="466" y="703"/>
                </a:cubicBezTo>
                <a:cubicBezTo>
                  <a:pt x="467" y="704"/>
                  <a:pt x="467" y="704"/>
                  <a:pt x="467" y="705"/>
                </a:cubicBezTo>
                <a:cubicBezTo>
                  <a:pt x="467" y="705"/>
                  <a:pt x="468" y="704"/>
                  <a:pt x="468" y="705"/>
                </a:cubicBezTo>
                <a:cubicBezTo>
                  <a:pt x="468" y="706"/>
                  <a:pt x="467" y="706"/>
                  <a:pt x="467" y="705"/>
                </a:cubicBezTo>
                <a:cubicBezTo>
                  <a:pt x="467" y="706"/>
                  <a:pt x="467" y="706"/>
                  <a:pt x="467" y="707"/>
                </a:cubicBezTo>
                <a:cubicBezTo>
                  <a:pt x="467" y="706"/>
                  <a:pt x="469" y="707"/>
                  <a:pt x="471" y="706"/>
                </a:cubicBezTo>
                <a:cubicBezTo>
                  <a:pt x="471" y="706"/>
                  <a:pt x="471" y="706"/>
                  <a:pt x="471" y="706"/>
                </a:cubicBezTo>
                <a:cubicBezTo>
                  <a:pt x="472" y="706"/>
                  <a:pt x="472" y="706"/>
                  <a:pt x="472" y="706"/>
                </a:cubicBezTo>
                <a:cubicBezTo>
                  <a:pt x="472" y="706"/>
                  <a:pt x="472" y="706"/>
                  <a:pt x="472" y="706"/>
                </a:cubicBezTo>
                <a:cubicBezTo>
                  <a:pt x="472" y="706"/>
                  <a:pt x="473" y="706"/>
                  <a:pt x="474" y="706"/>
                </a:cubicBezTo>
                <a:cubicBezTo>
                  <a:pt x="474" y="706"/>
                  <a:pt x="474" y="705"/>
                  <a:pt x="472" y="705"/>
                </a:cubicBezTo>
                <a:cubicBezTo>
                  <a:pt x="472" y="704"/>
                  <a:pt x="475" y="705"/>
                  <a:pt x="476" y="705"/>
                </a:cubicBezTo>
                <a:cubicBezTo>
                  <a:pt x="476" y="705"/>
                  <a:pt x="476" y="705"/>
                  <a:pt x="476" y="705"/>
                </a:cubicBezTo>
                <a:cubicBezTo>
                  <a:pt x="476" y="705"/>
                  <a:pt x="475" y="704"/>
                  <a:pt x="475" y="704"/>
                </a:cubicBezTo>
                <a:cubicBezTo>
                  <a:pt x="474" y="705"/>
                  <a:pt x="471" y="704"/>
                  <a:pt x="472" y="703"/>
                </a:cubicBezTo>
                <a:cubicBezTo>
                  <a:pt x="473" y="703"/>
                  <a:pt x="473" y="703"/>
                  <a:pt x="473" y="703"/>
                </a:cubicBezTo>
                <a:cubicBezTo>
                  <a:pt x="473" y="703"/>
                  <a:pt x="473" y="703"/>
                  <a:pt x="473" y="702"/>
                </a:cubicBezTo>
                <a:cubicBezTo>
                  <a:pt x="473" y="703"/>
                  <a:pt x="475" y="702"/>
                  <a:pt x="475" y="703"/>
                </a:cubicBezTo>
                <a:cubicBezTo>
                  <a:pt x="474" y="701"/>
                  <a:pt x="472" y="701"/>
                  <a:pt x="472" y="700"/>
                </a:cubicBezTo>
                <a:cubicBezTo>
                  <a:pt x="474" y="698"/>
                  <a:pt x="477" y="703"/>
                  <a:pt x="479" y="702"/>
                </a:cubicBezTo>
                <a:cubicBezTo>
                  <a:pt x="479" y="702"/>
                  <a:pt x="479" y="702"/>
                  <a:pt x="479" y="702"/>
                </a:cubicBezTo>
                <a:cubicBezTo>
                  <a:pt x="479" y="702"/>
                  <a:pt x="479" y="702"/>
                  <a:pt x="479" y="702"/>
                </a:cubicBezTo>
                <a:cubicBezTo>
                  <a:pt x="477" y="700"/>
                  <a:pt x="473" y="698"/>
                  <a:pt x="476" y="697"/>
                </a:cubicBezTo>
                <a:cubicBezTo>
                  <a:pt x="475" y="697"/>
                  <a:pt x="475" y="697"/>
                  <a:pt x="474" y="696"/>
                </a:cubicBezTo>
                <a:cubicBezTo>
                  <a:pt x="474" y="696"/>
                  <a:pt x="474" y="695"/>
                  <a:pt x="474" y="695"/>
                </a:cubicBezTo>
                <a:cubicBezTo>
                  <a:pt x="474" y="695"/>
                  <a:pt x="474" y="695"/>
                  <a:pt x="474" y="695"/>
                </a:cubicBezTo>
                <a:cubicBezTo>
                  <a:pt x="474" y="694"/>
                  <a:pt x="476" y="693"/>
                  <a:pt x="476" y="694"/>
                </a:cubicBezTo>
                <a:cubicBezTo>
                  <a:pt x="479" y="694"/>
                  <a:pt x="485" y="695"/>
                  <a:pt x="481" y="692"/>
                </a:cubicBezTo>
                <a:cubicBezTo>
                  <a:pt x="482" y="693"/>
                  <a:pt x="485" y="690"/>
                  <a:pt x="487" y="693"/>
                </a:cubicBezTo>
                <a:cubicBezTo>
                  <a:pt x="487" y="693"/>
                  <a:pt x="486" y="694"/>
                  <a:pt x="486" y="694"/>
                </a:cubicBezTo>
                <a:cubicBezTo>
                  <a:pt x="487" y="694"/>
                  <a:pt x="494" y="692"/>
                  <a:pt x="494" y="691"/>
                </a:cubicBezTo>
                <a:cubicBezTo>
                  <a:pt x="494" y="691"/>
                  <a:pt x="488" y="688"/>
                  <a:pt x="492" y="687"/>
                </a:cubicBezTo>
                <a:cubicBezTo>
                  <a:pt x="494" y="687"/>
                  <a:pt x="496" y="689"/>
                  <a:pt x="496" y="690"/>
                </a:cubicBezTo>
                <a:cubicBezTo>
                  <a:pt x="496" y="693"/>
                  <a:pt x="499" y="688"/>
                  <a:pt x="499" y="688"/>
                </a:cubicBezTo>
                <a:cubicBezTo>
                  <a:pt x="498" y="686"/>
                  <a:pt x="497" y="688"/>
                  <a:pt x="497" y="686"/>
                </a:cubicBezTo>
                <a:cubicBezTo>
                  <a:pt x="497" y="687"/>
                  <a:pt x="500" y="684"/>
                  <a:pt x="500" y="684"/>
                </a:cubicBezTo>
                <a:cubicBezTo>
                  <a:pt x="501" y="683"/>
                  <a:pt x="500" y="682"/>
                  <a:pt x="503" y="683"/>
                </a:cubicBezTo>
                <a:cubicBezTo>
                  <a:pt x="502" y="683"/>
                  <a:pt x="501" y="682"/>
                  <a:pt x="501" y="681"/>
                </a:cubicBezTo>
                <a:cubicBezTo>
                  <a:pt x="500" y="680"/>
                  <a:pt x="499" y="679"/>
                  <a:pt x="500" y="679"/>
                </a:cubicBezTo>
                <a:cubicBezTo>
                  <a:pt x="500" y="678"/>
                  <a:pt x="500" y="678"/>
                  <a:pt x="501" y="678"/>
                </a:cubicBezTo>
                <a:cubicBezTo>
                  <a:pt x="501" y="678"/>
                  <a:pt x="501" y="678"/>
                  <a:pt x="501" y="678"/>
                </a:cubicBezTo>
                <a:cubicBezTo>
                  <a:pt x="502" y="679"/>
                  <a:pt x="503" y="679"/>
                  <a:pt x="503" y="680"/>
                </a:cubicBezTo>
                <a:cubicBezTo>
                  <a:pt x="503" y="680"/>
                  <a:pt x="503" y="680"/>
                  <a:pt x="504" y="680"/>
                </a:cubicBezTo>
                <a:cubicBezTo>
                  <a:pt x="504" y="680"/>
                  <a:pt x="504" y="680"/>
                  <a:pt x="505" y="679"/>
                </a:cubicBezTo>
                <a:cubicBezTo>
                  <a:pt x="504" y="679"/>
                  <a:pt x="504" y="678"/>
                  <a:pt x="504" y="678"/>
                </a:cubicBezTo>
                <a:cubicBezTo>
                  <a:pt x="505" y="676"/>
                  <a:pt x="508" y="676"/>
                  <a:pt x="509" y="678"/>
                </a:cubicBezTo>
                <a:cubicBezTo>
                  <a:pt x="509" y="677"/>
                  <a:pt x="510" y="677"/>
                  <a:pt x="510" y="677"/>
                </a:cubicBezTo>
                <a:cubicBezTo>
                  <a:pt x="510" y="678"/>
                  <a:pt x="512" y="680"/>
                  <a:pt x="513" y="680"/>
                </a:cubicBezTo>
                <a:cubicBezTo>
                  <a:pt x="513" y="680"/>
                  <a:pt x="513" y="681"/>
                  <a:pt x="513" y="681"/>
                </a:cubicBezTo>
                <a:cubicBezTo>
                  <a:pt x="513" y="681"/>
                  <a:pt x="513" y="681"/>
                  <a:pt x="513" y="682"/>
                </a:cubicBezTo>
                <a:cubicBezTo>
                  <a:pt x="513" y="682"/>
                  <a:pt x="513" y="682"/>
                  <a:pt x="513" y="682"/>
                </a:cubicBezTo>
                <a:cubicBezTo>
                  <a:pt x="516" y="683"/>
                  <a:pt x="514" y="677"/>
                  <a:pt x="517" y="678"/>
                </a:cubicBezTo>
                <a:cubicBezTo>
                  <a:pt x="515" y="678"/>
                  <a:pt x="514" y="677"/>
                  <a:pt x="514" y="676"/>
                </a:cubicBezTo>
                <a:cubicBezTo>
                  <a:pt x="512" y="676"/>
                  <a:pt x="510" y="674"/>
                  <a:pt x="511" y="673"/>
                </a:cubicBezTo>
                <a:cubicBezTo>
                  <a:pt x="509" y="673"/>
                  <a:pt x="506" y="673"/>
                  <a:pt x="507" y="670"/>
                </a:cubicBezTo>
                <a:cubicBezTo>
                  <a:pt x="507" y="670"/>
                  <a:pt x="506" y="670"/>
                  <a:pt x="506" y="670"/>
                </a:cubicBezTo>
                <a:cubicBezTo>
                  <a:pt x="508" y="672"/>
                  <a:pt x="505" y="672"/>
                  <a:pt x="504" y="671"/>
                </a:cubicBezTo>
                <a:cubicBezTo>
                  <a:pt x="504" y="670"/>
                  <a:pt x="505" y="670"/>
                  <a:pt x="505" y="670"/>
                </a:cubicBezTo>
                <a:cubicBezTo>
                  <a:pt x="505" y="669"/>
                  <a:pt x="503" y="669"/>
                  <a:pt x="503" y="668"/>
                </a:cubicBezTo>
                <a:cubicBezTo>
                  <a:pt x="501" y="666"/>
                  <a:pt x="502" y="664"/>
                  <a:pt x="499" y="664"/>
                </a:cubicBezTo>
                <a:cubicBezTo>
                  <a:pt x="496" y="664"/>
                  <a:pt x="496" y="661"/>
                  <a:pt x="494" y="661"/>
                </a:cubicBezTo>
                <a:cubicBezTo>
                  <a:pt x="493" y="662"/>
                  <a:pt x="493" y="669"/>
                  <a:pt x="489" y="666"/>
                </a:cubicBezTo>
                <a:cubicBezTo>
                  <a:pt x="488" y="665"/>
                  <a:pt x="489" y="665"/>
                  <a:pt x="488" y="665"/>
                </a:cubicBezTo>
                <a:cubicBezTo>
                  <a:pt x="486" y="665"/>
                  <a:pt x="480" y="661"/>
                  <a:pt x="486" y="661"/>
                </a:cubicBezTo>
                <a:cubicBezTo>
                  <a:pt x="487" y="661"/>
                  <a:pt x="488" y="662"/>
                  <a:pt x="488" y="662"/>
                </a:cubicBezTo>
                <a:cubicBezTo>
                  <a:pt x="490" y="663"/>
                  <a:pt x="490" y="661"/>
                  <a:pt x="492" y="660"/>
                </a:cubicBezTo>
                <a:cubicBezTo>
                  <a:pt x="493" y="660"/>
                  <a:pt x="493" y="662"/>
                  <a:pt x="494" y="661"/>
                </a:cubicBezTo>
                <a:cubicBezTo>
                  <a:pt x="495" y="659"/>
                  <a:pt x="491" y="658"/>
                  <a:pt x="491" y="658"/>
                </a:cubicBezTo>
                <a:cubicBezTo>
                  <a:pt x="490" y="658"/>
                  <a:pt x="490" y="661"/>
                  <a:pt x="489" y="659"/>
                </a:cubicBezTo>
                <a:cubicBezTo>
                  <a:pt x="489" y="658"/>
                  <a:pt x="491" y="655"/>
                  <a:pt x="491" y="655"/>
                </a:cubicBezTo>
                <a:cubicBezTo>
                  <a:pt x="492" y="652"/>
                  <a:pt x="491" y="653"/>
                  <a:pt x="494" y="652"/>
                </a:cubicBezTo>
                <a:cubicBezTo>
                  <a:pt x="496" y="652"/>
                  <a:pt x="499" y="654"/>
                  <a:pt x="499" y="655"/>
                </a:cubicBezTo>
                <a:cubicBezTo>
                  <a:pt x="501" y="658"/>
                  <a:pt x="500" y="655"/>
                  <a:pt x="501" y="654"/>
                </a:cubicBezTo>
                <a:cubicBezTo>
                  <a:pt x="502" y="653"/>
                  <a:pt x="504" y="653"/>
                  <a:pt x="506" y="654"/>
                </a:cubicBezTo>
                <a:cubicBezTo>
                  <a:pt x="506" y="652"/>
                  <a:pt x="506" y="651"/>
                  <a:pt x="507" y="651"/>
                </a:cubicBezTo>
                <a:cubicBezTo>
                  <a:pt x="507" y="651"/>
                  <a:pt x="507" y="651"/>
                  <a:pt x="506" y="650"/>
                </a:cubicBezTo>
                <a:cubicBezTo>
                  <a:pt x="507" y="650"/>
                  <a:pt x="507" y="651"/>
                  <a:pt x="507" y="651"/>
                </a:cubicBezTo>
                <a:cubicBezTo>
                  <a:pt x="507" y="651"/>
                  <a:pt x="508" y="651"/>
                  <a:pt x="508" y="651"/>
                </a:cubicBezTo>
                <a:cubicBezTo>
                  <a:pt x="505" y="650"/>
                  <a:pt x="516" y="648"/>
                  <a:pt x="513" y="646"/>
                </a:cubicBezTo>
                <a:cubicBezTo>
                  <a:pt x="513" y="645"/>
                  <a:pt x="513" y="645"/>
                  <a:pt x="512" y="645"/>
                </a:cubicBezTo>
                <a:cubicBezTo>
                  <a:pt x="512" y="645"/>
                  <a:pt x="513" y="645"/>
                  <a:pt x="513" y="644"/>
                </a:cubicBezTo>
                <a:cubicBezTo>
                  <a:pt x="513" y="644"/>
                  <a:pt x="513" y="644"/>
                  <a:pt x="513" y="644"/>
                </a:cubicBezTo>
                <a:cubicBezTo>
                  <a:pt x="513" y="643"/>
                  <a:pt x="512" y="642"/>
                  <a:pt x="512" y="641"/>
                </a:cubicBezTo>
                <a:cubicBezTo>
                  <a:pt x="512" y="640"/>
                  <a:pt x="511" y="640"/>
                  <a:pt x="512" y="639"/>
                </a:cubicBezTo>
                <a:cubicBezTo>
                  <a:pt x="512" y="638"/>
                  <a:pt x="513" y="637"/>
                  <a:pt x="515" y="637"/>
                </a:cubicBezTo>
                <a:cubicBezTo>
                  <a:pt x="518" y="636"/>
                  <a:pt x="513" y="635"/>
                  <a:pt x="512" y="636"/>
                </a:cubicBezTo>
                <a:cubicBezTo>
                  <a:pt x="512" y="637"/>
                  <a:pt x="512" y="637"/>
                  <a:pt x="511" y="637"/>
                </a:cubicBezTo>
                <a:cubicBezTo>
                  <a:pt x="511" y="637"/>
                  <a:pt x="510" y="637"/>
                  <a:pt x="510" y="636"/>
                </a:cubicBezTo>
                <a:cubicBezTo>
                  <a:pt x="508" y="636"/>
                  <a:pt x="506" y="635"/>
                  <a:pt x="505" y="635"/>
                </a:cubicBezTo>
                <a:cubicBezTo>
                  <a:pt x="507" y="635"/>
                  <a:pt x="508" y="635"/>
                  <a:pt x="510" y="635"/>
                </a:cubicBezTo>
                <a:cubicBezTo>
                  <a:pt x="510" y="634"/>
                  <a:pt x="510" y="634"/>
                  <a:pt x="510" y="634"/>
                </a:cubicBezTo>
                <a:cubicBezTo>
                  <a:pt x="510" y="634"/>
                  <a:pt x="511" y="634"/>
                  <a:pt x="511" y="635"/>
                </a:cubicBezTo>
                <a:cubicBezTo>
                  <a:pt x="511" y="635"/>
                  <a:pt x="512" y="635"/>
                  <a:pt x="512" y="635"/>
                </a:cubicBezTo>
                <a:cubicBezTo>
                  <a:pt x="512" y="634"/>
                  <a:pt x="510" y="634"/>
                  <a:pt x="510" y="633"/>
                </a:cubicBezTo>
                <a:cubicBezTo>
                  <a:pt x="511" y="634"/>
                  <a:pt x="512" y="634"/>
                  <a:pt x="513" y="633"/>
                </a:cubicBezTo>
                <a:cubicBezTo>
                  <a:pt x="513" y="633"/>
                  <a:pt x="513" y="633"/>
                  <a:pt x="514" y="633"/>
                </a:cubicBezTo>
                <a:cubicBezTo>
                  <a:pt x="514" y="633"/>
                  <a:pt x="514" y="633"/>
                  <a:pt x="514" y="633"/>
                </a:cubicBezTo>
                <a:cubicBezTo>
                  <a:pt x="514" y="632"/>
                  <a:pt x="514" y="632"/>
                  <a:pt x="513" y="631"/>
                </a:cubicBezTo>
                <a:cubicBezTo>
                  <a:pt x="513" y="631"/>
                  <a:pt x="513" y="631"/>
                  <a:pt x="513" y="631"/>
                </a:cubicBezTo>
                <a:cubicBezTo>
                  <a:pt x="513" y="631"/>
                  <a:pt x="513" y="632"/>
                  <a:pt x="513" y="632"/>
                </a:cubicBezTo>
                <a:cubicBezTo>
                  <a:pt x="513" y="632"/>
                  <a:pt x="513" y="632"/>
                  <a:pt x="513" y="632"/>
                </a:cubicBezTo>
                <a:cubicBezTo>
                  <a:pt x="513" y="632"/>
                  <a:pt x="513" y="632"/>
                  <a:pt x="513" y="633"/>
                </a:cubicBezTo>
                <a:cubicBezTo>
                  <a:pt x="513" y="633"/>
                  <a:pt x="513" y="632"/>
                  <a:pt x="512" y="632"/>
                </a:cubicBezTo>
                <a:cubicBezTo>
                  <a:pt x="512" y="632"/>
                  <a:pt x="512" y="632"/>
                  <a:pt x="512" y="632"/>
                </a:cubicBezTo>
                <a:cubicBezTo>
                  <a:pt x="512" y="631"/>
                  <a:pt x="512" y="631"/>
                  <a:pt x="512" y="631"/>
                </a:cubicBezTo>
                <a:cubicBezTo>
                  <a:pt x="511" y="631"/>
                  <a:pt x="510" y="630"/>
                  <a:pt x="510" y="630"/>
                </a:cubicBezTo>
                <a:cubicBezTo>
                  <a:pt x="510" y="630"/>
                  <a:pt x="509" y="631"/>
                  <a:pt x="509" y="632"/>
                </a:cubicBezTo>
                <a:cubicBezTo>
                  <a:pt x="509" y="633"/>
                  <a:pt x="510" y="634"/>
                  <a:pt x="509" y="634"/>
                </a:cubicBezTo>
                <a:cubicBezTo>
                  <a:pt x="509" y="634"/>
                  <a:pt x="509" y="634"/>
                  <a:pt x="508" y="633"/>
                </a:cubicBezTo>
                <a:cubicBezTo>
                  <a:pt x="508" y="634"/>
                  <a:pt x="508" y="634"/>
                  <a:pt x="508" y="634"/>
                </a:cubicBezTo>
                <a:cubicBezTo>
                  <a:pt x="507" y="634"/>
                  <a:pt x="505" y="633"/>
                  <a:pt x="504" y="632"/>
                </a:cubicBezTo>
                <a:cubicBezTo>
                  <a:pt x="504" y="634"/>
                  <a:pt x="503" y="634"/>
                  <a:pt x="500" y="634"/>
                </a:cubicBezTo>
                <a:cubicBezTo>
                  <a:pt x="500" y="634"/>
                  <a:pt x="500" y="634"/>
                  <a:pt x="500" y="634"/>
                </a:cubicBezTo>
                <a:cubicBezTo>
                  <a:pt x="501" y="635"/>
                  <a:pt x="504" y="638"/>
                  <a:pt x="506" y="638"/>
                </a:cubicBezTo>
                <a:cubicBezTo>
                  <a:pt x="506" y="638"/>
                  <a:pt x="511" y="638"/>
                  <a:pt x="508" y="640"/>
                </a:cubicBezTo>
                <a:cubicBezTo>
                  <a:pt x="506" y="640"/>
                  <a:pt x="503" y="636"/>
                  <a:pt x="499" y="635"/>
                </a:cubicBezTo>
                <a:cubicBezTo>
                  <a:pt x="499" y="635"/>
                  <a:pt x="498" y="636"/>
                  <a:pt x="498" y="636"/>
                </a:cubicBezTo>
                <a:cubicBezTo>
                  <a:pt x="497" y="635"/>
                  <a:pt x="497" y="635"/>
                  <a:pt x="497" y="634"/>
                </a:cubicBezTo>
                <a:cubicBezTo>
                  <a:pt x="496" y="634"/>
                  <a:pt x="496" y="634"/>
                  <a:pt x="495" y="633"/>
                </a:cubicBezTo>
                <a:cubicBezTo>
                  <a:pt x="494" y="633"/>
                  <a:pt x="494" y="635"/>
                  <a:pt x="494" y="635"/>
                </a:cubicBezTo>
                <a:cubicBezTo>
                  <a:pt x="494" y="635"/>
                  <a:pt x="491" y="636"/>
                  <a:pt x="491" y="636"/>
                </a:cubicBezTo>
                <a:cubicBezTo>
                  <a:pt x="489" y="635"/>
                  <a:pt x="491" y="632"/>
                  <a:pt x="493" y="632"/>
                </a:cubicBezTo>
                <a:cubicBezTo>
                  <a:pt x="491" y="632"/>
                  <a:pt x="493" y="631"/>
                  <a:pt x="492" y="629"/>
                </a:cubicBezTo>
                <a:cubicBezTo>
                  <a:pt x="492" y="630"/>
                  <a:pt x="487" y="627"/>
                  <a:pt x="488" y="626"/>
                </a:cubicBezTo>
                <a:cubicBezTo>
                  <a:pt x="489" y="625"/>
                  <a:pt x="491" y="627"/>
                  <a:pt x="492" y="628"/>
                </a:cubicBezTo>
                <a:cubicBezTo>
                  <a:pt x="492" y="628"/>
                  <a:pt x="492" y="628"/>
                  <a:pt x="493" y="627"/>
                </a:cubicBezTo>
                <a:cubicBezTo>
                  <a:pt x="492" y="627"/>
                  <a:pt x="492" y="627"/>
                  <a:pt x="492" y="626"/>
                </a:cubicBezTo>
                <a:cubicBezTo>
                  <a:pt x="493" y="626"/>
                  <a:pt x="494" y="626"/>
                  <a:pt x="494" y="626"/>
                </a:cubicBezTo>
                <a:cubicBezTo>
                  <a:pt x="494" y="626"/>
                  <a:pt x="494" y="626"/>
                  <a:pt x="494" y="626"/>
                </a:cubicBezTo>
                <a:cubicBezTo>
                  <a:pt x="495" y="626"/>
                  <a:pt x="495" y="627"/>
                  <a:pt x="495" y="628"/>
                </a:cubicBezTo>
                <a:cubicBezTo>
                  <a:pt x="495" y="630"/>
                  <a:pt x="496" y="629"/>
                  <a:pt x="497" y="628"/>
                </a:cubicBezTo>
                <a:cubicBezTo>
                  <a:pt x="497" y="627"/>
                  <a:pt x="497" y="627"/>
                  <a:pt x="497" y="627"/>
                </a:cubicBezTo>
                <a:cubicBezTo>
                  <a:pt x="498" y="627"/>
                  <a:pt x="498" y="627"/>
                  <a:pt x="498" y="627"/>
                </a:cubicBezTo>
                <a:cubicBezTo>
                  <a:pt x="499" y="627"/>
                  <a:pt x="499" y="627"/>
                  <a:pt x="500" y="627"/>
                </a:cubicBezTo>
                <a:cubicBezTo>
                  <a:pt x="501" y="627"/>
                  <a:pt x="500" y="626"/>
                  <a:pt x="500" y="625"/>
                </a:cubicBezTo>
                <a:cubicBezTo>
                  <a:pt x="501" y="624"/>
                  <a:pt x="502" y="625"/>
                  <a:pt x="503" y="624"/>
                </a:cubicBezTo>
                <a:cubicBezTo>
                  <a:pt x="503" y="624"/>
                  <a:pt x="503" y="624"/>
                  <a:pt x="503" y="624"/>
                </a:cubicBezTo>
                <a:cubicBezTo>
                  <a:pt x="501" y="621"/>
                  <a:pt x="497" y="616"/>
                  <a:pt x="496" y="621"/>
                </a:cubicBezTo>
                <a:cubicBezTo>
                  <a:pt x="496" y="617"/>
                  <a:pt x="492" y="620"/>
                  <a:pt x="491" y="621"/>
                </a:cubicBezTo>
                <a:cubicBezTo>
                  <a:pt x="489" y="621"/>
                  <a:pt x="492" y="620"/>
                  <a:pt x="492" y="620"/>
                </a:cubicBezTo>
                <a:cubicBezTo>
                  <a:pt x="491" y="618"/>
                  <a:pt x="488" y="620"/>
                  <a:pt x="486" y="618"/>
                </a:cubicBezTo>
                <a:cubicBezTo>
                  <a:pt x="486" y="618"/>
                  <a:pt x="485" y="615"/>
                  <a:pt x="485" y="616"/>
                </a:cubicBezTo>
                <a:cubicBezTo>
                  <a:pt x="483" y="615"/>
                  <a:pt x="482" y="617"/>
                  <a:pt x="483" y="615"/>
                </a:cubicBezTo>
                <a:cubicBezTo>
                  <a:pt x="483" y="612"/>
                  <a:pt x="480" y="610"/>
                  <a:pt x="479" y="609"/>
                </a:cubicBezTo>
                <a:cubicBezTo>
                  <a:pt x="479" y="609"/>
                  <a:pt x="480" y="605"/>
                  <a:pt x="478" y="604"/>
                </a:cubicBezTo>
                <a:cubicBezTo>
                  <a:pt x="480" y="609"/>
                  <a:pt x="474" y="610"/>
                  <a:pt x="474" y="608"/>
                </a:cubicBezTo>
                <a:cubicBezTo>
                  <a:pt x="474" y="608"/>
                  <a:pt x="471" y="608"/>
                  <a:pt x="471" y="605"/>
                </a:cubicBezTo>
                <a:cubicBezTo>
                  <a:pt x="472" y="603"/>
                  <a:pt x="472" y="604"/>
                  <a:pt x="471" y="601"/>
                </a:cubicBezTo>
                <a:cubicBezTo>
                  <a:pt x="470" y="599"/>
                  <a:pt x="478" y="604"/>
                  <a:pt x="479" y="603"/>
                </a:cubicBezTo>
                <a:cubicBezTo>
                  <a:pt x="481" y="603"/>
                  <a:pt x="478" y="601"/>
                  <a:pt x="481" y="602"/>
                </a:cubicBezTo>
                <a:cubicBezTo>
                  <a:pt x="487" y="603"/>
                  <a:pt x="499" y="603"/>
                  <a:pt x="499" y="612"/>
                </a:cubicBezTo>
                <a:cubicBezTo>
                  <a:pt x="499" y="614"/>
                  <a:pt x="497" y="615"/>
                  <a:pt x="498" y="617"/>
                </a:cubicBezTo>
                <a:cubicBezTo>
                  <a:pt x="499" y="619"/>
                  <a:pt x="501" y="621"/>
                  <a:pt x="503" y="622"/>
                </a:cubicBezTo>
                <a:cubicBezTo>
                  <a:pt x="503" y="622"/>
                  <a:pt x="503" y="622"/>
                  <a:pt x="503" y="622"/>
                </a:cubicBezTo>
                <a:cubicBezTo>
                  <a:pt x="504" y="622"/>
                  <a:pt x="505" y="623"/>
                  <a:pt x="505" y="622"/>
                </a:cubicBezTo>
                <a:cubicBezTo>
                  <a:pt x="506" y="622"/>
                  <a:pt x="506" y="621"/>
                  <a:pt x="506" y="621"/>
                </a:cubicBezTo>
                <a:cubicBezTo>
                  <a:pt x="506" y="620"/>
                  <a:pt x="505" y="619"/>
                  <a:pt x="506" y="619"/>
                </a:cubicBezTo>
                <a:cubicBezTo>
                  <a:pt x="506" y="619"/>
                  <a:pt x="506" y="619"/>
                  <a:pt x="506" y="619"/>
                </a:cubicBezTo>
                <a:cubicBezTo>
                  <a:pt x="507" y="619"/>
                  <a:pt x="507" y="619"/>
                  <a:pt x="507" y="619"/>
                </a:cubicBezTo>
                <a:cubicBezTo>
                  <a:pt x="508" y="618"/>
                  <a:pt x="510" y="620"/>
                  <a:pt x="510" y="618"/>
                </a:cubicBezTo>
                <a:cubicBezTo>
                  <a:pt x="510" y="619"/>
                  <a:pt x="512" y="620"/>
                  <a:pt x="513" y="620"/>
                </a:cubicBezTo>
                <a:cubicBezTo>
                  <a:pt x="513" y="620"/>
                  <a:pt x="514" y="620"/>
                  <a:pt x="514" y="620"/>
                </a:cubicBezTo>
                <a:cubicBezTo>
                  <a:pt x="514" y="619"/>
                  <a:pt x="513" y="617"/>
                  <a:pt x="513" y="617"/>
                </a:cubicBezTo>
                <a:cubicBezTo>
                  <a:pt x="514" y="616"/>
                  <a:pt x="516" y="618"/>
                  <a:pt x="517" y="620"/>
                </a:cubicBezTo>
                <a:cubicBezTo>
                  <a:pt x="517" y="620"/>
                  <a:pt x="518" y="621"/>
                  <a:pt x="518" y="620"/>
                </a:cubicBezTo>
                <a:cubicBezTo>
                  <a:pt x="518" y="620"/>
                  <a:pt x="514" y="615"/>
                  <a:pt x="517" y="615"/>
                </a:cubicBezTo>
                <a:cubicBezTo>
                  <a:pt x="517" y="615"/>
                  <a:pt x="517" y="615"/>
                  <a:pt x="517" y="614"/>
                </a:cubicBezTo>
                <a:cubicBezTo>
                  <a:pt x="517" y="615"/>
                  <a:pt x="516" y="612"/>
                  <a:pt x="516" y="612"/>
                </a:cubicBezTo>
                <a:cubicBezTo>
                  <a:pt x="518" y="610"/>
                  <a:pt x="520" y="614"/>
                  <a:pt x="522" y="615"/>
                </a:cubicBezTo>
                <a:cubicBezTo>
                  <a:pt x="523" y="614"/>
                  <a:pt x="524" y="613"/>
                  <a:pt x="525" y="614"/>
                </a:cubicBezTo>
                <a:cubicBezTo>
                  <a:pt x="525" y="614"/>
                  <a:pt x="526" y="615"/>
                  <a:pt x="526" y="615"/>
                </a:cubicBezTo>
                <a:cubicBezTo>
                  <a:pt x="526" y="615"/>
                  <a:pt x="526" y="615"/>
                  <a:pt x="527" y="616"/>
                </a:cubicBezTo>
                <a:cubicBezTo>
                  <a:pt x="527" y="616"/>
                  <a:pt x="527" y="617"/>
                  <a:pt x="527" y="618"/>
                </a:cubicBezTo>
                <a:cubicBezTo>
                  <a:pt x="526" y="618"/>
                  <a:pt x="526" y="618"/>
                  <a:pt x="525" y="618"/>
                </a:cubicBezTo>
                <a:cubicBezTo>
                  <a:pt x="525" y="618"/>
                  <a:pt x="525" y="618"/>
                  <a:pt x="525" y="618"/>
                </a:cubicBezTo>
                <a:cubicBezTo>
                  <a:pt x="527" y="619"/>
                  <a:pt x="529" y="619"/>
                  <a:pt x="530" y="621"/>
                </a:cubicBezTo>
                <a:cubicBezTo>
                  <a:pt x="531" y="622"/>
                  <a:pt x="531" y="622"/>
                  <a:pt x="531" y="622"/>
                </a:cubicBezTo>
                <a:cubicBezTo>
                  <a:pt x="532" y="622"/>
                  <a:pt x="532" y="622"/>
                  <a:pt x="532" y="621"/>
                </a:cubicBezTo>
                <a:cubicBezTo>
                  <a:pt x="531" y="620"/>
                  <a:pt x="531" y="619"/>
                  <a:pt x="530" y="617"/>
                </a:cubicBezTo>
                <a:cubicBezTo>
                  <a:pt x="531" y="618"/>
                  <a:pt x="532" y="620"/>
                  <a:pt x="533" y="621"/>
                </a:cubicBezTo>
                <a:cubicBezTo>
                  <a:pt x="533" y="621"/>
                  <a:pt x="533" y="621"/>
                  <a:pt x="533" y="621"/>
                </a:cubicBezTo>
                <a:cubicBezTo>
                  <a:pt x="533" y="621"/>
                  <a:pt x="533" y="620"/>
                  <a:pt x="533" y="620"/>
                </a:cubicBezTo>
                <a:cubicBezTo>
                  <a:pt x="534" y="620"/>
                  <a:pt x="534" y="622"/>
                  <a:pt x="534" y="622"/>
                </a:cubicBezTo>
                <a:cubicBezTo>
                  <a:pt x="535" y="623"/>
                  <a:pt x="536" y="627"/>
                  <a:pt x="537" y="628"/>
                </a:cubicBezTo>
                <a:cubicBezTo>
                  <a:pt x="537" y="628"/>
                  <a:pt x="537" y="627"/>
                  <a:pt x="537" y="627"/>
                </a:cubicBezTo>
                <a:cubicBezTo>
                  <a:pt x="538" y="626"/>
                  <a:pt x="539" y="627"/>
                  <a:pt x="540" y="627"/>
                </a:cubicBezTo>
                <a:cubicBezTo>
                  <a:pt x="540" y="627"/>
                  <a:pt x="540" y="627"/>
                  <a:pt x="541" y="627"/>
                </a:cubicBezTo>
                <a:cubicBezTo>
                  <a:pt x="542" y="628"/>
                  <a:pt x="543" y="630"/>
                  <a:pt x="543" y="631"/>
                </a:cubicBezTo>
                <a:cubicBezTo>
                  <a:pt x="543" y="631"/>
                  <a:pt x="542" y="631"/>
                  <a:pt x="542" y="631"/>
                </a:cubicBezTo>
                <a:cubicBezTo>
                  <a:pt x="542" y="631"/>
                  <a:pt x="542" y="631"/>
                  <a:pt x="542" y="631"/>
                </a:cubicBezTo>
                <a:cubicBezTo>
                  <a:pt x="542" y="631"/>
                  <a:pt x="542" y="632"/>
                  <a:pt x="542" y="632"/>
                </a:cubicBezTo>
                <a:cubicBezTo>
                  <a:pt x="540" y="633"/>
                  <a:pt x="541" y="631"/>
                  <a:pt x="541" y="630"/>
                </a:cubicBezTo>
                <a:cubicBezTo>
                  <a:pt x="541" y="630"/>
                  <a:pt x="540" y="630"/>
                  <a:pt x="540" y="630"/>
                </a:cubicBezTo>
                <a:cubicBezTo>
                  <a:pt x="540" y="631"/>
                  <a:pt x="540" y="631"/>
                  <a:pt x="540" y="632"/>
                </a:cubicBezTo>
                <a:cubicBezTo>
                  <a:pt x="541" y="633"/>
                  <a:pt x="540" y="633"/>
                  <a:pt x="539" y="632"/>
                </a:cubicBezTo>
                <a:cubicBezTo>
                  <a:pt x="538" y="635"/>
                  <a:pt x="537" y="640"/>
                  <a:pt x="537" y="640"/>
                </a:cubicBezTo>
                <a:cubicBezTo>
                  <a:pt x="537" y="641"/>
                  <a:pt x="544" y="646"/>
                  <a:pt x="539" y="644"/>
                </a:cubicBezTo>
                <a:cubicBezTo>
                  <a:pt x="539" y="644"/>
                  <a:pt x="539" y="645"/>
                  <a:pt x="539" y="645"/>
                </a:cubicBezTo>
                <a:cubicBezTo>
                  <a:pt x="539" y="645"/>
                  <a:pt x="539" y="645"/>
                  <a:pt x="539" y="645"/>
                </a:cubicBezTo>
                <a:cubicBezTo>
                  <a:pt x="540" y="645"/>
                  <a:pt x="540" y="646"/>
                  <a:pt x="539" y="646"/>
                </a:cubicBezTo>
                <a:cubicBezTo>
                  <a:pt x="539" y="646"/>
                  <a:pt x="540" y="646"/>
                  <a:pt x="540" y="646"/>
                </a:cubicBezTo>
                <a:cubicBezTo>
                  <a:pt x="540" y="647"/>
                  <a:pt x="539" y="648"/>
                  <a:pt x="538" y="647"/>
                </a:cubicBezTo>
                <a:cubicBezTo>
                  <a:pt x="537" y="648"/>
                  <a:pt x="537" y="648"/>
                  <a:pt x="536" y="649"/>
                </a:cubicBezTo>
                <a:cubicBezTo>
                  <a:pt x="536" y="648"/>
                  <a:pt x="535" y="651"/>
                  <a:pt x="535" y="650"/>
                </a:cubicBezTo>
                <a:cubicBezTo>
                  <a:pt x="534" y="651"/>
                  <a:pt x="532" y="649"/>
                  <a:pt x="532" y="649"/>
                </a:cubicBezTo>
                <a:cubicBezTo>
                  <a:pt x="532" y="648"/>
                  <a:pt x="531" y="648"/>
                  <a:pt x="530" y="648"/>
                </a:cubicBezTo>
                <a:cubicBezTo>
                  <a:pt x="532" y="649"/>
                  <a:pt x="532" y="649"/>
                  <a:pt x="531" y="651"/>
                </a:cubicBezTo>
                <a:cubicBezTo>
                  <a:pt x="531" y="651"/>
                  <a:pt x="531" y="651"/>
                  <a:pt x="530" y="651"/>
                </a:cubicBezTo>
                <a:cubicBezTo>
                  <a:pt x="530" y="653"/>
                  <a:pt x="529" y="653"/>
                  <a:pt x="527" y="652"/>
                </a:cubicBezTo>
                <a:cubicBezTo>
                  <a:pt x="527" y="652"/>
                  <a:pt x="527" y="651"/>
                  <a:pt x="527" y="650"/>
                </a:cubicBezTo>
                <a:cubicBezTo>
                  <a:pt x="527" y="650"/>
                  <a:pt x="525" y="649"/>
                  <a:pt x="525" y="648"/>
                </a:cubicBezTo>
                <a:cubicBezTo>
                  <a:pt x="526" y="648"/>
                  <a:pt x="527" y="647"/>
                  <a:pt x="527" y="647"/>
                </a:cubicBezTo>
                <a:cubicBezTo>
                  <a:pt x="527" y="645"/>
                  <a:pt x="524" y="647"/>
                  <a:pt x="525" y="644"/>
                </a:cubicBezTo>
                <a:cubicBezTo>
                  <a:pt x="524" y="646"/>
                  <a:pt x="521" y="646"/>
                  <a:pt x="520" y="649"/>
                </a:cubicBezTo>
                <a:cubicBezTo>
                  <a:pt x="520" y="649"/>
                  <a:pt x="520" y="654"/>
                  <a:pt x="521" y="655"/>
                </a:cubicBezTo>
                <a:cubicBezTo>
                  <a:pt x="522" y="655"/>
                  <a:pt x="522" y="654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6"/>
                  <a:pt x="521" y="658"/>
                  <a:pt x="522" y="660"/>
                </a:cubicBezTo>
                <a:cubicBezTo>
                  <a:pt x="522" y="659"/>
                  <a:pt x="523" y="661"/>
                  <a:pt x="523" y="661"/>
                </a:cubicBezTo>
                <a:cubicBezTo>
                  <a:pt x="524" y="661"/>
                  <a:pt x="524" y="660"/>
                  <a:pt x="523" y="660"/>
                </a:cubicBezTo>
                <a:cubicBezTo>
                  <a:pt x="523" y="659"/>
                  <a:pt x="522" y="659"/>
                  <a:pt x="522" y="658"/>
                </a:cubicBezTo>
                <a:cubicBezTo>
                  <a:pt x="523" y="658"/>
                  <a:pt x="523" y="658"/>
                  <a:pt x="524" y="659"/>
                </a:cubicBezTo>
                <a:cubicBezTo>
                  <a:pt x="525" y="658"/>
                  <a:pt x="526" y="660"/>
                  <a:pt x="527" y="660"/>
                </a:cubicBezTo>
                <a:cubicBezTo>
                  <a:pt x="529" y="660"/>
                  <a:pt x="528" y="659"/>
                  <a:pt x="530" y="659"/>
                </a:cubicBezTo>
                <a:cubicBezTo>
                  <a:pt x="528" y="661"/>
                  <a:pt x="529" y="660"/>
                  <a:pt x="531" y="661"/>
                </a:cubicBezTo>
                <a:cubicBezTo>
                  <a:pt x="531" y="660"/>
                  <a:pt x="531" y="660"/>
                  <a:pt x="531" y="661"/>
                </a:cubicBezTo>
                <a:cubicBezTo>
                  <a:pt x="531" y="661"/>
                  <a:pt x="532" y="661"/>
                  <a:pt x="532" y="661"/>
                </a:cubicBezTo>
                <a:cubicBezTo>
                  <a:pt x="532" y="661"/>
                  <a:pt x="532" y="661"/>
                  <a:pt x="532" y="661"/>
                </a:cubicBezTo>
                <a:cubicBezTo>
                  <a:pt x="532" y="661"/>
                  <a:pt x="532" y="661"/>
                  <a:pt x="532" y="661"/>
                </a:cubicBezTo>
                <a:cubicBezTo>
                  <a:pt x="534" y="662"/>
                  <a:pt x="535" y="664"/>
                  <a:pt x="536" y="664"/>
                </a:cubicBezTo>
                <a:cubicBezTo>
                  <a:pt x="537" y="664"/>
                  <a:pt x="537" y="664"/>
                  <a:pt x="537" y="664"/>
                </a:cubicBezTo>
                <a:cubicBezTo>
                  <a:pt x="537" y="664"/>
                  <a:pt x="537" y="664"/>
                  <a:pt x="538" y="665"/>
                </a:cubicBezTo>
                <a:cubicBezTo>
                  <a:pt x="538" y="665"/>
                  <a:pt x="538" y="665"/>
                  <a:pt x="539" y="666"/>
                </a:cubicBezTo>
                <a:cubicBezTo>
                  <a:pt x="538" y="665"/>
                  <a:pt x="538" y="663"/>
                  <a:pt x="539" y="662"/>
                </a:cubicBezTo>
                <a:cubicBezTo>
                  <a:pt x="541" y="661"/>
                  <a:pt x="542" y="663"/>
                  <a:pt x="544" y="663"/>
                </a:cubicBezTo>
                <a:cubicBezTo>
                  <a:pt x="544" y="663"/>
                  <a:pt x="545" y="661"/>
                  <a:pt x="546" y="661"/>
                </a:cubicBezTo>
                <a:cubicBezTo>
                  <a:pt x="546" y="660"/>
                  <a:pt x="545" y="658"/>
                  <a:pt x="545" y="656"/>
                </a:cubicBezTo>
                <a:cubicBezTo>
                  <a:pt x="546" y="656"/>
                  <a:pt x="546" y="659"/>
                  <a:pt x="547" y="659"/>
                </a:cubicBezTo>
                <a:cubicBezTo>
                  <a:pt x="547" y="659"/>
                  <a:pt x="547" y="658"/>
                  <a:pt x="547" y="658"/>
                </a:cubicBezTo>
                <a:cubicBezTo>
                  <a:pt x="547" y="658"/>
                  <a:pt x="547" y="658"/>
                  <a:pt x="547" y="658"/>
                </a:cubicBezTo>
                <a:cubicBezTo>
                  <a:pt x="547" y="658"/>
                  <a:pt x="546" y="657"/>
                  <a:pt x="546" y="656"/>
                </a:cubicBezTo>
                <a:cubicBezTo>
                  <a:pt x="547" y="655"/>
                  <a:pt x="548" y="655"/>
                  <a:pt x="548" y="656"/>
                </a:cubicBezTo>
                <a:cubicBezTo>
                  <a:pt x="549" y="655"/>
                  <a:pt x="550" y="655"/>
                  <a:pt x="551" y="656"/>
                </a:cubicBezTo>
                <a:cubicBezTo>
                  <a:pt x="552" y="656"/>
                  <a:pt x="552" y="656"/>
                  <a:pt x="552" y="657"/>
                </a:cubicBezTo>
                <a:cubicBezTo>
                  <a:pt x="552" y="658"/>
                  <a:pt x="552" y="659"/>
                  <a:pt x="552" y="660"/>
                </a:cubicBezTo>
                <a:cubicBezTo>
                  <a:pt x="552" y="660"/>
                  <a:pt x="552" y="661"/>
                  <a:pt x="552" y="661"/>
                </a:cubicBezTo>
                <a:cubicBezTo>
                  <a:pt x="556" y="659"/>
                  <a:pt x="556" y="659"/>
                  <a:pt x="556" y="659"/>
                </a:cubicBezTo>
                <a:cubicBezTo>
                  <a:pt x="556" y="659"/>
                  <a:pt x="556" y="659"/>
                  <a:pt x="557" y="659"/>
                </a:cubicBezTo>
                <a:cubicBezTo>
                  <a:pt x="559" y="657"/>
                  <a:pt x="559" y="657"/>
                  <a:pt x="559" y="657"/>
                </a:cubicBezTo>
                <a:cubicBezTo>
                  <a:pt x="559" y="657"/>
                  <a:pt x="559" y="656"/>
                  <a:pt x="558" y="656"/>
                </a:cubicBezTo>
                <a:cubicBezTo>
                  <a:pt x="558" y="656"/>
                  <a:pt x="557" y="656"/>
                  <a:pt x="556" y="655"/>
                </a:cubicBezTo>
                <a:cubicBezTo>
                  <a:pt x="556" y="655"/>
                  <a:pt x="556" y="655"/>
                  <a:pt x="555" y="656"/>
                </a:cubicBezTo>
                <a:cubicBezTo>
                  <a:pt x="556" y="656"/>
                  <a:pt x="556" y="655"/>
                  <a:pt x="556" y="655"/>
                </a:cubicBezTo>
                <a:cubicBezTo>
                  <a:pt x="556" y="655"/>
                  <a:pt x="555" y="655"/>
                  <a:pt x="555" y="654"/>
                </a:cubicBezTo>
                <a:cubicBezTo>
                  <a:pt x="555" y="654"/>
                  <a:pt x="557" y="653"/>
                  <a:pt x="557" y="653"/>
                </a:cubicBezTo>
                <a:cubicBezTo>
                  <a:pt x="557" y="652"/>
                  <a:pt x="556" y="651"/>
                  <a:pt x="556" y="650"/>
                </a:cubicBezTo>
                <a:cubicBezTo>
                  <a:pt x="555" y="651"/>
                  <a:pt x="554" y="652"/>
                  <a:pt x="553" y="652"/>
                </a:cubicBezTo>
                <a:cubicBezTo>
                  <a:pt x="553" y="652"/>
                  <a:pt x="553" y="653"/>
                  <a:pt x="553" y="653"/>
                </a:cubicBezTo>
                <a:cubicBezTo>
                  <a:pt x="552" y="653"/>
                  <a:pt x="552" y="652"/>
                  <a:pt x="552" y="652"/>
                </a:cubicBezTo>
                <a:cubicBezTo>
                  <a:pt x="552" y="652"/>
                  <a:pt x="551" y="652"/>
                  <a:pt x="551" y="652"/>
                </a:cubicBezTo>
                <a:cubicBezTo>
                  <a:pt x="551" y="652"/>
                  <a:pt x="551" y="652"/>
                  <a:pt x="551" y="652"/>
                </a:cubicBezTo>
                <a:cubicBezTo>
                  <a:pt x="551" y="653"/>
                  <a:pt x="550" y="653"/>
                  <a:pt x="550" y="653"/>
                </a:cubicBezTo>
                <a:cubicBezTo>
                  <a:pt x="550" y="653"/>
                  <a:pt x="550" y="652"/>
                  <a:pt x="550" y="652"/>
                </a:cubicBezTo>
                <a:cubicBezTo>
                  <a:pt x="548" y="652"/>
                  <a:pt x="546" y="651"/>
                  <a:pt x="545" y="649"/>
                </a:cubicBezTo>
                <a:cubicBezTo>
                  <a:pt x="544" y="648"/>
                  <a:pt x="544" y="647"/>
                  <a:pt x="544" y="646"/>
                </a:cubicBezTo>
                <a:cubicBezTo>
                  <a:pt x="543" y="646"/>
                  <a:pt x="541" y="644"/>
                  <a:pt x="542" y="643"/>
                </a:cubicBezTo>
                <a:cubicBezTo>
                  <a:pt x="543" y="643"/>
                  <a:pt x="544" y="643"/>
                  <a:pt x="544" y="644"/>
                </a:cubicBezTo>
                <a:cubicBezTo>
                  <a:pt x="544" y="644"/>
                  <a:pt x="544" y="644"/>
                  <a:pt x="544" y="643"/>
                </a:cubicBezTo>
                <a:cubicBezTo>
                  <a:pt x="544" y="643"/>
                  <a:pt x="544" y="643"/>
                  <a:pt x="544" y="643"/>
                </a:cubicBezTo>
                <a:cubicBezTo>
                  <a:pt x="545" y="641"/>
                  <a:pt x="546" y="640"/>
                  <a:pt x="548" y="638"/>
                </a:cubicBezTo>
                <a:cubicBezTo>
                  <a:pt x="548" y="638"/>
                  <a:pt x="548" y="638"/>
                  <a:pt x="548" y="638"/>
                </a:cubicBezTo>
                <a:cubicBezTo>
                  <a:pt x="548" y="638"/>
                  <a:pt x="548" y="638"/>
                  <a:pt x="548" y="638"/>
                </a:cubicBezTo>
                <a:cubicBezTo>
                  <a:pt x="549" y="637"/>
                  <a:pt x="549" y="637"/>
                  <a:pt x="549" y="638"/>
                </a:cubicBezTo>
                <a:cubicBezTo>
                  <a:pt x="551" y="637"/>
                  <a:pt x="554" y="636"/>
                  <a:pt x="556" y="638"/>
                </a:cubicBezTo>
                <a:cubicBezTo>
                  <a:pt x="556" y="638"/>
                  <a:pt x="558" y="640"/>
                  <a:pt x="558" y="640"/>
                </a:cubicBezTo>
                <a:cubicBezTo>
                  <a:pt x="558" y="640"/>
                  <a:pt x="557" y="642"/>
                  <a:pt x="557" y="642"/>
                </a:cubicBezTo>
                <a:cubicBezTo>
                  <a:pt x="557" y="642"/>
                  <a:pt x="557" y="642"/>
                  <a:pt x="557" y="642"/>
                </a:cubicBezTo>
                <a:cubicBezTo>
                  <a:pt x="558" y="642"/>
                  <a:pt x="558" y="643"/>
                  <a:pt x="559" y="644"/>
                </a:cubicBezTo>
                <a:cubicBezTo>
                  <a:pt x="559" y="643"/>
                  <a:pt x="559" y="643"/>
                  <a:pt x="559" y="643"/>
                </a:cubicBezTo>
                <a:cubicBezTo>
                  <a:pt x="560" y="642"/>
                  <a:pt x="561" y="644"/>
                  <a:pt x="560" y="644"/>
                </a:cubicBezTo>
                <a:cubicBezTo>
                  <a:pt x="559" y="644"/>
                  <a:pt x="559" y="644"/>
                  <a:pt x="559" y="644"/>
                </a:cubicBezTo>
                <a:cubicBezTo>
                  <a:pt x="560" y="645"/>
                  <a:pt x="561" y="646"/>
                  <a:pt x="562" y="645"/>
                </a:cubicBezTo>
                <a:cubicBezTo>
                  <a:pt x="563" y="645"/>
                  <a:pt x="561" y="642"/>
                  <a:pt x="564" y="642"/>
                </a:cubicBezTo>
                <a:cubicBezTo>
                  <a:pt x="562" y="645"/>
                  <a:pt x="564" y="643"/>
                  <a:pt x="567" y="645"/>
                </a:cubicBezTo>
                <a:cubicBezTo>
                  <a:pt x="570" y="646"/>
                  <a:pt x="569" y="646"/>
                  <a:pt x="567" y="643"/>
                </a:cubicBezTo>
                <a:cubicBezTo>
                  <a:pt x="566" y="641"/>
                  <a:pt x="568" y="642"/>
                  <a:pt x="566" y="640"/>
                </a:cubicBezTo>
                <a:cubicBezTo>
                  <a:pt x="566" y="639"/>
                  <a:pt x="564" y="638"/>
                  <a:pt x="562" y="638"/>
                </a:cubicBezTo>
                <a:cubicBezTo>
                  <a:pt x="562" y="638"/>
                  <a:pt x="562" y="638"/>
                  <a:pt x="562" y="638"/>
                </a:cubicBezTo>
                <a:cubicBezTo>
                  <a:pt x="561" y="638"/>
                  <a:pt x="560" y="638"/>
                  <a:pt x="560" y="638"/>
                </a:cubicBezTo>
                <a:cubicBezTo>
                  <a:pt x="562" y="637"/>
                  <a:pt x="558" y="640"/>
                  <a:pt x="558" y="639"/>
                </a:cubicBezTo>
                <a:cubicBezTo>
                  <a:pt x="558" y="638"/>
                  <a:pt x="558" y="638"/>
                  <a:pt x="558" y="637"/>
                </a:cubicBezTo>
                <a:cubicBezTo>
                  <a:pt x="557" y="637"/>
                  <a:pt x="554" y="634"/>
                  <a:pt x="554" y="634"/>
                </a:cubicBezTo>
                <a:cubicBezTo>
                  <a:pt x="551" y="632"/>
                  <a:pt x="551" y="631"/>
                  <a:pt x="554" y="633"/>
                </a:cubicBezTo>
                <a:cubicBezTo>
                  <a:pt x="555" y="634"/>
                  <a:pt x="557" y="635"/>
                  <a:pt x="558" y="636"/>
                </a:cubicBezTo>
                <a:cubicBezTo>
                  <a:pt x="558" y="634"/>
                  <a:pt x="556" y="635"/>
                  <a:pt x="555" y="634"/>
                </a:cubicBezTo>
                <a:cubicBezTo>
                  <a:pt x="555" y="633"/>
                  <a:pt x="554" y="632"/>
                  <a:pt x="554" y="630"/>
                </a:cubicBezTo>
                <a:cubicBezTo>
                  <a:pt x="554" y="630"/>
                  <a:pt x="553" y="629"/>
                  <a:pt x="553" y="629"/>
                </a:cubicBezTo>
                <a:cubicBezTo>
                  <a:pt x="553" y="629"/>
                  <a:pt x="553" y="629"/>
                  <a:pt x="553" y="628"/>
                </a:cubicBezTo>
                <a:cubicBezTo>
                  <a:pt x="553" y="628"/>
                  <a:pt x="553" y="628"/>
                  <a:pt x="553" y="628"/>
                </a:cubicBezTo>
                <a:cubicBezTo>
                  <a:pt x="551" y="629"/>
                  <a:pt x="552" y="625"/>
                  <a:pt x="553" y="626"/>
                </a:cubicBezTo>
                <a:cubicBezTo>
                  <a:pt x="553" y="626"/>
                  <a:pt x="553" y="625"/>
                  <a:pt x="553" y="625"/>
                </a:cubicBezTo>
                <a:cubicBezTo>
                  <a:pt x="554" y="625"/>
                  <a:pt x="554" y="625"/>
                  <a:pt x="554" y="625"/>
                </a:cubicBezTo>
                <a:cubicBezTo>
                  <a:pt x="554" y="625"/>
                  <a:pt x="554" y="625"/>
                  <a:pt x="554" y="625"/>
                </a:cubicBezTo>
                <a:cubicBezTo>
                  <a:pt x="554" y="625"/>
                  <a:pt x="557" y="625"/>
                  <a:pt x="559" y="624"/>
                </a:cubicBezTo>
                <a:cubicBezTo>
                  <a:pt x="558" y="624"/>
                  <a:pt x="559" y="623"/>
                  <a:pt x="559" y="623"/>
                </a:cubicBezTo>
                <a:cubicBezTo>
                  <a:pt x="559" y="623"/>
                  <a:pt x="560" y="623"/>
                  <a:pt x="560" y="623"/>
                </a:cubicBezTo>
                <a:cubicBezTo>
                  <a:pt x="560" y="623"/>
                  <a:pt x="560" y="622"/>
                  <a:pt x="559" y="621"/>
                </a:cubicBezTo>
                <a:cubicBezTo>
                  <a:pt x="559" y="621"/>
                  <a:pt x="559" y="621"/>
                  <a:pt x="558" y="621"/>
                </a:cubicBezTo>
                <a:cubicBezTo>
                  <a:pt x="559" y="620"/>
                  <a:pt x="561" y="613"/>
                  <a:pt x="557" y="616"/>
                </a:cubicBezTo>
                <a:cubicBezTo>
                  <a:pt x="557" y="616"/>
                  <a:pt x="558" y="617"/>
                  <a:pt x="558" y="617"/>
                </a:cubicBezTo>
                <a:cubicBezTo>
                  <a:pt x="558" y="617"/>
                  <a:pt x="557" y="617"/>
                  <a:pt x="557" y="617"/>
                </a:cubicBezTo>
                <a:cubicBezTo>
                  <a:pt x="556" y="618"/>
                  <a:pt x="558" y="620"/>
                  <a:pt x="557" y="621"/>
                </a:cubicBezTo>
                <a:cubicBezTo>
                  <a:pt x="557" y="619"/>
                  <a:pt x="553" y="620"/>
                  <a:pt x="553" y="618"/>
                </a:cubicBezTo>
                <a:cubicBezTo>
                  <a:pt x="553" y="616"/>
                  <a:pt x="557" y="615"/>
                  <a:pt x="558" y="613"/>
                </a:cubicBezTo>
                <a:cubicBezTo>
                  <a:pt x="559" y="611"/>
                  <a:pt x="557" y="609"/>
                  <a:pt x="555" y="607"/>
                </a:cubicBezTo>
                <a:cubicBezTo>
                  <a:pt x="555" y="608"/>
                  <a:pt x="555" y="610"/>
                  <a:pt x="554" y="611"/>
                </a:cubicBezTo>
                <a:cubicBezTo>
                  <a:pt x="554" y="612"/>
                  <a:pt x="555" y="613"/>
                  <a:pt x="552" y="614"/>
                </a:cubicBezTo>
                <a:cubicBezTo>
                  <a:pt x="550" y="614"/>
                  <a:pt x="546" y="617"/>
                  <a:pt x="545" y="614"/>
                </a:cubicBezTo>
                <a:cubicBezTo>
                  <a:pt x="543" y="610"/>
                  <a:pt x="541" y="602"/>
                  <a:pt x="536" y="600"/>
                </a:cubicBezTo>
                <a:cubicBezTo>
                  <a:pt x="539" y="606"/>
                  <a:pt x="533" y="604"/>
                  <a:pt x="534" y="599"/>
                </a:cubicBezTo>
                <a:cubicBezTo>
                  <a:pt x="535" y="601"/>
                  <a:pt x="535" y="598"/>
                  <a:pt x="536" y="597"/>
                </a:cubicBezTo>
                <a:cubicBezTo>
                  <a:pt x="537" y="597"/>
                  <a:pt x="537" y="598"/>
                  <a:pt x="537" y="598"/>
                </a:cubicBezTo>
                <a:cubicBezTo>
                  <a:pt x="537" y="598"/>
                  <a:pt x="537" y="598"/>
                  <a:pt x="537" y="598"/>
                </a:cubicBezTo>
                <a:cubicBezTo>
                  <a:pt x="539" y="596"/>
                  <a:pt x="541" y="601"/>
                  <a:pt x="538" y="599"/>
                </a:cubicBezTo>
                <a:cubicBezTo>
                  <a:pt x="538" y="599"/>
                  <a:pt x="538" y="599"/>
                  <a:pt x="538" y="599"/>
                </a:cubicBezTo>
                <a:cubicBezTo>
                  <a:pt x="539" y="600"/>
                  <a:pt x="539" y="600"/>
                  <a:pt x="540" y="601"/>
                </a:cubicBezTo>
                <a:cubicBezTo>
                  <a:pt x="542" y="603"/>
                  <a:pt x="546" y="604"/>
                  <a:pt x="549" y="604"/>
                </a:cubicBezTo>
                <a:cubicBezTo>
                  <a:pt x="550" y="603"/>
                  <a:pt x="550" y="603"/>
                  <a:pt x="551" y="603"/>
                </a:cubicBezTo>
                <a:cubicBezTo>
                  <a:pt x="551" y="603"/>
                  <a:pt x="552" y="603"/>
                  <a:pt x="552" y="603"/>
                </a:cubicBezTo>
                <a:cubicBezTo>
                  <a:pt x="553" y="602"/>
                  <a:pt x="553" y="601"/>
                  <a:pt x="550" y="598"/>
                </a:cubicBezTo>
                <a:cubicBezTo>
                  <a:pt x="557" y="600"/>
                  <a:pt x="550" y="591"/>
                  <a:pt x="548" y="592"/>
                </a:cubicBezTo>
                <a:cubicBezTo>
                  <a:pt x="548" y="592"/>
                  <a:pt x="547" y="594"/>
                  <a:pt x="546" y="594"/>
                </a:cubicBezTo>
                <a:cubicBezTo>
                  <a:pt x="545" y="594"/>
                  <a:pt x="543" y="592"/>
                  <a:pt x="542" y="591"/>
                </a:cubicBezTo>
                <a:cubicBezTo>
                  <a:pt x="541" y="590"/>
                  <a:pt x="536" y="584"/>
                  <a:pt x="540" y="587"/>
                </a:cubicBezTo>
                <a:cubicBezTo>
                  <a:pt x="542" y="588"/>
                  <a:pt x="543" y="589"/>
                  <a:pt x="545" y="589"/>
                </a:cubicBezTo>
                <a:cubicBezTo>
                  <a:pt x="545" y="589"/>
                  <a:pt x="544" y="588"/>
                  <a:pt x="545" y="589"/>
                </a:cubicBezTo>
                <a:cubicBezTo>
                  <a:pt x="545" y="589"/>
                  <a:pt x="545" y="589"/>
                  <a:pt x="545" y="589"/>
                </a:cubicBezTo>
                <a:cubicBezTo>
                  <a:pt x="546" y="590"/>
                  <a:pt x="547" y="590"/>
                  <a:pt x="549" y="591"/>
                </a:cubicBezTo>
                <a:cubicBezTo>
                  <a:pt x="551" y="592"/>
                  <a:pt x="552" y="594"/>
                  <a:pt x="553" y="594"/>
                </a:cubicBezTo>
                <a:cubicBezTo>
                  <a:pt x="553" y="594"/>
                  <a:pt x="553" y="594"/>
                  <a:pt x="554" y="593"/>
                </a:cubicBezTo>
                <a:cubicBezTo>
                  <a:pt x="554" y="593"/>
                  <a:pt x="555" y="593"/>
                  <a:pt x="555" y="593"/>
                </a:cubicBezTo>
                <a:cubicBezTo>
                  <a:pt x="555" y="594"/>
                  <a:pt x="555" y="594"/>
                  <a:pt x="556" y="594"/>
                </a:cubicBezTo>
                <a:cubicBezTo>
                  <a:pt x="556" y="594"/>
                  <a:pt x="556" y="594"/>
                  <a:pt x="556" y="594"/>
                </a:cubicBezTo>
                <a:cubicBezTo>
                  <a:pt x="557" y="591"/>
                  <a:pt x="549" y="589"/>
                  <a:pt x="546" y="588"/>
                </a:cubicBezTo>
                <a:cubicBezTo>
                  <a:pt x="547" y="588"/>
                  <a:pt x="547" y="588"/>
                  <a:pt x="546" y="588"/>
                </a:cubicBezTo>
                <a:cubicBezTo>
                  <a:pt x="546" y="589"/>
                  <a:pt x="545" y="588"/>
                  <a:pt x="546" y="587"/>
                </a:cubicBezTo>
                <a:cubicBezTo>
                  <a:pt x="546" y="587"/>
                  <a:pt x="546" y="587"/>
                  <a:pt x="545" y="587"/>
                </a:cubicBezTo>
                <a:cubicBezTo>
                  <a:pt x="545" y="587"/>
                  <a:pt x="545" y="587"/>
                  <a:pt x="544" y="586"/>
                </a:cubicBezTo>
                <a:cubicBezTo>
                  <a:pt x="544" y="586"/>
                  <a:pt x="544" y="586"/>
                  <a:pt x="544" y="586"/>
                </a:cubicBezTo>
                <a:cubicBezTo>
                  <a:pt x="543" y="586"/>
                  <a:pt x="543" y="586"/>
                  <a:pt x="543" y="586"/>
                </a:cubicBezTo>
                <a:cubicBezTo>
                  <a:pt x="541" y="585"/>
                  <a:pt x="539" y="583"/>
                  <a:pt x="539" y="583"/>
                </a:cubicBezTo>
                <a:cubicBezTo>
                  <a:pt x="538" y="579"/>
                  <a:pt x="551" y="590"/>
                  <a:pt x="548" y="583"/>
                </a:cubicBezTo>
                <a:cubicBezTo>
                  <a:pt x="548" y="582"/>
                  <a:pt x="546" y="576"/>
                  <a:pt x="545" y="576"/>
                </a:cubicBezTo>
                <a:cubicBezTo>
                  <a:pt x="544" y="576"/>
                  <a:pt x="545" y="579"/>
                  <a:pt x="544" y="579"/>
                </a:cubicBezTo>
                <a:cubicBezTo>
                  <a:pt x="543" y="580"/>
                  <a:pt x="540" y="578"/>
                  <a:pt x="540" y="577"/>
                </a:cubicBezTo>
                <a:cubicBezTo>
                  <a:pt x="540" y="575"/>
                  <a:pt x="542" y="576"/>
                  <a:pt x="542" y="575"/>
                </a:cubicBezTo>
                <a:cubicBezTo>
                  <a:pt x="542" y="573"/>
                  <a:pt x="541" y="572"/>
                  <a:pt x="539" y="570"/>
                </a:cubicBezTo>
                <a:cubicBezTo>
                  <a:pt x="539" y="571"/>
                  <a:pt x="539" y="571"/>
                  <a:pt x="539" y="571"/>
                </a:cubicBezTo>
                <a:cubicBezTo>
                  <a:pt x="539" y="571"/>
                  <a:pt x="539" y="570"/>
                  <a:pt x="539" y="570"/>
                </a:cubicBezTo>
                <a:cubicBezTo>
                  <a:pt x="537" y="569"/>
                  <a:pt x="536" y="568"/>
                  <a:pt x="535" y="566"/>
                </a:cubicBezTo>
                <a:cubicBezTo>
                  <a:pt x="533" y="563"/>
                  <a:pt x="530" y="561"/>
                  <a:pt x="530" y="561"/>
                </a:cubicBezTo>
                <a:cubicBezTo>
                  <a:pt x="530" y="560"/>
                  <a:pt x="533" y="559"/>
                  <a:pt x="534" y="558"/>
                </a:cubicBezTo>
                <a:cubicBezTo>
                  <a:pt x="534" y="556"/>
                  <a:pt x="532" y="555"/>
                  <a:pt x="535" y="556"/>
                </a:cubicBezTo>
                <a:cubicBezTo>
                  <a:pt x="537" y="556"/>
                  <a:pt x="535" y="554"/>
                  <a:pt x="537" y="556"/>
                </a:cubicBezTo>
                <a:cubicBezTo>
                  <a:pt x="539" y="556"/>
                  <a:pt x="543" y="561"/>
                  <a:pt x="540" y="563"/>
                </a:cubicBezTo>
                <a:cubicBezTo>
                  <a:pt x="539" y="564"/>
                  <a:pt x="536" y="564"/>
                  <a:pt x="538" y="566"/>
                </a:cubicBezTo>
                <a:cubicBezTo>
                  <a:pt x="539" y="567"/>
                  <a:pt x="541" y="567"/>
                  <a:pt x="542" y="568"/>
                </a:cubicBezTo>
                <a:cubicBezTo>
                  <a:pt x="544" y="570"/>
                  <a:pt x="546" y="575"/>
                  <a:pt x="548" y="577"/>
                </a:cubicBezTo>
                <a:cubicBezTo>
                  <a:pt x="550" y="579"/>
                  <a:pt x="553" y="580"/>
                  <a:pt x="555" y="582"/>
                </a:cubicBezTo>
                <a:cubicBezTo>
                  <a:pt x="556" y="584"/>
                  <a:pt x="557" y="590"/>
                  <a:pt x="559" y="591"/>
                </a:cubicBezTo>
                <a:cubicBezTo>
                  <a:pt x="560" y="591"/>
                  <a:pt x="561" y="591"/>
                  <a:pt x="561" y="590"/>
                </a:cubicBezTo>
                <a:cubicBezTo>
                  <a:pt x="562" y="590"/>
                  <a:pt x="562" y="590"/>
                  <a:pt x="562" y="590"/>
                </a:cubicBezTo>
                <a:cubicBezTo>
                  <a:pt x="562" y="590"/>
                  <a:pt x="562" y="590"/>
                  <a:pt x="562" y="590"/>
                </a:cubicBezTo>
                <a:cubicBezTo>
                  <a:pt x="565" y="589"/>
                  <a:pt x="567" y="585"/>
                  <a:pt x="567" y="582"/>
                </a:cubicBezTo>
                <a:cubicBezTo>
                  <a:pt x="567" y="582"/>
                  <a:pt x="567" y="582"/>
                  <a:pt x="567" y="582"/>
                </a:cubicBezTo>
                <a:cubicBezTo>
                  <a:pt x="566" y="582"/>
                  <a:pt x="565" y="581"/>
                  <a:pt x="565" y="581"/>
                </a:cubicBezTo>
                <a:cubicBezTo>
                  <a:pt x="561" y="578"/>
                  <a:pt x="560" y="569"/>
                  <a:pt x="565" y="567"/>
                </a:cubicBezTo>
                <a:cubicBezTo>
                  <a:pt x="565" y="567"/>
                  <a:pt x="565" y="567"/>
                  <a:pt x="565" y="567"/>
                </a:cubicBezTo>
                <a:cubicBezTo>
                  <a:pt x="565" y="566"/>
                  <a:pt x="565" y="566"/>
                  <a:pt x="565" y="566"/>
                </a:cubicBezTo>
                <a:cubicBezTo>
                  <a:pt x="564" y="565"/>
                  <a:pt x="565" y="566"/>
                  <a:pt x="565" y="567"/>
                </a:cubicBezTo>
                <a:cubicBezTo>
                  <a:pt x="566" y="566"/>
                  <a:pt x="566" y="566"/>
                  <a:pt x="566" y="566"/>
                </a:cubicBezTo>
                <a:cubicBezTo>
                  <a:pt x="566" y="565"/>
                  <a:pt x="566" y="564"/>
                  <a:pt x="565" y="564"/>
                </a:cubicBezTo>
                <a:cubicBezTo>
                  <a:pt x="567" y="563"/>
                  <a:pt x="565" y="561"/>
                  <a:pt x="565" y="559"/>
                </a:cubicBezTo>
                <a:cubicBezTo>
                  <a:pt x="565" y="558"/>
                  <a:pt x="568" y="557"/>
                  <a:pt x="566" y="556"/>
                </a:cubicBezTo>
                <a:cubicBezTo>
                  <a:pt x="570" y="558"/>
                  <a:pt x="566" y="547"/>
                  <a:pt x="564" y="546"/>
                </a:cubicBezTo>
                <a:cubicBezTo>
                  <a:pt x="565" y="547"/>
                  <a:pt x="561" y="552"/>
                  <a:pt x="562" y="552"/>
                </a:cubicBezTo>
                <a:cubicBezTo>
                  <a:pt x="562" y="552"/>
                  <a:pt x="562" y="552"/>
                  <a:pt x="562" y="552"/>
                </a:cubicBezTo>
                <a:cubicBezTo>
                  <a:pt x="562" y="552"/>
                  <a:pt x="562" y="552"/>
                  <a:pt x="562" y="553"/>
                </a:cubicBezTo>
                <a:cubicBezTo>
                  <a:pt x="562" y="553"/>
                  <a:pt x="563" y="554"/>
                  <a:pt x="562" y="554"/>
                </a:cubicBezTo>
                <a:cubicBezTo>
                  <a:pt x="560" y="555"/>
                  <a:pt x="561" y="553"/>
                  <a:pt x="560" y="552"/>
                </a:cubicBezTo>
                <a:cubicBezTo>
                  <a:pt x="560" y="552"/>
                  <a:pt x="560" y="552"/>
                  <a:pt x="559" y="552"/>
                </a:cubicBezTo>
                <a:cubicBezTo>
                  <a:pt x="559" y="553"/>
                  <a:pt x="558" y="553"/>
                  <a:pt x="557" y="552"/>
                </a:cubicBezTo>
                <a:cubicBezTo>
                  <a:pt x="557" y="552"/>
                  <a:pt x="557" y="552"/>
                  <a:pt x="557" y="552"/>
                </a:cubicBezTo>
                <a:cubicBezTo>
                  <a:pt x="556" y="552"/>
                  <a:pt x="555" y="552"/>
                  <a:pt x="555" y="552"/>
                </a:cubicBezTo>
                <a:cubicBezTo>
                  <a:pt x="555" y="552"/>
                  <a:pt x="553" y="548"/>
                  <a:pt x="553" y="547"/>
                </a:cubicBezTo>
                <a:cubicBezTo>
                  <a:pt x="552" y="547"/>
                  <a:pt x="548" y="543"/>
                  <a:pt x="549" y="542"/>
                </a:cubicBezTo>
                <a:cubicBezTo>
                  <a:pt x="551" y="540"/>
                  <a:pt x="551" y="543"/>
                  <a:pt x="552" y="543"/>
                </a:cubicBezTo>
                <a:cubicBezTo>
                  <a:pt x="553" y="543"/>
                  <a:pt x="553" y="540"/>
                  <a:pt x="554" y="540"/>
                </a:cubicBezTo>
                <a:cubicBezTo>
                  <a:pt x="554" y="539"/>
                  <a:pt x="556" y="541"/>
                  <a:pt x="557" y="540"/>
                </a:cubicBezTo>
                <a:cubicBezTo>
                  <a:pt x="556" y="540"/>
                  <a:pt x="556" y="537"/>
                  <a:pt x="558" y="537"/>
                </a:cubicBezTo>
                <a:cubicBezTo>
                  <a:pt x="560" y="537"/>
                  <a:pt x="558" y="539"/>
                  <a:pt x="559" y="540"/>
                </a:cubicBezTo>
                <a:cubicBezTo>
                  <a:pt x="559" y="541"/>
                  <a:pt x="561" y="540"/>
                  <a:pt x="561" y="540"/>
                </a:cubicBezTo>
                <a:cubicBezTo>
                  <a:pt x="562" y="540"/>
                  <a:pt x="561" y="542"/>
                  <a:pt x="563" y="543"/>
                </a:cubicBezTo>
                <a:cubicBezTo>
                  <a:pt x="563" y="543"/>
                  <a:pt x="565" y="543"/>
                  <a:pt x="565" y="543"/>
                </a:cubicBezTo>
                <a:cubicBezTo>
                  <a:pt x="567" y="546"/>
                  <a:pt x="567" y="553"/>
                  <a:pt x="572" y="553"/>
                </a:cubicBezTo>
                <a:cubicBezTo>
                  <a:pt x="573" y="554"/>
                  <a:pt x="573" y="552"/>
                  <a:pt x="573" y="551"/>
                </a:cubicBezTo>
                <a:cubicBezTo>
                  <a:pt x="575" y="553"/>
                  <a:pt x="582" y="559"/>
                  <a:pt x="581" y="564"/>
                </a:cubicBezTo>
                <a:cubicBezTo>
                  <a:pt x="581" y="564"/>
                  <a:pt x="579" y="567"/>
                  <a:pt x="579" y="567"/>
                </a:cubicBezTo>
                <a:cubicBezTo>
                  <a:pt x="578" y="568"/>
                  <a:pt x="577" y="568"/>
                  <a:pt x="576" y="568"/>
                </a:cubicBezTo>
                <a:cubicBezTo>
                  <a:pt x="576" y="569"/>
                  <a:pt x="575" y="569"/>
                  <a:pt x="575" y="569"/>
                </a:cubicBezTo>
                <a:cubicBezTo>
                  <a:pt x="575" y="569"/>
                  <a:pt x="575" y="569"/>
                  <a:pt x="575" y="569"/>
                </a:cubicBezTo>
                <a:cubicBezTo>
                  <a:pt x="574" y="569"/>
                  <a:pt x="574" y="569"/>
                  <a:pt x="573" y="569"/>
                </a:cubicBezTo>
                <a:cubicBezTo>
                  <a:pt x="574" y="571"/>
                  <a:pt x="575" y="573"/>
                  <a:pt x="575" y="574"/>
                </a:cubicBezTo>
                <a:cubicBezTo>
                  <a:pt x="577" y="574"/>
                  <a:pt x="576" y="572"/>
                  <a:pt x="576" y="571"/>
                </a:cubicBezTo>
                <a:cubicBezTo>
                  <a:pt x="577" y="572"/>
                  <a:pt x="577" y="572"/>
                  <a:pt x="577" y="572"/>
                </a:cubicBezTo>
                <a:cubicBezTo>
                  <a:pt x="578" y="571"/>
                  <a:pt x="578" y="570"/>
                  <a:pt x="579" y="570"/>
                </a:cubicBezTo>
                <a:cubicBezTo>
                  <a:pt x="580" y="570"/>
                  <a:pt x="579" y="572"/>
                  <a:pt x="580" y="572"/>
                </a:cubicBezTo>
                <a:cubicBezTo>
                  <a:pt x="581" y="573"/>
                  <a:pt x="580" y="571"/>
                  <a:pt x="582" y="573"/>
                </a:cubicBezTo>
                <a:cubicBezTo>
                  <a:pt x="583" y="575"/>
                  <a:pt x="581" y="577"/>
                  <a:pt x="582" y="579"/>
                </a:cubicBezTo>
                <a:cubicBezTo>
                  <a:pt x="582" y="579"/>
                  <a:pt x="582" y="579"/>
                  <a:pt x="582" y="579"/>
                </a:cubicBezTo>
                <a:cubicBezTo>
                  <a:pt x="583" y="579"/>
                  <a:pt x="584" y="578"/>
                  <a:pt x="584" y="578"/>
                </a:cubicBezTo>
                <a:cubicBezTo>
                  <a:pt x="584" y="578"/>
                  <a:pt x="585" y="580"/>
                  <a:pt x="587" y="580"/>
                </a:cubicBezTo>
                <a:cubicBezTo>
                  <a:pt x="588" y="580"/>
                  <a:pt x="587" y="579"/>
                  <a:pt x="587" y="579"/>
                </a:cubicBezTo>
                <a:cubicBezTo>
                  <a:pt x="588" y="579"/>
                  <a:pt x="592" y="580"/>
                  <a:pt x="592" y="579"/>
                </a:cubicBezTo>
                <a:cubicBezTo>
                  <a:pt x="593" y="581"/>
                  <a:pt x="591" y="582"/>
                  <a:pt x="591" y="584"/>
                </a:cubicBezTo>
                <a:cubicBezTo>
                  <a:pt x="591" y="584"/>
                  <a:pt x="592" y="588"/>
                  <a:pt x="592" y="588"/>
                </a:cubicBezTo>
                <a:cubicBezTo>
                  <a:pt x="592" y="588"/>
                  <a:pt x="594" y="587"/>
                  <a:pt x="595" y="588"/>
                </a:cubicBezTo>
                <a:cubicBezTo>
                  <a:pt x="596" y="589"/>
                  <a:pt x="596" y="591"/>
                  <a:pt x="598" y="592"/>
                </a:cubicBezTo>
                <a:cubicBezTo>
                  <a:pt x="599" y="592"/>
                  <a:pt x="601" y="596"/>
                  <a:pt x="601" y="598"/>
                </a:cubicBezTo>
                <a:cubicBezTo>
                  <a:pt x="599" y="602"/>
                  <a:pt x="593" y="597"/>
                  <a:pt x="592" y="604"/>
                </a:cubicBezTo>
                <a:cubicBezTo>
                  <a:pt x="587" y="602"/>
                  <a:pt x="595" y="611"/>
                  <a:pt x="594" y="612"/>
                </a:cubicBezTo>
                <a:cubicBezTo>
                  <a:pt x="594" y="612"/>
                  <a:pt x="594" y="612"/>
                  <a:pt x="594" y="612"/>
                </a:cubicBezTo>
                <a:cubicBezTo>
                  <a:pt x="595" y="612"/>
                  <a:pt x="595" y="613"/>
                  <a:pt x="594" y="613"/>
                </a:cubicBezTo>
                <a:cubicBezTo>
                  <a:pt x="594" y="613"/>
                  <a:pt x="594" y="613"/>
                  <a:pt x="594" y="613"/>
                </a:cubicBezTo>
                <a:cubicBezTo>
                  <a:pt x="592" y="613"/>
                  <a:pt x="593" y="612"/>
                  <a:pt x="594" y="612"/>
                </a:cubicBezTo>
                <a:cubicBezTo>
                  <a:pt x="592" y="612"/>
                  <a:pt x="589" y="606"/>
                  <a:pt x="589" y="611"/>
                </a:cubicBezTo>
                <a:cubicBezTo>
                  <a:pt x="589" y="613"/>
                  <a:pt x="592" y="612"/>
                  <a:pt x="593" y="613"/>
                </a:cubicBezTo>
                <a:cubicBezTo>
                  <a:pt x="593" y="615"/>
                  <a:pt x="591" y="617"/>
                  <a:pt x="591" y="619"/>
                </a:cubicBezTo>
                <a:cubicBezTo>
                  <a:pt x="591" y="619"/>
                  <a:pt x="593" y="622"/>
                  <a:pt x="594" y="622"/>
                </a:cubicBezTo>
                <a:cubicBezTo>
                  <a:pt x="596" y="622"/>
                  <a:pt x="596" y="620"/>
                  <a:pt x="598" y="622"/>
                </a:cubicBezTo>
                <a:cubicBezTo>
                  <a:pt x="599" y="622"/>
                  <a:pt x="597" y="621"/>
                  <a:pt x="598" y="621"/>
                </a:cubicBezTo>
                <a:cubicBezTo>
                  <a:pt x="598" y="623"/>
                  <a:pt x="600" y="622"/>
                  <a:pt x="599" y="620"/>
                </a:cubicBezTo>
                <a:cubicBezTo>
                  <a:pt x="601" y="623"/>
                  <a:pt x="600" y="626"/>
                  <a:pt x="603" y="625"/>
                </a:cubicBezTo>
                <a:cubicBezTo>
                  <a:pt x="603" y="625"/>
                  <a:pt x="608" y="621"/>
                  <a:pt x="608" y="621"/>
                </a:cubicBezTo>
                <a:cubicBezTo>
                  <a:pt x="608" y="617"/>
                  <a:pt x="604" y="622"/>
                  <a:pt x="601" y="620"/>
                </a:cubicBezTo>
                <a:cubicBezTo>
                  <a:pt x="599" y="618"/>
                  <a:pt x="606" y="619"/>
                  <a:pt x="607" y="618"/>
                </a:cubicBezTo>
                <a:cubicBezTo>
                  <a:pt x="608" y="617"/>
                  <a:pt x="606" y="617"/>
                  <a:pt x="607" y="616"/>
                </a:cubicBezTo>
                <a:cubicBezTo>
                  <a:pt x="607" y="615"/>
                  <a:pt x="610" y="614"/>
                  <a:pt x="609" y="613"/>
                </a:cubicBezTo>
                <a:cubicBezTo>
                  <a:pt x="608" y="613"/>
                  <a:pt x="607" y="616"/>
                  <a:pt x="606" y="614"/>
                </a:cubicBezTo>
                <a:cubicBezTo>
                  <a:pt x="605" y="613"/>
                  <a:pt x="608" y="611"/>
                  <a:pt x="608" y="612"/>
                </a:cubicBezTo>
                <a:cubicBezTo>
                  <a:pt x="609" y="610"/>
                  <a:pt x="609" y="610"/>
                  <a:pt x="610" y="609"/>
                </a:cubicBezTo>
                <a:cubicBezTo>
                  <a:pt x="610" y="609"/>
                  <a:pt x="609" y="608"/>
                  <a:pt x="609" y="608"/>
                </a:cubicBezTo>
                <a:cubicBezTo>
                  <a:pt x="610" y="608"/>
                  <a:pt x="611" y="609"/>
                  <a:pt x="611" y="609"/>
                </a:cubicBezTo>
                <a:cubicBezTo>
                  <a:pt x="613" y="610"/>
                  <a:pt x="615" y="611"/>
                  <a:pt x="616" y="612"/>
                </a:cubicBezTo>
                <a:cubicBezTo>
                  <a:pt x="616" y="612"/>
                  <a:pt x="616" y="612"/>
                  <a:pt x="616" y="612"/>
                </a:cubicBezTo>
                <a:cubicBezTo>
                  <a:pt x="617" y="611"/>
                  <a:pt x="616" y="611"/>
                  <a:pt x="616" y="610"/>
                </a:cubicBezTo>
                <a:cubicBezTo>
                  <a:pt x="616" y="610"/>
                  <a:pt x="617" y="609"/>
                  <a:pt x="617" y="609"/>
                </a:cubicBezTo>
                <a:cubicBezTo>
                  <a:pt x="615" y="608"/>
                  <a:pt x="613" y="606"/>
                  <a:pt x="613" y="605"/>
                </a:cubicBezTo>
                <a:cubicBezTo>
                  <a:pt x="613" y="603"/>
                  <a:pt x="616" y="603"/>
                  <a:pt x="614" y="601"/>
                </a:cubicBezTo>
                <a:cubicBezTo>
                  <a:pt x="613" y="601"/>
                  <a:pt x="610" y="602"/>
                  <a:pt x="610" y="602"/>
                </a:cubicBezTo>
                <a:cubicBezTo>
                  <a:pt x="610" y="602"/>
                  <a:pt x="608" y="602"/>
                  <a:pt x="608" y="602"/>
                </a:cubicBezTo>
                <a:cubicBezTo>
                  <a:pt x="607" y="603"/>
                  <a:pt x="608" y="605"/>
                  <a:pt x="608" y="606"/>
                </a:cubicBezTo>
                <a:cubicBezTo>
                  <a:pt x="606" y="607"/>
                  <a:pt x="605" y="604"/>
                  <a:pt x="604" y="603"/>
                </a:cubicBezTo>
                <a:cubicBezTo>
                  <a:pt x="608" y="604"/>
                  <a:pt x="605" y="600"/>
                  <a:pt x="605" y="598"/>
                </a:cubicBezTo>
                <a:cubicBezTo>
                  <a:pt x="604" y="597"/>
                  <a:pt x="605" y="595"/>
                  <a:pt x="605" y="594"/>
                </a:cubicBezTo>
                <a:cubicBezTo>
                  <a:pt x="604" y="593"/>
                  <a:pt x="602" y="594"/>
                  <a:pt x="602" y="592"/>
                </a:cubicBezTo>
                <a:cubicBezTo>
                  <a:pt x="603" y="591"/>
                  <a:pt x="604" y="592"/>
                  <a:pt x="604" y="592"/>
                </a:cubicBezTo>
                <a:cubicBezTo>
                  <a:pt x="605" y="592"/>
                  <a:pt x="603" y="589"/>
                  <a:pt x="605" y="588"/>
                </a:cubicBezTo>
                <a:cubicBezTo>
                  <a:pt x="605" y="588"/>
                  <a:pt x="607" y="589"/>
                  <a:pt x="608" y="590"/>
                </a:cubicBezTo>
                <a:cubicBezTo>
                  <a:pt x="609" y="590"/>
                  <a:pt x="610" y="590"/>
                  <a:pt x="611" y="591"/>
                </a:cubicBezTo>
                <a:cubicBezTo>
                  <a:pt x="611" y="588"/>
                  <a:pt x="613" y="584"/>
                  <a:pt x="614" y="584"/>
                </a:cubicBezTo>
                <a:cubicBezTo>
                  <a:pt x="615" y="582"/>
                  <a:pt x="617" y="585"/>
                  <a:pt x="617" y="582"/>
                </a:cubicBezTo>
                <a:cubicBezTo>
                  <a:pt x="618" y="585"/>
                  <a:pt x="621" y="582"/>
                  <a:pt x="622" y="582"/>
                </a:cubicBezTo>
                <a:cubicBezTo>
                  <a:pt x="623" y="582"/>
                  <a:pt x="622" y="584"/>
                  <a:pt x="623" y="584"/>
                </a:cubicBezTo>
                <a:cubicBezTo>
                  <a:pt x="623" y="585"/>
                  <a:pt x="624" y="584"/>
                  <a:pt x="625" y="585"/>
                </a:cubicBezTo>
                <a:cubicBezTo>
                  <a:pt x="625" y="585"/>
                  <a:pt x="625" y="585"/>
                  <a:pt x="625" y="585"/>
                </a:cubicBezTo>
                <a:cubicBezTo>
                  <a:pt x="626" y="585"/>
                  <a:pt x="628" y="585"/>
                  <a:pt x="629" y="585"/>
                </a:cubicBezTo>
                <a:cubicBezTo>
                  <a:pt x="629" y="585"/>
                  <a:pt x="629" y="584"/>
                  <a:pt x="630" y="584"/>
                </a:cubicBezTo>
                <a:cubicBezTo>
                  <a:pt x="629" y="584"/>
                  <a:pt x="628" y="584"/>
                  <a:pt x="628" y="584"/>
                </a:cubicBezTo>
                <a:cubicBezTo>
                  <a:pt x="627" y="583"/>
                  <a:pt x="626" y="583"/>
                  <a:pt x="626" y="582"/>
                </a:cubicBezTo>
                <a:cubicBezTo>
                  <a:pt x="626" y="581"/>
                  <a:pt x="625" y="581"/>
                  <a:pt x="625" y="580"/>
                </a:cubicBezTo>
                <a:cubicBezTo>
                  <a:pt x="625" y="580"/>
                  <a:pt x="625" y="580"/>
                  <a:pt x="624" y="580"/>
                </a:cubicBezTo>
                <a:cubicBezTo>
                  <a:pt x="624" y="580"/>
                  <a:pt x="624" y="579"/>
                  <a:pt x="624" y="579"/>
                </a:cubicBezTo>
                <a:cubicBezTo>
                  <a:pt x="624" y="577"/>
                  <a:pt x="624" y="575"/>
                  <a:pt x="622" y="574"/>
                </a:cubicBezTo>
                <a:cubicBezTo>
                  <a:pt x="624" y="576"/>
                  <a:pt x="625" y="573"/>
                  <a:pt x="625" y="573"/>
                </a:cubicBezTo>
                <a:cubicBezTo>
                  <a:pt x="625" y="573"/>
                  <a:pt x="625" y="573"/>
                  <a:pt x="625" y="572"/>
                </a:cubicBezTo>
                <a:cubicBezTo>
                  <a:pt x="625" y="572"/>
                  <a:pt x="625" y="572"/>
                  <a:pt x="625" y="572"/>
                </a:cubicBezTo>
                <a:cubicBezTo>
                  <a:pt x="625" y="572"/>
                  <a:pt x="625" y="573"/>
                  <a:pt x="625" y="573"/>
                </a:cubicBezTo>
                <a:cubicBezTo>
                  <a:pt x="623" y="574"/>
                  <a:pt x="619" y="571"/>
                  <a:pt x="619" y="570"/>
                </a:cubicBezTo>
                <a:cubicBezTo>
                  <a:pt x="619" y="569"/>
                  <a:pt x="619" y="570"/>
                  <a:pt x="620" y="569"/>
                </a:cubicBezTo>
                <a:cubicBezTo>
                  <a:pt x="620" y="567"/>
                  <a:pt x="618" y="565"/>
                  <a:pt x="620" y="562"/>
                </a:cubicBezTo>
                <a:cubicBezTo>
                  <a:pt x="621" y="563"/>
                  <a:pt x="620" y="565"/>
                  <a:pt x="621" y="566"/>
                </a:cubicBezTo>
                <a:cubicBezTo>
                  <a:pt x="621" y="567"/>
                  <a:pt x="622" y="565"/>
                  <a:pt x="622" y="565"/>
                </a:cubicBezTo>
                <a:cubicBezTo>
                  <a:pt x="624" y="565"/>
                  <a:pt x="627" y="568"/>
                  <a:pt x="626" y="571"/>
                </a:cubicBezTo>
                <a:cubicBezTo>
                  <a:pt x="627" y="572"/>
                  <a:pt x="628" y="572"/>
                  <a:pt x="628" y="573"/>
                </a:cubicBezTo>
                <a:cubicBezTo>
                  <a:pt x="629" y="573"/>
                  <a:pt x="629" y="572"/>
                  <a:pt x="629" y="572"/>
                </a:cubicBezTo>
                <a:cubicBezTo>
                  <a:pt x="628" y="570"/>
                  <a:pt x="628" y="568"/>
                  <a:pt x="627" y="566"/>
                </a:cubicBezTo>
                <a:cubicBezTo>
                  <a:pt x="626" y="565"/>
                  <a:pt x="625" y="565"/>
                  <a:pt x="624" y="565"/>
                </a:cubicBezTo>
                <a:cubicBezTo>
                  <a:pt x="624" y="564"/>
                  <a:pt x="624" y="563"/>
                  <a:pt x="623" y="563"/>
                </a:cubicBezTo>
                <a:cubicBezTo>
                  <a:pt x="622" y="562"/>
                  <a:pt x="622" y="564"/>
                  <a:pt x="621" y="563"/>
                </a:cubicBezTo>
                <a:cubicBezTo>
                  <a:pt x="620" y="562"/>
                  <a:pt x="621" y="561"/>
                  <a:pt x="621" y="561"/>
                </a:cubicBezTo>
                <a:cubicBezTo>
                  <a:pt x="622" y="560"/>
                  <a:pt x="624" y="562"/>
                  <a:pt x="625" y="562"/>
                </a:cubicBezTo>
                <a:cubicBezTo>
                  <a:pt x="626" y="561"/>
                  <a:pt x="626" y="560"/>
                  <a:pt x="627" y="559"/>
                </a:cubicBezTo>
                <a:cubicBezTo>
                  <a:pt x="628" y="558"/>
                  <a:pt x="630" y="559"/>
                  <a:pt x="629" y="555"/>
                </a:cubicBezTo>
                <a:cubicBezTo>
                  <a:pt x="631" y="560"/>
                  <a:pt x="631" y="555"/>
                  <a:pt x="632" y="554"/>
                </a:cubicBezTo>
                <a:cubicBezTo>
                  <a:pt x="632" y="555"/>
                  <a:pt x="638" y="557"/>
                  <a:pt x="639" y="557"/>
                </a:cubicBezTo>
                <a:cubicBezTo>
                  <a:pt x="640" y="557"/>
                  <a:pt x="641" y="560"/>
                  <a:pt x="643" y="561"/>
                </a:cubicBezTo>
                <a:cubicBezTo>
                  <a:pt x="643" y="560"/>
                  <a:pt x="643" y="560"/>
                  <a:pt x="642" y="560"/>
                </a:cubicBezTo>
                <a:cubicBezTo>
                  <a:pt x="643" y="560"/>
                  <a:pt x="644" y="560"/>
                  <a:pt x="644" y="561"/>
                </a:cubicBezTo>
                <a:cubicBezTo>
                  <a:pt x="644" y="561"/>
                  <a:pt x="644" y="561"/>
                  <a:pt x="645" y="561"/>
                </a:cubicBezTo>
                <a:cubicBezTo>
                  <a:pt x="644" y="561"/>
                  <a:pt x="644" y="561"/>
                  <a:pt x="644" y="560"/>
                </a:cubicBezTo>
                <a:cubicBezTo>
                  <a:pt x="644" y="560"/>
                  <a:pt x="644" y="560"/>
                  <a:pt x="644" y="559"/>
                </a:cubicBezTo>
                <a:cubicBezTo>
                  <a:pt x="644" y="559"/>
                  <a:pt x="644" y="559"/>
                  <a:pt x="644" y="559"/>
                </a:cubicBezTo>
                <a:cubicBezTo>
                  <a:pt x="644" y="559"/>
                  <a:pt x="644" y="559"/>
                  <a:pt x="644" y="559"/>
                </a:cubicBezTo>
                <a:cubicBezTo>
                  <a:pt x="644" y="557"/>
                  <a:pt x="646" y="551"/>
                  <a:pt x="647" y="548"/>
                </a:cubicBezTo>
                <a:cubicBezTo>
                  <a:pt x="646" y="547"/>
                  <a:pt x="646" y="547"/>
                  <a:pt x="646" y="546"/>
                </a:cubicBezTo>
                <a:cubicBezTo>
                  <a:pt x="646" y="545"/>
                  <a:pt x="647" y="546"/>
                  <a:pt x="648" y="546"/>
                </a:cubicBezTo>
                <a:cubicBezTo>
                  <a:pt x="648" y="546"/>
                  <a:pt x="649" y="545"/>
                  <a:pt x="649" y="546"/>
                </a:cubicBezTo>
                <a:cubicBezTo>
                  <a:pt x="650" y="546"/>
                  <a:pt x="650" y="547"/>
                  <a:pt x="650" y="549"/>
                </a:cubicBezTo>
                <a:cubicBezTo>
                  <a:pt x="650" y="548"/>
                  <a:pt x="651" y="548"/>
                  <a:pt x="651" y="548"/>
                </a:cubicBezTo>
                <a:cubicBezTo>
                  <a:pt x="652" y="548"/>
                  <a:pt x="653" y="550"/>
                  <a:pt x="653" y="551"/>
                </a:cubicBezTo>
                <a:cubicBezTo>
                  <a:pt x="654" y="551"/>
                  <a:pt x="655" y="551"/>
                  <a:pt x="655" y="552"/>
                </a:cubicBezTo>
                <a:cubicBezTo>
                  <a:pt x="656" y="553"/>
                  <a:pt x="655" y="554"/>
                  <a:pt x="655" y="555"/>
                </a:cubicBezTo>
                <a:cubicBezTo>
                  <a:pt x="655" y="555"/>
                  <a:pt x="656" y="554"/>
                  <a:pt x="656" y="552"/>
                </a:cubicBezTo>
                <a:cubicBezTo>
                  <a:pt x="656" y="551"/>
                  <a:pt x="654" y="549"/>
                  <a:pt x="654" y="548"/>
                </a:cubicBezTo>
                <a:cubicBezTo>
                  <a:pt x="654" y="548"/>
                  <a:pt x="653" y="548"/>
                  <a:pt x="653" y="548"/>
                </a:cubicBezTo>
                <a:cubicBezTo>
                  <a:pt x="654" y="544"/>
                  <a:pt x="661" y="548"/>
                  <a:pt x="659" y="550"/>
                </a:cubicBezTo>
                <a:cubicBezTo>
                  <a:pt x="659" y="550"/>
                  <a:pt x="657" y="550"/>
                  <a:pt x="657" y="550"/>
                </a:cubicBezTo>
                <a:cubicBezTo>
                  <a:pt x="657" y="551"/>
                  <a:pt x="659" y="555"/>
                  <a:pt x="659" y="557"/>
                </a:cubicBezTo>
                <a:cubicBezTo>
                  <a:pt x="659" y="558"/>
                  <a:pt x="659" y="559"/>
                  <a:pt x="659" y="559"/>
                </a:cubicBezTo>
                <a:cubicBezTo>
                  <a:pt x="660" y="560"/>
                  <a:pt x="662" y="559"/>
                  <a:pt x="663" y="560"/>
                </a:cubicBezTo>
                <a:cubicBezTo>
                  <a:pt x="663" y="560"/>
                  <a:pt x="663" y="561"/>
                  <a:pt x="663" y="561"/>
                </a:cubicBezTo>
                <a:cubicBezTo>
                  <a:pt x="664" y="562"/>
                  <a:pt x="666" y="564"/>
                  <a:pt x="666" y="564"/>
                </a:cubicBezTo>
                <a:cubicBezTo>
                  <a:pt x="667" y="564"/>
                  <a:pt x="667" y="562"/>
                  <a:pt x="666" y="562"/>
                </a:cubicBezTo>
                <a:cubicBezTo>
                  <a:pt x="666" y="562"/>
                  <a:pt x="669" y="561"/>
                  <a:pt x="669" y="563"/>
                </a:cubicBezTo>
                <a:cubicBezTo>
                  <a:pt x="669" y="563"/>
                  <a:pt x="669" y="563"/>
                  <a:pt x="669" y="564"/>
                </a:cubicBezTo>
                <a:cubicBezTo>
                  <a:pt x="670" y="563"/>
                  <a:pt x="670" y="563"/>
                  <a:pt x="671" y="563"/>
                </a:cubicBezTo>
                <a:cubicBezTo>
                  <a:pt x="670" y="562"/>
                  <a:pt x="669" y="562"/>
                  <a:pt x="669" y="561"/>
                </a:cubicBezTo>
                <a:cubicBezTo>
                  <a:pt x="669" y="561"/>
                  <a:pt x="669" y="562"/>
                  <a:pt x="668" y="562"/>
                </a:cubicBezTo>
                <a:cubicBezTo>
                  <a:pt x="668" y="562"/>
                  <a:pt x="667" y="562"/>
                  <a:pt x="667" y="561"/>
                </a:cubicBezTo>
                <a:cubicBezTo>
                  <a:pt x="667" y="561"/>
                  <a:pt x="666" y="560"/>
                  <a:pt x="667" y="559"/>
                </a:cubicBezTo>
                <a:cubicBezTo>
                  <a:pt x="668" y="559"/>
                  <a:pt x="668" y="560"/>
                  <a:pt x="668" y="560"/>
                </a:cubicBezTo>
                <a:cubicBezTo>
                  <a:pt x="668" y="560"/>
                  <a:pt x="668" y="560"/>
                  <a:pt x="668" y="560"/>
                </a:cubicBezTo>
                <a:cubicBezTo>
                  <a:pt x="668" y="560"/>
                  <a:pt x="668" y="560"/>
                  <a:pt x="668" y="560"/>
                </a:cubicBezTo>
                <a:cubicBezTo>
                  <a:pt x="668" y="560"/>
                  <a:pt x="669" y="560"/>
                  <a:pt x="669" y="560"/>
                </a:cubicBezTo>
                <a:cubicBezTo>
                  <a:pt x="668" y="559"/>
                  <a:pt x="669" y="558"/>
                  <a:pt x="671" y="557"/>
                </a:cubicBezTo>
                <a:cubicBezTo>
                  <a:pt x="672" y="557"/>
                  <a:pt x="673" y="558"/>
                  <a:pt x="674" y="559"/>
                </a:cubicBezTo>
                <a:cubicBezTo>
                  <a:pt x="673" y="559"/>
                  <a:pt x="673" y="559"/>
                  <a:pt x="674" y="559"/>
                </a:cubicBezTo>
                <a:cubicBezTo>
                  <a:pt x="674" y="557"/>
                  <a:pt x="674" y="559"/>
                  <a:pt x="675" y="559"/>
                </a:cubicBezTo>
                <a:cubicBezTo>
                  <a:pt x="675" y="558"/>
                  <a:pt x="675" y="558"/>
                  <a:pt x="675" y="557"/>
                </a:cubicBezTo>
                <a:cubicBezTo>
                  <a:pt x="675" y="557"/>
                  <a:pt x="675" y="557"/>
                  <a:pt x="675" y="557"/>
                </a:cubicBezTo>
                <a:cubicBezTo>
                  <a:pt x="675" y="557"/>
                  <a:pt x="675" y="556"/>
                  <a:pt x="675" y="556"/>
                </a:cubicBezTo>
                <a:cubicBezTo>
                  <a:pt x="677" y="554"/>
                  <a:pt x="678" y="556"/>
                  <a:pt x="679" y="557"/>
                </a:cubicBezTo>
                <a:cubicBezTo>
                  <a:pt x="679" y="553"/>
                  <a:pt x="679" y="553"/>
                  <a:pt x="679" y="553"/>
                </a:cubicBezTo>
                <a:cubicBezTo>
                  <a:pt x="679" y="553"/>
                  <a:pt x="678" y="553"/>
                  <a:pt x="677" y="552"/>
                </a:cubicBezTo>
                <a:cubicBezTo>
                  <a:pt x="673" y="549"/>
                  <a:pt x="676" y="544"/>
                  <a:pt x="679" y="544"/>
                </a:cubicBezTo>
                <a:cubicBezTo>
                  <a:pt x="679" y="543"/>
                  <a:pt x="679" y="543"/>
                  <a:pt x="679" y="543"/>
                </a:cubicBezTo>
                <a:cubicBezTo>
                  <a:pt x="679" y="543"/>
                  <a:pt x="679" y="542"/>
                  <a:pt x="679" y="542"/>
                </a:cubicBezTo>
                <a:cubicBezTo>
                  <a:pt x="679" y="542"/>
                  <a:pt x="679" y="543"/>
                  <a:pt x="679" y="543"/>
                </a:cubicBezTo>
                <a:cubicBezTo>
                  <a:pt x="679" y="511"/>
                  <a:pt x="679" y="511"/>
                  <a:pt x="679" y="511"/>
                </a:cubicBezTo>
                <a:cubicBezTo>
                  <a:pt x="678" y="509"/>
                  <a:pt x="677" y="507"/>
                  <a:pt x="677" y="506"/>
                </a:cubicBezTo>
                <a:cubicBezTo>
                  <a:pt x="678" y="507"/>
                  <a:pt x="679" y="508"/>
                  <a:pt x="679" y="509"/>
                </a:cubicBezTo>
                <a:cubicBezTo>
                  <a:pt x="679" y="508"/>
                  <a:pt x="679" y="508"/>
                  <a:pt x="679" y="508"/>
                </a:cubicBezTo>
                <a:cubicBezTo>
                  <a:pt x="679" y="507"/>
                  <a:pt x="678" y="507"/>
                  <a:pt x="679" y="507"/>
                </a:cubicBezTo>
                <a:cubicBezTo>
                  <a:pt x="679" y="423"/>
                  <a:pt x="679" y="423"/>
                  <a:pt x="679" y="423"/>
                </a:cubicBezTo>
                <a:cubicBezTo>
                  <a:pt x="679" y="423"/>
                  <a:pt x="679" y="422"/>
                  <a:pt x="679" y="422"/>
                </a:cubicBezTo>
                <a:cubicBezTo>
                  <a:pt x="679" y="422"/>
                  <a:pt x="679" y="422"/>
                  <a:pt x="679" y="422"/>
                </a:cubicBezTo>
                <a:cubicBezTo>
                  <a:pt x="679" y="196"/>
                  <a:pt x="679" y="196"/>
                  <a:pt x="679" y="196"/>
                </a:cubicBezTo>
                <a:cubicBezTo>
                  <a:pt x="521" y="105"/>
                  <a:pt x="521" y="105"/>
                  <a:pt x="521" y="105"/>
                </a:cubicBezTo>
                <a:cubicBezTo>
                  <a:pt x="520" y="105"/>
                  <a:pt x="517" y="104"/>
                  <a:pt x="516" y="103"/>
                </a:cubicBezTo>
                <a:cubicBezTo>
                  <a:pt x="516" y="103"/>
                  <a:pt x="517" y="102"/>
                  <a:pt x="517" y="102"/>
                </a:cubicBezTo>
                <a:cubicBezTo>
                  <a:pt x="340" y="0"/>
                  <a:pt x="340" y="0"/>
                  <a:pt x="340" y="0"/>
                </a:cubicBezTo>
                <a:cubicBezTo>
                  <a:pt x="329" y="7"/>
                  <a:pt x="329" y="7"/>
                  <a:pt x="329" y="7"/>
                </a:cubicBezTo>
                <a:cubicBezTo>
                  <a:pt x="330" y="7"/>
                  <a:pt x="330" y="7"/>
                  <a:pt x="328" y="7"/>
                </a:cubicBezTo>
                <a:cubicBezTo>
                  <a:pt x="315" y="15"/>
                  <a:pt x="315" y="15"/>
                  <a:pt x="315" y="15"/>
                </a:cubicBezTo>
                <a:cubicBezTo>
                  <a:pt x="315" y="15"/>
                  <a:pt x="315" y="15"/>
                  <a:pt x="315" y="15"/>
                </a:cubicBezTo>
                <a:cubicBezTo>
                  <a:pt x="315" y="15"/>
                  <a:pt x="314" y="15"/>
                  <a:pt x="314" y="15"/>
                </a:cubicBezTo>
                <a:cubicBezTo>
                  <a:pt x="298" y="25"/>
                  <a:pt x="298" y="25"/>
                  <a:pt x="298" y="25"/>
                </a:cubicBezTo>
                <a:cubicBezTo>
                  <a:pt x="299" y="24"/>
                  <a:pt x="301" y="24"/>
                  <a:pt x="301" y="25"/>
                </a:cubicBezTo>
                <a:cubicBezTo>
                  <a:pt x="302" y="27"/>
                  <a:pt x="300" y="27"/>
                  <a:pt x="301" y="28"/>
                </a:cubicBezTo>
                <a:cubicBezTo>
                  <a:pt x="301" y="30"/>
                  <a:pt x="303" y="30"/>
                  <a:pt x="306" y="31"/>
                </a:cubicBezTo>
                <a:cubicBezTo>
                  <a:pt x="305" y="30"/>
                  <a:pt x="305" y="30"/>
                  <a:pt x="305" y="30"/>
                </a:cubicBezTo>
                <a:cubicBezTo>
                  <a:pt x="306" y="30"/>
                  <a:pt x="306" y="30"/>
                  <a:pt x="306" y="31"/>
                </a:cubicBezTo>
                <a:cubicBezTo>
                  <a:pt x="308" y="31"/>
                  <a:pt x="310" y="31"/>
                  <a:pt x="311" y="32"/>
                </a:cubicBezTo>
                <a:cubicBezTo>
                  <a:pt x="314" y="34"/>
                  <a:pt x="318" y="34"/>
                  <a:pt x="318" y="34"/>
                </a:cubicBezTo>
                <a:cubicBezTo>
                  <a:pt x="318" y="35"/>
                  <a:pt x="316" y="37"/>
                  <a:pt x="317" y="39"/>
                </a:cubicBezTo>
                <a:cubicBezTo>
                  <a:pt x="317" y="41"/>
                  <a:pt x="319" y="40"/>
                  <a:pt x="317" y="41"/>
                </a:cubicBezTo>
                <a:cubicBezTo>
                  <a:pt x="315" y="42"/>
                  <a:pt x="318" y="42"/>
                  <a:pt x="315" y="42"/>
                </a:cubicBezTo>
                <a:cubicBezTo>
                  <a:pt x="313" y="42"/>
                  <a:pt x="307" y="41"/>
                  <a:pt x="309" y="37"/>
                </a:cubicBezTo>
                <a:cubicBezTo>
                  <a:pt x="309" y="36"/>
                  <a:pt x="311" y="35"/>
                  <a:pt x="309" y="34"/>
                </a:cubicBezTo>
                <a:cubicBezTo>
                  <a:pt x="308" y="34"/>
                  <a:pt x="306" y="35"/>
                  <a:pt x="305" y="34"/>
                </a:cubicBezTo>
                <a:cubicBezTo>
                  <a:pt x="302" y="33"/>
                  <a:pt x="298" y="30"/>
                  <a:pt x="295" y="29"/>
                </a:cubicBezTo>
                <a:cubicBezTo>
                  <a:pt x="293" y="29"/>
                  <a:pt x="292" y="29"/>
                  <a:pt x="290" y="29"/>
                </a:cubicBezTo>
                <a:cubicBezTo>
                  <a:pt x="280" y="35"/>
                  <a:pt x="280" y="35"/>
                  <a:pt x="280" y="35"/>
                </a:cubicBezTo>
                <a:cubicBezTo>
                  <a:pt x="284" y="37"/>
                  <a:pt x="288" y="43"/>
                  <a:pt x="285" y="47"/>
                </a:cubicBezTo>
                <a:cubicBezTo>
                  <a:pt x="286" y="47"/>
                  <a:pt x="285" y="47"/>
                  <a:pt x="285" y="47"/>
                </a:cubicBezTo>
                <a:cubicBezTo>
                  <a:pt x="285" y="47"/>
                  <a:pt x="285" y="47"/>
                  <a:pt x="285" y="47"/>
                </a:cubicBezTo>
                <a:cubicBezTo>
                  <a:pt x="286" y="48"/>
                  <a:pt x="285" y="47"/>
                  <a:pt x="285" y="47"/>
                </a:cubicBezTo>
                <a:cubicBezTo>
                  <a:pt x="285" y="47"/>
                  <a:pt x="285" y="48"/>
                  <a:pt x="284" y="48"/>
                </a:cubicBezTo>
                <a:cubicBezTo>
                  <a:pt x="285" y="49"/>
                  <a:pt x="286" y="50"/>
                  <a:pt x="286" y="49"/>
                </a:cubicBezTo>
                <a:cubicBezTo>
                  <a:pt x="285" y="51"/>
                  <a:pt x="288" y="52"/>
                  <a:pt x="289" y="53"/>
                </a:cubicBezTo>
                <a:cubicBezTo>
                  <a:pt x="290" y="54"/>
                  <a:pt x="288" y="56"/>
                  <a:pt x="290" y="56"/>
                </a:cubicBezTo>
                <a:cubicBezTo>
                  <a:pt x="285" y="57"/>
                  <a:pt x="295" y="64"/>
                  <a:pt x="296" y="64"/>
                </a:cubicBezTo>
                <a:cubicBezTo>
                  <a:pt x="296" y="64"/>
                  <a:pt x="296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7"/>
                  <a:pt x="295" y="57"/>
                </a:cubicBezTo>
                <a:cubicBezTo>
                  <a:pt x="295" y="57"/>
                  <a:pt x="294" y="56"/>
                  <a:pt x="294" y="56"/>
                </a:cubicBezTo>
                <a:cubicBezTo>
                  <a:pt x="296" y="54"/>
                  <a:pt x="296" y="57"/>
                  <a:pt x="297" y="57"/>
                </a:cubicBezTo>
                <a:cubicBezTo>
                  <a:pt x="297" y="57"/>
                  <a:pt x="297" y="57"/>
                  <a:pt x="297" y="57"/>
                </a:cubicBezTo>
                <a:cubicBezTo>
                  <a:pt x="297" y="56"/>
                  <a:pt x="298" y="55"/>
                  <a:pt x="299" y="55"/>
                </a:cubicBezTo>
                <a:cubicBezTo>
                  <a:pt x="299" y="55"/>
                  <a:pt x="299" y="55"/>
                  <a:pt x="299" y="55"/>
                </a:cubicBezTo>
                <a:cubicBezTo>
                  <a:pt x="300" y="55"/>
                  <a:pt x="301" y="54"/>
                  <a:pt x="302" y="54"/>
                </a:cubicBezTo>
                <a:cubicBezTo>
                  <a:pt x="302" y="54"/>
                  <a:pt x="305" y="57"/>
                  <a:pt x="306" y="57"/>
                </a:cubicBezTo>
                <a:cubicBezTo>
                  <a:pt x="306" y="58"/>
                  <a:pt x="312" y="59"/>
                  <a:pt x="311" y="60"/>
                </a:cubicBezTo>
                <a:cubicBezTo>
                  <a:pt x="311" y="62"/>
                  <a:pt x="309" y="60"/>
                  <a:pt x="308" y="61"/>
                </a:cubicBezTo>
                <a:cubicBezTo>
                  <a:pt x="307" y="61"/>
                  <a:pt x="309" y="63"/>
                  <a:pt x="309" y="64"/>
                </a:cubicBezTo>
                <a:cubicBezTo>
                  <a:pt x="308" y="65"/>
                  <a:pt x="307" y="65"/>
                  <a:pt x="306" y="66"/>
                </a:cubicBezTo>
                <a:cubicBezTo>
                  <a:pt x="306" y="65"/>
                  <a:pt x="308" y="68"/>
                  <a:pt x="306" y="69"/>
                </a:cubicBezTo>
                <a:cubicBezTo>
                  <a:pt x="304" y="70"/>
                  <a:pt x="305" y="67"/>
                  <a:pt x="304" y="67"/>
                </a:cubicBezTo>
                <a:cubicBezTo>
                  <a:pt x="303" y="66"/>
                  <a:pt x="303" y="68"/>
                  <a:pt x="302" y="68"/>
                </a:cubicBezTo>
                <a:cubicBezTo>
                  <a:pt x="301" y="68"/>
                  <a:pt x="301" y="66"/>
                  <a:pt x="299" y="66"/>
                </a:cubicBezTo>
                <a:cubicBezTo>
                  <a:pt x="298" y="66"/>
                  <a:pt x="298" y="67"/>
                  <a:pt x="297" y="67"/>
                </a:cubicBezTo>
                <a:cubicBezTo>
                  <a:pt x="294" y="65"/>
                  <a:pt x="291" y="60"/>
                  <a:pt x="286" y="62"/>
                </a:cubicBezTo>
                <a:cubicBezTo>
                  <a:pt x="285" y="62"/>
                  <a:pt x="286" y="63"/>
                  <a:pt x="287" y="64"/>
                </a:cubicBezTo>
                <a:cubicBezTo>
                  <a:pt x="283" y="64"/>
                  <a:pt x="275" y="63"/>
                  <a:pt x="273" y="57"/>
                </a:cubicBezTo>
                <a:cubicBezTo>
                  <a:pt x="273" y="57"/>
                  <a:pt x="273" y="54"/>
                  <a:pt x="273" y="53"/>
                </a:cubicBezTo>
                <a:cubicBezTo>
                  <a:pt x="273" y="53"/>
                  <a:pt x="274" y="52"/>
                  <a:pt x="275" y="51"/>
                </a:cubicBezTo>
                <a:cubicBezTo>
                  <a:pt x="275" y="51"/>
                  <a:pt x="275" y="50"/>
                  <a:pt x="276" y="50"/>
                </a:cubicBezTo>
                <a:cubicBezTo>
                  <a:pt x="276" y="50"/>
                  <a:pt x="276" y="50"/>
                  <a:pt x="276" y="50"/>
                </a:cubicBezTo>
                <a:cubicBezTo>
                  <a:pt x="276" y="50"/>
                  <a:pt x="276" y="49"/>
                  <a:pt x="277" y="49"/>
                </a:cubicBezTo>
                <a:cubicBezTo>
                  <a:pt x="275" y="48"/>
                  <a:pt x="274" y="46"/>
                  <a:pt x="273" y="45"/>
                </a:cubicBezTo>
                <a:cubicBezTo>
                  <a:pt x="271" y="47"/>
                  <a:pt x="273" y="48"/>
                  <a:pt x="273" y="49"/>
                </a:cubicBezTo>
                <a:cubicBezTo>
                  <a:pt x="273" y="49"/>
                  <a:pt x="272" y="48"/>
                  <a:pt x="272" y="48"/>
                </a:cubicBezTo>
                <a:cubicBezTo>
                  <a:pt x="272" y="49"/>
                  <a:pt x="272" y="50"/>
                  <a:pt x="271" y="51"/>
                </a:cubicBezTo>
                <a:cubicBezTo>
                  <a:pt x="270" y="51"/>
                  <a:pt x="270" y="50"/>
                  <a:pt x="270" y="50"/>
                </a:cubicBezTo>
                <a:cubicBezTo>
                  <a:pt x="268" y="49"/>
                  <a:pt x="270" y="51"/>
                  <a:pt x="267" y="50"/>
                </a:cubicBezTo>
                <a:cubicBezTo>
                  <a:pt x="266" y="49"/>
                  <a:pt x="266" y="46"/>
                  <a:pt x="265" y="45"/>
                </a:cubicBezTo>
                <a:cubicBezTo>
                  <a:pt x="265" y="45"/>
                  <a:pt x="264" y="45"/>
                  <a:pt x="264" y="45"/>
                </a:cubicBezTo>
                <a:cubicBezTo>
                  <a:pt x="264" y="46"/>
                  <a:pt x="263" y="47"/>
                  <a:pt x="263" y="47"/>
                </a:cubicBezTo>
                <a:cubicBezTo>
                  <a:pt x="263" y="47"/>
                  <a:pt x="261" y="45"/>
                  <a:pt x="260" y="47"/>
                </a:cubicBezTo>
                <a:cubicBezTo>
                  <a:pt x="259" y="47"/>
                  <a:pt x="260" y="48"/>
                  <a:pt x="260" y="48"/>
                </a:cubicBezTo>
                <a:cubicBezTo>
                  <a:pt x="259" y="48"/>
                  <a:pt x="255" y="50"/>
                  <a:pt x="256" y="50"/>
                </a:cubicBezTo>
                <a:cubicBezTo>
                  <a:pt x="255" y="50"/>
                  <a:pt x="255" y="49"/>
                  <a:pt x="255" y="49"/>
                </a:cubicBezTo>
                <a:cubicBezTo>
                  <a:pt x="245" y="55"/>
                  <a:pt x="245" y="55"/>
                  <a:pt x="245" y="55"/>
                </a:cubicBezTo>
                <a:cubicBezTo>
                  <a:pt x="246" y="56"/>
                  <a:pt x="246" y="57"/>
                  <a:pt x="247" y="58"/>
                </a:cubicBezTo>
                <a:cubicBezTo>
                  <a:pt x="245" y="59"/>
                  <a:pt x="243" y="58"/>
                  <a:pt x="241" y="57"/>
                </a:cubicBezTo>
                <a:cubicBezTo>
                  <a:pt x="227" y="66"/>
                  <a:pt x="227" y="66"/>
                  <a:pt x="227" y="66"/>
                </a:cubicBezTo>
                <a:cubicBezTo>
                  <a:pt x="227" y="66"/>
                  <a:pt x="227" y="66"/>
                  <a:pt x="227" y="66"/>
                </a:cubicBezTo>
                <a:cubicBezTo>
                  <a:pt x="227" y="66"/>
                  <a:pt x="227" y="66"/>
                  <a:pt x="227" y="66"/>
                </a:cubicBezTo>
                <a:cubicBezTo>
                  <a:pt x="228" y="65"/>
                  <a:pt x="228" y="66"/>
                  <a:pt x="228" y="66"/>
                </a:cubicBezTo>
                <a:cubicBezTo>
                  <a:pt x="229" y="68"/>
                  <a:pt x="230" y="69"/>
                  <a:pt x="232" y="70"/>
                </a:cubicBezTo>
                <a:cubicBezTo>
                  <a:pt x="229" y="69"/>
                  <a:pt x="231" y="72"/>
                  <a:pt x="230" y="73"/>
                </a:cubicBezTo>
                <a:cubicBezTo>
                  <a:pt x="230" y="73"/>
                  <a:pt x="230" y="73"/>
                  <a:pt x="230" y="73"/>
                </a:cubicBezTo>
                <a:cubicBezTo>
                  <a:pt x="230" y="73"/>
                  <a:pt x="230" y="73"/>
                  <a:pt x="230" y="73"/>
                </a:cubicBezTo>
                <a:cubicBezTo>
                  <a:pt x="231" y="73"/>
                  <a:pt x="231" y="72"/>
                  <a:pt x="231" y="72"/>
                </a:cubicBezTo>
                <a:cubicBezTo>
                  <a:pt x="232" y="70"/>
                  <a:pt x="236" y="71"/>
                  <a:pt x="237" y="71"/>
                </a:cubicBezTo>
                <a:cubicBezTo>
                  <a:pt x="238" y="72"/>
                  <a:pt x="237" y="72"/>
                  <a:pt x="237" y="73"/>
                </a:cubicBezTo>
                <a:cubicBezTo>
                  <a:pt x="237" y="74"/>
                  <a:pt x="241" y="76"/>
                  <a:pt x="240" y="79"/>
                </a:cubicBezTo>
                <a:cubicBezTo>
                  <a:pt x="239" y="78"/>
                  <a:pt x="239" y="76"/>
                  <a:pt x="238" y="76"/>
                </a:cubicBezTo>
                <a:cubicBezTo>
                  <a:pt x="237" y="76"/>
                  <a:pt x="237" y="77"/>
                  <a:pt x="237" y="78"/>
                </a:cubicBezTo>
                <a:cubicBezTo>
                  <a:pt x="236" y="79"/>
                  <a:pt x="231" y="77"/>
                  <a:pt x="230" y="74"/>
                </a:cubicBezTo>
                <a:cubicBezTo>
                  <a:pt x="229" y="74"/>
                  <a:pt x="229" y="74"/>
                  <a:pt x="228" y="74"/>
                </a:cubicBezTo>
                <a:cubicBezTo>
                  <a:pt x="227" y="74"/>
                  <a:pt x="227" y="74"/>
                  <a:pt x="227" y="75"/>
                </a:cubicBezTo>
                <a:cubicBezTo>
                  <a:pt x="229" y="76"/>
                  <a:pt x="230" y="78"/>
                  <a:pt x="232" y="79"/>
                </a:cubicBezTo>
                <a:cubicBezTo>
                  <a:pt x="233" y="79"/>
                  <a:pt x="234" y="79"/>
                  <a:pt x="235" y="79"/>
                </a:cubicBezTo>
                <a:cubicBezTo>
                  <a:pt x="236" y="79"/>
                  <a:pt x="236" y="80"/>
                  <a:pt x="237" y="80"/>
                </a:cubicBezTo>
                <a:cubicBezTo>
                  <a:pt x="239" y="80"/>
                  <a:pt x="237" y="78"/>
                  <a:pt x="239" y="79"/>
                </a:cubicBezTo>
                <a:cubicBezTo>
                  <a:pt x="240" y="79"/>
                  <a:pt x="240" y="80"/>
                  <a:pt x="240" y="81"/>
                </a:cubicBezTo>
                <a:cubicBezTo>
                  <a:pt x="240" y="82"/>
                  <a:pt x="237" y="81"/>
                  <a:pt x="236" y="82"/>
                </a:cubicBezTo>
                <a:cubicBezTo>
                  <a:pt x="236" y="82"/>
                  <a:pt x="236" y="84"/>
                  <a:pt x="236" y="85"/>
                </a:cubicBezTo>
                <a:cubicBezTo>
                  <a:pt x="235" y="87"/>
                  <a:pt x="233" y="86"/>
                  <a:pt x="236" y="89"/>
                </a:cubicBezTo>
                <a:cubicBezTo>
                  <a:pt x="232" y="86"/>
                  <a:pt x="234" y="91"/>
                  <a:pt x="234" y="92"/>
                </a:cubicBezTo>
                <a:cubicBezTo>
                  <a:pt x="234" y="91"/>
                  <a:pt x="227" y="93"/>
                  <a:pt x="227" y="93"/>
                </a:cubicBezTo>
                <a:cubicBezTo>
                  <a:pt x="226" y="93"/>
                  <a:pt x="223" y="92"/>
                  <a:pt x="221" y="92"/>
                </a:cubicBezTo>
                <a:cubicBezTo>
                  <a:pt x="221" y="92"/>
                  <a:pt x="222" y="92"/>
                  <a:pt x="222" y="92"/>
                </a:cubicBezTo>
                <a:cubicBezTo>
                  <a:pt x="221" y="93"/>
                  <a:pt x="221" y="92"/>
                  <a:pt x="220" y="92"/>
                </a:cubicBezTo>
                <a:cubicBezTo>
                  <a:pt x="220" y="92"/>
                  <a:pt x="220" y="92"/>
                  <a:pt x="220" y="92"/>
                </a:cubicBezTo>
                <a:cubicBezTo>
                  <a:pt x="220" y="92"/>
                  <a:pt x="220" y="92"/>
                  <a:pt x="221" y="93"/>
                </a:cubicBezTo>
                <a:cubicBezTo>
                  <a:pt x="221" y="93"/>
                  <a:pt x="221" y="93"/>
                  <a:pt x="221" y="93"/>
                </a:cubicBezTo>
                <a:cubicBezTo>
                  <a:pt x="221" y="93"/>
                  <a:pt x="221" y="93"/>
                  <a:pt x="221" y="93"/>
                </a:cubicBezTo>
                <a:cubicBezTo>
                  <a:pt x="221" y="93"/>
                  <a:pt x="221" y="93"/>
                  <a:pt x="221" y="93"/>
                </a:cubicBezTo>
                <a:cubicBezTo>
                  <a:pt x="223" y="96"/>
                  <a:pt x="224" y="101"/>
                  <a:pt x="224" y="105"/>
                </a:cubicBezTo>
                <a:cubicBezTo>
                  <a:pt x="225" y="105"/>
                  <a:pt x="226" y="105"/>
                  <a:pt x="226" y="106"/>
                </a:cubicBezTo>
                <a:cubicBezTo>
                  <a:pt x="226" y="107"/>
                  <a:pt x="225" y="107"/>
                  <a:pt x="224" y="107"/>
                </a:cubicBezTo>
                <a:cubicBezTo>
                  <a:pt x="224" y="107"/>
                  <a:pt x="224" y="108"/>
                  <a:pt x="224" y="108"/>
                </a:cubicBezTo>
                <a:cubicBezTo>
                  <a:pt x="223" y="108"/>
                  <a:pt x="222" y="107"/>
                  <a:pt x="221" y="106"/>
                </a:cubicBezTo>
                <a:cubicBezTo>
                  <a:pt x="221" y="106"/>
                  <a:pt x="221" y="107"/>
                  <a:pt x="221" y="107"/>
                </a:cubicBezTo>
                <a:cubicBezTo>
                  <a:pt x="219" y="107"/>
                  <a:pt x="218" y="106"/>
                  <a:pt x="218" y="105"/>
                </a:cubicBezTo>
                <a:cubicBezTo>
                  <a:pt x="217" y="106"/>
                  <a:pt x="216" y="106"/>
                  <a:pt x="215" y="105"/>
                </a:cubicBezTo>
                <a:cubicBezTo>
                  <a:pt x="214" y="105"/>
                  <a:pt x="214" y="104"/>
                  <a:pt x="214" y="103"/>
                </a:cubicBezTo>
                <a:cubicBezTo>
                  <a:pt x="214" y="103"/>
                  <a:pt x="213" y="104"/>
                  <a:pt x="214" y="105"/>
                </a:cubicBezTo>
                <a:cubicBezTo>
                  <a:pt x="215" y="106"/>
                  <a:pt x="218" y="108"/>
                  <a:pt x="218" y="108"/>
                </a:cubicBezTo>
                <a:cubicBezTo>
                  <a:pt x="218" y="108"/>
                  <a:pt x="219" y="108"/>
                  <a:pt x="219" y="108"/>
                </a:cubicBezTo>
                <a:cubicBezTo>
                  <a:pt x="220" y="111"/>
                  <a:pt x="212" y="112"/>
                  <a:pt x="213" y="109"/>
                </a:cubicBezTo>
                <a:cubicBezTo>
                  <a:pt x="213" y="109"/>
                  <a:pt x="214" y="108"/>
                  <a:pt x="214" y="108"/>
                </a:cubicBezTo>
                <a:cubicBezTo>
                  <a:pt x="214" y="107"/>
                  <a:pt x="210" y="104"/>
                  <a:pt x="209" y="103"/>
                </a:cubicBezTo>
                <a:cubicBezTo>
                  <a:pt x="209" y="102"/>
                  <a:pt x="208" y="102"/>
                  <a:pt x="208" y="101"/>
                </a:cubicBezTo>
                <a:cubicBezTo>
                  <a:pt x="207" y="101"/>
                  <a:pt x="206" y="103"/>
                  <a:pt x="205" y="103"/>
                </a:cubicBezTo>
                <a:cubicBezTo>
                  <a:pt x="204" y="103"/>
                  <a:pt x="204" y="102"/>
                  <a:pt x="203" y="101"/>
                </a:cubicBezTo>
                <a:cubicBezTo>
                  <a:pt x="203" y="101"/>
                  <a:pt x="200" y="100"/>
                  <a:pt x="199" y="101"/>
                </a:cubicBezTo>
                <a:cubicBezTo>
                  <a:pt x="199" y="101"/>
                  <a:pt x="200" y="103"/>
                  <a:pt x="200" y="102"/>
                </a:cubicBezTo>
                <a:cubicBezTo>
                  <a:pt x="200" y="102"/>
                  <a:pt x="199" y="104"/>
                  <a:pt x="197" y="103"/>
                </a:cubicBezTo>
                <a:cubicBezTo>
                  <a:pt x="197" y="103"/>
                  <a:pt x="197" y="103"/>
                  <a:pt x="197" y="103"/>
                </a:cubicBezTo>
                <a:cubicBezTo>
                  <a:pt x="197" y="103"/>
                  <a:pt x="197" y="103"/>
                  <a:pt x="196" y="104"/>
                </a:cubicBezTo>
                <a:cubicBezTo>
                  <a:pt x="197" y="104"/>
                  <a:pt x="198" y="104"/>
                  <a:pt x="199" y="105"/>
                </a:cubicBezTo>
                <a:cubicBezTo>
                  <a:pt x="198" y="104"/>
                  <a:pt x="198" y="104"/>
                  <a:pt x="199" y="104"/>
                </a:cubicBezTo>
                <a:cubicBezTo>
                  <a:pt x="199" y="103"/>
                  <a:pt x="200" y="103"/>
                  <a:pt x="200" y="104"/>
                </a:cubicBezTo>
                <a:cubicBezTo>
                  <a:pt x="201" y="104"/>
                  <a:pt x="202" y="104"/>
                  <a:pt x="201" y="105"/>
                </a:cubicBezTo>
                <a:cubicBezTo>
                  <a:pt x="201" y="106"/>
                  <a:pt x="200" y="105"/>
                  <a:pt x="200" y="105"/>
                </a:cubicBezTo>
                <a:cubicBezTo>
                  <a:pt x="200" y="105"/>
                  <a:pt x="200" y="105"/>
                  <a:pt x="200" y="105"/>
                </a:cubicBezTo>
                <a:cubicBezTo>
                  <a:pt x="200" y="105"/>
                  <a:pt x="200" y="105"/>
                  <a:pt x="200" y="105"/>
                </a:cubicBezTo>
                <a:cubicBezTo>
                  <a:pt x="200" y="105"/>
                  <a:pt x="199" y="105"/>
                  <a:pt x="199" y="105"/>
                </a:cubicBezTo>
                <a:cubicBezTo>
                  <a:pt x="200" y="106"/>
                  <a:pt x="201" y="107"/>
                  <a:pt x="199" y="109"/>
                </a:cubicBezTo>
                <a:cubicBezTo>
                  <a:pt x="198" y="110"/>
                  <a:pt x="197" y="109"/>
                  <a:pt x="196" y="108"/>
                </a:cubicBezTo>
                <a:cubicBezTo>
                  <a:pt x="196" y="109"/>
                  <a:pt x="196" y="109"/>
                  <a:pt x="196" y="109"/>
                </a:cubicBezTo>
                <a:cubicBezTo>
                  <a:pt x="196" y="111"/>
                  <a:pt x="195" y="109"/>
                  <a:pt x="195" y="110"/>
                </a:cubicBezTo>
                <a:cubicBezTo>
                  <a:pt x="194" y="110"/>
                  <a:pt x="195" y="110"/>
                  <a:pt x="195" y="111"/>
                </a:cubicBezTo>
                <a:cubicBezTo>
                  <a:pt x="196" y="111"/>
                  <a:pt x="196" y="111"/>
                  <a:pt x="195" y="111"/>
                </a:cubicBezTo>
                <a:cubicBezTo>
                  <a:pt x="196" y="111"/>
                  <a:pt x="196" y="112"/>
                  <a:pt x="196" y="112"/>
                </a:cubicBezTo>
                <a:cubicBezTo>
                  <a:pt x="195" y="115"/>
                  <a:pt x="191" y="113"/>
                  <a:pt x="189" y="114"/>
                </a:cubicBezTo>
                <a:cubicBezTo>
                  <a:pt x="190" y="115"/>
                  <a:pt x="190" y="117"/>
                  <a:pt x="190" y="117"/>
                </a:cubicBezTo>
                <a:cubicBezTo>
                  <a:pt x="191" y="118"/>
                  <a:pt x="192" y="118"/>
                  <a:pt x="193" y="118"/>
                </a:cubicBezTo>
                <a:cubicBezTo>
                  <a:pt x="194" y="117"/>
                  <a:pt x="195" y="116"/>
                  <a:pt x="197" y="116"/>
                </a:cubicBezTo>
                <a:cubicBezTo>
                  <a:pt x="201" y="117"/>
                  <a:pt x="201" y="123"/>
                  <a:pt x="198" y="125"/>
                </a:cubicBezTo>
                <a:cubicBezTo>
                  <a:pt x="198" y="125"/>
                  <a:pt x="198" y="126"/>
                  <a:pt x="200" y="126"/>
                </a:cubicBezTo>
                <a:cubicBezTo>
                  <a:pt x="199" y="126"/>
                  <a:pt x="199" y="126"/>
                  <a:pt x="198" y="126"/>
                </a:cubicBezTo>
                <a:cubicBezTo>
                  <a:pt x="200" y="127"/>
                  <a:pt x="201" y="130"/>
                  <a:pt x="200" y="132"/>
                </a:cubicBezTo>
                <a:cubicBezTo>
                  <a:pt x="201" y="133"/>
                  <a:pt x="202" y="134"/>
                  <a:pt x="201" y="135"/>
                </a:cubicBezTo>
                <a:cubicBezTo>
                  <a:pt x="201" y="135"/>
                  <a:pt x="200" y="134"/>
                  <a:pt x="200" y="133"/>
                </a:cubicBezTo>
                <a:cubicBezTo>
                  <a:pt x="200" y="133"/>
                  <a:pt x="200" y="133"/>
                  <a:pt x="199" y="133"/>
                </a:cubicBezTo>
                <a:cubicBezTo>
                  <a:pt x="199" y="134"/>
                  <a:pt x="198" y="134"/>
                  <a:pt x="197" y="134"/>
                </a:cubicBezTo>
                <a:cubicBezTo>
                  <a:pt x="196" y="136"/>
                  <a:pt x="196" y="138"/>
                  <a:pt x="193" y="136"/>
                </a:cubicBezTo>
                <a:cubicBezTo>
                  <a:pt x="191" y="136"/>
                  <a:pt x="190" y="137"/>
                  <a:pt x="189" y="137"/>
                </a:cubicBezTo>
                <a:cubicBezTo>
                  <a:pt x="189" y="137"/>
                  <a:pt x="188" y="136"/>
                  <a:pt x="187" y="136"/>
                </a:cubicBezTo>
                <a:cubicBezTo>
                  <a:pt x="189" y="138"/>
                  <a:pt x="191" y="139"/>
                  <a:pt x="193" y="141"/>
                </a:cubicBezTo>
                <a:cubicBezTo>
                  <a:pt x="195" y="138"/>
                  <a:pt x="197" y="136"/>
                  <a:pt x="199" y="140"/>
                </a:cubicBezTo>
                <a:cubicBezTo>
                  <a:pt x="200" y="140"/>
                  <a:pt x="200" y="141"/>
                  <a:pt x="200" y="142"/>
                </a:cubicBezTo>
                <a:cubicBezTo>
                  <a:pt x="200" y="140"/>
                  <a:pt x="205" y="140"/>
                  <a:pt x="203" y="143"/>
                </a:cubicBezTo>
                <a:cubicBezTo>
                  <a:pt x="203" y="144"/>
                  <a:pt x="202" y="143"/>
                  <a:pt x="201" y="143"/>
                </a:cubicBezTo>
                <a:cubicBezTo>
                  <a:pt x="201" y="143"/>
                  <a:pt x="201" y="142"/>
                  <a:pt x="200" y="142"/>
                </a:cubicBezTo>
                <a:cubicBezTo>
                  <a:pt x="201" y="144"/>
                  <a:pt x="202" y="147"/>
                  <a:pt x="203" y="147"/>
                </a:cubicBezTo>
                <a:cubicBezTo>
                  <a:pt x="205" y="149"/>
                  <a:pt x="205" y="148"/>
                  <a:pt x="204" y="150"/>
                </a:cubicBezTo>
                <a:cubicBezTo>
                  <a:pt x="204" y="151"/>
                  <a:pt x="203" y="152"/>
                  <a:pt x="204" y="153"/>
                </a:cubicBezTo>
                <a:cubicBezTo>
                  <a:pt x="204" y="153"/>
                  <a:pt x="209" y="155"/>
                  <a:pt x="206" y="156"/>
                </a:cubicBezTo>
                <a:cubicBezTo>
                  <a:pt x="205" y="156"/>
                  <a:pt x="205" y="155"/>
                  <a:pt x="204" y="155"/>
                </a:cubicBezTo>
                <a:cubicBezTo>
                  <a:pt x="203" y="156"/>
                  <a:pt x="204" y="159"/>
                  <a:pt x="204" y="160"/>
                </a:cubicBezTo>
                <a:cubicBezTo>
                  <a:pt x="203" y="160"/>
                  <a:pt x="200" y="156"/>
                  <a:pt x="199" y="159"/>
                </a:cubicBezTo>
                <a:cubicBezTo>
                  <a:pt x="198" y="160"/>
                  <a:pt x="198" y="160"/>
                  <a:pt x="198" y="160"/>
                </a:cubicBezTo>
                <a:cubicBezTo>
                  <a:pt x="198" y="160"/>
                  <a:pt x="198" y="160"/>
                  <a:pt x="198" y="160"/>
                </a:cubicBezTo>
                <a:cubicBezTo>
                  <a:pt x="196" y="159"/>
                  <a:pt x="196" y="159"/>
                  <a:pt x="195" y="160"/>
                </a:cubicBezTo>
                <a:cubicBezTo>
                  <a:pt x="196" y="161"/>
                  <a:pt x="196" y="162"/>
                  <a:pt x="195" y="163"/>
                </a:cubicBezTo>
                <a:cubicBezTo>
                  <a:pt x="194" y="163"/>
                  <a:pt x="194" y="162"/>
                  <a:pt x="193" y="162"/>
                </a:cubicBezTo>
                <a:cubicBezTo>
                  <a:pt x="193" y="161"/>
                  <a:pt x="193" y="161"/>
                  <a:pt x="193" y="161"/>
                </a:cubicBezTo>
                <a:cubicBezTo>
                  <a:pt x="192" y="162"/>
                  <a:pt x="192" y="163"/>
                  <a:pt x="192" y="164"/>
                </a:cubicBezTo>
                <a:cubicBezTo>
                  <a:pt x="191" y="165"/>
                  <a:pt x="189" y="163"/>
                  <a:pt x="188" y="163"/>
                </a:cubicBezTo>
                <a:cubicBezTo>
                  <a:pt x="185" y="165"/>
                  <a:pt x="189" y="167"/>
                  <a:pt x="189" y="170"/>
                </a:cubicBezTo>
                <a:cubicBezTo>
                  <a:pt x="189" y="170"/>
                  <a:pt x="187" y="172"/>
                  <a:pt x="189" y="173"/>
                </a:cubicBezTo>
                <a:cubicBezTo>
                  <a:pt x="190" y="174"/>
                  <a:pt x="192" y="172"/>
                  <a:pt x="194" y="176"/>
                </a:cubicBezTo>
                <a:cubicBezTo>
                  <a:pt x="194" y="177"/>
                  <a:pt x="197" y="182"/>
                  <a:pt x="195" y="183"/>
                </a:cubicBezTo>
                <a:cubicBezTo>
                  <a:pt x="194" y="183"/>
                  <a:pt x="194" y="181"/>
                  <a:pt x="194" y="181"/>
                </a:cubicBezTo>
                <a:cubicBezTo>
                  <a:pt x="193" y="180"/>
                  <a:pt x="190" y="182"/>
                  <a:pt x="190" y="182"/>
                </a:cubicBezTo>
                <a:cubicBezTo>
                  <a:pt x="189" y="181"/>
                  <a:pt x="189" y="179"/>
                  <a:pt x="188" y="179"/>
                </a:cubicBezTo>
                <a:cubicBezTo>
                  <a:pt x="188" y="179"/>
                  <a:pt x="188" y="179"/>
                  <a:pt x="187" y="180"/>
                </a:cubicBezTo>
                <a:cubicBezTo>
                  <a:pt x="187" y="180"/>
                  <a:pt x="187" y="179"/>
                  <a:pt x="186" y="179"/>
                </a:cubicBezTo>
                <a:cubicBezTo>
                  <a:pt x="185" y="179"/>
                  <a:pt x="184" y="180"/>
                  <a:pt x="183" y="178"/>
                </a:cubicBezTo>
                <a:cubicBezTo>
                  <a:pt x="182" y="179"/>
                  <a:pt x="182" y="179"/>
                  <a:pt x="182" y="179"/>
                </a:cubicBezTo>
                <a:cubicBezTo>
                  <a:pt x="182" y="179"/>
                  <a:pt x="182" y="179"/>
                  <a:pt x="182" y="179"/>
                </a:cubicBezTo>
                <a:cubicBezTo>
                  <a:pt x="182" y="180"/>
                  <a:pt x="181" y="180"/>
                  <a:pt x="180" y="178"/>
                </a:cubicBezTo>
                <a:cubicBezTo>
                  <a:pt x="179" y="178"/>
                  <a:pt x="179" y="178"/>
                  <a:pt x="179" y="178"/>
                </a:cubicBezTo>
                <a:cubicBezTo>
                  <a:pt x="179" y="178"/>
                  <a:pt x="179" y="179"/>
                  <a:pt x="179" y="179"/>
                </a:cubicBezTo>
                <a:cubicBezTo>
                  <a:pt x="179" y="180"/>
                  <a:pt x="179" y="181"/>
                  <a:pt x="179" y="181"/>
                </a:cubicBezTo>
                <a:cubicBezTo>
                  <a:pt x="179" y="182"/>
                  <a:pt x="179" y="182"/>
                  <a:pt x="178" y="182"/>
                </a:cubicBezTo>
                <a:cubicBezTo>
                  <a:pt x="178" y="182"/>
                  <a:pt x="177" y="182"/>
                  <a:pt x="177" y="181"/>
                </a:cubicBezTo>
                <a:cubicBezTo>
                  <a:pt x="176" y="181"/>
                  <a:pt x="175" y="181"/>
                  <a:pt x="175" y="182"/>
                </a:cubicBezTo>
                <a:cubicBezTo>
                  <a:pt x="174" y="181"/>
                  <a:pt x="175" y="178"/>
                  <a:pt x="173" y="176"/>
                </a:cubicBezTo>
                <a:cubicBezTo>
                  <a:pt x="174" y="177"/>
                  <a:pt x="176" y="176"/>
                  <a:pt x="174" y="174"/>
                </a:cubicBezTo>
                <a:cubicBezTo>
                  <a:pt x="173" y="173"/>
                  <a:pt x="173" y="175"/>
                  <a:pt x="173" y="175"/>
                </a:cubicBezTo>
                <a:cubicBezTo>
                  <a:pt x="173" y="175"/>
                  <a:pt x="172" y="174"/>
                  <a:pt x="171" y="174"/>
                </a:cubicBezTo>
                <a:cubicBezTo>
                  <a:pt x="171" y="175"/>
                  <a:pt x="171" y="175"/>
                  <a:pt x="171" y="175"/>
                </a:cubicBezTo>
                <a:cubicBezTo>
                  <a:pt x="172" y="177"/>
                  <a:pt x="173" y="179"/>
                  <a:pt x="172" y="181"/>
                </a:cubicBezTo>
                <a:cubicBezTo>
                  <a:pt x="172" y="181"/>
                  <a:pt x="172" y="181"/>
                  <a:pt x="173" y="181"/>
                </a:cubicBezTo>
                <a:cubicBezTo>
                  <a:pt x="173" y="181"/>
                  <a:pt x="173" y="180"/>
                  <a:pt x="173" y="180"/>
                </a:cubicBezTo>
                <a:cubicBezTo>
                  <a:pt x="174" y="181"/>
                  <a:pt x="173" y="181"/>
                  <a:pt x="172" y="181"/>
                </a:cubicBezTo>
                <a:cubicBezTo>
                  <a:pt x="172" y="182"/>
                  <a:pt x="171" y="182"/>
                  <a:pt x="170" y="182"/>
                </a:cubicBezTo>
                <a:cubicBezTo>
                  <a:pt x="168" y="182"/>
                  <a:pt x="167" y="180"/>
                  <a:pt x="166" y="177"/>
                </a:cubicBezTo>
                <a:cubicBezTo>
                  <a:pt x="166" y="177"/>
                  <a:pt x="165" y="178"/>
                  <a:pt x="164" y="178"/>
                </a:cubicBezTo>
                <a:cubicBezTo>
                  <a:pt x="162" y="177"/>
                  <a:pt x="161" y="174"/>
                  <a:pt x="160" y="175"/>
                </a:cubicBezTo>
                <a:cubicBezTo>
                  <a:pt x="160" y="173"/>
                  <a:pt x="159" y="171"/>
                  <a:pt x="160" y="170"/>
                </a:cubicBezTo>
                <a:cubicBezTo>
                  <a:pt x="161" y="167"/>
                  <a:pt x="162" y="168"/>
                  <a:pt x="160" y="164"/>
                </a:cubicBezTo>
                <a:cubicBezTo>
                  <a:pt x="160" y="164"/>
                  <a:pt x="160" y="163"/>
                  <a:pt x="160" y="162"/>
                </a:cubicBezTo>
                <a:cubicBezTo>
                  <a:pt x="159" y="159"/>
                  <a:pt x="159" y="160"/>
                  <a:pt x="156" y="161"/>
                </a:cubicBezTo>
                <a:cubicBezTo>
                  <a:pt x="158" y="159"/>
                  <a:pt x="156" y="160"/>
                  <a:pt x="155" y="162"/>
                </a:cubicBezTo>
                <a:cubicBezTo>
                  <a:pt x="155" y="162"/>
                  <a:pt x="156" y="162"/>
                  <a:pt x="156" y="162"/>
                </a:cubicBezTo>
                <a:cubicBezTo>
                  <a:pt x="156" y="162"/>
                  <a:pt x="155" y="162"/>
                  <a:pt x="155" y="162"/>
                </a:cubicBezTo>
                <a:cubicBezTo>
                  <a:pt x="155" y="163"/>
                  <a:pt x="155" y="163"/>
                  <a:pt x="155" y="163"/>
                </a:cubicBezTo>
                <a:cubicBezTo>
                  <a:pt x="155" y="163"/>
                  <a:pt x="158" y="164"/>
                  <a:pt x="156" y="165"/>
                </a:cubicBezTo>
                <a:cubicBezTo>
                  <a:pt x="156" y="166"/>
                  <a:pt x="152" y="162"/>
                  <a:pt x="152" y="166"/>
                </a:cubicBezTo>
                <a:cubicBezTo>
                  <a:pt x="150" y="160"/>
                  <a:pt x="148" y="168"/>
                  <a:pt x="147" y="171"/>
                </a:cubicBezTo>
                <a:cubicBezTo>
                  <a:pt x="146" y="172"/>
                  <a:pt x="144" y="172"/>
                  <a:pt x="143" y="173"/>
                </a:cubicBezTo>
                <a:cubicBezTo>
                  <a:pt x="142" y="174"/>
                  <a:pt x="142" y="174"/>
                  <a:pt x="141" y="174"/>
                </a:cubicBezTo>
                <a:cubicBezTo>
                  <a:pt x="141" y="174"/>
                  <a:pt x="141" y="174"/>
                  <a:pt x="141" y="174"/>
                </a:cubicBezTo>
                <a:cubicBezTo>
                  <a:pt x="140" y="175"/>
                  <a:pt x="140" y="175"/>
                  <a:pt x="139" y="176"/>
                </a:cubicBezTo>
                <a:cubicBezTo>
                  <a:pt x="140" y="176"/>
                  <a:pt x="140" y="177"/>
                  <a:pt x="139" y="177"/>
                </a:cubicBezTo>
                <a:cubicBezTo>
                  <a:pt x="140" y="177"/>
                  <a:pt x="140" y="177"/>
                  <a:pt x="140" y="178"/>
                </a:cubicBezTo>
                <a:cubicBezTo>
                  <a:pt x="141" y="178"/>
                  <a:pt x="142" y="179"/>
                  <a:pt x="142" y="181"/>
                </a:cubicBezTo>
                <a:cubicBezTo>
                  <a:pt x="143" y="182"/>
                  <a:pt x="142" y="183"/>
                  <a:pt x="141" y="183"/>
                </a:cubicBezTo>
                <a:cubicBezTo>
                  <a:pt x="141" y="184"/>
                  <a:pt x="142" y="185"/>
                  <a:pt x="142" y="186"/>
                </a:cubicBezTo>
                <a:cubicBezTo>
                  <a:pt x="141" y="187"/>
                  <a:pt x="141" y="185"/>
                  <a:pt x="140" y="184"/>
                </a:cubicBezTo>
                <a:cubicBezTo>
                  <a:pt x="139" y="184"/>
                  <a:pt x="138" y="184"/>
                  <a:pt x="138" y="183"/>
                </a:cubicBezTo>
                <a:cubicBezTo>
                  <a:pt x="138" y="184"/>
                  <a:pt x="138" y="187"/>
                  <a:pt x="138" y="187"/>
                </a:cubicBezTo>
                <a:cubicBezTo>
                  <a:pt x="138" y="187"/>
                  <a:pt x="138" y="187"/>
                  <a:pt x="138" y="188"/>
                </a:cubicBezTo>
                <a:cubicBezTo>
                  <a:pt x="139" y="186"/>
                  <a:pt x="139" y="185"/>
                  <a:pt x="139" y="185"/>
                </a:cubicBezTo>
                <a:cubicBezTo>
                  <a:pt x="139" y="186"/>
                  <a:pt x="139" y="187"/>
                  <a:pt x="139" y="189"/>
                </a:cubicBezTo>
                <a:cubicBezTo>
                  <a:pt x="140" y="189"/>
                  <a:pt x="140" y="189"/>
                  <a:pt x="140" y="189"/>
                </a:cubicBezTo>
                <a:cubicBezTo>
                  <a:pt x="140" y="188"/>
                  <a:pt x="142" y="189"/>
                  <a:pt x="142" y="191"/>
                </a:cubicBezTo>
                <a:cubicBezTo>
                  <a:pt x="143" y="191"/>
                  <a:pt x="143" y="192"/>
                  <a:pt x="142" y="193"/>
                </a:cubicBezTo>
                <a:cubicBezTo>
                  <a:pt x="142" y="193"/>
                  <a:pt x="141" y="192"/>
                  <a:pt x="141" y="192"/>
                </a:cubicBezTo>
                <a:cubicBezTo>
                  <a:pt x="140" y="192"/>
                  <a:pt x="139" y="193"/>
                  <a:pt x="140" y="192"/>
                </a:cubicBezTo>
                <a:cubicBezTo>
                  <a:pt x="140" y="192"/>
                  <a:pt x="140" y="191"/>
                  <a:pt x="140" y="191"/>
                </a:cubicBezTo>
                <a:cubicBezTo>
                  <a:pt x="140" y="191"/>
                  <a:pt x="140" y="191"/>
                  <a:pt x="140" y="191"/>
                </a:cubicBezTo>
                <a:cubicBezTo>
                  <a:pt x="140" y="191"/>
                  <a:pt x="140" y="190"/>
                  <a:pt x="139" y="190"/>
                </a:cubicBezTo>
                <a:cubicBezTo>
                  <a:pt x="139" y="191"/>
                  <a:pt x="139" y="192"/>
                  <a:pt x="138" y="192"/>
                </a:cubicBezTo>
                <a:cubicBezTo>
                  <a:pt x="138" y="192"/>
                  <a:pt x="138" y="191"/>
                  <a:pt x="138" y="190"/>
                </a:cubicBezTo>
                <a:cubicBezTo>
                  <a:pt x="138" y="190"/>
                  <a:pt x="137" y="190"/>
                  <a:pt x="137" y="191"/>
                </a:cubicBezTo>
                <a:cubicBezTo>
                  <a:pt x="137" y="192"/>
                  <a:pt x="138" y="192"/>
                  <a:pt x="138" y="193"/>
                </a:cubicBezTo>
                <a:cubicBezTo>
                  <a:pt x="138" y="194"/>
                  <a:pt x="134" y="195"/>
                  <a:pt x="137" y="197"/>
                </a:cubicBezTo>
                <a:cubicBezTo>
                  <a:pt x="137" y="197"/>
                  <a:pt x="138" y="196"/>
                  <a:pt x="138" y="196"/>
                </a:cubicBezTo>
                <a:cubicBezTo>
                  <a:pt x="138" y="196"/>
                  <a:pt x="138" y="196"/>
                  <a:pt x="138" y="196"/>
                </a:cubicBezTo>
                <a:cubicBezTo>
                  <a:pt x="138" y="196"/>
                  <a:pt x="138" y="195"/>
                  <a:pt x="138" y="195"/>
                </a:cubicBezTo>
                <a:cubicBezTo>
                  <a:pt x="139" y="194"/>
                  <a:pt x="140" y="195"/>
                  <a:pt x="139" y="196"/>
                </a:cubicBezTo>
                <a:cubicBezTo>
                  <a:pt x="139" y="196"/>
                  <a:pt x="139" y="196"/>
                  <a:pt x="139" y="196"/>
                </a:cubicBezTo>
                <a:cubicBezTo>
                  <a:pt x="140" y="197"/>
                  <a:pt x="138" y="201"/>
                  <a:pt x="139" y="202"/>
                </a:cubicBezTo>
                <a:cubicBezTo>
                  <a:pt x="138" y="200"/>
                  <a:pt x="137" y="202"/>
                  <a:pt x="136" y="203"/>
                </a:cubicBezTo>
                <a:cubicBezTo>
                  <a:pt x="137" y="205"/>
                  <a:pt x="138" y="207"/>
                  <a:pt x="139" y="208"/>
                </a:cubicBezTo>
                <a:cubicBezTo>
                  <a:pt x="138" y="207"/>
                  <a:pt x="136" y="205"/>
                  <a:pt x="136" y="203"/>
                </a:cubicBezTo>
                <a:cubicBezTo>
                  <a:pt x="135" y="204"/>
                  <a:pt x="134" y="205"/>
                  <a:pt x="134" y="204"/>
                </a:cubicBezTo>
                <a:cubicBezTo>
                  <a:pt x="132" y="203"/>
                  <a:pt x="133" y="199"/>
                  <a:pt x="131" y="198"/>
                </a:cubicBezTo>
                <a:cubicBezTo>
                  <a:pt x="130" y="198"/>
                  <a:pt x="131" y="199"/>
                  <a:pt x="131" y="199"/>
                </a:cubicBezTo>
                <a:cubicBezTo>
                  <a:pt x="129" y="199"/>
                  <a:pt x="128" y="197"/>
                  <a:pt x="127" y="200"/>
                </a:cubicBezTo>
                <a:cubicBezTo>
                  <a:pt x="127" y="200"/>
                  <a:pt x="126" y="205"/>
                  <a:pt x="127" y="207"/>
                </a:cubicBezTo>
                <a:cubicBezTo>
                  <a:pt x="127" y="210"/>
                  <a:pt x="127" y="211"/>
                  <a:pt x="126" y="214"/>
                </a:cubicBezTo>
                <a:cubicBezTo>
                  <a:pt x="126" y="211"/>
                  <a:pt x="123" y="210"/>
                  <a:pt x="123" y="207"/>
                </a:cubicBezTo>
                <a:cubicBezTo>
                  <a:pt x="122" y="203"/>
                  <a:pt x="125" y="199"/>
                  <a:pt x="124" y="197"/>
                </a:cubicBezTo>
                <a:cubicBezTo>
                  <a:pt x="124" y="197"/>
                  <a:pt x="120" y="193"/>
                  <a:pt x="120" y="193"/>
                </a:cubicBezTo>
                <a:cubicBezTo>
                  <a:pt x="120" y="192"/>
                  <a:pt x="121" y="191"/>
                  <a:pt x="120" y="190"/>
                </a:cubicBezTo>
                <a:cubicBezTo>
                  <a:pt x="120" y="191"/>
                  <a:pt x="120" y="191"/>
                  <a:pt x="119" y="192"/>
                </a:cubicBezTo>
                <a:cubicBezTo>
                  <a:pt x="120" y="192"/>
                  <a:pt x="120" y="192"/>
                  <a:pt x="120" y="192"/>
                </a:cubicBezTo>
                <a:cubicBezTo>
                  <a:pt x="120" y="193"/>
                  <a:pt x="121" y="194"/>
                  <a:pt x="121" y="195"/>
                </a:cubicBezTo>
                <a:cubicBezTo>
                  <a:pt x="121" y="195"/>
                  <a:pt x="121" y="195"/>
                  <a:pt x="121" y="195"/>
                </a:cubicBezTo>
                <a:cubicBezTo>
                  <a:pt x="121" y="195"/>
                  <a:pt x="121" y="195"/>
                  <a:pt x="121" y="195"/>
                </a:cubicBezTo>
                <a:cubicBezTo>
                  <a:pt x="121" y="197"/>
                  <a:pt x="121" y="198"/>
                  <a:pt x="120" y="198"/>
                </a:cubicBezTo>
                <a:cubicBezTo>
                  <a:pt x="120" y="198"/>
                  <a:pt x="119" y="198"/>
                  <a:pt x="119" y="198"/>
                </a:cubicBezTo>
                <a:cubicBezTo>
                  <a:pt x="118" y="198"/>
                  <a:pt x="117" y="197"/>
                  <a:pt x="117" y="196"/>
                </a:cubicBezTo>
                <a:cubicBezTo>
                  <a:pt x="116" y="195"/>
                  <a:pt x="117" y="192"/>
                  <a:pt x="118" y="192"/>
                </a:cubicBezTo>
                <a:cubicBezTo>
                  <a:pt x="118" y="192"/>
                  <a:pt x="118" y="192"/>
                  <a:pt x="118" y="192"/>
                </a:cubicBezTo>
                <a:cubicBezTo>
                  <a:pt x="117" y="192"/>
                  <a:pt x="117" y="190"/>
                  <a:pt x="117" y="189"/>
                </a:cubicBezTo>
                <a:cubicBezTo>
                  <a:pt x="116" y="189"/>
                  <a:pt x="116" y="189"/>
                  <a:pt x="116" y="190"/>
                </a:cubicBezTo>
                <a:cubicBezTo>
                  <a:pt x="116" y="190"/>
                  <a:pt x="116" y="190"/>
                  <a:pt x="116" y="190"/>
                </a:cubicBezTo>
                <a:cubicBezTo>
                  <a:pt x="116" y="191"/>
                  <a:pt x="116" y="191"/>
                  <a:pt x="115" y="190"/>
                </a:cubicBezTo>
                <a:cubicBezTo>
                  <a:pt x="114" y="192"/>
                  <a:pt x="114" y="194"/>
                  <a:pt x="113" y="196"/>
                </a:cubicBezTo>
                <a:cubicBezTo>
                  <a:pt x="112" y="194"/>
                  <a:pt x="112" y="194"/>
                  <a:pt x="111" y="194"/>
                </a:cubicBezTo>
                <a:cubicBezTo>
                  <a:pt x="112" y="196"/>
                  <a:pt x="112" y="199"/>
                  <a:pt x="110" y="197"/>
                </a:cubicBezTo>
                <a:cubicBezTo>
                  <a:pt x="110" y="197"/>
                  <a:pt x="110" y="196"/>
                  <a:pt x="110" y="196"/>
                </a:cubicBezTo>
                <a:cubicBezTo>
                  <a:pt x="109" y="197"/>
                  <a:pt x="109" y="197"/>
                  <a:pt x="108" y="197"/>
                </a:cubicBezTo>
                <a:cubicBezTo>
                  <a:pt x="110" y="200"/>
                  <a:pt x="111" y="202"/>
                  <a:pt x="112" y="205"/>
                </a:cubicBezTo>
                <a:cubicBezTo>
                  <a:pt x="113" y="208"/>
                  <a:pt x="109" y="203"/>
                  <a:pt x="109" y="202"/>
                </a:cubicBezTo>
                <a:cubicBezTo>
                  <a:pt x="108" y="201"/>
                  <a:pt x="108" y="199"/>
                  <a:pt x="107" y="197"/>
                </a:cubicBezTo>
                <a:cubicBezTo>
                  <a:pt x="107" y="197"/>
                  <a:pt x="106" y="196"/>
                  <a:pt x="106" y="196"/>
                </a:cubicBezTo>
                <a:cubicBezTo>
                  <a:pt x="106" y="196"/>
                  <a:pt x="106" y="195"/>
                  <a:pt x="106" y="194"/>
                </a:cubicBezTo>
                <a:cubicBezTo>
                  <a:pt x="105" y="193"/>
                  <a:pt x="104" y="192"/>
                  <a:pt x="103" y="191"/>
                </a:cubicBezTo>
                <a:cubicBezTo>
                  <a:pt x="102" y="190"/>
                  <a:pt x="101" y="189"/>
                  <a:pt x="100" y="190"/>
                </a:cubicBezTo>
                <a:cubicBezTo>
                  <a:pt x="100" y="190"/>
                  <a:pt x="100" y="191"/>
                  <a:pt x="99" y="191"/>
                </a:cubicBezTo>
                <a:cubicBezTo>
                  <a:pt x="99" y="191"/>
                  <a:pt x="99" y="191"/>
                  <a:pt x="99" y="191"/>
                </a:cubicBezTo>
                <a:cubicBezTo>
                  <a:pt x="99" y="192"/>
                  <a:pt x="99" y="192"/>
                  <a:pt x="99" y="192"/>
                </a:cubicBezTo>
                <a:cubicBezTo>
                  <a:pt x="99" y="193"/>
                  <a:pt x="99" y="195"/>
                  <a:pt x="98" y="194"/>
                </a:cubicBezTo>
                <a:cubicBezTo>
                  <a:pt x="98" y="195"/>
                  <a:pt x="98" y="195"/>
                  <a:pt x="98" y="195"/>
                </a:cubicBezTo>
                <a:cubicBezTo>
                  <a:pt x="96" y="195"/>
                  <a:pt x="96" y="194"/>
                  <a:pt x="95" y="192"/>
                </a:cubicBezTo>
                <a:cubicBezTo>
                  <a:pt x="94" y="192"/>
                  <a:pt x="94" y="192"/>
                  <a:pt x="93" y="192"/>
                </a:cubicBezTo>
                <a:cubicBezTo>
                  <a:pt x="93" y="192"/>
                  <a:pt x="93" y="191"/>
                  <a:pt x="93" y="191"/>
                </a:cubicBezTo>
                <a:cubicBezTo>
                  <a:pt x="92" y="193"/>
                  <a:pt x="92" y="194"/>
                  <a:pt x="92" y="196"/>
                </a:cubicBezTo>
                <a:cubicBezTo>
                  <a:pt x="92" y="197"/>
                  <a:pt x="92" y="199"/>
                  <a:pt x="91" y="199"/>
                </a:cubicBezTo>
                <a:cubicBezTo>
                  <a:pt x="91" y="200"/>
                  <a:pt x="90" y="201"/>
                  <a:pt x="89" y="201"/>
                </a:cubicBezTo>
                <a:cubicBezTo>
                  <a:pt x="90" y="202"/>
                  <a:pt x="90" y="202"/>
                  <a:pt x="89" y="203"/>
                </a:cubicBezTo>
                <a:cubicBezTo>
                  <a:pt x="88" y="204"/>
                  <a:pt x="86" y="205"/>
                  <a:pt x="85" y="203"/>
                </a:cubicBezTo>
                <a:cubicBezTo>
                  <a:pt x="85" y="203"/>
                  <a:pt x="85" y="203"/>
                  <a:pt x="85" y="203"/>
                </a:cubicBezTo>
                <a:cubicBezTo>
                  <a:pt x="85" y="203"/>
                  <a:pt x="84" y="203"/>
                  <a:pt x="84" y="203"/>
                </a:cubicBezTo>
                <a:cubicBezTo>
                  <a:pt x="84" y="204"/>
                  <a:pt x="85" y="205"/>
                  <a:pt x="84" y="206"/>
                </a:cubicBezTo>
                <a:cubicBezTo>
                  <a:pt x="85" y="206"/>
                  <a:pt x="86" y="207"/>
                  <a:pt x="86" y="207"/>
                </a:cubicBezTo>
                <a:cubicBezTo>
                  <a:pt x="87" y="207"/>
                  <a:pt x="87" y="209"/>
                  <a:pt x="88" y="210"/>
                </a:cubicBezTo>
                <a:cubicBezTo>
                  <a:pt x="90" y="211"/>
                  <a:pt x="90" y="212"/>
                  <a:pt x="91" y="213"/>
                </a:cubicBezTo>
                <a:cubicBezTo>
                  <a:pt x="91" y="214"/>
                  <a:pt x="92" y="213"/>
                  <a:pt x="92" y="213"/>
                </a:cubicBezTo>
                <a:cubicBezTo>
                  <a:pt x="92" y="215"/>
                  <a:pt x="91" y="216"/>
                  <a:pt x="92" y="216"/>
                </a:cubicBezTo>
                <a:cubicBezTo>
                  <a:pt x="92" y="216"/>
                  <a:pt x="92" y="217"/>
                  <a:pt x="92" y="217"/>
                </a:cubicBezTo>
                <a:cubicBezTo>
                  <a:pt x="92" y="217"/>
                  <a:pt x="92" y="217"/>
                  <a:pt x="92" y="217"/>
                </a:cubicBezTo>
                <a:cubicBezTo>
                  <a:pt x="92" y="217"/>
                  <a:pt x="92" y="217"/>
                  <a:pt x="92" y="218"/>
                </a:cubicBezTo>
                <a:cubicBezTo>
                  <a:pt x="92" y="219"/>
                  <a:pt x="93" y="219"/>
                  <a:pt x="93" y="220"/>
                </a:cubicBezTo>
                <a:cubicBezTo>
                  <a:pt x="93" y="220"/>
                  <a:pt x="92" y="219"/>
                  <a:pt x="92" y="219"/>
                </a:cubicBezTo>
                <a:cubicBezTo>
                  <a:pt x="90" y="221"/>
                  <a:pt x="87" y="226"/>
                  <a:pt x="86" y="226"/>
                </a:cubicBezTo>
                <a:cubicBezTo>
                  <a:pt x="84" y="226"/>
                  <a:pt x="83" y="222"/>
                  <a:pt x="81" y="220"/>
                </a:cubicBezTo>
                <a:cubicBezTo>
                  <a:pt x="80" y="220"/>
                  <a:pt x="79" y="222"/>
                  <a:pt x="78" y="221"/>
                </a:cubicBezTo>
                <a:cubicBezTo>
                  <a:pt x="77" y="219"/>
                  <a:pt x="79" y="219"/>
                  <a:pt x="80" y="218"/>
                </a:cubicBezTo>
                <a:cubicBezTo>
                  <a:pt x="80" y="217"/>
                  <a:pt x="80" y="213"/>
                  <a:pt x="80" y="210"/>
                </a:cubicBezTo>
                <a:cubicBezTo>
                  <a:pt x="80" y="209"/>
                  <a:pt x="81" y="208"/>
                  <a:pt x="81" y="207"/>
                </a:cubicBezTo>
                <a:cubicBezTo>
                  <a:pt x="80" y="206"/>
                  <a:pt x="79" y="202"/>
                  <a:pt x="79" y="201"/>
                </a:cubicBezTo>
                <a:cubicBezTo>
                  <a:pt x="78" y="201"/>
                  <a:pt x="78" y="203"/>
                  <a:pt x="77" y="203"/>
                </a:cubicBezTo>
                <a:cubicBezTo>
                  <a:pt x="77" y="202"/>
                  <a:pt x="78" y="201"/>
                  <a:pt x="78" y="200"/>
                </a:cubicBezTo>
                <a:cubicBezTo>
                  <a:pt x="77" y="198"/>
                  <a:pt x="76" y="194"/>
                  <a:pt x="76" y="192"/>
                </a:cubicBezTo>
                <a:cubicBezTo>
                  <a:pt x="75" y="192"/>
                  <a:pt x="74" y="192"/>
                  <a:pt x="74" y="193"/>
                </a:cubicBezTo>
                <a:cubicBezTo>
                  <a:pt x="74" y="194"/>
                  <a:pt x="75" y="194"/>
                  <a:pt x="75" y="194"/>
                </a:cubicBezTo>
                <a:cubicBezTo>
                  <a:pt x="75" y="194"/>
                  <a:pt x="74" y="197"/>
                  <a:pt x="73" y="200"/>
                </a:cubicBezTo>
                <a:cubicBezTo>
                  <a:pt x="73" y="201"/>
                  <a:pt x="73" y="201"/>
                  <a:pt x="72" y="202"/>
                </a:cubicBezTo>
                <a:cubicBezTo>
                  <a:pt x="72" y="202"/>
                  <a:pt x="72" y="202"/>
                  <a:pt x="72" y="202"/>
                </a:cubicBezTo>
                <a:cubicBezTo>
                  <a:pt x="72" y="202"/>
                  <a:pt x="72" y="202"/>
                  <a:pt x="72" y="202"/>
                </a:cubicBezTo>
                <a:cubicBezTo>
                  <a:pt x="71" y="202"/>
                  <a:pt x="70" y="202"/>
                  <a:pt x="70" y="202"/>
                </a:cubicBezTo>
                <a:cubicBezTo>
                  <a:pt x="68" y="205"/>
                  <a:pt x="70" y="208"/>
                  <a:pt x="69" y="210"/>
                </a:cubicBezTo>
                <a:cubicBezTo>
                  <a:pt x="69" y="210"/>
                  <a:pt x="69" y="211"/>
                  <a:pt x="69" y="212"/>
                </a:cubicBezTo>
                <a:cubicBezTo>
                  <a:pt x="69" y="212"/>
                  <a:pt x="69" y="212"/>
                  <a:pt x="69" y="212"/>
                </a:cubicBezTo>
                <a:cubicBezTo>
                  <a:pt x="70" y="212"/>
                  <a:pt x="73" y="217"/>
                  <a:pt x="71" y="218"/>
                </a:cubicBezTo>
                <a:cubicBezTo>
                  <a:pt x="70" y="219"/>
                  <a:pt x="68" y="218"/>
                  <a:pt x="67" y="216"/>
                </a:cubicBezTo>
                <a:cubicBezTo>
                  <a:pt x="67" y="216"/>
                  <a:pt x="67" y="216"/>
                  <a:pt x="67" y="216"/>
                </a:cubicBezTo>
                <a:cubicBezTo>
                  <a:pt x="66" y="216"/>
                  <a:pt x="66" y="216"/>
                  <a:pt x="66" y="216"/>
                </a:cubicBezTo>
                <a:cubicBezTo>
                  <a:pt x="66" y="216"/>
                  <a:pt x="66" y="216"/>
                  <a:pt x="66" y="216"/>
                </a:cubicBezTo>
                <a:cubicBezTo>
                  <a:pt x="66" y="216"/>
                  <a:pt x="66" y="216"/>
                  <a:pt x="66" y="216"/>
                </a:cubicBezTo>
                <a:cubicBezTo>
                  <a:pt x="66" y="217"/>
                  <a:pt x="66" y="219"/>
                  <a:pt x="66" y="219"/>
                </a:cubicBezTo>
                <a:cubicBezTo>
                  <a:pt x="66" y="219"/>
                  <a:pt x="66" y="219"/>
                  <a:pt x="66" y="220"/>
                </a:cubicBezTo>
                <a:cubicBezTo>
                  <a:pt x="67" y="220"/>
                  <a:pt x="68" y="220"/>
                  <a:pt x="68" y="220"/>
                </a:cubicBezTo>
                <a:cubicBezTo>
                  <a:pt x="70" y="221"/>
                  <a:pt x="70" y="224"/>
                  <a:pt x="72" y="226"/>
                </a:cubicBezTo>
                <a:cubicBezTo>
                  <a:pt x="73" y="227"/>
                  <a:pt x="76" y="230"/>
                  <a:pt x="76" y="231"/>
                </a:cubicBezTo>
                <a:cubicBezTo>
                  <a:pt x="76" y="232"/>
                  <a:pt x="74" y="233"/>
                  <a:pt x="73" y="233"/>
                </a:cubicBezTo>
                <a:cubicBezTo>
                  <a:pt x="73" y="234"/>
                  <a:pt x="74" y="234"/>
                  <a:pt x="74" y="234"/>
                </a:cubicBezTo>
                <a:cubicBezTo>
                  <a:pt x="75" y="235"/>
                  <a:pt x="74" y="236"/>
                  <a:pt x="73" y="237"/>
                </a:cubicBezTo>
                <a:cubicBezTo>
                  <a:pt x="73" y="238"/>
                  <a:pt x="73" y="239"/>
                  <a:pt x="72" y="239"/>
                </a:cubicBezTo>
                <a:cubicBezTo>
                  <a:pt x="72" y="239"/>
                  <a:pt x="71" y="238"/>
                  <a:pt x="70" y="237"/>
                </a:cubicBezTo>
                <a:cubicBezTo>
                  <a:pt x="69" y="236"/>
                  <a:pt x="68" y="235"/>
                  <a:pt x="70" y="234"/>
                </a:cubicBezTo>
                <a:cubicBezTo>
                  <a:pt x="70" y="233"/>
                  <a:pt x="70" y="233"/>
                  <a:pt x="68" y="234"/>
                </a:cubicBezTo>
                <a:cubicBezTo>
                  <a:pt x="68" y="235"/>
                  <a:pt x="68" y="236"/>
                  <a:pt x="67" y="236"/>
                </a:cubicBezTo>
                <a:cubicBezTo>
                  <a:pt x="66" y="236"/>
                  <a:pt x="65" y="235"/>
                  <a:pt x="65" y="234"/>
                </a:cubicBezTo>
                <a:cubicBezTo>
                  <a:pt x="64" y="235"/>
                  <a:pt x="63" y="237"/>
                  <a:pt x="62" y="237"/>
                </a:cubicBezTo>
                <a:cubicBezTo>
                  <a:pt x="62" y="237"/>
                  <a:pt x="59" y="236"/>
                  <a:pt x="58" y="235"/>
                </a:cubicBezTo>
                <a:cubicBezTo>
                  <a:pt x="58" y="234"/>
                  <a:pt x="57" y="231"/>
                  <a:pt x="57" y="231"/>
                </a:cubicBezTo>
                <a:cubicBezTo>
                  <a:pt x="56" y="231"/>
                  <a:pt x="56" y="232"/>
                  <a:pt x="56" y="233"/>
                </a:cubicBezTo>
                <a:cubicBezTo>
                  <a:pt x="56" y="233"/>
                  <a:pt x="57" y="233"/>
                  <a:pt x="57" y="233"/>
                </a:cubicBezTo>
                <a:cubicBezTo>
                  <a:pt x="57" y="233"/>
                  <a:pt x="57" y="233"/>
                  <a:pt x="57" y="233"/>
                </a:cubicBezTo>
                <a:cubicBezTo>
                  <a:pt x="57" y="233"/>
                  <a:pt x="57" y="233"/>
                  <a:pt x="57" y="233"/>
                </a:cubicBezTo>
                <a:cubicBezTo>
                  <a:pt x="57" y="234"/>
                  <a:pt x="58" y="235"/>
                  <a:pt x="57" y="236"/>
                </a:cubicBezTo>
                <a:cubicBezTo>
                  <a:pt x="57" y="236"/>
                  <a:pt x="57" y="236"/>
                  <a:pt x="56" y="236"/>
                </a:cubicBezTo>
                <a:cubicBezTo>
                  <a:pt x="56" y="236"/>
                  <a:pt x="56" y="237"/>
                  <a:pt x="56" y="237"/>
                </a:cubicBezTo>
                <a:cubicBezTo>
                  <a:pt x="56" y="237"/>
                  <a:pt x="56" y="237"/>
                  <a:pt x="55" y="236"/>
                </a:cubicBezTo>
                <a:cubicBezTo>
                  <a:pt x="55" y="236"/>
                  <a:pt x="55" y="237"/>
                  <a:pt x="55" y="237"/>
                </a:cubicBezTo>
                <a:cubicBezTo>
                  <a:pt x="54" y="236"/>
                  <a:pt x="54" y="233"/>
                  <a:pt x="55" y="233"/>
                </a:cubicBezTo>
                <a:cubicBezTo>
                  <a:pt x="55" y="232"/>
                  <a:pt x="55" y="230"/>
                  <a:pt x="56" y="230"/>
                </a:cubicBezTo>
                <a:cubicBezTo>
                  <a:pt x="56" y="230"/>
                  <a:pt x="57" y="231"/>
                  <a:pt x="57" y="231"/>
                </a:cubicBezTo>
                <a:cubicBezTo>
                  <a:pt x="58" y="230"/>
                  <a:pt x="57" y="229"/>
                  <a:pt x="57" y="229"/>
                </a:cubicBezTo>
                <a:cubicBezTo>
                  <a:pt x="57" y="228"/>
                  <a:pt x="58" y="227"/>
                  <a:pt x="58" y="226"/>
                </a:cubicBezTo>
                <a:cubicBezTo>
                  <a:pt x="58" y="225"/>
                  <a:pt x="58" y="224"/>
                  <a:pt x="59" y="224"/>
                </a:cubicBezTo>
                <a:cubicBezTo>
                  <a:pt x="60" y="223"/>
                  <a:pt x="60" y="224"/>
                  <a:pt x="60" y="225"/>
                </a:cubicBezTo>
                <a:cubicBezTo>
                  <a:pt x="61" y="225"/>
                  <a:pt x="61" y="225"/>
                  <a:pt x="61" y="225"/>
                </a:cubicBezTo>
                <a:cubicBezTo>
                  <a:pt x="61" y="224"/>
                  <a:pt x="61" y="222"/>
                  <a:pt x="62" y="221"/>
                </a:cubicBezTo>
                <a:cubicBezTo>
                  <a:pt x="62" y="221"/>
                  <a:pt x="62" y="222"/>
                  <a:pt x="63" y="222"/>
                </a:cubicBezTo>
                <a:cubicBezTo>
                  <a:pt x="62" y="220"/>
                  <a:pt x="62" y="219"/>
                  <a:pt x="61" y="218"/>
                </a:cubicBezTo>
                <a:cubicBezTo>
                  <a:pt x="61" y="218"/>
                  <a:pt x="61" y="217"/>
                  <a:pt x="61" y="217"/>
                </a:cubicBezTo>
                <a:cubicBezTo>
                  <a:pt x="60" y="218"/>
                  <a:pt x="60" y="218"/>
                  <a:pt x="59" y="218"/>
                </a:cubicBezTo>
                <a:cubicBezTo>
                  <a:pt x="57" y="219"/>
                  <a:pt x="58" y="213"/>
                  <a:pt x="60" y="216"/>
                </a:cubicBezTo>
                <a:cubicBezTo>
                  <a:pt x="60" y="216"/>
                  <a:pt x="60" y="216"/>
                  <a:pt x="60" y="215"/>
                </a:cubicBezTo>
                <a:cubicBezTo>
                  <a:pt x="60" y="214"/>
                  <a:pt x="59" y="212"/>
                  <a:pt x="58" y="213"/>
                </a:cubicBezTo>
                <a:cubicBezTo>
                  <a:pt x="57" y="213"/>
                  <a:pt x="58" y="216"/>
                  <a:pt x="57" y="216"/>
                </a:cubicBezTo>
                <a:cubicBezTo>
                  <a:pt x="56" y="217"/>
                  <a:pt x="54" y="213"/>
                  <a:pt x="54" y="213"/>
                </a:cubicBezTo>
                <a:cubicBezTo>
                  <a:pt x="54" y="213"/>
                  <a:pt x="53" y="213"/>
                  <a:pt x="53" y="213"/>
                </a:cubicBezTo>
                <a:cubicBezTo>
                  <a:pt x="55" y="215"/>
                  <a:pt x="55" y="219"/>
                  <a:pt x="55" y="221"/>
                </a:cubicBezTo>
                <a:cubicBezTo>
                  <a:pt x="54" y="223"/>
                  <a:pt x="51" y="223"/>
                  <a:pt x="51" y="224"/>
                </a:cubicBezTo>
                <a:cubicBezTo>
                  <a:pt x="51" y="226"/>
                  <a:pt x="51" y="228"/>
                  <a:pt x="52" y="230"/>
                </a:cubicBezTo>
                <a:cubicBezTo>
                  <a:pt x="51" y="229"/>
                  <a:pt x="51" y="228"/>
                  <a:pt x="50" y="227"/>
                </a:cubicBezTo>
                <a:cubicBezTo>
                  <a:pt x="49" y="227"/>
                  <a:pt x="50" y="226"/>
                  <a:pt x="49" y="225"/>
                </a:cubicBezTo>
                <a:cubicBezTo>
                  <a:pt x="49" y="225"/>
                  <a:pt x="49" y="225"/>
                  <a:pt x="48" y="225"/>
                </a:cubicBezTo>
                <a:cubicBezTo>
                  <a:pt x="48" y="226"/>
                  <a:pt x="48" y="226"/>
                  <a:pt x="48" y="226"/>
                </a:cubicBezTo>
                <a:cubicBezTo>
                  <a:pt x="47" y="227"/>
                  <a:pt x="47" y="226"/>
                  <a:pt x="47" y="225"/>
                </a:cubicBezTo>
                <a:cubicBezTo>
                  <a:pt x="47" y="225"/>
                  <a:pt x="46" y="225"/>
                  <a:pt x="46" y="225"/>
                </a:cubicBezTo>
                <a:cubicBezTo>
                  <a:pt x="45" y="225"/>
                  <a:pt x="44" y="225"/>
                  <a:pt x="43" y="225"/>
                </a:cubicBezTo>
                <a:cubicBezTo>
                  <a:pt x="43" y="225"/>
                  <a:pt x="43" y="226"/>
                  <a:pt x="42" y="226"/>
                </a:cubicBezTo>
                <a:cubicBezTo>
                  <a:pt x="42" y="226"/>
                  <a:pt x="42" y="226"/>
                  <a:pt x="42" y="226"/>
                </a:cubicBezTo>
                <a:cubicBezTo>
                  <a:pt x="42" y="226"/>
                  <a:pt x="42" y="226"/>
                  <a:pt x="42" y="226"/>
                </a:cubicBezTo>
                <a:cubicBezTo>
                  <a:pt x="41" y="226"/>
                  <a:pt x="41" y="226"/>
                  <a:pt x="40" y="225"/>
                </a:cubicBezTo>
                <a:cubicBezTo>
                  <a:pt x="39" y="225"/>
                  <a:pt x="38" y="225"/>
                  <a:pt x="37" y="225"/>
                </a:cubicBezTo>
                <a:cubicBezTo>
                  <a:pt x="37" y="225"/>
                  <a:pt x="36" y="225"/>
                  <a:pt x="36" y="225"/>
                </a:cubicBezTo>
                <a:cubicBezTo>
                  <a:pt x="36" y="226"/>
                  <a:pt x="36" y="226"/>
                  <a:pt x="35" y="226"/>
                </a:cubicBezTo>
                <a:cubicBezTo>
                  <a:pt x="35" y="226"/>
                  <a:pt x="35" y="226"/>
                  <a:pt x="34" y="225"/>
                </a:cubicBezTo>
                <a:cubicBezTo>
                  <a:pt x="33" y="225"/>
                  <a:pt x="32" y="224"/>
                  <a:pt x="31" y="224"/>
                </a:cubicBezTo>
                <a:cubicBezTo>
                  <a:pt x="31" y="224"/>
                  <a:pt x="31" y="224"/>
                  <a:pt x="31" y="224"/>
                </a:cubicBezTo>
                <a:cubicBezTo>
                  <a:pt x="31" y="226"/>
                  <a:pt x="31" y="228"/>
                  <a:pt x="30" y="228"/>
                </a:cubicBezTo>
                <a:cubicBezTo>
                  <a:pt x="28" y="229"/>
                  <a:pt x="27" y="225"/>
                  <a:pt x="27" y="223"/>
                </a:cubicBezTo>
                <a:cubicBezTo>
                  <a:pt x="28" y="225"/>
                  <a:pt x="28" y="224"/>
                  <a:pt x="29" y="223"/>
                </a:cubicBezTo>
                <a:cubicBezTo>
                  <a:pt x="28" y="223"/>
                  <a:pt x="27" y="223"/>
                  <a:pt x="27" y="223"/>
                </a:cubicBezTo>
                <a:cubicBezTo>
                  <a:pt x="26" y="224"/>
                  <a:pt x="25" y="224"/>
                  <a:pt x="25" y="223"/>
                </a:cubicBezTo>
                <a:cubicBezTo>
                  <a:pt x="24" y="223"/>
                  <a:pt x="25" y="221"/>
                  <a:pt x="26" y="220"/>
                </a:cubicBezTo>
                <a:cubicBezTo>
                  <a:pt x="26" y="220"/>
                  <a:pt x="26" y="220"/>
                  <a:pt x="26" y="220"/>
                </a:cubicBezTo>
                <a:cubicBezTo>
                  <a:pt x="26" y="219"/>
                  <a:pt x="25" y="218"/>
                  <a:pt x="23" y="216"/>
                </a:cubicBezTo>
                <a:cubicBezTo>
                  <a:pt x="23" y="217"/>
                  <a:pt x="22" y="217"/>
                  <a:pt x="22" y="217"/>
                </a:cubicBezTo>
                <a:cubicBezTo>
                  <a:pt x="22" y="216"/>
                  <a:pt x="22" y="216"/>
                  <a:pt x="23" y="215"/>
                </a:cubicBezTo>
                <a:cubicBezTo>
                  <a:pt x="22" y="215"/>
                  <a:pt x="22" y="215"/>
                  <a:pt x="22" y="215"/>
                </a:cubicBezTo>
                <a:cubicBezTo>
                  <a:pt x="22" y="215"/>
                  <a:pt x="21" y="216"/>
                  <a:pt x="21" y="216"/>
                </a:cubicBezTo>
                <a:cubicBezTo>
                  <a:pt x="20" y="217"/>
                  <a:pt x="18" y="217"/>
                  <a:pt x="18" y="219"/>
                </a:cubicBezTo>
                <a:cubicBezTo>
                  <a:pt x="17" y="219"/>
                  <a:pt x="18" y="218"/>
                  <a:pt x="17" y="218"/>
                </a:cubicBezTo>
                <a:cubicBezTo>
                  <a:pt x="18" y="220"/>
                  <a:pt x="16" y="219"/>
                  <a:pt x="16" y="221"/>
                </a:cubicBezTo>
                <a:cubicBezTo>
                  <a:pt x="19" y="219"/>
                  <a:pt x="20" y="220"/>
                  <a:pt x="21" y="223"/>
                </a:cubicBezTo>
                <a:cubicBezTo>
                  <a:pt x="21" y="222"/>
                  <a:pt x="22" y="222"/>
                  <a:pt x="22" y="223"/>
                </a:cubicBezTo>
                <a:cubicBezTo>
                  <a:pt x="22" y="223"/>
                  <a:pt x="22" y="223"/>
                  <a:pt x="23" y="223"/>
                </a:cubicBezTo>
                <a:cubicBezTo>
                  <a:pt x="23" y="223"/>
                  <a:pt x="23" y="223"/>
                  <a:pt x="23" y="223"/>
                </a:cubicBezTo>
                <a:cubicBezTo>
                  <a:pt x="23" y="223"/>
                  <a:pt x="23" y="223"/>
                  <a:pt x="23" y="223"/>
                </a:cubicBezTo>
                <a:cubicBezTo>
                  <a:pt x="24" y="224"/>
                  <a:pt x="25" y="226"/>
                  <a:pt x="25" y="226"/>
                </a:cubicBezTo>
                <a:cubicBezTo>
                  <a:pt x="25" y="226"/>
                  <a:pt x="25" y="228"/>
                  <a:pt x="25" y="228"/>
                </a:cubicBezTo>
                <a:cubicBezTo>
                  <a:pt x="27" y="228"/>
                  <a:pt x="31" y="229"/>
                  <a:pt x="31" y="231"/>
                </a:cubicBezTo>
                <a:cubicBezTo>
                  <a:pt x="32" y="232"/>
                  <a:pt x="31" y="236"/>
                  <a:pt x="31" y="237"/>
                </a:cubicBezTo>
                <a:cubicBezTo>
                  <a:pt x="31" y="237"/>
                  <a:pt x="29" y="237"/>
                  <a:pt x="29" y="238"/>
                </a:cubicBezTo>
                <a:cubicBezTo>
                  <a:pt x="27" y="241"/>
                  <a:pt x="27" y="237"/>
                  <a:pt x="26" y="242"/>
                </a:cubicBezTo>
                <a:cubicBezTo>
                  <a:pt x="25" y="241"/>
                  <a:pt x="24" y="239"/>
                  <a:pt x="23" y="239"/>
                </a:cubicBezTo>
                <a:cubicBezTo>
                  <a:pt x="23" y="239"/>
                  <a:pt x="21" y="239"/>
                  <a:pt x="22" y="239"/>
                </a:cubicBezTo>
                <a:cubicBezTo>
                  <a:pt x="20" y="238"/>
                  <a:pt x="22" y="235"/>
                  <a:pt x="20" y="233"/>
                </a:cubicBezTo>
                <a:cubicBezTo>
                  <a:pt x="20" y="234"/>
                  <a:pt x="20" y="235"/>
                  <a:pt x="19" y="236"/>
                </a:cubicBezTo>
                <a:cubicBezTo>
                  <a:pt x="20" y="237"/>
                  <a:pt x="20" y="238"/>
                  <a:pt x="18" y="238"/>
                </a:cubicBezTo>
                <a:cubicBezTo>
                  <a:pt x="22" y="239"/>
                  <a:pt x="22" y="249"/>
                  <a:pt x="17" y="249"/>
                </a:cubicBezTo>
                <a:cubicBezTo>
                  <a:pt x="17" y="249"/>
                  <a:pt x="17" y="249"/>
                  <a:pt x="17" y="249"/>
                </a:cubicBezTo>
                <a:cubicBezTo>
                  <a:pt x="17" y="249"/>
                  <a:pt x="17" y="249"/>
                  <a:pt x="17" y="250"/>
                </a:cubicBezTo>
                <a:cubicBezTo>
                  <a:pt x="20" y="251"/>
                  <a:pt x="21" y="254"/>
                  <a:pt x="20" y="258"/>
                </a:cubicBezTo>
                <a:cubicBezTo>
                  <a:pt x="20" y="257"/>
                  <a:pt x="20" y="258"/>
                  <a:pt x="20" y="258"/>
                </a:cubicBezTo>
                <a:cubicBezTo>
                  <a:pt x="21" y="261"/>
                  <a:pt x="23" y="263"/>
                  <a:pt x="23" y="265"/>
                </a:cubicBezTo>
                <a:cubicBezTo>
                  <a:pt x="23" y="266"/>
                  <a:pt x="23" y="267"/>
                  <a:pt x="23" y="268"/>
                </a:cubicBezTo>
                <a:cubicBezTo>
                  <a:pt x="23" y="270"/>
                  <a:pt x="27" y="272"/>
                  <a:pt x="26" y="275"/>
                </a:cubicBezTo>
                <a:cubicBezTo>
                  <a:pt x="26" y="276"/>
                  <a:pt x="26" y="275"/>
                  <a:pt x="27" y="277"/>
                </a:cubicBezTo>
                <a:cubicBezTo>
                  <a:pt x="27" y="278"/>
                  <a:pt x="28" y="280"/>
                  <a:pt x="28" y="281"/>
                </a:cubicBezTo>
                <a:cubicBezTo>
                  <a:pt x="29" y="282"/>
                  <a:pt x="30" y="285"/>
                  <a:pt x="30" y="285"/>
                </a:cubicBezTo>
                <a:cubicBezTo>
                  <a:pt x="32" y="287"/>
                  <a:pt x="32" y="285"/>
                  <a:pt x="32" y="287"/>
                </a:cubicBezTo>
                <a:cubicBezTo>
                  <a:pt x="31" y="288"/>
                  <a:pt x="32" y="288"/>
                  <a:pt x="32" y="289"/>
                </a:cubicBezTo>
                <a:cubicBezTo>
                  <a:pt x="32" y="288"/>
                  <a:pt x="32" y="288"/>
                  <a:pt x="32" y="288"/>
                </a:cubicBezTo>
                <a:cubicBezTo>
                  <a:pt x="33" y="287"/>
                  <a:pt x="34" y="290"/>
                  <a:pt x="33" y="290"/>
                </a:cubicBezTo>
                <a:cubicBezTo>
                  <a:pt x="33" y="291"/>
                  <a:pt x="34" y="291"/>
                  <a:pt x="34" y="292"/>
                </a:cubicBezTo>
                <a:cubicBezTo>
                  <a:pt x="34" y="292"/>
                  <a:pt x="35" y="292"/>
                  <a:pt x="35" y="292"/>
                </a:cubicBezTo>
                <a:cubicBezTo>
                  <a:pt x="36" y="288"/>
                  <a:pt x="34" y="286"/>
                  <a:pt x="38" y="288"/>
                </a:cubicBezTo>
                <a:cubicBezTo>
                  <a:pt x="39" y="288"/>
                  <a:pt x="39" y="287"/>
                  <a:pt x="40" y="288"/>
                </a:cubicBezTo>
                <a:cubicBezTo>
                  <a:pt x="42" y="289"/>
                  <a:pt x="39" y="291"/>
                  <a:pt x="38" y="290"/>
                </a:cubicBezTo>
                <a:cubicBezTo>
                  <a:pt x="39" y="291"/>
                  <a:pt x="40" y="291"/>
                  <a:pt x="41" y="289"/>
                </a:cubicBezTo>
                <a:cubicBezTo>
                  <a:pt x="42" y="289"/>
                  <a:pt x="42" y="292"/>
                  <a:pt x="41" y="293"/>
                </a:cubicBezTo>
                <a:cubicBezTo>
                  <a:pt x="41" y="293"/>
                  <a:pt x="38" y="295"/>
                  <a:pt x="37" y="296"/>
                </a:cubicBezTo>
                <a:cubicBezTo>
                  <a:pt x="37" y="297"/>
                  <a:pt x="38" y="298"/>
                  <a:pt x="38" y="299"/>
                </a:cubicBezTo>
                <a:cubicBezTo>
                  <a:pt x="40" y="301"/>
                  <a:pt x="40" y="304"/>
                  <a:pt x="41" y="306"/>
                </a:cubicBezTo>
                <a:cubicBezTo>
                  <a:pt x="42" y="307"/>
                  <a:pt x="42" y="307"/>
                  <a:pt x="42" y="309"/>
                </a:cubicBezTo>
                <a:cubicBezTo>
                  <a:pt x="42" y="310"/>
                  <a:pt x="43" y="310"/>
                  <a:pt x="43" y="311"/>
                </a:cubicBezTo>
                <a:cubicBezTo>
                  <a:pt x="44" y="313"/>
                  <a:pt x="45" y="316"/>
                  <a:pt x="46" y="318"/>
                </a:cubicBezTo>
                <a:cubicBezTo>
                  <a:pt x="46" y="318"/>
                  <a:pt x="46" y="317"/>
                  <a:pt x="46" y="318"/>
                </a:cubicBezTo>
                <a:cubicBezTo>
                  <a:pt x="46" y="318"/>
                  <a:pt x="46" y="318"/>
                  <a:pt x="46" y="318"/>
                </a:cubicBezTo>
                <a:cubicBezTo>
                  <a:pt x="46" y="319"/>
                  <a:pt x="46" y="319"/>
                  <a:pt x="47" y="320"/>
                </a:cubicBezTo>
                <a:cubicBezTo>
                  <a:pt x="47" y="320"/>
                  <a:pt x="47" y="324"/>
                  <a:pt x="48" y="324"/>
                </a:cubicBezTo>
                <a:cubicBezTo>
                  <a:pt x="48" y="324"/>
                  <a:pt x="47" y="317"/>
                  <a:pt x="51" y="319"/>
                </a:cubicBezTo>
                <a:cubicBezTo>
                  <a:pt x="51" y="319"/>
                  <a:pt x="52" y="319"/>
                  <a:pt x="52" y="320"/>
                </a:cubicBezTo>
                <a:cubicBezTo>
                  <a:pt x="51" y="316"/>
                  <a:pt x="51" y="310"/>
                  <a:pt x="53" y="306"/>
                </a:cubicBezTo>
                <a:cubicBezTo>
                  <a:pt x="50" y="306"/>
                  <a:pt x="50" y="314"/>
                  <a:pt x="47" y="314"/>
                </a:cubicBezTo>
                <a:cubicBezTo>
                  <a:pt x="45" y="314"/>
                  <a:pt x="48" y="308"/>
                  <a:pt x="46" y="306"/>
                </a:cubicBezTo>
                <a:cubicBezTo>
                  <a:pt x="45" y="305"/>
                  <a:pt x="45" y="306"/>
                  <a:pt x="44" y="305"/>
                </a:cubicBezTo>
                <a:cubicBezTo>
                  <a:pt x="44" y="304"/>
                  <a:pt x="46" y="301"/>
                  <a:pt x="43" y="301"/>
                </a:cubicBezTo>
                <a:cubicBezTo>
                  <a:pt x="40" y="302"/>
                  <a:pt x="46" y="290"/>
                  <a:pt x="49" y="289"/>
                </a:cubicBezTo>
                <a:cubicBezTo>
                  <a:pt x="51" y="289"/>
                  <a:pt x="55" y="290"/>
                  <a:pt x="55" y="291"/>
                </a:cubicBezTo>
                <a:cubicBezTo>
                  <a:pt x="55" y="291"/>
                  <a:pt x="56" y="298"/>
                  <a:pt x="56" y="298"/>
                </a:cubicBezTo>
                <a:cubicBezTo>
                  <a:pt x="56" y="299"/>
                  <a:pt x="56" y="300"/>
                  <a:pt x="56" y="301"/>
                </a:cubicBezTo>
                <a:cubicBezTo>
                  <a:pt x="56" y="301"/>
                  <a:pt x="56" y="301"/>
                  <a:pt x="57" y="300"/>
                </a:cubicBezTo>
                <a:cubicBezTo>
                  <a:pt x="58" y="300"/>
                  <a:pt x="60" y="299"/>
                  <a:pt x="61" y="300"/>
                </a:cubicBezTo>
                <a:cubicBezTo>
                  <a:pt x="66" y="303"/>
                  <a:pt x="64" y="314"/>
                  <a:pt x="63" y="319"/>
                </a:cubicBezTo>
                <a:cubicBezTo>
                  <a:pt x="63" y="318"/>
                  <a:pt x="64" y="318"/>
                  <a:pt x="65" y="318"/>
                </a:cubicBezTo>
                <a:cubicBezTo>
                  <a:pt x="68" y="319"/>
                  <a:pt x="67" y="328"/>
                  <a:pt x="64" y="328"/>
                </a:cubicBezTo>
                <a:cubicBezTo>
                  <a:pt x="64" y="328"/>
                  <a:pt x="64" y="330"/>
                  <a:pt x="63" y="330"/>
                </a:cubicBezTo>
                <a:cubicBezTo>
                  <a:pt x="63" y="330"/>
                  <a:pt x="62" y="328"/>
                  <a:pt x="63" y="328"/>
                </a:cubicBezTo>
                <a:cubicBezTo>
                  <a:pt x="61" y="327"/>
                  <a:pt x="61" y="324"/>
                  <a:pt x="61" y="322"/>
                </a:cubicBezTo>
                <a:cubicBezTo>
                  <a:pt x="61" y="321"/>
                  <a:pt x="60" y="319"/>
                  <a:pt x="58" y="318"/>
                </a:cubicBezTo>
                <a:cubicBezTo>
                  <a:pt x="58" y="318"/>
                  <a:pt x="56" y="319"/>
                  <a:pt x="56" y="319"/>
                </a:cubicBezTo>
                <a:cubicBezTo>
                  <a:pt x="56" y="318"/>
                  <a:pt x="55" y="316"/>
                  <a:pt x="54" y="316"/>
                </a:cubicBezTo>
                <a:cubicBezTo>
                  <a:pt x="52" y="316"/>
                  <a:pt x="53" y="319"/>
                  <a:pt x="52" y="321"/>
                </a:cubicBezTo>
                <a:cubicBezTo>
                  <a:pt x="53" y="324"/>
                  <a:pt x="52" y="328"/>
                  <a:pt x="51" y="329"/>
                </a:cubicBezTo>
                <a:cubicBezTo>
                  <a:pt x="50" y="329"/>
                  <a:pt x="49" y="329"/>
                  <a:pt x="49" y="329"/>
                </a:cubicBezTo>
                <a:cubicBezTo>
                  <a:pt x="49" y="330"/>
                  <a:pt x="50" y="330"/>
                  <a:pt x="50" y="331"/>
                </a:cubicBezTo>
                <a:cubicBezTo>
                  <a:pt x="51" y="332"/>
                  <a:pt x="52" y="333"/>
                  <a:pt x="53" y="334"/>
                </a:cubicBezTo>
                <a:cubicBezTo>
                  <a:pt x="53" y="335"/>
                  <a:pt x="53" y="335"/>
                  <a:pt x="53" y="336"/>
                </a:cubicBezTo>
                <a:cubicBezTo>
                  <a:pt x="56" y="333"/>
                  <a:pt x="57" y="335"/>
                  <a:pt x="56" y="337"/>
                </a:cubicBezTo>
                <a:cubicBezTo>
                  <a:pt x="57" y="338"/>
                  <a:pt x="57" y="339"/>
                  <a:pt x="57" y="339"/>
                </a:cubicBezTo>
                <a:cubicBezTo>
                  <a:pt x="57" y="340"/>
                  <a:pt x="56" y="340"/>
                  <a:pt x="56" y="339"/>
                </a:cubicBezTo>
                <a:cubicBezTo>
                  <a:pt x="56" y="340"/>
                  <a:pt x="56" y="341"/>
                  <a:pt x="55" y="341"/>
                </a:cubicBezTo>
                <a:cubicBezTo>
                  <a:pt x="55" y="341"/>
                  <a:pt x="56" y="342"/>
                  <a:pt x="56" y="342"/>
                </a:cubicBezTo>
                <a:cubicBezTo>
                  <a:pt x="56" y="343"/>
                  <a:pt x="57" y="343"/>
                  <a:pt x="57" y="343"/>
                </a:cubicBezTo>
                <a:cubicBezTo>
                  <a:pt x="58" y="344"/>
                  <a:pt x="57" y="345"/>
                  <a:pt x="57" y="345"/>
                </a:cubicBezTo>
                <a:cubicBezTo>
                  <a:pt x="58" y="346"/>
                  <a:pt x="59" y="347"/>
                  <a:pt x="60" y="348"/>
                </a:cubicBezTo>
                <a:cubicBezTo>
                  <a:pt x="60" y="348"/>
                  <a:pt x="61" y="348"/>
                  <a:pt x="61" y="350"/>
                </a:cubicBezTo>
                <a:cubicBezTo>
                  <a:pt x="62" y="351"/>
                  <a:pt x="62" y="351"/>
                  <a:pt x="63" y="352"/>
                </a:cubicBezTo>
                <a:cubicBezTo>
                  <a:pt x="65" y="356"/>
                  <a:pt x="66" y="361"/>
                  <a:pt x="68" y="365"/>
                </a:cubicBezTo>
                <a:cubicBezTo>
                  <a:pt x="68" y="366"/>
                  <a:pt x="68" y="366"/>
                  <a:pt x="68" y="366"/>
                </a:cubicBezTo>
                <a:cubicBezTo>
                  <a:pt x="68" y="366"/>
                  <a:pt x="69" y="365"/>
                  <a:pt x="68" y="365"/>
                </a:cubicBezTo>
                <a:cubicBezTo>
                  <a:pt x="68" y="364"/>
                  <a:pt x="69" y="362"/>
                  <a:pt x="71" y="361"/>
                </a:cubicBezTo>
                <a:cubicBezTo>
                  <a:pt x="71" y="360"/>
                  <a:pt x="71" y="360"/>
                  <a:pt x="71" y="360"/>
                </a:cubicBezTo>
                <a:cubicBezTo>
                  <a:pt x="72" y="360"/>
                  <a:pt x="74" y="359"/>
                  <a:pt x="75" y="359"/>
                </a:cubicBezTo>
                <a:cubicBezTo>
                  <a:pt x="82" y="360"/>
                  <a:pt x="82" y="374"/>
                  <a:pt x="79" y="380"/>
                </a:cubicBezTo>
                <a:cubicBezTo>
                  <a:pt x="79" y="381"/>
                  <a:pt x="77" y="383"/>
                  <a:pt x="75" y="384"/>
                </a:cubicBezTo>
                <a:cubicBezTo>
                  <a:pt x="76" y="386"/>
                  <a:pt x="77" y="388"/>
                  <a:pt x="76" y="388"/>
                </a:cubicBezTo>
                <a:cubicBezTo>
                  <a:pt x="75" y="389"/>
                  <a:pt x="75" y="387"/>
                  <a:pt x="74" y="385"/>
                </a:cubicBezTo>
                <a:cubicBezTo>
                  <a:pt x="74" y="385"/>
                  <a:pt x="74" y="385"/>
                  <a:pt x="74" y="385"/>
                </a:cubicBezTo>
                <a:cubicBezTo>
                  <a:pt x="73" y="386"/>
                  <a:pt x="73" y="388"/>
                  <a:pt x="72" y="388"/>
                </a:cubicBezTo>
                <a:cubicBezTo>
                  <a:pt x="71" y="388"/>
                  <a:pt x="69" y="384"/>
                  <a:pt x="67" y="380"/>
                </a:cubicBezTo>
                <a:cubicBezTo>
                  <a:pt x="68" y="385"/>
                  <a:pt x="68" y="392"/>
                  <a:pt x="69" y="397"/>
                </a:cubicBezTo>
                <a:cubicBezTo>
                  <a:pt x="69" y="397"/>
                  <a:pt x="71" y="404"/>
                  <a:pt x="70" y="404"/>
                </a:cubicBezTo>
                <a:cubicBezTo>
                  <a:pt x="69" y="405"/>
                  <a:pt x="69" y="398"/>
                  <a:pt x="69" y="397"/>
                </a:cubicBezTo>
                <a:cubicBezTo>
                  <a:pt x="68" y="391"/>
                  <a:pt x="66" y="381"/>
                  <a:pt x="65" y="375"/>
                </a:cubicBezTo>
                <a:cubicBezTo>
                  <a:pt x="65" y="375"/>
                  <a:pt x="65" y="374"/>
                  <a:pt x="65" y="374"/>
                </a:cubicBezTo>
                <a:cubicBezTo>
                  <a:pt x="65" y="374"/>
                  <a:pt x="65" y="374"/>
                  <a:pt x="66" y="374"/>
                </a:cubicBezTo>
                <a:cubicBezTo>
                  <a:pt x="66" y="374"/>
                  <a:pt x="66" y="375"/>
                  <a:pt x="66" y="375"/>
                </a:cubicBezTo>
                <a:cubicBezTo>
                  <a:pt x="66" y="374"/>
                  <a:pt x="66" y="373"/>
                  <a:pt x="66" y="371"/>
                </a:cubicBezTo>
                <a:cubicBezTo>
                  <a:pt x="65" y="371"/>
                  <a:pt x="64" y="370"/>
                  <a:pt x="64" y="370"/>
                </a:cubicBezTo>
                <a:cubicBezTo>
                  <a:pt x="64" y="369"/>
                  <a:pt x="65" y="369"/>
                  <a:pt x="65" y="369"/>
                </a:cubicBezTo>
                <a:cubicBezTo>
                  <a:pt x="64" y="368"/>
                  <a:pt x="64" y="368"/>
                  <a:pt x="63" y="367"/>
                </a:cubicBezTo>
                <a:cubicBezTo>
                  <a:pt x="62" y="366"/>
                  <a:pt x="62" y="364"/>
                  <a:pt x="62" y="362"/>
                </a:cubicBezTo>
                <a:cubicBezTo>
                  <a:pt x="61" y="361"/>
                  <a:pt x="60" y="359"/>
                  <a:pt x="58" y="357"/>
                </a:cubicBezTo>
                <a:cubicBezTo>
                  <a:pt x="58" y="357"/>
                  <a:pt x="59" y="357"/>
                  <a:pt x="59" y="356"/>
                </a:cubicBezTo>
                <a:cubicBezTo>
                  <a:pt x="58" y="355"/>
                  <a:pt x="55" y="353"/>
                  <a:pt x="55" y="352"/>
                </a:cubicBezTo>
                <a:cubicBezTo>
                  <a:pt x="55" y="352"/>
                  <a:pt x="55" y="351"/>
                  <a:pt x="55" y="350"/>
                </a:cubicBezTo>
                <a:cubicBezTo>
                  <a:pt x="55" y="348"/>
                  <a:pt x="53" y="347"/>
                  <a:pt x="53" y="345"/>
                </a:cubicBezTo>
                <a:cubicBezTo>
                  <a:pt x="52" y="343"/>
                  <a:pt x="51" y="341"/>
                  <a:pt x="51" y="340"/>
                </a:cubicBezTo>
                <a:cubicBezTo>
                  <a:pt x="51" y="340"/>
                  <a:pt x="51" y="340"/>
                  <a:pt x="51" y="340"/>
                </a:cubicBezTo>
                <a:cubicBezTo>
                  <a:pt x="51" y="339"/>
                  <a:pt x="50" y="339"/>
                  <a:pt x="50" y="338"/>
                </a:cubicBezTo>
                <a:cubicBezTo>
                  <a:pt x="50" y="338"/>
                  <a:pt x="50" y="337"/>
                  <a:pt x="50" y="337"/>
                </a:cubicBezTo>
                <a:cubicBezTo>
                  <a:pt x="50" y="336"/>
                  <a:pt x="49" y="336"/>
                  <a:pt x="49" y="336"/>
                </a:cubicBezTo>
                <a:cubicBezTo>
                  <a:pt x="49" y="335"/>
                  <a:pt x="50" y="335"/>
                  <a:pt x="49" y="334"/>
                </a:cubicBezTo>
                <a:cubicBezTo>
                  <a:pt x="49" y="334"/>
                  <a:pt x="48" y="334"/>
                  <a:pt x="48" y="333"/>
                </a:cubicBezTo>
                <a:cubicBezTo>
                  <a:pt x="48" y="333"/>
                  <a:pt x="48" y="332"/>
                  <a:pt x="48" y="332"/>
                </a:cubicBezTo>
                <a:cubicBezTo>
                  <a:pt x="48" y="331"/>
                  <a:pt x="47" y="331"/>
                  <a:pt x="46" y="330"/>
                </a:cubicBezTo>
                <a:cubicBezTo>
                  <a:pt x="45" y="329"/>
                  <a:pt x="46" y="327"/>
                  <a:pt x="45" y="326"/>
                </a:cubicBezTo>
                <a:cubicBezTo>
                  <a:pt x="42" y="323"/>
                  <a:pt x="41" y="319"/>
                  <a:pt x="38" y="315"/>
                </a:cubicBezTo>
                <a:cubicBezTo>
                  <a:pt x="37" y="312"/>
                  <a:pt x="35" y="309"/>
                  <a:pt x="34" y="306"/>
                </a:cubicBezTo>
                <a:cubicBezTo>
                  <a:pt x="34" y="306"/>
                  <a:pt x="34" y="307"/>
                  <a:pt x="33" y="307"/>
                </a:cubicBezTo>
                <a:cubicBezTo>
                  <a:pt x="33" y="310"/>
                  <a:pt x="29" y="311"/>
                  <a:pt x="29" y="312"/>
                </a:cubicBezTo>
                <a:cubicBezTo>
                  <a:pt x="29" y="313"/>
                  <a:pt x="30" y="314"/>
                  <a:pt x="30" y="314"/>
                </a:cubicBezTo>
                <a:cubicBezTo>
                  <a:pt x="30" y="314"/>
                  <a:pt x="30" y="314"/>
                  <a:pt x="30" y="314"/>
                </a:cubicBezTo>
                <a:cubicBezTo>
                  <a:pt x="30" y="314"/>
                  <a:pt x="30" y="314"/>
                  <a:pt x="30" y="315"/>
                </a:cubicBezTo>
                <a:cubicBezTo>
                  <a:pt x="31" y="316"/>
                  <a:pt x="32" y="316"/>
                  <a:pt x="32" y="317"/>
                </a:cubicBezTo>
                <a:cubicBezTo>
                  <a:pt x="33" y="319"/>
                  <a:pt x="32" y="319"/>
                  <a:pt x="32" y="320"/>
                </a:cubicBezTo>
                <a:cubicBezTo>
                  <a:pt x="32" y="320"/>
                  <a:pt x="32" y="320"/>
                  <a:pt x="32" y="320"/>
                </a:cubicBezTo>
                <a:cubicBezTo>
                  <a:pt x="32" y="321"/>
                  <a:pt x="33" y="321"/>
                  <a:pt x="33" y="321"/>
                </a:cubicBezTo>
                <a:cubicBezTo>
                  <a:pt x="34" y="322"/>
                  <a:pt x="34" y="326"/>
                  <a:pt x="33" y="327"/>
                </a:cubicBezTo>
                <a:cubicBezTo>
                  <a:pt x="33" y="327"/>
                  <a:pt x="32" y="326"/>
                  <a:pt x="31" y="325"/>
                </a:cubicBezTo>
                <a:cubicBezTo>
                  <a:pt x="31" y="325"/>
                  <a:pt x="31" y="326"/>
                  <a:pt x="31" y="326"/>
                </a:cubicBezTo>
                <a:cubicBezTo>
                  <a:pt x="31" y="327"/>
                  <a:pt x="31" y="328"/>
                  <a:pt x="31" y="328"/>
                </a:cubicBezTo>
                <a:cubicBezTo>
                  <a:pt x="30" y="334"/>
                  <a:pt x="27" y="336"/>
                  <a:pt x="24" y="332"/>
                </a:cubicBezTo>
                <a:cubicBezTo>
                  <a:pt x="22" y="330"/>
                  <a:pt x="23" y="321"/>
                  <a:pt x="28" y="321"/>
                </a:cubicBezTo>
                <a:cubicBezTo>
                  <a:pt x="30" y="322"/>
                  <a:pt x="29" y="322"/>
                  <a:pt x="28" y="320"/>
                </a:cubicBezTo>
                <a:cubicBezTo>
                  <a:pt x="27" y="317"/>
                  <a:pt x="29" y="315"/>
                  <a:pt x="27" y="314"/>
                </a:cubicBezTo>
                <a:cubicBezTo>
                  <a:pt x="22" y="311"/>
                  <a:pt x="22" y="308"/>
                  <a:pt x="24" y="304"/>
                </a:cubicBezTo>
                <a:cubicBezTo>
                  <a:pt x="22" y="304"/>
                  <a:pt x="23" y="301"/>
                  <a:pt x="23" y="300"/>
                </a:cubicBezTo>
                <a:cubicBezTo>
                  <a:pt x="23" y="300"/>
                  <a:pt x="22" y="299"/>
                  <a:pt x="23" y="299"/>
                </a:cubicBezTo>
                <a:cubicBezTo>
                  <a:pt x="24" y="298"/>
                  <a:pt x="25" y="298"/>
                  <a:pt x="25" y="299"/>
                </a:cubicBezTo>
                <a:cubicBezTo>
                  <a:pt x="26" y="298"/>
                  <a:pt x="27" y="298"/>
                  <a:pt x="29" y="298"/>
                </a:cubicBezTo>
                <a:cubicBezTo>
                  <a:pt x="30" y="298"/>
                  <a:pt x="31" y="298"/>
                  <a:pt x="31" y="299"/>
                </a:cubicBezTo>
                <a:cubicBezTo>
                  <a:pt x="31" y="298"/>
                  <a:pt x="31" y="298"/>
                  <a:pt x="31" y="298"/>
                </a:cubicBezTo>
                <a:cubicBezTo>
                  <a:pt x="30" y="296"/>
                  <a:pt x="31" y="294"/>
                  <a:pt x="30" y="293"/>
                </a:cubicBezTo>
                <a:cubicBezTo>
                  <a:pt x="30" y="291"/>
                  <a:pt x="29" y="291"/>
                  <a:pt x="28" y="289"/>
                </a:cubicBezTo>
                <a:cubicBezTo>
                  <a:pt x="28" y="288"/>
                  <a:pt x="28" y="286"/>
                  <a:pt x="27" y="284"/>
                </a:cubicBezTo>
                <a:cubicBezTo>
                  <a:pt x="27" y="285"/>
                  <a:pt x="26" y="287"/>
                  <a:pt x="26" y="289"/>
                </a:cubicBezTo>
                <a:cubicBezTo>
                  <a:pt x="27" y="286"/>
                  <a:pt x="24" y="287"/>
                  <a:pt x="25" y="288"/>
                </a:cubicBezTo>
                <a:cubicBezTo>
                  <a:pt x="24" y="287"/>
                  <a:pt x="22" y="287"/>
                  <a:pt x="21" y="286"/>
                </a:cubicBezTo>
                <a:cubicBezTo>
                  <a:pt x="21" y="285"/>
                  <a:pt x="21" y="284"/>
                  <a:pt x="22" y="283"/>
                </a:cubicBezTo>
                <a:cubicBezTo>
                  <a:pt x="21" y="283"/>
                  <a:pt x="21" y="281"/>
                  <a:pt x="21" y="281"/>
                </a:cubicBezTo>
                <a:cubicBezTo>
                  <a:pt x="22" y="281"/>
                  <a:pt x="22" y="281"/>
                  <a:pt x="22" y="282"/>
                </a:cubicBezTo>
                <a:cubicBezTo>
                  <a:pt x="23" y="281"/>
                  <a:pt x="24" y="280"/>
                  <a:pt x="25" y="280"/>
                </a:cubicBezTo>
                <a:cubicBezTo>
                  <a:pt x="25" y="279"/>
                  <a:pt x="24" y="278"/>
                  <a:pt x="24" y="277"/>
                </a:cubicBezTo>
                <a:cubicBezTo>
                  <a:pt x="24" y="278"/>
                  <a:pt x="23" y="278"/>
                  <a:pt x="23" y="279"/>
                </a:cubicBezTo>
                <a:cubicBezTo>
                  <a:pt x="22" y="279"/>
                  <a:pt x="20" y="277"/>
                  <a:pt x="21" y="275"/>
                </a:cubicBezTo>
                <a:cubicBezTo>
                  <a:pt x="19" y="275"/>
                  <a:pt x="19" y="273"/>
                  <a:pt x="19" y="271"/>
                </a:cubicBezTo>
                <a:cubicBezTo>
                  <a:pt x="18" y="271"/>
                  <a:pt x="17" y="271"/>
                  <a:pt x="16" y="272"/>
                </a:cubicBezTo>
                <a:cubicBezTo>
                  <a:pt x="16" y="272"/>
                  <a:pt x="17" y="273"/>
                  <a:pt x="17" y="273"/>
                </a:cubicBezTo>
                <a:cubicBezTo>
                  <a:pt x="18" y="275"/>
                  <a:pt x="16" y="278"/>
                  <a:pt x="17" y="279"/>
                </a:cubicBezTo>
                <a:cubicBezTo>
                  <a:pt x="17" y="282"/>
                  <a:pt x="15" y="284"/>
                  <a:pt x="14" y="284"/>
                </a:cubicBezTo>
                <a:cubicBezTo>
                  <a:pt x="14" y="285"/>
                  <a:pt x="13" y="285"/>
                  <a:pt x="13" y="285"/>
                </a:cubicBezTo>
                <a:cubicBezTo>
                  <a:pt x="13" y="285"/>
                  <a:pt x="13" y="285"/>
                  <a:pt x="12" y="284"/>
                </a:cubicBezTo>
                <a:cubicBezTo>
                  <a:pt x="12" y="284"/>
                  <a:pt x="12" y="284"/>
                  <a:pt x="12" y="284"/>
                </a:cubicBezTo>
                <a:cubicBezTo>
                  <a:pt x="12" y="284"/>
                  <a:pt x="11" y="284"/>
                  <a:pt x="12" y="283"/>
                </a:cubicBezTo>
                <a:cubicBezTo>
                  <a:pt x="12" y="283"/>
                  <a:pt x="12" y="283"/>
                  <a:pt x="12" y="283"/>
                </a:cubicBezTo>
                <a:cubicBezTo>
                  <a:pt x="12" y="283"/>
                  <a:pt x="12" y="283"/>
                  <a:pt x="12" y="283"/>
                </a:cubicBezTo>
                <a:cubicBezTo>
                  <a:pt x="12" y="282"/>
                  <a:pt x="12" y="280"/>
                  <a:pt x="12" y="278"/>
                </a:cubicBezTo>
                <a:cubicBezTo>
                  <a:pt x="12" y="278"/>
                  <a:pt x="12" y="277"/>
                  <a:pt x="12" y="277"/>
                </a:cubicBezTo>
                <a:cubicBezTo>
                  <a:pt x="12" y="278"/>
                  <a:pt x="12" y="278"/>
                  <a:pt x="11" y="279"/>
                </a:cubicBezTo>
                <a:cubicBezTo>
                  <a:pt x="9" y="282"/>
                  <a:pt x="7" y="277"/>
                  <a:pt x="8" y="276"/>
                </a:cubicBezTo>
                <a:cubicBezTo>
                  <a:pt x="8" y="275"/>
                  <a:pt x="9" y="274"/>
                  <a:pt x="9" y="274"/>
                </a:cubicBezTo>
                <a:cubicBezTo>
                  <a:pt x="10" y="274"/>
                  <a:pt x="10" y="275"/>
                  <a:pt x="10" y="275"/>
                </a:cubicBezTo>
                <a:cubicBezTo>
                  <a:pt x="11" y="275"/>
                  <a:pt x="11" y="275"/>
                  <a:pt x="11" y="276"/>
                </a:cubicBezTo>
                <a:cubicBezTo>
                  <a:pt x="11" y="275"/>
                  <a:pt x="11" y="275"/>
                  <a:pt x="11" y="275"/>
                </a:cubicBezTo>
                <a:cubicBezTo>
                  <a:pt x="11" y="275"/>
                  <a:pt x="10" y="274"/>
                  <a:pt x="10" y="274"/>
                </a:cubicBezTo>
                <a:cubicBezTo>
                  <a:pt x="10" y="274"/>
                  <a:pt x="10" y="273"/>
                  <a:pt x="10" y="272"/>
                </a:cubicBezTo>
                <a:cubicBezTo>
                  <a:pt x="10" y="273"/>
                  <a:pt x="10" y="273"/>
                  <a:pt x="10" y="273"/>
                </a:cubicBezTo>
                <a:cubicBezTo>
                  <a:pt x="10" y="273"/>
                  <a:pt x="9" y="272"/>
                  <a:pt x="9" y="272"/>
                </a:cubicBezTo>
                <a:cubicBezTo>
                  <a:pt x="10" y="271"/>
                  <a:pt x="11" y="271"/>
                  <a:pt x="11" y="272"/>
                </a:cubicBezTo>
                <a:cubicBezTo>
                  <a:pt x="11" y="271"/>
                  <a:pt x="12" y="270"/>
                  <a:pt x="13" y="269"/>
                </a:cubicBezTo>
                <a:cubicBezTo>
                  <a:pt x="12" y="266"/>
                  <a:pt x="11" y="263"/>
                  <a:pt x="9" y="262"/>
                </a:cubicBezTo>
                <a:cubicBezTo>
                  <a:pt x="9" y="262"/>
                  <a:pt x="8" y="262"/>
                  <a:pt x="7" y="263"/>
                </a:cubicBezTo>
                <a:cubicBezTo>
                  <a:pt x="7" y="263"/>
                  <a:pt x="7" y="263"/>
                  <a:pt x="7" y="263"/>
                </a:cubicBezTo>
                <a:cubicBezTo>
                  <a:pt x="6" y="263"/>
                  <a:pt x="6" y="263"/>
                  <a:pt x="6" y="262"/>
                </a:cubicBezTo>
                <a:cubicBezTo>
                  <a:pt x="6" y="262"/>
                  <a:pt x="7" y="257"/>
                  <a:pt x="9" y="260"/>
                </a:cubicBezTo>
                <a:cubicBezTo>
                  <a:pt x="9" y="260"/>
                  <a:pt x="8" y="261"/>
                  <a:pt x="8" y="261"/>
                </a:cubicBezTo>
                <a:cubicBezTo>
                  <a:pt x="11" y="263"/>
                  <a:pt x="10" y="259"/>
                  <a:pt x="10" y="256"/>
                </a:cubicBezTo>
                <a:cubicBezTo>
                  <a:pt x="11" y="254"/>
                  <a:pt x="12" y="252"/>
                  <a:pt x="13" y="250"/>
                </a:cubicBezTo>
                <a:cubicBezTo>
                  <a:pt x="13" y="250"/>
                  <a:pt x="11" y="245"/>
                  <a:pt x="10" y="243"/>
                </a:cubicBezTo>
                <a:cubicBezTo>
                  <a:pt x="10" y="242"/>
                  <a:pt x="9" y="241"/>
                  <a:pt x="9" y="240"/>
                </a:cubicBezTo>
                <a:cubicBezTo>
                  <a:pt x="9" y="240"/>
                  <a:pt x="9" y="240"/>
                  <a:pt x="9" y="240"/>
                </a:cubicBezTo>
                <a:cubicBezTo>
                  <a:pt x="8" y="239"/>
                  <a:pt x="8" y="239"/>
                  <a:pt x="8" y="239"/>
                </a:cubicBezTo>
                <a:cubicBezTo>
                  <a:pt x="8" y="239"/>
                  <a:pt x="8" y="239"/>
                  <a:pt x="8" y="239"/>
                </a:cubicBezTo>
                <a:cubicBezTo>
                  <a:pt x="8" y="240"/>
                  <a:pt x="8" y="240"/>
                  <a:pt x="7" y="240"/>
                </a:cubicBezTo>
                <a:cubicBezTo>
                  <a:pt x="8" y="240"/>
                  <a:pt x="8" y="238"/>
                  <a:pt x="8" y="237"/>
                </a:cubicBezTo>
                <a:cubicBezTo>
                  <a:pt x="7" y="237"/>
                  <a:pt x="7" y="237"/>
                  <a:pt x="7" y="236"/>
                </a:cubicBezTo>
                <a:cubicBezTo>
                  <a:pt x="7" y="236"/>
                  <a:pt x="7" y="236"/>
                  <a:pt x="7" y="236"/>
                </a:cubicBezTo>
                <a:cubicBezTo>
                  <a:pt x="7" y="236"/>
                  <a:pt x="7" y="236"/>
                  <a:pt x="7" y="235"/>
                </a:cubicBezTo>
                <a:cubicBezTo>
                  <a:pt x="7" y="234"/>
                  <a:pt x="6" y="234"/>
                  <a:pt x="5" y="235"/>
                </a:cubicBezTo>
                <a:cubicBezTo>
                  <a:pt x="6" y="234"/>
                  <a:pt x="5" y="239"/>
                  <a:pt x="4" y="238"/>
                </a:cubicBezTo>
                <a:cubicBezTo>
                  <a:pt x="4" y="238"/>
                  <a:pt x="4" y="235"/>
                  <a:pt x="4" y="233"/>
                </a:cubicBezTo>
                <a:cubicBezTo>
                  <a:pt x="4" y="233"/>
                  <a:pt x="3" y="233"/>
                  <a:pt x="3" y="233"/>
                </a:cubicBezTo>
                <a:cubicBezTo>
                  <a:pt x="3" y="236"/>
                  <a:pt x="3" y="234"/>
                  <a:pt x="2" y="233"/>
                </a:cubicBezTo>
                <a:cubicBezTo>
                  <a:pt x="2" y="233"/>
                  <a:pt x="2" y="233"/>
                  <a:pt x="1" y="233"/>
                </a:cubicBezTo>
                <a:cubicBezTo>
                  <a:pt x="1" y="233"/>
                  <a:pt x="1" y="234"/>
                  <a:pt x="1" y="234"/>
                </a:cubicBezTo>
                <a:cubicBezTo>
                  <a:pt x="1" y="272"/>
                  <a:pt x="1" y="272"/>
                  <a:pt x="1" y="272"/>
                </a:cubicBezTo>
                <a:cubicBezTo>
                  <a:pt x="1" y="273"/>
                  <a:pt x="2" y="274"/>
                  <a:pt x="1" y="275"/>
                </a:cubicBezTo>
                <a:cubicBezTo>
                  <a:pt x="1" y="275"/>
                  <a:pt x="1" y="275"/>
                  <a:pt x="1" y="275"/>
                </a:cubicBezTo>
                <a:cubicBezTo>
                  <a:pt x="1" y="359"/>
                  <a:pt x="1" y="359"/>
                  <a:pt x="1" y="359"/>
                </a:cubicBezTo>
                <a:cubicBezTo>
                  <a:pt x="1" y="359"/>
                  <a:pt x="1" y="359"/>
                  <a:pt x="1" y="359"/>
                </a:cubicBezTo>
                <a:cubicBezTo>
                  <a:pt x="7" y="360"/>
                  <a:pt x="4" y="368"/>
                  <a:pt x="1" y="371"/>
                </a:cubicBezTo>
                <a:cubicBezTo>
                  <a:pt x="1" y="448"/>
                  <a:pt x="1" y="448"/>
                  <a:pt x="1" y="448"/>
                </a:cubicBezTo>
                <a:cubicBezTo>
                  <a:pt x="1" y="448"/>
                  <a:pt x="1" y="449"/>
                  <a:pt x="1" y="451"/>
                </a:cubicBezTo>
                <a:cubicBezTo>
                  <a:pt x="1" y="588"/>
                  <a:pt x="1" y="588"/>
                  <a:pt x="1" y="588"/>
                </a:cubicBezTo>
                <a:cubicBezTo>
                  <a:pt x="302" y="762"/>
                  <a:pt x="302" y="762"/>
                  <a:pt x="302" y="762"/>
                </a:cubicBezTo>
                <a:cubicBezTo>
                  <a:pt x="305" y="760"/>
                  <a:pt x="299" y="759"/>
                  <a:pt x="298" y="758"/>
                </a:cubicBezTo>
                <a:close/>
                <a:moveTo>
                  <a:pt x="435" y="727"/>
                </a:moveTo>
                <a:cubicBezTo>
                  <a:pt x="435" y="728"/>
                  <a:pt x="433" y="728"/>
                  <a:pt x="432" y="727"/>
                </a:cubicBezTo>
                <a:cubicBezTo>
                  <a:pt x="432" y="726"/>
                  <a:pt x="434" y="725"/>
                  <a:pt x="435" y="727"/>
                </a:cubicBezTo>
                <a:close/>
                <a:moveTo>
                  <a:pt x="442" y="708"/>
                </a:moveTo>
                <a:cubicBezTo>
                  <a:pt x="440" y="708"/>
                  <a:pt x="440" y="706"/>
                  <a:pt x="442" y="708"/>
                </a:cubicBezTo>
                <a:close/>
                <a:moveTo>
                  <a:pt x="440" y="704"/>
                </a:moveTo>
                <a:cubicBezTo>
                  <a:pt x="439" y="704"/>
                  <a:pt x="439" y="702"/>
                  <a:pt x="440" y="704"/>
                </a:cubicBezTo>
                <a:close/>
                <a:moveTo>
                  <a:pt x="507" y="674"/>
                </a:moveTo>
                <a:cubicBezTo>
                  <a:pt x="509" y="673"/>
                  <a:pt x="509" y="676"/>
                  <a:pt x="507" y="674"/>
                </a:cubicBezTo>
                <a:close/>
                <a:moveTo>
                  <a:pt x="501" y="668"/>
                </a:moveTo>
                <a:cubicBezTo>
                  <a:pt x="502" y="670"/>
                  <a:pt x="499" y="669"/>
                  <a:pt x="499" y="668"/>
                </a:cubicBezTo>
                <a:cubicBezTo>
                  <a:pt x="499" y="667"/>
                  <a:pt x="501" y="667"/>
                  <a:pt x="501" y="668"/>
                </a:cubicBezTo>
                <a:close/>
                <a:moveTo>
                  <a:pt x="500" y="675"/>
                </a:moveTo>
                <a:cubicBezTo>
                  <a:pt x="499" y="676"/>
                  <a:pt x="498" y="674"/>
                  <a:pt x="498" y="674"/>
                </a:cubicBezTo>
                <a:cubicBezTo>
                  <a:pt x="499" y="674"/>
                  <a:pt x="499" y="675"/>
                  <a:pt x="500" y="675"/>
                </a:cubicBezTo>
                <a:close/>
                <a:moveTo>
                  <a:pt x="510" y="641"/>
                </a:moveTo>
                <a:cubicBezTo>
                  <a:pt x="510" y="641"/>
                  <a:pt x="511" y="641"/>
                  <a:pt x="511" y="641"/>
                </a:cubicBezTo>
                <a:cubicBezTo>
                  <a:pt x="513" y="643"/>
                  <a:pt x="509" y="642"/>
                  <a:pt x="510" y="641"/>
                </a:cubicBezTo>
                <a:close/>
                <a:moveTo>
                  <a:pt x="509" y="646"/>
                </a:moveTo>
                <a:cubicBezTo>
                  <a:pt x="510" y="648"/>
                  <a:pt x="507" y="646"/>
                  <a:pt x="508" y="645"/>
                </a:cubicBezTo>
                <a:cubicBezTo>
                  <a:pt x="509" y="645"/>
                  <a:pt x="509" y="646"/>
                  <a:pt x="509" y="646"/>
                </a:cubicBezTo>
                <a:close/>
                <a:moveTo>
                  <a:pt x="508" y="643"/>
                </a:moveTo>
                <a:cubicBezTo>
                  <a:pt x="509" y="642"/>
                  <a:pt x="509" y="643"/>
                  <a:pt x="509" y="644"/>
                </a:cubicBezTo>
                <a:cubicBezTo>
                  <a:pt x="510" y="645"/>
                  <a:pt x="507" y="644"/>
                  <a:pt x="508" y="643"/>
                </a:cubicBezTo>
                <a:close/>
                <a:moveTo>
                  <a:pt x="500" y="642"/>
                </a:moveTo>
                <a:cubicBezTo>
                  <a:pt x="500" y="642"/>
                  <a:pt x="502" y="645"/>
                  <a:pt x="502" y="646"/>
                </a:cubicBezTo>
                <a:cubicBezTo>
                  <a:pt x="501" y="651"/>
                  <a:pt x="497" y="643"/>
                  <a:pt x="500" y="642"/>
                </a:cubicBezTo>
                <a:close/>
                <a:moveTo>
                  <a:pt x="498" y="644"/>
                </a:moveTo>
                <a:cubicBezTo>
                  <a:pt x="498" y="644"/>
                  <a:pt x="498" y="644"/>
                  <a:pt x="498" y="644"/>
                </a:cubicBezTo>
                <a:cubicBezTo>
                  <a:pt x="498" y="644"/>
                  <a:pt x="496" y="644"/>
                  <a:pt x="498" y="644"/>
                </a:cubicBezTo>
                <a:close/>
                <a:moveTo>
                  <a:pt x="495" y="636"/>
                </a:moveTo>
                <a:cubicBezTo>
                  <a:pt x="496" y="635"/>
                  <a:pt x="497" y="638"/>
                  <a:pt x="495" y="636"/>
                </a:cubicBezTo>
                <a:close/>
                <a:moveTo>
                  <a:pt x="495" y="637"/>
                </a:moveTo>
                <a:cubicBezTo>
                  <a:pt x="496" y="637"/>
                  <a:pt x="496" y="638"/>
                  <a:pt x="496" y="638"/>
                </a:cubicBezTo>
                <a:cubicBezTo>
                  <a:pt x="496" y="639"/>
                  <a:pt x="494" y="638"/>
                  <a:pt x="495" y="637"/>
                </a:cubicBezTo>
                <a:close/>
                <a:moveTo>
                  <a:pt x="493" y="642"/>
                </a:moveTo>
                <a:cubicBezTo>
                  <a:pt x="493" y="642"/>
                  <a:pt x="494" y="643"/>
                  <a:pt x="494" y="643"/>
                </a:cubicBezTo>
                <a:cubicBezTo>
                  <a:pt x="494" y="645"/>
                  <a:pt x="492" y="643"/>
                  <a:pt x="493" y="642"/>
                </a:cubicBezTo>
                <a:close/>
                <a:moveTo>
                  <a:pt x="494" y="650"/>
                </a:moveTo>
                <a:cubicBezTo>
                  <a:pt x="494" y="650"/>
                  <a:pt x="493" y="653"/>
                  <a:pt x="492" y="651"/>
                </a:cubicBezTo>
                <a:cubicBezTo>
                  <a:pt x="492" y="650"/>
                  <a:pt x="494" y="648"/>
                  <a:pt x="494" y="650"/>
                </a:cubicBezTo>
                <a:close/>
                <a:moveTo>
                  <a:pt x="498" y="620"/>
                </a:moveTo>
                <a:cubicBezTo>
                  <a:pt x="498" y="620"/>
                  <a:pt x="498" y="620"/>
                  <a:pt x="498" y="620"/>
                </a:cubicBezTo>
                <a:cubicBezTo>
                  <a:pt x="498" y="620"/>
                  <a:pt x="498" y="620"/>
                  <a:pt x="498" y="620"/>
                </a:cubicBezTo>
                <a:cubicBezTo>
                  <a:pt x="498" y="620"/>
                  <a:pt x="498" y="620"/>
                  <a:pt x="498" y="620"/>
                </a:cubicBezTo>
                <a:close/>
                <a:moveTo>
                  <a:pt x="492" y="624"/>
                </a:moveTo>
                <a:cubicBezTo>
                  <a:pt x="493" y="624"/>
                  <a:pt x="493" y="625"/>
                  <a:pt x="492" y="624"/>
                </a:cubicBezTo>
                <a:close/>
                <a:moveTo>
                  <a:pt x="490" y="621"/>
                </a:moveTo>
                <a:cubicBezTo>
                  <a:pt x="491" y="622"/>
                  <a:pt x="490" y="624"/>
                  <a:pt x="489" y="624"/>
                </a:cubicBezTo>
                <a:cubicBezTo>
                  <a:pt x="489" y="623"/>
                  <a:pt x="490" y="621"/>
                  <a:pt x="490" y="621"/>
                </a:cubicBezTo>
                <a:close/>
                <a:moveTo>
                  <a:pt x="489" y="620"/>
                </a:moveTo>
                <a:cubicBezTo>
                  <a:pt x="490" y="620"/>
                  <a:pt x="487" y="619"/>
                  <a:pt x="489" y="620"/>
                </a:cubicBezTo>
                <a:close/>
                <a:moveTo>
                  <a:pt x="485" y="657"/>
                </a:moveTo>
                <a:cubicBezTo>
                  <a:pt x="486" y="656"/>
                  <a:pt x="487" y="657"/>
                  <a:pt x="487" y="657"/>
                </a:cubicBezTo>
                <a:cubicBezTo>
                  <a:pt x="488" y="659"/>
                  <a:pt x="484" y="658"/>
                  <a:pt x="485" y="657"/>
                </a:cubicBezTo>
                <a:close/>
                <a:moveTo>
                  <a:pt x="485" y="644"/>
                </a:moveTo>
                <a:cubicBezTo>
                  <a:pt x="489" y="644"/>
                  <a:pt x="487" y="647"/>
                  <a:pt x="485" y="644"/>
                </a:cubicBezTo>
                <a:close/>
                <a:moveTo>
                  <a:pt x="484" y="637"/>
                </a:moveTo>
                <a:cubicBezTo>
                  <a:pt x="485" y="636"/>
                  <a:pt x="486" y="637"/>
                  <a:pt x="486" y="637"/>
                </a:cubicBezTo>
                <a:cubicBezTo>
                  <a:pt x="486" y="639"/>
                  <a:pt x="484" y="637"/>
                  <a:pt x="484" y="637"/>
                </a:cubicBezTo>
                <a:close/>
                <a:moveTo>
                  <a:pt x="536" y="658"/>
                </a:moveTo>
                <a:cubicBezTo>
                  <a:pt x="533" y="660"/>
                  <a:pt x="529" y="656"/>
                  <a:pt x="530" y="654"/>
                </a:cubicBezTo>
                <a:cubicBezTo>
                  <a:pt x="531" y="652"/>
                  <a:pt x="537" y="654"/>
                  <a:pt x="538" y="655"/>
                </a:cubicBezTo>
                <a:cubicBezTo>
                  <a:pt x="538" y="655"/>
                  <a:pt x="536" y="658"/>
                  <a:pt x="536" y="658"/>
                </a:cubicBezTo>
                <a:close/>
                <a:moveTo>
                  <a:pt x="555" y="657"/>
                </a:moveTo>
                <a:cubicBezTo>
                  <a:pt x="553" y="657"/>
                  <a:pt x="556" y="658"/>
                  <a:pt x="555" y="657"/>
                </a:cubicBezTo>
                <a:close/>
                <a:moveTo>
                  <a:pt x="551" y="654"/>
                </a:moveTo>
                <a:cubicBezTo>
                  <a:pt x="551" y="654"/>
                  <a:pt x="552" y="654"/>
                  <a:pt x="552" y="654"/>
                </a:cubicBezTo>
                <a:cubicBezTo>
                  <a:pt x="553" y="656"/>
                  <a:pt x="549" y="655"/>
                  <a:pt x="551" y="654"/>
                </a:cubicBezTo>
                <a:close/>
                <a:moveTo>
                  <a:pt x="550" y="653"/>
                </a:moveTo>
                <a:cubicBezTo>
                  <a:pt x="550" y="653"/>
                  <a:pt x="550" y="654"/>
                  <a:pt x="549" y="654"/>
                </a:cubicBezTo>
                <a:cubicBezTo>
                  <a:pt x="549" y="653"/>
                  <a:pt x="550" y="653"/>
                  <a:pt x="550" y="653"/>
                </a:cubicBezTo>
                <a:close/>
                <a:moveTo>
                  <a:pt x="546" y="654"/>
                </a:moveTo>
                <a:cubicBezTo>
                  <a:pt x="547" y="654"/>
                  <a:pt x="548" y="655"/>
                  <a:pt x="547" y="656"/>
                </a:cubicBezTo>
                <a:cubicBezTo>
                  <a:pt x="546" y="656"/>
                  <a:pt x="546" y="654"/>
                  <a:pt x="546" y="654"/>
                </a:cubicBezTo>
                <a:close/>
                <a:moveTo>
                  <a:pt x="543" y="650"/>
                </a:moveTo>
                <a:cubicBezTo>
                  <a:pt x="544" y="649"/>
                  <a:pt x="545" y="650"/>
                  <a:pt x="545" y="650"/>
                </a:cubicBezTo>
                <a:cubicBezTo>
                  <a:pt x="546" y="653"/>
                  <a:pt x="542" y="651"/>
                  <a:pt x="543" y="650"/>
                </a:cubicBezTo>
                <a:close/>
                <a:moveTo>
                  <a:pt x="542" y="658"/>
                </a:moveTo>
                <a:cubicBezTo>
                  <a:pt x="544" y="657"/>
                  <a:pt x="543" y="659"/>
                  <a:pt x="542" y="658"/>
                </a:cubicBezTo>
                <a:close/>
                <a:moveTo>
                  <a:pt x="564" y="640"/>
                </a:moveTo>
                <a:cubicBezTo>
                  <a:pt x="565" y="640"/>
                  <a:pt x="564" y="641"/>
                  <a:pt x="564" y="641"/>
                </a:cubicBezTo>
                <a:cubicBezTo>
                  <a:pt x="564" y="643"/>
                  <a:pt x="562" y="640"/>
                  <a:pt x="564" y="640"/>
                </a:cubicBezTo>
                <a:close/>
                <a:moveTo>
                  <a:pt x="549" y="622"/>
                </a:moveTo>
                <a:cubicBezTo>
                  <a:pt x="549" y="622"/>
                  <a:pt x="549" y="622"/>
                  <a:pt x="549" y="622"/>
                </a:cubicBezTo>
                <a:cubicBezTo>
                  <a:pt x="548" y="621"/>
                  <a:pt x="549" y="622"/>
                  <a:pt x="549" y="622"/>
                </a:cubicBezTo>
                <a:close/>
                <a:moveTo>
                  <a:pt x="541" y="636"/>
                </a:moveTo>
                <a:cubicBezTo>
                  <a:pt x="543" y="634"/>
                  <a:pt x="547" y="636"/>
                  <a:pt x="547" y="638"/>
                </a:cubicBezTo>
                <a:cubicBezTo>
                  <a:pt x="547" y="643"/>
                  <a:pt x="539" y="639"/>
                  <a:pt x="541" y="636"/>
                </a:cubicBezTo>
                <a:close/>
                <a:moveTo>
                  <a:pt x="547" y="620"/>
                </a:moveTo>
                <a:cubicBezTo>
                  <a:pt x="547" y="620"/>
                  <a:pt x="547" y="620"/>
                  <a:pt x="547" y="619"/>
                </a:cubicBezTo>
                <a:cubicBezTo>
                  <a:pt x="546" y="619"/>
                  <a:pt x="546" y="619"/>
                  <a:pt x="546" y="619"/>
                </a:cubicBezTo>
                <a:cubicBezTo>
                  <a:pt x="546" y="619"/>
                  <a:pt x="547" y="620"/>
                  <a:pt x="547" y="620"/>
                </a:cubicBezTo>
                <a:close/>
                <a:moveTo>
                  <a:pt x="546" y="630"/>
                </a:moveTo>
                <a:cubicBezTo>
                  <a:pt x="547" y="633"/>
                  <a:pt x="544" y="631"/>
                  <a:pt x="543" y="630"/>
                </a:cubicBezTo>
                <a:cubicBezTo>
                  <a:pt x="543" y="629"/>
                  <a:pt x="546" y="629"/>
                  <a:pt x="546" y="630"/>
                </a:cubicBezTo>
                <a:close/>
                <a:moveTo>
                  <a:pt x="541" y="625"/>
                </a:moveTo>
                <a:cubicBezTo>
                  <a:pt x="542" y="625"/>
                  <a:pt x="542" y="626"/>
                  <a:pt x="542" y="626"/>
                </a:cubicBezTo>
                <a:cubicBezTo>
                  <a:pt x="543" y="628"/>
                  <a:pt x="540" y="626"/>
                  <a:pt x="541" y="625"/>
                </a:cubicBezTo>
                <a:close/>
                <a:moveTo>
                  <a:pt x="537" y="624"/>
                </a:moveTo>
                <a:cubicBezTo>
                  <a:pt x="537" y="624"/>
                  <a:pt x="538" y="625"/>
                  <a:pt x="538" y="625"/>
                </a:cubicBezTo>
                <a:cubicBezTo>
                  <a:pt x="539" y="626"/>
                  <a:pt x="535" y="625"/>
                  <a:pt x="537" y="624"/>
                </a:cubicBezTo>
                <a:close/>
                <a:moveTo>
                  <a:pt x="546" y="599"/>
                </a:moveTo>
                <a:cubicBezTo>
                  <a:pt x="547" y="598"/>
                  <a:pt x="547" y="601"/>
                  <a:pt x="546" y="599"/>
                </a:cubicBezTo>
                <a:close/>
                <a:moveTo>
                  <a:pt x="541" y="575"/>
                </a:moveTo>
                <a:cubicBezTo>
                  <a:pt x="542" y="576"/>
                  <a:pt x="541" y="573"/>
                  <a:pt x="541" y="575"/>
                </a:cubicBezTo>
                <a:close/>
                <a:moveTo>
                  <a:pt x="537" y="591"/>
                </a:moveTo>
                <a:cubicBezTo>
                  <a:pt x="537" y="591"/>
                  <a:pt x="537" y="591"/>
                  <a:pt x="537" y="591"/>
                </a:cubicBezTo>
                <a:cubicBezTo>
                  <a:pt x="535" y="590"/>
                  <a:pt x="539" y="590"/>
                  <a:pt x="537" y="591"/>
                </a:cubicBezTo>
                <a:close/>
                <a:moveTo>
                  <a:pt x="539" y="565"/>
                </a:moveTo>
                <a:cubicBezTo>
                  <a:pt x="539" y="565"/>
                  <a:pt x="539" y="565"/>
                  <a:pt x="539" y="565"/>
                </a:cubicBezTo>
                <a:cubicBezTo>
                  <a:pt x="539" y="564"/>
                  <a:pt x="539" y="563"/>
                  <a:pt x="539" y="565"/>
                </a:cubicBezTo>
                <a:close/>
                <a:moveTo>
                  <a:pt x="565" y="556"/>
                </a:moveTo>
                <a:cubicBezTo>
                  <a:pt x="564" y="557"/>
                  <a:pt x="564" y="555"/>
                  <a:pt x="565" y="556"/>
                </a:cubicBezTo>
                <a:close/>
                <a:moveTo>
                  <a:pt x="562" y="554"/>
                </a:moveTo>
                <a:cubicBezTo>
                  <a:pt x="564" y="554"/>
                  <a:pt x="562" y="555"/>
                  <a:pt x="562" y="554"/>
                </a:cubicBezTo>
                <a:close/>
                <a:moveTo>
                  <a:pt x="559" y="574"/>
                </a:moveTo>
                <a:cubicBezTo>
                  <a:pt x="559" y="574"/>
                  <a:pt x="559" y="574"/>
                  <a:pt x="560" y="574"/>
                </a:cubicBezTo>
                <a:cubicBezTo>
                  <a:pt x="560" y="574"/>
                  <a:pt x="560" y="574"/>
                  <a:pt x="560" y="574"/>
                </a:cubicBezTo>
                <a:cubicBezTo>
                  <a:pt x="560" y="574"/>
                  <a:pt x="560" y="574"/>
                  <a:pt x="560" y="574"/>
                </a:cubicBezTo>
                <a:cubicBezTo>
                  <a:pt x="559" y="574"/>
                  <a:pt x="559" y="574"/>
                  <a:pt x="559" y="573"/>
                </a:cubicBezTo>
                <a:cubicBezTo>
                  <a:pt x="559" y="573"/>
                  <a:pt x="559" y="574"/>
                  <a:pt x="559" y="574"/>
                </a:cubicBezTo>
                <a:close/>
                <a:moveTo>
                  <a:pt x="554" y="557"/>
                </a:moveTo>
                <a:cubicBezTo>
                  <a:pt x="554" y="558"/>
                  <a:pt x="553" y="554"/>
                  <a:pt x="554" y="557"/>
                </a:cubicBezTo>
                <a:close/>
                <a:moveTo>
                  <a:pt x="551" y="572"/>
                </a:moveTo>
                <a:cubicBezTo>
                  <a:pt x="552" y="572"/>
                  <a:pt x="552" y="574"/>
                  <a:pt x="552" y="574"/>
                </a:cubicBezTo>
                <a:cubicBezTo>
                  <a:pt x="552" y="575"/>
                  <a:pt x="551" y="573"/>
                  <a:pt x="551" y="572"/>
                </a:cubicBezTo>
                <a:close/>
                <a:moveTo>
                  <a:pt x="551" y="559"/>
                </a:moveTo>
                <a:cubicBezTo>
                  <a:pt x="551" y="559"/>
                  <a:pt x="552" y="560"/>
                  <a:pt x="551" y="559"/>
                </a:cubicBezTo>
                <a:cubicBezTo>
                  <a:pt x="551" y="559"/>
                  <a:pt x="551" y="559"/>
                  <a:pt x="551" y="559"/>
                </a:cubicBezTo>
                <a:close/>
                <a:moveTo>
                  <a:pt x="552" y="557"/>
                </a:moveTo>
                <a:cubicBezTo>
                  <a:pt x="552" y="558"/>
                  <a:pt x="553" y="559"/>
                  <a:pt x="552" y="559"/>
                </a:cubicBezTo>
                <a:cubicBezTo>
                  <a:pt x="550" y="560"/>
                  <a:pt x="551" y="555"/>
                  <a:pt x="552" y="557"/>
                </a:cubicBezTo>
                <a:close/>
                <a:moveTo>
                  <a:pt x="551" y="551"/>
                </a:moveTo>
                <a:cubicBezTo>
                  <a:pt x="551" y="552"/>
                  <a:pt x="551" y="550"/>
                  <a:pt x="550" y="550"/>
                </a:cubicBezTo>
                <a:cubicBezTo>
                  <a:pt x="551" y="549"/>
                  <a:pt x="551" y="551"/>
                  <a:pt x="551" y="551"/>
                </a:cubicBezTo>
                <a:close/>
                <a:moveTo>
                  <a:pt x="592" y="604"/>
                </a:moveTo>
                <a:cubicBezTo>
                  <a:pt x="592" y="605"/>
                  <a:pt x="593" y="606"/>
                  <a:pt x="593" y="608"/>
                </a:cubicBezTo>
                <a:cubicBezTo>
                  <a:pt x="592" y="607"/>
                  <a:pt x="591" y="606"/>
                  <a:pt x="592" y="604"/>
                </a:cubicBezTo>
                <a:close/>
                <a:moveTo>
                  <a:pt x="595" y="604"/>
                </a:moveTo>
                <a:cubicBezTo>
                  <a:pt x="596" y="606"/>
                  <a:pt x="594" y="603"/>
                  <a:pt x="595" y="604"/>
                </a:cubicBezTo>
                <a:close/>
                <a:moveTo>
                  <a:pt x="606" y="616"/>
                </a:moveTo>
                <a:cubicBezTo>
                  <a:pt x="606" y="616"/>
                  <a:pt x="606" y="617"/>
                  <a:pt x="606" y="617"/>
                </a:cubicBezTo>
                <a:cubicBezTo>
                  <a:pt x="605" y="618"/>
                  <a:pt x="605" y="616"/>
                  <a:pt x="606" y="616"/>
                </a:cubicBezTo>
                <a:close/>
                <a:moveTo>
                  <a:pt x="679" y="480"/>
                </a:moveTo>
                <a:cubicBezTo>
                  <a:pt x="678" y="480"/>
                  <a:pt x="678" y="480"/>
                  <a:pt x="678" y="479"/>
                </a:cubicBezTo>
                <a:cubicBezTo>
                  <a:pt x="678" y="478"/>
                  <a:pt x="680" y="480"/>
                  <a:pt x="679" y="480"/>
                </a:cubicBezTo>
                <a:close/>
                <a:moveTo>
                  <a:pt x="663" y="546"/>
                </a:moveTo>
                <a:cubicBezTo>
                  <a:pt x="664" y="544"/>
                  <a:pt x="665" y="546"/>
                  <a:pt x="666" y="547"/>
                </a:cubicBezTo>
                <a:cubicBezTo>
                  <a:pt x="666" y="550"/>
                  <a:pt x="661" y="548"/>
                  <a:pt x="663" y="546"/>
                </a:cubicBezTo>
                <a:close/>
                <a:moveTo>
                  <a:pt x="668" y="558"/>
                </a:moveTo>
                <a:cubicBezTo>
                  <a:pt x="668" y="558"/>
                  <a:pt x="668" y="558"/>
                  <a:pt x="667" y="558"/>
                </a:cubicBezTo>
                <a:cubicBezTo>
                  <a:pt x="664" y="557"/>
                  <a:pt x="669" y="555"/>
                  <a:pt x="668" y="558"/>
                </a:cubicBezTo>
                <a:close/>
                <a:moveTo>
                  <a:pt x="668" y="529"/>
                </a:moveTo>
                <a:cubicBezTo>
                  <a:pt x="669" y="528"/>
                  <a:pt x="669" y="529"/>
                  <a:pt x="670" y="529"/>
                </a:cubicBezTo>
                <a:cubicBezTo>
                  <a:pt x="670" y="531"/>
                  <a:pt x="667" y="530"/>
                  <a:pt x="668" y="529"/>
                </a:cubicBezTo>
                <a:close/>
                <a:moveTo>
                  <a:pt x="671" y="547"/>
                </a:moveTo>
                <a:cubicBezTo>
                  <a:pt x="670" y="546"/>
                  <a:pt x="670" y="545"/>
                  <a:pt x="671" y="545"/>
                </a:cubicBezTo>
                <a:cubicBezTo>
                  <a:pt x="671" y="545"/>
                  <a:pt x="673" y="547"/>
                  <a:pt x="671" y="547"/>
                </a:cubicBezTo>
                <a:close/>
                <a:moveTo>
                  <a:pt x="674" y="539"/>
                </a:moveTo>
                <a:cubicBezTo>
                  <a:pt x="674" y="540"/>
                  <a:pt x="675" y="541"/>
                  <a:pt x="674" y="541"/>
                </a:cubicBezTo>
                <a:cubicBezTo>
                  <a:pt x="672" y="541"/>
                  <a:pt x="674" y="537"/>
                  <a:pt x="674" y="539"/>
                </a:cubicBezTo>
                <a:close/>
                <a:moveTo>
                  <a:pt x="674" y="500"/>
                </a:moveTo>
                <a:cubicBezTo>
                  <a:pt x="675" y="501"/>
                  <a:pt x="673" y="501"/>
                  <a:pt x="674" y="500"/>
                </a:cubicBezTo>
                <a:close/>
                <a:moveTo>
                  <a:pt x="674" y="542"/>
                </a:moveTo>
                <a:cubicBezTo>
                  <a:pt x="674" y="542"/>
                  <a:pt x="674" y="543"/>
                  <a:pt x="674" y="544"/>
                </a:cubicBezTo>
                <a:cubicBezTo>
                  <a:pt x="674" y="544"/>
                  <a:pt x="675" y="544"/>
                  <a:pt x="674" y="545"/>
                </a:cubicBezTo>
                <a:cubicBezTo>
                  <a:pt x="674" y="545"/>
                  <a:pt x="674" y="545"/>
                  <a:pt x="674" y="545"/>
                </a:cubicBezTo>
                <a:cubicBezTo>
                  <a:pt x="674" y="546"/>
                  <a:pt x="674" y="547"/>
                  <a:pt x="674" y="549"/>
                </a:cubicBezTo>
                <a:cubicBezTo>
                  <a:pt x="673" y="547"/>
                  <a:pt x="673" y="544"/>
                  <a:pt x="674" y="542"/>
                </a:cubicBezTo>
                <a:close/>
                <a:moveTo>
                  <a:pt x="676" y="552"/>
                </a:moveTo>
                <a:cubicBezTo>
                  <a:pt x="676" y="553"/>
                  <a:pt x="676" y="553"/>
                  <a:pt x="676" y="553"/>
                </a:cubicBezTo>
                <a:cubicBezTo>
                  <a:pt x="675" y="554"/>
                  <a:pt x="675" y="551"/>
                  <a:pt x="676" y="552"/>
                </a:cubicBezTo>
                <a:close/>
                <a:moveTo>
                  <a:pt x="675" y="516"/>
                </a:moveTo>
                <a:cubicBezTo>
                  <a:pt x="676" y="516"/>
                  <a:pt x="676" y="517"/>
                  <a:pt x="676" y="517"/>
                </a:cubicBezTo>
                <a:cubicBezTo>
                  <a:pt x="677" y="519"/>
                  <a:pt x="674" y="517"/>
                  <a:pt x="675" y="516"/>
                </a:cubicBezTo>
                <a:close/>
                <a:moveTo>
                  <a:pt x="674" y="502"/>
                </a:moveTo>
                <a:cubicBezTo>
                  <a:pt x="675" y="502"/>
                  <a:pt x="676" y="504"/>
                  <a:pt x="676" y="505"/>
                </a:cubicBezTo>
                <a:cubicBezTo>
                  <a:pt x="675" y="505"/>
                  <a:pt x="675" y="503"/>
                  <a:pt x="674" y="502"/>
                </a:cubicBezTo>
                <a:close/>
                <a:moveTo>
                  <a:pt x="675" y="481"/>
                </a:moveTo>
                <a:cubicBezTo>
                  <a:pt x="674" y="481"/>
                  <a:pt x="674" y="480"/>
                  <a:pt x="674" y="480"/>
                </a:cubicBezTo>
                <a:cubicBezTo>
                  <a:pt x="675" y="479"/>
                  <a:pt x="675" y="480"/>
                  <a:pt x="675" y="481"/>
                </a:cubicBezTo>
                <a:close/>
                <a:moveTo>
                  <a:pt x="672" y="412"/>
                </a:moveTo>
                <a:cubicBezTo>
                  <a:pt x="675" y="413"/>
                  <a:pt x="672" y="417"/>
                  <a:pt x="670" y="416"/>
                </a:cubicBezTo>
                <a:cubicBezTo>
                  <a:pt x="670" y="416"/>
                  <a:pt x="670" y="411"/>
                  <a:pt x="672" y="412"/>
                </a:cubicBezTo>
                <a:close/>
                <a:moveTo>
                  <a:pt x="668" y="453"/>
                </a:moveTo>
                <a:cubicBezTo>
                  <a:pt x="669" y="453"/>
                  <a:pt x="668" y="454"/>
                  <a:pt x="667" y="453"/>
                </a:cubicBezTo>
                <a:cubicBezTo>
                  <a:pt x="667" y="453"/>
                  <a:pt x="668" y="452"/>
                  <a:pt x="668" y="453"/>
                </a:cubicBezTo>
                <a:close/>
                <a:moveTo>
                  <a:pt x="667" y="446"/>
                </a:moveTo>
                <a:cubicBezTo>
                  <a:pt x="665" y="447"/>
                  <a:pt x="668" y="444"/>
                  <a:pt x="667" y="446"/>
                </a:cubicBezTo>
                <a:close/>
                <a:moveTo>
                  <a:pt x="673" y="492"/>
                </a:moveTo>
                <a:cubicBezTo>
                  <a:pt x="672" y="498"/>
                  <a:pt x="665" y="495"/>
                  <a:pt x="665" y="490"/>
                </a:cubicBezTo>
                <a:cubicBezTo>
                  <a:pt x="665" y="482"/>
                  <a:pt x="674" y="486"/>
                  <a:pt x="673" y="492"/>
                </a:cubicBezTo>
                <a:close/>
                <a:moveTo>
                  <a:pt x="664" y="429"/>
                </a:moveTo>
                <a:cubicBezTo>
                  <a:pt x="665" y="429"/>
                  <a:pt x="665" y="430"/>
                  <a:pt x="664" y="430"/>
                </a:cubicBezTo>
                <a:cubicBezTo>
                  <a:pt x="662" y="430"/>
                  <a:pt x="663" y="427"/>
                  <a:pt x="664" y="429"/>
                </a:cubicBezTo>
                <a:close/>
                <a:moveTo>
                  <a:pt x="663" y="455"/>
                </a:moveTo>
                <a:cubicBezTo>
                  <a:pt x="663" y="455"/>
                  <a:pt x="662" y="456"/>
                  <a:pt x="662" y="456"/>
                </a:cubicBezTo>
                <a:cubicBezTo>
                  <a:pt x="662" y="456"/>
                  <a:pt x="662" y="455"/>
                  <a:pt x="663" y="455"/>
                </a:cubicBezTo>
                <a:close/>
                <a:moveTo>
                  <a:pt x="661" y="411"/>
                </a:moveTo>
                <a:cubicBezTo>
                  <a:pt x="661" y="411"/>
                  <a:pt x="661" y="411"/>
                  <a:pt x="661" y="410"/>
                </a:cubicBezTo>
                <a:cubicBezTo>
                  <a:pt x="661" y="410"/>
                  <a:pt x="661" y="410"/>
                  <a:pt x="661" y="410"/>
                </a:cubicBezTo>
                <a:cubicBezTo>
                  <a:pt x="661" y="410"/>
                  <a:pt x="661" y="411"/>
                  <a:pt x="661" y="411"/>
                </a:cubicBezTo>
                <a:close/>
                <a:moveTo>
                  <a:pt x="633" y="545"/>
                </a:moveTo>
                <a:cubicBezTo>
                  <a:pt x="633" y="545"/>
                  <a:pt x="633" y="545"/>
                  <a:pt x="633" y="545"/>
                </a:cubicBezTo>
                <a:cubicBezTo>
                  <a:pt x="633" y="545"/>
                  <a:pt x="632" y="544"/>
                  <a:pt x="633" y="545"/>
                </a:cubicBezTo>
                <a:close/>
                <a:moveTo>
                  <a:pt x="633" y="509"/>
                </a:moveTo>
                <a:cubicBezTo>
                  <a:pt x="632" y="508"/>
                  <a:pt x="633" y="507"/>
                  <a:pt x="634" y="507"/>
                </a:cubicBezTo>
                <a:cubicBezTo>
                  <a:pt x="635" y="507"/>
                  <a:pt x="635" y="510"/>
                  <a:pt x="633" y="509"/>
                </a:cubicBezTo>
                <a:close/>
                <a:moveTo>
                  <a:pt x="635" y="516"/>
                </a:moveTo>
                <a:cubicBezTo>
                  <a:pt x="634" y="517"/>
                  <a:pt x="634" y="516"/>
                  <a:pt x="634" y="516"/>
                </a:cubicBezTo>
                <a:cubicBezTo>
                  <a:pt x="634" y="515"/>
                  <a:pt x="635" y="516"/>
                  <a:pt x="635" y="516"/>
                </a:cubicBezTo>
                <a:close/>
                <a:moveTo>
                  <a:pt x="637" y="522"/>
                </a:moveTo>
                <a:cubicBezTo>
                  <a:pt x="638" y="522"/>
                  <a:pt x="639" y="528"/>
                  <a:pt x="639" y="529"/>
                </a:cubicBezTo>
                <a:cubicBezTo>
                  <a:pt x="638" y="534"/>
                  <a:pt x="636" y="523"/>
                  <a:pt x="637" y="522"/>
                </a:cubicBezTo>
                <a:close/>
                <a:moveTo>
                  <a:pt x="639" y="541"/>
                </a:moveTo>
                <a:cubicBezTo>
                  <a:pt x="639" y="541"/>
                  <a:pt x="640" y="539"/>
                  <a:pt x="640" y="541"/>
                </a:cubicBezTo>
                <a:cubicBezTo>
                  <a:pt x="640" y="540"/>
                  <a:pt x="640" y="542"/>
                  <a:pt x="639" y="541"/>
                </a:cubicBezTo>
                <a:close/>
                <a:moveTo>
                  <a:pt x="641" y="545"/>
                </a:moveTo>
                <a:cubicBezTo>
                  <a:pt x="638" y="545"/>
                  <a:pt x="640" y="542"/>
                  <a:pt x="642" y="543"/>
                </a:cubicBezTo>
                <a:cubicBezTo>
                  <a:pt x="643" y="543"/>
                  <a:pt x="642" y="546"/>
                  <a:pt x="641" y="545"/>
                </a:cubicBezTo>
                <a:close/>
                <a:moveTo>
                  <a:pt x="652" y="501"/>
                </a:moveTo>
                <a:cubicBezTo>
                  <a:pt x="652" y="501"/>
                  <a:pt x="651" y="499"/>
                  <a:pt x="652" y="500"/>
                </a:cubicBezTo>
                <a:cubicBezTo>
                  <a:pt x="652" y="500"/>
                  <a:pt x="653" y="501"/>
                  <a:pt x="652" y="501"/>
                </a:cubicBezTo>
                <a:close/>
                <a:moveTo>
                  <a:pt x="655" y="533"/>
                </a:moveTo>
                <a:cubicBezTo>
                  <a:pt x="654" y="529"/>
                  <a:pt x="654" y="522"/>
                  <a:pt x="654" y="518"/>
                </a:cubicBezTo>
                <a:cubicBezTo>
                  <a:pt x="654" y="520"/>
                  <a:pt x="654" y="517"/>
                  <a:pt x="654" y="517"/>
                </a:cubicBezTo>
                <a:cubicBezTo>
                  <a:pt x="656" y="517"/>
                  <a:pt x="655" y="519"/>
                  <a:pt x="655" y="521"/>
                </a:cubicBezTo>
                <a:cubicBezTo>
                  <a:pt x="655" y="523"/>
                  <a:pt x="656" y="529"/>
                  <a:pt x="655" y="533"/>
                </a:cubicBezTo>
                <a:close/>
                <a:moveTo>
                  <a:pt x="659" y="476"/>
                </a:moveTo>
                <a:cubicBezTo>
                  <a:pt x="659" y="479"/>
                  <a:pt x="659" y="474"/>
                  <a:pt x="659" y="476"/>
                </a:cubicBezTo>
                <a:close/>
                <a:moveTo>
                  <a:pt x="659" y="479"/>
                </a:moveTo>
                <a:cubicBezTo>
                  <a:pt x="660" y="482"/>
                  <a:pt x="659" y="477"/>
                  <a:pt x="659" y="479"/>
                </a:cubicBezTo>
                <a:close/>
                <a:moveTo>
                  <a:pt x="659" y="492"/>
                </a:moveTo>
                <a:cubicBezTo>
                  <a:pt x="659" y="492"/>
                  <a:pt x="659" y="493"/>
                  <a:pt x="659" y="493"/>
                </a:cubicBezTo>
                <a:cubicBezTo>
                  <a:pt x="660" y="495"/>
                  <a:pt x="658" y="493"/>
                  <a:pt x="659" y="492"/>
                </a:cubicBezTo>
                <a:close/>
                <a:moveTo>
                  <a:pt x="658" y="525"/>
                </a:moveTo>
                <a:cubicBezTo>
                  <a:pt x="659" y="525"/>
                  <a:pt x="659" y="526"/>
                  <a:pt x="658" y="526"/>
                </a:cubicBezTo>
                <a:cubicBezTo>
                  <a:pt x="657" y="526"/>
                  <a:pt x="658" y="525"/>
                  <a:pt x="658" y="525"/>
                </a:cubicBezTo>
                <a:close/>
                <a:moveTo>
                  <a:pt x="655" y="464"/>
                </a:moveTo>
                <a:cubicBezTo>
                  <a:pt x="654" y="464"/>
                  <a:pt x="654" y="461"/>
                  <a:pt x="655" y="461"/>
                </a:cubicBezTo>
                <a:cubicBezTo>
                  <a:pt x="656" y="461"/>
                  <a:pt x="656" y="464"/>
                  <a:pt x="655" y="464"/>
                </a:cubicBezTo>
                <a:close/>
                <a:moveTo>
                  <a:pt x="654" y="423"/>
                </a:moveTo>
                <a:cubicBezTo>
                  <a:pt x="654" y="423"/>
                  <a:pt x="654" y="423"/>
                  <a:pt x="653" y="423"/>
                </a:cubicBezTo>
                <a:cubicBezTo>
                  <a:pt x="653" y="422"/>
                  <a:pt x="653" y="422"/>
                  <a:pt x="653" y="422"/>
                </a:cubicBezTo>
                <a:cubicBezTo>
                  <a:pt x="653" y="422"/>
                  <a:pt x="653" y="423"/>
                  <a:pt x="654" y="423"/>
                </a:cubicBezTo>
                <a:close/>
                <a:moveTo>
                  <a:pt x="655" y="454"/>
                </a:moveTo>
                <a:cubicBezTo>
                  <a:pt x="653" y="452"/>
                  <a:pt x="649" y="448"/>
                  <a:pt x="649" y="445"/>
                </a:cubicBezTo>
                <a:cubicBezTo>
                  <a:pt x="651" y="449"/>
                  <a:pt x="654" y="450"/>
                  <a:pt x="655" y="454"/>
                </a:cubicBezTo>
                <a:close/>
                <a:moveTo>
                  <a:pt x="648" y="439"/>
                </a:moveTo>
                <a:cubicBezTo>
                  <a:pt x="648" y="439"/>
                  <a:pt x="648" y="440"/>
                  <a:pt x="648" y="440"/>
                </a:cubicBezTo>
                <a:cubicBezTo>
                  <a:pt x="647" y="440"/>
                  <a:pt x="647" y="438"/>
                  <a:pt x="648" y="439"/>
                </a:cubicBezTo>
                <a:close/>
                <a:moveTo>
                  <a:pt x="647" y="500"/>
                </a:moveTo>
                <a:cubicBezTo>
                  <a:pt x="648" y="501"/>
                  <a:pt x="648" y="502"/>
                  <a:pt x="647" y="502"/>
                </a:cubicBezTo>
                <a:cubicBezTo>
                  <a:pt x="643" y="503"/>
                  <a:pt x="646" y="496"/>
                  <a:pt x="647" y="500"/>
                </a:cubicBezTo>
                <a:close/>
                <a:moveTo>
                  <a:pt x="646" y="457"/>
                </a:moveTo>
                <a:cubicBezTo>
                  <a:pt x="646" y="457"/>
                  <a:pt x="646" y="458"/>
                  <a:pt x="646" y="458"/>
                </a:cubicBezTo>
                <a:cubicBezTo>
                  <a:pt x="644" y="459"/>
                  <a:pt x="645" y="456"/>
                  <a:pt x="646" y="457"/>
                </a:cubicBezTo>
                <a:close/>
                <a:moveTo>
                  <a:pt x="642" y="405"/>
                </a:moveTo>
                <a:cubicBezTo>
                  <a:pt x="642" y="406"/>
                  <a:pt x="643" y="406"/>
                  <a:pt x="642" y="406"/>
                </a:cubicBezTo>
                <a:cubicBezTo>
                  <a:pt x="642" y="407"/>
                  <a:pt x="642" y="405"/>
                  <a:pt x="642" y="405"/>
                </a:cubicBezTo>
                <a:close/>
                <a:moveTo>
                  <a:pt x="642" y="528"/>
                </a:moveTo>
                <a:cubicBezTo>
                  <a:pt x="645" y="524"/>
                  <a:pt x="650" y="530"/>
                  <a:pt x="651" y="533"/>
                </a:cubicBezTo>
                <a:cubicBezTo>
                  <a:pt x="651" y="543"/>
                  <a:pt x="638" y="533"/>
                  <a:pt x="642" y="528"/>
                </a:cubicBezTo>
                <a:close/>
                <a:moveTo>
                  <a:pt x="641" y="494"/>
                </a:moveTo>
                <a:cubicBezTo>
                  <a:pt x="640" y="493"/>
                  <a:pt x="640" y="491"/>
                  <a:pt x="641" y="490"/>
                </a:cubicBezTo>
                <a:cubicBezTo>
                  <a:pt x="641" y="491"/>
                  <a:pt x="641" y="492"/>
                  <a:pt x="641" y="494"/>
                </a:cubicBezTo>
                <a:close/>
                <a:moveTo>
                  <a:pt x="641" y="488"/>
                </a:moveTo>
                <a:cubicBezTo>
                  <a:pt x="641" y="488"/>
                  <a:pt x="641" y="488"/>
                  <a:pt x="641" y="488"/>
                </a:cubicBezTo>
                <a:cubicBezTo>
                  <a:pt x="641" y="488"/>
                  <a:pt x="641" y="488"/>
                  <a:pt x="641" y="488"/>
                </a:cubicBezTo>
                <a:cubicBezTo>
                  <a:pt x="641" y="488"/>
                  <a:pt x="641" y="488"/>
                  <a:pt x="641" y="488"/>
                </a:cubicBezTo>
                <a:close/>
                <a:moveTo>
                  <a:pt x="641" y="452"/>
                </a:moveTo>
                <a:cubicBezTo>
                  <a:pt x="641" y="452"/>
                  <a:pt x="641" y="452"/>
                  <a:pt x="641" y="452"/>
                </a:cubicBezTo>
                <a:cubicBezTo>
                  <a:pt x="641" y="454"/>
                  <a:pt x="640" y="450"/>
                  <a:pt x="641" y="452"/>
                </a:cubicBezTo>
                <a:close/>
                <a:moveTo>
                  <a:pt x="641" y="478"/>
                </a:moveTo>
                <a:cubicBezTo>
                  <a:pt x="641" y="478"/>
                  <a:pt x="641" y="479"/>
                  <a:pt x="641" y="479"/>
                </a:cubicBezTo>
                <a:cubicBezTo>
                  <a:pt x="641" y="479"/>
                  <a:pt x="641" y="479"/>
                  <a:pt x="641" y="480"/>
                </a:cubicBezTo>
                <a:cubicBezTo>
                  <a:pt x="641" y="480"/>
                  <a:pt x="641" y="481"/>
                  <a:pt x="641" y="480"/>
                </a:cubicBezTo>
                <a:cubicBezTo>
                  <a:pt x="641" y="480"/>
                  <a:pt x="641" y="479"/>
                  <a:pt x="641" y="479"/>
                </a:cubicBezTo>
                <a:cubicBezTo>
                  <a:pt x="641" y="479"/>
                  <a:pt x="641" y="479"/>
                  <a:pt x="641" y="479"/>
                </a:cubicBezTo>
                <a:cubicBezTo>
                  <a:pt x="641" y="479"/>
                  <a:pt x="641" y="478"/>
                  <a:pt x="641" y="478"/>
                </a:cubicBezTo>
                <a:close/>
                <a:moveTo>
                  <a:pt x="641" y="482"/>
                </a:moveTo>
                <a:cubicBezTo>
                  <a:pt x="641" y="483"/>
                  <a:pt x="641" y="485"/>
                  <a:pt x="641" y="487"/>
                </a:cubicBezTo>
                <a:cubicBezTo>
                  <a:pt x="640" y="486"/>
                  <a:pt x="640" y="484"/>
                  <a:pt x="641" y="482"/>
                </a:cubicBezTo>
                <a:close/>
                <a:moveTo>
                  <a:pt x="640" y="442"/>
                </a:moveTo>
                <a:cubicBezTo>
                  <a:pt x="639" y="440"/>
                  <a:pt x="634" y="435"/>
                  <a:pt x="634" y="432"/>
                </a:cubicBezTo>
                <a:cubicBezTo>
                  <a:pt x="636" y="435"/>
                  <a:pt x="639" y="439"/>
                  <a:pt x="640" y="442"/>
                </a:cubicBezTo>
                <a:close/>
                <a:moveTo>
                  <a:pt x="633" y="488"/>
                </a:moveTo>
                <a:cubicBezTo>
                  <a:pt x="634" y="488"/>
                  <a:pt x="634" y="489"/>
                  <a:pt x="634" y="489"/>
                </a:cubicBezTo>
                <a:cubicBezTo>
                  <a:pt x="634" y="492"/>
                  <a:pt x="630" y="488"/>
                  <a:pt x="633" y="488"/>
                </a:cubicBezTo>
                <a:close/>
                <a:moveTo>
                  <a:pt x="633" y="524"/>
                </a:moveTo>
                <a:cubicBezTo>
                  <a:pt x="634" y="524"/>
                  <a:pt x="634" y="526"/>
                  <a:pt x="632" y="526"/>
                </a:cubicBezTo>
                <a:cubicBezTo>
                  <a:pt x="631" y="526"/>
                  <a:pt x="631" y="524"/>
                  <a:pt x="633" y="524"/>
                </a:cubicBezTo>
                <a:close/>
                <a:moveTo>
                  <a:pt x="582" y="488"/>
                </a:moveTo>
                <a:cubicBezTo>
                  <a:pt x="583" y="489"/>
                  <a:pt x="581" y="487"/>
                  <a:pt x="582" y="488"/>
                </a:cubicBezTo>
                <a:close/>
                <a:moveTo>
                  <a:pt x="583" y="573"/>
                </a:moveTo>
                <a:cubicBezTo>
                  <a:pt x="585" y="572"/>
                  <a:pt x="587" y="574"/>
                  <a:pt x="589" y="575"/>
                </a:cubicBezTo>
                <a:cubicBezTo>
                  <a:pt x="587" y="575"/>
                  <a:pt x="585" y="574"/>
                  <a:pt x="583" y="573"/>
                </a:cubicBezTo>
                <a:close/>
                <a:moveTo>
                  <a:pt x="590" y="563"/>
                </a:moveTo>
                <a:cubicBezTo>
                  <a:pt x="591" y="564"/>
                  <a:pt x="590" y="565"/>
                  <a:pt x="590" y="563"/>
                </a:cubicBezTo>
                <a:close/>
                <a:moveTo>
                  <a:pt x="590" y="549"/>
                </a:moveTo>
                <a:cubicBezTo>
                  <a:pt x="588" y="548"/>
                  <a:pt x="590" y="547"/>
                  <a:pt x="590" y="549"/>
                </a:cubicBezTo>
                <a:close/>
                <a:moveTo>
                  <a:pt x="595" y="560"/>
                </a:moveTo>
                <a:cubicBezTo>
                  <a:pt x="594" y="559"/>
                  <a:pt x="594" y="557"/>
                  <a:pt x="595" y="555"/>
                </a:cubicBezTo>
                <a:cubicBezTo>
                  <a:pt x="596" y="556"/>
                  <a:pt x="595" y="558"/>
                  <a:pt x="595" y="560"/>
                </a:cubicBezTo>
                <a:close/>
                <a:moveTo>
                  <a:pt x="603" y="595"/>
                </a:moveTo>
                <a:cubicBezTo>
                  <a:pt x="600" y="596"/>
                  <a:pt x="600" y="592"/>
                  <a:pt x="603" y="595"/>
                </a:cubicBezTo>
                <a:close/>
                <a:moveTo>
                  <a:pt x="607" y="583"/>
                </a:moveTo>
                <a:cubicBezTo>
                  <a:pt x="603" y="584"/>
                  <a:pt x="604" y="579"/>
                  <a:pt x="604" y="577"/>
                </a:cubicBezTo>
                <a:cubicBezTo>
                  <a:pt x="607" y="576"/>
                  <a:pt x="611" y="582"/>
                  <a:pt x="607" y="583"/>
                </a:cubicBezTo>
                <a:close/>
                <a:moveTo>
                  <a:pt x="606" y="564"/>
                </a:moveTo>
                <a:cubicBezTo>
                  <a:pt x="608" y="564"/>
                  <a:pt x="609" y="565"/>
                  <a:pt x="610" y="567"/>
                </a:cubicBezTo>
                <a:cubicBezTo>
                  <a:pt x="610" y="567"/>
                  <a:pt x="610" y="567"/>
                  <a:pt x="610" y="567"/>
                </a:cubicBezTo>
                <a:cubicBezTo>
                  <a:pt x="610" y="567"/>
                  <a:pt x="610" y="567"/>
                  <a:pt x="610" y="567"/>
                </a:cubicBezTo>
                <a:cubicBezTo>
                  <a:pt x="611" y="568"/>
                  <a:pt x="612" y="569"/>
                  <a:pt x="612" y="569"/>
                </a:cubicBezTo>
                <a:cubicBezTo>
                  <a:pt x="613" y="569"/>
                  <a:pt x="613" y="569"/>
                  <a:pt x="613" y="570"/>
                </a:cubicBezTo>
                <a:cubicBezTo>
                  <a:pt x="613" y="570"/>
                  <a:pt x="613" y="570"/>
                  <a:pt x="613" y="570"/>
                </a:cubicBezTo>
                <a:cubicBezTo>
                  <a:pt x="613" y="570"/>
                  <a:pt x="613" y="570"/>
                  <a:pt x="613" y="570"/>
                </a:cubicBezTo>
                <a:cubicBezTo>
                  <a:pt x="613" y="570"/>
                  <a:pt x="613" y="570"/>
                  <a:pt x="613" y="571"/>
                </a:cubicBezTo>
                <a:cubicBezTo>
                  <a:pt x="613" y="570"/>
                  <a:pt x="612" y="570"/>
                  <a:pt x="612" y="570"/>
                </a:cubicBezTo>
                <a:cubicBezTo>
                  <a:pt x="610" y="568"/>
                  <a:pt x="608" y="565"/>
                  <a:pt x="606" y="564"/>
                </a:cubicBezTo>
                <a:close/>
                <a:moveTo>
                  <a:pt x="613" y="568"/>
                </a:moveTo>
                <a:cubicBezTo>
                  <a:pt x="611" y="567"/>
                  <a:pt x="613" y="565"/>
                  <a:pt x="613" y="568"/>
                </a:cubicBezTo>
                <a:close/>
                <a:moveTo>
                  <a:pt x="616" y="579"/>
                </a:moveTo>
                <a:cubicBezTo>
                  <a:pt x="612" y="580"/>
                  <a:pt x="611" y="573"/>
                  <a:pt x="613" y="572"/>
                </a:cubicBezTo>
                <a:cubicBezTo>
                  <a:pt x="616" y="570"/>
                  <a:pt x="618" y="575"/>
                  <a:pt x="618" y="576"/>
                </a:cubicBezTo>
                <a:cubicBezTo>
                  <a:pt x="618" y="578"/>
                  <a:pt x="617" y="579"/>
                  <a:pt x="616" y="579"/>
                </a:cubicBezTo>
                <a:close/>
                <a:moveTo>
                  <a:pt x="615" y="543"/>
                </a:moveTo>
                <a:cubicBezTo>
                  <a:pt x="616" y="543"/>
                  <a:pt x="617" y="543"/>
                  <a:pt x="617" y="544"/>
                </a:cubicBezTo>
                <a:cubicBezTo>
                  <a:pt x="618" y="547"/>
                  <a:pt x="613" y="545"/>
                  <a:pt x="615" y="543"/>
                </a:cubicBezTo>
                <a:close/>
                <a:moveTo>
                  <a:pt x="615" y="515"/>
                </a:moveTo>
                <a:cubicBezTo>
                  <a:pt x="616" y="515"/>
                  <a:pt x="616" y="516"/>
                  <a:pt x="616" y="516"/>
                </a:cubicBezTo>
                <a:cubicBezTo>
                  <a:pt x="617" y="518"/>
                  <a:pt x="614" y="516"/>
                  <a:pt x="615" y="515"/>
                </a:cubicBezTo>
                <a:close/>
                <a:moveTo>
                  <a:pt x="617" y="556"/>
                </a:moveTo>
                <a:cubicBezTo>
                  <a:pt x="617" y="556"/>
                  <a:pt x="617" y="556"/>
                  <a:pt x="617" y="556"/>
                </a:cubicBezTo>
                <a:cubicBezTo>
                  <a:pt x="615" y="555"/>
                  <a:pt x="618" y="555"/>
                  <a:pt x="617" y="556"/>
                </a:cubicBezTo>
                <a:close/>
                <a:moveTo>
                  <a:pt x="618" y="554"/>
                </a:moveTo>
                <a:cubicBezTo>
                  <a:pt x="618" y="553"/>
                  <a:pt x="618" y="555"/>
                  <a:pt x="618" y="555"/>
                </a:cubicBezTo>
                <a:cubicBezTo>
                  <a:pt x="618" y="556"/>
                  <a:pt x="616" y="555"/>
                  <a:pt x="618" y="554"/>
                </a:cubicBezTo>
                <a:close/>
                <a:moveTo>
                  <a:pt x="618" y="537"/>
                </a:moveTo>
                <a:cubicBezTo>
                  <a:pt x="617" y="536"/>
                  <a:pt x="617" y="533"/>
                  <a:pt x="619" y="534"/>
                </a:cubicBezTo>
                <a:cubicBezTo>
                  <a:pt x="620" y="534"/>
                  <a:pt x="620" y="538"/>
                  <a:pt x="618" y="537"/>
                </a:cubicBezTo>
                <a:close/>
                <a:moveTo>
                  <a:pt x="621" y="553"/>
                </a:moveTo>
                <a:cubicBezTo>
                  <a:pt x="619" y="554"/>
                  <a:pt x="620" y="549"/>
                  <a:pt x="621" y="552"/>
                </a:cubicBezTo>
                <a:cubicBezTo>
                  <a:pt x="622" y="552"/>
                  <a:pt x="622" y="553"/>
                  <a:pt x="621" y="553"/>
                </a:cubicBezTo>
                <a:close/>
                <a:moveTo>
                  <a:pt x="623" y="544"/>
                </a:moveTo>
                <a:cubicBezTo>
                  <a:pt x="622" y="543"/>
                  <a:pt x="624" y="543"/>
                  <a:pt x="623" y="544"/>
                </a:cubicBezTo>
                <a:close/>
                <a:moveTo>
                  <a:pt x="624" y="553"/>
                </a:moveTo>
                <a:cubicBezTo>
                  <a:pt x="625" y="554"/>
                  <a:pt x="623" y="551"/>
                  <a:pt x="624" y="553"/>
                </a:cubicBezTo>
                <a:close/>
                <a:moveTo>
                  <a:pt x="624" y="503"/>
                </a:moveTo>
                <a:cubicBezTo>
                  <a:pt x="622" y="502"/>
                  <a:pt x="623" y="497"/>
                  <a:pt x="626" y="497"/>
                </a:cubicBezTo>
                <a:cubicBezTo>
                  <a:pt x="629" y="498"/>
                  <a:pt x="627" y="505"/>
                  <a:pt x="624" y="503"/>
                </a:cubicBezTo>
                <a:close/>
                <a:moveTo>
                  <a:pt x="628" y="419"/>
                </a:moveTo>
                <a:cubicBezTo>
                  <a:pt x="629" y="420"/>
                  <a:pt x="628" y="421"/>
                  <a:pt x="627" y="420"/>
                </a:cubicBezTo>
                <a:cubicBezTo>
                  <a:pt x="627" y="419"/>
                  <a:pt x="628" y="419"/>
                  <a:pt x="628" y="419"/>
                </a:cubicBezTo>
                <a:close/>
                <a:moveTo>
                  <a:pt x="628" y="466"/>
                </a:moveTo>
                <a:cubicBezTo>
                  <a:pt x="629" y="467"/>
                  <a:pt x="627" y="472"/>
                  <a:pt x="624" y="469"/>
                </a:cubicBezTo>
                <a:cubicBezTo>
                  <a:pt x="623" y="468"/>
                  <a:pt x="626" y="465"/>
                  <a:pt x="628" y="466"/>
                </a:cubicBezTo>
                <a:close/>
                <a:moveTo>
                  <a:pt x="624" y="448"/>
                </a:moveTo>
                <a:cubicBezTo>
                  <a:pt x="627" y="450"/>
                  <a:pt x="625" y="451"/>
                  <a:pt x="624" y="448"/>
                </a:cubicBezTo>
                <a:close/>
                <a:moveTo>
                  <a:pt x="624" y="438"/>
                </a:moveTo>
                <a:cubicBezTo>
                  <a:pt x="625" y="439"/>
                  <a:pt x="623" y="437"/>
                  <a:pt x="624" y="438"/>
                </a:cubicBezTo>
                <a:close/>
                <a:moveTo>
                  <a:pt x="625" y="439"/>
                </a:moveTo>
                <a:cubicBezTo>
                  <a:pt x="628" y="439"/>
                  <a:pt x="628" y="444"/>
                  <a:pt x="625" y="444"/>
                </a:cubicBezTo>
                <a:cubicBezTo>
                  <a:pt x="623" y="444"/>
                  <a:pt x="623" y="439"/>
                  <a:pt x="625" y="439"/>
                </a:cubicBezTo>
                <a:close/>
                <a:moveTo>
                  <a:pt x="623" y="483"/>
                </a:moveTo>
                <a:cubicBezTo>
                  <a:pt x="624" y="484"/>
                  <a:pt x="622" y="484"/>
                  <a:pt x="623" y="483"/>
                </a:cubicBezTo>
                <a:close/>
                <a:moveTo>
                  <a:pt x="621" y="454"/>
                </a:moveTo>
                <a:cubicBezTo>
                  <a:pt x="622" y="454"/>
                  <a:pt x="621" y="455"/>
                  <a:pt x="621" y="455"/>
                </a:cubicBezTo>
                <a:cubicBezTo>
                  <a:pt x="620" y="454"/>
                  <a:pt x="621" y="454"/>
                  <a:pt x="621" y="454"/>
                </a:cubicBezTo>
                <a:close/>
                <a:moveTo>
                  <a:pt x="618" y="462"/>
                </a:moveTo>
                <a:cubicBezTo>
                  <a:pt x="618" y="462"/>
                  <a:pt x="619" y="463"/>
                  <a:pt x="619" y="463"/>
                </a:cubicBezTo>
                <a:cubicBezTo>
                  <a:pt x="618" y="464"/>
                  <a:pt x="618" y="461"/>
                  <a:pt x="618" y="462"/>
                </a:cubicBezTo>
                <a:close/>
                <a:moveTo>
                  <a:pt x="615" y="421"/>
                </a:moveTo>
                <a:cubicBezTo>
                  <a:pt x="616" y="421"/>
                  <a:pt x="616" y="422"/>
                  <a:pt x="616" y="422"/>
                </a:cubicBezTo>
                <a:cubicBezTo>
                  <a:pt x="615" y="423"/>
                  <a:pt x="615" y="421"/>
                  <a:pt x="615" y="421"/>
                </a:cubicBezTo>
                <a:close/>
                <a:moveTo>
                  <a:pt x="625" y="495"/>
                </a:moveTo>
                <a:cubicBezTo>
                  <a:pt x="624" y="495"/>
                  <a:pt x="622" y="497"/>
                  <a:pt x="621" y="496"/>
                </a:cubicBezTo>
                <a:cubicBezTo>
                  <a:pt x="620" y="495"/>
                  <a:pt x="622" y="494"/>
                  <a:pt x="621" y="493"/>
                </a:cubicBezTo>
                <a:cubicBezTo>
                  <a:pt x="620" y="490"/>
                  <a:pt x="616" y="488"/>
                  <a:pt x="615" y="485"/>
                </a:cubicBezTo>
                <a:cubicBezTo>
                  <a:pt x="618" y="487"/>
                  <a:pt x="621" y="491"/>
                  <a:pt x="625" y="495"/>
                </a:cubicBezTo>
                <a:close/>
                <a:moveTo>
                  <a:pt x="612" y="402"/>
                </a:moveTo>
                <a:cubicBezTo>
                  <a:pt x="613" y="401"/>
                  <a:pt x="614" y="403"/>
                  <a:pt x="614" y="403"/>
                </a:cubicBezTo>
                <a:cubicBezTo>
                  <a:pt x="614" y="406"/>
                  <a:pt x="610" y="403"/>
                  <a:pt x="612" y="402"/>
                </a:cubicBezTo>
                <a:close/>
                <a:moveTo>
                  <a:pt x="612" y="522"/>
                </a:moveTo>
                <a:cubicBezTo>
                  <a:pt x="613" y="522"/>
                  <a:pt x="613" y="524"/>
                  <a:pt x="612" y="524"/>
                </a:cubicBezTo>
                <a:cubicBezTo>
                  <a:pt x="611" y="523"/>
                  <a:pt x="611" y="522"/>
                  <a:pt x="612" y="522"/>
                </a:cubicBezTo>
                <a:close/>
                <a:moveTo>
                  <a:pt x="612" y="517"/>
                </a:moveTo>
                <a:cubicBezTo>
                  <a:pt x="613" y="519"/>
                  <a:pt x="612" y="516"/>
                  <a:pt x="612" y="517"/>
                </a:cubicBezTo>
                <a:close/>
                <a:moveTo>
                  <a:pt x="613" y="502"/>
                </a:moveTo>
                <a:cubicBezTo>
                  <a:pt x="613" y="503"/>
                  <a:pt x="614" y="504"/>
                  <a:pt x="613" y="505"/>
                </a:cubicBezTo>
                <a:cubicBezTo>
                  <a:pt x="613" y="504"/>
                  <a:pt x="612" y="503"/>
                  <a:pt x="613" y="502"/>
                </a:cubicBezTo>
                <a:close/>
                <a:moveTo>
                  <a:pt x="612" y="484"/>
                </a:moveTo>
                <a:cubicBezTo>
                  <a:pt x="613" y="484"/>
                  <a:pt x="614" y="487"/>
                  <a:pt x="612" y="487"/>
                </a:cubicBezTo>
                <a:cubicBezTo>
                  <a:pt x="610" y="486"/>
                  <a:pt x="611" y="484"/>
                  <a:pt x="612" y="484"/>
                </a:cubicBezTo>
                <a:close/>
                <a:moveTo>
                  <a:pt x="611" y="489"/>
                </a:moveTo>
                <a:cubicBezTo>
                  <a:pt x="612" y="488"/>
                  <a:pt x="612" y="490"/>
                  <a:pt x="612" y="490"/>
                </a:cubicBezTo>
                <a:cubicBezTo>
                  <a:pt x="613" y="493"/>
                  <a:pt x="609" y="489"/>
                  <a:pt x="611" y="489"/>
                </a:cubicBezTo>
                <a:close/>
                <a:moveTo>
                  <a:pt x="609" y="556"/>
                </a:moveTo>
                <a:cubicBezTo>
                  <a:pt x="612" y="553"/>
                  <a:pt x="618" y="559"/>
                  <a:pt x="614" y="562"/>
                </a:cubicBezTo>
                <a:cubicBezTo>
                  <a:pt x="615" y="561"/>
                  <a:pt x="617" y="563"/>
                  <a:pt x="616" y="564"/>
                </a:cubicBezTo>
                <a:cubicBezTo>
                  <a:pt x="615" y="566"/>
                  <a:pt x="612" y="563"/>
                  <a:pt x="614" y="562"/>
                </a:cubicBezTo>
                <a:cubicBezTo>
                  <a:pt x="611" y="563"/>
                  <a:pt x="607" y="558"/>
                  <a:pt x="609" y="556"/>
                </a:cubicBezTo>
                <a:close/>
                <a:moveTo>
                  <a:pt x="607" y="532"/>
                </a:moveTo>
                <a:cubicBezTo>
                  <a:pt x="607" y="532"/>
                  <a:pt x="608" y="533"/>
                  <a:pt x="608" y="533"/>
                </a:cubicBezTo>
                <a:cubicBezTo>
                  <a:pt x="607" y="534"/>
                  <a:pt x="607" y="532"/>
                  <a:pt x="607" y="532"/>
                </a:cubicBezTo>
                <a:close/>
                <a:moveTo>
                  <a:pt x="607" y="517"/>
                </a:moveTo>
                <a:cubicBezTo>
                  <a:pt x="607" y="517"/>
                  <a:pt x="606" y="517"/>
                  <a:pt x="606" y="517"/>
                </a:cubicBezTo>
                <a:cubicBezTo>
                  <a:pt x="606" y="517"/>
                  <a:pt x="606" y="517"/>
                  <a:pt x="606" y="517"/>
                </a:cubicBezTo>
                <a:cubicBezTo>
                  <a:pt x="606" y="517"/>
                  <a:pt x="607" y="517"/>
                  <a:pt x="607" y="517"/>
                </a:cubicBezTo>
                <a:close/>
                <a:moveTo>
                  <a:pt x="606" y="571"/>
                </a:moveTo>
                <a:cubicBezTo>
                  <a:pt x="606" y="570"/>
                  <a:pt x="606" y="570"/>
                  <a:pt x="606" y="570"/>
                </a:cubicBezTo>
                <a:cubicBezTo>
                  <a:pt x="606" y="571"/>
                  <a:pt x="607" y="572"/>
                  <a:pt x="606" y="571"/>
                </a:cubicBezTo>
                <a:close/>
                <a:moveTo>
                  <a:pt x="605" y="461"/>
                </a:moveTo>
                <a:cubicBezTo>
                  <a:pt x="605" y="461"/>
                  <a:pt x="606" y="462"/>
                  <a:pt x="605" y="462"/>
                </a:cubicBezTo>
                <a:cubicBezTo>
                  <a:pt x="605" y="463"/>
                  <a:pt x="605" y="461"/>
                  <a:pt x="605" y="461"/>
                </a:cubicBezTo>
                <a:close/>
                <a:moveTo>
                  <a:pt x="602" y="525"/>
                </a:moveTo>
                <a:cubicBezTo>
                  <a:pt x="603" y="527"/>
                  <a:pt x="604" y="530"/>
                  <a:pt x="604" y="534"/>
                </a:cubicBezTo>
                <a:cubicBezTo>
                  <a:pt x="603" y="531"/>
                  <a:pt x="602" y="528"/>
                  <a:pt x="602" y="525"/>
                </a:cubicBezTo>
                <a:close/>
                <a:moveTo>
                  <a:pt x="604" y="450"/>
                </a:moveTo>
                <a:cubicBezTo>
                  <a:pt x="604" y="450"/>
                  <a:pt x="604" y="450"/>
                  <a:pt x="604" y="450"/>
                </a:cubicBezTo>
                <a:cubicBezTo>
                  <a:pt x="603" y="450"/>
                  <a:pt x="604" y="450"/>
                  <a:pt x="604" y="450"/>
                </a:cubicBezTo>
                <a:close/>
                <a:moveTo>
                  <a:pt x="604" y="477"/>
                </a:moveTo>
                <a:cubicBezTo>
                  <a:pt x="603" y="476"/>
                  <a:pt x="604" y="475"/>
                  <a:pt x="604" y="477"/>
                </a:cubicBezTo>
                <a:close/>
                <a:moveTo>
                  <a:pt x="602" y="450"/>
                </a:moveTo>
                <a:cubicBezTo>
                  <a:pt x="602" y="450"/>
                  <a:pt x="601" y="450"/>
                  <a:pt x="601" y="450"/>
                </a:cubicBezTo>
                <a:cubicBezTo>
                  <a:pt x="599" y="450"/>
                  <a:pt x="603" y="448"/>
                  <a:pt x="602" y="450"/>
                </a:cubicBezTo>
                <a:close/>
                <a:moveTo>
                  <a:pt x="601" y="516"/>
                </a:moveTo>
                <a:cubicBezTo>
                  <a:pt x="602" y="518"/>
                  <a:pt x="602" y="521"/>
                  <a:pt x="602" y="522"/>
                </a:cubicBezTo>
                <a:cubicBezTo>
                  <a:pt x="602" y="522"/>
                  <a:pt x="600" y="518"/>
                  <a:pt x="601" y="516"/>
                </a:cubicBezTo>
                <a:close/>
                <a:moveTo>
                  <a:pt x="597" y="521"/>
                </a:moveTo>
                <a:cubicBezTo>
                  <a:pt x="598" y="521"/>
                  <a:pt x="598" y="522"/>
                  <a:pt x="599" y="522"/>
                </a:cubicBezTo>
                <a:cubicBezTo>
                  <a:pt x="599" y="523"/>
                  <a:pt x="597" y="522"/>
                  <a:pt x="597" y="521"/>
                </a:cubicBezTo>
                <a:close/>
                <a:moveTo>
                  <a:pt x="597" y="542"/>
                </a:moveTo>
                <a:cubicBezTo>
                  <a:pt x="598" y="545"/>
                  <a:pt x="593" y="542"/>
                  <a:pt x="595" y="540"/>
                </a:cubicBezTo>
                <a:cubicBezTo>
                  <a:pt x="596" y="539"/>
                  <a:pt x="597" y="541"/>
                  <a:pt x="597" y="542"/>
                </a:cubicBezTo>
                <a:close/>
                <a:moveTo>
                  <a:pt x="594" y="433"/>
                </a:moveTo>
                <a:cubicBezTo>
                  <a:pt x="593" y="434"/>
                  <a:pt x="594" y="431"/>
                  <a:pt x="594" y="433"/>
                </a:cubicBezTo>
                <a:close/>
                <a:moveTo>
                  <a:pt x="595" y="451"/>
                </a:moveTo>
                <a:cubicBezTo>
                  <a:pt x="595" y="451"/>
                  <a:pt x="595" y="452"/>
                  <a:pt x="596" y="453"/>
                </a:cubicBezTo>
                <a:cubicBezTo>
                  <a:pt x="596" y="455"/>
                  <a:pt x="592" y="452"/>
                  <a:pt x="595" y="451"/>
                </a:cubicBezTo>
                <a:close/>
                <a:moveTo>
                  <a:pt x="595" y="520"/>
                </a:moveTo>
                <a:cubicBezTo>
                  <a:pt x="595" y="520"/>
                  <a:pt x="595" y="520"/>
                  <a:pt x="594" y="519"/>
                </a:cubicBezTo>
                <a:cubicBezTo>
                  <a:pt x="594" y="519"/>
                  <a:pt x="594" y="519"/>
                  <a:pt x="594" y="519"/>
                </a:cubicBezTo>
                <a:cubicBezTo>
                  <a:pt x="594" y="519"/>
                  <a:pt x="595" y="520"/>
                  <a:pt x="595" y="520"/>
                </a:cubicBezTo>
                <a:close/>
                <a:moveTo>
                  <a:pt x="595" y="538"/>
                </a:moveTo>
                <a:cubicBezTo>
                  <a:pt x="595" y="543"/>
                  <a:pt x="590" y="531"/>
                  <a:pt x="590" y="529"/>
                </a:cubicBezTo>
                <a:cubicBezTo>
                  <a:pt x="591" y="532"/>
                  <a:pt x="589" y="528"/>
                  <a:pt x="589" y="527"/>
                </a:cubicBezTo>
                <a:cubicBezTo>
                  <a:pt x="591" y="527"/>
                  <a:pt x="592" y="531"/>
                  <a:pt x="592" y="531"/>
                </a:cubicBezTo>
                <a:cubicBezTo>
                  <a:pt x="593" y="533"/>
                  <a:pt x="595" y="536"/>
                  <a:pt x="595" y="538"/>
                </a:cubicBezTo>
                <a:close/>
                <a:moveTo>
                  <a:pt x="590" y="422"/>
                </a:moveTo>
                <a:cubicBezTo>
                  <a:pt x="589" y="421"/>
                  <a:pt x="591" y="423"/>
                  <a:pt x="590" y="422"/>
                </a:cubicBezTo>
                <a:close/>
                <a:moveTo>
                  <a:pt x="591" y="452"/>
                </a:moveTo>
                <a:cubicBezTo>
                  <a:pt x="591" y="452"/>
                  <a:pt x="591" y="454"/>
                  <a:pt x="590" y="454"/>
                </a:cubicBezTo>
                <a:cubicBezTo>
                  <a:pt x="589" y="454"/>
                  <a:pt x="590" y="452"/>
                  <a:pt x="591" y="452"/>
                </a:cubicBezTo>
                <a:close/>
                <a:moveTo>
                  <a:pt x="588" y="505"/>
                </a:moveTo>
                <a:cubicBezTo>
                  <a:pt x="590" y="505"/>
                  <a:pt x="591" y="509"/>
                  <a:pt x="590" y="510"/>
                </a:cubicBezTo>
                <a:cubicBezTo>
                  <a:pt x="588" y="511"/>
                  <a:pt x="587" y="507"/>
                  <a:pt x="588" y="505"/>
                </a:cubicBezTo>
                <a:close/>
                <a:moveTo>
                  <a:pt x="589" y="546"/>
                </a:moveTo>
                <a:cubicBezTo>
                  <a:pt x="589" y="545"/>
                  <a:pt x="589" y="545"/>
                  <a:pt x="589" y="545"/>
                </a:cubicBezTo>
                <a:cubicBezTo>
                  <a:pt x="589" y="545"/>
                  <a:pt x="589" y="545"/>
                  <a:pt x="589" y="546"/>
                </a:cubicBezTo>
                <a:cubicBezTo>
                  <a:pt x="589" y="546"/>
                  <a:pt x="589" y="546"/>
                  <a:pt x="589" y="546"/>
                </a:cubicBezTo>
                <a:cubicBezTo>
                  <a:pt x="589" y="546"/>
                  <a:pt x="589" y="546"/>
                  <a:pt x="589" y="546"/>
                </a:cubicBezTo>
                <a:close/>
                <a:moveTo>
                  <a:pt x="590" y="552"/>
                </a:moveTo>
                <a:cubicBezTo>
                  <a:pt x="589" y="552"/>
                  <a:pt x="587" y="550"/>
                  <a:pt x="587" y="549"/>
                </a:cubicBezTo>
                <a:cubicBezTo>
                  <a:pt x="589" y="549"/>
                  <a:pt x="588" y="551"/>
                  <a:pt x="590" y="552"/>
                </a:cubicBezTo>
                <a:close/>
                <a:moveTo>
                  <a:pt x="587" y="548"/>
                </a:moveTo>
                <a:cubicBezTo>
                  <a:pt x="586" y="545"/>
                  <a:pt x="587" y="549"/>
                  <a:pt x="587" y="548"/>
                </a:cubicBezTo>
                <a:close/>
                <a:moveTo>
                  <a:pt x="586" y="410"/>
                </a:moveTo>
                <a:cubicBezTo>
                  <a:pt x="586" y="410"/>
                  <a:pt x="586" y="410"/>
                  <a:pt x="586" y="410"/>
                </a:cubicBezTo>
                <a:cubicBezTo>
                  <a:pt x="586" y="410"/>
                  <a:pt x="586" y="410"/>
                  <a:pt x="586" y="410"/>
                </a:cubicBezTo>
                <a:close/>
                <a:moveTo>
                  <a:pt x="586" y="566"/>
                </a:moveTo>
                <a:cubicBezTo>
                  <a:pt x="585" y="565"/>
                  <a:pt x="587" y="568"/>
                  <a:pt x="586" y="566"/>
                </a:cubicBezTo>
                <a:close/>
                <a:moveTo>
                  <a:pt x="585" y="530"/>
                </a:moveTo>
                <a:cubicBezTo>
                  <a:pt x="586" y="530"/>
                  <a:pt x="586" y="532"/>
                  <a:pt x="585" y="531"/>
                </a:cubicBezTo>
                <a:cubicBezTo>
                  <a:pt x="584" y="531"/>
                  <a:pt x="585" y="530"/>
                  <a:pt x="585" y="530"/>
                </a:cubicBezTo>
                <a:close/>
                <a:moveTo>
                  <a:pt x="583" y="469"/>
                </a:moveTo>
                <a:cubicBezTo>
                  <a:pt x="583" y="469"/>
                  <a:pt x="584" y="470"/>
                  <a:pt x="583" y="470"/>
                </a:cubicBezTo>
                <a:cubicBezTo>
                  <a:pt x="583" y="471"/>
                  <a:pt x="583" y="468"/>
                  <a:pt x="583" y="469"/>
                </a:cubicBezTo>
                <a:close/>
                <a:moveTo>
                  <a:pt x="582" y="481"/>
                </a:moveTo>
                <a:cubicBezTo>
                  <a:pt x="582" y="481"/>
                  <a:pt x="582" y="482"/>
                  <a:pt x="582" y="482"/>
                </a:cubicBezTo>
                <a:cubicBezTo>
                  <a:pt x="584" y="484"/>
                  <a:pt x="580" y="480"/>
                  <a:pt x="582" y="481"/>
                </a:cubicBezTo>
                <a:close/>
                <a:moveTo>
                  <a:pt x="574" y="537"/>
                </a:moveTo>
                <a:cubicBezTo>
                  <a:pt x="573" y="535"/>
                  <a:pt x="575" y="538"/>
                  <a:pt x="574" y="537"/>
                </a:cubicBezTo>
                <a:close/>
                <a:moveTo>
                  <a:pt x="577" y="514"/>
                </a:moveTo>
                <a:cubicBezTo>
                  <a:pt x="576" y="514"/>
                  <a:pt x="576" y="510"/>
                  <a:pt x="575" y="509"/>
                </a:cubicBezTo>
                <a:cubicBezTo>
                  <a:pt x="578" y="509"/>
                  <a:pt x="576" y="512"/>
                  <a:pt x="577" y="514"/>
                </a:cubicBezTo>
                <a:close/>
                <a:moveTo>
                  <a:pt x="579" y="552"/>
                </a:moveTo>
                <a:cubicBezTo>
                  <a:pt x="577" y="553"/>
                  <a:pt x="576" y="548"/>
                  <a:pt x="576" y="546"/>
                </a:cubicBezTo>
                <a:cubicBezTo>
                  <a:pt x="578" y="547"/>
                  <a:pt x="581" y="552"/>
                  <a:pt x="579" y="552"/>
                </a:cubicBezTo>
                <a:close/>
                <a:moveTo>
                  <a:pt x="577" y="515"/>
                </a:moveTo>
                <a:cubicBezTo>
                  <a:pt x="578" y="522"/>
                  <a:pt x="580" y="527"/>
                  <a:pt x="581" y="534"/>
                </a:cubicBezTo>
                <a:cubicBezTo>
                  <a:pt x="579" y="528"/>
                  <a:pt x="577" y="522"/>
                  <a:pt x="577" y="515"/>
                </a:cubicBezTo>
                <a:close/>
                <a:moveTo>
                  <a:pt x="580" y="426"/>
                </a:moveTo>
                <a:cubicBezTo>
                  <a:pt x="581" y="426"/>
                  <a:pt x="581" y="427"/>
                  <a:pt x="581" y="427"/>
                </a:cubicBezTo>
                <a:cubicBezTo>
                  <a:pt x="582" y="429"/>
                  <a:pt x="579" y="427"/>
                  <a:pt x="580" y="426"/>
                </a:cubicBezTo>
                <a:close/>
                <a:moveTo>
                  <a:pt x="578" y="464"/>
                </a:moveTo>
                <a:cubicBezTo>
                  <a:pt x="577" y="465"/>
                  <a:pt x="577" y="464"/>
                  <a:pt x="577" y="464"/>
                </a:cubicBezTo>
                <a:cubicBezTo>
                  <a:pt x="578" y="463"/>
                  <a:pt x="578" y="464"/>
                  <a:pt x="578" y="464"/>
                </a:cubicBezTo>
                <a:close/>
                <a:moveTo>
                  <a:pt x="576" y="475"/>
                </a:moveTo>
                <a:cubicBezTo>
                  <a:pt x="576" y="474"/>
                  <a:pt x="577" y="477"/>
                  <a:pt x="576" y="475"/>
                </a:cubicBezTo>
                <a:close/>
                <a:moveTo>
                  <a:pt x="576" y="497"/>
                </a:moveTo>
                <a:cubicBezTo>
                  <a:pt x="576" y="497"/>
                  <a:pt x="576" y="498"/>
                  <a:pt x="576" y="498"/>
                </a:cubicBezTo>
                <a:cubicBezTo>
                  <a:pt x="576" y="499"/>
                  <a:pt x="576" y="497"/>
                  <a:pt x="576" y="497"/>
                </a:cubicBezTo>
                <a:close/>
                <a:moveTo>
                  <a:pt x="576" y="507"/>
                </a:moveTo>
                <a:cubicBezTo>
                  <a:pt x="577" y="507"/>
                  <a:pt x="577" y="508"/>
                  <a:pt x="576" y="508"/>
                </a:cubicBezTo>
                <a:cubicBezTo>
                  <a:pt x="574" y="509"/>
                  <a:pt x="575" y="505"/>
                  <a:pt x="576" y="507"/>
                </a:cubicBezTo>
                <a:close/>
                <a:moveTo>
                  <a:pt x="575" y="486"/>
                </a:moveTo>
                <a:cubicBezTo>
                  <a:pt x="575" y="485"/>
                  <a:pt x="576" y="488"/>
                  <a:pt x="575" y="486"/>
                </a:cubicBezTo>
                <a:close/>
                <a:moveTo>
                  <a:pt x="573" y="519"/>
                </a:moveTo>
                <a:cubicBezTo>
                  <a:pt x="574" y="524"/>
                  <a:pt x="577" y="528"/>
                  <a:pt x="576" y="533"/>
                </a:cubicBezTo>
                <a:cubicBezTo>
                  <a:pt x="573" y="530"/>
                  <a:pt x="572" y="524"/>
                  <a:pt x="573" y="519"/>
                </a:cubicBezTo>
                <a:close/>
                <a:moveTo>
                  <a:pt x="556" y="517"/>
                </a:moveTo>
                <a:cubicBezTo>
                  <a:pt x="556" y="517"/>
                  <a:pt x="556" y="516"/>
                  <a:pt x="556" y="516"/>
                </a:cubicBezTo>
                <a:cubicBezTo>
                  <a:pt x="554" y="516"/>
                  <a:pt x="557" y="515"/>
                  <a:pt x="556" y="517"/>
                </a:cubicBezTo>
                <a:close/>
                <a:moveTo>
                  <a:pt x="559" y="486"/>
                </a:moveTo>
                <a:cubicBezTo>
                  <a:pt x="558" y="486"/>
                  <a:pt x="559" y="485"/>
                  <a:pt x="559" y="485"/>
                </a:cubicBezTo>
                <a:cubicBezTo>
                  <a:pt x="559" y="485"/>
                  <a:pt x="559" y="486"/>
                  <a:pt x="559" y="486"/>
                </a:cubicBezTo>
                <a:close/>
                <a:moveTo>
                  <a:pt x="561" y="516"/>
                </a:moveTo>
                <a:cubicBezTo>
                  <a:pt x="560" y="516"/>
                  <a:pt x="560" y="515"/>
                  <a:pt x="560" y="515"/>
                </a:cubicBezTo>
                <a:cubicBezTo>
                  <a:pt x="562" y="514"/>
                  <a:pt x="563" y="517"/>
                  <a:pt x="561" y="516"/>
                </a:cubicBezTo>
                <a:close/>
                <a:moveTo>
                  <a:pt x="572" y="517"/>
                </a:moveTo>
                <a:cubicBezTo>
                  <a:pt x="572" y="517"/>
                  <a:pt x="567" y="506"/>
                  <a:pt x="569" y="506"/>
                </a:cubicBezTo>
                <a:cubicBezTo>
                  <a:pt x="569" y="505"/>
                  <a:pt x="572" y="514"/>
                  <a:pt x="572" y="515"/>
                </a:cubicBezTo>
                <a:cubicBezTo>
                  <a:pt x="572" y="515"/>
                  <a:pt x="572" y="516"/>
                  <a:pt x="572" y="517"/>
                </a:cubicBezTo>
                <a:close/>
                <a:moveTo>
                  <a:pt x="569" y="480"/>
                </a:moveTo>
                <a:cubicBezTo>
                  <a:pt x="570" y="480"/>
                  <a:pt x="570" y="480"/>
                  <a:pt x="570" y="480"/>
                </a:cubicBezTo>
                <a:cubicBezTo>
                  <a:pt x="571" y="482"/>
                  <a:pt x="567" y="479"/>
                  <a:pt x="569" y="480"/>
                </a:cubicBezTo>
                <a:close/>
                <a:moveTo>
                  <a:pt x="570" y="451"/>
                </a:moveTo>
                <a:cubicBezTo>
                  <a:pt x="570" y="451"/>
                  <a:pt x="570" y="452"/>
                  <a:pt x="570" y="453"/>
                </a:cubicBezTo>
                <a:cubicBezTo>
                  <a:pt x="568" y="454"/>
                  <a:pt x="568" y="449"/>
                  <a:pt x="570" y="451"/>
                </a:cubicBezTo>
                <a:close/>
                <a:moveTo>
                  <a:pt x="569" y="528"/>
                </a:moveTo>
                <a:cubicBezTo>
                  <a:pt x="569" y="528"/>
                  <a:pt x="569" y="529"/>
                  <a:pt x="569" y="529"/>
                </a:cubicBezTo>
                <a:cubicBezTo>
                  <a:pt x="567" y="529"/>
                  <a:pt x="569" y="526"/>
                  <a:pt x="569" y="528"/>
                </a:cubicBezTo>
                <a:close/>
                <a:moveTo>
                  <a:pt x="567" y="520"/>
                </a:moveTo>
                <a:cubicBezTo>
                  <a:pt x="567" y="520"/>
                  <a:pt x="567" y="519"/>
                  <a:pt x="567" y="519"/>
                </a:cubicBezTo>
                <a:cubicBezTo>
                  <a:pt x="568" y="519"/>
                  <a:pt x="567" y="521"/>
                  <a:pt x="567" y="520"/>
                </a:cubicBezTo>
                <a:close/>
                <a:moveTo>
                  <a:pt x="567" y="511"/>
                </a:moveTo>
                <a:cubicBezTo>
                  <a:pt x="566" y="511"/>
                  <a:pt x="566" y="509"/>
                  <a:pt x="566" y="508"/>
                </a:cubicBezTo>
                <a:cubicBezTo>
                  <a:pt x="567" y="509"/>
                  <a:pt x="567" y="510"/>
                  <a:pt x="567" y="511"/>
                </a:cubicBezTo>
                <a:close/>
                <a:moveTo>
                  <a:pt x="566" y="507"/>
                </a:moveTo>
                <a:cubicBezTo>
                  <a:pt x="565" y="506"/>
                  <a:pt x="567" y="504"/>
                  <a:pt x="566" y="507"/>
                </a:cubicBezTo>
                <a:close/>
                <a:moveTo>
                  <a:pt x="565" y="501"/>
                </a:moveTo>
                <a:cubicBezTo>
                  <a:pt x="565" y="501"/>
                  <a:pt x="565" y="501"/>
                  <a:pt x="565" y="501"/>
                </a:cubicBezTo>
                <a:cubicBezTo>
                  <a:pt x="565" y="501"/>
                  <a:pt x="565" y="501"/>
                  <a:pt x="565" y="500"/>
                </a:cubicBezTo>
                <a:cubicBezTo>
                  <a:pt x="565" y="501"/>
                  <a:pt x="565" y="501"/>
                  <a:pt x="565" y="501"/>
                </a:cubicBezTo>
                <a:close/>
                <a:moveTo>
                  <a:pt x="565" y="508"/>
                </a:moveTo>
                <a:cubicBezTo>
                  <a:pt x="566" y="510"/>
                  <a:pt x="562" y="508"/>
                  <a:pt x="564" y="507"/>
                </a:cubicBezTo>
                <a:cubicBezTo>
                  <a:pt x="564" y="507"/>
                  <a:pt x="565" y="507"/>
                  <a:pt x="565" y="508"/>
                </a:cubicBezTo>
                <a:close/>
                <a:moveTo>
                  <a:pt x="564" y="502"/>
                </a:moveTo>
                <a:cubicBezTo>
                  <a:pt x="564" y="502"/>
                  <a:pt x="564" y="503"/>
                  <a:pt x="564" y="503"/>
                </a:cubicBezTo>
                <a:cubicBezTo>
                  <a:pt x="565" y="505"/>
                  <a:pt x="561" y="503"/>
                  <a:pt x="564" y="502"/>
                </a:cubicBezTo>
                <a:close/>
                <a:moveTo>
                  <a:pt x="560" y="494"/>
                </a:moveTo>
                <a:cubicBezTo>
                  <a:pt x="562" y="492"/>
                  <a:pt x="564" y="496"/>
                  <a:pt x="564" y="496"/>
                </a:cubicBezTo>
                <a:cubicBezTo>
                  <a:pt x="565" y="501"/>
                  <a:pt x="557" y="496"/>
                  <a:pt x="560" y="494"/>
                </a:cubicBezTo>
                <a:close/>
                <a:moveTo>
                  <a:pt x="557" y="439"/>
                </a:moveTo>
                <a:cubicBezTo>
                  <a:pt x="557" y="440"/>
                  <a:pt x="556" y="438"/>
                  <a:pt x="557" y="439"/>
                </a:cubicBezTo>
                <a:close/>
                <a:moveTo>
                  <a:pt x="555" y="457"/>
                </a:moveTo>
                <a:cubicBezTo>
                  <a:pt x="556" y="456"/>
                  <a:pt x="558" y="461"/>
                  <a:pt x="558" y="460"/>
                </a:cubicBezTo>
                <a:cubicBezTo>
                  <a:pt x="558" y="462"/>
                  <a:pt x="558" y="464"/>
                  <a:pt x="559" y="467"/>
                </a:cubicBezTo>
                <a:cubicBezTo>
                  <a:pt x="560" y="471"/>
                  <a:pt x="564" y="476"/>
                  <a:pt x="564" y="480"/>
                </a:cubicBezTo>
                <a:cubicBezTo>
                  <a:pt x="560" y="478"/>
                  <a:pt x="561" y="472"/>
                  <a:pt x="559" y="469"/>
                </a:cubicBezTo>
                <a:cubicBezTo>
                  <a:pt x="558" y="468"/>
                  <a:pt x="556" y="462"/>
                  <a:pt x="555" y="459"/>
                </a:cubicBezTo>
                <a:cubicBezTo>
                  <a:pt x="555" y="458"/>
                  <a:pt x="553" y="457"/>
                  <a:pt x="555" y="457"/>
                </a:cubicBezTo>
                <a:close/>
                <a:moveTo>
                  <a:pt x="549" y="528"/>
                </a:moveTo>
                <a:cubicBezTo>
                  <a:pt x="549" y="527"/>
                  <a:pt x="550" y="527"/>
                  <a:pt x="550" y="528"/>
                </a:cubicBezTo>
                <a:cubicBezTo>
                  <a:pt x="551" y="529"/>
                  <a:pt x="549" y="528"/>
                  <a:pt x="549" y="528"/>
                </a:cubicBezTo>
                <a:close/>
                <a:moveTo>
                  <a:pt x="540" y="511"/>
                </a:moveTo>
                <a:cubicBezTo>
                  <a:pt x="540" y="513"/>
                  <a:pt x="539" y="510"/>
                  <a:pt x="540" y="511"/>
                </a:cubicBezTo>
                <a:close/>
                <a:moveTo>
                  <a:pt x="541" y="554"/>
                </a:moveTo>
                <a:cubicBezTo>
                  <a:pt x="543" y="553"/>
                  <a:pt x="546" y="557"/>
                  <a:pt x="546" y="557"/>
                </a:cubicBezTo>
                <a:cubicBezTo>
                  <a:pt x="546" y="563"/>
                  <a:pt x="538" y="556"/>
                  <a:pt x="541" y="554"/>
                </a:cubicBezTo>
                <a:close/>
                <a:moveTo>
                  <a:pt x="541" y="528"/>
                </a:moveTo>
                <a:cubicBezTo>
                  <a:pt x="541" y="527"/>
                  <a:pt x="543" y="529"/>
                  <a:pt x="542" y="529"/>
                </a:cubicBezTo>
                <a:cubicBezTo>
                  <a:pt x="542" y="529"/>
                  <a:pt x="541" y="529"/>
                  <a:pt x="541" y="528"/>
                </a:cubicBezTo>
                <a:close/>
                <a:moveTo>
                  <a:pt x="549" y="540"/>
                </a:moveTo>
                <a:cubicBezTo>
                  <a:pt x="550" y="541"/>
                  <a:pt x="548" y="539"/>
                  <a:pt x="549" y="540"/>
                </a:cubicBezTo>
                <a:close/>
                <a:moveTo>
                  <a:pt x="548" y="494"/>
                </a:moveTo>
                <a:cubicBezTo>
                  <a:pt x="547" y="494"/>
                  <a:pt x="547" y="493"/>
                  <a:pt x="547" y="492"/>
                </a:cubicBezTo>
                <a:cubicBezTo>
                  <a:pt x="547" y="492"/>
                  <a:pt x="548" y="493"/>
                  <a:pt x="548" y="494"/>
                </a:cubicBezTo>
                <a:close/>
                <a:moveTo>
                  <a:pt x="546" y="541"/>
                </a:moveTo>
                <a:cubicBezTo>
                  <a:pt x="546" y="544"/>
                  <a:pt x="543" y="538"/>
                  <a:pt x="546" y="539"/>
                </a:cubicBezTo>
                <a:cubicBezTo>
                  <a:pt x="546" y="539"/>
                  <a:pt x="546" y="540"/>
                  <a:pt x="546" y="541"/>
                </a:cubicBezTo>
                <a:close/>
                <a:moveTo>
                  <a:pt x="545" y="522"/>
                </a:moveTo>
                <a:cubicBezTo>
                  <a:pt x="545" y="521"/>
                  <a:pt x="546" y="522"/>
                  <a:pt x="546" y="522"/>
                </a:cubicBezTo>
                <a:cubicBezTo>
                  <a:pt x="546" y="523"/>
                  <a:pt x="544" y="522"/>
                  <a:pt x="545" y="522"/>
                </a:cubicBezTo>
                <a:close/>
                <a:moveTo>
                  <a:pt x="545" y="470"/>
                </a:moveTo>
                <a:cubicBezTo>
                  <a:pt x="545" y="468"/>
                  <a:pt x="544" y="467"/>
                  <a:pt x="544" y="465"/>
                </a:cubicBezTo>
                <a:cubicBezTo>
                  <a:pt x="545" y="466"/>
                  <a:pt x="546" y="468"/>
                  <a:pt x="545" y="470"/>
                </a:cubicBezTo>
                <a:close/>
                <a:moveTo>
                  <a:pt x="543" y="518"/>
                </a:moveTo>
                <a:cubicBezTo>
                  <a:pt x="543" y="518"/>
                  <a:pt x="543" y="518"/>
                  <a:pt x="544" y="518"/>
                </a:cubicBezTo>
                <a:cubicBezTo>
                  <a:pt x="545" y="517"/>
                  <a:pt x="546" y="522"/>
                  <a:pt x="543" y="521"/>
                </a:cubicBezTo>
                <a:cubicBezTo>
                  <a:pt x="543" y="521"/>
                  <a:pt x="542" y="520"/>
                  <a:pt x="542" y="519"/>
                </a:cubicBezTo>
                <a:cubicBezTo>
                  <a:pt x="542" y="519"/>
                  <a:pt x="541" y="519"/>
                  <a:pt x="541" y="518"/>
                </a:cubicBezTo>
                <a:cubicBezTo>
                  <a:pt x="541" y="517"/>
                  <a:pt x="543" y="517"/>
                  <a:pt x="543" y="518"/>
                </a:cubicBezTo>
                <a:cubicBezTo>
                  <a:pt x="543" y="518"/>
                  <a:pt x="543" y="518"/>
                  <a:pt x="543" y="518"/>
                </a:cubicBezTo>
                <a:close/>
                <a:moveTo>
                  <a:pt x="541" y="454"/>
                </a:moveTo>
                <a:cubicBezTo>
                  <a:pt x="542" y="456"/>
                  <a:pt x="543" y="459"/>
                  <a:pt x="543" y="461"/>
                </a:cubicBezTo>
                <a:cubicBezTo>
                  <a:pt x="542" y="459"/>
                  <a:pt x="541" y="457"/>
                  <a:pt x="541" y="454"/>
                </a:cubicBezTo>
                <a:close/>
                <a:moveTo>
                  <a:pt x="539" y="439"/>
                </a:moveTo>
                <a:cubicBezTo>
                  <a:pt x="541" y="443"/>
                  <a:pt x="541" y="450"/>
                  <a:pt x="542" y="454"/>
                </a:cubicBezTo>
                <a:cubicBezTo>
                  <a:pt x="540" y="450"/>
                  <a:pt x="540" y="445"/>
                  <a:pt x="539" y="439"/>
                </a:cubicBezTo>
                <a:close/>
                <a:moveTo>
                  <a:pt x="539" y="439"/>
                </a:moveTo>
                <a:cubicBezTo>
                  <a:pt x="538" y="438"/>
                  <a:pt x="538" y="436"/>
                  <a:pt x="538" y="434"/>
                </a:cubicBezTo>
                <a:cubicBezTo>
                  <a:pt x="540" y="435"/>
                  <a:pt x="540" y="437"/>
                  <a:pt x="539" y="439"/>
                </a:cubicBezTo>
                <a:close/>
                <a:moveTo>
                  <a:pt x="539" y="432"/>
                </a:moveTo>
                <a:cubicBezTo>
                  <a:pt x="539" y="433"/>
                  <a:pt x="540" y="433"/>
                  <a:pt x="539" y="434"/>
                </a:cubicBezTo>
                <a:cubicBezTo>
                  <a:pt x="538" y="434"/>
                  <a:pt x="538" y="429"/>
                  <a:pt x="539" y="432"/>
                </a:cubicBezTo>
                <a:close/>
                <a:moveTo>
                  <a:pt x="538" y="420"/>
                </a:moveTo>
                <a:cubicBezTo>
                  <a:pt x="538" y="420"/>
                  <a:pt x="539" y="420"/>
                  <a:pt x="538" y="421"/>
                </a:cubicBezTo>
                <a:cubicBezTo>
                  <a:pt x="537" y="421"/>
                  <a:pt x="537" y="418"/>
                  <a:pt x="538" y="420"/>
                </a:cubicBezTo>
                <a:close/>
                <a:moveTo>
                  <a:pt x="537" y="551"/>
                </a:moveTo>
                <a:cubicBezTo>
                  <a:pt x="538" y="550"/>
                  <a:pt x="539" y="551"/>
                  <a:pt x="539" y="552"/>
                </a:cubicBezTo>
                <a:cubicBezTo>
                  <a:pt x="539" y="554"/>
                  <a:pt x="536" y="553"/>
                  <a:pt x="537" y="551"/>
                </a:cubicBezTo>
                <a:close/>
                <a:moveTo>
                  <a:pt x="535" y="409"/>
                </a:moveTo>
                <a:cubicBezTo>
                  <a:pt x="536" y="409"/>
                  <a:pt x="536" y="411"/>
                  <a:pt x="535" y="409"/>
                </a:cubicBezTo>
                <a:close/>
                <a:moveTo>
                  <a:pt x="535" y="418"/>
                </a:moveTo>
                <a:cubicBezTo>
                  <a:pt x="533" y="417"/>
                  <a:pt x="535" y="416"/>
                  <a:pt x="535" y="418"/>
                </a:cubicBezTo>
                <a:close/>
                <a:moveTo>
                  <a:pt x="534" y="460"/>
                </a:moveTo>
                <a:cubicBezTo>
                  <a:pt x="535" y="460"/>
                  <a:pt x="536" y="461"/>
                  <a:pt x="536" y="461"/>
                </a:cubicBezTo>
                <a:cubicBezTo>
                  <a:pt x="537" y="465"/>
                  <a:pt x="533" y="461"/>
                  <a:pt x="534" y="460"/>
                </a:cubicBezTo>
                <a:close/>
                <a:moveTo>
                  <a:pt x="301" y="28"/>
                </a:moveTo>
                <a:cubicBezTo>
                  <a:pt x="300" y="27"/>
                  <a:pt x="303" y="29"/>
                  <a:pt x="301" y="28"/>
                </a:cubicBezTo>
                <a:close/>
                <a:moveTo>
                  <a:pt x="308" y="19"/>
                </a:moveTo>
                <a:cubicBezTo>
                  <a:pt x="310" y="20"/>
                  <a:pt x="312" y="22"/>
                  <a:pt x="314" y="24"/>
                </a:cubicBezTo>
                <a:cubicBezTo>
                  <a:pt x="311" y="23"/>
                  <a:pt x="310" y="21"/>
                  <a:pt x="308" y="19"/>
                </a:cubicBezTo>
                <a:close/>
                <a:moveTo>
                  <a:pt x="314" y="19"/>
                </a:moveTo>
                <a:cubicBezTo>
                  <a:pt x="314" y="19"/>
                  <a:pt x="314" y="19"/>
                  <a:pt x="314" y="19"/>
                </a:cubicBezTo>
                <a:cubicBezTo>
                  <a:pt x="315" y="20"/>
                  <a:pt x="314" y="19"/>
                  <a:pt x="314" y="19"/>
                </a:cubicBezTo>
                <a:close/>
                <a:moveTo>
                  <a:pt x="286" y="38"/>
                </a:moveTo>
                <a:cubicBezTo>
                  <a:pt x="286" y="38"/>
                  <a:pt x="286" y="38"/>
                  <a:pt x="286" y="38"/>
                </a:cubicBezTo>
                <a:cubicBezTo>
                  <a:pt x="286" y="38"/>
                  <a:pt x="287" y="38"/>
                  <a:pt x="287" y="38"/>
                </a:cubicBezTo>
                <a:cubicBezTo>
                  <a:pt x="287" y="38"/>
                  <a:pt x="287" y="38"/>
                  <a:pt x="286" y="38"/>
                </a:cubicBezTo>
                <a:close/>
                <a:moveTo>
                  <a:pt x="290" y="56"/>
                </a:moveTo>
                <a:cubicBezTo>
                  <a:pt x="291" y="55"/>
                  <a:pt x="292" y="57"/>
                  <a:pt x="290" y="56"/>
                </a:cubicBezTo>
                <a:close/>
                <a:moveTo>
                  <a:pt x="294" y="57"/>
                </a:moveTo>
                <a:cubicBezTo>
                  <a:pt x="292" y="57"/>
                  <a:pt x="293" y="55"/>
                  <a:pt x="294" y="57"/>
                </a:cubicBezTo>
                <a:close/>
                <a:moveTo>
                  <a:pt x="292" y="34"/>
                </a:moveTo>
                <a:cubicBezTo>
                  <a:pt x="293" y="33"/>
                  <a:pt x="294" y="34"/>
                  <a:pt x="294" y="35"/>
                </a:cubicBezTo>
                <a:cubicBezTo>
                  <a:pt x="293" y="35"/>
                  <a:pt x="293" y="34"/>
                  <a:pt x="292" y="34"/>
                </a:cubicBezTo>
                <a:close/>
                <a:moveTo>
                  <a:pt x="301" y="46"/>
                </a:moveTo>
                <a:cubicBezTo>
                  <a:pt x="302" y="47"/>
                  <a:pt x="299" y="45"/>
                  <a:pt x="301" y="46"/>
                </a:cubicBezTo>
                <a:close/>
                <a:moveTo>
                  <a:pt x="300" y="50"/>
                </a:moveTo>
                <a:cubicBezTo>
                  <a:pt x="298" y="49"/>
                  <a:pt x="302" y="52"/>
                  <a:pt x="300" y="50"/>
                </a:cubicBezTo>
                <a:close/>
                <a:moveTo>
                  <a:pt x="301" y="48"/>
                </a:moveTo>
                <a:cubicBezTo>
                  <a:pt x="300" y="48"/>
                  <a:pt x="300" y="47"/>
                  <a:pt x="300" y="47"/>
                </a:cubicBezTo>
                <a:cubicBezTo>
                  <a:pt x="301" y="45"/>
                  <a:pt x="304" y="50"/>
                  <a:pt x="301" y="48"/>
                </a:cubicBezTo>
                <a:close/>
                <a:moveTo>
                  <a:pt x="197" y="116"/>
                </a:moveTo>
                <a:cubicBezTo>
                  <a:pt x="197" y="115"/>
                  <a:pt x="196" y="115"/>
                  <a:pt x="197" y="115"/>
                </a:cubicBezTo>
                <a:cubicBezTo>
                  <a:pt x="198" y="114"/>
                  <a:pt x="199" y="117"/>
                  <a:pt x="197" y="116"/>
                </a:cubicBezTo>
                <a:close/>
                <a:moveTo>
                  <a:pt x="204" y="118"/>
                </a:moveTo>
                <a:cubicBezTo>
                  <a:pt x="205" y="118"/>
                  <a:pt x="206" y="119"/>
                  <a:pt x="205" y="119"/>
                </a:cubicBezTo>
                <a:cubicBezTo>
                  <a:pt x="205" y="120"/>
                  <a:pt x="203" y="119"/>
                  <a:pt x="204" y="118"/>
                </a:cubicBezTo>
                <a:close/>
                <a:moveTo>
                  <a:pt x="201" y="107"/>
                </a:moveTo>
                <a:cubicBezTo>
                  <a:pt x="205" y="105"/>
                  <a:pt x="202" y="110"/>
                  <a:pt x="201" y="107"/>
                </a:cubicBezTo>
                <a:cubicBezTo>
                  <a:pt x="201" y="106"/>
                  <a:pt x="201" y="107"/>
                  <a:pt x="201" y="107"/>
                </a:cubicBezTo>
                <a:close/>
                <a:moveTo>
                  <a:pt x="203" y="122"/>
                </a:moveTo>
                <a:cubicBezTo>
                  <a:pt x="203" y="122"/>
                  <a:pt x="202" y="122"/>
                  <a:pt x="202" y="121"/>
                </a:cubicBezTo>
                <a:cubicBezTo>
                  <a:pt x="202" y="121"/>
                  <a:pt x="202" y="121"/>
                  <a:pt x="202" y="121"/>
                </a:cubicBezTo>
                <a:cubicBezTo>
                  <a:pt x="202" y="120"/>
                  <a:pt x="201" y="119"/>
                  <a:pt x="200" y="118"/>
                </a:cubicBezTo>
                <a:cubicBezTo>
                  <a:pt x="202" y="119"/>
                  <a:pt x="203" y="121"/>
                  <a:pt x="205" y="124"/>
                </a:cubicBezTo>
                <a:cubicBezTo>
                  <a:pt x="204" y="123"/>
                  <a:pt x="203" y="123"/>
                  <a:pt x="203" y="122"/>
                </a:cubicBezTo>
                <a:close/>
                <a:moveTo>
                  <a:pt x="205" y="124"/>
                </a:moveTo>
                <a:cubicBezTo>
                  <a:pt x="206" y="123"/>
                  <a:pt x="207" y="128"/>
                  <a:pt x="205" y="126"/>
                </a:cubicBezTo>
                <a:cubicBezTo>
                  <a:pt x="205" y="125"/>
                  <a:pt x="204" y="125"/>
                  <a:pt x="205" y="124"/>
                </a:cubicBezTo>
                <a:close/>
                <a:moveTo>
                  <a:pt x="205" y="140"/>
                </a:moveTo>
                <a:cubicBezTo>
                  <a:pt x="204" y="140"/>
                  <a:pt x="204" y="139"/>
                  <a:pt x="205" y="139"/>
                </a:cubicBezTo>
                <a:cubicBezTo>
                  <a:pt x="206" y="138"/>
                  <a:pt x="207" y="141"/>
                  <a:pt x="205" y="140"/>
                </a:cubicBezTo>
                <a:close/>
                <a:moveTo>
                  <a:pt x="77" y="199"/>
                </a:moveTo>
                <a:cubicBezTo>
                  <a:pt x="79" y="200"/>
                  <a:pt x="77" y="201"/>
                  <a:pt x="77" y="199"/>
                </a:cubicBezTo>
                <a:close/>
                <a:moveTo>
                  <a:pt x="21" y="249"/>
                </a:moveTo>
                <a:cubicBezTo>
                  <a:pt x="20" y="248"/>
                  <a:pt x="22" y="247"/>
                  <a:pt x="21" y="249"/>
                </a:cubicBezTo>
                <a:close/>
                <a:moveTo>
                  <a:pt x="24" y="252"/>
                </a:moveTo>
                <a:cubicBezTo>
                  <a:pt x="23" y="252"/>
                  <a:pt x="23" y="251"/>
                  <a:pt x="24" y="251"/>
                </a:cubicBezTo>
                <a:cubicBezTo>
                  <a:pt x="24" y="250"/>
                  <a:pt x="24" y="252"/>
                  <a:pt x="24" y="252"/>
                </a:cubicBezTo>
                <a:close/>
                <a:moveTo>
                  <a:pt x="23" y="249"/>
                </a:moveTo>
                <a:cubicBezTo>
                  <a:pt x="23" y="249"/>
                  <a:pt x="24" y="248"/>
                  <a:pt x="24" y="248"/>
                </a:cubicBezTo>
                <a:cubicBezTo>
                  <a:pt x="26" y="247"/>
                  <a:pt x="24" y="251"/>
                  <a:pt x="23" y="249"/>
                </a:cubicBezTo>
                <a:close/>
                <a:moveTo>
                  <a:pt x="26" y="245"/>
                </a:moveTo>
                <a:cubicBezTo>
                  <a:pt x="25" y="245"/>
                  <a:pt x="25" y="244"/>
                  <a:pt x="25" y="244"/>
                </a:cubicBezTo>
                <a:cubicBezTo>
                  <a:pt x="26" y="243"/>
                  <a:pt x="26" y="245"/>
                  <a:pt x="26" y="245"/>
                </a:cubicBezTo>
                <a:close/>
                <a:moveTo>
                  <a:pt x="33" y="251"/>
                </a:moveTo>
                <a:cubicBezTo>
                  <a:pt x="34" y="250"/>
                  <a:pt x="34" y="253"/>
                  <a:pt x="33" y="253"/>
                </a:cubicBezTo>
                <a:cubicBezTo>
                  <a:pt x="33" y="252"/>
                  <a:pt x="33" y="251"/>
                  <a:pt x="33" y="251"/>
                </a:cubicBezTo>
                <a:close/>
                <a:moveTo>
                  <a:pt x="28" y="258"/>
                </a:moveTo>
                <a:cubicBezTo>
                  <a:pt x="28" y="259"/>
                  <a:pt x="27" y="257"/>
                  <a:pt x="27" y="257"/>
                </a:cubicBezTo>
                <a:cubicBezTo>
                  <a:pt x="28" y="256"/>
                  <a:pt x="28" y="258"/>
                  <a:pt x="28" y="258"/>
                </a:cubicBezTo>
                <a:close/>
                <a:moveTo>
                  <a:pt x="29" y="249"/>
                </a:moveTo>
                <a:cubicBezTo>
                  <a:pt x="29" y="248"/>
                  <a:pt x="30" y="249"/>
                  <a:pt x="29" y="250"/>
                </a:cubicBezTo>
                <a:cubicBezTo>
                  <a:pt x="29" y="250"/>
                  <a:pt x="28" y="249"/>
                  <a:pt x="29" y="249"/>
                </a:cubicBezTo>
                <a:close/>
                <a:moveTo>
                  <a:pt x="29" y="275"/>
                </a:moveTo>
                <a:cubicBezTo>
                  <a:pt x="29" y="276"/>
                  <a:pt x="30" y="274"/>
                  <a:pt x="29" y="275"/>
                </a:cubicBezTo>
                <a:close/>
                <a:moveTo>
                  <a:pt x="29" y="247"/>
                </a:moveTo>
                <a:cubicBezTo>
                  <a:pt x="29" y="247"/>
                  <a:pt x="28" y="247"/>
                  <a:pt x="29" y="248"/>
                </a:cubicBezTo>
                <a:cubicBezTo>
                  <a:pt x="28" y="247"/>
                  <a:pt x="28" y="246"/>
                  <a:pt x="28" y="246"/>
                </a:cubicBezTo>
                <a:cubicBezTo>
                  <a:pt x="28" y="246"/>
                  <a:pt x="28" y="245"/>
                  <a:pt x="28" y="245"/>
                </a:cubicBezTo>
                <a:cubicBezTo>
                  <a:pt x="28" y="244"/>
                  <a:pt x="25" y="241"/>
                  <a:pt x="27" y="240"/>
                </a:cubicBezTo>
                <a:cubicBezTo>
                  <a:pt x="31" y="239"/>
                  <a:pt x="30" y="243"/>
                  <a:pt x="30" y="244"/>
                </a:cubicBezTo>
                <a:cubicBezTo>
                  <a:pt x="30" y="244"/>
                  <a:pt x="30" y="245"/>
                  <a:pt x="30" y="245"/>
                </a:cubicBezTo>
                <a:cubicBezTo>
                  <a:pt x="31" y="245"/>
                  <a:pt x="31" y="247"/>
                  <a:pt x="30" y="247"/>
                </a:cubicBezTo>
                <a:cubicBezTo>
                  <a:pt x="30" y="247"/>
                  <a:pt x="30" y="247"/>
                  <a:pt x="30" y="247"/>
                </a:cubicBezTo>
                <a:cubicBezTo>
                  <a:pt x="29" y="247"/>
                  <a:pt x="29" y="247"/>
                  <a:pt x="29" y="247"/>
                </a:cubicBezTo>
                <a:close/>
                <a:moveTo>
                  <a:pt x="30" y="259"/>
                </a:moveTo>
                <a:cubicBezTo>
                  <a:pt x="31" y="258"/>
                  <a:pt x="32" y="262"/>
                  <a:pt x="31" y="262"/>
                </a:cubicBezTo>
                <a:cubicBezTo>
                  <a:pt x="30" y="262"/>
                  <a:pt x="29" y="260"/>
                  <a:pt x="30" y="259"/>
                </a:cubicBezTo>
                <a:close/>
                <a:moveTo>
                  <a:pt x="32" y="282"/>
                </a:moveTo>
                <a:cubicBezTo>
                  <a:pt x="32" y="281"/>
                  <a:pt x="33" y="281"/>
                  <a:pt x="33" y="282"/>
                </a:cubicBezTo>
                <a:cubicBezTo>
                  <a:pt x="33" y="284"/>
                  <a:pt x="29" y="282"/>
                  <a:pt x="32" y="282"/>
                </a:cubicBezTo>
                <a:close/>
                <a:moveTo>
                  <a:pt x="33" y="261"/>
                </a:moveTo>
                <a:cubicBezTo>
                  <a:pt x="33" y="261"/>
                  <a:pt x="32" y="260"/>
                  <a:pt x="33" y="259"/>
                </a:cubicBezTo>
                <a:cubicBezTo>
                  <a:pt x="34" y="259"/>
                  <a:pt x="34" y="261"/>
                  <a:pt x="33" y="261"/>
                </a:cubicBezTo>
                <a:close/>
                <a:moveTo>
                  <a:pt x="34" y="281"/>
                </a:moveTo>
                <a:cubicBezTo>
                  <a:pt x="33" y="279"/>
                  <a:pt x="35" y="278"/>
                  <a:pt x="34" y="281"/>
                </a:cubicBezTo>
                <a:close/>
                <a:moveTo>
                  <a:pt x="35" y="279"/>
                </a:moveTo>
                <a:cubicBezTo>
                  <a:pt x="35" y="280"/>
                  <a:pt x="34" y="277"/>
                  <a:pt x="35" y="277"/>
                </a:cubicBezTo>
                <a:cubicBezTo>
                  <a:pt x="36" y="278"/>
                  <a:pt x="36" y="278"/>
                  <a:pt x="35" y="279"/>
                </a:cubicBezTo>
                <a:close/>
                <a:moveTo>
                  <a:pt x="37" y="226"/>
                </a:moveTo>
                <a:cubicBezTo>
                  <a:pt x="37" y="226"/>
                  <a:pt x="37" y="227"/>
                  <a:pt x="37" y="228"/>
                </a:cubicBezTo>
                <a:cubicBezTo>
                  <a:pt x="37" y="228"/>
                  <a:pt x="36" y="227"/>
                  <a:pt x="37" y="226"/>
                </a:cubicBezTo>
                <a:close/>
                <a:moveTo>
                  <a:pt x="38" y="238"/>
                </a:moveTo>
                <a:cubicBezTo>
                  <a:pt x="37" y="238"/>
                  <a:pt x="37" y="236"/>
                  <a:pt x="38" y="236"/>
                </a:cubicBezTo>
                <a:cubicBezTo>
                  <a:pt x="39" y="235"/>
                  <a:pt x="39" y="238"/>
                  <a:pt x="38" y="238"/>
                </a:cubicBezTo>
                <a:close/>
                <a:moveTo>
                  <a:pt x="40" y="226"/>
                </a:moveTo>
                <a:cubicBezTo>
                  <a:pt x="41" y="226"/>
                  <a:pt x="40" y="228"/>
                  <a:pt x="40" y="228"/>
                </a:cubicBezTo>
                <a:cubicBezTo>
                  <a:pt x="39" y="228"/>
                  <a:pt x="38" y="227"/>
                  <a:pt x="40" y="226"/>
                </a:cubicBezTo>
                <a:close/>
                <a:moveTo>
                  <a:pt x="40" y="265"/>
                </a:moveTo>
                <a:cubicBezTo>
                  <a:pt x="39" y="266"/>
                  <a:pt x="40" y="264"/>
                  <a:pt x="40" y="265"/>
                </a:cubicBezTo>
                <a:close/>
                <a:moveTo>
                  <a:pt x="40" y="249"/>
                </a:moveTo>
                <a:cubicBezTo>
                  <a:pt x="40" y="249"/>
                  <a:pt x="41" y="250"/>
                  <a:pt x="41" y="250"/>
                </a:cubicBezTo>
                <a:cubicBezTo>
                  <a:pt x="40" y="250"/>
                  <a:pt x="40" y="250"/>
                  <a:pt x="40" y="249"/>
                </a:cubicBezTo>
                <a:close/>
                <a:moveTo>
                  <a:pt x="41" y="284"/>
                </a:moveTo>
                <a:cubicBezTo>
                  <a:pt x="40" y="284"/>
                  <a:pt x="39" y="281"/>
                  <a:pt x="40" y="281"/>
                </a:cubicBezTo>
                <a:cubicBezTo>
                  <a:pt x="41" y="280"/>
                  <a:pt x="42" y="283"/>
                  <a:pt x="41" y="284"/>
                </a:cubicBezTo>
                <a:close/>
                <a:moveTo>
                  <a:pt x="40" y="241"/>
                </a:moveTo>
                <a:cubicBezTo>
                  <a:pt x="39" y="241"/>
                  <a:pt x="38" y="238"/>
                  <a:pt x="40" y="237"/>
                </a:cubicBezTo>
                <a:cubicBezTo>
                  <a:pt x="42" y="237"/>
                  <a:pt x="41" y="241"/>
                  <a:pt x="40" y="241"/>
                </a:cubicBezTo>
                <a:close/>
                <a:moveTo>
                  <a:pt x="57" y="241"/>
                </a:moveTo>
                <a:cubicBezTo>
                  <a:pt x="57" y="241"/>
                  <a:pt x="56" y="243"/>
                  <a:pt x="56" y="243"/>
                </a:cubicBezTo>
                <a:cubicBezTo>
                  <a:pt x="56" y="243"/>
                  <a:pt x="56" y="241"/>
                  <a:pt x="57" y="241"/>
                </a:cubicBezTo>
                <a:close/>
                <a:moveTo>
                  <a:pt x="53" y="238"/>
                </a:moveTo>
                <a:cubicBezTo>
                  <a:pt x="56" y="242"/>
                  <a:pt x="53" y="244"/>
                  <a:pt x="53" y="238"/>
                </a:cubicBezTo>
                <a:close/>
                <a:moveTo>
                  <a:pt x="47" y="255"/>
                </a:moveTo>
                <a:cubicBezTo>
                  <a:pt x="46" y="254"/>
                  <a:pt x="48" y="253"/>
                  <a:pt x="47" y="255"/>
                </a:cubicBezTo>
                <a:close/>
                <a:moveTo>
                  <a:pt x="46" y="251"/>
                </a:moveTo>
                <a:cubicBezTo>
                  <a:pt x="47" y="251"/>
                  <a:pt x="47" y="253"/>
                  <a:pt x="46" y="253"/>
                </a:cubicBezTo>
                <a:cubicBezTo>
                  <a:pt x="45" y="253"/>
                  <a:pt x="46" y="251"/>
                  <a:pt x="46" y="251"/>
                </a:cubicBezTo>
                <a:close/>
                <a:moveTo>
                  <a:pt x="42" y="252"/>
                </a:moveTo>
                <a:cubicBezTo>
                  <a:pt x="43" y="251"/>
                  <a:pt x="44" y="254"/>
                  <a:pt x="43" y="254"/>
                </a:cubicBezTo>
                <a:cubicBezTo>
                  <a:pt x="42" y="255"/>
                  <a:pt x="42" y="252"/>
                  <a:pt x="42" y="252"/>
                </a:cubicBezTo>
                <a:close/>
                <a:moveTo>
                  <a:pt x="43" y="259"/>
                </a:moveTo>
                <a:cubicBezTo>
                  <a:pt x="43" y="260"/>
                  <a:pt x="44" y="261"/>
                  <a:pt x="43" y="262"/>
                </a:cubicBezTo>
                <a:cubicBezTo>
                  <a:pt x="42" y="261"/>
                  <a:pt x="42" y="260"/>
                  <a:pt x="43" y="259"/>
                </a:cubicBezTo>
                <a:close/>
                <a:moveTo>
                  <a:pt x="43" y="292"/>
                </a:moveTo>
                <a:cubicBezTo>
                  <a:pt x="43" y="292"/>
                  <a:pt x="43" y="292"/>
                  <a:pt x="44" y="292"/>
                </a:cubicBezTo>
                <a:cubicBezTo>
                  <a:pt x="44" y="292"/>
                  <a:pt x="44" y="292"/>
                  <a:pt x="44" y="292"/>
                </a:cubicBezTo>
                <a:cubicBezTo>
                  <a:pt x="44" y="292"/>
                  <a:pt x="43" y="292"/>
                  <a:pt x="43" y="292"/>
                </a:cubicBezTo>
                <a:close/>
                <a:moveTo>
                  <a:pt x="44" y="265"/>
                </a:moveTo>
                <a:cubicBezTo>
                  <a:pt x="44" y="265"/>
                  <a:pt x="43" y="264"/>
                  <a:pt x="44" y="264"/>
                </a:cubicBezTo>
                <a:cubicBezTo>
                  <a:pt x="44" y="263"/>
                  <a:pt x="45" y="264"/>
                  <a:pt x="44" y="265"/>
                </a:cubicBezTo>
                <a:close/>
                <a:moveTo>
                  <a:pt x="47" y="274"/>
                </a:moveTo>
                <a:cubicBezTo>
                  <a:pt x="46" y="275"/>
                  <a:pt x="44" y="270"/>
                  <a:pt x="46" y="269"/>
                </a:cubicBezTo>
                <a:cubicBezTo>
                  <a:pt x="48" y="269"/>
                  <a:pt x="48" y="274"/>
                  <a:pt x="47" y="274"/>
                </a:cubicBezTo>
                <a:close/>
                <a:moveTo>
                  <a:pt x="48" y="282"/>
                </a:moveTo>
                <a:cubicBezTo>
                  <a:pt x="46" y="280"/>
                  <a:pt x="50" y="279"/>
                  <a:pt x="48" y="282"/>
                </a:cubicBezTo>
                <a:close/>
                <a:moveTo>
                  <a:pt x="51" y="287"/>
                </a:moveTo>
                <a:cubicBezTo>
                  <a:pt x="48" y="289"/>
                  <a:pt x="51" y="281"/>
                  <a:pt x="52" y="285"/>
                </a:cubicBezTo>
                <a:cubicBezTo>
                  <a:pt x="52" y="286"/>
                  <a:pt x="51" y="287"/>
                  <a:pt x="51" y="287"/>
                </a:cubicBezTo>
                <a:close/>
                <a:moveTo>
                  <a:pt x="53" y="285"/>
                </a:moveTo>
                <a:cubicBezTo>
                  <a:pt x="54" y="284"/>
                  <a:pt x="54" y="285"/>
                  <a:pt x="54" y="285"/>
                </a:cubicBezTo>
                <a:cubicBezTo>
                  <a:pt x="53" y="286"/>
                  <a:pt x="54" y="285"/>
                  <a:pt x="53" y="285"/>
                </a:cubicBezTo>
                <a:close/>
                <a:moveTo>
                  <a:pt x="55" y="281"/>
                </a:moveTo>
                <a:cubicBezTo>
                  <a:pt x="54" y="282"/>
                  <a:pt x="56" y="280"/>
                  <a:pt x="55" y="281"/>
                </a:cubicBezTo>
                <a:close/>
                <a:moveTo>
                  <a:pt x="57" y="266"/>
                </a:moveTo>
                <a:cubicBezTo>
                  <a:pt x="56" y="266"/>
                  <a:pt x="54" y="265"/>
                  <a:pt x="54" y="265"/>
                </a:cubicBezTo>
                <a:cubicBezTo>
                  <a:pt x="50" y="263"/>
                  <a:pt x="46" y="255"/>
                  <a:pt x="50" y="252"/>
                </a:cubicBezTo>
                <a:cubicBezTo>
                  <a:pt x="52" y="251"/>
                  <a:pt x="56" y="253"/>
                  <a:pt x="56" y="254"/>
                </a:cubicBezTo>
                <a:cubicBezTo>
                  <a:pt x="56" y="255"/>
                  <a:pt x="56" y="256"/>
                  <a:pt x="56" y="257"/>
                </a:cubicBezTo>
                <a:cubicBezTo>
                  <a:pt x="56" y="258"/>
                  <a:pt x="57" y="258"/>
                  <a:pt x="57" y="258"/>
                </a:cubicBezTo>
                <a:cubicBezTo>
                  <a:pt x="58" y="260"/>
                  <a:pt x="57" y="262"/>
                  <a:pt x="57" y="264"/>
                </a:cubicBezTo>
                <a:cubicBezTo>
                  <a:pt x="57" y="265"/>
                  <a:pt x="57" y="265"/>
                  <a:pt x="57" y="266"/>
                </a:cubicBezTo>
                <a:close/>
                <a:moveTo>
                  <a:pt x="58" y="333"/>
                </a:moveTo>
                <a:cubicBezTo>
                  <a:pt x="58" y="333"/>
                  <a:pt x="57" y="333"/>
                  <a:pt x="57" y="332"/>
                </a:cubicBezTo>
                <a:cubicBezTo>
                  <a:pt x="57" y="331"/>
                  <a:pt x="58" y="332"/>
                  <a:pt x="58" y="333"/>
                </a:cubicBezTo>
                <a:close/>
                <a:moveTo>
                  <a:pt x="64" y="334"/>
                </a:moveTo>
                <a:cubicBezTo>
                  <a:pt x="63" y="334"/>
                  <a:pt x="63" y="333"/>
                  <a:pt x="64" y="332"/>
                </a:cubicBezTo>
                <a:cubicBezTo>
                  <a:pt x="64" y="332"/>
                  <a:pt x="65" y="334"/>
                  <a:pt x="64" y="334"/>
                </a:cubicBezTo>
                <a:close/>
                <a:moveTo>
                  <a:pt x="70" y="242"/>
                </a:moveTo>
                <a:cubicBezTo>
                  <a:pt x="71" y="242"/>
                  <a:pt x="72" y="242"/>
                  <a:pt x="72" y="243"/>
                </a:cubicBezTo>
                <a:cubicBezTo>
                  <a:pt x="72" y="245"/>
                  <a:pt x="68" y="243"/>
                  <a:pt x="70" y="242"/>
                </a:cubicBezTo>
                <a:close/>
                <a:moveTo>
                  <a:pt x="71" y="259"/>
                </a:moveTo>
                <a:cubicBezTo>
                  <a:pt x="70" y="259"/>
                  <a:pt x="70" y="258"/>
                  <a:pt x="70" y="258"/>
                </a:cubicBezTo>
                <a:cubicBezTo>
                  <a:pt x="71" y="257"/>
                  <a:pt x="71" y="259"/>
                  <a:pt x="71" y="259"/>
                </a:cubicBezTo>
                <a:close/>
                <a:moveTo>
                  <a:pt x="68" y="253"/>
                </a:moveTo>
                <a:cubicBezTo>
                  <a:pt x="69" y="252"/>
                  <a:pt x="69" y="254"/>
                  <a:pt x="68" y="254"/>
                </a:cubicBezTo>
                <a:cubicBezTo>
                  <a:pt x="68" y="254"/>
                  <a:pt x="67" y="253"/>
                  <a:pt x="68" y="253"/>
                </a:cubicBezTo>
                <a:close/>
                <a:moveTo>
                  <a:pt x="68" y="246"/>
                </a:moveTo>
                <a:cubicBezTo>
                  <a:pt x="68" y="246"/>
                  <a:pt x="69" y="247"/>
                  <a:pt x="68" y="247"/>
                </a:cubicBezTo>
                <a:cubicBezTo>
                  <a:pt x="68" y="247"/>
                  <a:pt x="67" y="247"/>
                  <a:pt x="68" y="246"/>
                </a:cubicBezTo>
                <a:close/>
                <a:moveTo>
                  <a:pt x="69" y="248"/>
                </a:moveTo>
                <a:cubicBezTo>
                  <a:pt x="68" y="246"/>
                  <a:pt x="69" y="250"/>
                  <a:pt x="69" y="248"/>
                </a:cubicBezTo>
                <a:close/>
                <a:moveTo>
                  <a:pt x="67" y="243"/>
                </a:moveTo>
                <a:cubicBezTo>
                  <a:pt x="68" y="244"/>
                  <a:pt x="68" y="245"/>
                  <a:pt x="69" y="246"/>
                </a:cubicBezTo>
                <a:cubicBezTo>
                  <a:pt x="68" y="246"/>
                  <a:pt x="67" y="244"/>
                  <a:pt x="67" y="243"/>
                </a:cubicBezTo>
                <a:close/>
                <a:moveTo>
                  <a:pt x="67" y="277"/>
                </a:moveTo>
                <a:cubicBezTo>
                  <a:pt x="69" y="275"/>
                  <a:pt x="70" y="280"/>
                  <a:pt x="70" y="282"/>
                </a:cubicBezTo>
                <a:cubicBezTo>
                  <a:pt x="68" y="281"/>
                  <a:pt x="66" y="279"/>
                  <a:pt x="67" y="277"/>
                </a:cubicBezTo>
                <a:close/>
                <a:moveTo>
                  <a:pt x="66" y="267"/>
                </a:moveTo>
                <a:cubicBezTo>
                  <a:pt x="65" y="267"/>
                  <a:pt x="65" y="266"/>
                  <a:pt x="66" y="266"/>
                </a:cubicBezTo>
                <a:cubicBezTo>
                  <a:pt x="67" y="265"/>
                  <a:pt x="66" y="267"/>
                  <a:pt x="66" y="267"/>
                </a:cubicBezTo>
                <a:close/>
                <a:moveTo>
                  <a:pt x="64" y="237"/>
                </a:moveTo>
                <a:cubicBezTo>
                  <a:pt x="65" y="236"/>
                  <a:pt x="66" y="239"/>
                  <a:pt x="65" y="239"/>
                </a:cubicBezTo>
                <a:cubicBezTo>
                  <a:pt x="64" y="239"/>
                  <a:pt x="64" y="238"/>
                  <a:pt x="64" y="237"/>
                </a:cubicBezTo>
                <a:close/>
                <a:moveTo>
                  <a:pt x="64" y="255"/>
                </a:moveTo>
                <a:cubicBezTo>
                  <a:pt x="64" y="255"/>
                  <a:pt x="65" y="256"/>
                  <a:pt x="64" y="257"/>
                </a:cubicBezTo>
                <a:cubicBezTo>
                  <a:pt x="64" y="256"/>
                  <a:pt x="64" y="256"/>
                  <a:pt x="64" y="255"/>
                </a:cubicBezTo>
                <a:close/>
                <a:moveTo>
                  <a:pt x="64" y="265"/>
                </a:moveTo>
                <a:cubicBezTo>
                  <a:pt x="64" y="265"/>
                  <a:pt x="64" y="265"/>
                  <a:pt x="64" y="265"/>
                </a:cubicBezTo>
                <a:cubicBezTo>
                  <a:pt x="65" y="264"/>
                  <a:pt x="62" y="267"/>
                  <a:pt x="64" y="265"/>
                </a:cubicBezTo>
                <a:close/>
                <a:moveTo>
                  <a:pt x="63" y="259"/>
                </a:moveTo>
                <a:cubicBezTo>
                  <a:pt x="64" y="258"/>
                  <a:pt x="64" y="259"/>
                  <a:pt x="64" y="259"/>
                </a:cubicBezTo>
                <a:cubicBezTo>
                  <a:pt x="64" y="260"/>
                  <a:pt x="63" y="259"/>
                  <a:pt x="63" y="259"/>
                </a:cubicBezTo>
                <a:close/>
                <a:moveTo>
                  <a:pt x="59" y="265"/>
                </a:moveTo>
                <a:cubicBezTo>
                  <a:pt x="60" y="265"/>
                  <a:pt x="61" y="268"/>
                  <a:pt x="60" y="269"/>
                </a:cubicBezTo>
                <a:cubicBezTo>
                  <a:pt x="59" y="269"/>
                  <a:pt x="58" y="266"/>
                  <a:pt x="59" y="265"/>
                </a:cubicBezTo>
                <a:close/>
                <a:moveTo>
                  <a:pt x="67" y="342"/>
                </a:moveTo>
                <a:cubicBezTo>
                  <a:pt x="66" y="343"/>
                  <a:pt x="65" y="341"/>
                  <a:pt x="66" y="341"/>
                </a:cubicBezTo>
                <a:cubicBezTo>
                  <a:pt x="67" y="341"/>
                  <a:pt x="67" y="342"/>
                  <a:pt x="67" y="342"/>
                </a:cubicBezTo>
                <a:close/>
                <a:moveTo>
                  <a:pt x="70" y="301"/>
                </a:moveTo>
                <a:cubicBezTo>
                  <a:pt x="70" y="301"/>
                  <a:pt x="69" y="301"/>
                  <a:pt x="69" y="301"/>
                </a:cubicBezTo>
                <a:cubicBezTo>
                  <a:pt x="68" y="302"/>
                  <a:pt x="66" y="299"/>
                  <a:pt x="65" y="297"/>
                </a:cubicBezTo>
                <a:cubicBezTo>
                  <a:pt x="65" y="298"/>
                  <a:pt x="65" y="300"/>
                  <a:pt x="65" y="301"/>
                </a:cubicBezTo>
                <a:cubicBezTo>
                  <a:pt x="65" y="306"/>
                  <a:pt x="63" y="297"/>
                  <a:pt x="63" y="297"/>
                </a:cubicBezTo>
                <a:cubicBezTo>
                  <a:pt x="62" y="291"/>
                  <a:pt x="61" y="287"/>
                  <a:pt x="60" y="282"/>
                </a:cubicBezTo>
                <a:cubicBezTo>
                  <a:pt x="60" y="281"/>
                  <a:pt x="59" y="274"/>
                  <a:pt x="60" y="273"/>
                </a:cubicBezTo>
                <a:cubicBezTo>
                  <a:pt x="61" y="272"/>
                  <a:pt x="62" y="281"/>
                  <a:pt x="63" y="284"/>
                </a:cubicBezTo>
                <a:cubicBezTo>
                  <a:pt x="63" y="288"/>
                  <a:pt x="63" y="291"/>
                  <a:pt x="64" y="293"/>
                </a:cubicBezTo>
                <a:cubicBezTo>
                  <a:pt x="64" y="291"/>
                  <a:pt x="65" y="289"/>
                  <a:pt x="68" y="289"/>
                </a:cubicBezTo>
                <a:cubicBezTo>
                  <a:pt x="73" y="289"/>
                  <a:pt x="72" y="297"/>
                  <a:pt x="70" y="301"/>
                </a:cubicBezTo>
                <a:close/>
                <a:moveTo>
                  <a:pt x="72" y="283"/>
                </a:moveTo>
                <a:cubicBezTo>
                  <a:pt x="72" y="283"/>
                  <a:pt x="72" y="283"/>
                  <a:pt x="72" y="283"/>
                </a:cubicBezTo>
                <a:cubicBezTo>
                  <a:pt x="74" y="282"/>
                  <a:pt x="70" y="285"/>
                  <a:pt x="72" y="283"/>
                </a:cubicBezTo>
                <a:close/>
                <a:moveTo>
                  <a:pt x="25" y="317"/>
                </a:moveTo>
                <a:cubicBezTo>
                  <a:pt x="27" y="317"/>
                  <a:pt x="26" y="320"/>
                  <a:pt x="25" y="320"/>
                </a:cubicBezTo>
                <a:cubicBezTo>
                  <a:pt x="24" y="321"/>
                  <a:pt x="23" y="317"/>
                  <a:pt x="25" y="317"/>
                </a:cubicBezTo>
                <a:close/>
                <a:moveTo>
                  <a:pt x="24" y="294"/>
                </a:moveTo>
                <a:cubicBezTo>
                  <a:pt x="26" y="293"/>
                  <a:pt x="25" y="296"/>
                  <a:pt x="24" y="296"/>
                </a:cubicBezTo>
                <a:cubicBezTo>
                  <a:pt x="23" y="296"/>
                  <a:pt x="23" y="295"/>
                  <a:pt x="24" y="294"/>
                </a:cubicBezTo>
                <a:close/>
                <a:moveTo>
                  <a:pt x="8" y="242"/>
                </a:moveTo>
                <a:cubicBezTo>
                  <a:pt x="9" y="241"/>
                  <a:pt x="9" y="244"/>
                  <a:pt x="8" y="243"/>
                </a:cubicBezTo>
                <a:cubicBezTo>
                  <a:pt x="8" y="243"/>
                  <a:pt x="8" y="242"/>
                  <a:pt x="8" y="242"/>
                </a:cubicBezTo>
                <a:close/>
                <a:moveTo>
                  <a:pt x="2" y="238"/>
                </a:moveTo>
                <a:cubicBezTo>
                  <a:pt x="2" y="237"/>
                  <a:pt x="0" y="239"/>
                  <a:pt x="2" y="238"/>
                </a:cubicBezTo>
                <a:close/>
                <a:moveTo>
                  <a:pt x="2" y="242"/>
                </a:moveTo>
                <a:cubicBezTo>
                  <a:pt x="2" y="242"/>
                  <a:pt x="2" y="241"/>
                  <a:pt x="2" y="241"/>
                </a:cubicBezTo>
                <a:cubicBezTo>
                  <a:pt x="3" y="240"/>
                  <a:pt x="3" y="242"/>
                  <a:pt x="2" y="242"/>
                </a:cubicBezTo>
                <a:close/>
                <a:moveTo>
                  <a:pt x="3" y="351"/>
                </a:moveTo>
                <a:cubicBezTo>
                  <a:pt x="2" y="353"/>
                  <a:pt x="4" y="350"/>
                  <a:pt x="3" y="351"/>
                </a:cubicBezTo>
                <a:close/>
                <a:moveTo>
                  <a:pt x="3" y="442"/>
                </a:moveTo>
                <a:cubicBezTo>
                  <a:pt x="3" y="442"/>
                  <a:pt x="3" y="442"/>
                  <a:pt x="3" y="442"/>
                </a:cubicBezTo>
                <a:cubicBezTo>
                  <a:pt x="4" y="441"/>
                  <a:pt x="1" y="445"/>
                  <a:pt x="3" y="442"/>
                </a:cubicBezTo>
                <a:close/>
                <a:moveTo>
                  <a:pt x="11" y="295"/>
                </a:moveTo>
                <a:cubicBezTo>
                  <a:pt x="13" y="295"/>
                  <a:pt x="12" y="300"/>
                  <a:pt x="11" y="299"/>
                </a:cubicBezTo>
                <a:cubicBezTo>
                  <a:pt x="9" y="299"/>
                  <a:pt x="10" y="295"/>
                  <a:pt x="11" y="295"/>
                </a:cubicBezTo>
                <a:close/>
                <a:moveTo>
                  <a:pt x="9" y="283"/>
                </a:moveTo>
                <a:cubicBezTo>
                  <a:pt x="12" y="283"/>
                  <a:pt x="10" y="288"/>
                  <a:pt x="8" y="288"/>
                </a:cubicBezTo>
                <a:cubicBezTo>
                  <a:pt x="6" y="288"/>
                  <a:pt x="7" y="283"/>
                  <a:pt x="9" y="283"/>
                </a:cubicBezTo>
                <a:close/>
                <a:moveTo>
                  <a:pt x="5" y="239"/>
                </a:moveTo>
                <a:cubicBezTo>
                  <a:pt x="6" y="239"/>
                  <a:pt x="6" y="243"/>
                  <a:pt x="5" y="243"/>
                </a:cubicBezTo>
                <a:cubicBezTo>
                  <a:pt x="4" y="243"/>
                  <a:pt x="3" y="239"/>
                  <a:pt x="5" y="239"/>
                </a:cubicBezTo>
                <a:close/>
                <a:moveTo>
                  <a:pt x="5" y="282"/>
                </a:moveTo>
                <a:cubicBezTo>
                  <a:pt x="4" y="281"/>
                  <a:pt x="7" y="281"/>
                  <a:pt x="5" y="282"/>
                </a:cubicBezTo>
                <a:close/>
                <a:moveTo>
                  <a:pt x="6" y="383"/>
                </a:moveTo>
                <a:cubicBezTo>
                  <a:pt x="5" y="382"/>
                  <a:pt x="7" y="381"/>
                  <a:pt x="6" y="383"/>
                </a:cubicBezTo>
                <a:close/>
                <a:moveTo>
                  <a:pt x="7" y="413"/>
                </a:moveTo>
                <a:cubicBezTo>
                  <a:pt x="7" y="414"/>
                  <a:pt x="7" y="414"/>
                  <a:pt x="7" y="413"/>
                </a:cubicBezTo>
                <a:close/>
                <a:moveTo>
                  <a:pt x="7" y="412"/>
                </a:moveTo>
                <a:cubicBezTo>
                  <a:pt x="6" y="411"/>
                  <a:pt x="8" y="410"/>
                  <a:pt x="7" y="412"/>
                </a:cubicBezTo>
                <a:close/>
                <a:moveTo>
                  <a:pt x="11" y="364"/>
                </a:moveTo>
                <a:cubicBezTo>
                  <a:pt x="9" y="362"/>
                  <a:pt x="12" y="361"/>
                  <a:pt x="11" y="364"/>
                </a:cubicBezTo>
                <a:close/>
                <a:moveTo>
                  <a:pt x="11" y="360"/>
                </a:moveTo>
                <a:cubicBezTo>
                  <a:pt x="10" y="360"/>
                  <a:pt x="11" y="359"/>
                  <a:pt x="11" y="358"/>
                </a:cubicBezTo>
                <a:cubicBezTo>
                  <a:pt x="12" y="359"/>
                  <a:pt x="11" y="360"/>
                  <a:pt x="11" y="360"/>
                </a:cubicBezTo>
                <a:close/>
                <a:moveTo>
                  <a:pt x="12" y="342"/>
                </a:moveTo>
                <a:cubicBezTo>
                  <a:pt x="11" y="344"/>
                  <a:pt x="9" y="343"/>
                  <a:pt x="7" y="345"/>
                </a:cubicBezTo>
                <a:cubicBezTo>
                  <a:pt x="4" y="343"/>
                  <a:pt x="3" y="336"/>
                  <a:pt x="6" y="332"/>
                </a:cubicBezTo>
                <a:cubicBezTo>
                  <a:pt x="10" y="324"/>
                  <a:pt x="16" y="336"/>
                  <a:pt x="12" y="342"/>
                </a:cubicBezTo>
                <a:close/>
                <a:moveTo>
                  <a:pt x="13" y="293"/>
                </a:moveTo>
                <a:cubicBezTo>
                  <a:pt x="12" y="293"/>
                  <a:pt x="12" y="291"/>
                  <a:pt x="13" y="291"/>
                </a:cubicBezTo>
                <a:cubicBezTo>
                  <a:pt x="14" y="292"/>
                  <a:pt x="14" y="294"/>
                  <a:pt x="13" y="293"/>
                </a:cubicBezTo>
                <a:close/>
                <a:moveTo>
                  <a:pt x="20" y="292"/>
                </a:moveTo>
                <a:cubicBezTo>
                  <a:pt x="19" y="292"/>
                  <a:pt x="18" y="288"/>
                  <a:pt x="20" y="288"/>
                </a:cubicBezTo>
                <a:cubicBezTo>
                  <a:pt x="22" y="288"/>
                  <a:pt x="21" y="292"/>
                  <a:pt x="20" y="292"/>
                </a:cubicBezTo>
                <a:close/>
                <a:moveTo>
                  <a:pt x="21" y="325"/>
                </a:moveTo>
                <a:cubicBezTo>
                  <a:pt x="21" y="325"/>
                  <a:pt x="20" y="324"/>
                  <a:pt x="21" y="324"/>
                </a:cubicBezTo>
                <a:cubicBezTo>
                  <a:pt x="22" y="324"/>
                  <a:pt x="22" y="325"/>
                  <a:pt x="21" y="325"/>
                </a:cubicBezTo>
                <a:close/>
                <a:moveTo>
                  <a:pt x="22" y="295"/>
                </a:moveTo>
                <a:cubicBezTo>
                  <a:pt x="21" y="296"/>
                  <a:pt x="21" y="293"/>
                  <a:pt x="21" y="293"/>
                </a:cubicBezTo>
                <a:cubicBezTo>
                  <a:pt x="22" y="292"/>
                  <a:pt x="23" y="295"/>
                  <a:pt x="22" y="295"/>
                </a:cubicBezTo>
                <a:close/>
                <a:moveTo>
                  <a:pt x="26" y="373"/>
                </a:moveTo>
                <a:cubicBezTo>
                  <a:pt x="25" y="372"/>
                  <a:pt x="28" y="371"/>
                  <a:pt x="26" y="373"/>
                </a:cubicBezTo>
                <a:close/>
                <a:moveTo>
                  <a:pt x="27" y="459"/>
                </a:moveTo>
                <a:cubicBezTo>
                  <a:pt x="26" y="458"/>
                  <a:pt x="28" y="457"/>
                  <a:pt x="27" y="459"/>
                </a:cubicBezTo>
                <a:close/>
                <a:moveTo>
                  <a:pt x="31" y="330"/>
                </a:moveTo>
                <a:cubicBezTo>
                  <a:pt x="32" y="329"/>
                  <a:pt x="32" y="332"/>
                  <a:pt x="31" y="332"/>
                </a:cubicBezTo>
                <a:cubicBezTo>
                  <a:pt x="31" y="332"/>
                  <a:pt x="31" y="330"/>
                  <a:pt x="31" y="330"/>
                </a:cubicBezTo>
                <a:close/>
                <a:moveTo>
                  <a:pt x="31" y="465"/>
                </a:moveTo>
                <a:cubicBezTo>
                  <a:pt x="30" y="463"/>
                  <a:pt x="30" y="461"/>
                  <a:pt x="31" y="458"/>
                </a:cubicBezTo>
                <a:cubicBezTo>
                  <a:pt x="32" y="460"/>
                  <a:pt x="31" y="463"/>
                  <a:pt x="31" y="465"/>
                </a:cubicBezTo>
                <a:close/>
                <a:moveTo>
                  <a:pt x="33" y="366"/>
                </a:moveTo>
                <a:cubicBezTo>
                  <a:pt x="32" y="360"/>
                  <a:pt x="31" y="354"/>
                  <a:pt x="31" y="348"/>
                </a:cubicBezTo>
                <a:cubicBezTo>
                  <a:pt x="33" y="353"/>
                  <a:pt x="33" y="362"/>
                  <a:pt x="35" y="369"/>
                </a:cubicBezTo>
                <a:cubicBezTo>
                  <a:pt x="36" y="374"/>
                  <a:pt x="33" y="367"/>
                  <a:pt x="33" y="366"/>
                </a:cubicBezTo>
                <a:close/>
                <a:moveTo>
                  <a:pt x="35" y="330"/>
                </a:moveTo>
                <a:cubicBezTo>
                  <a:pt x="36" y="331"/>
                  <a:pt x="35" y="331"/>
                  <a:pt x="35" y="330"/>
                </a:cubicBezTo>
                <a:close/>
                <a:moveTo>
                  <a:pt x="46" y="336"/>
                </a:moveTo>
                <a:cubicBezTo>
                  <a:pt x="46" y="336"/>
                  <a:pt x="46" y="337"/>
                  <a:pt x="46" y="337"/>
                </a:cubicBezTo>
                <a:cubicBezTo>
                  <a:pt x="46" y="338"/>
                  <a:pt x="45" y="337"/>
                  <a:pt x="46" y="336"/>
                </a:cubicBezTo>
                <a:close/>
                <a:moveTo>
                  <a:pt x="39" y="421"/>
                </a:moveTo>
                <a:cubicBezTo>
                  <a:pt x="38" y="420"/>
                  <a:pt x="40" y="419"/>
                  <a:pt x="39" y="421"/>
                </a:cubicBezTo>
                <a:close/>
                <a:moveTo>
                  <a:pt x="40" y="416"/>
                </a:moveTo>
                <a:cubicBezTo>
                  <a:pt x="38" y="417"/>
                  <a:pt x="39" y="414"/>
                  <a:pt x="39" y="414"/>
                </a:cubicBezTo>
                <a:cubicBezTo>
                  <a:pt x="40" y="414"/>
                  <a:pt x="39" y="415"/>
                  <a:pt x="40" y="416"/>
                </a:cubicBezTo>
                <a:close/>
                <a:moveTo>
                  <a:pt x="43" y="333"/>
                </a:moveTo>
                <a:cubicBezTo>
                  <a:pt x="43" y="333"/>
                  <a:pt x="42" y="334"/>
                  <a:pt x="42" y="334"/>
                </a:cubicBezTo>
                <a:cubicBezTo>
                  <a:pt x="41" y="335"/>
                  <a:pt x="42" y="332"/>
                  <a:pt x="43" y="333"/>
                </a:cubicBezTo>
                <a:close/>
                <a:moveTo>
                  <a:pt x="43" y="405"/>
                </a:moveTo>
                <a:cubicBezTo>
                  <a:pt x="43" y="407"/>
                  <a:pt x="44" y="410"/>
                  <a:pt x="43" y="411"/>
                </a:cubicBezTo>
                <a:cubicBezTo>
                  <a:pt x="42" y="411"/>
                  <a:pt x="42" y="407"/>
                  <a:pt x="43" y="405"/>
                </a:cubicBezTo>
                <a:close/>
                <a:moveTo>
                  <a:pt x="43" y="446"/>
                </a:moveTo>
                <a:cubicBezTo>
                  <a:pt x="43" y="447"/>
                  <a:pt x="42" y="448"/>
                  <a:pt x="43" y="446"/>
                </a:cubicBezTo>
                <a:close/>
                <a:moveTo>
                  <a:pt x="43" y="449"/>
                </a:moveTo>
                <a:cubicBezTo>
                  <a:pt x="43" y="449"/>
                  <a:pt x="44" y="450"/>
                  <a:pt x="44" y="450"/>
                </a:cubicBezTo>
                <a:cubicBezTo>
                  <a:pt x="43" y="451"/>
                  <a:pt x="42" y="450"/>
                  <a:pt x="43" y="449"/>
                </a:cubicBezTo>
                <a:close/>
                <a:moveTo>
                  <a:pt x="43" y="404"/>
                </a:moveTo>
                <a:cubicBezTo>
                  <a:pt x="42" y="404"/>
                  <a:pt x="43" y="394"/>
                  <a:pt x="43" y="395"/>
                </a:cubicBezTo>
                <a:cubicBezTo>
                  <a:pt x="44" y="397"/>
                  <a:pt x="45" y="401"/>
                  <a:pt x="43" y="404"/>
                </a:cubicBezTo>
                <a:close/>
                <a:moveTo>
                  <a:pt x="44" y="379"/>
                </a:moveTo>
                <a:cubicBezTo>
                  <a:pt x="44" y="379"/>
                  <a:pt x="44" y="379"/>
                  <a:pt x="44" y="379"/>
                </a:cubicBezTo>
                <a:cubicBezTo>
                  <a:pt x="44" y="379"/>
                  <a:pt x="44" y="379"/>
                  <a:pt x="44" y="379"/>
                </a:cubicBezTo>
                <a:cubicBezTo>
                  <a:pt x="44" y="379"/>
                  <a:pt x="44" y="379"/>
                  <a:pt x="44" y="379"/>
                </a:cubicBezTo>
                <a:close/>
                <a:moveTo>
                  <a:pt x="46" y="410"/>
                </a:moveTo>
                <a:cubicBezTo>
                  <a:pt x="44" y="409"/>
                  <a:pt x="44" y="404"/>
                  <a:pt x="47" y="405"/>
                </a:cubicBezTo>
                <a:cubicBezTo>
                  <a:pt x="49" y="406"/>
                  <a:pt x="48" y="410"/>
                  <a:pt x="46" y="410"/>
                </a:cubicBezTo>
                <a:close/>
                <a:moveTo>
                  <a:pt x="48" y="365"/>
                </a:moveTo>
                <a:cubicBezTo>
                  <a:pt x="45" y="365"/>
                  <a:pt x="45" y="360"/>
                  <a:pt x="47" y="360"/>
                </a:cubicBezTo>
                <a:cubicBezTo>
                  <a:pt x="50" y="360"/>
                  <a:pt x="49" y="365"/>
                  <a:pt x="48" y="365"/>
                </a:cubicBezTo>
                <a:close/>
                <a:moveTo>
                  <a:pt x="52" y="444"/>
                </a:moveTo>
                <a:cubicBezTo>
                  <a:pt x="51" y="444"/>
                  <a:pt x="50" y="442"/>
                  <a:pt x="51" y="441"/>
                </a:cubicBezTo>
                <a:cubicBezTo>
                  <a:pt x="52" y="440"/>
                  <a:pt x="52" y="444"/>
                  <a:pt x="52" y="444"/>
                </a:cubicBezTo>
                <a:close/>
                <a:moveTo>
                  <a:pt x="55" y="387"/>
                </a:moveTo>
                <a:cubicBezTo>
                  <a:pt x="56" y="388"/>
                  <a:pt x="55" y="389"/>
                  <a:pt x="55" y="390"/>
                </a:cubicBezTo>
                <a:cubicBezTo>
                  <a:pt x="55" y="389"/>
                  <a:pt x="54" y="388"/>
                  <a:pt x="55" y="387"/>
                </a:cubicBezTo>
                <a:close/>
                <a:moveTo>
                  <a:pt x="54" y="397"/>
                </a:moveTo>
                <a:cubicBezTo>
                  <a:pt x="55" y="396"/>
                  <a:pt x="55" y="399"/>
                  <a:pt x="54" y="399"/>
                </a:cubicBezTo>
                <a:cubicBezTo>
                  <a:pt x="54" y="400"/>
                  <a:pt x="52" y="397"/>
                  <a:pt x="54" y="397"/>
                </a:cubicBezTo>
                <a:close/>
                <a:moveTo>
                  <a:pt x="55" y="464"/>
                </a:moveTo>
                <a:cubicBezTo>
                  <a:pt x="54" y="459"/>
                  <a:pt x="54" y="453"/>
                  <a:pt x="54" y="448"/>
                </a:cubicBezTo>
                <a:cubicBezTo>
                  <a:pt x="56" y="453"/>
                  <a:pt x="56" y="459"/>
                  <a:pt x="55" y="464"/>
                </a:cubicBezTo>
                <a:close/>
                <a:moveTo>
                  <a:pt x="57" y="480"/>
                </a:moveTo>
                <a:cubicBezTo>
                  <a:pt x="56" y="476"/>
                  <a:pt x="56" y="471"/>
                  <a:pt x="56" y="467"/>
                </a:cubicBezTo>
                <a:cubicBezTo>
                  <a:pt x="56" y="471"/>
                  <a:pt x="58" y="475"/>
                  <a:pt x="57" y="480"/>
                </a:cubicBezTo>
                <a:close/>
                <a:moveTo>
                  <a:pt x="64" y="450"/>
                </a:moveTo>
                <a:cubicBezTo>
                  <a:pt x="63" y="451"/>
                  <a:pt x="64" y="449"/>
                  <a:pt x="64" y="450"/>
                </a:cubicBezTo>
                <a:close/>
                <a:moveTo>
                  <a:pt x="71" y="454"/>
                </a:moveTo>
                <a:cubicBezTo>
                  <a:pt x="72" y="455"/>
                  <a:pt x="70" y="456"/>
                  <a:pt x="71" y="454"/>
                </a:cubicBezTo>
                <a:close/>
                <a:moveTo>
                  <a:pt x="75" y="408"/>
                </a:moveTo>
                <a:cubicBezTo>
                  <a:pt x="75" y="408"/>
                  <a:pt x="75" y="408"/>
                  <a:pt x="75" y="408"/>
                </a:cubicBezTo>
                <a:cubicBezTo>
                  <a:pt x="75" y="408"/>
                  <a:pt x="75" y="408"/>
                  <a:pt x="75" y="408"/>
                </a:cubicBezTo>
                <a:cubicBezTo>
                  <a:pt x="75" y="408"/>
                  <a:pt x="75" y="408"/>
                  <a:pt x="75" y="408"/>
                </a:cubicBezTo>
                <a:close/>
                <a:moveTo>
                  <a:pt x="80" y="382"/>
                </a:moveTo>
                <a:cubicBezTo>
                  <a:pt x="80" y="382"/>
                  <a:pt x="80" y="382"/>
                  <a:pt x="80" y="382"/>
                </a:cubicBezTo>
                <a:cubicBezTo>
                  <a:pt x="80" y="382"/>
                  <a:pt x="80" y="382"/>
                  <a:pt x="80" y="382"/>
                </a:cubicBezTo>
                <a:cubicBezTo>
                  <a:pt x="80" y="382"/>
                  <a:pt x="80" y="382"/>
                  <a:pt x="80" y="382"/>
                </a:cubicBezTo>
                <a:close/>
                <a:moveTo>
                  <a:pt x="78" y="214"/>
                </a:moveTo>
                <a:cubicBezTo>
                  <a:pt x="78" y="214"/>
                  <a:pt x="78" y="212"/>
                  <a:pt x="78" y="212"/>
                </a:cubicBezTo>
                <a:cubicBezTo>
                  <a:pt x="78" y="211"/>
                  <a:pt x="79" y="213"/>
                  <a:pt x="78" y="214"/>
                </a:cubicBezTo>
                <a:close/>
                <a:moveTo>
                  <a:pt x="78" y="214"/>
                </a:moveTo>
                <a:cubicBezTo>
                  <a:pt x="79" y="214"/>
                  <a:pt x="78" y="216"/>
                  <a:pt x="78" y="216"/>
                </a:cubicBezTo>
                <a:cubicBezTo>
                  <a:pt x="78" y="216"/>
                  <a:pt x="77" y="215"/>
                  <a:pt x="78" y="214"/>
                </a:cubicBezTo>
                <a:close/>
                <a:moveTo>
                  <a:pt x="76" y="204"/>
                </a:moveTo>
                <a:cubicBezTo>
                  <a:pt x="77" y="205"/>
                  <a:pt x="77" y="206"/>
                  <a:pt x="77" y="208"/>
                </a:cubicBezTo>
                <a:cubicBezTo>
                  <a:pt x="77" y="207"/>
                  <a:pt x="75" y="206"/>
                  <a:pt x="76" y="204"/>
                </a:cubicBezTo>
                <a:close/>
                <a:moveTo>
                  <a:pt x="76" y="221"/>
                </a:moveTo>
                <a:cubicBezTo>
                  <a:pt x="76" y="221"/>
                  <a:pt x="76" y="221"/>
                  <a:pt x="76" y="221"/>
                </a:cubicBezTo>
                <a:cubicBezTo>
                  <a:pt x="76" y="222"/>
                  <a:pt x="75" y="221"/>
                  <a:pt x="76" y="221"/>
                </a:cubicBezTo>
                <a:close/>
                <a:moveTo>
                  <a:pt x="77" y="253"/>
                </a:moveTo>
                <a:cubicBezTo>
                  <a:pt x="77" y="254"/>
                  <a:pt x="75" y="251"/>
                  <a:pt x="76" y="251"/>
                </a:cubicBezTo>
                <a:cubicBezTo>
                  <a:pt x="77" y="251"/>
                  <a:pt x="78" y="253"/>
                  <a:pt x="77" y="253"/>
                </a:cubicBezTo>
                <a:close/>
                <a:moveTo>
                  <a:pt x="76" y="260"/>
                </a:moveTo>
                <a:cubicBezTo>
                  <a:pt x="79" y="259"/>
                  <a:pt x="79" y="264"/>
                  <a:pt x="77" y="265"/>
                </a:cubicBezTo>
                <a:cubicBezTo>
                  <a:pt x="75" y="266"/>
                  <a:pt x="74" y="261"/>
                  <a:pt x="76" y="260"/>
                </a:cubicBezTo>
                <a:close/>
                <a:moveTo>
                  <a:pt x="78" y="258"/>
                </a:moveTo>
                <a:cubicBezTo>
                  <a:pt x="77" y="257"/>
                  <a:pt x="79" y="256"/>
                  <a:pt x="78" y="258"/>
                </a:cubicBezTo>
                <a:close/>
                <a:moveTo>
                  <a:pt x="76" y="353"/>
                </a:moveTo>
                <a:cubicBezTo>
                  <a:pt x="75" y="353"/>
                  <a:pt x="74" y="351"/>
                  <a:pt x="75" y="351"/>
                </a:cubicBezTo>
                <a:cubicBezTo>
                  <a:pt x="75" y="351"/>
                  <a:pt x="76" y="353"/>
                  <a:pt x="76" y="353"/>
                </a:cubicBezTo>
                <a:close/>
                <a:moveTo>
                  <a:pt x="79" y="279"/>
                </a:moveTo>
                <a:cubicBezTo>
                  <a:pt x="79" y="278"/>
                  <a:pt x="81" y="279"/>
                  <a:pt x="81" y="278"/>
                </a:cubicBezTo>
                <a:cubicBezTo>
                  <a:pt x="81" y="277"/>
                  <a:pt x="80" y="276"/>
                  <a:pt x="79" y="276"/>
                </a:cubicBezTo>
                <a:cubicBezTo>
                  <a:pt x="78" y="276"/>
                  <a:pt x="78" y="278"/>
                  <a:pt x="77" y="277"/>
                </a:cubicBezTo>
                <a:cubicBezTo>
                  <a:pt x="78" y="278"/>
                  <a:pt x="77" y="279"/>
                  <a:pt x="77" y="277"/>
                </a:cubicBezTo>
                <a:cubicBezTo>
                  <a:pt x="76" y="277"/>
                  <a:pt x="77" y="276"/>
                  <a:pt x="77" y="275"/>
                </a:cubicBezTo>
                <a:cubicBezTo>
                  <a:pt x="76" y="274"/>
                  <a:pt x="76" y="274"/>
                  <a:pt x="76" y="272"/>
                </a:cubicBezTo>
                <a:cubicBezTo>
                  <a:pt x="76" y="271"/>
                  <a:pt x="79" y="267"/>
                  <a:pt x="81" y="270"/>
                </a:cubicBezTo>
                <a:cubicBezTo>
                  <a:pt x="82" y="273"/>
                  <a:pt x="83" y="278"/>
                  <a:pt x="81" y="280"/>
                </a:cubicBezTo>
                <a:cubicBezTo>
                  <a:pt x="81" y="281"/>
                  <a:pt x="78" y="281"/>
                  <a:pt x="79" y="279"/>
                </a:cubicBezTo>
                <a:close/>
                <a:moveTo>
                  <a:pt x="82" y="357"/>
                </a:moveTo>
                <a:cubicBezTo>
                  <a:pt x="82" y="358"/>
                  <a:pt x="82" y="358"/>
                  <a:pt x="82" y="359"/>
                </a:cubicBezTo>
                <a:cubicBezTo>
                  <a:pt x="82" y="359"/>
                  <a:pt x="82" y="358"/>
                  <a:pt x="82" y="357"/>
                </a:cubicBezTo>
                <a:close/>
                <a:moveTo>
                  <a:pt x="81" y="298"/>
                </a:moveTo>
                <a:cubicBezTo>
                  <a:pt x="82" y="299"/>
                  <a:pt x="83" y="302"/>
                  <a:pt x="83" y="304"/>
                </a:cubicBezTo>
                <a:cubicBezTo>
                  <a:pt x="81" y="302"/>
                  <a:pt x="82" y="300"/>
                  <a:pt x="81" y="298"/>
                </a:cubicBezTo>
                <a:close/>
                <a:moveTo>
                  <a:pt x="81" y="240"/>
                </a:moveTo>
                <a:cubicBezTo>
                  <a:pt x="83" y="236"/>
                  <a:pt x="78" y="238"/>
                  <a:pt x="77" y="238"/>
                </a:cubicBezTo>
                <a:cubicBezTo>
                  <a:pt x="76" y="236"/>
                  <a:pt x="78" y="233"/>
                  <a:pt x="78" y="230"/>
                </a:cubicBezTo>
                <a:cubicBezTo>
                  <a:pt x="78" y="229"/>
                  <a:pt x="76" y="224"/>
                  <a:pt x="77" y="223"/>
                </a:cubicBezTo>
                <a:cubicBezTo>
                  <a:pt x="79" y="223"/>
                  <a:pt x="79" y="229"/>
                  <a:pt x="79" y="229"/>
                </a:cubicBezTo>
                <a:cubicBezTo>
                  <a:pt x="80" y="230"/>
                  <a:pt x="83" y="226"/>
                  <a:pt x="84" y="226"/>
                </a:cubicBezTo>
                <a:cubicBezTo>
                  <a:pt x="92" y="224"/>
                  <a:pt x="89" y="237"/>
                  <a:pt x="87" y="241"/>
                </a:cubicBezTo>
                <a:cubicBezTo>
                  <a:pt x="84" y="246"/>
                  <a:pt x="86" y="236"/>
                  <a:pt x="81" y="240"/>
                </a:cubicBezTo>
                <a:close/>
                <a:moveTo>
                  <a:pt x="83" y="303"/>
                </a:moveTo>
                <a:cubicBezTo>
                  <a:pt x="83" y="302"/>
                  <a:pt x="85" y="304"/>
                  <a:pt x="84" y="304"/>
                </a:cubicBezTo>
                <a:cubicBezTo>
                  <a:pt x="84" y="304"/>
                  <a:pt x="83" y="303"/>
                  <a:pt x="83" y="303"/>
                </a:cubicBezTo>
                <a:close/>
                <a:moveTo>
                  <a:pt x="84" y="307"/>
                </a:moveTo>
                <a:cubicBezTo>
                  <a:pt x="83" y="306"/>
                  <a:pt x="84" y="305"/>
                  <a:pt x="84" y="307"/>
                </a:cubicBezTo>
                <a:close/>
                <a:moveTo>
                  <a:pt x="85" y="311"/>
                </a:moveTo>
                <a:cubicBezTo>
                  <a:pt x="84" y="311"/>
                  <a:pt x="84" y="309"/>
                  <a:pt x="84" y="308"/>
                </a:cubicBezTo>
                <a:cubicBezTo>
                  <a:pt x="84" y="309"/>
                  <a:pt x="85" y="310"/>
                  <a:pt x="85" y="311"/>
                </a:cubicBezTo>
                <a:close/>
                <a:moveTo>
                  <a:pt x="83" y="365"/>
                </a:moveTo>
                <a:cubicBezTo>
                  <a:pt x="84" y="366"/>
                  <a:pt x="83" y="367"/>
                  <a:pt x="84" y="368"/>
                </a:cubicBezTo>
                <a:cubicBezTo>
                  <a:pt x="83" y="368"/>
                  <a:pt x="83" y="366"/>
                  <a:pt x="83" y="365"/>
                </a:cubicBezTo>
                <a:close/>
                <a:moveTo>
                  <a:pt x="84" y="329"/>
                </a:moveTo>
                <a:cubicBezTo>
                  <a:pt x="85" y="329"/>
                  <a:pt x="86" y="330"/>
                  <a:pt x="85" y="331"/>
                </a:cubicBezTo>
                <a:cubicBezTo>
                  <a:pt x="84" y="331"/>
                  <a:pt x="84" y="329"/>
                  <a:pt x="84" y="329"/>
                </a:cubicBezTo>
                <a:close/>
                <a:moveTo>
                  <a:pt x="85" y="377"/>
                </a:moveTo>
                <a:cubicBezTo>
                  <a:pt x="84" y="377"/>
                  <a:pt x="85" y="376"/>
                  <a:pt x="85" y="375"/>
                </a:cubicBezTo>
                <a:cubicBezTo>
                  <a:pt x="84" y="374"/>
                  <a:pt x="85" y="376"/>
                  <a:pt x="85" y="377"/>
                </a:cubicBezTo>
                <a:close/>
                <a:moveTo>
                  <a:pt x="85" y="378"/>
                </a:moveTo>
                <a:cubicBezTo>
                  <a:pt x="85" y="378"/>
                  <a:pt x="85" y="379"/>
                  <a:pt x="85" y="380"/>
                </a:cubicBezTo>
                <a:cubicBezTo>
                  <a:pt x="85" y="380"/>
                  <a:pt x="85" y="378"/>
                  <a:pt x="85" y="378"/>
                </a:cubicBezTo>
                <a:close/>
                <a:moveTo>
                  <a:pt x="86" y="260"/>
                </a:moveTo>
                <a:cubicBezTo>
                  <a:pt x="84" y="260"/>
                  <a:pt x="83" y="256"/>
                  <a:pt x="87" y="256"/>
                </a:cubicBezTo>
                <a:cubicBezTo>
                  <a:pt x="89" y="256"/>
                  <a:pt x="88" y="261"/>
                  <a:pt x="86" y="260"/>
                </a:cubicBezTo>
                <a:close/>
                <a:moveTo>
                  <a:pt x="90" y="332"/>
                </a:moveTo>
                <a:cubicBezTo>
                  <a:pt x="89" y="332"/>
                  <a:pt x="88" y="328"/>
                  <a:pt x="90" y="328"/>
                </a:cubicBezTo>
                <a:cubicBezTo>
                  <a:pt x="90" y="328"/>
                  <a:pt x="90" y="331"/>
                  <a:pt x="90" y="332"/>
                </a:cubicBezTo>
                <a:close/>
                <a:moveTo>
                  <a:pt x="91" y="222"/>
                </a:moveTo>
                <a:cubicBezTo>
                  <a:pt x="91" y="223"/>
                  <a:pt x="91" y="224"/>
                  <a:pt x="91" y="225"/>
                </a:cubicBezTo>
                <a:cubicBezTo>
                  <a:pt x="90" y="224"/>
                  <a:pt x="90" y="223"/>
                  <a:pt x="91" y="222"/>
                </a:cubicBezTo>
                <a:close/>
                <a:moveTo>
                  <a:pt x="91" y="228"/>
                </a:moveTo>
                <a:cubicBezTo>
                  <a:pt x="91" y="229"/>
                  <a:pt x="90" y="228"/>
                  <a:pt x="91" y="227"/>
                </a:cubicBezTo>
                <a:cubicBezTo>
                  <a:pt x="91" y="227"/>
                  <a:pt x="92" y="228"/>
                  <a:pt x="91" y="228"/>
                </a:cubicBezTo>
                <a:close/>
                <a:moveTo>
                  <a:pt x="158" y="205"/>
                </a:moveTo>
                <a:cubicBezTo>
                  <a:pt x="159" y="205"/>
                  <a:pt x="159" y="208"/>
                  <a:pt x="158" y="208"/>
                </a:cubicBezTo>
                <a:cubicBezTo>
                  <a:pt x="158" y="208"/>
                  <a:pt x="157" y="206"/>
                  <a:pt x="158" y="205"/>
                </a:cubicBezTo>
                <a:close/>
                <a:moveTo>
                  <a:pt x="154" y="169"/>
                </a:moveTo>
                <a:cubicBezTo>
                  <a:pt x="155" y="168"/>
                  <a:pt x="155" y="171"/>
                  <a:pt x="154" y="171"/>
                </a:cubicBezTo>
                <a:cubicBezTo>
                  <a:pt x="154" y="171"/>
                  <a:pt x="153" y="170"/>
                  <a:pt x="154" y="169"/>
                </a:cubicBezTo>
                <a:close/>
                <a:moveTo>
                  <a:pt x="155" y="227"/>
                </a:moveTo>
                <a:cubicBezTo>
                  <a:pt x="154" y="227"/>
                  <a:pt x="153" y="225"/>
                  <a:pt x="154" y="225"/>
                </a:cubicBezTo>
                <a:cubicBezTo>
                  <a:pt x="155" y="224"/>
                  <a:pt x="155" y="227"/>
                  <a:pt x="155" y="227"/>
                </a:cubicBezTo>
                <a:close/>
                <a:moveTo>
                  <a:pt x="154" y="181"/>
                </a:moveTo>
                <a:cubicBezTo>
                  <a:pt x="154" y="181"/>
                  <a:pt x="155" y="182"/>
                  <a:pt x="154" y="182"/>
                </a:cubicBezTo>
                <a:cubicBezTo>
                  <a:pt x="153" y="183"/>
                  <a:pt x="153" y="182"/>
                  <a:pt x="154" y="181"/>
                </a:cubicBezTo>
                <a:close/>
                <a:moveTo>
                  <a:pt x="150" y="242"/>
                </a:moveTo>
                <a:cubicBezTo>
                  <a:pt x="149" y="242"/>
                  <a:pt x="150" y="241"/>
                  <a:pt x="150" y="241"/>
                </a:cubicBezTo>
                <a:cubicBezTo>
                  <a:pt x="150" y="240"/>
                  <a:pt x="150" y="242"/>
                  <a:pt x="150" y="242"/>
                </a:cubicBezTo>
                <a:close/>
                <a:moveTo>
                  <a:pt x="149" y="249"/>
                </a:moveTo>
                <a:cubicBezTo>
                  <a:pt x="149" y="249"/>
                  <a:pt x="150" y="251"/>
                  <a:pt x="150" y="251"/>
                </a:cubicBezTo>
                <a:cubicBezTo>
                  <a:pt x="149" y="251"/>
                  <a:pt x="149" y="249"/>
                  <a:pt x="149" y="249"/>
                </a:cubicBezTo>
                <a:close/>
                <a:moveTo>
                  <a:pt x="150" y="301"/>
                </a:moveTo>
                <a:cubicBezTo>
                  <a:pt x="149" y="300"/>
                  <a:pt x="149" y="299"/>
                  <a:pt x="149" y="299"/>
                </a:cubicBezTo>
                <a:cubicBezTo>
                  <a:pt x="149" y="299"/>
                  <a:pt x="150" y="300"/>
                  <a:pt x="150" y="301"/>
                </a:cubicBezTo>
                <a:close/>
                <a:moveTo>
                  <a:pt x="149" y="200"/>
                </a:moveTo>
                <a:cubicBezTo>
                  <a:pt x="151" y="199"/>
                  <a:pt x="150" y="203"/>
                  <a:pt x="149" y="203"/>
                </a:cubicBezTo>
                <a:cubicBezTo>
                  <a:pt x="148" y="202"/>
                  <a:pt x="148" y="200"/>
                  <a:pt x="149" y="200"/>
                </a:cubicBezTo>
                <a:close/>
                <a:moveTo>
                  <a:pt x="148" y="231"/>
                </a:moveTo>
                <a:cubicBezTo>
                  <a:pt x="148" y="232"/>
                  <a:pt x="147" y="231"/>
                  <a:pt x="147" y="231"/>
                </a:cubicBezTo>
                <a:cubicBezTo>
                  <a:pt x="147" y="231"/>
                  <a:pt x="148" y="231"/>
                  <a:pt x="148" y="231"/>
                </a:cubicBezTo>
                <a:close/>
                <a:moveTo>
                  <a:pt x="147" y="333"/>
                </a:moveTo>
                <a:cubicBezTo>
                  <a:pt x="146" y="334"/>
                  <a:pt x="149" y="333"/>
                  <a:pt x="147" y="333"/>
                </a:cubicBezTo>
                <a:close/>
                <a:moveTo>
                  <a:pt x="146" y="173"/>
                </a:moveTo>
                <a:cubicBezTo>
                  <a:pt x="146" y="173"/>
                  <a:pt x="146" y="172"/>
                  <a:pt x="146" y="172"/>
                </a:cubicBezTo>
                <a:cubicBezTo>
                  <a:pt x="148" y="172"/>
                  <a:pt x="144" y="175"/>
                  <a:pt x="146" y="173"/>
                </a:cubicBezTo>
                <a:close/>
                <a:moveTo>
                  <a:pt x="145" y="190"/>
                </a:moveTo>
                <a:cubicBezTo>
                  <a:pt x="145" y="190"/>
                  <a:pt x="146" y="190"/>
                  <a:pt x="146" y="190"/>
                </a:cubicBezTo>
                <a:cubicBezTo>
                  <a:pt x="148" y="189"/>
                  <a:pt x="144" y="192"/>
                  <a:pt x="145" y="190"/>
                </a:cubicBezTo>
                <a:close/>
                <a:moveTo>
                  <a:pt x="144" y="178"/>
                </a:moveTo>
                <a:cubicBezTo>
                  <a:pt x="145" y="178"/>
                  <a:pt x="145" y="180"/>
                  <a:pt x="144" y="180"/>
                </a:cubicBezTo>
                <a:cubicBezTo>
                  <a:pt x="144" y="180"/>
                  <a:pt x="143" y="178"/>
                  <a:pt x="144" y="178"/>
                </a:cubicBezTo>
                <a:close/>
                <a:moveTo>
                  <a:pt x="145" y="222"/>
                </a:moveTo>
                <a:cubicBezTo>
                  <a:pt x="145" y="221"/>
                  <a:pt x="146" y="220"/>
                  <a:pt x="147" y="221"/>
                </a:cubicBezTo>
                <a:cubicBezTo>
                  <a:pt x="148" y="221"/>
                  <a:pt x="148" y="224"/>
                  <a:pt x="147" y="224"/>
                </a:cubicBezTo>
                <a:cubicBezTo>
                  <a:pt x="146" y="224"/>
                  <a:pt x="146" y="223"/>
                  <a:pt x="145" y="222"/>
                </a:cubicBezTo>
                <a:cubicBezTo>
                  <a:pt x="145" y="222"/>
                  <a:pt x="145" y="222"/>
                  <a:pt x="145" y="222"/>
                </a:cubicBezTo>
                <a:cubicBezTo>
                  <a:pt x="144" y="221"/>
                  <a:pt x="144" y="219"/>
                  <a:pt x="143" y="217"/>
                </a:cubicBezTo>
                <a:cubicBezTo>
                  <a:pt x="144" y="218"/>
                  <a:pt x="145" y="220"/>
                  <a:pt x="145" y="222"/>
                </a:cubicBezTo>
                <a:close/>
                <a:moveTo>
                  <a:pt x="145" y="245"/>
                </a:moveTo>
                <a:cubicBezTo>
                  <a:pt x="147" y="244"/>
                  <a:pt x="146" y="248"/>
                  <a:pt x="145" y="248"/>
                </a:cubicBezTo>
                <a:cubicBezTo>
                  <a:pt x="144" y="248"/>
                  <a:pt x="143" y="246"/>
                  <a:pt x="145" y="245"/>
                </a:cubicBezTo>
                <a:close/>
                <a:moveTo>
                  <a:pt x="145" y="314"/>
                </a:moveTo>
                <a:cubicBezTo>
                  <a:pt x="145" y="314"/>
                  <a:pt x="144" y="313"/>
                  <a:pt x="144" y="312"/>
                </a:cubicBezTo>
                <a:cubicBezTo>
                  <a:pt x="144" y="311"/>
                  <a:pt x="145" y="314"/>
                  <a:pt x="145" y="314"/>
                </a:cubicBezTo>
                <a:close/>
                <a:moveTo>
                  <a:pt x="141" y="194"/>
                </a:moveTo>
                <a:cubicBezTo>
                  <a:pt x="141" y="194"/>
                  <a:pt x="140" y="193"/>
                  <a:pt x="140" y="193"/>
                </a:cubicBezTo>
                <a:cubicBezTo>
                  <a:pt x="140" y="192"/>
                  <a:pt x="142" y="194"/>
                  <a:pt x="141" y="194"/>
                </a:cubicBezTo>
                <a:close/>
                <a:moveTo>
                  <a:pt x="142" y="199"/>
                </a:moveTo>
                <a:cubicBezTo>
                  <a:pt x="141" y="199"/>
                  <a:pt x="141" y="198"/>
                  <a:pt x="141" y="197"/>
                </a:cubicBezTo>
                <a:cubicBezTo>
                  <a:pt x="141" y="197"/>
                  <a:pt x="142" y="198"/>
                  <a:pt x="142" y="199"/>
                </a:cubicBezTo>
                <a:close/>
                <a:moveTo>
                  <a:pt x="142" y="216"/>
                </a:moveTo>
                <a:cubicBezTo>
                  <a:pt x="141" y="214"/>
                  <a:pt x="140" y="211"/>
                  <a:pt x="139" y="209"/>
                </a:cubicBezTo>
                <a:cubicBezTo>
                  <a:pt x="141" y="210"/>
                  <a:pt x="142" y="214"/>
                  <a:pt x="142" y="216"/>
                </a:cubicBezTo>
                <a:close/>
                <a:moveTo>
                  <a:pt x="141" y="232"/>
                </a:moveTo>
                <a:cubicBezTo>
                  <a:pt x="141" y="233"/>
                  <a:pt x="141" y="231"/>
                  <a:pt x="141" y="232"/>
                </a:cubicBezTo>
                <a:close/>
                <a:moveTo>
                  <a:pt x="140" y="226"/>
                </a:moveTo>
                <a:cubicBezTo>
                  <a:pt x="139" y="224"/>
                  <a:pt x="140" y="224"/>
                  <a:pt x="140" y="226"/>
                </a:cubicBezTo>
                <a:close/>
                <a:moveTo>
                  <a:pt x="134" y="215"/>
                </a:moveTo>
                <a:cubicBezTo>
                  <a:pt x="134" y="216"/>
                  <a:pt x="133" y="215"/>
                  <a:pt x="133" y="215"/>
                </a:cubicBezTo>
                <a:cubicBezTo>
                  <a:pt x="133" y="214"/>
                  <a:pt x="134" y="215"/>
                  <a:pt x="134" y="215"/>
                </a:cubicBezTo>
                <a:close/>
                <a:moveTo>
                  <a:pt x="128" y="205"/>
                </a:moveTo>
                <a:cubicBezTo>
                  <a:pt x="128" y="203"/>
                  <a:pt x="128" y="202"/>
                  <a:pt x="130" y="202"/>
                </a:cubicBezTo>
                <a:cubicBezTo>
                  <a:pt x="131" y="202"/>
                  <a:pt x="132" y="206"/>
                  <a:pt x="131" y="207"/>
                </a:cubicBezTo>
                <a:cubicBezTo>
                  <a:pt x="130" y="208"/>
                  <a:pt x="130" y="207"/>
                  <a:pt x="129" y="207"/>
                </a:cubicBezTo>
                <a:cubicBezTo>
                  <a:pt x="129" y="207"/>
                  <a:pt x="129" y="207"/>
                  <a:pt x="129" y="207"/>
                </a:cubicBezTo>
                <a:cubicBezTo>
                  <a:pt x="128" y="207"/>
                  <a:pt x="127" y="205"/>
                  <a:pt x="128" y="205"/>
                </a:cubicBezTo>
                <a:close/>
                <a:moveTo>
                  <a:pt x="131" y="346"/>
                </a:moveTo>
                <a:cubicBezTo>
                  <a:pt x="133" y="346"/>
                  <a:pt x="132" y="348"/>
                  <a:pt x="131" y="346"/>
                </a:cubicBezTo>
                <a:close/>
                <a:moveTo>
                  <a:pt x="128" y="352"/>
                </a:moveTo>
                <a:cubicBezTo>
                  <a:pt x="129" y="352"/>
                  <a:pt x="129" y="353"/>
                  <a:pt x="129" y="353"/>
                </a:cubicBezTo>
                <a:cubicBezTo>
                  <a:pt x="128" y="354"/>
                  <a:pt x="128" y="353"/>
                  <a:pt x="128" y="352"/>
                </a:cubicBezTo>
                <a:close/>
                <a:moveTo>
                  <a:pt x="128" y="244"/>
                </a:moveTo>
                <a:cubicBezTo>
                  <a:pt x="128" y="243"/>
                  <a:pt x="129" y="245"/>
                  <a:pt x="129" y="246"/>
                </a:cubicBezTo>
                <a:cubicBezTo>
                  <a:pt x="128" y="245"/>
                  <a:pt x="129" y="245"/>
                  <a:pt x="128" y="244"/>
                </a:cubicBezTo>
                <a:close/>
                <a:moveTo>
                  <a:pt x="128" y="274"/>
                </a:moveTo>
                <a:cubicBezTo>
                  <a:pt x="129" y="275"/>
                  <a:pt x="129" y="276"/>
                  <a:pt x="130" y="277"/>
                </a:cubicBezTo>
                <a:cubicBezTo>
                  <a:pt x="129" y="277"/>
                  <a:pt x="128" y="275"/>
                  <a:pt x="128" y="274"/>
                </a:cubicBezTo>
                <a:close/>
                <a:moveTo>
                  <a:pt x="129" y="246"/>
                </a:moveTo>
                <a:cubicBezTo>
                  <a:pt x="132" y="246"/>
                  <a:pt x="128" y="249"/>
                  <a:pt x="129" y="247"/>
                </a:cubicBezTo>
                <a:cubicBezTo>
                  <a:pt x="129" y="247"/>
                  <a:pt x="129" y="246"/>
                  <a:pt x="129" y="246"/>
                </a:cubicBezTo>
                <a:close/>
                <a:moveTo>
                  <a:pt x="129" y="241"/>
                </a:moveTo>
                <a:cubicBezTo>
                  <a:pt x="130" y="240"/>
                  <a:pt x="130" y="242"/>
                  <a:pt x="130" y="242"/>
                </a:cubicBezTo>
                <a:cubicBezTo>
                  <a:pt x="130" y="242"/>
                  <a:pt x="129" y="241"/>
                  <a:pt x="129" y="241"/>
                </a:cubicBezTo>
                <a:close/>
                <a:moveTo>
                  <a:pt x="130" y="275"/>
                </a:moveTo>
                <a:cubicBezTo>
                  <a:pt x="129" y="274"/>
                  <a:pt x="130" y="273"/>
                  <a:pt x="130" y="274"/>
                </a:cubicBezTo>
                <a:cubicBezTo>
                  <a:pt x="131" y="274"/>
                  <a:pt x="131" y="275"/>
                  <a:pt x="130" y="275"/>
                </a:cubicBezTo>
                <a:close/>
                <a:moveTo>
                  <a:pt x="128" y="210"/>
                </a:moveTo>
                <a:cubicBezTo>
                  <a:pt x="127" y="210"/>
                  <a:pt x="127" y="208"/>
                  <a:pt x="127" y="207"/>
                </a:cubicBezTo>
                <a:cubicBezTo>
                  <a:pt x="128" y="208"/>
                  <a:pt x="128" y="209"/>
                  <a:pt x="128" y="210"/>
                </a:cubicBezTo>
                <a:close/>
                <a:moveTo>
                  <a:pt x="126" y="269"/>
                </a:moveTo>
                <a:cubicBezTo>
                  <a:pt x="127" y="270"/>
                  <a:pt x="128" y="271"/>
                  <a:pt x="128" y="273"/>
                </a:cubicBezTo>
                <a:cubicBezTo>
                  <a:pt x="127" y="272"/>
                  <a:pt x="126" y="271"/>
                  <a:pt x="126" y="269"/>
                </a:cubicBezTo>
                <a:close/>
                <a:moveTo>
                  <a:pt x="123" y="221"/>
                </a:moveTo>
                <a:cubicBezTo>
                  <a:pt x="123" y="221"/>
                  <a:pt x="124" y="221"/>
                  <a:pt x="124" y="222"/>
                </a:cubicBezTo>
                <a:cubicBezTo>
                  <a:pt x="124" y="222"/>
                  <a:pt x="122" y="222"/>
                  <a:pt x="123" y="221"/>
                </a:cubicBezTo>
                <a:close/>
                <a:moveTo>
                  <a:pt x="125" y="273"/>
                </a:moveTo>
                <a:cubicBezTo>
                  <a:pt x="123" y="272"/>
                  <a:pt x="123" y="271"/>
                  <a:pt x="123" y="270"/>
                </a:cubicBezTo>
                <a:cubicBezTo>
                  <a:pt x="124" y="270"/>
                  <a:pt x="125" y="272"/>
                  <a:pt x="125" y="273"/>
                </a:cubicBezTo>
                <a:close/>
                <a:moveTo>
                  <a:pt x="119" y="230"/>
                </a:moveTo>
                <a:cubicBezTo>
                  <a:pt x="119" y="231"/>
                  <a:pt x="119" y="230"/>
                  <a:pt x="119" y="230"/>
                </a:cubicBezTo>
                <a:cubicBezTo>
                  <a:pt x="116" y="228"/>
                  <a:pt x="120" y="229"/>
                  <a:pt x="119" y="230"/>
                </a:cubicBezTo>
                <a:close/>
                <a:moveTo>
                  <a:pt x="116" y="209"/>
                </a:moveTo>
                <a:cubicBezTo>
                  <a:pt x="117" y="209"/>
                  <a:pt x="117" y="211"/>
                  <a:pt x="117" y="211"/>
                </a:cubicBezTo>
                <a:cubicBezTo>
                  <a:pt x="117" y="211"/>
                  <a:pt x="116" y="210"/>
                  <a:pt x="116" y="209"/>
                </a:cubicBezTo>
                <a:close/>
                <a:moveTo>
                  <a:pt x="117" y="220"/>
                </a:moveTo>
                <a:cubicBezTo>
                  <a:pt x="118" y="221"/>
                  <a:pt x="118" y="223"/>
                  <a:pt x="118" y="224"/>
                </a:cubicBezTo>
                <a:cubicBezTo>
                  <a:pt x="118" y="226"/>
                  <a:pt x="119" y="228"/>
                  <a:pt x="118" y="228"/>
                </a:cubicBezTo>
                <a:cubicBezTo>
                  <a:pt x="118" y="228"/>
                  <a:pt x="118" y="228"/>
                  <a:pt x="118" y="227"/>
                </a:cubicBezTo>
                <a:cubicBezTo>
                  <a:pt x="118" y="228"/>
                  <a:pt x="118" y="228"/>
                  <a:pt x="118" y="228"/>
                </a:cubicBezTo>
                <a:cubicBezTo>
                  <a:pt x="118" y="228"/>
                  <a:pt x="117" y="229"/>
                  <a:pt x="117" y="229"/>
                </a:cubicBezTo>
                <a:cubicBezTo>
                  <a:pt x="116" y="229"/>
                  <a:pt x="111" y="224"/>
                  <a:pt x="112" y="221"/>
                </a:cubicBezTo>
                <a:cubicBezTo>
                  <a:pt x="112" y="219"/>
                  <a:pt x="115" y="218"/>
                  <a:pt x="117" y="220"/>
                </a:cubicBezTo>
                <a:close/>
                <a:moveTo>
                  <a:pt x="114" y="428"/>
                </a:moveTo>
                <a:cubicBezTo>
                  <a:pt x="114" y="430"/>
                  <a:pt x="112" y="427"/>
                  <a:pt x="112" y="425"/>
                </a:cubicBezTo>
                <a:cubicBezTo>
                  <a:pt x="111" y="421"/>
                  <a:pt x="110" y="416"/>
                  <a:pt x="110" y="413"/>
                </a:cubicBezTo>
                <a:cubicBezTo>
                  <a:pt x="110" y="413"/>
                  <a:pt x="110" y="411"/>
                  <a:pt x="110" y="411"/>
                </a:cubicBezTo>
                <a:cubicBezTo>
                  <a:pt x="111" y="411"/>
                  <a:pt x="114" y="426"/>
                  <a:pt x="114" y="428"/>
                </a:cubicBezTo>
                <a:close/>
                <a:moveTo>
                  <a:pt x="111" y="324"/>
                </a:moveTo>
                <a:cubicBezTo>
                  <a:pt x="110" y="325"/>
                  <a:pt x="111" y="323"/>
                  <a:pt x="111" y="324"/>
                </a:cubicBezTo>
                <a:close/>
                <a:moveTo>
                  <a:pt x="113" y="271"/>
                </a:moveTo>
                <a:cubicBezTo>
                  <a:pt x="115" y="271"/>
                  <a:pt x="117" y="274"/>
                  <a:pt x="115" y="276"/>
                </a:cubicBezTo>
                <a:cubicBezTo>
                  <a:pt x="112" y="280"/>
                  <a:pt x="109" y="271"/>
                  <a:pt x="113" y="271"/>
                </a:cubicBezTo>
                <a:close/>
                <a:moveTo>
                  <a:pt x="114" y="252"/>
                </a:moveTo>
                <a:cubicBezTo>
                  <a:pt x="114" y="252"/>
                  <a:pt x="115" y="253"/>
                  <a:pt x="114" y="254"/>
                </a:cubicBezTo>
                <a:cubicBezTo>
                  <a:pt x="113" y="254"/>
                  <a:pt x="113" y="252"/>
                  <a:pt x="114" y="252"/>
                </a:cubicBezTo>
                <a:close/>
                <a:moveTo>
                  <a:pt x="115" y="374"/>
                </a:moveTo>
                <a:cubicBezTo>
                  <a:pt x="117" y="374"/>
                  <a:pt x="117" y="378"/>
                  <a:pt x="115" y="378"/>
                </a:cubicBezTo>
                <a:cubicBezTo>
                  <a:pt x="115" y="378"/>
                  <a:pt x="113" y="375"/>
                  <a:pt x="115" y="374"/>
                </a:cubicBezTo>
                <a:close/>
                <a:moveTo>
                  <a:pt x="115" y="266"/>
                </a:moveTo>
                <a:cubicBezTo>
                  <a:pt x="118" y="267"/>
                  <a:pt x="116" y="270"/>
                  <a:pt x="115" y="266"/>
                </a:cubicBezTo>
                <a:close/>
                <a:moveTo>
                  <a:pt x="110" y="225"/>
                </a:moveTo>
                <a:cubicBezTo>
                  <a:pt x="112" y="225"/>
                  <a:pt x="110" y="226"/>
                  <a:pt x="110" y="225"/>
                </a:cubicBezTo>
                <a:close/>
                <a:moveTo>
                  <a:pt x="108" y="237"/>
                </a:moveTo>
                <a:cubicBezTo>
                  <a:pt x="106" y="236"/>
                  <a:pt x="109" y="235"/>
                  <a:pt x="108" y="237"/>
                </a:cubicBezTo>
                <a:close/>
                <a:moveTo>
                  <a:pt x="106" y="237"/>
                </a:moveTo>
                <a:cubicBezTo>
                  <a:pt x="107" y="236"/>
                  <a:pt x="108" y="238"/>
                  <a:pt x="107" y="239"/>
                </a:cubicBezTo>
                <a:cubicBezTo>
                  <a:pt x="106" y="239"/>
                  <a:pt x="106" y="237"/>
                  <a:pt x="106" y="237"/>
                </a:cubicBezTo>
                <a:close/>
                <a:moveTo>
                  <a:pt x="97" y="223"/>
                </a:moveTo>
                <a:cubicBezTo>
                  <a:pt x="98" y="223"/>
                  <a:pt x="98" y="225"/>
                  <a:pt x="96" y="225"/>
                </a:cubicBezTo>
                <a:cubicBezTo>
                  <a:pt x="95" y="224"/>
                  <a:pt x="96" y="223"/>
                  <a:pt x="97" y="223"/>
                </a:cubicBezTo>
                <a:close/>
                <a:moveTo>
                  <a:pt x="96" y="249"/>
                </a:moveTo>
                <a:cubicBezTo>
                  <a:pt x="97" y="250"/>
                  <a:pt x="96" y="250"/>
                  <a:pt x="96" y="249"/>
                </a:cubicBezTo>
                <a:close/>
                <a:moveTo>
                  <a:pt x="96" y="195"/>
                </a:moveTo>
                <a:cubicBezTo>
                  <a:pt x="96" y="195"/>
                  <a:pt x="96" y="196"/>
                  <a:pt x="96" y="197"/>
                </a:cubicBezTo>
                <a:cubicBezTo>
                  <a:pt x="96" y="197"/>
                  <a:pt x="95" y="196"/>
                  <a:pt x="96" y="195"/>
                </a:cubicBezTo>
                <a:close/>
                <a:moveTo>
                  <a:pt x="93" y="195"/>
                </a:moveTo>
                <a:cubicBezTo>
                  <a:pt x="94" y="195"/>
                  <a:pt x="93" y="195"/>
                  <a:pt x="93" y="195"/>
                </a:cubicBezTo>
                <a:cubicBezTo>
                  <a:pt x="93" y="195"/>
                  <a:pt x="93" y="195"/>
                  <a:pt x="93" y="195"/>
                </a:cubicBezTo>
                <a:close/>
                <a:moveTo>
                  <a:pt x="93" y="195"/>
                </a:moveTo>
                <a:cubicBezTo>
                  <a:pt x="93" y="196"/>
                  <a:pt x="93" y="196"/>
                  <a:pt x="93" y="195"/>
                </a:cubicBezTo>
                <a:close/>
                <a:moveTo>
                  <a:pt x="92" y="212"/>
                </a:moveTo>
                <a:cubicBezTo>
                  <a:pt x="91" y="213"/>
                  <a:pt x="90" y="211"/>
                  <a:pt x="89" y="211"/>
                </a:cubicBezTo>
                <a:cubicBezTo>
                  <a:pt x="88" y="207"/>
                  <a:pt x="94" y="209"/>
                  <a:pt x="92" y="212"/>
                </a:cubicBezTo>
                <a:close/>
                <a:moveTo>
                  <a:pt x="92" y="259"/>
                </a:moveTo>
                <a:cubicBezTo>
                  <a:pt x="91" y="259"/>
                  <a:pt x="93" y="251"/>
                  <a:pt x="92" y="248"/>
                </a:cubicBezTo>
                <a:cubicBezTo>
                  <a:pt x="94" y="249"/>
                  <a:pt x="93" y="260"/>
                  <a:pt x="92" y="259"/>
                </a:cubicBezTo>
                <a:close/>
                <a:moveTo>
                  <a:pt x="93" y="228"/>
                </a:moveTo>
                <a:cubicBezTo>
                  <a:pt x="91" y="227"/>
                  <a:pt x="93" y="226"/>
                  <a:pt x="93" y="228"/>
                </a:cubicBezTo>
                <a:close/>
                <a:moveTo>
                  <a:pt x="92" y="225"/>
                </a:moveTo>
                <a:cubicBezTo>
                  <a:pt x="92" y="225"/>
                  <a:pt x="92" y="223"/>
                  <a:pt x="92" y="223"/>
                </a:cubicBezTo>
                <a:cubicBezTo>
                  <a:pt x="93" y="223"/>
                  <a:pt x="93" y="226"/>
                  <a:pt x="92" y="225"/>
                </a:cubicBezTo>
                <a:close/>
                <a:moveTo>
                  <a:pt x="94" y="198"/>
                </a:moveTo>
                <a:cubicBezTo>
                  <a:pt x="95" y="198"/>
                  <a:pt x="95" y="199"/>
                  <a:pt x="95" y="199"/>
                </a:cubicBezTo>
                <a:cubicBezTo>
                  <a:pt x="95" y="199"/>
                  <a:pt x="93" y="200"/>
                  <a:pt x="93" y="200"/>
                </a:cubicBezTo>
                <a:cubicBezTo>
                  <a:pt x="92" y="200"/>
                  <a:pt x="92" y="198"/>
                  <a:pt x="94" y="198"/>
                </a:cubicBezTo>
                <a:close/>
                <a:moveTo>
                  <a:pt x="94" y="407"/>
                </a:moveTo>
                <a:cubicBezTo>
                  <a:pt x="95" y="409"/>
                  <a:pt x="93" y="409"/>
                  <a:pt x="94" y="407"/>
                </a:cubicBezTo>
                <a:close/>
                <a:moveTo>
                  <a:pt x="96" y="275"/>
                </a:moveTo>
                <a:cubicBezTo>
                  <a:pt x="95" y="275"/>
                  <a:pt x="95" y="273"/>
                  <a:pt x="95" y="272"/>
                </a:cubicBezTo>
                <a:cubicBezTo>
                  <a:pt x="97" y="271"/>
                  <a:pt x="97" y="275"/>
                  <a:pt x="96" y="275"/>
                </a:cubicBezTo>
                <a:close/>
                <a:moveTo>
                  <a:pt x="95" y="257"/>
                </a:moveTo>
                <a:cubicBezTo>
                  <a:pt x="97" y="257"/>
                  <a:pt x="98" y="260"/>
                  <a:pt x="98" y="262"/>
                </a:cubicBezTo>
                <a:cubicBezTo>
                  <a:pt x="97" y="260"/>
                  <a:pt x="96" y="259"/>
                  <a:pt x="95" y="257"/>
                </a:cubicBezTo>
                <a:close/>
                <a:moveTo>
                  <a:pt x="99" y="345"/>
                </a:moveTo>
                <a:cubicBezTo>
                  <a:pt x="98" y="346"/>
                  <a:pt x="98" y="344"/>
                  <a:pt x="98" y="344"/>
                </a:cubicBezTo>
                <a:cubicBezTo>
                  <a:pt x="99" y="344"/>
                  <a:pt x="99" y="345"/>
                  <a:pt x="99" y="345"/>
                </a:cubicBezTo>
                <a:close/>
                <a:moveTo>
                  <a:pt x="99" y="391"/>
                </a:moveTo>
                <a:cubicBezTo>
                  <a:pt x="100" y="393"/>
                  <a:pt x="99" y="393"/>
                  <a:pt x="99" y="391"/>
                </a:cubicBezTo>
                <a:close/>
                <a:moveTo>
                  <a:pt x="98" y="263"/>
                </a:moveTo>
                <a:cubicBezTo>
                  <a:pt x="99" y="265"/>
                  <a:pt x="100" y="266"/>
                  <a:pt x="100" y="268"/>
                </a:cubicBezTo>
                <a:cubicBezTo>
                  <a:pt x="100" y="267"/>
                  <a:pt x="99" y="265"/>
                  <a:pt x="98" y="263"/>
                </a:cubicBezTo>
                <a:close/>
                <a:moveTo>
                  <a:pt x="100" y="245"/>
                </a:moveTo>
                <a:cubicBezTo>
                  <a:pt x="98" y="243"/>
                  <a:pt x="100" y="243"/>
                  <a:pt x="100" y="245"/>
                </a:cubicBezTo>
                <a:close/>
                <a:moveTo>
                  <a:pt x="98" y="231"/>
                </a:moveTo>
                <a:cubicBezTo>
                  <a:pt x="97" y="231"/>
                  <a:pt x="98" y="227"/>
                  <a:pt x="99" y="227"/>
                </a:cubicBezTo>
                <a:cubicBezTo>
                  <a:pt x="101" y="227"/>
                  <a:pt x="101" y="232"/>
                  <a:pt x="98" y="231"/>
                </a:cubicBezTo>
                <a:close/>
                <a:moveTo>
                  <a:pt x="99" y="205"/>
                </a:moveTo>
                <a:cubicBezTo>
                  <a:pt x="99" y="204"/>
                  <a:pt x="100" y="206"/>
                  <a:pt x="99" y="206"/>
                </a:cubicBezTo>
                <a:cubicBezTo>
                  <a:pt x="99" y="206"/>
                  <a:pt x="99" y="205"/>
                  <a:pt x="99" y="205"/>
                </a:cubicBezTo>
                <a:close/>
                <a:moveTo>
                  <a:pt x="102" y="420"/>
                </a:moveTo>
                <a:cubicBezTo>
                  <a:pt x="102" y="420"/>
                  <a:pt x="102" y="420"/>
                  <a:pt x="102" y="420"/>
                </a:cubicBezTo>
                <a:cubicBezTo>
                  <a:pt x="102" y="420"/>
                  <a:pt x="102" y="420"/>
                  <a:pt x="102" y="420"/>
                </a:cubicBezTo>
                <a:cubicBezTo>
                  <a:pt x="102" y="420"/>
                  <a:pt x="102" y="420"/>
                  <a:pt x="102" y="420"/>
                </a:cubicBezTo>
                <a:close/>
                <a:moveTo>
                  <a:pt x="101" y="348"/>
                </a:moveTo>
                <a:cubicBezTo>
                  <a:pt x="99" y="349"/>
                  <a:pt x="102" y="346"/>
                  <a:pt x="102" y="347"/>
                </a:cubicBezTo>
                <a:cubicBezTo>
                  <a:pt x="102" y="348"/>
                  <a:pt x="102" y="348"/>
                  <a:pt x="101" y="348"/>
                </a:cubicBezTo>
                <a:close/>
                <a:moveTo>
                  <a:pt x="102" y="273"/>
                </a:moveTo>
                <a:cubicBezTo>
                  <a:pt x="101" y="273"/>
                  <a:pt x="101" y="271"/>
                  <a:pt x="101" y="270"/>
                </a:cubicBezTo>
                <a:cubicBezTo>
                  <a:pt x="102" y="270"/>
                  <a:pt x="103" y="273"/>
                  <a:pt x="102" y="273"/>
                </a:cubicBezTo>
                <a:close/>
                <a:moveTo>
                  <a:pt x="102" y="211"/>
                </a:moveTo>
                <a:cubicBezTo>
                  <a:pt x="102" y="210"/>
                  <a:pt x="103" y="210"/>
                  <a:pt x="102" y="210"/>
                </a:cubicBezTo>
                <a:cubicBezTo>
                  <a:pt x="102" y="210"/>
                  <a:pt x="102" y="211"/>
                  <a:pt x="102" y="211"/>
                </a:cubicBezTo>
                <a:close/>
                <a:moveTo>
                  <a:pt x="101" y="211"/>
                </a:moveTo>
                <a:cubicBezTo>
                  <a:pt x="101" y="211"/>
                  <a:pt x="101" y="210"/>
                  <a:pt x="101" y="210"/>
                </a:cubicBezTo>
                <a:cubicBezTo>
                  <a:pt x="101" y="211"/>
                  <a:pt x="100" y="212"/>
                  <a:pt x="101" y="211"/>
                </a:cubicBezTo>
                <a:close/>
                <a:moveTo>
                  <a:pt x="103" y="355"/>
                </a:moveTo>
                <a:cubicBezTo>
                  <a:pt x="102" y="355"/>
                  <a:pt x="102" y="354"/>
                  <a:pt x="102" y="353"/>
                </a:cubicBezTo>
                <a:cubicBezTo>
                  <a:pt x="103" y="354"/>
                  <a:pt x="103" y="354"/>
                  <a:pt x="103" y="355"/>
                </a:cubicBezTo>
                <a:close/>
                <a:moveTo>
                  <a:pt x="105" y="290"/>
                </a:moveTo>
                <a:cubicBezTo>
                  <a:pt x="105" y="291"/>
                  <a:pt x="104" y="291"/>
                  <a:pt x="103" y="290"/>
                </a:cubicBezTo>
                <a:cubicBezTo>
                  <a:pt x="101" y="289"/>
                  <a:pt x="106" y="287"/>
                  <a:pt x="105" y="290"/>
                </a:cubicBezTo>
                <a:close/>
                <a:moveTo>
                  <a:pt x="103" y="252"/>
                </a:moveTo>
                <a:cubicBezTo>
                  <a:pt x="104" y="252"/>
                  <a:pt x="103" y="253"/>
                  <a:pt x="103" y="252"/>
                </a:cubicBezTo>
                <a:close/>
                <a:moveTo>
                  <a:pt x="105" y="207"/>
                </a:moveTo>
                <a:cubicBezTo>
                  <a:pt x="104" y="207"/>
                  <a:pt x="103" y="205"/>
                  <a:pt x="102" y="205"/>
                </a:cubicBezTo>
                <a:cubicBezTo>
                  <a:pt x="102" y="206"/>
                  <a:pt x="103" y="207"/>
                  <a:pt x="102" y="207"/>
                </a:cubicBezTo>
                <a:cubicBezTo>
                  <a:pt x="102" y="206"/>
                  <a:pt x="98" y="203"/>
                  <a:pt x="98" y="200"/>
                </a:cubicBezTo>
                <a:cubicBezTo>
                  <a:pt x="98" y="199"/>
                  <a:pt x="99" y="196"/>
                  <a:pt x="102" y="196"/>
                </a:cubicBezTo>
                <a:cubicBezTo>
                  <a:pt x="103" y="197"/>
                  <a:pt x="106" y="201"/>
                  <a:pt x="106" y="203"/>
                </a:cubicBezTo>
                <a:cubicBezTo>
                  <a:pt x="105" y="204"/>
                  <a:pt x="105" y="205"/>
                  <a:pt x="105" y="206"/>
                </a:cubicBezTo>
                <a:cubicBezTo>
                  <a:pt x="105" y="206"/>
                  <a:pt x="106" y="207"/>
                  <a:pt x="105" y="207"/>
                </a:cubicBezTo>
                <a:close/>
                <a:moveTo>
                  <a:pt x="106" y="270"/>
                </a:moveTo>
                <a:cubicBezTo>
                  <a:pt x="105" y="270"/>
                  <a:pt x="106" y="270"/>
                  <a:pt x="106" y="270"/>
                </a:cubicBezTo>
                <a:close/>
                <a:moveTo>
                  <a:pt x="106" y="271"/>
                </a:moveTo>
                <a:cubicBezTo>
                  <a:pt x="106" y="271"/>
                  <a:pt x="106" y="271"/>
                  <a:pt x="106" y="271"/>
                </a:cubicBezTo>
                <a:cubicBezTo>
                  <a:pt x="106" y="271"/>
                  <a:pt x="106" y="271"/>
                  <a:pt x="106" y="271"/>
                </a:cubicBezTo>
                <a:cubicBezTo>
                  <a:pt x="106" y="271"/>
                  <a:pt x="106" y="271"/>
                  <a:pt x="106" y="271"/>
                </a:cubicBezTo>
                <a:close/>
                <a:moveTo>
                  <a:pt x="107" y="250"/>
                </a:moveTo>
                <a:cubicBezTo>
                  <a:pt x="107" y="249"/>
                  <a:pt x="108" y="250"/>
                  <a:pt x="109" y="250"/>
                </a:cubicBezTo>
                <a:cubicBezTo>
                  <a:pt x="112" y="250"/>
                  <a:pt x="112" y="254"/>
                  <a:pt x="111" y="255"/>
                </a:cubicBezTo>
                <a:cubicBezTo>
                  <a:pt x="111" y="255"/>
                  <a:pt x="111" y="255"/>
                  <a:pt x="111" y="255"/>
                </a:cubicBezTo>
                <a:cubicBezTo>
                  <a:pt x="111" y="255"/>
                  <a:pt x="111" y="255"/>
                  <a:pt x="111" y="255"/>
                </a:cubicBezTo>
                <a:cubicBezTo>
                  <a:pt x="111" y="259"/>
                  <a:pt x="102" y="254"/>
                  <a:pt x="107" y="250"/>
                </a:cubicBezTo>
                <a:close/>
                <a:moveTo>
                  <a:pt x="107" y="458"/>
                </a:moveTo>
                <a:cubicBezTo>
                  <a:pt x="108" y="460"/>
                  <a:pt x="106" y="460"/>
                  <a:pt x="107" y="458"/>
                </a:cubicBezTo>
                <a:close/>
                <a:moveTo>
                  <a:pt x="109" y="360"/>
                </a:moveTo>
                <a:cubicBezTo>
                  <a:pt x="111" y="360"/>
                  <a:pt x="110" y="363"/>
                  <a:pt x="109" y="363"/>
                </a:cubicBezTo>
                <a:cubicBezTo>
                  <a:pt x="108" y="362"/>
                  <a:pt x="108" y="361"/>
                  <a:pt x="109" y="360"/>
                </a:cubicBezTo>
                <a:close/>
                <a:moveTo>
                  <a:pt x="109" y="423"/>
                </a:moveTo>
                <a:cubicBezTo>
                  <a:pt x="109" y="423"/>
                  <a:pt x="108" y="420"/>
                  <a:pt x="110" y="422"/>
                </a:cubicBezTo>
                <a:cubicBezTo>
                  <a:pt x="112" y="425"/>
                  <a:pt x="112" y="431"/>
                  <a:pt x="113" y="435"/>
                </a:cubicBezTo>
                <a:cubicBezTo>
                  <a:pt x="111" y="432"/>
                  <a:pt x="109" y="427"/>
                  <a:pt x="109" y="423"/>
                </a:cubicBezTo>
                <a:close/>
                <a:moveTo>
                  <a:pt x="113" y="436"/>
                </a:moveTo>
                <a:cubicBezTo>
                  <a:pt x="115" y="437"/>
                  <a:pt x="117" y="442"/>
                  <a:pt x="117" y="446"/>
                </a:cubicBezTo>
                <a:cubicBezTo>
                  <a:pt x="115" y="443"/>
                  <a:pt x="114" y="439"/>
                  <a:pt x="113" y="436"/>
                </a:cubicBezTo>
                <a:close/>
                <a:moveTo>
                  <a:pt x="116" y="414"/>
                </a:moveTo>
                <a:cubicBezTo>
                  <a:pt x="116" y="415"/>
                  <a:pt x="114" y="414"/>
                  <a:pt x="116" y="414"/>
                </a:cubicBezTo>
                <a:close/>
                <a:moveTo>
                  <a:pt x="117" y="400"/>
                </a:moveTo>
                <a:cubicBezTo>
                  <a:pt x="115" y="401"/>
                  <a:pt x="112" y="391"/>
                  <a:pt x="116" y="392"/>
                </a:cubicBezTo>
                <a:cubicBezTo>
                  <a:pt x="118" y="393"/>
                  <a:pt x="117" y="396"/>
                  <a:pt x="117" y="397"/>
                </a:cubicBezTo>
                <a:cubicBezTo>
                  <a:pt x="117" y="398"/>
                  <a:pt x="116" y="398"/>
                  <a:pt x="116" y="398"/>
                </a:cubicBezTo>
                <a:cubicBezTo>
                  <a:pt x="116" y="398"/>
                  <a:pt x="118" y="400"/>
                  <a:pt x="117" y="400"/>
                </a:cubicBezTo>
                <a:close/>
                <a:moveTo>
                  <a:pt x="119" y="371"/>
                </a:moveTo>
                <a:cubicBezTo>
                  <a:pt x="117" y="370"/>
                  <a:pt x="120" y="368"/>
                  <a:pt x="119" y="371"/>
                </a:cubicBezTo>
                <a:close/>
                <a:moveTo>
                  <a:pt x="118" y="368"/>
                </a:moveTo>
                <a:cubicBezTo>
                  <a:pt x="118" y="368"/>
                  <a:pt x="117" y="366"/>
                  <a:pt x="118" y="366"/>
                </a:cubicBezTo>
                <a:cubicBezTo>
                  <a:pt x="119" y="365"/>
                  <a:pt x="120" y="369"/>
                  <a:pt x="118" y="368"/>
                </a:cubicBezTo>
                <a:close/>
                <a:moveTo>
                  <a:pt x="119" y="278"/>
                </a:moveTo>
                <a:cubicBezTo>
                  <a:pt x="118" y="278"/>
                  <a:pt x="118" y="277"/>
                  <a:pt x="118" y="276"/>
                </a:cubicBezTo>
                <a:cubicBezTo>
                  <a:pt x="121" y="274"/>
                  <a:pt x="122" y="280"/>
                  <a:pt x="119" y="278"/>
                </a:cubicBezTo>
                <a:close/>
                <a:moveTo>
                  <a:pt x="120" y="239"/>
                </a:moveTo>
                <a:cubicBezTo>
                  <a:pt x="119" y="241"/>
                  <a:pt x="117" y="235"/>
                  <a:pt x="119" y="235"/>
                </a:cubicBezTo>
                <a:cubicBezTo>
                  <a:pt x="121" y="234"/>
                  <a:pt x="122" y="238"/>
                  <a:pt x="120" y="239"/>
                </a:cubicBezTo>
                <a:close/>
                <a:moveTo>
                  <a:pt x="133" y="398"/>
                </a:moveTo>
                <a:cubicBezTo>
                  <a:pt x="131" y="392"/>
                  <a:pt x="130" y="386"/>
                  <a:pt x="128" y="380"/>
                </a:cubicBezTo>
                <a:cubicBezTo>
                  <a:pt x="125" y="375"/>
                  <a:pt x="122" y="370"/>
                  <a:pt x="122" y="364"/>
                </a:cubicBezTo>
                <a:cubicBezTo>
                  <a:pt x="122" y="364"/>
                  <a:pt x="123" y="363"/>
                  <a:pt x="123" y="363"/>
                </a:cubicBezTo>
                <a:cubicBezTo>
                  <a:pt x="124" y="363"/>
                  <a:pt x="128" y="373"/>
                  <a:pt x="128" y="376"/>
                </a:cubicBezTo>
                <a:cubicBezTo>
                  <a:pt x="129" y="381"/>
                  <a:pt x="131" y="385"/>
                  <a:pt x="132" y="390"/>
                </a:cubicBezTo>
                <a:cubicBezTo>
                  <a:pt x="132" y="392"/>
                  <a:pt x="136" y="397"/>
                  <a:pt x="135" y="399"/>
                </a:cubicBezTo>
                <a:cubicBezTo>
                  <a:pt x="135" y="403"/>
                  <a:pt x="133" y="398"/>
                  <a:pt x="133" y="398"/>
                </a:cubicBezTo>
                <a:close/>
                <a:moveTo>
                  <a:pt x="134" y="304"/>
                </a:moveTo>
                <a:cubicBezTo>
                  <a:pt x="134" y="304"/>
                  <a:pt x="133" y="304"/>
                  <a:pt x="133" y="303"/>
                </a:cubicBezTo>
                <a:cubicBezTo>
                  <a:pt x="133" y="303"/>
                  <a:pt x="134" y="304"/>
                  <a:pt x="134" y="304"/>
                </a:cubicBezTo>
                <a:close/>
                <a:moveTo>
                  <a:pt x="134" y="250"/>
                </a:moveTo>
                <a:cubicBezTo>
                  <a:pt x="135" y="250"/>
                  <a:pt x="136" y="254"/>
                  <a:pt x="134" y="254"/>
                </a:cubicBezTo>
                <a:cubicBezTo>
                  <a:pt x="134" y="254"/>
                  <a:pt x="132" y="250"/>
                  <a:pt x="134" y="250"/>
                </a:cubicBezTo>
                <a:close/>
                <a:moveTo>
                  <a:pt x="136" y="417"/>
                </a:moveTo>
                <a:cubicBezTo>
                  <a:pt x="137" y="418"/>
                  <a:pt x="137" y="419"/>
                  <a:pt x="138" y="420"/>
                </a:cubicBezTo>
                <a:cubicBezTo>
                  <a:pt x="137" y="420"/>
                  <a:pt x="136" y="418"/>
                  <a:pt x="136" y="417"/>
                </a:cubicBezTo>
                <a:close/>
                <a:moveTo>
                  <a:pt x="137" y="421"/>
                </a:moveTo>
                <a:cubicBezTo>
                  <a:pt x="137" y="422"/>
                  <a:pt x="138" y="420"/>
                  <a:pt x="137" y="421"/>
                </a:cubicBezTo>
                <a:close/>
                <a:moveTo>
                  <a:pt x="135" y="249"/>
                </a:moveTo>
                <a:cubicBezTo>
                  <a:pt x="136" y="248"/>
                  <a:pt x="133" y="247"/>
                  <a:pt x="132" y="246"/>
                </a:cubicBezTo>
                <a:cubicBezTo>
                  <a:pt x="129" y="238"/>
                  <a:pt x="140" y="237"/>
                  <a:pt x="139" y="245"/>
                </a:cubicBezTo>
                <a:cubicBezTo>
                  <a:pt x="139" y="246"/>
                  <a:pt x="138" y="249"/>
                  <a:pt x="135" y="249"/>
                </a:cubicBezTo>
                <a:close/>
                <a:moveTo>
                  <a:pt x="138" y="250"/>
                </a:moveTo>
                <a:cubicBezTo>
                  <a:pt x="138" y="250"/>
                  <a:pt x="138" y="249"/>
                  <a:pt x="138" y="249"/>
                </a:cubicBezTo>
                <a:cubicBezTo>
                  <a:pt x="139" y="248"/>
                  <a:pt x="139" y="250"/>
                  <a:pt x="138" y="250"/>
                </a:cubicBezTo>
                <a:close/>
                <a:moveTo>
                  <a:pt x="140" y="271"/>
                </a:moveTo>
                <a:cubicBezTo>
                  <a:pt x="140" y="271"/>
                  <a:pt x="140" y="270"/>
                  <a:pt x="140" y="271"/>
                </a:cubicBezTo>
                <a:close/>
                <a:moveTo>
                  <a:pt x="139" y="232"/>
                </a:moveTo>
                <a:cubicBezTo>
                  <a:pt x="140" y="232"/>
                  <a:pt x="141" y="232"/>
                  <a:pt x="141" y="232"/>
                </a:cubicBezTo>
                <a:cubicBezTo>
                  <a:pt x="145" y="235"/>
                  <a:pt x="139" y="234"/>
                  <a:pt x="139" y="232"/>
                </a:cubicBezTo>
                <a:close/>
                <a:moveTo>
                  <a:pt x="142" y="304"/>
                </a:moveTo>
                <a:cubicBezTo>
                  <a:pt x="143" y="306"/>
                  <a:pt x="145" y="309"/>
                  <a:pt x="143" y="310"/>
                </a:cubicBezTo>
                <a:cubicBezTo>
                  <a:pt x="144" y="308"/>
                  <a:pt x="142" y="307"/>
                  <a:pt x="142" y="304"/>
                </a:cubicBezTo>
                <a:close/>
                <a:moveTo>
                  <a:pt x="144" y="445"/>
                </a:moveTo>
                <a:cubicBezTo>
                  <a:pt x="144" y="445"/>
                  <a:pt x="144" y="444"/>
                  <a:pt x="144" y="444"/>
                </a:cubicBezTo>
                <a:cubicBezTo>
                  <a:pt x="147" y="445"/>
                  <a:pt x="141" y="446"/>
                  <a:pt x="144" y="445"/>
                </a:cubicBezTo>
                <a:close/>
                <a:moveTo>
                  <a:pt x="144" y="390"/>
                </a:moveTo>
                <a:cubicBezTo>
                  <a:pt x="145" y="390"/>
                  <a:pt x="144" y="391"/>
                  <a:pt x="145" y="391"/>
                </a:cubicBezTo>
                <a:cubicBezTo>
                  <a:pt x="144" y="392"/>
                  <a:pt x="144" y="390"/>
                  <a:pt x="144" y="390"/>
                </a:cubicBezTo>
                <a:close/>
                <a:moveTo>
                  <a:pt x="145" y="345"/>
                </a:moveTo>
                <a:cubicBezTo>
                  <a:pt x="141" y="343"/>
                  <a:pt x="142" y="334"/>
                  <a:pt x="147" y="334"/>
                </a:cubicBezTo>
                <a:cubicBezTo>
                  <a:pt x="153" y="335"/>
                  <a:pt x="151" y="349"/>
                  <a:pt x="145" y="345"/>
                </a:cubicBezTo>
                <a:close/>
                <a:moveTo>
                  <a:pt x="150" y="229"/>
                </a:moveTo>
                <a:cubicBezTo>
                  <a:pt x="151" y="228"/>
                  <a:pt x="152" y="230"/>
                  <a:pt x="151" y="230"/>
                </a:cubicBezTo>
                <a:cubicBezTo>
                  <a:pt x="151" y="231"/>
                  <a:pt x="150" y="229"/>
                  <a:pt x="150" y="229"/>
                </a:cubicBezTo>
                <a:close/>
                <a:moveTo>
                  <a:pt x="152" y="263"/>
                </a:moveTo>
                <a:cubicBezTo>
                  <a:pt x="150" y="260"/>
                  <a:pt x="152" y="259"/>
                  <a:pt x="152" y="263"/>
                </a:cubicBezTo>
                <a:close/>
                <a:moveTo>
                  <a:pt x="156" y="234"/>
                </a:moveTo>
                <a:cubicBezTo>
                  <a:pt x="155" y="233"/>
                  <a:pt x="153" y="230"/>
                  <a:pt x="152" y="229"/>
                </a:cubicBezTo>
                <a:cubicBezTo>
                  <a:pt x="151" y="226"/>
                  <a:pt x="157" y="231"/>
                  <a:pt x="156" y="234"/>
                </a:cubicBezTo>
                <a:close/>
                <a:moveTo>
                  <a:pt x="153" y="303"/>
                </a:moveTo>
                <a:cubicBezTo>
                  <a:pt x="154" y="304"/>
                  <a:pt x="152" y="305"/>
                  <a:pt x="153" y="303"/>
                </a:cubicBezTo>
                <a:close/>
                <a:moveTo>
                  <a:pt x="156" y="299"/>
                </a:moveTo>
                <a:cubicBezTo>
                  <a:pt x="155" y="299"/>
                  <a:pt x="155" y="299"/>
                  <a:pt x="155" y="299"/>
                </a:cubicBezTo>
                <a:cubicBezTo>
                  <a:pt x="155" y="299"/>
                  <a:pt x="156" y="298"/>
                  <a:pt x="156" y="298"/>
                </a:cubicBezTo>
                <a:cubicBezTo>
                  <a:pt x="156" y="298"/>
                  <a:pt x="156" y="298"/>
                  <a:pt x="156" y="299"/>
                </a:cubicBezTo>
                <a:close/>
                <a:moveTo>
                  <a:pt x="157" y="293"/>
                </a:moveTo>
                <a:cubicBezTo>
                  <a:pt x="157" y="293"/>
                  <a:pt x="152" y="289"/>
                  <a:pt x="154" y="288"/>
                </a:cubicBezTo>
                <a:cubicBezTo>
                  <a:pt x="156" y="286"/>
                  <a:pt x="158" y="293"/>
                  <a:pt x="157" y="293"/>
                </a:cubicBezTo>
                <a:close/>
                <a:moveTo>
                  <a:pt x="158" y="227"/>
                </a:moveTo>
                <a:cubicBezTo>
                  <a:pt x="158" y="227"/>
                  <a:pt x="159" y="228"/>
                  <a:pt x="159" y="228"/>
                </a:cubicBezTo>
                <a:cubicBezTo>
                  <a:pt x="158" y="229"/>
                  <a:pt x="158" y="227"/>
                  <a:pt x="158" y="227"/>
                </a:cubicBezTo>
                <a:close/>
                <a:moveTo>
                  <a:pt x="180" y="198"/>
                </a:moveTo>
                <a:cubicBezTo>
                  <a:pt x="180" y="198"/>
                  <a:pt x="179" y="198"/>
                  <a:pt x="179" y="197"/>
                </a:cubicBezTo>
                <a:cubicBezTo>
                  <a:pt x="180" y="197"/>
                  <a:pt x="181" y="198"/>
                  <a:pt x="180" y="198"/>
                </a:cubicBezTo>
                <a:close/>
                <a:moveTo>
                  <a:pt x="177" y="199"/>
                </a:moveTo>
                <a:cubicBezTo>
                  <a:pt x="178" y="199"/>
                  <a:pt x="179" y="201"/>
                  <a:pt x="177" y="200"/>
                </a:cubicBezTo>
                <a:cubicBezTo>
                  <a:pt x="177" y="200"/>
                  <a:pt x="177" y="200"/>
                  <a:pt x="177" y="199"/>
                </a:cubicBezTo>
                <a:close/>
                <a:moveTo>
                  <a:pt x="175" y="198"/>
                </a:moveTo>
                <a:cubicBezTo>
                  <a:pt x="177" y="197"/>
                  <a:pt x="174" y="198"/>
                  <a:pt x="175" y="198"/>
                </a:cubicBezTo>
                <a:close/>
                <a:moveTo>
                  <a:pt x="178" y="260"/>
                </a:moveTo>
                <a:cubicBezTo>
                  <a:pt x="176" y="259"/>
                  <a:pt x="176" y="258"/>
                  <a:pt x="175" y="257"/>
                </a:cubicBezTo>
                <a:cubicBezTo>
                  <a:pt x="176" y="257"/>
                  <a:pt x="178" y="259"/>
                  <a:pt x="178" y="260"/>
                </a:cubicBezTo>
                <a:close/>
                <a:moveTo>
                  <a:pt x="174" y="205"/>
                </a:moveTo>
                <a:cubicBezTo>
                  <a:pt x="173" y="205"/>
                  <a:pt x="175" y="206"/>
                  <a:pt x="174" y="207"/>
                </a:cubicBezTo>
                <a:cubicBezTo>
                  <a:pt x="174" y="207"/>
                  <a:pt x="172" y="205"/>
                  <a:pt x="174" y="205"/>
                </a:cubicBezTo>
                <a:close/>
                <a:moveTo>
                  <a:pt x="173" y="231"/>
                </a:moveTo>
                <a:cubicBezTo>
                  <a:pt x="171" y="230"/>
                  <a:pt x="174" y="232"/>
                  <a:pt x="173" y="231"/>
                </a:cubicBezTo>
                <a:close/>
                <a:moveTo>
                  <a:pt x="170" y="230"/>
                </a:moveTo>
                <a:cubicBezTo>
                  <a:pt x="171" y="230"/>
                  <a:pt x="172" y="233"/>
                  <a:pt x="171" y="234"/>
                </a:cubicBezTo>
                <a:cubicBezTo>
                  <a:pt x="170" y="235"/>
                  <a:pt x="168" y="231"/>
                  <a:pt x="170" y="230"/>
                </a:cubicBezTo>
                <a:close/>
                <a:moveTo>
                  <a:pt x="167" y="193"/>
                </a:moveTo>
                <a:cubicBezTo>
                  <a:pt x="168" y="192"/>
                  <a:pt x="169" y="194"/>
                  <a:pt x="168" y="195"/>
                </a:cubicBezTo>
                <a:cubicBezTo>
                  <a:pt x="167" y="195"/>
                  <a:pt x="167" y="193"/>
                  <a:pt x="167" y="193"/>
                </a:cubicBezTo>
                <a:close/>
                <a:moveTo>
                  <a:pt x="168" y="274"/>
                </a:moveTo>
                <a:cubicBezTo>
                  <a:pt x="167" y="273"/>
                  <a:pt x="167" y="272"/>
                  <a:pt x="166" y="272"/>
                </a:cubicBezTo>
                <a:cubicBezTo>
                  <a:pt x="167" y="272"/>
                  <a:pt x="168" y="273"/>
                  <a:pt x="168" y="274"/>
                </a:cubicBezTo>
                <a:close/>
                <a:moveTo>
                  <a:pt x="166" y="208"/>
                </a:moveTo>
                <a:cubicBezTo>
                  <a:pt x="166" y="208"/>
                  <a:pt x="166" y="208"/>
                  <a:pt x="166" y="207"/>
                </a:cubicBezTo>
                <a:cubicBezTo>
                  <a:pt x="166" y="206"/>
                  <a:pt x="168" y="208"/>
                  <a:pt x="166" y="208"/>
                </a:cubicBezTo>
                <a:close/>
                <a:moveTo>
                  <a:pt x="167" y="224"/>
                </a:moveTo>
                <a:cubicBezTo>
                  <a:pt x="165" y="222"/>
                  <a:pt x="165" y="218"/>
                  <a:pt x="163" y="214"/>
                </a:cubicBezTo>
                <a:cubicBezTo>
                  <a:pt x="166" y="217"/>
                  <a:pt x="166" y="221"/>
                  <a:pt x="167" y="224"/>
                </a:cubicBezTo>
                <a:close/>
                <a:moveTo>
                  <a:pt x="166" y="338"/>
                </a:moveTo>
                <a:cubicBezTo>
                  <a:pt x="164" y="337"/>
                  <a:pt x="166" y="334"/>
                  <a:pt x="166" y="338"/>
                </a:cubicBezTo>
                <a:close/>
                <a:moveTo>
                  <a:pt x="163" y="266"/>
                </a:moveTo>
                <a:cubicBezTo>
                  <a:pt x="165" y="266"/>
                  <a:pt x="165" y="269"/>
                  <a:pt x="166" y="270"/>
                </a:cubicBezTo>
                <a:cubicBezTo>
                  <a:pt x="164" y="270"/>
                  <a:pt x="164" y="267"/>
                  <a:pt x="163" y="266"/>
                </a:cubicBezTo>
                <a:close/>
                <a:moveTo>
                  <a:pt x="161" y="230"/>
                </a:moveTo>
                <a:cubicBezTo>
                  <a:pt x="159" y="230"/>
                  <a:pt x="160" y="228"/>
                  <a:pt x="161" y="230"/>
                </a:cubicBezTo>
                <a:close/>
                <a:moveTo>
                  <a:pt x="162" y="222"/>
                </a:moveTo>
                <a:cubicBezTo>
                  <a:pt x="162" y="222"/>
                  <a:pt x="164" y="223"/>
                  <a:pt x="164" y="223"/>
                </a:cubicBezTo>
                <a:cubicBezTo>
                  <a:pt x="165" y="223"/>
                  <a:pt x="166" y="224"/>
                  <a:pt x="165" y="226"/>
                </a:cubicBezTo>
                <a:cubicBezTo>
                  <a:pt x="165" y="226"/>
                  <a:pt x="164" y="226"/>
                  <a:pt x="164" y="225"/>
                </a:cubicBezTo>
                <a:cubicBezTo>
                  <a:pt x="164" y="226"/>
                  <a:pt x="163" y="229"/>
                  <a:pt x="162" y="229"/>
                </a:cubicBezTo>
                <a:cubicBezTo>
                  <a:pt x="159" y="229"/>
                  <a:pt x="161" y="222"/>
                  <a:pt x="162" y="222"/>
                </a:cubicBezTo>
                <a:close/>
                <a:moveTo>
                  <a:pt x="162" y="231"/>
                </a:moveTo>
                <a:cubicBezTo>
                  <a:pt x="162" y="231"/>
                  <a:pt x="163" y="232"/>
                  <a:pt x="162" y="232"/>
                </a:cubicBezTo>
                <a:cubicBezTo>
                  <a:pt x="162" y="232"/>
                  <a:pt x="162" y="231"/>
                  <a:pt x="162" y="231"/>
                </a:cubicBezTo>
                <a:close/>
                <a:moveTo>
                  <a:pt x="163" y="344"/>
                </a:moveTo>
                <a:cubicBezTo>
                  <a:pt x="164" y="346"/>
                  <a:pt x="166" y="350"/>
                  <a:pt x="167" y="353"/>
                </a:cubicBezTo>
                <a:cubicBezTo>
                  <a:pt x="165" y="351"/>
                  <a:pt x="164" y="347"/>
                  <a:pt x="163" y="344"/>
                </a:cubicBezTo>
                <a:close/>
                <a:moveTo>
                  <a:pt x="167" y="354"/>
                </a:moveTo>
                <a:cubicBezTo>
                  <a:pt x="167" y="353"/>
                  <a:pt x="168" y="355"/>
                  <a:pt x="168" y="355"/>
                </a:cubicBezTo>
                <a:cubicBezTo>
                  <a:pt x="168" y="355"/>
                  <a:pt x="167" y="355"/>
                  <a:pt x="167" y="354"/>
                </a:cubicBezTo>
                <a:close/>
                <a:moveTo>
                  <a:pt x="170" y="358"/>
                </a:moveTo>
                <a:cubicBezTo>
                  <a:pt x="169" y="358"/>
                  <a:pt x="168" y="356"/>
                  <a:pt x="168" y="356"/>
                </a:cubicBezTo>
                <a:cubicBezTo>
                  <a:pt x="168" y="355"/>
                  <a:pt x="171" y="358"/>
                  <a:pt x="170" y="358"/>
                </a:cubicBezTo>
                <a:close/>
                <a:moveTo>
                  <a:pt x="171" y="267"/>
                </a:moveTo>
                <a:cubicBezTo>
                  <a:pt x="169" y="267"/>
                  <a:pt x="170" y="265"/>
                  <a:pt x="171" y="267"/>
                </a:cubicBezTo>
                <a:close/>
                <a:moveTo>
                  <a:pt x="173" y="269"/>
                </a:moveTo>
                <a:cubicBezTo>
                  <a:pt x="171" y="269"/>
                  <a:pt x="172" y="267"/>
                  <a:pt x="173" y="269"/>
                </a:cubicBezTo>
                <a:close/>
                <a:moveTo>
                  <a:pt x="173" y="268"/>
                </a:moveTo>
                <a:cubicBezTo>
                  <a:pt x="172" y="269"/>
                  <a:pt x="170" y="264"/>
                  <a:pt x="173" y="264"/>
                </a:cubicBezTo>
                <a:cubicBezTo>
                  <a:pt x="175" y="264"/>
                  <a:pt x="175" y="268"/>
                  <a:pt x="173" y="268"/>
                </a:cubicBezTo>
                <a:close/>
                <a:moveTo>
                  <a:pt x="177" y="280"/>
                </a:moveTo>
                <a:cubicBezTo>
                  <a:pt x="175" y="280"/>
                  <a:pt x="175" y="278"/>
                  <a:pt x="174" y="277"/>
                </a:cubicBezTo>
                <a:cubicBezTo>
                  <a:pt x="175" y="277"/>
                  <a:pt x="176" y="279"/>
                  <a:pt x="177" y="280"/>
                </a:cubicBezTo>
                <a:close/>
                <a:moveTo>
                  <a:pt x="179" y="434"/>
                </a:moveTo>
                <a:cubicBezTo>
                  <a:pt x="179" y="433"/>
                  <a:pt x="178" y="432"/>
                  <a:pt x="179" y="431"/>
                </a:cubicBezTo>
                <a:cubicBezTo>
                  <a:pt x="179" y="432"/>
                  <a:pt x="179" y="433"/>
                  <a:pt x="179" y="434"/>
                </a:cubicBezTo>
                <a:close/>
                <a:moveTo>
                  <a:pt x="178" y="387"/>
                </a:moveTo>
                <a:cubicBezTo>
                  <a:pt x="177" y="387"/>
                  <a:pt x="174" y="383"/>
                  <a:pt x="176" y="381"/>
                </a:cubicBezTo>
                <a:cubicBezTo>
                  <a:pt x="176" y="381"/>
                  <a:pt x="178" y="381"/>
                  <a:pt x="178" y="381"/>
                </a:cubicBezTo>
                <a:cubicBezTo>
                  <a:pt x="178" y="380"/>
                  <a:pt x="176" y="378"/>
                  <a:pt x="176" y="377"/>
                </a:cubicBezTo>
                <a:cubicBezTo>
                  <a:pt x="176" y="377"/>
                  <a:pt x="179" y="381"/>
                  <a:pt x="179" y="383"/>
                </a:cubicBezTo>
                <a:cubicBezTo>
                  <a:pt x="179" y="383"/>
                  <a:pt x="178" y="387"/>
                  <a:pt x="178" y="387"/>
                </a:cubicBezTo>
                <a:close/>
                <a:moveTo>
                  <a:pt x="178" y="354"/>
                </a:moveTo>
                <a:cubicBezTo>
                  <a:pt x="179" y="353"/>
                  <a:pt x="180" y="356"/>
                  <a:pt x="179" y="356"/>
                </a:cubicBezTo>
                <a:cubicBezTo>
                  <a:pt x="178" y="356"/>
                  <a:pt x="178" y="354"/>
                  <a:pt x="178" y="354"/>
                </a:cubicBezTo>
                <a:close/>
                <a:moveTo>
                  <a:pt x="181" y="290"/>
                </a:moveTo>
                <a:cubicBezTo>
                  <a:pt x="179" y="287"/>
                  <a:pt x="177" y="285"/>
                  <a:pt x="176" y="284"/>
                </a:cubicBezTo>
                <a:cubicBezTo>
                  <a:pt x="176" y="281"/>
                  <a:pt x="179" y="285"/>
                  <a:pt x="179" y="285"/>
                </a:cubicBezTo>
                <a:cubicBezTo>
                  <a:pt x="180" y="287"/>
                  <a:pt x="180" y="288"/>
                  <a:pt x="181" y="290"/>
                </a:cubicBezTo>
                <a:cubicBezTo>
                  <a:pt x="181" y="290"/>
                  <a:pt x="181" y="291"/>
                  <a:pt x="181" y="291"/>
                </a:cubicBezTo>
                <a:cubicBezTo>
                  <a:pt x="181" y="291"/>
                  <a:pt x="181" y="290"/>
                  <a:pt x="181" y="290"/>
                </a:cubicBezTo>
                <a:close/>
                <a:moveTo>
                  <a:pt x="182" y="217"/>
                </a:moveTo>
                <a:cubicBezTo>
                  <a:pt x="182" y="218"/>
                  <a:pt x="181" y="217"/>
                  <a:pt x="181" y="217"/>
                </a:cubicBezTo>
                <a:cubicBezTo>
                  <a:pt x="179" y="215"/>
                  <a:pt x="183" y="216"/>
                  <a:pt x="182" y="217"/>
                </a:cubicBezTo>
                <a:close/>
                <a:moveTo>
                  <a:pt x="310" y="745"/>
                </a:moveTo>
                <a:cubicBezTo>
                  <a:pt x="309" y="747"/>
                  <a:pt x="304" y="748"/>
                  <a:pt x="302" y="747"/>
                </a:cubicBezTo>
                <a:cubicBezTo>
                  <a:pt x="301" y="747"/>
                  <a:pt x="299" y="748"/>
                  <a:pt x="298" y="747"/>
                </a:cubicBezTo>
                <a:cubicBezTo>
                  <a:pt x="297" y="747"/>
                  <a:pt x="298" y="744"/>
                  <a:pt x="296" y="744"/>
                </a:cubicBezTo>
                <a:cubicBezTo>
                  <a:pt x="300" y="744"/>
                  <a:pt x="295" y="742"/>
                  <a:pt x="295" y="742"/>
                </a:cubicBezTo>
                <a:cubicBezTo>
                  <a:pt x="294" y="739"/>
                  <a:pt x="301" y="738"/>
                  <a:pt x="302" y="738"/>
                </a:cubicBezTo>
                <a:cubicBezTo>
                  <a:pt x="304" y="738"/>
                  <a:pt x="311" y="740"/>
                  <a:pt x="310" y="745"/>
                </a:cubicBezTo>
                <a:close/>
                <a:moveTo>
                  <a:pt x="295" y="179"/>
                </a:moveTo>
                <a:cubicBezTo>
                  <a:pt x="292" y="179"/>
                  <a:pt x="292" y="177"/>
                  <a:pt x="295" y="179"/>
                </a:cubicBezTo>
                <a:close/>
                <a:moveTo>
                  <a:pt x="292" y="164"/>
                </a:moveTo>
                <a:cubicBezTo>
                  <a:pt x="292" y="164"/>
                  <a:pt x="292" y="163"/>
                  <a:pt x="292" y="163"/>
                </a:cubicBezTo>
                <a:cubicBezTo>
                  <a:pt x="292" y="162"/>
                  <a:pt x="294" y="164"/>
                  <a:pt x="292" y="164"/>
                </a:cubicBezTo>
                <a:close/>
                <a:moveTo>
                  <a:pt x="295" y="173"/>
                </a:moveTo>
                <a:cubicBezTo>
                  <a:pt x="294" y="173"/>
                  <a:pt x="294" y="171"/>
                  <a:pt x="295" y="172"/>
                </a:cubicBezTo>
                <a:cubicBezTo>
                  <a:pt x="295" y="172"/>
                  <a:pt x="295" y="173"/>
                  <a:pt x="295" y="173"/>
                </a:cubicBezTo>
                <a:close/>
                <a:moveTo>
                  <a:pt x="293" y="108"/>
                </a:moveTo>
                <a:cubicBezTo>
                  <a:pt x="294" y="106"/>
                  <a:pt x="296" y="110"/>
                  <a:pt x="297" y="112"/>
                </a:cubicBezTo>
                <a:cubicBezTo>
                  <a:pt x="295" y="112"/>
                  <a:pt x="292" y="110"/>
                  <a:pt x="293" y="108"/>
                </a:cubicBezTo>
                <a:close/>
                <a:moveTo>
                  <a:pt x="296" y="183"/>
                </a:moveTo>
                <a:cubicBezTo>
                  <a:pt x="298" y="182"/>
                  <a:pt x="300" y="186"/>
                  <a:pt x="298" y="187"/>
                </a:cubicBezTo>
                <a:cubicBezTo>
                  <a:pt x="296" y="189"/>
                  <a:pt x="294" y="184"/>
                  <a:pt x="296" y="183"/>
                </a:cubicBezTo>
                <a:close/>
                <a:moveTo>
                  <a:pt x="297" y="144"/>
                </a:moveTo>
                <a:cubicBezTo>
                  <a:pt x="299" y="144"/>
                  <a:pt x="298" y="146"/>
                  <a:pt x="297" y="144"/>
                </a:cubicBezTo>
                <a:close/>
                <a:moveTo>
                  <a:pt x="300" y="188"/>
                </a:moveTo>
                <a:cubicBezTo>
                  <a:pt x="299" y="187"/>
                  <a:pt x="301" y="189"/>
                  <a:pt x="300" y="188"/>
                </a:cubicBezTo>
                <a:close/>
                <a:moveTo>
                  <a:pt x="301" y="225"/>
                </a:moveTo>
                <a:cubicBezTo>
                  <a:pt x="301" y="225"/>
                  <a:pt x="300" y="224"/>
                  <a:pt x="300" y="224"/>
                </a:cubicBezTo>
                <a:cubicBezTo>
                  <a:pt x="301" y="224"/>
                  <a:pt x="302" y="225"/>
                  <a:pt x="301" y="225"/>
                </a:cubicBezTo>
                <a:close/>
                <a:moveTo>
                  <a:pt x="300" y="518"/>
                </a:moveTo>
                <a:cubicBezTo>
                  <a:pt x="301" y="519"/>
                  <a:pt x="299" y="517"/>
                  <a:pt x="299" y="517"/>
                </a:cubicBezTo>
                <a:cubicBezTo>
                  <a:pt x="299" y="516"/>
                  <a:pt x="300" y="517"/>
                  <a:pt x="300" y="518"/>
                </a:cubicBezTo>
                <a:close/>
                <a:moveTo>
                  <a:pt x="300" y="733"/>
                </a:moveTo>
                <a:cubicBezTo>
                  <a:pt x="301" y="733"/>
                  <a:pt x="299" y="734"/>
                  <a:pt x="299" y="734"/>
                </a:cubicBezTo>
                <a:cubicBezTo>
                  <a:pt x="298" y="733"/>
                  <a:pt x="300" y="733"/>
                  <a:pt x="300" y="733"/>
                </a:cubicBezTo>
                <a:close/>
                <a:moveTo>
                  <a:pt x="298" y="724"/>
                </a:moveTo>
                <a:cubicBezTo>
                  <a:pt x="298" y="723"/>
                  <a:pt x="300" y="725"/>
                  <a:pt x="298" y="724"/>
                </a:cubicBezTo>
                <a:close/>
                <a:moveTo>
                  <a:pt x="297" y="681"/>
                </a:moveTo>
                <a:cubicBezTo>
                  <a:pt x="297" y="681"/>
                  <a:pt x="297" y="681"/>
                  <a:pt x="297" y="681"/>
                </a:cubicBezTo>
                <a:cubicBezTo>
                  <a:pt x="298" y="681"/>
                  <a:pt x="298" y="682"/>
                  <a:pt x="297" y="681"/>
                </a:cubicBezTo>
                <a:close/>
                <a:moveTo>
                  <a:pt x="303" y="683"/>
                </a:moveTo>
                <a:cubicBezTo>
                  <a:pt x="303" y="683"/>
                  <a:pt x="304" y="682"/>
                  <a:pt x="305" y="683"/>
                </a:cubicBezTo>
                <a:cubicBezTo>
                  <a:pt x="305" y="683"/>
                  <a:pt x="303" y="683"/>
                  <a:pt x="303" y="683"/>
                </a:cubicBezTo>
                <a:close/>
                <a:moveTo>
                  <a:pt x="304" y="731"/>
                </a:moveTo>
                <a:cubicBezTo>
                  <a:pt x="305" y="731"/>
                  <a:pt x="302" y="730"/>
                  <a:pt x="304" y="731"/>
                </a:cubicBezTo>
                <a:close/>
                <a:moveTo>
                  <a:pt x="303" y="675"/>
                </a:moveTo>
                <a:cubicBezTo>
                  <a:pt x="305" y="673"/>
                  <a:pt x="305" y="677"/>
                  <a:pt x="303" y="675"/>
                </a:cubicBezTo>
                <a:close/>
                <a:moveTo>
                  <a:pt x="302" y="671"/>
                </a:moveTo>
                <a:cubicBezTo>
                  <a:pt x="302" y="669"/>
                  <a:pt x="304" y="669"/>
                  <a:pt x="305" y="670"/>
                </a:cubicBezTo>
                <a:cubicBezTo>
                  <a:pt x="306" y="671"/>
                  <a:pt x="302" y="672"/>
                  <a:pt x="302" y="671"/>
                </a:cubicBezTo>
                <a:close/>
                <a:moveTo>
                  <a:pt x="304" y="158"/>
                </a:moveTo>
                <a:cubicBezTo>
                  <a:pt x="304" y="158"/>
                  <a:pt x="303" y="158"/>
                  <a:pt x="304" y="157"/>
                </a:cubicBezTo>
                <a:cubicBezTo>
                  <a:pt x="304" y="157"/>
                  <a:pt x="305" y="158"/>
                  <a:pt x="304" y="158"/>
                </a:cubicBezTo>
                <a:close/>
                <a:moveTo>
                  <a:pt x="304" y="613"/>
                </a:moveTo>
                <a:cubicBezTo>
                  <a:pt x="305" y="615"/>
                  <a:pt x="301" y="614"/>
                  <a:pt x="302" y="612"/>
                </a:cubicBezTo>
                <a:cubicBezTo>
                  <a:pt x="302" y="612"/>
                  <a:pt x="304" y="612"/>
                  <a:pt x="304" y="613"/>
                </a:cubicBezTo>
                <a:close/>
                <a:moveTo>
                  <a:pt x="305" y="735"/>
                </a:moveTo>
                <a:cubicBezTo>
                  <a:pt x="307" y="734"/>
                  <a:pt x="308" y="736"/>
                  <a:pt x="305" y="735"/>
                </a:cubicBezTo>
                <a:close/>
                <a:moveTo>
                  <a:pt x="307" y="737"/>
                </a:moveTo>
                <a:cubicBezTo>
                  <a:pt x="307" y="737"/>
                  <a:pt x="308" y="737"/>
                  <a:pt x="309" y="737"/>
                </a:cubicBezTo>
                <a:cubicBezTo>
                  <a:pt x="308" y="737"/>
                  <a:pt x="308" y="737"/>
                  <a:pt x="307" y="737"/>
                </a:cubicBezTo>
                <a:close/>
                <a:moveTo>
                  <a:pt x="311" y="752"/>
                </a:moveTo>
                <a:cubicBezTo>
                  <a:pt x="311" y="752"/>
                  <a:pt x="311" y="752"/>
                  <a:pt x="311" y="752"/>
                </a:cubicBezTo>
                <a:cubicBezTo>
                  <a:pt x="313" y="752"/>
                  <a:pt x="312" y="753"/>
                  <a:pt x="311" y="752"/>
                </a:cubicBezTo>
                <a:close/>
                <a:moveTo>
                  <a:pt x="314" y="737"/>
                </a:moveTo>
                <a:cubicBezTo>
                  <a:pt x="315" y="736"/>
                  <a:pt x="316" y="737"/>
                  <a:pt x="316" y="738"/>
                </a:cubicBezTo>
                <a:cubicBezTo>
                  <a:pt x="317" y="739"/>
                  <a:pt x="313" y="738"/>
                  <a:pt x="314" y="737"/>
                </a:cubicBezTo>
                <a:close/>
                <a:moveTo>
                  <a:pt x="313" y="737"/>
                </a:moveTo>
                <a:cubicBezTo>
                  <a:pt x="309" y="737"/>
                  <a:pt x="308" y="733"/>
                  <a:pt x="302" y="734"/>
                </a:cubicBezTo>
                <a:cubicBezTo>
                  <a:pt x="303" y="733"/>
                  <a:pt x="305" y="733"/>
                  <a:pt x="306" y="732"/>
                </a:cubicBezTo>
                <a:cubicBezTo>
                  <a:pt x="306" y="732"/>
                  <a:pt x="305" y="731"/>
                  <a:pt x="305" y="732"/>
                </a:cubicBezTo>
                <a:cubicBezTo>
                  <a:pt x="305" y="731"/>
                  <a:pt x="306" y="731"/>
                  <a:pt x="306" y="731"/>
                </a:cubicBezTo>
                <a:cubicBezTo>
                  <a:pt x="307" y="729"/>
                  <a:pt x="304" y="729"/>
                  <a:pt x="306" y="728"/>
                </a:cubicBezTo>
                <a:cubicBezTo>
                  <a:pt x="307" y="727"/>
                  <a:pt x="308" y="728"/>
                  <a:pt x="310" y="728"/>
                </a:cubicBezTo>
                <a:cubicBezTo>
                  <a:pt x="310" y="728"/>
                  <a:pt x="313" y="728"/>
                  <a:pt x="315" y="729"/>
                </a:cubicBezTo>
                <a:cubicBezTo>
                  <a:pt x="319" y="730"/>
                  <a:pt x="318" y="736"/>
                  <a:pt x="313" y="737"/>
                </a:cubicBezTo>
                <a:close/>
                <a:moveTo>
                  <a:pt x="306" y="205"/>
                </a:moveTo>
                <a:cubicBezTo>
                  <a:pt x="307" y="205"/>
                  <a:pt x="306" y="206"/>
                  <a:pt x="306" y="206"/>
                </a:cubicBezTo>
                <a:cubicBezTo>
                  <a:pt x="304" y="205"/>
                  <a:pt x="306" y="204"/>
                  <a:pt x="306" y="205"/>
                </a:cubicBezTo>
                <a:close/>
                <a:moveTo>
                  <a:pt x="305" y="103"/>
                </a:moveTo>
                <a:cubicBezTo>
                  <a:pt x="307" y="102"/>
                  <a:pt x="308" y="105"/>
                  <a:pt x="306" y="104"/>
                </a:cubicBezTo>
                <a:cubicBezTo>
                  <a:pt x="305" y="104"/>
                  <a:pt x="305" y="103"/>
                  <a:pt x="305" y="103"/>
                </a:cubicBezTo>
                <a:close/>
                <a:moveTo>
                  <a:pt x="311" y="167"/>
                </a:moveTo>
                <a:cubicBezTo>
                  <a:pt x="311" y="167"/>
                  <a:pt x="311" y="167"/>
                  <a:pt x="311" y="167"/>
                </a:cubicBezTo>
                <a:cubicBezTo>
                  <a:pt x="311" y="167"/>
                  <a:pt x="311" y="167"/>
                  <a:pt x="312" y="167"/>
                </a:cubicBezTo>
                <a:cubicBezTo>
                  <a:pt x="312" y="167"/>
                  <a:pt x="311" y="167"/>
                  <a:pt x="311" y="167"/>
                </a:cubicBezTo>
                <a:close/>
                <a:moveTo>
                  <a:pt x="310" y="638"/>
                </a:moveTo>
                <a:cubicBezTo>
                  <a:pt x="314" y="639"/>
                  <a:pt x="311" y="641"/>
                  <a:pt x="310" y="638"/>
                </a:cubicBezTo>
                <a:close/>
                <a:moveTo>
                  <a:pt x="311" y="123"/>
                </a:moveTo>
                <a:cubicBezTo>
                  <a:pt x="309" y="123"/>
                  <a:pt x="312" y="124"/>
                  <a:pt x="311" y="123"/>
                </a:cubicBezTo>
                <a:close/>
                <a:moveTo>
                  <a:pt x="310" y="111"/>
                </a:moveTo>
                <a:cubicBezTo>
                  <a:pt x="311" y="111"/>
                  <a:pt x="312" y="112"/>
                  <a:pt x="311" y="112"/>
                </a:cubicBezTo>
                <a:cubicBezTo>
                  <a:pt x="311" y="112"/>
                  <a:pt x="310" y="112"/>
                  <a:pt x="310" y="111"/>
                </a:cubicBezTo>
                <a:close/>
                <a:moveTo>
                  <a:pt x="308" y="612"/>
                </a:moveTo>
                <a:cubicBezTo>
                  <a:pt x="308" y="611"/>
                  <a:pt x="310" y="612"/>
                  <a:pt x="310" y="612"/>
                </a:cubicBezTo>
                <a:cubicBezTo>
                  <a:pt x="311" y="614"/>
                  <a:pt x="308" y="613"/>
                  <a:pt x="308" y="612"/>
                </a:cubicBezTo>
                <a:close/>
                <a:moveTo>
                  <a:pt x="316" y="436"/>
                </a:moveTo>
                <a:cubicBezTo>
                  <a:pt x="317" y="435"/>
                  <a:pt x="318" y="436"/>
                  <a:pt x="318" y="437"/>
                </a:cubicBezTo>
                <a:cubicBezTo>
                  <a:pt x="320" y="439"/>
                  <a:pt x="316" y="436"/>
                  <a:pt x="316" y="436"/>
                </a:cubicBezTo>
                <a:close/>
                <a:moveTo>
                  <a:pt x="317" y="526"/>
                </a:moveTo>
                <a:cubicBezTo>
                  <a:pt x="317" y="526"/>
                  <a:pt x="318" y="527"/>
                  <a:pt x="319" y="528"/>
                </a:cubicBezTo>
                <a:cubicBezTo>
                  <a:pt x="319" y="529"/>
                  <a:pt x="317" y="527"/>
                  <a:pt x="317" y="526"/>
                </a:cubicBezTo>
                <a:close/>
                <a:moveTo>
                  <a:pt x="316" y="682"/>
                </a:moveTo>
                <a:cubicBezTo>
                  <a:pt x="318" y="683"/>
                  <a:pt x="316" y="684"/>
                  <a:pt x="316" y="682"/>
                </a:cubicBezTo>
                <a:close/>
                <a:moveTo>
                  <a:pt x="315" y="197"/>
                </a:moveTo>
                <a:cubicBezTo>
                  <a:pt x="315" y="196"/>
                  <a:pt x="317" y="197"/>
                  <a:pt x="316" y="198"/>
                </a:cubicBezTo>
                <a:cubicBezTo>
                  <a:pt x="316" y="198"/>
                  <a:pt x="315" y="197"/>
                  <a:pt x="315" y="197"/>
                </a:cubicBezTo>
                <a:close/>
                <a:moveTo>
                  <a:pt x="315" y="98"/>
                </a:moveTo>
                <a:cubicBezTo>
                  <a:pt x="313" y="97"/>
                  <a:pt x="318" y="96"/>
                  <a:pt x="317" y="98"/>
                </a:cubicBezTo>
                <a:cubicBezTo>
                  <a:pt x="316" y="98"/>
                  <a:pt x="316" y="98"/>
                  <a:pt x="315" y="98"/>
                </a:cubicBezTo>
                <a:close/>
                <a:moveTo>
                  <a:pt x="314" y="99"/>
                </a:moveTo>
                <a:cubicBezTo>
                  <a:pt x="317" y="99"/>
                  <a:pt x="315" y="102"/>
                  <a:pt x="314" y="99"/>
                </a:cubicBezTo>
                <a:close/>
                <a:moveTo>
                  <a:pt x="314" y="129"/>
                </a:moveTo>
                <a:cubicBezTo>
                  <a:pt x="314" y="129"/>
                  <a:pt x="314" y="129"/>
                  <a:pt x="314" y="129"/>
                </a:cubicBezTo>
                <a:cubicBezTo>
                  <a:pt x="311" y="127"/>
                  <a:pt x="317" y="129"/>
                  <a:pt x="314" y="129"/>
                </a:cubicBezTo>
                <a:close/>
                <a:moveTo>
                  <a:pt x="313" y="166"/>
                </a:moveTo>
                <a:cubicBezTo>
                  <a:pt x="315" y="165"/>
                  <a:pt x="313" y="168"/>
                  <a:pt x="313" y="166"/>
                </a:cubicBezTo>
                <a:cubicBezTo>
                  <a:pt x="312" y="166"/>
                  <a:pt x="313" y="166"/>
                  <a:pt x="313" y="166"/>
                </a:cubicBezTo>
                <a:close/>
                <a:moveTo>
                  <a:pt x="313" y="636"/>
                </a:moveTo>
                <a:cubicBezTo>
                  <a:pt x="313" y="636"/>
                  <a:pt x="314" y="637"/>
                  <a:pt x="314" y="637"/>
                </a:cubicBezTo>
                <a:cubicBezTo>
                  <a:pt x="316" y="639"/>
                  <a:pt x="311" y="637"/>
                  <a:pt x="313" y="636"/>
                </a:cubicBezTo>
                <a:close/>
                <a:moveTo>
                  <a:pt x="316" y="540"/>
                </a:moveTo>
                <a:cubicBezTo>
                  <a:pt x="317" y="539"/>
                  <a:pt x="318" y="540"/>
                  <a:pt x="319" y="541"/>
                </a:cubicBezTo>
                <a:cubicBezTo>
                  <a:pt x="319" y="542"/>
                  <a:pt x="316" y="541"/>
                  <a:pt x="316" y="540"/>
                </a:cubicBezTo>
                <a:close/>
                <a:moveTo>
                  <a:pt x="318" y="161"/>
                </a:moveTo>
                <a:cubicBezTo>
                  <a:pt x="318" y="162"/>
                  <a:pt x="317" y="161"/>
                  <a:pt x="317" y="161"/>
                </a:cubicBezTo>
                <a:cubicBezTo>
                  <a:pt x="315" y="158"/>
                  <a:pt x="320" y="159"/>
                  <a:pt x="318" y="161"/>
                </a:cubicBezTo>
                <a:close/>
                <a:moveTo>
                  <a:pt x="317" y="121"/>
                </a:moveTo>
                <a:cubicBezTo>
                  <a:pt x="319" y="122"/>
                  <a:pt x="316" y="121"/>
                  <a:pt x="317" y="121"/>
                </a:cubicBezTo>
                <a:close/>
                <a:moveTo>
                  <a:pt x="318" y="139"/>
                </a:moveTo>
                <a:cubicBezTo>
                  <a:pt x="319" y="138"/>
                  <a:pt x="320" y="141"/>
                  <a:pt x="319" y="140"/>
                </a:cubicBezTo>
                <a:cubicBezTo>
                  <a:pt x="319" y="140"/>
                  <a:pt x="318" y="140"/>
                  <a:pt x="318" y="139"/>
                </a:cubicBezTo>
                <a:close/>
                <a:moveTo>
                  <a:pt x="318" y="103"/>
                </a:moveTo>
                <a:cubicBezTo>
                  <a:pt x="319" y="103"/>
                  <a:pt x="319" y="104"/>
                  <a:pt x="319" y="104"/>
                </a:cubicBezTo>
                <a:cubicBezTo>
                  <a:pt x="319" y="104"/>
                  <a:pt x="319" y="104"/>
                  <a:pt x="319" y="104"/>
                </a:cubicBezTo>
                <a:cubicBezTo>
                  <a:pt x="319" y="103"/>
                  <a:pt x="318" y="103"/>
                  <a:pt x="318" y="103"/>
                </a:cubicBezTo>
                <a:close/>
                <a:moveTo>
                  <a:pt x="319" y="603"/>
                </a:moveTo>
                <a:cubicBezTo>
                  <a:pt x="320" y="602"/>
                  <a:pt x="321" y="603"/>
                  <a:pt x="321" y="603"/>
                </a:cubicBezTo>
                <a:cubicBezTo>
                  <a:pt x="321" y="605"/>
                  <a:pt x="318" y="603"/>
                  <a:pt x="319" y="603"/>
                </a:cubicBezTo>
                <a:close/>
                <a:moveTo>
                  <a:pt x="322" y="158"/>
                </a:moveTo>
                <a:cubicBezTo>
                  <a:pt x="321" y="159"/>
                  <a:pt x="320" y="157"/>
                  <a:pt x="321" y="157"/>
                </a:cubicBezTo>
                <a:cubicBezTo>
                  <a:pt x="322" y="157"/>
                  <a:pt x="322" y="158"/>
                  <a:pt x="322" y="158"/>
                </a:cubicBezTo>
                <a:close/>
                <a:moveTo>
                  <a:pt x="322" y="131"/>
                </a:moveTo>
                <a:cubicBezTo>
                  <a:pt x="323" y="132"/>
                  <a:pt x="321" y="131"/>
                  <a:pt x="322" y="131"/>
                </a:cubicBezTo>
                <a:close/>
                <a:moveTo>
                  <a:pt x="321" y="762"/>
                </a:moveTo>
                <a:cubicBezTo>
                  <a:pt x="322" y="762"/>
                  <a:pt x="323" y="762"/>
                  <a:pt x="324" y="763"/>
                </a:cubicBezTo>
                <a:cubicBezTo>
                  <a:pt x="325" y="766"/>
                  <a:pt x="316" y="764"/>
                  <a:pt x="321" y="762"/>
                </a:cubicBezTo>
                <a:close/>
                <a:moveTo>
                  <a:pt x="328" y="213"/>
                </a:moveTo>
                <a:cubicBezTo>
                  <a:pt x="328" y="213"/>
                  <a:pt x="327" y="213"/>
                  <a:pt x="327" y="212"/>
                </a:cubicBezTo>
                <a:cubicBezTo>
                  <a:pt x="325" y="210"/>
                  <a:pt x="330" y="211"/>
                  <a:pt x="328" y="213"/>
                </a:cubicBezTo>
                <a:close/>
                <a:moveTo>
                  <a:pt x="326" y="141"/>
                </a:moveTo>
                <a:cubicBezTo>
                  <a:pt x="326" y="141"/>
                  <a:pt x="327" y="142"/>
                  <a:pt x="327" y="142"/>
                </a:cubicBezTo>
                <a:cubicBezTo>
                  <a:pt x="327" y="142"/>
                  <a:pt x="326" y="142"/>
                  <a:pt x="326" y="141"/>
                </a:cubicBezTo>
                <a:close/>
                <a:moveTo>
                  <a:pt x="340" y="128"/>
                </a:moveTo>
                <a:cubicBezTo>
                  <a:pt x="342" y="128"/>
                  <a:pt x="347" y="132"/>
                  <a:pt x="349" y="135"/>
                </a:cubicBezTo>
                <a:cubicBezTo>
                  <a:pt x="349" y="135"/>
                  <a:pt x="351" y="135"/>
                  <a:pt x="350" y="136"/>
                </a:cubicBezTo>
                <a:cubicBezTo>
                  <a:pt x="349" y="137"/>
                  <a:pt x="345" y="134"/>
                  <a:pt x="346" y="135"/>
                </a:cubicBezTo>
                <a:cubicBezTo>
                  <a:pt x="344" y="134"/>
                  <a:pt x="343" y="131"/>
                  <a:pt x="342" y="130"/>
                </a:cubicBezTo>
                <a:cubicBezTo>
                  <a:pt x="338" y="126"/>
                  <a:pt x="333" y="125"/>
                  <a:pt x="330" y="121"/>
                </a:cubicBezTo>
                <a:cubicBezTo>
                  <a:pt x="334" y="121"/>
                  <a:pt x="336" y="126"/>
                  <a:pt x="340" y="128"/>
                </a:cubicBezTo>
                <a:close/>
                <a:moveTo>
                  <a:pt x="331" y="113"/>
                </a:moveTo>
                <a:cubicBezTo>
                  <a:pt x="332" y="112"/>
                  <a:pt x="332" y="114"/>
                  <a:pt x="332" y="114"/>
                </a:cubicBezTo>
                <a:cubicBezTo>
                  <a:pt x="331" y="114"/>
                  <a:pt x="331" y="113"/>
                  <a:pt x="331" y="113"/>
                </a:cubicBezTo>
                <a:close/>
                <a:moveTo>
                  <a:pt x="335" y="82"/>
                </a:moveTo>
                <a:cubicBezTo>
                  <a:pt x="334" y="81"/>
                  <a:pt x="337" y="82"/>
                  <a:pt x="335" y="82"/>
                </a:cubicBezTo>
                <a:close/>
                <a:moveTo>
                  <a:pt x="337" y="101"/>
                </a:moveTo>
                <a:cubicBezTo>
                  <a:pt x="338" y="100"/>
                  <a:pt x="338" y="102"/>
                  <a:pt x="339" y="101"/>
                </a:cubicBezTo>
                <a:cubicBezTo>
                  <a:pt x="339" y="102"/>
                  <a:pt x="337" y="102"/>
                  <a:pt x="337" y="101"/>
                </a:cubicBezTo>
                <a:close/>
                <a:moveTo>
                  <a:pt x="355" y="124"/>
                </a:moveTo>
                <a:cubicBezTo>
                  <a:pt x="354" y="123"/>
                  <a:pt x="352" y="122"/>
                  <a:pt x="351" y="120"/>
                </a:cubicBezTo>
                <a:cubicBezTo>
                  <a:pt x="353" y="121"/>
                  <a:pt x="354" y="122"/>
                  <a:pt x="355" y="124"/>
                </a:cubicBezTo>
                <a:close/>
                <a:moveTo>
                  <a:pt x="353" y="90"/>
                </a:moveTo>
                <a:cubicBezTo>
                  <a:pt x="353" y="90"/>
                  <a:pt x="353" y="90"/>
                  <a:pt x="353" y="90"/>
                </a:cubicBezTo>
                <a:cubicBezTo>
                  <a:pt x="355" y="92"/>
                  <a:pt x="353" y="90"/>
                  <a:pt x="353" y="90"/>
                </a:cubicBezTo>
                <a:close/>
                <a:moveTo>
                  <a:pt x="366" y="123"/>
                </a:moveTo>
                <a:cubicBezTo>
                  <a:pt x="365" y="124"/>
                  <a:pt x="364" y="123"/>
                  <a:pt x="364" y="123"/>
                </a:cubicBezTo>
                <a:cubicBezTo>
                  <a:pt x="361" y="121"/>
                  <a:pt x="367" y="121"/>
                  <a:pt x="366" y="123"/>
                </a:cubicBezTo>
                <a:close/>
                <a:moveTo>
                  <a:pt x="365" y="109"/>
                </a:moveTo>
                <a:cubicBezTo>
                  <a:pt x="365" y="109"/>
                  <a:pt x="365" y="109"/>
                  <a:pt x="365" y="109"/>
                </a:cubicBezTo>
                <a:cubicBezTo>
                  <a:pt x="363" y="108"/>
                  <a:pt x="367" y="109"/>
                  <a:pt x="365" y="109"/>
                </a:cubicBezTo>
                <a:close/>
                <a:moveTo>
                  <a:pt x="364" y="93"/>
                </a:moveTo>
                <a:cubicBezTo>
                  <a:pt x="363" y="94"/>
                  <a:pt x="363" y="93"/>
                  <a:pt x="363" y="93"/>
                </a:cubicBezTo>
                <a:cubicBezTo>
                  <a:pt x="361" y="92"/>
                  <a:pt x="364" y="92"/>
                  <a:pt x="364" y="93"/>
                </a:cubicBezTo>
                <a:close/>
                <a:moveTo>
                  <a:pt x="363" y="131"/>
                </a:moveTo>
                <a:cubicBezTo>
                  <a:pt x="361" y="130"/>
                  <a:pt x="359" y="128"/>
                  <a:pt x="358" y="126"/>
                </a:cubicBezTo>
                <a:cubicBezTo>
                  <a:pt x="360" y="127"/>
                  <a:pt x="361" y="129"/>
                  <a:pt x="363" y="131"/>
                </a:cubicBezTo>
                <a:close/>
                <a:moveTo>
                  <a:pt x="368" y="604"/>
                </a:moveTo>
                <a:cubicBezTo>
                  <a:pt x="365" y="603"/>
                  <a:pt x="367" y="602"/>
                  <a:pt x="368" y="604"/>
                </a:cubicBezTo>
                <a:close/>
                <a:moveTo>
                  <a:pt x="367" y="364"/>
                </a:moveTo>
                <a:cubicBezTo>
                  <a:pt x="369" y="364"/>
                  <a:pt x="370" y="367"/>
                  <a:pt x="371" y="368"/>
                </a:cubicBezTo>
                <a:cubicBezTo>
                  <a:pt x="369" y="368"/>
                  <a:pt x="368" y="365"/>
                  <a:pt x="367" y="364"/>
                </a:cubicBezTo>
                <a:close/>
                <a:moveTo>
                  <a:pt x="367" y="638"/>
                </a:moveTo>
                <a:cubicBezTo>
                  <a:pt x="368" y="637"/>
                  <a:pt x="368" y="639"/>
                  <a:pt x="367" y="638"/>
                </a:cubicBezTo>
                <a:close/>
                <a:moveTo>
                  <a:pt x="373" y="642"/>
                </a:moveTo>
                <a:cubicBezTo>
                  <a:pt x="375" y="643"/>
                  <a:pt x="376" y="644"/>
                  <a:pt x="376" y="646"/>
                </a:cubicBezTo>
                <a:cubicBezTo>
                  <a:pt x="377" y="652"/>
                  <a:pt x="365" y="646"/>
                  <a:pt x="365" y="645"/>
                </a:cubicBezTo>
                <a:cubicBezTo>
                  <a:pt x="365" y="644"/>
                  <a:pt x="372" y="642"/>
                  <a:pt x="373" y="642"/>
                </a:cubicBezTo>
                <a:close/>
                <a:moveTo>
                  <a:pt x="374" y="562"/>
                </a:moveTo>
                <a:cubicBezTo>
                  <a:pt x="375" y="563"/>
                  <a:pt x="372" y="562"/>
                  <a:pt x="373" y="561"/>
                </a:cubicBezTo>
                <a:cubicBezTo>
                  <a:pt x="374" y="561"/>
                  <a:pt x="374" y="562"/>
                  <a:pt x="374" y="562"/>
                </a:cubicBezTo>
                <a:close/>
                <a:moveTo>
                  <a:pt x="374" y="444"/>
                </a:moveTo>
                <a:cubicBezTo>
                  <a:pt x="373" y="445"/>
                  <a:pt x="373" y="442"/>
                  <a:pt x="374" y="444"/>
                </a:cubicBezTo>
                <a:close/>
                <a:moveTo>
                  <a:pt x="372" y="582"/>
                </a:moveTo>
                <a:cubicBezTo>
                  <a:pt x="375" y="582"/>
                  <a:pt x="372" y="584"/>
                  <a:pt x="372" y="582"/>
                </a:cubicBezTo>
                <a:close/>
                <a:moveTo>
                  <a:pt x="371" y="374"/>
                </a:moveTo>
                <a:cubicBezTo>
                  <a:pt x="372" y="373"/>
                  <a:pt x="372" y="375"/>
                  <a:pt x="371" y="374"/>
                </a:cubicBezTo>
                <a:close/>
                <a:moveTo>
                  <a:pt x="365" y="654"/>
                </a:moveTo>
                <a:cubicBezTo>
                  <a:pt x="366" y="652"/>
                  <a:pt x="367" y="655"/>
                  <a:pt x="365" y="654"/>
                </a:cubicBezTo>
                <a:close/>
                <a:moveTo>
                  <a:pt x="366" y="661"/>
                </a:moveTo>
                <a:cubicBezTo>
                  <a:pt x="369" y="661"/>
                  <a:pt x="370" y="659"/>
                  <a:pt x="371" y="661"/>
                </a:cubicBezTo>
                <a:cubicBezTo>
                  <a:pt x="372" y="661"/>
                  <a:pt x="371" y="662"/>
                  <a:pt x="372" y="663"/>
                </a:cubicBezTo>
                <a:cubicBezTo>
                  <a:pt x="375" y="666"/>
                  <a:pt x="386" y="664"/>
                  <a:pt x="386" y="668"/>
                </a:cubicBezTo>
                <a:cubicBezTo>
                  <a:pt x="387" y="671"/>
                  <a:pt x="373" y="665"/>
                  <a:pt x="372" y="664"/>
                </a:cubicBezTo>
                <a:cubicBezTo>
                  <a:pt x="369" y="662"/>
                  <a:pt x="364" y="662"/>
                  <a:pt x="362" y="661"/>
                </a:cubicBezTo>
                <a:cubicBezTo>
                  <a:pt x="362" y="660"/>
                  <a:pt x="361" y="660"/>
                  <a:pt x="361" y="659"/>
                </a:cubicBezTo>
                <a:cubicBezTo>
                  <a:pt x="362" y="657"/>
                  <a:pt x="364" y="661"/>
                  <a:pt x="366" y="661"/>
                </a:cubicBezTo>
                <a:close/>
                <a:moveTo>
                  <a:pt x="377" y="623"/>
                </a:moveTo>
                <a:cubicBezTo>
                  <a:pt x="379" y="623"/>
                  <a:pt x="377" y="625"/>
                  <a:pt x="377" y="623"/>
                </a:cubicBezTo>
                <a:close/>
                <a:moveTo>
                  <a:pt x="385" y="646"/>
                </a:moveTo>
                <a:cubicBezTo>
                  <a:pt x="385" y="645"/>
                  <a:pt x="387" y="645"/>
                  <a:pt x="387" y="646"/>
                </a:cubicBezTo>
                <a:cubicBezTo>
                  <a:pt x="387" y="647"/>
                  <a:pt x="385" y="647"/>
                  <a:pt x="385" y="646"/>
                </a:cubicBezTo>
                <a:close/>
                <a:moveTo>
                  <a:pt x="387" y="661"/>
                </a:moveTo>
                <a:cubicBezTo>
                  <a:pt x="389" y="662"/>
                  <a:pt x="384" y="662"/>
                  <a:pt x="385" y="661"/>
                </a:cubicBezTo>
                <a:cubicBezTo>
                  <a:pt x="385" y="660"/>
                  <a:pt x="387" y="660"/>
                  <a:pt x="387" y="661"/>
                </a:cubicBezTo>
                <a:close/>
                <a:moveTo>
                  <a:pt x="385" y="654"/>
                </a:moveTo>
                <a:cubicBezTo>
                  <a:pt x="388" y="654"/>
                  <a:pt x="385" y="656"/>
                  <a:pt x="385" y="654"/>
                </a:cubicBezTo>
                <a:close/>
                <a:moveTo>
                  <a:pt x="380" y="671"/>
                </a:moveTo>
                <a:cubicBezTo>
                  <a:pt x="382" y="672"/>
                  <a:pt x="380" y="673"/>
                  <a:pt x="380" y="671"/>
                </a:cubicBezTo>
                <a:close/>
                <a:moveTo>
                  <a:pt x="379" y="676"/>
                </a:moveTo>
                <a:cubicBezTo>
                  <a:pt x="379" y="676"/>
                  <a:pt x="380" y="675"/>
                  <a:pt x="380" y="675"/>
                </a:cubicBezTo>
                <a:cubicBezTo>
                  <a:pt x="380" y="676"/>
                  <a:pt x="380" y="677"/>
                  <a:pt x="379" y="676"/>
                </a:cubicBezTo>
                <a:close/>
                <a:moveTo>
                  <a:pt x="378" y="669"/>
                </a:moveTo>
                <a:cubicBezTo>
                  <a:pt x="377" y="669"/>
                  <a:pt x="377" y="666"/>
                  <a:pt x="378" y="668"/>
                </a:cubicBezTo>
                <a:cubicBezTo>
                  <a:pt x="378" y="668"/>
                  <a:pt x="378" y="669"/>
                  <a:pt x="378" y="669"/>
                </a:cubicBezTo>
                <a:close/>
                <a:moveTo>
                  <a:pt x="366" y="677"/>
                </a:moveTo>
                <a:cubicBezTo>
                  <a:pt x="369" y="676"/>
                  <a:pt x="367" y="673"/>
                  <a:pt x="368" y="672"/>
                </a:cubicBezTo>
                <a:cubicBezTo>
                  <a:pt x="370" y="671"/>
                  <a:pt x="373" y="675"/>
                  <a:pt x="372" y="677"/>
                </a:cubicBezTo>
                <a:cubicBezTo>
                  <a:pt x="371" y="678"/>
                  <a:pt x="368" y="676"/>
                  <a:pt x="366" y="677"/>
                </a:cubicBezTo>
                <a:close/>
                <a:moveTo>
                  <a:pt x="369" y="695"/>
                </a:moveTo>
                <a:cubicBezTo>
                  <a:pt x="369" y="694"/>
                  <a:pt x="371" y="694"/>
                  <a:pt x="371" y="695"/>
                </a:cubicBezTo>
                <a:cubicBezTo>
                  <a:pt x="372" y="696"/>
                  <a:pt x="369" y="696"/>
                  <a:pt x="369" y="695"/>
                </a:cubicBezTo>
                <a:close/>
                <a:moveTo>
                  <a:pt x="365" y="733"/>
                </a:moveTo>
                <a:cubicBezTo>
                  <a:pt x="365" y="731"/>
                  <a:pt x="367" y="731"/>
                  <a:pt x="368" y="732"/>
                </a:cubicBezTo>
                <a:cubicBezTo>
                  <a:pt x="369" y="733"/>
                  <a:pt x="365" y="733"/>
                  <a:pt x="365" y="733"/>
                </a:cubicBezTo>
                <a:close/>
                <a:moveTo>
                  <a:pt x="364" y="734"/>
                </a:moveTo>
                <a:cubicBezTo>
                  <a:pt x="365" y="734"/>
                  <a:pt x="366" y="734"/>
                  <a:pt x="366" y="734"/>
                </a:cubicBezTo>
                <a:cubicBezTo>
                  <a:pt x="367" y="736"/>
                  <a:pt x="363" y="735"/>
                  <a:pt x="364" y="734"/>
                </a:cubicBezTo>
                <a:close/>
                <a:moveTo>
                  <a:pt x="363" y="683"/>
                </a:moveTo>
                <a:cubicBezTo>
                  <a:pt x="365" y="682"/>
                  <a:pt x="364" y="684"/>
                  <a:pt x="363" y="683"/>
                </a:cubicBezTo>
                <a:close/>
                <a:moveTo>
                  <a:pt x="361" y="684"/>
                </a:moveTo>
                <a:cubicBezTo>
                  <a:pt x="360" y="685"/>
                  <a:pt x="360" y="682"/>
                  <a:pt x="361" y="684"/>
                </a:cubicBezTo>
                <a:close/>
                <a:moveTo>
                  <a:pt x="360" y="465"/>
                </a:moveTo>
                <a:cubicBezTo>
                  <a:pt x="360" y="465"/>
                  <a:pt x="361" y="466"/>
                  <a:pt x="361" y="466"/>
                </a:cubicBezTo>
                <a:cubicBezTo>
                  <a:pt x="362" y="468"/>
                  <a:pt x="358" y="466"/>
                  <a:pt x="360" y="465"/>
                </a:cubicBezTo>
                <a:close/>
                <a:moveTo>
                  <a:pt x="361" y="695"/>
                </a:moveTo>
                <a:cubicBezTo>
                  <a:pt x="360" y="696"/>
                  <a:pt x="361" y="694"/>
                  <a:pt x="361" y="695"/>
                </a:cubicBezTo>
                <a:close/>
                <a:moveTo>
                  <a:pt x="364" y="650"/>
                </a:moveTo>
                <a:cubicBezTo>
                  <a:pt x="365" y="652"/>
                  <a:pt x="361" y="651"/>
                  <a:pt x="362" y="649"/>
                </a:cubicBezTo>
                <a:cubicBezTo>
                  <a:pt x="363" y="649"/>
                  <a:pt x="364" y="650"/>
                  <a:pt x="364" y="650"/>
                </a:cubicBezTo>
                <a:close/>
                <a:moveTo>
                  <a:pt x="365" y="376"/>
                </a:moveTo>
                <a:cubicBezTo>
                  <a:pt x="363" y="376"/>
                  <a:pt x="364" y="373"/>
                  <a:pt x="365" y="376"/>
                </a:cubicBezTo>
                <a:close/>
                <a:moveTo>
                  <a:pt x="361" y="355"/>
                </a:moveTo>
                <a:cubicBezTo>
                  <a:pt x="362" y="354"/>
                  <a:pt x="363" y="356"/>
                  <a:pt x="363" y="357"/>
                </a:cubicBezTo>
                <a:cubicBezTo>
                  <a:pt x="362" y="356"/>
                  <a:pt x="362" y="356"/>
                  <a:pt x="361" y="355"/>
                </a:cubicBezTo>
                <a:close/>
                <a:moveTo>
                  <a:pt x="356" y="702"/>
                </a:moveTo>
                <a:cubicBezTo>
                  <a:pt x="359" y="702"/>
                  <a:pt x="356" y="704"/>
                  <a:pt x="356" y="702"/>
                </a:cubicBezTo>
                <a:close/>
                <a:moveTo>
                  <a:pt x="356" y="683"/>
                </a:moveTo>
                <a:cubicBezTo>
                  <a:pt x="356" y="682"/>
                  <a:pt x="357" y="683"/>
                  <a:pt x="357" y="683"/>
                </a:cubicBezTo>
                <a:cubicBezTo>
                  <a:pt x="358" y="684"/>
                  <a:pt x="355" y="683"/>
                  <a:pt x="356" y="683"/>
                </a:cubicBezTo>
                <a:close/>
                <a:moveTo>
                  <a:pt x="359" y="708"/>
                </a:moveTo>
                <a:cubicBezTo>
                  <a:pt x="360" y="710"/>
                  <a:pt x="356" y="709"/>
                  <a:pt x="356" y="708"/>
                </a:cubicBezTo>
                <a:cubicBezTo>
                  <a:pt x="356" y="707"/>
                  <a:pt x="359" y="707"/>
                  <a:pt x="359" y="708"/>
                </a:cubicBezTo>
                <a:close/>
                <a:moveTo>
                  <a:pt x="358" y="153"/>
                </a:moveTo>
                <a:cubicBezTo>
                  <a:pt x="356" y="152"/>
                  <a:pt x="359" y="153"/>
                  <a:pt x="358" y="153"/>
                </a:cubicBezTo>
                <a:close/>
                <a:moveTo>
                  <a:pt x="358" y="538"/>
                </a:moveTo>
                <a:cubicBezTo>
                  <a:pt x="358" y="539"/>
                  <a:pt x="357" y="539"/>
                  <a:pt x="357" y="539"/>
                </a:cubicBezTo>
                <a:cubicBezTo>
                  <a:pt x="356" y="538"/>
                  <a:pt x="357" y="537"/>
                  <a:pt x="358" y="538"/>
                </a:cubicBezTo>
                <a:close/>
                <a:moveTo>
                  <a:pt x="359" y="673"/>
                </a:moveTo>
                <a:cubicBezTo>
                  <a:pt x="360" y="674"/>
                  <a:pt x="356" y="674"/>
                  <a:pt x="356" y="673"/>
                </a:cubicBezTo>
                <a:cubicBezTo>
                  <a:pt x="357" y="673"/>
                  <a:pt x="358" y="672"/>
                  <a:pt x="359" y="673"/>
                </a:cubicBezTo>
                <a:close/>
                <a:moveTo>
                  <a:pt x="359" y="678"/>
                </a:moveTo>
                <a:cubicBezTo>
                  <a:pt x="359" y="678"/>
                  <a:pt x="356" y="681"/>
                  <a:pt x="355" y="681"/>
                </a:cubicBezTo>
                <a:cubicBezTo>
                  <a:pt x="354" y="682"/>
                  <a:pt x="349" y="681"/>
                  <a:pt x="349" y="680"/>
                </a:cubicBezTo>
                <a:cubicBezTo>
                  <a:pt x="348" y="680"/>
                  <a:pt x="348" y="677"/>
                  <a:pt x="348" y="675"/>
                </a:cubicBezTo>
                <a:cubicBezTo>
                  <a:pt x="349" y="674"/>
                  <a:pt x="352" y="674"/>
                  <a:pt x="355" y="675"/>
                </a:cubicBezTo>
                <a:cubicBezTo>
                  <a:pt x="356" y="675"/>
                  <a:pt x="359" y="677"/>
                  <a:pt x="359" y="678"/>
                </a:cubicBezTo>
                <a:close/>
                <a:moveTo>
                  <a:pt x="354" y="738"/>
                </a:moveTo>
                <a:cubicBezTo>
                  <a:pt x="355" y="738"/>
                  <a:pt x="356" y="738"/>
                  <a:pt x="356" y="739"/>
                </a:cubicBezTo>
                <a:cubicBezTo>
                  <a:pt x="357" y="741"/>
                  <a:pt x="353" y="739"/>
                  <a:pt x="354" y="738"/>
                </a:cubicBezTo>
                <a:close/>
                <a:moveTo>
                  <a:pt x="354" y="757"/>
                </a:moveTo>
                <a:cubicBezTo>
                  <a:pt x="354" y="757"/>
                  <a:pt x="356" y="757"/>
                  <a:pt x="356" y="757"/>
                </a:cubicBezTo>
                <a:cubicBezTo>
                  <a:pt x="357" y="759"/>
                  <a:pt x="353" y="759"/>
                  <a:pt x="354" y="757"/>
                </a:cubicBezTo>
                <a:close/>
                <a:moveTo>
                  <a:pt x="349" y="683"/>
                </a:moveTo>
                <a:cubicBezTo>
                  <a:pt x="350" y="681"/>
                  <a:pt x="354" y="683"/>
                  <a:pt x="354" y="685"/>
                </a:cubicBezTo>
                <a:cubicBezTo>
                  <a:pt x="355" y="688"/>
                  <a:pt x="347" y="685"/>
                  <a:pt x="349" y="683"/>
                </a:cubicBezTo>
                <a:close/>
                <a:moveTo>
                  <a:pt x="348" y="704"/>
                </a:moveTo>
                <a:cubicBezTo>
                  <a:pt x="350" y="703"/>
                  <a:pt x="349" y="705"/>
                  <a:pt x="348" y="704"/>
                </a:cubicBezTo>
                <a:close/>
                <a:moveTo>
                  <a:pt x="352" y="646"/>
                </a:moveTo>
                <a:cubicBezTo>
                  <a:pt x="355" y="644"/>
                  <a:pt x="355" y="648"/>
                  <a:pt x="352" y="646"/>
                </a:cubicBezTo>
                <a:close/>
                <a:moveTo>
                  <a:pt x="354" y="388"/>
                </a:moveTo>
                <a:cubicBezTo>
                  <a:pt x="354" y="388"/>
                  <a:pt x="355" y="389"/>
                  <a:pt x="355" y="389"/>
                </a:cubicBezTo>
                <a:cubicBezTo>
                  <a:pt x="355" y="390"/>
                  <a:pt x="354" y="389"/>
                  <a:pt x="354" y="388"/>
                </a:cubicBezTo>
                <a:close/>
                <a:moveTo>
                  <a:pt x="354" y="626"/>
                </a:moveTo>
                <a:cubicBezTo>
                  <a:pt x="354" y="629"/>
                  <a:pt x="352" y="631"/>
                  <a:pt x="350" y="630"/>
                </a:cubicBezTo>
                <a:cubicBezTo>
                  <a:pt x="350" y="630"/>
                  <a:pt x="349" y="629"/>
                  <a:pt x="349" y="629"/>
                </a:cubicBezTo>
                <a:cubicBezTo>
                  <a:pt x="348" y="630"/>
                  <a:pt x="348" y="632"/>
                  <a:pt x="346" y="632"/>
                </a:cubicBezTo>
                <a:cubicBezTo>
                  <a:pt x="343" y="632"/>
                  <a:pt x="342" y="629"/>
                  <a:pt x="341" y="626"/>
                </a:cubicBezTo>
                <a:cubicBezTo>
                  <a:pt x="341" y="626"/>
                  <a:pt x="340" y="625"/>
                  <a:pt x="339" y="624"/>
                </a:cubicBezTo>
                <a:cubicBezTo>
                  <a:pt x="340" y="625"/>
                  <a:pt x="339" y="621"/>
                  <a:pt x="340" y="621"/>
                </a:cubicBezTo>
                <a:cubicBezTo>
                  <a:pt x="340" y="621"/>
                  <a:pt x="341" y="621"/>
                  <a:pt x="341" y="621"/>
                </a:cubicBezTo>
                <a:cubicBezTo>
                  <a:pt x="342" y="621"/>
                  <a:pt x="341" y="619"/>
                  <a:pt x="342" y="619"/>
                </a:cubicBezTo>
                <a:cubicBezTo>
                  <a:pt x="348" y="618"/>
                  <a:pt x="354" y="623"/>
                  <a:pt x="354" y="626"/>
                </a:cubicBezTo>
                <a:close/>
                <a:moveTo>
                  <a:pt x="346" y="657"/>
                </a:moveTo>
                <a:cubicBezTo>
                  <a:pt x="347" y="656"/>
                  <a:pt x="348" y="658"/>
                  <a:pt x="346" y="657"/>
                </a:cubicBezTo>
                <a:close/>
                <a:moveTo>
                  <a:pt x="341" y="652"/>
                </a:moveTo>
                <a:cubicBezTo>
                  <a:pt x="342" y="652"/>
                  <a:pt x="344" y="653"/>
                  <a:pt x="344" y="653"/>
                </a:cubicBezTo>
                <a:cubicBezTo>
                  <a:pt x="344" y="655"/>
                  <a:pt x="340" y="654"/>
                  <a:pt x="341" y="652"/>
                </a:cubicBezTo>
                <a:close/>
                <a:moveTo>
                  <a:pt x="332" y="599"/>
                </a:moveTo>
                <a:cubicBezTo>
                  <a:pt x="331" y="600"/>
                  <a:pt x="329" y="598"/>
                  <a:pt x="328" y="598"/>
                </a:cubicBezTo>
                <a:cubicBezTo>
                  <a:pt x="330" y="597"/>
                  <a:pt x="331" y="599"/>
                  <a:pt x="332" y="599"/>
                </a:cubicBezTo>
                <a:close/>
                <a:moveTo>
                  <a:pt x="328" y="470"/>
                </a:moveTo>
                <a:cubicBezTo>
                  <a:pt x="328" y="470"/>
                  <a:pt x="329" y="470"/>
                  <a:pt x="329" y="471"/>
                </a:cubicBezTo>
                <a:cubicBezTo>
                  <a:pt x="330" y="473"/>
                  <a:pt x="326" y="471"/>
                  <a:pt x="328" y="470"/>
                </a:cubicBezTo>
                <a:close/>
                <a:moveTo>
                  <a:pt x="331" y="572"/>
                </a:moveTo>
                <a:cubicBezTo>
                  <a:pt x="331" y="573"/>
                  <a:pt x="331" y="573"/>
                  <a:pt x="331" y="573"/>
                </a:cubicBezTo>
                <a:cubicBezTo>
                  <a:pt x="331" y="573"/>
                  <a:pt x="331" y="573"/>
                  <a:pt x="331" y="573"/>
                </a:cubicBezTo>
                <a:cubicBezTo>
                  <a:pt x="331" y="572"/>
                  <a:pt x="331" y="572"/>
                  <a:pt x="331" y="572"/>
                </a:cubicBezTo>
                <a:close/>
                <a:moveTo>
                  <a:pt x="334" y="652"/>
                </a:moveTo>
                <a:cubicBezTo>
                  <a:pt x="335" y="654"/>
                  <a:pt x="331" y="654"/>
                  <a:pt x="331" y="652"/>
                </a:cubicBezTo>
                <a:cubicBezTo>
                  <a:pt x="332" y="651"/>
                  <a:pt x="333" y="652"/>
                  <a:pt x="334" y="652"/>
                </a:cubicBezTo>
                <a:close/>
                <a:moveTo>
                  <a:pt x="334" y="375"/>
                </a:moveTo>
                <a:cubicBezTo>
                  <a:pt x="333" y="374"/>
                  <a:pt x="334" y="377"/>
                  <a:pt x="334" y="375"/>
                </a:cubicBezTo>
                <a:close/>
                <a:moveTo>
                  <a:pt x="331" y="609"/>
                </a:moveTo>
                <a:cubicBezTo>
                  <a:pt x="332" y="609"/>
                  <a:pt x="332" y="611"/>
                  <a:pt x="331" y="609"/>
                </a:cubicBezTo>
                <a:close/>
                <a:moveTo>
                  <a:pt x="331" y="720"/>
                </a:moveTo>
                <a:cubicBezTo>
                  <a:pt x="336" y="719"/>
                  <a:pt x="336" y="723"/>
                  <a:pt x="331" y="720"/>
                </a:cubicBezTo>
                <a:close/>
                <a:moveTo>
                  <a:pt x="332" y="660"/>
                </a:moveTo>
                <a:cubicBezTo>
                  <a:pt x="333" y="659"/>
                  <a:pt x="335" y="661"/>
                  <a:pt x="337" y="662"/>
                </a:cubicBezTo>
                <a:cubicBezTo>
                  <a:pt x="335" y="663"/>
                  <a:pt x="333" y="661"/>
                  <a:pt x="332" y="660"/>
                </a:cubicBezTo>
                <a:close/>
                <a:moveTo>
                  <a:pt x="334" y="653"/>
                </a:moveTo>
                <a:cubicBezTo>
                  <a:pt x="334" y="651"/>
                  <a:pt x="339" y="651"/>
                  <a:pt x="339" y="653"/>
                </a:cubicBezTo>
                <a:cubicBezTo>
                  <a:pt x="340" y="657"/>
                  <a:pt x="334" y="655"/>
                  <a:pt x="334" y="653"/>
                </a:cubicBezTo>
                <a:close/>
                <a:moveTo>
                  <a:pt x="337" y="184"/>
                </a:moveTo>
                <a:cubicBezTo>
                  <a:pt x="338" y="185"/>
                  <a:pt x="336" y="183"/>
                  <a:pt x="337" y="184"/>
                </a:cubicBezTo>
                <a:close/>
                <a:moveTo>
                  <a:pt x="338" y="594"/>
                </a:moveTo>
                <a:cubicBezTo>
                  <a:pt x="339" y="594"/>
                  <a:pt x="337" y="594"/>
                  <a:pt x="337" y="594"/>
                </a:cubicBezTo>
                <a:cubicBezTo>
                  <a:pt x="337" y="593"/>
                  <a:pt x="338" y="593"/>
                  <a:pt x="338" y="594"/>
                </a:cubicBezTo>
                <a:close/>
                <a:moveTo>
                  <a:pt x="337" y="603"/>
                </a:moveTo>
                <a:cubicBezTo>
                  <a:pt x="338" y="605"/>
                  <a:pt x="334" y="603"/>
                  <a:pt x="335" y="602"/>
                </a:cubicBezTo>
                <a:cubicBezTo>
                  <a:pt x="336" y="601"/>
                  <a:pt x="337" y="602"/>
                  <a:pt x="337" y="603"/>
                </a:cubicBezTo>
                <a:close/>
                <a:moveTo>
                  <a:pt x="342" y="350"/>
                </a:moveTo>
                <a:cubicBezTo>
                  <a:pt x="343" y="353"/>
                  <a:pt x="337" y="349"/>
                  <a:pt x="339" y="348"/>
                </a:cubicBezTo>
                <a:cubicBezTo>
                  <a:pt x="340" y="347"/>
                  <a:pt x="342" y="350"/>
                  <a:pt x="342" y="350"/>
                </a:cubicBezTo>
                <a:close/>
                <a:moveTo>
                  <a:pt x="339" y="147"/>
                </a:moveTo>
                <a:cubicBezTo>
                  <a:pt x="340" y="146"/>
                  <a:pt x="343" y="150"/>
                  <a:pt x="340" y="149"/>
                </a:cubicBezTo>
                <a:cubicBezTo>
                  <a:pt x="340" y="148"/>
                  <a:pt x="339" y="148"/>
                  <a:pt x="339" y="147"/>
                </a:cubicBezTo>
                <a:close/>
                <a:moveTo>
                  <a:pt x="340" y="607"/>
                </a:moveTo>
                <a:cubicBezTo>
                  <a:pt x="343" y="607"/>
                  <a:pt x="340" y="609"/>
                  <a:pt x="340" y="607"/>
                </a:cubicBezTo>
                <a:close/>
                <a:moveTo>
                  <a:pt x="339" y="475"/>
                </a:moveTo>
                <a:cubicBezTo>
                  <a:pt x="340" y="474"/>
                  <a:pt x="341" y="475"/>
                  <a:pt x="341" y="475"/>
                </a:cubicBezTo>
                <a:cubicBezTo>
                  <a:pt x="342" y="477"/>
                  <a:pt x="339" y="476"/>
                  <a:pt x="339" y="475"/>
                </a:cubicBezTo>
                <a:close/>
                <a:moveTo>
                  <a:pt x="339" y="735"/>
                </a:moveTo>
                <a:cubicBezTo>
                  <a:pt x="340" y="735"/>
                  <a:pt x="340" y="736"/>
                  <a:pt x="339" y="735"/>
                </a:cubicBezTo>
                <a:cubicBezTo>
                  <a:pt x="339" y="735"/>
                  <a:pt x="339" y="735"/>
                  <a:pt x="339" y="735"/>
                </a:cubicBezTo>
                <a:close/>
                <a:moveTo>
                  <a:pt x="344" y="348"/>
                </a:moveTo>
                <a:cubicBezTo>
                  <a:pt x="344" y="348"/>
                  <a:pt x="343" y="346"/>
                  <a:pt x="344" y="347"/>
                </a:cubicBezTo>
                <a:cubicBezTo>
                  <a:pt x="344" y="347"/>
                  <a:pt x="345" y="348"/>
                  <a:pt x="344" y="348"/>
                </a:cubicBezTo>
                <a:close/>
                <a:moveTo>
                  <a:pt x="346" y="610"/>
                </a:moveTo>
                <a:cubicBezTo>
                  <a:pt x="345" y="612"/>
                  <a:pt x="344" y="609"/>
                  <a:pt x="342" y="609"/>
                </a:cubicBezTo>
                <a:cubicBezTo>
                  <a:pt x="344" y="608"/>
                  <a:pt x="345" y="610"/>
                  <a:pt x="346" y="610"/>
                </a:cubicBezTo>
                <a:close/>
                <a:moveTo>
                  <a:pt x="344" y="176"/>
                </a:moveTo>
                <a:cubicBezTo>
                  <a:pt x="343" y="176"/>
                  <a:pt x="343" y="176"/>
                  <a:pt x="342" y="175"/>
                </a:cubicBezTo>
                <a:cubicBezTo>
                  <a:pt x="341" y="174"/>
                  <a:pt x="344" y="174"/>
                  <a:pt x="344" y="176"/>
                </a:cubicBezTo>
                <a:close/>
                <a:moveTo>
                  <a:pt x="347" y="192"/>
                </a:moveTo>
                <a:cubicBezTo>
                  <a:pt x="347" y="192"/>
                  <a:pt x="347" y="192"/>
                  <a:pt x="347" y="192"/>
                </a:cubicBezTo>
                <a:cubicBezTo>
                  <a:pt x="347" y="192"/>
                  <a:pt x="347" y="192"/>
                  <a:pt x="347" y="192"/>
                </a:cubicBezTo>
                <a:close/>
                <a:moveTo>
                  <a:pt x="348" y="594"/>
                </a:moveTo>
                <a:cubicBezTo>
                  <a:pt x="348" y="593"/>
                  <a:pt x="349" y="594"/>
                  <a:pt x="349" y="594"/>
                </a:cubicBezTo>
                <a:cubicBezTo>
                  <a:pt x="350" y="596"/>
                  <a:pt x="347" y="595"/>
                  <a:pt x="348" y="594"/>
                </a:cubicBezTo>
                <a:close/>
                <a:moveTo>
                  <a:pt x="348" y="564"/>
                </a:moveTo>
                <a:cubicBezTo>
                  <a:pt x="349" y="563"/>
                  <a:pt x="351" y="564"/>
                  <a:pt x="351" y="565"/>
                </a:cubicBezTo>
                <a:cubicBezTo>
                  <a:pt x="352" y="569"/>
                  <a:pt x="347" y="566"/>
                  <a:pt x="348" y="564"/>
                </a:cubicBezTo>
                <a:close/>
                <a:moveTo>
                  <a:pt x="349" y="471"/>
                </a:moveTo>
                <a:cubicBezTo>
                  <a:pt x="350" y="472"/>
                  <a:pt x="349" y="470"/>
                  <a:pt x="349" y="471"/>
                </a:cubicBezTo>
                <a:close/>
                <a:moveTo>
                  <a:pt x="348" y="85"/>
                </a:moveTo>
                <a:cubicBezTo>
                  <a:pt x="349" y="85"/>
                  <a:pt x="350" y="87"/>
                  <a:pt x="351" y="87"/>
                </a:cubicBezTo>
                <a:cubicBezTo>
                  <a:pt x="350" y="87"/>
                  <a:pt x="349" y="86"/>
                  <a:pt x="348" y="85"/>
                </a:cubicBezTo>
                <a:close/>
                <a:moveTo>
                  <a:pt x="330" y="414"/>
                </a:moveTo>
                <a:cubicBezTo>
                  <a:pt x="331" y="414"/>
                  <a:pt x="331" y="415"/>
                  <a:pt x="330" y="416"/>
                </a:cubicBezTo>
                <a:cubicBezTo>
                  <a:pt x="325" y="416"/>
                  <a:pt x="329" y="409"/>
                  <a:pt x="330" y="414"/>
                </a:cubicBezTo>
                <a:close/>
                <a:moveTo>
                  <a:pt x="328" y="177"/>
                </a:moveTo>
                <a:cubicBezTo>
                  <a:pt x="328" y="176"/>
                  <a:pt x="329" y="178"/>
                  <a:pt x="328" y="177"/>
                </a:cubicBezTo>
                <a:close/>
                <a:moveTo>
                  <a:pt x="328" y="658"/>
                </a:moveTo>
                <a:cubicBezTo>
                  <a:pt x="327" y="658"/>
                  <a:pt x="326" y="657"/>
                  <a:pt x="326" y="657"/>
                </a:cubicBezTo>
                <a:cubicBezTo>
                  <a:pt x="327" y="657"/>
                  <a:pt x="327" y="657"/>
                  <a:pt x="328" y="658"/>
                </a:cubicBezTo>
                <a:close/>
                <a:moveTo>
                  <a:pt x="326" y="743"/>
                </a:moveTo>
                <a:cubicBezTo>
                  <a:pt x="325" y="744"/>
                  <a:pt x="324" y="742"/>
                  <a:pt x="326" y="743"/>
                </a:cubicBezTo>
                <a:close/>
                <a:moveTo>
                  <a:pt x="325" y="755"/>
                </a:moveTo>
                <a:cubicBezTo>
                  <a:pt x="325" y="755"/>
                  <a:pt x="326" y="755"/>
                  <a:pt x="326" y="756"/>
                </a:cubicBezTo>
                <a:cubicBezTo>
                  <a:pt x="326" y="758"/>
                  <a:pt x="324" y="753"/>
                  <a:pt x="325" y="755"/>
                </a:cubicBezTo>
                <a:close/>
                <a:moveTo>
                  <a:pt x="325" y="738"/>
                </a:moveTo>
                <a:cubicBezTo>
                  <a:pt x="325" y="737"/>
                  <a:pt x="327" y="737"/>
                  <a:pt x="327" y="738"/>
                </a:cubicBezTo>
                <a:cubicBezTo>
                  <a:pt x="328" y="739"/>
                  <a:pt x="326" y="738"/>
                  <a:pt x="325" y="738"/>
                </a:cubicBezTo>
                <a:close/>
                <a:moveTo>
                  <a:pt x="325" y="124"/>
                </a:moveTo>
                <a:cubicBezTo>
                  <a:pt x="325" y="124"/>
                  <a:pt x="325" y="124"/>
                  <a:pt x="325" y="124"/>
                </a:cubicBezTo>
                <a:cubicBezTo>
                  <a:pt x="323" y="123"/>
                  <a:pt x="328" y="123"/>
                  <a:pt x="325" y="124"/>
                </a:cubicBezTo>
                <a:close/>
                <a:moveTo>
                  <a:pt x="326" y="382"/>
                </a:moveTo>
                <a:cubicBezTo>
                  <a:pt x="326" y="383"/>
                  <a:pt x="325" y="381"/>
                  <a:pt x="326" y="382"/>
                </a:cubicBezTo>
                <a:close/>
                <a:moveTo>
                  <a:pt x="326" y="596"/>
                </a:moveTo>
                <a:cubicBezTo>
                  <a:pt x="327" y="597"/>
                  <a:pt x="323" y="595"/>
                  <a:pt x="324" y="595"/>
                </a:cubicBezTo>
                <a:cubicBezTo>
                  <a:pt x="325" y="594"/>
                  <a:pt x="326" y="596"/>
                  <a:pt x="326" y="596"/>
                </a:cubicBezTo>
                <a:close/>
                <a:moveTo>
                  <a:pt x="326" y="759"/>
                </a:moveTo>
                <a:cubicBezTo>
                  <a:pt x="327" y="760"/>
                  <a:pt x="323" y="760"/>
                  <a:pt x="324" y="758"/>
                </a:cubicBezTo>
                <a:cubicBezTo>
                  <a:pt x="324" y="758"/>
                  <a:pt x="326" y="758"/>
                  <a:pt x="326" y="759"/>
                </a:cubicBezTo>
                <a:close/>
                <a:moveTo>
                  <a:pt x="321" y="769"/>
                </a:moveTo>
                <a:cubicBezTo>
                  <a:pt x="321" y="768"/>
                  <a:pt x="323" y="769"/>
                  <a:pt x="323" y="769"/>
                </a:cubicBezTo>
                <a:cubicBezTo>
                  <a:pt x="323" y="770"/>
                  <a:pt x="322" y="769"/>
                  <a:pt x="321" y="769"/>
                </a:cubicBezTo>
                <a:close/>
                <a:moveTo>
                  <a:pt x="323" y="770"/>
                </a:moveTo>
                <a:cubicBezTo>
                  <a:pt x="324" y="768"/>
                  <a:pt x="330" y="767"/>
                  <a:pt x="330" y="770"/>
                </a:cubicBezTo>
                <a:cubicBezTo>
                  <a:pt x="330" y="773"/>
                  <a:pt x="323" y="772"/>
                  <a:pt x="323" y="770"/>
                </a:cubicBezTo>
                <a:close/>
                <a:moveTo>
                  <a:pt x="336" y="777"/>
                </a:moveTo>
                <a:cubicBezTo>
                  <a:pt x="337" y="778"/>
                  <a:pt x="335" y="776"/>
                  <a:pt x="336" y="777"/>
                </a:cubicBezTo>
                <a:close/>
                <a:moveTo>
                  <a:pt x="326" y="757"/>
                </a:moveTo>
                <a:cubicBezTo>
                  <a:pt x="327" y="757"/>
                  <a:pt x="326" y="754"/>
                  <a:pt x="326" y="755"/>
                </a:cubicBezTo>
                <a:cubicBezTo>
                  <a:pt x="326" y="753"/>
                  <a:pt x="333" y="752"/>
                  <a:pt x="335" y="754"/>
                </a:cubicBezTo>
                <a:cubicBezTo>
                  <a:pt x="335" y="754"/>
                  <a:pt x="336" y="757"/>
                  <a:pt x="337" y="757"/>
                </a:cubicBezTo>
                <a:cubicBezTo>
                  <a:pt x="336" y="758"/>
                  <a:pt x="328" y="759"/>
                  <a:pt x="326" y="757"/>
                </a:cubicBezTo>
                <a:close/>
                <a:moveTo>
                  <a:pt x="335" y="748"/>
                </a:moveTo>
                <a:cubicBezTo>
                  <a:pt x="335" y="747"/>
                  <a:pt x="337" y="747"/>
                  <a:pt x="337" y="748"/>
                </a:cubicBezTo>
                <a:cubicBezTo>
                  <a:pt x="338" y="749"/>
                  <a:pt x="336" y="749"/>
                  <a:pt x="335" y="748"/>
                </a:cubicBezTo>
                <a:close/>
                <a:moveTo>
                  <a:pt x="328" y="744"/>
                </a:moveTo>
                <a:cubicBezTo>
                  <a:pt x="328" y="743"/>
                  <a:pt x="329" y="742"/>
                  <a:pt x="329" y="741"/>
                </a:cubicBezTo>
                <a:cubicBezTo>
                  <a:pt x="329" y="742"/>
                  <a:pt x="332" y="740"/>
                  <a:pt x="332" y="740"/>
                </a:cubicBezTo>
                <a:cubicBezTo>
                  <a:pt x="334" y="740"/>
                  <a:pt x="339" y="741"/>
                  <a:pt x="337" y="745"/>
                </a:cubicBezTo>
                <a:cubicBezTo>
                  <a:pt x="336" y="748"/>
                  <a:pt x="329" y="746"/>
                  <a:pt x="328" y="744"/>
                </a:cubicBezTo>
                <a:close/>
                <a:moveTo>
                  <a:pt x="339" y="774"/>
                </a:moveTo>
                <a:cubicBezTo>
                  <a:pt x="339" y="773"/>
                  <a:pt x="337" y="773"/>
                  <a:pt x="337" y="772"/>
                </a:cubicBezTo>
                <a:cubicBezTo>
                  <a:pt x="338" y="770"/>
                  <a:pt x="344" y="770"/>
                  <a:pt x="344" y="772"/>
                </a:cubicBezTo>
                <a:cubicBezTo>
                  <a:pt x="345" y="775"/>
                  <a:pt x="339" y="775"/>
                  <a:pt x="339" y="774"/>
                </a:cubicBezTo>
                <a:close/>
                <a:moveTo>
                  <a:pt x="353" y="716"/>
                </a:moveTo>
                <a:cubicBezTo>
                  <a:pt x="351" y="716"/>
                  <a:pt x="346" y="715"/>
                  <a:pt x="345" y="713"/>
                </a:cubicBezTo>
                <a:cubicBezTo>
                  <a:pt x="348" y="714"/>
                  <a:pt x="350" y="715"/>
                  <a:pt x="353" y="716"/>
                </a:cubicBezTo>
                <a:close/>
                <a:moveTo>
                  <a:pt x="345" y="744"/>
                </a:moveTo>
                <a:cubicBezTo>
                  <a:pt x="345" y="743"/>
                  <a:pt x="348" y="743"/>
                  <a:pt x="348" y="744"/>
                </a:cubicBezTo>
                <a:cubicBezTo>
                  <a:pt x="349" y="745"/>
                  <a:pt x="345" y="744"/>
                  <a:pt x="345" y="744"/>
                </a:cubicBezTo>
                <a:close/>
                <a:moveTo>
                  <a:pt x="345" y="734"/>
                </a:moveTo>
                <a:cubicBezTo>
                  <a:pt x="346" y="733"/>
                  <a:pt x="349" y="733"/>
                  <a:pt x="349" y="735"/>
                </a:cubicBezTo>
                <a:cubicBezTo>
                  <a:pt x="350" y="737"/>
                  <a:pt x="345" y="735"/>
                  <a:pt x="345" y="734"/>
                </a:cubicBezTo>
                <a:close/>
                <a:moveTo>
                  <a:pt x="349" y="764"/>
                </a:moveTo>
                <a:cubicBezTo>
                  <a:pt x="349" y="763"/>
                  <a:pt x="350" y="763"/>
                  <a:pt x="350" y="764"/>
                </a:cubicBezTo>
                <a:cubicBezTo>
                  <a:pt x="351" y="764"/>
                  <a:pt x="349" y="765"/>
                  <a:pt x="349" y="764"/>
                </a:cubicBezTo>
                <a:close/>
                <a:moveTo>
                  <a:pt x="350" y="725"/>
                </a:moveTo>
                <a:cubicBezTo>
                  <a:pt x="350" y="724"/>
                  <a:pt x="353" y="724"/>
                  <a:pt x="354" y="725"/>
                </a:cubicBezTo>
                <a:cubicBezTo>
                  <a:pt x="355" y="727"/>
                  <a:pt x="350" y="727"/>
                  <a:pt x="350" y="725"/>
                </a:cubicBezTo>
                <a:close/>
                <a:moveTo>
                  <a:pt x="353" y="770"/>
                </a:moveTo>
                <a:cubicBezTo>
                  <a:pt x="353" y="769"/>
                  <a:pt x="358" y="767"/>
                  <a:pt x="359" y="769"/>
                </a:cubicBezTo>
                <a:cubicBezTo>
                  <a:pt x="359" y="772"/>
                  <a:pt x="354" y="771"/>
                  <a:pt x="353" y="770"/>
                </a:cubicBezTo>
                <a:close/>
                <a:moveTo>
                  <a:pt x="359" y="772"/>
                </a:moveTo>
                <a:cubicBezTo>
                  <a:pt x="359" y="772"/>
                  <a:pt x="359" y="771"/>
                  <a:pt x="360" y="771"/>
                </a:cubicBezTo>
                <a:cubicBezTo>
                  <a:pt x="360" y="771"/>
                  <a:pt x="359" y="772"/>
                  <a:pt x="359" y="772"/>
                </a:cubicBezTo>
                <a:close/>
                <a:moveTo>
                  <a:pt x="360" y="723"/>
                </a:moveTo>
                <a:cubicBezTo>
                  <a:pt x="360" y="723"/>
                  <a:pt x="360" y="723"/>
                  <a:pt x="360" y="723"/>
                </a:cubicBezTo>
                <a:cubicBezTo>
                  <a:pt x="360" y="723"/>
                  <a:pt x="359" y="722"/>
                  <a:pt x="360" y="723"/>
                </a:cubicBezTo>
                <a:close/>
                <a:moveTo>
                  <a:pt x="361" y="721"/>
                </a:moveTo>
                <a:cubicBezTo>
                  <a:pt x="363" y="719"/>
                  <a:pt x="365" y="722"/>
                  <a:pt x="361" y="721"/>
                </a:cubicBezTo>
                <a:close/>
                <a:moveTo>
                  <a:pt x="356" y="717"/>
                </a:moveTo>
                <a:cubicBezTo>
                  <a:pt x="358" y="718"/>
                  <a:pt x="362" y="717"/>
                  <a:pt x="364" y="719"/>
                </a:cubicBezTo>
                <a:cubicBezTo>
                  <a:pt x="367" y="721"/>
                  <a:pt x="356" y="719"/>
                  <a:pt x="356" y="717"/>
                </a:cubicBezTo>
                <a:close/>
                <a:moveTo>
                  <a:pt x="365" y="760"/>
                </a:moveTo>
                <a:cubicBezTo>
                  <a:pt x="364" y="760"/>
                  <a:pt x="365" y="759"/>
                  <a:pt x="366" y="760"/>
                </a:cubicBezTo>
                <a:cubicBezTo>
                  <a:pt x="366" y="760"/>
                  <a:pt x="365" y="760"/>
                  <a:pt x="365" y="760"/>
                </a:cubicBezTo>
                <a:close/>
                <a:moveTo>
                  <a:pt x="368" y="740"/>
                </a:moveTo>
                <a:cubicBezTo>
                  <a:pt x="368" y="740"/>
                  <a:pt x="369" y="739"/>
                  <a:pt x="369" y="740"/>
                </a:cubicBezTo>
                <a:cubicBezTo>
                  <a:pt x="370" y="741"/>
                  <a:pt x="368" y="741"/>
                  <a:pt x="368" y="740"/>
                </a:cubicBezTo>
                <a:close/>
                <a:moveTo>
                  <a:pt x="364" y="737"/>
                </a:moveTo>
                <a:cubicBezTo>
                  <a:pt x="364" y="735"/>
                  <a:pt x="369" y="735"/>
                  <a:pt x="369" y="737"/>
                </a:cubicBezTo>
                <a:cubicBezTo>
                  <a:pt x="371" y="739"/>
                  <a:pt x="364" y="738"/>
                  <a:pt x="364" y="737"/>
                </a:cubicBezTo>
                <a:close/>
                <a:moveTo>
                  <a:pt x="370" y="740"/>
                </a:moveTo>
                <a:cubicBezTo>
                  <a:pt x="370" y="739"/>
                  <a:pt x="372" y="739"/>
                  <a:pt x="373" y="740"/>
                </a:cubicBezTo>
                <a:cubicBezTo>
                  <a:pt x="374" y="741"/>
                  <a:pt x="370" y="741"/>
                  <a:pt x="370" y="740"/>
                </a:cubicBezTo>
                <a:close/>
                <a:moveTo>
                  <a:pt x="371" y="748"/>
                </a:moveTo>
                <a:cubicBezTo>
                  <a:pt x="371" y="748"/>
                  <a:pt x="372" y="747"/>
                  <a:pt x="373" y="748"/>
                </a:cubicBezTo>
                <a:cubicBezTo>
                  <a:pt x="374" y="750"/>
                  <a:pt x="371" y="749"/>
                  <a:pt x="371" y="748"/>
                </a:cubicBezTo>
                <a:close/>
                <a:moveTo>
                  <a:pt x="373" y="754"/>
                </a:moveTo>
                <a:cubicBezTo>
                  <a:pt x="373" y="753"/>
                  <a:pt x="375" y="755"/>
                  <a:pt x="373" y="754"/>
                </a:cubicBezTo>
                <a:close/>
                <a:moveTo>
                  <a:pt x="375" y="726"/>
                </a:moveTo>
                <a:cubicBezTo>
                  <a:pt x="376" y="725"/>
                  <a:pt x="376" y="728"/>
                  <a:pt x="375" y="726"/>
                </a:cubicBezTo>
                <a:close/>
                <a:moveTo>
                  <a:pt x="375" y="708"/>
                </a:moveTo>
                <a:cubicBezTo>
                  <a:pt x="378" y="708"/>
                  <a:pt x="375" y="710"/>
                  <a:pt x="375" y="708"/>
                </a:cubicBezTo>
                <a:close/>
                <a:moveTo>
                  <a:pt x="376" y="704"/>
                </a:moveTo>
                <a:cubicBezTo>
                  <a:pt x="377" y="703"/>
                  <a:pt x="380" y="704"/>
                  <a:pt x="380" y="706"/>
                </a:cubicBezTo>
                <a:cubicBezTo>
                  <a:pt x="381" y="709"/>
                  <a:pt x="375" y="706"/>
                  <a:pt x="376" y="704"/>
                </a:cubicBezTo>
                <a:close/>
                <a:moveTo>
                  <a:pt x="380" y="746"/>
                </a:moveTo>
                <a:cubicBezTo>
                  <a:pt x="380" y="747"/>
                  <a:pt x="378" y="746"/>
                  <a:pt x="379" y="746"/>
                </a:cubicBezTo>
                <a:cubicBezTo>
                  <a:pt x="380" y="745"/>
                  <a:pt x="380" y="746"/>
                  <a:pt x="380" y="746"/>
                </a:cubicBezTo>
                <a:close/>
                <a:moveTo>
                  <a:pt x="378" y="716"/>
                </a:moveTo>
                <a:cubicBezTo>
                  <a:pt x="378" y="716"/>
                  <a:pt x="378" y="715"/>
                  <a:pt x="379" y="715"/>
                </a:cubicBezTo>
                <a:cubicBezTo>
                  <a:pt x="382" y="714"/>
                  <a:pt x="380" y="718"/>
                  <a:pt x="378" y="716"/>
                </a:cubicBezTo>
                <a:close/>
                <a:moveTo>
                  <a:pt x="380" y="749"/>
                </a:moveTo>
                <a:cubicBezTo>
                  <a:pt x="380" y="749"/>
                  <a:pt x="381" y="748"/>
                  <a:pt x="382" y="748"/>
                </a:cubicBezTo>
                <a:cubicBezTo>
                  <a:pt x="383" y="749"/>
                  <a:pt x="380" y="750"/>
                  <a:pt x="380" y="749"/>
                </a:cubicBezTo>
                <a:close/>
                <a:moveTo>
                  <a:pt x="381" y="734"/>
                </a:moveTo>
                <a:cubicBezTo>
                  <a:pt x="382" y="734"/>
                  <a:pt x="383" y="734"/>
                  <a:pt x="383" y="735"/>
                </a:cubicBezTo>
                <a:cubicBezTo>
                  <a:pt x="384" y="738"/>
                  <a:pt x="378" y="736"/>
                  <a:pt x="381" y="734"/>
                </a:cubicBezTo>
                <a:close/>
                <a:moveTo>
                  <a:pt x="384" y="754"/>
                </a:moveTo>
                <a:cubicBezTo>
                  <a:pt x="384" y="754"/>
                  <a:pt x="384" y="754"/>
                  <a:pt x="385" y="754"/>
                </a:cubicBezTo>
                <a:cubicBezTo>
                  <a:pt x="385" y="755"/>
                  <a:pt x="384" y="755"/>
                  <a:pt x="384" y="754"/>
                </a:cubicBezTo>
                <a:close/>
                <a:moveTo>
                  <a:pt x="386" y="712"/>
                </a:moveTo>
                <a:cubicBezTo>
                  <a:pt x="386" y="712"/>
                  <a:pt x="386" y="712"/>
                  <a:pt x="386" y="712"/>
                </a:cubicBezTo>
                <a:cubicBezTo>
                  <a:pt x="388" y="712"/>
                  <a:pt x="387" y="713"/>
                  <a:pt x="386" y="712"/>
                </a:cubicBezTo>
                <a:close/>
                <a:moveTo>
                  <a:pt x="387" y="722"/>
                </a:moveTo>
                <a:cubicBezTo>
                  <a:pt x="387" y="722"/>
                  <a:pt x="390" y="721"/>
                  <a:pt x="390" y="723"/>
                </a:cubicBezTo>
                <a:cubicBezTo>
                  <a:pt x="390" y="724"/>
                  <a:pt x="388" y="723"/>
                  <a:pt x="387" y="722"/>
                </a:cubicBezTo>
                <a:close/>
                <a:moveTo>
                  <a:pt x="389" y="709"/>
                </a:moveTo>
                <a:cubicBezTo>
                  <a:pt x="387" y="709"/>
                  <a:pt x="387" y="707"/>
                  <a:pt x="389" y="709"/>
                </a:cubicBezTo>
                <a:close/>
                <a:moveTo>
                  <a:pt x="391" y="719"/>
                </a:moveTo>
                <a:cubicBezTo>
                  <a:pt x="391" y="719"/>
                  <a:pt x="391" y="720"/>
                  <a:pt x="391" y="720"/>
                </a:cubicBezTo>
                <a:cubicBezTo>
                  <a:pt x="390" y="720"/>
                  <a:pt x="391" y="719"/>
                  <a:pt x="391" y="719"/>
                </a:cubicBezTo>
                <a:close/>
                <a:moveTo>
                  <a:pt x="391" y="736"/>
                </a:moveTo>
                <a:cubicBezTo>
                  <a:pt x="389" y="735"/>
                  <a:pt x="393" y="737"/>
                  <a:pt x="391" y="736"/>
                </a:cubicBezTo>
                <a:close/>
                <a:moveTo>
                  <a:pt x="390" y="565"/>
                </a:moveTo>
                <a:cubicBezTo>
                  <a:pt x="391" y="567"/>
                  <a:pt x="389" y="563"/>
                  <a:pt x="390" y="565"/>
                </a:cubicBezTo>
                <a:close/>
                <a:moveTo>
                  <a:pt x="390" y="396"/>
                </a:moveTo>
                <a:cubicBezTo>
                  <a:pt x="389" y="395"/>
                  <a:pt x="391" y="397"/>
                  <a:pt x="390" y="396"/>
                </a:cubicBezTo>
                <a:close/>
                <a:moveTo>
                  <a:pt x="398" y="675"/>
                </a:moveTo>
                <a:cubicBezTo>
                  <a:pt x="398" y="675"/>
                  <a:pt x="397" y="676"/>
                  <a:pt x="397" y="677"/>
                </a:cubicBezTo>
                <a:cubicBezTo>
                  <a:pt x="397" y="679"/>
                  <a:pt x="403" y="680"/>
                  <a:pt x="405" y="682"/>
                </a:cubicBezTo>
                <a:cubicBezTo>
                  <a:pt x="408" y="684"/>
                  <a:pt x="411" y="686"/>
                  <a:pt x="413" y="688"/>
                </a:cubicBezTo>
                <a:cubicBezTo>
                  <a:pt x="407" y="687"/>
                  <a:pt x="401" y="679"/>
                  <a:pt x="396" y="677"/>
                </a:cubicBezTo>
                <a:cubicBezTo>
                  <a:pt x="392" y="676"/>
                  <a:pt x="389" y="677"/>
                  <a:pt x="390" y="671"/>
                </a:cubicBezTo>
                <a:cubicBezTo>
                  <a:pt x="392" y="673"/>
                  <a:pt x="397" y="671"/>
                  <a:pt x="398" y="675"/>
                </a:cubicBezTo>
                <a:close/>
                <a:moveTo>
                  <a:pt x="391" y="523"/>
                </a:moveTo>
                <a:cubicBezTo>
                  <a:pt x="392" y="523"/>
                  <a:pt x="392" y="524"/>
                  <a:pt x="393" y="525"/>
                </a:cubicBezTo>
                <a:cubicBezTo>
                  <a:pt x="392" y="525"/>
                  <a:pt x="391" y="523"/>
                  <a:pt x="391" y="523"/>
                </a:cubicBezTo>
                <a:close/>
                <a:moveTo>
                  <a:pt x="402" y="645"/>
                </a:moveTo>
                <a:cubicBezTo>
                  <a:pt x="402" y="646"/>
                  <a:pt x="397" y="644"/>
                  <a:pt x="398" y="644"/>
                </a:cubicBezTo>
                <a:cubicBezTo>
                  <a:pt x="399" y="643"/>
                  <a:pt x="401" y="645"/>
                  <a:pt x="402" y="645"/>
                </a:cubicBezTo>
                <a:close/>
                <a:moveTo>
                  <a:pt x="401" y="387"/>
                </a:moveTo>
                <a:cubicBezTo>
                  <a:pt x="402" y="388"/>
                  <a:pt x="400" y="385"/>
                  <a:pt x="401" y="387"/>
                </a:cubicBezTo>
                <a:close/>
                <a:moveTo>
                  <a:pt x="408" y="130"/>
                </a:moveTo>
                <a:cubicBezTo>
                  <a:pt x="407" y="131"/>
                  <a:pt x="406" y="130"/>
                  <a:pt x="406" y="129"/>
                </a:cubicBezTo>
                <a:cubicBezTo>
                  <a:pt x="407" y="129"/>
                  <a:pt x="407" y="130"/>
                  <a:pt x="408" y="130"/>
                </a:cubicBezTo>
                <a:close/>
                <a:moveTo>
                  <a:pt x="406" y="94"/>
                </a:moveTo>
                <a:cubicBezTo>
                  <a:pt x="407" y="94"/>
                  <a:pt x="407" y="94"/>
                  <a:pt x="408" y="95"/>
                </a:cubicBezTo>
                <a:cubicBezTo>
                  <a:pt x="407" y="95"/>
                  <a:pt x="406" y="95"/>
                  <a:pt x="406" y="94"/>
                </a:cubicBezTo>
                <a:close/>
                <a:moveTo>
                  <a:pt x="412" y="602"/>
                </a:moveTo>
                <a:cubicBezTo>
                  <a:pt x="413" y="605"/>
                  <a:pt x="408" y="603"/>
                  <a:pt x="407" y="602"/>
                </a:cubicBezTo>
                <a:cubicBezTo>
                  <a:pt x="407" y="599"/>
                  <a:pt x="412" y="600"/>
                  <a:pt x="412" y="602"/>
                </a:cubicBezTo>
                <a:close/>
                <a:moveTo>
                  <a:pt x="409" y="131"/>
                </a:moveTo>
                <a:cubicBezTo>
                  <a:pt x="409" y="132"/>
                  <a:pt x="408" y="130"/>
                  <a:pt x="409" y="131"/>
                </a:cubicBezTo>
                <a:close/>
                <a:moveTo>
                  <a:pt x="421" y="663"/>
                </a:moveTo>
                <a:cubicBezTo>
                  <a:pt x="423" y="664"/>
                  <a:pt x="437" y="669"/>
                  <a:pt x="438" y="671"/>
                </a:cubicBezTo>
                <a:cubicBezTo>
                  <a:pt x="438" y="673"/>
                  <a:pt x="434" y="671"/>
                  <a:pt x="433" y="670"/>
                </a:cubicBezTo>
                <a:cubicBezTo>
                  <a:pt x="431" y="669"/>
                  <a:pt x="417" y="663"/>
                  <a:pt x="417" y="661"/>
                </a:cubicBezTo>
                <a:cubicBezTo>
                  <a:pt x="416" y="659"/>
                  <a:pt x="421" y="663"/>
                  <a:pt x="421" y="663"/>
                </a:cubicBezTo>
                <a:close/>
                <a:moveTo>
                  <a:pt x="420" y="624"/>
                </a:moveTo>
                <a:cubicBezTo>
                  <a:pt x="420" y="623"/>
                  <a:pt x="421" y="624"/>
                  <a:pt x="421" y="625"/>
                </a:cubicBezTo>
                <a:cubicBezTo>
                  <a:pt x="421" y="626"/>
                  <a:pt x="419" y="624"/>
                  <a:pt x="420" y="624"/>
                </a:cubicBezTo>
                <a:close/>
                <a:moveTo>
                  <a:pt x="422" y="659"/>
                </a:moveTo>
                <a:cubicBezTo>
                  <a:pt x="422" y="659"/>
                  <a:pt x="423" y="659"/>
                  <a:pt x="423" y="659"/>
                </a:cubicBezTo>
                <a:cubicBezTo>
                  <a:pt x="423" y="661"/>
                  <a:pt x="421" y="659"/>
                  <a:pt x="422" y="659"/>
                </a:cubicBezTo>
                <a:close/>
                <a:moveTo>
                  <a:pt x="435" y="515"/>
                </a:moveTo>
                <a:cubicBezTo>
                  <a:pt x="435" y="516"/>
                  <a:pt x="435" y="517"/>
                  <a:pt x="436" y="518"/>
                </a:cubicBezTo>
                <a:cubicBezTo>
                  <a:pt x="437" y="521"/>
                  <a:pt x="441" y="526"/>
                  <a:pt x="445" y="530"/>
                </a:cubicBezTo>
                <a:cubicBezTo>
                  <a:pt x="448" y="533"/>
                  <a:pt x="451" y="534"/>
                  <a:pt x="453" y="537"/>
                </a:cubicBezTo>
                <a:cubicBezTo>
                  <a:pt x="453" y="537"/>
                  <a:pt x="453" y="538"/>
                  <a:pt x="453" y="539"/>
                </a:cubicBezTo>
                <a:cubicBezTo>
                  <a:pt x="452" y="539"/>
                  <a:pt x="447" y="534"/>
                  <a:pt x="446" y="532"/>
                </a:cubicBezTo>
                <a:cubicBezTo>
                  <a:pt x="444" y="530"/>
                  <a:pt x="442" y="528"/>
                  <a:pt x="440" y="526"/>
                </a:cubicBezTo>
                <a:cubicBezTo>
                  <a:pt x="438" y="524"/>
                  <a:pt x="437" y="519"/>
                  <a:pt x="434" y="518"/>
                </a:cubicBezTo>
                <a:cubicBezTo>
                  <a:pt x="434" y="518"/>
                  <a:pt x="432" y="519"/>
                  <a:pt x="431" y="519"/>
                </a:cubicBezTo>
                <a:cubicBezTo>
                  <a:pt x="427" y="517"/>
                  <a:pt x="431" y="510"/>
                  <a:pt x="435" y="515"/>
                </a:cubicBezTo>
                <a:close/>
                <a:moveTo>
                  <a:pt x="434" y="370"/>
                </a:moveTo>
                <a:cubicBezTo>
                  <a:pt x="435" y="370"/>
                  <a:pt x="436" y="372"/>
                  <a:pt x="436" y="373"/>
                </a:cubicBezTo>
                <a:cubicBezTo>
                  <a:pt x="435" y="373"/>
                  <a:pt x="435" y="371"/>
                  <a:pt x="434" y="370"/>
                </a:cubicBezTo>
                <a:close/>
                <a:moveTo>
                  <a:pt x="437" y="135"/>
                </a:moveTo>
                <a:cubicBezTo>
                  <a:pt x="437" y="135"/>
                  <a:pt x="438" y="135"/>
                  <a:pt x="438" y="136"/>
                </a:cubicBezTo>
                <a:cubicBezTo>
                  <a:pt x="438" y="136"/>
                  <a:pt x="437" y="136"/>
                  <a:pt x="437" y="135"/>
                </a:cubicBezTo>
                <a:close/>
                <a:moveTo>
                  <a:pt x="448" y="408"/>
                </a:moveTo>
                <a:cubicBezTo>
                  <a:pt x="449" y="411"/>
                  <a:pt x="445" y="407"/>
                  <a:pt x="446" y="406"/>
                </a:cubicBezTo>
                <a:cubicBezTo>
                  <a:pt x="447" y="406"/>
                  <a:pt x="448" y="408"/>
                  <a:pt x="448" y="408"/>
                </a:cubicBezTo>
                <a:close/>
                <a:moveTo>
                  <a:pt x="448" y="167"/>
                </a:moveTo>
                <a:cubicBezTo>
                  <a:pt x="449" y="168"/>
                  <a:pt x="446" y="166"/>
                  <a:pt x="448" y="167"/>
                </a:cubicBezTo>
                <a:close/>
                <a:moveTo>
                  <a:pt x="447" y="435"/>
                </a:moveTo>
                <a:cubicBezTo>
                  <a:pt x="448" y="435"/>
                  <a:pt x="449" y="436"/>
                  <a:pt x="449" y="438"/>
                </a:cubicBezTo>
                <a:cubicBezTo>
                  <a:pt x="449" y="439"/>
                  <a:pt x="448" y="440"/>
                  <a:pt x="447" y="440"/>
                </a:cubicBezTo>
                <a:cubicBezTo>
                  <a:pt x="442" y="441"/>
                  <a:pt x="444" y="433"/>
                  <a:pt x="447" y="435"/>
                </a:cubicBezTo>
                <a:close/>
                <a:moveTo>
                  <a:pt x="446" y="515"/>
                </a:moveTo>
                <a:cubicBezTo>
                  <a:pt x="446" y="514"/>
                  <a:pt x="446" y="515"/>
                  <a:pt x="446" y="515"/>
                </a:cubicBezTo>
                <a:close/>
                <a:moveTo>
                  <a:pt x="445" y="441"/>
                </a:moveTo>
                <a:cubicBezTo>
                  <a:pt x="445" y="443"/>
                  <a:pt x="444" y="439"/>
                  <a:pt x="445" y="441"/>
                </a:cubicBezTo>
                <a:close/>
                <a:moveTo>
                  <a:pt x="445" y="494"/>
                </a:moveTo>
                <a:cubicBezTo>
                  <a:pt x="445" y="494"/>
                  <a:pt x="444" y="495"/>
                  <a:pt x="444" y="495"/>
                </a:cubicBezTo>
                <a:cubicBezTo>
                  <a:pt x="443" y="494"/>
                  <a:pt x="444" y="493"/>
                  <a:pt x="445" y="494"/>
                </a:cubicBezTo>
                <a:close/>
                <a:moveTo>
                  <a:pt x="452" y="150"/>
                </a:moveTo>
                <a:cubicBezTo>
                  <a:pt x="452" y="150"/>
                  <a:pt x="452" y="150"/>
                  <a:pt x="452" y="150"/>
                </a:cubicBezTo>
                <a:cubicBezTo>
                  <a:pt x="452" y="150"/>
                  <a:pt x="452" y="150"/>
                  <a:pt x="452" y="150"/>
                </a:cubicBezTo>
                <a:cubicBezTo>
                  <a:pt x="452" y="150"/>
                  <a:pt x="452" y="150"/>
                  <a:pt x="452" y="150"/>
                </a:cubicBezTo>
                <a:close/>
                <a:moveTo>
                  <a:pt x="456" y="548"/>
                </a:moveTo>
                <a:cubicBezTo>
                  <a:pt x="455" y="548"/>
                  <a:pt x="454" y="546"/>
                  <a:pt x="454" y="546"/>
                </a:cubicBezTo>
                <a:cubicBezTo>
                  <a:pt x="455" y="546"/>
                  <a:pt x="455" y="547"/>
                  <a:pt x="456" y="548"/>
                </a:cubicBezTo>
                <a:close/>
                <a:moveTo>
                  <a:pt x="454" y="436"/>
                </a:moveTo>
                <a:cubicBezTo>
                  <a:pt x="454" y="436"/>
                  <a:pt x="454" y="436"/>
                  <a:pt x="454" y="436"/>
                </a:cubicBezTo>
                <a:cubicBezTo>
                  <a:pt x="455" y="437"/>
                  <a:pt x="454" y="436"/>
                  <a:pt x="454" y="436"/>
                </a:cubicBezTo>
                <a:close/>
                <a:moveTo>
                  <a:pt x="459" y="622"/>
                </a:moveTo>
                <a:cubicBezTo>
                  <a:pt x="459" y="623"/>
                  <a:pt x="459" y="624"/>
                  <a:pt x="457" y="623"/>
                </a:cubicBezTo>
                <a:cubicBezTo>
                  <a:pt x="455" y="622"/>
                  <a:pt x="448" y="615"/>
                  <a:pt x="448" y="614"/>
                </a:cubicBezTo>
                <a:cubicBezTo>
                  <a:pt x="450" y="613"/>
                  <a:pt x="451" y="617"/>
                  <a:pt x="452" y="617"/>
                </a:cubicBezTo>
                <a:cubicBezTo>
                  <a:pt x="454" y="619"/>
                  <a:pt x="459" y="619"/>
                  <a:pt x="459" y="622"/>
                </a:cubicBezTo>
                <a:close/>
                <a:moveTo>
                  <a:pt x="458" y="565"/>
                </a:moveTo>
                <a:cubicBezTo>
                  <a:pt x="456" y="564"/>
                  <a:pt x="457" y="563"/>
                  <a:pt x="458" y="565"/>
                </a:cubicBezTo>
                <a:close/>
                <a:moveTo>
                  <a:pt x="459" y="565"/>
                </a:moveTo>
                <a:cubicBezTo>
                  <a:pt x="460" y="565"/>
                  <a:pt x="458" y="567"/>
                  <a:pt x="459" y="565"/>
                </a:cubicBezTo>
                <a:close/>
                <a:moveTo>
                  <a:pt x="459" y="642"/>
                </a:moveTo>
                <a:cubicBezTo>
                  <a:pt x="459" y="642"/>
                  <a:pt x="458" y="641"/>
                  <a:pt x="458" y="641"/>
                </a:cubicBezTo>
                <a:cubicBezTo>
                  <a:pt x="458" y="640"/>
                  <a:pt x="459" y="641"/>
                  <a:pt x="459" y="642"/>
                </a:cubicBezTo>
                <a:close/>
                <a:moveTo>
                  <a:pt x="454" y="648"/>
                </a:moveTo>
                <a:cubicBezTo>
                  <a:pt x="455" y="648"/>
                  <a:pt x="457" y="649"/>
                  <a:pt x="457" y="649"/>
                </a:cubicBezTo>
                <a:cubicBezTo>
                  <a:pt x="458" y="652"/>
                  <a:pt x="453" y="650"/>
                  <a:pt x="454" y="648"/>
                </a:cubicBezTo>
                <a:close/>
                <a:moveTo>
                  <a:pt x="454" y="659"/>
                </a:moveTo>
                <a:cubicBezTo>
                  <a:pt x="454" y="659"/>
                  <a:pt x="455" y="658"/>
                  <a:pt x="456" y="659"/>
                </a:cubicBezTo>
                <a:cubicBezTo>
                  <a:pt x="457" y="659"/>
                  <a:pt x="455" y="660"/>
                  <a:pt x="454" y="659"/>
                </a:cubicBezTo>
                <a:close/>
                <a:moveTo>
                  <a:pt x="452" y="632"/>
                </a:moveTo>
                <a:cubicBezTo>
                  <a:pt x="452" y="632"/>
                  <a:pt x="453" y="632"/>
                  <a:pt x="453" y="633"/>
                </a:cubicBezTo>
                <a:cubicBezTo>
                  <a:pt x="454" y="635"/>
                  <a:pt x="450" y="634"/>
                  <a:pt x="452" y="632"/>
                </a:cubicBezTo>
                <a:close/>
                <a:moveTo>
                  <a:pt x="449" y="622"/>
                </a:moveTo>
                <a:cubicBezTo>
                  <a:pt x="449" y="622"/>
                  <a:pt x="450" y="622"/>
                  <a:pt x="450" y="623"/>
                </a:cubicBezTo>
                <a:cubicBezTo>
                  <a:pt x="451" y="624"/>
                  <a:pt x="449" y="623"/>
                  <a:pt x="449" y="622"/>
                </a:cubicBezTo>
                <a:close/>
                <a:moveTo>
                  <a:pt x="446" y="640"/>
                </a:moveTo>
                <a:cubicBezTo>
                  <a:pt x="446" y="640"/>
                  <a:pt x="444" y="639"/>
                  <a:pt x="444" y="639"/>
                </a:cubicBezTo>
                <a:cubicBezTo>
                  <a:pt x="445" y="639"/>
                  <a:pt x="446" y="640"/>
                  <a:pt x="446" y="640"/>
                </a:cubicBezTo>
                <a:close/>
                <a:moveTo>
                  <a:pt x="445" y="602"/>
                </a:moveTo>
                <a:cubicBezTo>
                  <a:pt x="447" y="601"/>
                  <a:pt x="447" y="603"/>
                  <a:pt x="445" y="602"/>
                </a:cubicBezTo>
                <a:close/>
                <a:moveTo>
                  <a:pt x="444" y="571"/>
                </a:moveTo>
                <a:cubicBezTo>
                  <a:pt x="446" y="569"/>
                  <a:pt x="449" y="573"/>
                  <a:pt x="449" y="574"/>
                </a:cubicBezTo>
                <a:cubicBezTo>
                  <a:pt x="449" y="579"/>
                  <a:pt x="441" y="574"/>
                  <a:pt x="444" y="571"/>
                </a:cubicBezTo>
                <a:close/>
                <a:moveTo>
                  <a:pt x="429" y="648"/>
                </a:moveTo>
                <a:cubicBezTo>
                  <a:pt x="432" y="648"/>
                  <a:pt x="434" y="647"/>
                  <a:pt x="436" y="649"/>
                </a:cubicBezTo>
                <a:cubicBezTo>
                  <a:pt x="437" y="650"/>
                  <a:pt x="437" y="652"/>
                  <a:pt x="437" y="652"/>
                </a:cubicBezTo>
                <a:cubicBezTo>
                  <a:pt x="438" y="654"/>
                  <a:pt x="441" y="652"/>
                  <a:pt x="442" y="654"/>
                </a:cubicBezTo>
                <a:cubicBezTo>
                  <a:pt x="443" y="657"/>
                  <a:pt x="439" y="658"/>
                  <a:pt x="439" y="658"/>
                </a:cubicBezTo>
                <a:cubicBezTo>
                  <a:pt x="436" y="659"/>
                  <a:pt x="435" y="653"/>
                  <a:pt x="431" y="654"/>
                </a:cubicBezTo>
                <a:cubicBezTo>
                  <a:pt x="430" y="654"/>
                  <a:pt x="429" y="655"/>
                  <a:pt x="428" y="654"/>
                </a:cubicBezTo>
                <a:cubicBezTo>
                  <a:pt x="432" y="653"/>
                  <a:pt x="424" y="648"/>
                  <a:pt x="429" y="648"/>
                </a:cubicBezTo>
                <a:close/>
                <a:moveTo>
                  <a:pt x="428" y="646"/>
                </a:moveTo>
                <a:cubicBezTo>
                  <a:pt x="428" y="646"/>
                  <a:pt x="428" y="646"/>
                  <a:pt x="428" y="646"/>
                </a:cubicBezTo>
                <a:cubicBezTo>
                  <a:pt x="430" y="647"/>
                  <a:pt x="426" y="646"/>
                  <a:pt x="428" y="646"/>
                </a:cubicBezTo>
                <a:close/>
                <a:moveTo>
                  <a:pt x="426" y="638"/>
                </a:moveTo>
                <a:cubicBezTo>
                  <a:pt x="427" y="637"/>
                  <a:pt x="427" y="638"/>
                  <a:pt x="427" y="638"/>
                </a:cubicBezTo>
                <a:cubicBezTo>
                  <a:pt x="428" y="639"/>
                  <a:pt x="426" y="639"/>
                  <a:pt x="426" y="638"/>
                </a:cubicBezTo>
                <a:close/>
                <a:moveTo>
                  <a:pt x="429" y="628"/>
                </a:moveTo>
                <a:cubicBezTo>
                  <a:pt x="429" y="627"/>
                  <a:pt x="431" y="628"/>
                  <a:pt x="432" y="627"/>
                </a:cubicBezTo>
                <a:cubicBezTo>
                  <a:pt x="433" y="625"/>
                  <a:pt x="437" y="628"/>
                  <a:pt x="437" y="630"/>
                </a:cubicBezTo>
                <a:cubicBezTo>
                  <a:pt x="437" y="634"/>
                  <a:pt x="435" y="632"/>
                  <a:pt x="433" y="633"/>
                </a:cubicBezTo>
                <a:cubicBezTo>
                  <a:pt x="434" y="633"/>
                  <a:pt x="432" y="634"/>
                  <a:pt x="432" y="634"/>
                </a:cubicBezTo>
                <a:cubicBezTo>
                  <a:pt x="430" y="633"/>
                  <a:pt x="428" y="630"/>
                  <a:pt x="429" y="628"/>
                </a:cubicBezTo>
                <a:close/>
                <a:moveTo>
                  <a:pt x="429" y="579"/>
                </a:moveTo>
                <a:cubicBezTo>
                  <a:pt x="430" y="579"/>
                  <a:pt x="429" y="581"/>
                  <a:pt x="429" y="580"/>
                </a:cubicBezTo>
                <a:cubicBezTo>
                  <a:pt x="429" y="580"/>
                  <a:pt x="429" y="579"/>
                  <a:pt x="429" y="579"/>
                </a:cubicBezTo>
                <a:close/>
                <a:moveTo>
                  <a:pt x="430" y="612"/>
                </a:moveTo>
                <a:cubicBezTo>
                  <a:pt x="431" y="612"/>
                  <a:pt x="431" y="613"/>
                  <a:pt x="432" y="613"/>
                </a:cubicBezTo>
                <a:cubicBezTo>
                  <a:pt x="431" y="614"/>
                  <a:pt x="430" y="613"/>
                  <a:pt x="430" y="612"/>
                </a:cubicBezTo>
                <a:close/>
                <a:moveTo>
                  <a:pt x="433" y="549"/>
                </a:moveTo>
                <a:cubicBezTo>
                  <a:pt x="434" y="549"/>
                  <a:pt x="434" y="549"/>
                  <a:pt x="434" y="550"/>
                </a:cubicBezTo>
                <a:cubicBezTo>
                  <a:pt x="435" y="551"/>
                  <a:pt x="432" y="549"/>
                  <a:pt x="433" y="549"/>
                </a:cubicBezTo>
                <a:close/>
                <a:moveTo>
                  <a:pt x="443" y="617"/>
                </a:moveTo>
                <a:cubicBezTo>
                  <a:pt x="442" y="618"/>
                  <a:pt x="443" y="618"/>
                  <a:pt x="443" y="618"/>
                </a:cubicBezTo>
                <a:cubicBezTo>
                  <a:pt x="444" y="619"/>
                  <a:pt x="442" y="618"/>
                  <a:pt x="443" y="617"/>
                </a:cubicBezTo>
                <a:close/>
                <a:moveTo>
                  <a:pt x="443" y="632"/>
                </a:moveTo>
                <a:cubicBezTo>
                  <a:pt x="443" y="632"/>
                  <a:pt x="443" y="632"/>
                  <a:pt x="443" y="632"/>
                </a:cubicBezTo>
                <a:cubicBezTo>
                  <a:pt x="442" y="632"/>
                  <a:pt x="443" y="632"/>
                  <a:pt x="443" y="632"/>
                </a:cubicBezTo>
                <a:close/>
                <a:moveTo>
                  <a:pt x="442" y="613"/>
                </a:moveTo>
                <a:cubicBezTo>
                  <a:pt x="442" y="612"/>
                  <a:pt x="443" y="613"/>
                  <a:pt x="443" y="613"/>
                </a:cubicBezTo>
                <a:cubicBezTo>
                  <a:pt x="443" y="615"/>
                  <a:pt x="441" y="613"/>
                  <a:pt x="442" y="613"/>
                </a:cubicBezTo>
                <a:close/>
                <a:moveTo>
                  <a:pt x="443" y="582"/>
                </a:moveTo>
                <a:cubicBezTo>
                  <a:pt x="443" y="583"/>
                  <a:pt x="443" y="583"/>
                  <a:pt x="443" y="583"/>
                </a:cubicBezTo>
                <a:cubicBezTo>
                  <a:pt x="443" y="585"/>
                  <a:pt x="442" y="581"/>
                  <a:pt x="443" y="582"/>
                </a:cubicBezTo>
                <a:close/>
                <a:moveTo>
                  <a:pt x="441" y="554"/>
                </a:moveTo>
                <a:cubicBezTo>
                  <a:pt x="442" y="553"/>
                  <a:pt x="447" y="555"/>
                  <a:pt x="446" y="558"/>
                </a:cubicBezTo>
                <a:cubicBezTo>
                  <a:pt x="445" y="558"/>
                  <a:pt x="440" y="556"/>
                  <a:pt x="441" y="554"/>
                </a:cubicBezTo>
                <a:close/>
                <a:moveTo>
                  <a:pt x="441" y="609"/>
                </a:moveTo>
                <a:cubicBezTo>
                  <a:pt x="442" y="610"/>
                  <a:pt x="440" y="608"/>
                  <a:pt x="441" y="609"/>
                </a:cubicBezTo>
                <a:close/>
                <a:moveTo>
                  <a:pt x="440" y="534"/>
                </a:moveTo>
                <a:cubicBezTo>
                  <a:pt x="441" y="534"/>
                  <a:pt x="441" y="535"/>
                  <a:pt x="441" y="535"/>
                </a:cubicBezTo>
                <a:cubicBezTo>
                  <a:pt x="441" y="536"/>
                  <a:pt x="440" y="535"/>
                  <a:pt x="440" y="534"/>
                </a:cubicBezTo>
                <a:close/>
                <a:moveTo>
                  <a:pt x="442" y="648"/>
                </a:moveTo>
                <a:cubicBezTo>
                  <a:pt x="442" y="651"/>
                  <a:pt x="437" y="649"/>
                  <a:pt x="438" y="646"/>
                </a:cubicBezTo>
                <a:cubicBezTo>
                  <a:pt x="438" y="645"/>
                  <a:pt x="442" y="646"/>
                  <a:pt x="442" y="648"/>
                </a:cubicBezTo>
                <a:close/>
                <a:moveTo>
                  <a:pt x="435" y="615"/>
                </a:moveTo>
                <a:cubicBezTo>
                  <a:pt x="437" y="617"/>
                  <a:pt x="438" y="618"/>
                  <a:pt x="440" y="619"/>
                </a:cubicBezTo>
                <a:cubicBezTo>
                  <a:pt x="439" y="620"/>
                  <a:pt x="436" y="617"/>
                  <a:pt x="435" y="615"/>
                </a:cubicBezTo>
                <a:close/>
                <a:moveTo>
                  <a:pt x="437" y="603"/>
                </a:moveTo>
                <a:cubicBezTo>
                  <a:pt x="436" y="604"/>
                  <a:pt x="436" y="602"/>
                  <a:pt x="437" y="603"/>
                </a:cubicBezTo>
                <a:close/>
                <a:moveTo>
                  <a:pt x="436" y="529"/>
                </a:moveTo>
                <a:cubicBezTo>
                  <a:pt x="438" y="528"/>
                  <a:pt x="438" y="531"/>
                  <a:pt x="439" y="532"/>
                </a:cubicBezTo>
                <a:cubicBezTo>
                  <a:pt x="438" y="531"/>
                  <a:pt x="437" y="529"/>
                  <a:pt x="436" y="529"/>
                </a:cubicBezTo>
                <a:close/>
                <a:moveTo>
                  <a:pt x="435" y="525"/>
                </a:moveTo>
                <a:cubicBezTo>
                  <a:pt x="435" y="526"/>
                  <a:pt x="435" y="527"/>
                  <a:pt x="436" y="527"/>
                </a:cubicBezTo>
                <a:cubicBezTo>
                  <a:pt x="435" y="528"/>
                  <a:pt x="434" y="526"/>
                  <a:pt x="435" y="525"/>
                </a:cubicBezTo>
                <a:close/>
                <a:moveTo>
                  <a:pt x="432" y="638"/>
                </a:moveTo>
                <a:cubicBezTo>
                  <a:pt x="432" y="637"/>
                  <a:pt x="436" y="638"/>
                  <a:pt x="436" y="639"/>
                </a:cubicBezTo>
                <a:cubicBezTo>
                  <a:pt x="437" y="642"/>
                  <a:pt x="432" y="639"/>
                  <a:pt x="432" y="638"/>
                </a:cubicBezTo>
                <a:close/>
                <a:moveTo>
                  <a:pt x="435" y="641"/>
                </a:moveTo>
                <a:cubicBezTo>
                  <a:pt x="435" y="641"/>
                  <a:pt x="436" y="641"/>
                  <a:pt x="436" y="642"/>
                </a:cubicBezTo>
                <a:cubicBezTo>
                  <a:pt x="437" y="643"/>
                  <a:pt x="434" y="643"/>
                  <a:pt x="435" y="641"/>
                </a:cubicBezTo>
                <a:close/>
                <a:moveTo>
                  <a:pt x="444" y="668"/>
                </a:moveTo>
                <a:cubicBezTo>
                  <a:pt x="444" y="669"/>
                  <a:pt x="443" y="670"/>
                  <a:pt x="442" y="668"/>
                </a:cubicBezTo>
                <a:cubicBezTo>
                  <a:pt x="442" y="668"/>
                  <a:pt x="444" y="666"/>
                  <a:pt x="444" y="668"/>
                </a:cubicBezTo>
                <a:close/>
                <a:moveTo>
                  <a:pt x="449" y="565"/>
                </a:moveTo>
                <a:cubicBezTo>
                  <a:pt x="450" y="564"/>
                  <a:pt x="451" y="565"/>
                  <a:pt x="451" y="566"/>
                </a:cubicBezTo>
                <a:cubicBezTo>
                  <a:pt x="453" y="568"/>
                  <a:pt x="448" y="567"/>
                  <a:pt x="449" y="565"/>
                </a:cubicBezTo>
                <a:close/>
                <a:moveTo>
                  <a:pt x="455" y="614"/>
                </a:moveTo>
                <a:cubicBezTo>
                  <a:pt x="456" y="615"/>
                  <a:pt x="454" y="614"/>
                  <a:pt x="454" y="614"/>
                </a:cubicBezTo>
                <a:cubicBezTo>
                  <a:pt x="454" y="613"/>
                  <a:pt x="455" y="613"/>
                  <a:pt x="455" y="614"/>
                </a:cubicBezTo>
                <a:close/>
                <a:moveTo>
                  <a:pt x="452" y="555"/>
                </a:moveTo>
                <a:cubicBezTo>
                  <a:pt x="453" y="554"/>
                  <a:pt x="454" y="555"/>
                  <a:pt x="454" y="556"/>
                </a:cubicBezTo>
                <a:cubicBezTo>
                  <a:pt x="456" y="559"/>
                  <a:pt x="450" y="556"/>
                  <a:pt x="452" y="555"/>
                </a:cubicBezTo>
                <a:close/>
                <a:moveTo>
                  <a:pt x="451" y="548"/>
                </a:moveTo>
                <a:cubicBezTo>
                  <a:pt x="453" y="547"/>
                  <a:pt x="455" y="549"/>
                  <a:pt x="455" y="550"/>
                </a:cubicBezTo>
                <a:cubicBezTo>
                  <a:pt x="455" y="553"/>
                  <a:pt x="450" y="550"/>
                  <a:pt x="451" y="548"/>
                </a:cubicBezTo>
                <a:close/>
                <a:moveTo>
                  <a:pt x="454" y="498"/>
                </a:moveTo>
                <a:cubicBezTo>
                  <a:pt x="454" y="498"/>
                  <a:pt x="454" y="499"/>
                  <a:pt x="454" y="499"/>
                </a:cubicBezTo>
                <a:cubicBezTo>
                  <a:pt x="453" y="499"/>
                  <a:pt x="452" y="496"/>
                  <a:pt x="454" y="498"/>
                </a:cubicBezTo>
                <a:close/>
                <a:moveTo>
                  <a:pt x="454" y="414"/>
                </a:moveTo>
                <a:cubicBezTo>
                  <a:pt x="454" y="416"/>
                  <a:pt x="453" y="412"/>
                  <a:pt x="454" y="414"/>
                </a:cubicBezTo>
                <a:close/>
                <a:moveTo>
                  <a:pt x="452" y="462"/>
                </a:moveTo>
                <a:cubicBezTo>
                  <a:pt x="454" y="463"/>
                  <a:pt x="452" y="464"/>
                  <a:pt x="452" y="462"/>
                </a:cubicBezTo>
                <a:close/>
                <a:moveTo>
                  <a:pt x="453" y="501"/>
                </a:moveTo>
                <a:cubicBezTo>
                  <a:pt x="452" y="500"/>
                  <a:pt x="453" y="502"/>
                  <a:pt x="453" y="501"/>
                </a:cubicBezTo>
                <a:close/>
                <a:moveTo>
                  <a:pt x="429" y="475"/>
                </a:moveTo>
                <a:cubicBezTo>
                  <a:pt x="429" y="474"/>
                  <a:pt x="430" y="475"/>
                  <a:pt x="430" y="476"/>
                </a:cubicBezTo>
                <a:cubicBezTo>
                  <a:pt x="431" y="478"/>
                  <a:pt x="427" y="476"/>
                  <a:pt x="429" y="475"/>
                </a:cubicBezTo>
                <a:close/>
                <a:moveTo>
                  <a:pt x="429" y="611"/>
                </a:moveTo>
                <a:cubicBezTo>
                  <a:pt x="429" y="612"/>
                  <a:pt x="426" y="610"/>
                  <a:pt x="427" y="610"/>
                </a:cubicBezTo>
                <a:cubicBezTo>
                  <a:pt x="427" y="609"/>
                  <a:pt x="428" y="610"/>
                  <a:pt x="429" y="611"/>
                </a:cubicBezTo>
                <a:close/>
                <a:moveTo>
                  <a:pt x="427" y="634"/>
                </a:moveTo>
                <a:cubicBezTo>
                  <a:pt x="428" y="633"/>
                  <a:pt x="429" y="634"/>
                  <a:pt x="429" y="634"/>
                </a:cubicBezTo>
                <a:cubicBezTo>
                  <a:pt x="431" y="637"/>
                  <a:pt x="425" y="636"/>
                  <a:pt x="427" y="634"/>
                </a:cubicBezTo>
                <a:close/>
                <a:moveTo>
                  <a:pt x="425" y="607"/>
                </a:moveTo>
                <a:cubicBezTo>
                  <a:pt x="426" y="606"/>
                  <a:pt x="426" y="607"/>
                  <a:pt x="426" y="607"/>
                </a:cubicBezTo>
                <a:cubicBezTo>
                  <a:pt x="427" y="609"/>
                  <a:pt x="424" y="607"/>
                  <a:pt x="425" y="607"/>
                </a:cubicBezTo>
                <a:close/>
                <a:moveTo>
                  <a:pt x="426" y="620"/>
                </a:moveTo>
                <a:cubicBezTo>
                  <a:pt x="426" y="622"/>
                  <a:pt x="423" y="620"/>
                  <a:pt x="423" y="619"/>
                </a:cubicBezTo>
                <a:cubicBezTo>
                  <a:pt x="423" y="618"/>
                  <a:pt x="426" y="619"/>
                  <a:pt x="426" y="620"/>
                </a:cubicBezTo>
                <a:close/>
                <a:moveTo>
                  <a:pt x="420" y="690"/>
                </a:moveTo>
                <a:cubicBezTo>
                  <a:pt x="420" y="689"/>
                  <a:pt x="411" y="686"/>
                  <a:pt x="416" y="684"/>
                </a:cubicBezTo>
                <a:cubicBezTo>
                  <a:pt x="417" y="683"/>
                  <a:pt x="420" y="684"/>
                  <a:pt x="420" y="685"/>
                </a:cubicBezTo>
                <a:cubicBezTo>
                  <a:pt x="421" y="687"/>
                  <a:pt x="418" y="688"/>
                  <a:pt x="423" y="689"/>
                </a:cubicBezTo>
                <a:cubicBezTo>
                  <a:pt x="421" y="689"/>
                  <a:pt x="420" y="689"/>
                  <a:pt x="420" y="690"/>
                </a:cubicBezTo>
                <a:close/>
                <a:moveTo>
                  <a:pt x="418" y="700"/>
                </a:moveTo>
                <a:cubicBezTo>
                  <a:pt x="417" y="701"/>
                  <a:pt x="418" y="702"/>
                  <a:pt x="417" y="702"/>
                </a:cubicBezTo>
                <a:cubicBezTo>
                  <a:pt x="416" y="703"/>
                  <a:pt x="406" y="701"/>
                  <a:pt x="406" y="698"/>
                </a:cubicBezTo>
                <a:cubicBezTo>
                  <a:pt x="406" y="697"/>
                  <a:pt x="408" y="696"/>
                  <a:pt x="406" y="695"/>
                </a:cubicBezTo>
                <a:cubicBezTo>
                  <a:pt x="405" y="694"/>
                  <a:pt x="416" y="695"/>
                  <a:pt x="419" y="696"/>
                </a:cubicBezTo>
                <a:cubicBezTo>
                  <a:pt x="417" y="696"/>
                  <a:pt x="420" y="699"/>
                  <a:pt x="420" y="699"/>
                </a:cubicBezTo>
                <a:cubicBezTo>
                  <a:pt x="420" y="700"/>
                  <a:pt x="419" y="699"/>
                  <a:pt x="418" y="700"/>
                </a:cubicBezTo>
                <a:close/>
                <a:moveTo>
                  <a:pt x="420" y="714"/>
                </a:moveTo>
                <a:cubicBezTo>
                  <a:pt x="422" y="716"/>
                  <a:pt x="416" y="715"/>
                  <a:pt x="418" y="714"/>
                </a:cubicBezTo>
                <a:cubicBezTo>
                  <a:pt x="418" y="714"/>
                  <a:pt x="419" y="714"/>
                  <a:pt x="420" y="714"/>
                </a:cubicBezTo>
                <a:close/>
                <a:moveTo>
                  <a:pt x="410" y="719"/>
                </a:moveTo>
                <a:cubicBezTo>
                  <a:pt x="410" y="718"/>
                  <a:pt x="411" y="718"/>
                  <a:pt x="411" y="719"/>
                </a:cubicBezTo>
                <a:cubicBezTo>
                  <a:pt x="412" y="720"/>
                  <a:pt x="410" y="719"/>
                  <a:pt x="410" y="719"/>
                </a:cubicBezTo>
                <a:close/>
                <a:moveTo>
                  <a:pt x="403" y="686"/>
                </a:moveTo>
                <a:cubicBezTo>
                  <a:pt x="403" y="685"/>
                  <a:pt x="408" y="686"/>
                  <a:pt x="408" y="687"/>
                </a:cubicBezTo>
                <a:cubicBezTo>
                  <a:pt x="409" y="690"/>
                  <a:pt x="403" y="687"/>
                  <a:pt x="403" y="686"/>
                </a:cubicBezTo>
                <a:close/>
                <a:moveTo>
                  <a:pt x="406" y="697"/>
                </a:moveTo>
                <a:cubicBezTo>
                  <a:pt x="404" y="698"/>
                  <a:pt x="402" y="697"/>
                  <a:pt x="403" y="695"/>
                </a:cubicBezTo>
                <a:cubicBezTo>
                  <a:pt x="404" y="696"/>
                  <a:pt x="405" y="697"/>
                  <a:pt x="406" y="697"/>
                </a:cubicBezTo>
                <a:close/>
                <a:moveTo>
                  <a:pt x="414" y="652"/>
                </a:moveTo>
                <a:cubicBezTo>
                  <a:pt x="415" y="651"/>
                  <a:pt x="417" y="653"/>
                  <a:pt x="417" y="653"/>
                </a:cubicBezTo>
                <a:cubicBezTo>
                  <a:pt x="418" y="656"/>
                  <a:pt x="412" y="653"/>
                  <a:pt x="414" y="652"/>
                </a:cubicBezTo>
                <a:close/>
                <a:moveTo>
                  <a:pt x="418" y="679"/>
                </a:moveTo>
                <a:cubicBezTo>
                  <a:pt x="418" y="679"/>
                  <a:pt x="415" y="680"/>
                  <a:pt x="415" y="678"/>
                </a:cubicBezTo>
                <a:cubicBezTo>
                  <a:pt x="414" y="677"/>
                  <a:pt x="418" y="676"/>
                  <a:pt x="418" y="679"/>
                </a:cubicBezTo>
                <a:close/>
                <a:moveTo>
                  <a:pt x="414" y="669"/>
                </a:moveTo>
                <a:cubicBezTo>
                  <a:pt x="413" y="667"/>
                  <a:pt x="415" y="670"/>
                  <a:pt x="414" y="669"/>
                </a:cubicBezTo>
                <a:close/>
                <a:moveTo>
                  <a:pt x="411" y="641"/>
                </a:moveTo>
                <a:cubicBezTo>
                  <a:pt x="412" y="639"/>
                  <a:pt x="414" y="640"/>
                  <a:pt x="414" y="641"/>
                </a:cubicBezTo>
                <a:cubicBezTo>
                  <a:pt x="415" y="643"/>
                  <a:pt x="411" y="642"/>
                  <a:pt x="411" y="641"/>
                </a:cubicBezTo>
                <a:close/>
                <a:moveTo>
                  <a:pt x="420" y="682"/>
                </a:moveTo>
                <a:cubicBezTo>
                  <a:pt x="419" y="681"/>
                  <a:pt x="420" y="682"/>
                  <a:pt x="421" y="682"/>
                </a:cubicBezTo>
                <a:cubicBezTo>
                  <a:pt x="421" y="683"/>
                  <a:pt x="420" y="683"/>
                  <a:pt x="420" y="682"/>
                </a:cubicBezTo>
                <a:close/>
                <a:moveTo>
                  <a:pt x="422" y="683"/>
                </a:moveTo>
                <a:cubicBezTo>
                  <a:pt x="423" y="683"/>
                  <a:pt x="424" y="684"/>
                  <a:pt x="425" y="684"/>
                </a:cubicBezTo>
                <a:cubicBezTo>
                  <a:pt x="424" y="685"/>
                  <a:pt x="422" y="684"/>
                  <a:pt x="422" y="683"/>
                </a:cubicBezTo>
                <a:close/>
                <a:moveTo>
                  <a:pt x="425" y="673"/>
                </a:moveTo>
                <a:cubicBezTo>
                  <a:pt x="426" y="672"/>
                  <a:pt x="427" y="673"/>
                  <a:pt x="428" y="673"/>
                </a:cubicBezTo>
                <a:cubicBezTo>
                  <a:pt x="429" y="676"/>
                  <a:pt x="424" y="674"/>
                  <a:pt x="425" y="673"/>
                </a:cubicBezTo>
                <a:close/>
                <a:moveTo>
                  <a:pt x="426" y="681"/>
                </a:moveTo>
                <a:cubicBezTo>
                  <a:pt x="427" y="680"/>
                  <a:pt x="427" y="683"/>
                  <a:pt x="426" y="681"/>
                </a:cubicBezTo>
                <a:close/>
                <a:moveTo>
                  <a:pt x="427" y="693"/>
                </a:moveTo>
                <a:cubicBezTo>
                  <a:pt x="427" y="693"/>
                  <a:pt x="427" y="694"/>
                  <a:pt x="427" y="694"/>
                </a:cubicBezTo>
                <a:cubicBezTo>
                  <a:pt x="424" y="696"/>
                  <a:pt x="425" y="691"/>
                  <a:pt x="427" y="693"/>
                </a:cubicBezTo>
                <a:close/>
                <a:moveTo>
                  <a:pt x="426" y="685"/>
                </a:moveTo>
                <a:cubicBezTo>
                  <a:pt x="427" y="686"/>
                  <a:pt x="429" y="686"/>
                  <a:pt x="430" y="687"/>
                </a:cubicBezTo>
                <a:cubicBezTo>
                  <a:pt x="428" y="686"/>
                  <a:pt x="426" y="686"/>
                  <a:pt x="426" y="685"/>
                </a:cubicBezTo>
                <a:close/>
                <a:moveTo>
                  <a:pt x="416" y="649"/>
                </a:moveTo>
                <a:cubicBezTo>
                  <a:pt x="420" y="650"/>
                  <a:pt x="417" y="652"/>
                  <a:pt x="416" y="649"/>
                </a:cubicBezTo>
                <a:close/>
                <a:moveTo>
                  <a:pt x="418" y="563"/>
                </a:moveTo>
                <a:cubicBezTo>
                  <a:pt x="417" y="563"/>
                  <a:pt x="417" y="562"/>
                  <a:pt x="416" y="562"/>
                </a:cubicBezTo>
                <a:cubicBezTo>
                  <a:pt x="417" y="561"/>
                  <a:pt x="418" y="562"/>
                  <a:pt x="418" y="563"/>
                </a:cubicBezTo>
                <a:close/>
                <a:moveTo>
                  <a:pt x="414" y="556"/>
                </a:moveTo>
                <a:cubicBezTo>
                  <a:pt x="415" y="555"/>
                  <a:pt x="417" y="556"/>
                  <a:pt x="417" y="557"/>
                </a:cubicBezTo>
                <a:cubicBezTo>
                  <a:pt x="417" y="558"/>
                  <a:pt x="414" y="557"/>
                  <a:pt x="414" y="556"/>
                </a:cubicBezTo>
                <a:close/>
                <a:moveTo>
                  <a:pt x="415" y="631"/>
                </a:moveTo>
                <a:cubicBezTo>
                  <a:pt x="416" y="633"/>
                  <a:pt x="415" y="635"/>
                  <a:pt x="414" y="635"/>
                </a:cubicBezTo>
                <a:cubicBezTo>
                  <a:pt x="414" y="635"/>
                  <a:pt x="410" y="636"/>
                  <a:pt x="409" y="635"/>
                </a:cubicBezTo>
                <a:cubicBezTo>
                  <a:pt x="408" y="634"/>
                  <a:pt x="411" y="632"/>
                  <a:pt x="410" y="631"/>
                </a:cubicBezTo>
                <a:cubicBezTo>
                  <a:pt x="409" y="631"/>
                  <a:pt x="407" y="632"/>
                  <a:pt x="407" y="631"/>
                </a:cubicBezTo>
                <a:cubicBezTo>
                  <a:pt x="405" y="627"/>
                  <a:pt x="414" y="627"/>
                  <a:pt x="415" y="631"/>
                </a:cubicBezTo>
                <a:close/>
                <a:moveTo>
                  <a:pt x="410" y="640"/>
                </a:moveTo>
                <a:cubicBezTo>
                  <a:pt x="410" y="642"/>
                  <a:pt x="408" y="641"/>
                  <a:pt x="408" y="639"/>
                </a:cubicBezTo>
                <a:cubicBezTo>
                  <a:pt x="408" y="638"/>
                  <a:pt x="411" y="637"/>
                  <a:pt x="410" y="640"/>
                </a:cubicBezTo>
                <a:close/>
                <a:moveTo>
                  <a:pt x="408" y="660"/>
                </a:moveTo>
                <a:cubicBezTo>
                  <a:pt x="407" y="661"/>
                  <a:pt x="407" y="658"/>
                  <a:pt x="408" y="659"/>
                </a:cubicBezTo>
                <a:cubicBezTo>
                  <a:pt x="408" y="660"/>
                  <a:pt x="408" y="660"/>
                  <a:pt x="408" y="660"/>
                </a:cubicBezTo>
                <a:close/>
                <a:moveTo>
                  <a:pt x="407" y="611"/>
                </a:moveTo>
                <a:cubicBezTo>
                  <a:pt x="408" y="611"/>
                  <a:pt x="408" y="611"/>
                  <a:pt x="408" y="611"/>
                </a:cubicBezTo>
                <a:cubicBezTo>
                  <a:pt x="409" y="613"/>
                  <a:pt x="406" y="612"/>
                  <a:pt x="407" y="611"/>
                </a:cubicBezTo>
                <a:close/>
                <a:moveTo>
                  <a:pt x="408" y="568"/>
                </a:moveTo>
                <a:cubicBezTo>
                  <a:pt x="407" y="567"/>
                  <a:pt x="409" y="569"/>
                  <a:pt x="408" y="568"/>
                </a:cubicBezTo>
                <a:close/>
                <a:moveTo>
                  <a:pt x="408" y="164"/>
                </a:moveTo>
                <a:cubicBezTo>
                  <a:pt x="406" y="164"/>
                  <a:pt x="406" y="162"/>
                  <a:pt x="405" y="162"/>
                </a:cubicBezTo>
                <a:cubicBezTo>
                  <a:pt x="406" y="161"/>
                  <a:pt x="407" y="163"/>
                  <a:pt x="408" y="164"/>
                </a:cubicBezTo>
                <a:close/>
                <a:moveTo>
                  <a:pt x="405" y="462"/>
                </a:moveTo>
                <a:cubicBezTo>
                  <a:pt x="407" y="463"/>
                  <a:pt x="405" y="464"/>
                  <a:pt x="405" y="462"/>
                </a:cubicBezTo>
                <a:close/>
                <a:moveTo>
                  <a:pt x="404" y="93"/>
                </a:moveTo>
                <a:cubicBezTo>
                  <a:pt x="405" y="93"/>
                  <a:pt x="405" y="93"/>
                  <a:pt x="406" y="94"/>
                </a:cubicBezTo>
                <a:cubicBezTo>
                  <a:pt x="405" y="94"/>
                  <a:pt x="404" y="94"/>
                  <a:pt x="404" y="93"/>
                </a:cubicBezTo>
                <a:close/>
                <a:moveTo>
                  <a:pt x="404" y="393"/>
                </a:moveTo>
                <a:cubicBezTo>
                  <a:pt x="403" y="393"/>
                  <a:pt x="404" y="392"/>
                  <a:pt x="403" y="391"/>
                </a:cubicBezTo>
                <a:cubicBezTo>
                  <a:pt x="403" y="391"/>
                  <a:pt x="404" y="392"/>
                  <a:pt x="404" y="393"/>
                </a:cubicBezTo>
                <a:close/>
                <a:moveTo>
                  <a:pt x="408" y="622"/>
                </a:moveTo>
                <a:cubicBezTo>
                  <a:pt x="408" y="626"/>
                  <a:pt x="401" y="622"/>
                  <a:pt x="402" y="620"/>
                </a:cubicBezTo>
                <a:cubicBezTo>
                  <a:pt x="403" y="617"/>
                  <a:pt x="408" y="620"/>
                  <a:pt x="408" y="622"/>
                </a:cubicBezTo>
                <a:close/>
                <a:moveTo>
                  <a:pt x="406" y="655"/>
                </a:moveTo>
                <a:cubicBezTo>
                  <a:pt x="407" y="657"/>
                  <a:pt x="403" y="656"/>
                  <a:pt x="403" y="655"/>
                </a:cubicBezTo>
                <a:cubicBezTo>
                  <a:pt x="403" y="654"/>
                  <a:pt x="405" y="655"/>
                  <a:pt x="406" y="655"/>
                </a:cubicBezTo>
                <a:close/>
                <a:moveTo>
                  <a:pt x="403" y="640"/>
                </a:moveTo>
                <a:cubicBezTo>
                  <a:pt x="402" y="641"/>
                  <a:pt x="402" y="639"/>
                  <a:pt x="403" y="639"/>
                </a:cubicBezTo>
                <a:cubicBezTo>
                  <a:pt x="403" y="640"/>
                  <a:pt x="403" y="640"/>
                  <a:pt x="403" y="640"/>
                </a:cubicBezTo>
                <a:close/>
                <a:moveTo>
                  <a:pt x="402" y="649"/>
                </a:moveTo>
                <a:cubicBezTo>
                  <a:pt x="402" y="651"/>
                  <a:pt x="398" y="649"/>
                  <a:pt x="399" y="648"/>
                </a:cubicBezTo>
                <a:cubicBezTo>
                  <a:pt x="400" y="647"/>
                  <a:pt x="402" y="649"/>
                  <a:pt x="402" y="649"/>
                </a:cubicBezTo>
                <a:close/>
                <a:moveTo>
                  <a:pt x="402" y="492"/>
                </a:moveTo>
                <a:cubicBezTo>
                  <a:pt x="403" y="493"/>
                  <a:pt x="401" y="490"/>
                  <a:pt x="402" y="492"/>
                </a:cubicBezTo>
                <a:close/>
                <a:moveTo>
                  <a:pt x="397" y="651"/>
                </a:moveTo>
                <a:cubicBezTo>
                  <a:pt x="397" y="650"/>
                  <a:pt x="398" y="651"/>
                  <a:pt x="398" y="651"/>
                </a:cubicBezTo>
                <a:cubicBezTo>
                  <a:pt x="399" y="652"/>
                  <a:pt x="397" y="651"/>
                  <a:pt x="397" y="651"/>
                </a:cubicBezTo>
                <a:close/>
                <a:moveTo>
                  <a:pt x="396" y="629"/>
                </a:moveTo>
                <a:cubicBezTo>
                  <a:pt x="397" y="628"/>
                  <a:pt x="398" y="630"/>
                  <a:pt x="398" y="630"/>
                </a:cubicBezTo>
                <a:cubicBezTo>
                  <a:pt x="398" y="631"/>
                  <a:pt x="397" y="629"/>
                  <a:pt x="396" y="629"/>
                </a:cubicBezTo>
                <a:close/>
                <a:moveTo>
                  <a:pt x="402" y="683"/>
                </a:moveTo>
                <a:cubicBezTo>
                  <a:pt x="401" y="683"/>
                  <a:pt x="401" y="683"/>
                  <a:pt x="400" y="682"/>
                </a:cubicBezTo>
                <a:cubicBezTo>
                  <a:pt x="400" y="682"/>
                  <a:pt x="402" y="683"/>
                  <a:pt x="402" y="683"/>
                </a:cubicBezTo>
                <a:close/>
                <a:moveTo>
                  <a:pt x="399" y="681"/>
                </a:moveTo>
                <a:cubicBezTo>
                  <a:pt x="400" y="682"/>
                  <a:pt x="397" y="681"/>
                  <a:pt x="399" y="681"/>
                </a:cubicBezTo>
                <a:close/>
                <a:moveTo>
                  <a:pt x="394" y="689"/>
                </a:moveTo>
                <a:cubicBezTo>
                  <a:pt x="394" y="688"/>
                  <a:pt x="396" y="689"/>
                  <a:pt x="396" y="689"/>
                </a:cubicBezTo>
                <a:cubicBezTo>
                  <a:pt x="397" y="690"/>
                  <a:pt x="395" y="689"/>
                  <a:pt x="394" y="689"/>
                </a:cubicBezTo>
                <a:close/>
                <a:moveTo>
                  <a:pt x="393" y="724"/>
                </a:moveTo>
                <a:cubicBezTo>
                  <a:pt x="394" y="724"/>
                  <a:pt x="390" y="723"/>
                  <a:pt x="393" y="724"/>
                </a:cubicBezTo>
                <a:close/>
                <a:moveTo>
                  <a:pt x="391" y="742"/>
                </a:moveTo>
                <a:cubicBezTo>
                  <a:pt x="391" y="740"/>
                  <a:pt x="392" y="742"/>
                  <a:pt x="393" y="742"/>
                </a:cubicBezTo>
                <a:cubicBezTo>
                  <a:pt x="394" y="743"/>
                  <a:pt x="391" y="742"/>
                  <a:pt x="391" y="742"/>
                </a:cubicBezTo>
                <a:close/>
                <a:moveTo>
                  <a:pt x="399" y="697"/>
                </a:moveTo>
                <a:cubicBezTo>
                  <a:pt x="399" y="701"/>
                  <a:pt x="393" y="699"/>
                  <a:pt x="393" y="697"/>
                </a:cubicBezTo>
                <a:cubicBezTo>
                  <a:pt x="393" y="695"/>
                  <a:pt x="399" y="695"/>
                  <a:pt x="399" y="697"/>
                </a:cubicBezTo>
                <a:close/>
                <a:moveTo>
                  <a:pt x="394" y="717"/>
                </a:moveTo>
                <a:cubicBezTo>
                  <a:pt x="394" y="717"/>
                  <a:pt x="394" y="716"/>
                  <a:pt x="394" y="717"/>
                </a:cubicBezTo>
                <a:cubicBezTo>
                  <a:pt x="394" y="717"/>
                  <a:pt x="394" y="717"/>
                  <a:pt x="394" y="717"/>
                </a:cubicBezTo>
                <a:close/>
                <a:moveTo>
                  <a:pt x="394" y="727"/>
                </a:moveTo>
                <a:cubicBezTo>
                  <a:pt x="393" y="727"/>
                  <a:pt x="394" y="726"/>
                  <a:pt x="394" y="726"/>
                </a:cubicBezTo>
                <a:cubicBezTo>
                  <a:pt x="395" y="726"/>
                  <a:pt x="394" y="728"/>
                  <a:pt x="394" y="727"/>
                </a:cubicBezTo>
                <a:close/>
                <a:moveTo>
                  <a:pt x="395" y="745"/>
                </a:moveTo>
                <a:cubicBezTo>
                  <a:pt x="396" y="746"/>
                  <a:pt x="393" y="745"/>
                  <a:pt x="395" y="745"/>
                </a:cubicBezTo>
                <a:close/>
                <a:moveTo>
                  <a:pt x="396" y="726"/>
                </a:moveTo>
                <a:cubicBezTo>
                  <a:pt x="396" y="726"/>
                  <a:pt x="397" y="726"/>
                  <a:pt x="397" y="726"/>
                </a:cubicBezTo>
                <a:cubicBezTo>
                  <a:pt x="397" y="729"/>
                  <a:pt x="395" y="723"/>
                  <a:pt x="396" y="726"/>
                </a:cubicBezTo>
                <a:close/>
                <a:moveTo>
                  <a:pt x="404" y="726"/>
                </a:moveTo>
                <a:cubicBezTo>
                  <a:pt x="404" y="725"/>
                  <a:pt x="405" y="725"/>
                  <a:pt x="405" y="726"/>
                </a:cubicBezTo>
                <a:cubicBezTo>
                  <a:pt x="406" y="727"/>
                  <a:pt x="404" y="726"/>
                  <a:pt x="404" y="726"/>
                </a:cubicBezTo>
                <a:close/>
                <a:moveTo>
                  <a:pt x="399" y="722"/>
                </a:moveTo>
                <a:cubicBezTo>
                  <a:pt x="404" y="727"/>
                  <a:pt x="392" y="723"/>
                  <a:pt x="394" y="719"/>
                </a:cubicBezTo>
                <a:cubicBezTo>
                  <a:pt x="394" y="719"/>
                  <a:pt x="395" y="719"/>
                  <a:pt x="396" y="719"/>
                </a:cubicBezTo>
                <a:cubicBezTo>
                  <a:pt x="396" y="719"/>
                  <a:pt x="396" y="716"/>
                  <a:pt x="396" y="715"/>
                </a:cubicBezTo>
                <a:cubicBezTo>
                  <a:pt x="396" y="715"/>
                  <a:pt x="399" y="714"/>
                  <a:pt x="400" y="714"/>
                </a:cubicBezTo>
                <a:cubicBezTo>
                  <a:pt x="404" y="713"/>
                  <a:pt x="405" y="717"/>
                  <a:pt x="408" y="718"/>
                </a:cubicBezTo>
                <a:cubicBezTo>
                  <a:pt x="406" y="720"/>
                  <a:pt x="403" y="723"/>
                  <a:pt x="399" y="722"/>
                </a:cubicBezTo>
                <a:close/>
                <a:moveTo>
                  <a:pt x="409" y="735"/>
                </a:moveTo>
                <a:cubicBezTo>
                  <a:pt x="408" y="733"/>
                  <a:pt x="410" y="736"/>
                  <a:pt x="409" y="735"/>
                </a:cubicBezTo>
                <a:close/>
                <a:moveTo>
                  <a:pt x="415" y="738"/>
                </a:moveTo>
                <a:cubicBezTo>
                  <a:pt x="415" y="739"/>
                  <a:pt x="413" y="737"/>
                  <a:pt x="415" y="738"/>
                </a:cubicBezTo>
                <a:close/>
                <a:moveTo>
                  <a:pt x="408" y="727"/>
                </a:moveTo>
                <a:cubicBezTo>
                  <a:pt x="408" y="724"/>
                  <a:pt x="415" y="723"/>
                  <a:pt x="415" y="727"/>
                </a:cubicBezTo>
                <a:cubicBezTo>
                  <a:pt x="416" y="731"/>
                  <a:pt x="408" y="729"/>
                  <a:pt x="408" y="727"/>
                </a:cubicBezTo>
                <a:close/>
                <a:moveTo>
                  <a:pt x="417" y="733"/>
                </a:moveTo>
                <a:cubicBezTo>
                  <a:pt x="415" y="733"/>
                  <a:pt x="417" y="731"/>
                  <a:pt x="417" y="733"/>
                </a:cubicBezTo>
                <a:close/>
                <a:moveTo>
                  <a:pt x="419" y="726"/>
                </a:moveTo>
                <a:cubicBezTo>
                  <a:pt x="419" y="727"/>
                  <a:pt x="419" y="727"/>
                  <a:pt x="418" y="727"/>
                </a:cubicBezTo>
                <a:cubicBezTo>
                  <a:pt x="418" y="727"/>
                  <a:pt x="418" y="726"/>
                  <a:pt x="418" y="726"/>
                </a:cubicBezTo>
                <a:cubicBezTo>
                  <a:pt x="415" y="724"/>
                  <a:pt x="411" y="721"/>
                  <a:pt x="411" y="721"/>
                </a:cubicBezTo>
                <a:cubicBezTo>
                  <a:pt x="412" y="720"/>
                  <a:pt x="418" y="725"/>
                  <a:pt x="421" y="726"/>
                </a:cubicBezTo>
                <a:cubicBezTo>
                  <a:pt x="421" y="726"/>
                  <a:pt x="420" y="726"/>
                  <a:pt x="419" y="726"/>
                </a:cubicBezTo>
                <a:close/>
                <a:moveTo>
                  <a:pt x="420" y="705"/>
                </a:moveTo>
                <a:cubicBezTo>
                  <a:pt x="420" y="704"/>
                  <a:pt x="423" y="707"/>
                  <a:pt x="423" y="707"/>
                </a:cubicBezTo>
                <a:cubicBezTo>
                  <a:pt x="423" y="710"/>
                  <a:pt x="417" y="706"/>
                  <a:pt x="420" y="705"/>
                </a:cubicBezTo>
                <a:close/>
                <a:moveTo>
                  <a:pt x="422" y="709"/>
                </a:moveTo>
                <a:cubicBezTo>
                  <a:pt x="420" y="708"/>
                  <a:pt x="423" y="710"/>
                  <a:pt x="422" y="709"/>
                </a:cubicBezTo>
                <a:close/>
                <a:moveTo>
                  <a:pt x="422" y="712"/>
                </a:moveTo>
                <a:cubicBezTo>
                  <a:pt x="422" y="711"/>
                  <a:pt x="423" y="711"/>
                  <a:pt x="423" y="711"/>
                </a:cubicBezTo>
                <a:cubicBezTo>
                  <a:pt x="423" y="710"/>
                  <a:pt x="423" y="708"/>
                  <a:pt x="425" y="711"/>
                </a:cubicBezTo>
                <a:cubicBezTo>
                  <a:pt x="425" y="711"/>
                  <a:pt x="425" y="711"/>
                  <a:pt x="425" y="711"/>
                </a:cubicBezTo>
                <a:cubicBezTo>
                  <a:pt x="424" y="712"/>
                  <a:pt x="424" y="712"/>
                  <a:pt x="424" y="712"/>
                </a:cubicBezTo>
                <a:cubicBezTo>
                  <a:pt x="424" y="712"/>
                  <a:pt x="424" y="712"/>
                  <a:pt x="424" y="712"/>
                </a:cubicBezTo>
                <a:cubicBezTo>
                  <a:pt x="425" y="715"/>
                  <a:pt x="420" y="713"/>
                  <a:pt x="422" y="712"/>
                </a:cubicBezTo>
                <a:close/>
                <a:moveTo>
                  <a:pt x="425" y="708"/>
                </a:moveTo>
                <a:cubicBezTo>
                  <a:pt x="425" y="707"/>
                  <a:pt x="426" y="707"/>
                  <a:pt x="426" y="708"/>
                </a:cubicBezTo>
                <a:cubicBezTo>
                  <a:pt x="427" y="709"/>
                  <a:pt x="424" y="709"/>
                  <a:pt x="425" y="708"/>
                </a:cubicBezTo>
                <a:close/>
                <a:moveTo>
                  <a:pt x="426" y="712"/>
                </a:moveTo>
                <a:cubicBezTo>
                  <a:pt x="428" y="712"/>
                  <a:pt x="428" y="714"/>
                  <a:pt x="426" y="712"/>
                </a:cubicBezTo>
                <a:close/>
                <a:moveTo>
                  <a:pt x="422" y="722"/>
                </a:moveTo>
                <a:cubicBezTo>
                  <a:pt x="422" y="721"/>
                  <a:pt x="424" y="722"/>
                  <a:pt x="424" y="722"/>
                </a:cubicBezTo>
                <a:cubicBezTo>
                  <a:pt x="425" y="724"/>
                  <a:pt x="421" y="723"/>
                  <a:pt x="422" y="722"/>
                </a:cubicBezTo>
                <a:close/>
                <a:moveTo>
                  <a:pt x="429" y="731"/>
                </a:moveTo>
                <a:cubicBezTo>
                  <a:pt x="425" y="733"/>
                  <a:pt x="428" y="726"/>
                  <a:pt x="428" y="730"/>
                </a:cubicBezTo>
                <a:cubicBezTo>
                  <a:pt x="428" y="730"/>
                  <a:pt x="429" y="731"/>
                  <a:pt x="429" y="731"/>
                </a:cubicBezTo>
                <a:close/>
                <a:moveTo>
                  <a:pt x="428" y="722"/>
                </a:moveTo>
                <a:cubicBezTo>
                  <a:pt x="428" y="721"/>
                  <a:pt x="430" y="723"/>
                  <a:pt x="429" y="723"/>
                </a:cubicBezTo>
                <a:cubicBezTo>
                  <a:pt x="429" y="724"/>
                  <a:pt x="427" y="723"/>
                  <a:pt x="428" y="722"/>
                </a:cubicBezTo>
                <a:cubicBezTo>
                  <a:pt x="427" y="723"/>
                  <a:pt x="424" y="722"/>
                  <a:pt x="424" y="720"/>
                </a:cubicBezTo>
                <a:cubicBezTo>
                  <a:pt x="424" y="720"/>
                  <a:pt x="426" y="718"/>
                  <a:pt x="425" y="718"/>
                </a:cubicBezTo>
                <a:cubicBezTo>
                  <a:pt x="426" y="718"/>
                  <a:pt x="429" y="721"/>
                  <a:pt x="428" y="722"/>
                </a:cubicBezTo>
                <a:close/>
                <a:moveTo>
                  <a:pt x="427" y="702"/>
                </a:moveTo>
                <a:cubicBezTo>
                  <a:pt x="427" y="702"/>
                  <a:pt x="428" y="702"/>
                  <a:pt x="428" y="702"/>
                </a:cubicBezTo>
                <a:cubicBezTo>
                  <a:pt x="428" y="704"/>
                  <a:pt x="426" y="702"/>
                  <a:pt x="427" y="702"/>
                </a:cubicBezTo>
                <a:close/>
                <a:moveTo>
                  <a:pt x="424" y="697"/>
                </a:moveTo>
                <a:cubicBezTo>
                  <a:pt x="425" y="697"/>
                  <a:pt x="429" y="698"/>
                  <a:pt x="430" y="699"/>
                </a:cubicBezTo>
                <a:cubicBezTo>
                  <a:pt x="430" y="700"/>
                  <a:pt x="425" y="699"/>
                  <a:pt x="424" y="697"/>
                </a:cubicBezTo>
                <a:close/>
                <a:moveTo>
                  <a:pt x="430" y="690"/>
                </a:moveTo>
                <a:cubicBezTo>
                  <a:pt x="430" y="690"/>
                  <a:pt x="431" y="690"/>
                  <a:pt x="431" y="690"/>
                </a:cubicBezTo>
                <a:cubicBezTo>
                  <a:pt x="432" y="691"/>
                  <a:pt x="429" y="691"/>
                  <a:pt x="430" y="690"/>
                </a:cubicBezTo>
                <a:close/>
                <a:moveTo>
                  <a:pt x="435" y="698"/>
                </a:moveTo>
                <a:cubicBezTo>
                  <a:pt x="435" y="698"/>
                  <a:pt x="436" y="698"/>
                  <a:pt x="436" y="698"/>
                </a:cubicBezTo>
                <a:cubicBezTo>
                  <a:pt x="436" y="699"/>
                  <a:pt x="435" y="699"/>
                  <a:pt x="435" y="698"/>
                </a:cubicBezTo>
                <a:close/>
                <a:moveTo>
                  <a:pt x="437" y="693"/>
                </a:moveTo>
                <a:cubicBezTo>
                  <a:pt x="435" y="692"/>
                  <a:pt x="438" y="694"/>
                  <a:pt x="437" y="693"/>
                </a:cubicBezTo>
                <a:close/>
                <a:moveTo>
                  <a:pt x="438" y="696"/>
                </a:moveTo>
                <a:cubicBezTo>
                  <a:pt x="439" y="697"/>
                  <a:pt x="437" y="694"/>
                  <a:pt x="438" y="696"/>
                </a:cubicBezTo>
                <a:close/>
                <a:moveTo>
                  <a:pt x="432" y="689"/>
                </a:moveTo>
                <a:cubicBezTo>
                  <a:pt x="429" y="687"/>
                  <a:pt x="433" y="688"/>
                  <a:pt x="434" y="689"/>
                </a:cubicBezTo>
                <a:cubicBezTo>
                  <a:pt x="437" y="690"/>
                  <a:pt x="443" y="691"/>
                  <a:pt x="443" y="693"/>
                </a:cubicBezTo>
                <a:cubicBezTo>
                  <a:pt x="440" y="691"/>
                  <a:pt x="436" y="691"/>
                  <a:pt x="432" y="689"/>
                </a:cubicBezTo>
                <a:close/>
                <a:moveTo>
                  <a:pt x="439" y="682"/>
                </a:moveTo>
                <a:cubicBezTo>
                  <a:pt x="439" y="682"/>
                  <a:pt x="439" y="682"/>
                  <a:pt x="439" y="682"/>
                </a:cubicBezTo>
                <a:cubicBezTo>
                  <a:pt x="438" y="684"/>
                  <a:pt x="437" y="680"/>
                  <a:pt x="439" y="682"/>
                </a:cubicBezTo>
                <a:close/>
                <a:moveTo>
                  <a:pt x="446" y="681"/>
                </a:moveTo>
                <a:cubicBezTo>
                  <a:pt x="446" y="681"/>
                  <a:pt x="447" y="681"/>
                  <a:pt x="447" y="681"/>
                </a:cubicBezTo>
                <a:cubicBezTo>
                  <a:pt x="447" y="682"/>
                  <a:pt x="445" y="682"/>
                  <a:pt x="446" y="681"/>
                </a:cubicBezTo>
                <a:close/>
                <a:moveTo>
                  <a:pt x="442" y="678"/>
                </a:moveTo>
                <a:cubicBezTo>
                  <a:pt x="440" y="677"/>
                  <a:pt x="440" y="675"/>
                  <a:pt x="440" y="674"/>
                </a:cubicBezTo>
                <a:cubicBezTo>
                  <a:pt x="439" y="674"/>
                  <a:pt x="436" y="675"/>
                  <a:pt x="437" y="673"/>
                </a:cubicBezTo>
                <a:cubicBezTo>
                  <a:pt x="438" y="672"/>
                  <a:pt x="438" y="674"/>
                  <a:pt x="439" y="673"/>
                </a:cubicBezTo>
                <a:cubicBezTo>
                  <a:pt x="441" y="673"/>
                  <a:pt x="441" y="672"/>
                  <a:pt x="442" y="672"/>
                </a:cubicBezTo>
                <a:cubicBezTo>
                  <a:pt x="444" y="671"/>
                  <a:pt x="447" y="673"/>
                  <a:pt x="447" y="675"/>
                </a:cubicBezTo>
                <a:cubicBezTo>
                  <a:pt x="447" y="678"/>
                  <a:pt x="445" y="679"/>
                  <a:pt x="442" y="678"/>
                </a:cubicBezTo>
                <a:close/>
                <a:moveTo>
                  <a:pt x="445" y="642"/>
                </a:moveTo>
                <a:cubicBezTo>
                  <a:pt x="446" y="641"/>
                  <a:pt x="447" y="641"/>
                  <a:pt x="447" y="642"/>
                </a:cubicBezTo>
                <a:cubicBezTo>
                  <a:pt x="448" y="643"/>
                  <a:pt x="445" y="642"/>
                  <a:pt x="445" y="642"/>
                </a:cubicBezTo>
                <a:close/>
                <a:moveTo>
                  <a:pt x="447" y="580"/>
                </a:moveTo>
                <a:cubicBezTo>
                  <a:pt x="448" y="579"/>
                  <a:pt x="449" y="581"/>
                  <a:pt x="449" y="581"/>
                </a:cubicBezTo>
                <a:cubicBezTo>
                  <a:pt x="450" y="583"/>
                  <a:pt x="446" y="581"/>
                  <a:pt x="447" y="580"/>
                </a:cubicBezTo>
                <a:close/>
                <a:moveTo>
                  <a:pt x="448" y="651"/>
                </a:moveTo>
                <a:cubicBezTo>
                  <a:pt x="448" y="651"/>
                  <a:pt x="447" y="651"/>
                  <a:pt x="447" y="651"/>
                </a:cubicBezTo>
                <a:cubicBezTo>
                  <a:pt x="448" y="651"/>
                  <a:pt x="448" y="651"/>
                  <a:pt x="448" y="651"/>
                </a:cubicBezTo>
                <a:cubicBezTo>
                  <a:pt x="448" y="651"/>
                  <a:pt x="448" y="651"/>
                  <a:pt x="448" y="651"/>
                </a:cubicBezTo>
                <a:close/>
                <a:moveTo>
                  <a:pt x="448" y="640"/>
                </a:moveTo>
                <a:cubicBezTo>
                  <a:pt x="448" y="640"/>
                  <a:pt x="449" y="640"/>
                  <a:pt x="450" y="641"/>
                </a:cubicBezTo>
                <a:cubicBezTo>
                  <a:pt x="450" y="642"/>
                  <a:pt x="448" y="641"/>
                  <a:pt x="448" y="640"/>
                </a:cubicBezTo>
                <a:close/>
                <a:moveTo>
                  <a:pt x="450" y="636"/>
                </a:moveTo>
                <a:cubicBezTo>
                  <a:pt x="451" y="636"/>
                  <a:pt x="451" y="636"/>
                  <a:pt x="451" y="636"/>
                </a:cubicBezTo>
                <a:cubicBezTo>
                  <a:pt x="452" y="638"/>
                  <a:pt x="449" y="636"/>
                  <a:pt x="450" y="636"/>
                </a:cubicBezTo>
                <a:close/>
                <a:moveTo>
                  <a:pt x="451" y="642"/>
                </a:moveTo>
                <a:cubicBezTo>
                  <a:pt x="452" y="641"/>
                  <a:pt x="453" y="642"/>
                  <a:pt x="454" y="643"/>
                </a:cubicBezTo>
                <a:cubicBezTo>
                  <a:pt x="456" y="646"/>
                  <a:pt x="448" y="644"/>
                  <a:pt x="451" y="642"/>
                </a:cubicBezTo>
                <a:close/>
                <a:moveTo>
                  <a:pt x="451" y="666"/>
                </a:moveTo>
                <a:cubicBezTo>
                  <a:pt x="452" y="665"/>
                  <a:pt x="452" y="666"/>
                  <a:pt x="453" y="666"/>
                </a:cubicBezTo>
                <a:cubicBezTo>
                  <a:pt x="454" y="668"/>
                  <a:pt x="450" y="666"/>
                  <a:pt x="451" y="666"/>
                </a:cubicBezTo>
                <a:close/>
                <a:moveTo>
                  <a:pt x="453" y="682"/>
                </a:moveTo>
                <a:cubicBezTo>
                  <a:pt x="453" y="682"/>
                  <a:pt x="453" y="682"/>
                  <a:pt x="453" y="681"/>
                </a:cubicBezTo>
                <a:cubicBezTo>
                  <a:pt x="454" y="681"/>
                  <a:pt x="454" y="683"/>
                  <a:pt x="453" y="682"/>
                </a:cubicBezTo>
                <a:close/>
                <a:moveTo>
                  <a:pt x="456" y="685"/>
                </a:moveTo>
                <a:cubicBezTo>
                  <a:pt x="456" y="684"/>
                  <a:pt x="457" y="685"/>
                  <a:pt x="458" y="685"/>
                </a:cubicBezTo>
                <a:cubicBezTo>
                  <a:pt x="459" y="686"/>
                  <a:pt x="456" y="686"/>
                  <a:pt x="456" y="685"/>
                </a:cubicBezTo>
                <a:close/>
                <a:moveTo>
                  <a:pt x="458" y="702"/>
                </a:moveTo>
                <a:cubicBezTo>
                  <a:pt x="458" y="701"/>
                  <a:pt x="459" y="701"/>
                  <a:pt x="459" y="702"/>
                </a:cubicBezTo>
                <a:cubicBezTo>
                  <a:pt x="460" y="704"/>
                  <a:pt x="456" y="703"/>
                  <a:pt x="458" y="702"/>
                </a:cubicBezTo>
                <a:close/>
                <a:moveTo>
                  <a:pt x="460" y="691"/>
                </a:moveTo>
                <a:cubicBezTo>
                  <a:pt x="460" y="689"/>
                  <a:pt x="464" y="690"/>
                  <a:pt x="464" y="690"/>
                </a:cubicBezTo>
                <a:cubicBezTo>
                  <a:pt x="466" y="692"/>
                  <a:pt x="460" y="691"/>
                  <a:pt x="460" y="691"/>
                </a:cubicBezTo>
                <a:close/>
                <a:moveTo>
                  <a:pt x="466" y="690"/>
                </a:moveTo>
                <a:cubicBezTo>
                  <a:pt x="465" y="692"/>
                  <a:pt x="465" y="689"/>
                  <a:pt x="466" y="690"/>
                </a:cubicBezTo>
                <a:close/>
                <a:moveTo>
                  <a:pt x="459" y="679"/>
                </a:moveTo>
                <a:cubicBezTo>
                  <a:pt x="459" y="678"/>
                  <a:pt x="459" y="677"/>
                  <a:pt x="459" y="677"/>
                </a:cubicBezTo>
                <a:cubicBezTo>
                  <a:pt x="457" y="676"/>
                  <a:pt x="456" y="677"/>
                  <a:pt x="454" y="677"/>
                </a:cubicBezTo>
                <a:cubicBezTo>
                  <a:pt x="460" y="675"/>
                  <a:pt x="449" y="672"/>
                  <a:pt x="453" y="669"/>
                </a:cubicBezTo>
                <a:cubicBezTo>
                  <a:pt x="454" y="668"/>
                  <a:pt x="457" y="670"/>
                  <a:pt x="457" y="667"/>
                </a:cubicBezTo>
                <a:cubicBezTo>
                  <a:pt x="457" y="671"/>
                  <a:pt x="461" y="666"/>
                  <a:pt x="465" y="667"/>
                </a:cubicBezTo>
                <a:cubicBezTo>
                  <a:pt x="467" y="668"/>
                  <a:pt x="469" y="671"/>
                  <a:pt x="469" y="673"/>
                </a:cubicBezTo>
                <a:cubicBezTo>
                  <a:pt x="469" y="673"/>
                  <a:pt x="462" y="681"/>
                  <a:pt x="459" y="679"/>
                </a:cubicBezTo>
                <a:close/>
                <a:moveTo>
                  <a:pt x="460" y="633"/>
                </a:moveTo>
                <a:cubicBezTo>
                  <a:pt x="461" y="633"/>
                  <a:pt x="458" y="632"/>
                  <a:pt x="460" y="633"/>
                </a:cubicBezTo>
                <a:close/>
                <a:moveTo>
                  <a:pt x="460" y="643"/>
                </a:moveTo>
                <a:cubicBezTo>
                  <a:pt x="459" y="644"/>
                  <a:pt x="459" y="641"/>
                  <a:pt x="460" y="643"/>
                </a:cubicBezTo>
                <a:close/>
                <a:moveTo>
                  <a:pt x="471" y="641"/>
                </a:moveTo>
                <a:cubicBezTo>
                  <a:pt x="467" y="642"/>
                  <a:pt x="468" y="638"/>
                  <a:pt x="471" y="641"/>
                </a:cubicBezTo>
                <a:close/>
                <a:moveTo>
                  <a:pt x="469" y="656"/>
                </a:moveTo>
                <a:cubicBezTo>
                  <a:pt x="470" y="656"/>
                  <a:pt x="467" y="655"/>
                  <a:pt x="469" y="656"/>
                </a:cubicBezTo>
                <a:close/>
                <a:moveTo>
                  <a:pt x="467" y="622"/>
                </a:moveTo>
                <a:cubicBezTo>
                  <a:pt x="467" y="621"/>
                  <a:pt x="468" y="622"/>
                  <a:pt x="468" y="622"/>
                </a:cubicBezTo>
                <a:cubicBezTo>
                  <a:pt x="469" y="624"/>
                  <a:pt x="466" y="622"/>
                  <a:pt x="467" y="622"/>
                </a:cubicBezTo>
                <a:close/>
                <a:moveTo>
                  <a:pt x="466" y="598"/>
                </a:moveTo>
                <a:cubicBezTo>
                  <a:pt x="467" y="598"/>
                  <a:pt x="467" y="599"/>
                  <a:pt x="467" y="599"/>
                </a:cubicBezTo>
                <a:cubicBezTo>
                  <a:pt x="468" y="601"/>
                  <a:pt x="465" y="599"/>
                  <a:pt x="466" y="598"/>
                </a:cubicBezTo>
                <a:close/>
                <a:moveTo>
                  <a:pt x="470" y="684"/>
                </a:moveTo>
                <a:cubicBezTo>
                  <a:pt x="472" y="686"/>
                  <a:pt x="466" y="685"/>
                  <a:pt x="467" y="683"/>
                </a:cubicBezTo>
                <a:cubicBezTo>
                  <a:pt x="468" y="682"/>
                  <a:pt x="470" y="683"/>
                  <a:pt x="470" y="684"/>
                </a:cubicBezTo>
                <a:close/>
                <a:moveTo>
                  <a:pt x="469" y="666"/>
                </a:moveTo>
                <a:cubicBezTo>
                  <a:pt x="469" y="665"/>
                  <a:pt x="470" y="665"/>
                  <a:pt x="470" y="666"/>
                </a:cubicBezTo>
                <a:cubicBezTo>
                  <a:pt x="471" y="667"/>
                  <a:pt x="469" y="666"/>
                  <a:pt x="469" y="666"/>
                </a:cubicBezTo>
                <a:close/>
                <a:moveTo>
                  <a:pt x="470" y="689"/>
                </a:moveTo>
                <a:cubicBezTo>
                  <a:pt x="475" y="693"/>
                  <a:pt x="467" y="695"/>
                  <a:pt x="467" y="690"/>
                </a:cubicBezTo>
                <a:cubicBezTo>
                  <a:pt x="467" y="690"/>
                  <a:pt x="468" y="687"/>
                  <a:pt x="468" y="687"/>
                </a:cubicBezTo>
                <a:cubicBezTo>
                  <a:pt x="472" y="685"/>
                  <a:pt x="474" y="691"/>
                  <a:pt x="470" y="689"/>
                </a:cubicBezTo>
                <a:close/>
                <a:moveTo>
                  <a:pt x="472" y="667"/>
                </a:moveTo>
                <a:cubicBezTo>
                  <a:pt x="472" y="667"/>
                  <a:pt x="473" y="668"/>
                  <a:pt x="473" y="668"/>
                </a:cubicBezTo>
                <a:cubicBezTo>
                  <a:pt x="475" y="670"/>
                  <a:pt x="470" y="668"/>
                  <a:pt x="472" y="667"/>
                </a:cubicBezTo>
                <a:close/>
                <a:moveTo>
                  <a:pt x="474" y="664"/>
                </a:moveTo>
                <a:cubicBezTo>
                  <a:pt x="474" y="664"/>
                  <a:pt x="475" y="664"/>
                  <a:pt x="475" y="665"/>
                </a:cubicBezTo>
                <a:cubicBezTo>
                  <a:pt x="476" y="667"/>
                  <a:pt x="472" y="665"/>
                  <a:pt x="474" y="664"/>
                </a:cubicBezTo>
                <a:close/>
                <a:moveTo>
                  <a:pt x="476" y="687"/>
                </a:moveTo>
                <a:cubicBezTo>
                  <a:pt x="475" y="687"/>
                  <a:pt x="475" y="684"/>
                  <a:pt x="476" y="685"/>
                </a:cubicBezTo>
                <a:cubicBezTo>
                  <a:pt x="476" y="685"/>
                  <a:pt x="476" y="686"/>
                  <a:pt x="476" y="687"/>
                </a:cubicBezTo>
                <a:close/>
                <a:moveTo>
                  <a:pt x="476" y="673"/>
                </a:moveTo>
                <a:cubicBezTo>
                  <a:pt x="476" y="673"/>
                  <a:pt x="477" y="672"/>
                  <a:pt x="477" y="673"/>
                </a:cubicBezTo>
                <a:cubicBezTo>
                  <a:pt x="478" y="674"/>
                  <a:pt x="476" y="674"/>
                  <a:pt x="476" y="673"/>
                </a:cubicBezTo>
                <a:close/>
                <a:moveTo>
                  <a:pt x="481" y="671"/>
                </a:moveTo>
                <a:cubicBezTo>
                  <a:pt x="477" y="671"/>
                  <a:pt x="479" y="668"/>
                  <a:pt x="481" y="671"/>
                </a:cubicBezTo>
                <a:close/>
                <a:moveTo>
                  <a:pt x="482" y="658"/>
                </a:moveTo>
                <a:cubicBezTo>
                  <a:pt x="477" y="657"/>
                  <a:pt x="479" y="654"/>
                  <a:pt x="482" y="658"/>
                </a:cubicBezTo>
                <a:close/>
                <a:moveTo>
                  <a:pt x="480" y="668"/>
                </a:moveTo>
                <a:cubicBezTo>
                  <a:pt x="481" y="667"/>
                  <a:pt x="481" y="669"/>
                  <a:pt x="480" y="668"/>
                </a:cubicBezTo>
                <a:close/>
                <a:moveTo>
                  <a:pt x="487" y="691"/>
                </a:moveTo>
                <a:cubicBezTo>
                  <a:pt x="488" y="690"/>
                  <a:pt x="489" y="692"/>
                  <a:pt x="489" y="692"/>
                </a:cubicBezTo>
                <a:cubicBezTo>
                  <a:pt x="490" y="695"/>
                  <a:pt x="486" y="693"/>
                  <a:pt x="487" y="691"/>
                </a:cubicBezTo>
                <a:close/>
                <a:moveTo>
                  <a:pt x="493" y="686"/>
                </a:moveTo>
                <a:cubicBezTo>
                  <a:pt x="493" y="686"/>
                  <a:pt x="493" y="686"/>
                  <a:pt x="493" y="686"/>
                </a:cubicBezTo>
                <a:cubicBezTo>
                  <a:pt x="493" y="686"/>
                  <a:pt x="493" y="686"/>
                  <a:pt x="493" y="686"/>
                </a:cubicBezTo>
                <a:cubicBezTo>
                  <a:pt x="493" y="686"/>
                  <a:pt x="493" y="686"/>
                  <a:pt x="493" y="686"/>
                </a:cubicBezTo>
                <a:close/>
                <a:moveTo>
                  <a:pt x="495" y="682"/>
                </a:moveTo>
                <a:cubicBezTo>
                  <a:pt x="497" y="683"/>
                  <a:pt x="494" y="681"/>
                  <a:pt x="495" y="682"/>
                </a:cubicBezTo>
                <a:close/>
                <a:moveTo>
                  <a:pt x="497" y="681"/>
                </a:moveTo>
                <a:cubicBezTo>
                  <a:pt x="497" y="681"/>
                  <a:pt x="497" y="681"/>
                  <a:pt x="497" y="681"/>
                </a:cubicBezTo>
                <a:cubicBezTo>
                  <a:pt x="496" y="680"/>
                  <a:pt x="497" y="681"/>
                  <a:pt x="497" y="681"/>
                </a:cubicBezTo>
                <a:close/>
                <a:moveTo>
                  <a:pt x="496" y="673"/>
                </a:moveTo>
                <a:cubicBezTo>
                  <a:pt x="497" y="674"/>
                  <a:pt x="494" y="674"/>
                  <a:pt x="495" y="673"/>
                </a:cubicBezTo>
                <a:cubicBezTo>
                  <a:pt x="495" y="673"/>
                  <a:pt x="496" y="672"/>
                  <a:pt x="496" y="673"/>
                </a:cubicBezTo>
                <a:close/>
                <a:moveTo>
                  <a:pt x="494" y="670"/>
                </a:moveTo>
                <a:cubicBezTo>
                  <a:pt x="494" y="670"/>
                  <a:pt x="495" y="669"/>
                  <a:pt x="495" y="670"/>
                </a:cubicBezTo>
                <a:cubicBezTo>
                  <a:pt x="496" y="671"/>
                  <a:pt x="492" y="670"/>
                  <a:pt x="494" y="670"/>
                </a:cubicBezTo>
                <a:close/>
                <a:moveTo>
                  <a:pt x="492" y="681"/>
                </a:moveTo>
                <a:cubicBezTo>
                  <a:pt x="492" y="682"/>
                  <a:pt x="494" y="684"/>
                  <a:pt x="494" y="685"/>
                </a:cubicBezTo>
                <a:cubicBezTo>
                  <a:pt x="493" y="685"/>
                  <a:pt x="489" y="685"/>
                  <a:pt x="492" y="682"/>
                </a:cubicBezTo>
                <a:cubicBezTo>
                  <a:pt x="488" y="683"/>
                  <a:pt x="489" y="680"/>
                  <a:pt x="492" y="681"/>
                </a:cubicBezTo>
                <a:close/>
                <a:moveTo>
                  <a:pt x="488" y="684"/>
                </a:moveTo>
                <a:cubicBezTo>
                  <a:pt x="488" y="684"/>
                  <a:pt x="490" y="685"/>
                  <a:pt x="490" y="685"/>
                </a:cubicBezTo>
                <a:cubicBezTo>
                  <a:pt x="491" y="687"/>
                  <a:pt x="486" y="686"/>
                  <a:pt x="488" y="684"/>
                </a:cubicBezTo>
                <a:close/>
                <a:moveTo>
                  <a:pt x="485" y="687"/>
                </a:moveTo>
                <a:cubicBezTo>
                  <a:pt x="485" y="686"/>
                  <a:pt x="486" y="685"/>
                  <a:pt x="487" y="687"/>
                </a:cubicBezTo>
                <a:cubicBezTo>
                  <a:pt x="489" y="688"/>
                  <a:pt x="485" y="688"/>
                  <a:pt x="485" y="687"/>
                </a:cubicBezTo>
                <a:close/>
                <a:moveTo>
                  <a:pt x="485" y="684"/>
                </a:moveTo>
                <a:cubicBezTo>
                  <a:pt x="485" y="683"/>
                  <a:pt x="486" y="683"/>
                  <a:pt x="486" y="683"/>
                </a:cubicBezTo>
                <a:cubicBezTo>
                  <a:pt x="487" y="685"/>
                  <a:pt x="485" y="684"/>
                  <a:pt x="485" y="684"/>
                </a:cubicBezTo>
                <a:close/>
                <a:moveTo>
                  <a:pt x="485" y="683"/>
                </a:moveTo>
                <a:cubicBezTo>
                  <a:pt x="480" y="684"/>
                  <a:pt x="485" y="678"/>
                  <a:pt x="487" y="680"/>
                </a:cubicBezTo>
                <a:cubicBezTo>
                  <a:pt x="487" y="680"/>
                  <a:pt x="485" y="683"/>
                  <a:pt x="485" y="683"/>
                </a:cubicBezTo>
                <a:close/>
                <a:moveTo>
                  <a:pt x="484" y="665"/>
                </a:moveTo>
                <a:cubicBezTo>
                  <a:pt x="484" y="665"/>
                  <a:pt x="485" y="666"/>
                  <a:pt x="485" y="666"/>
                </a:cubicBezTo>
                <a:cubicBezTo>
                  <a:pt x="486" y="667"/>
                  <a:pt x="483" y="666"/>
                  <a:pt x="484" y="665"/>
                </a:cubicBezTo>
                <a:close/>
                <a:moveTo>
                  <a:pt x="486" y="676"/>
                </a:moveTo>
                <a:cubicBezTo>
                  <a:pt x="485" y="676"/>
                  <a:pt x="483" y="672"/>
                  <a:pt x="481" y="672"/>
                </a:cubicBezTo>
                <a:cubicBezTo>
                  <a:pt x="484" y="671"/>
                  <a:pt x="487" y="675"/>
                  <a:pt x="486" y="676"/>
                </a:cubicBezTo>
                <a:close/>
                <a:moveTo>
                  <a:pt x="484" y="651"/>
                </a:moveTo>
                <a:cubicBezTo>
                  <a:pt x="482" y="653"/>
                  <a:pt x="480" y="649"/>
                  <a:pt x="479" y="648"/>
                </a:cubicBezTo>
                <a:cubicBezTo>
                  <a:pt x="480" y="648"/>
                  <a:pt x="485" y="650"/>
                  <a:pt x="484" y="651"/>
                </a:cubicBezTo>
                <a:close/>
                <a:moveTo>
                  <a:pt x="482" y="644"/>
                </a:moveTo>
                <a:cubicBezTo>
                  <a:pt x="484" y="644"/>
                  <a:pt x="483" y="646"/>
                  <a:pt x="482" y="644"/>
                </a:cubicBezTo>
                <a:close/>
                <a:moveTo>
                  <a:pt x="482" y="639"/>
                </a:moveTo>
                <a:cubicBezTo>
                  <a:pt x="483" y="642"/>
                  <a:pt x="477" y="641"/>
                  <a:pt x="478" y="639"/>
                </a:cubicBezTo>
                <a:cubicBezTo>
                  <a:pt x="479" y="637"/>
                  <a:pt x="482" y="638"/>
                  <a:pt x="482" y="639"/>
                </a:cubicBezTo>
                <a:close/>
                <a:moveTo>
                  <a:pt x="481" y="637"/>
                </a:moveTo>
                <a:cubicBezTo>
                  <a:pt x="480" y="636"/>
                  <a:pt x="481" y="635"/>
                  <a:pt x="481" y="637"/>
                </a:cubicBezTo>
                <a:close/>
                <a:moveTo>
                  <a:pt x="482" y="621"/>
                </a:moveTo>
                <a:cubicBezTo>
                  <a:pt x="481" y="622"/>
                  <a:pt x="481" y="621"/>
                  <a:pt x="480" y="621"/>
                </a:cubicBezTo>
                <a:cubicBezTo>
                  <a:pt x="481" y="620"/>
                  <a:pt x="481" y="621"/>
                  <a:pt x="482" y="621"/>
                </a:cubicBezTo>
                <a:close/>
                <a:moveTo>
                  <a:pt x="480" y="622"/>
                </a:moveTo>
                <a:cubicBezTo>
                  <a:pt x="481" y="622"/>
                  <a:pt x="480" y="623"/>
                  <a:pt x="479" y="622"/>
                </a:cubicBezTo>
                <a:cubicBezTo>
                  <a:pt x="479" y="622"/>
                  <a:pt x="480" y="621"/>
                  <a:pt x="480" y="622"/>
                </a:cubicBezTo>
                <a:close/>
                <a:moveTo>
                  <a:pt x="479" y="615"/>
                </a:moveTo>
                <a:cubicBezTo>
                  <a:pt x="480" y="616"/>
                  <a:pt x="477" y="615"/>
                  <a:pt x="477" y="615"/>
                </a:cubicBezTo>
                <a:cubicBezTo>
                  <a:pt x="477" y="614"/>
                  <a:pt x="479" y="614"/>
                  <a:pt x="479" y="615"/>
                </a:cubicBezTo>
                <a:close/>
                <a:moveTo>
                  <a:pt x="477" y="640"/>
                </a:moveTo>
                <a:cubicBezTo>
                  <a:pt x="478" y="641"/>
                  <a:pt x="476" y="638"/>
                  <a:pt x="477" y="640"/>
                </a:cubicBezTo>
                <a:close/>
                <a:moveTo>
                  <a:pt x="477" y="654"/>
                </a:moveTo>
                <a:cubicBezTo>
                  <a:pt x="478" y="655"/>
                  <a:pt x="476" y="654"/>
                  <a:pt x="476" y="654"/>
                </a:cubicBezTo>
                <a:cubicBezTo>
                  <a:pt x="475" y="653"/>
                  <a:pt x="477" y="654"/>
                  <a:pt x="477" y="654"/>
                </a:cubicBezTo>
                <a:close/>
                <a:moveTo>
                  <a:pt x="476" y="611"/>
                </a:moveTo>
                <a:cubicBezTo>
                  <a:pt x="477" y="612"/>
                  <a:pt x="475" y="609"/>
                  <a:pt x="476" y="611"/>
                </a:cubicBezTo>
                <a:close/>
                <a:moveTo>
                  <a:pt x="476" y="642"/>
                </a:moveTo>
                <a:cubicBezTo>
                  <a:pt x="475" y="643"/>
                  <a:pt x="475" y="640"/>
                  <a:pt x="476" y="642"/>
                </a:cubicBezTo>
                <a:close/>
                <a:moveTo>
                  <a:pt x="474" y="617"/>
                </a:moveTo>
                <a:cubicBezTo>
                  <a:pt x="475" y="617"/>
                  <a:pt x="474" y="618"/>
                  <a:pt x="473" y="617"/>
                </a:cubicBezTo>
                <a:cubicBezTo>
                  <a:pt x="473" y="617"/>
                  <a:pt x="474" y="616"/>
                  <a:pt x="474" y="617"/>
                </a:cubicBezTo>
                <a:close/>
                <a:moveTo>
                  <a:pt x="476" y="646"/>
                </a:moveTo>
                <a:cubicBezTo>
                  <a:pt x="475" y="645"/>
                  <a:pt x="474" y="644"/>
                  <a:pt x="473" y="644"/>
                </a:cubicBezTo>
                <a:cubicBezTo>
                  <a:pt x="474" y="644"/>
                  <a:pt x="476" y="645"/>
                  <a:pt x="476" y="646"/>
                </a:cubicBezTo>
                <a:close/>
                <a:moveTo>
                  <a:pt x="475" y="654"/>
                </a:moveTo>
                <a:cubicBezTo>
                  <a:pt x="475" y="654"/>
                  <a:pt x="474" y="657"/>
                  <a:pt x="473" y="656"/>
                </a:cubicBezTo>
                <a:cubicBezTo>
                  <a:pt x="471" y="655"/>
                  <a:pt x="474" y="651"/>
                  <a:pt x="475" y="654"/>
                </a:cubicBezTo>
                <a:close/>
                <a:moveTo>
                  <a:pt x="474" y="661"/>
                </a:moveTo>
                <a:cubicBezTo>
                  <a:pt x="476" y="667"/>
                  <a:pt x="462" y="660"/>
                  <a:pt x="467" y="656"/>
                </a:cubicBezTo>
                <a:cubicBezTo>
                  <a:pt x="466" y="657"/>
                  <a:pt x="470" y="657"/>
                  <a:pt x="469" y="657"/>
                </a:cubicBezTo>
                <a:cubicBezTo>
                  <a:pt x="470" y="657"/>
                  <a:pt x="474" y="660"/>
                  <a:pt x="474" y="661"/>
                </a:cubicBezTo>
                <a:close/>
                <a:moveTo>
                  <a:pt x="468" y="591"/>
                </a:moveTo>
                <a:cubicBezTo>
                  <a:pt x="466" y="590"/>
                  <a:pt x="467" y="589"/>
                  <a:pt x="466" y="588"/>
                </a:cubicBezTo>
                <a:cubicBezTo>
                  <a:pt x="466" y="587"/>
                  <a:pt x="465" y="586"/>
                  <a:pt x="465" y="585"/>
                </a:cubicBezTo>
                <a:cubicBezTo>
                  <a:pt x="466" y="581"/>
                  <a:pt x="472" y="585"/>
                  <a:pt x="471" y="589"/>
                </a:cubicBezTo>
                <a:cubicBezTo>
                  <a:pt x="471" y="590"/>
                  <a:pt x="470" y="593"/>
                  <a:pt x="468" y="591"/>
                </a:cubicBezTo>
                <a:close/>
                <a:moveTo>
                  <a:pt x="466" y="483"/>
                </a:moveTo>
                <a:cubicBezTo>
                  <a:pt x="468" y="484"/>
                  <a:pt x="467" y="485"/>
                  <a:pt x="469" y="486"/>
                </a:cubicBezTo>
                <a:cubicBezTo>
                  <a:pt x="468" y="486"/>
                  <a:pt x="466" y="485"/>
                  <a:pt x="466" y="483"/>
                </a:cubicBezTo>
                <a:close/>
                <a:moveTo>
                  <a:pt x="475" y="566"/>
                </a:moveTo>
                <a:cubicBezTo>
                  <a:pt x="476" y="565"/>
                  <a:pt x="478" y="567"/>
                  <a:pt x="478" y="567"/>
                </a:cubicBezTo>
                <a:cubicBezTo>
                  <a:pt x="479" y="569"/>
                  <a:pt x="474" y="567"/>
                  <a:pt x="475" y="566"/>
                </a:cubicBezTo>
                <a:close/>
                <a:moveTo>
                  <a:pt x="477" y="592"/>
                </a:moveTo>
                <a:cubicBezTo>
                  <a:pt x="477" y="592"/>
                  <a:pt x="476" y="591"/>
                  <a:pt x="477" y="592"/>
                </a:cubicBezTo>
                <a:cubicBezTo>
                  <a:pt x="477" y="593"/>
                  <a:pt x="477" y="592"/>
                  <a:pt x="477" y="592"/>
                </a:cubicBezTo>
                <a:close/>
                <a:moveTo>
                  <a:pt x="477" y="587"/>
                </a:moveTo>
                <a:cubicBezTo>
                  <a:pt x="478" y="586"/>
                  <a:pt x="479" y="588"/>
                  <a:pt x="480" y="588"/>
                </a:cubicBezTo>
                <a:cubicBezTo>
                  <a:pt x="480" y="591"/>
                  <a:pt x="475" y="588"/>
                  <a:pt x="477" y="587"/>
                </a:cubicBezTo>
                <a:close/>
                <a:moveTo>
                  <a:pt x="479" y="454"/>
                </a:moveTo>
                <a:cubicBezTo>
                  <a:pt x="478" y="453"/>
                  <a:pt x="480" y="456"/>
                  <a:pt x="479" y="454"/>
                </a:cubicBezTo>
                <a:close/>
                <a:moveTo>
                  <a:pt x="496" y="587"/>
                </a:moveTo>
                <a:cubicBezTo>
                  <a:pt x="497" y="588"/>
                  <a:pt x="495" y="587"/>
                  <a:pt x="495" y="586"/>
                </a:cubicBezTo>
                <a:cubicBezTo>
                  <a:pt x="496" y="586"/>
                  <a:pt x="496" y="586"/>
                  <a:pt x="496" y="587"/>
                </a:cubicBezTo>
                <a:close/>
                <a:moveTo>
                  <a:pt x="496" y="580"/>
                </a:moveTo>
                <a:cubicBezTo>
                  <a:pt x="495" y="578"/>
                  <a:pt x="496" y="582"/>
                  <a:pt x="496" y="580"/>
                </a:cubicBezTo>
                <a:close/>
                <a:moveTo>
                  <a:pt x="496" y="559"/>
                </a:moveTo>
                <a:cubicBezTo>
                  <a:pt x="496" y="559"/>
                  <a:pt x="496" y="559"/>
                  <a:pt x="496" y="560"/>
                </a:cubicBezTo>
                <a:cubicBezTo>
                  <a:pt x="497" y="561"/>
                  <a:pt x="496" y="560"/>
                  <a:pt x="496" y="559"/>
                </a:cubicBezTo>
                <a:close/>
                <a:moveTo>
                  <a:pt x="496" y="596"/>
                </a:moveTo>
                <a:cubicBezTo>
                  <a:pt x="495" y="595"/>
                  <a:pt x="497" y="597"/>
                  <a:pt x="496" y="596"/>
                </a:cubicBezTo>
                <a:close/>
                <a:moveTo>
                  <a:pt x="496" y="590"/>
                </a:moveTo>
                <a:cubicBezTo>
                  <a:pt x="497" y="589"/>
                  <a:pt x="498" y="592"/>
                  <a:pt x="496" y="592"/>
                </a:cubicBezTo>
                <a:cubicBezTo>
                  <a:pt x="495" y="593"/>
                  <a:pt x="495" y="591"/>
                  <a:pt x="496" y="590"/>
                </a:cubicBezTo>
                <a:close/>
                <a:moveTo>
                  <a:pt x="499" y="609"/>
                </a:moveTo>
                <a:cubicBezTo>
                  <a:pt x="502" y="612"/>
                  <a:pt x="502" y="609"/>
                  <a:pt x="504" y="609"/>
                </a:cubicBezTo>
                <a:cubicBezTo>
                  <a:pt x="504" y="609"/>
                  <a:pt x="506" y="610"/>
                  <a:pt x="506" y="611"/>
                </a:cubicBezTo>
                <a:cubicBezTo>
                  <a:pt x="508" y="615"/>
                  <a:pt x="499" y="614"/>
                  <a:pt x="499" y="609"/>
                </a:cubicBezTo>
                <a:close/>
                <a:moveTo>
                  <a:pt x="505" y="598"/>
                </a:moveTo>
                <a:cubicBezTo>
                  <a:pt x="505" y="600"/>
                  <a:pt x="503" y="601"/>
                  <a:pt x="501" y="601"/>
                </a:cubicBezTo>
                <a:cubicBezTo>
                  <a:pt x="498" y="601"/>
                  <a:pt x="497" y="598"/>
                  <a:pt x="497" y="595"/>
                </a:cubicBezTo>
                <a:cubicBezTo>
                  <a:pt x="497" y="595"/>
                  <a:pt x="497" y="594"/>
                  <a:pt x="496" y="594"/>
                </a:cubicBezTo>
                <a:cubicBezTo>
                  <a:pt x="497" y="593"/>
                  <a:pt x="500" y="593"/>
                  <a:pt x="500" y="593"/>
                </a:cubicBezTo>
                <a:cubicBezTo>
                  <a:pt x="501" y="591"/>
                  <a:pt x="496" y="591"/>
                  <a:pt x="497" y="589"/>
                </a:cubicBezTo>
                <a:cubicBezTo>
                  <a:pt x="498" y="587"/>
                  <a:pt x="500" y="590"/>
                  <a:pt x="500" y="591"/>
                </a:cubicBezTo>
                <a:cubicBezTo>
                  <a:pt x="502" y="592"/>
                  <a:pt x="503" y="590"/>
                  <a:pt x="503" y="593"/>
                </a:cubicBezTo>
                <a:cubicBezTo>
                  <a:pt x="503" y="594"/>
                  <a:pt x="506" y="597"/>
                  <a:pt x="506" y="597"/>
                </a:cubicBezTo>
                <a:cubicBezTo>
                  <a:pt x="507" y="597"/>
                  <a:pt x="507" y="595"/>
                  <a:pt x="508" y="597"/>
                </a:cubicBezTo>
                <a:cubicBezTo>
                  <a:pt x="508" y="596"/>
                  <a:pt x="507" y="600"/>
                  <a:pt x="508" y="600"/>
                </a:cubicBezTo>
                <a:cubicBezTo>
                  <a:pt x="507" y="600"/>
                  <a:pt x="506" y="600"/>
                  <a:pt x="505" y="598"/>
                </a:cubicBezTo>
                <a:close/>
                <a:moveTo>
                  <a:pt x="499" y="528"/>
                </a:moveTo>
                <a:cubicBezTo>
                  <a:pt x="500" y="528"/>
                  <a:pt x="500" y="529"/>
                  <a:pt x="501" y="529"/>
                </a:cubicBezTo>
                <a:cubicBezTo>
                  <a:pt x="502" y="530"/>
                  <a:pt x="498" y="529"/>
                  <a:pt x="499" y="528"/>
                </a:cubicBezTo>
                <a:close/>
                <a:moveTo>
                  <a:pt x="501" y="521"/>
                </a:moveTo>
                <a:cubicBezTo>
                  <a:pt x="502" y="520"/>
                  <a:pt x="502" y="522"/>
                  <a:pt x="502" y="522"/>
                </a:cubicBezTo>
                <a:cubicBezTo>
                  <a:pt x="502" y="523"/>
                  <a:pt x="500" y="521"/>
                  <a:pt x="501" y="521"/>
                </a:cubicBezTo>
                <a:close/>
                <a:moveTo>
                  <a:pt x="509" y="616"/>
                </a:moveTo>
                <a:cubicBezTo>
                  <a:pt x="508" y="616"/>
                  <a:pt x="507" y="614"/>
                  <a:pt x="508" y="614"/>
                </a:cubicBezTo>
                <a:cubicBezTo>
                  <a:pt x="510" y="614"/>
                  <a:pt x="510" y="616"/>
                  <a:pt x="509" y="616"/>
                </a:cubicBezTo>
                <a:close/>
                <a:moveTo>
                  <a:pt x="510" y="615"/>
                </a:moveTo>
                <a:cubicBezTo>
                  <a:pt x="510" y="615"/>
                  <a:pt x="511" y="615"/>
                  <a:pt x="511" y="616"/>
                </a:cubicBezTo>
                <a:cubicBezTo>
                  <a:pt x="512" y="617"/>
                  <a:pt x="510" y="616"/>
                  <a:pt x="510" y="615"/>
                </a:cubicBezTo>
                <a:close/>
                <a:moveTo>
                  <a:pt x="515" y="611"/>
                </a:moveTo>
                <a:cubicBezTo>
                  <a:pt x="514" y="610"/>
                  <a:pt x="516" y="610"/>
                  <a:pt x="515" y="611"/>
                </a:cubicBezTo>
                <a:close/>
                <a:moveTo>
                  <a:pt x="518" y="606"/>
                </a:moveTo>
                <a:cubicBezTo>
                  <a:pt x="517" y="604"/>
                  <a:pt x="519" y="603"/>
                  <a:pt x="518" y="606"/>
                </a:cubicBezTo>
                <a:close/>
                <a:moveTo>
                  <a:pt x="518" y="567"/>
                </a:moveTo>
                <a:cubicBezTo>
                  <a:pt x="517" y="568"/>
                  <a:pt x="518" y="565"/>
                  <a:pt x="518" y="567"/>
                </a:cubicBezTo>
                <a:close/>
                <a:moveTo>
                  <a:pt x="520" y="607"/>
                </a:moveTo>
                <a:cubicBezTo>
                  <a:pt x="519" y="607"/>
                  <a:pt x="520" y="607"/>
                  <a:pt x="520" y="607"/>
                </a:cubicBezTo>
                <a:close/>
                <a:moveTo>
                  <a:pt x="520" y="607"/>
                </a:moveTo>
                <a:cubicBezTo>
                  <a:pt x="520" y="608"/>
                  <a:pt x="520" y="608"/>
                  <a:pt x="520" y="608"/>
                </a:cubicBezTo>
                <a:cubicBezTo>
                  <a:pt x="520" y="608"/>
                  <a:pt x="520" y="608"/>
                  <a:pt x="520" y="608"/>
                </a:cubicBezTo>
                <a:cubicBezTo>
                  <a:pt x="520" y="608"/>
                  <a:pt x="520" y="608"/>
                  <a:pt x="520" y="607"/>
                </a:cubicBezTo>
                <a:close/>
                <a:moveTo>
                  <a:pt x="520" y="587"/>
                </a:moveTo>
                <a:cubicBezTo>
                  <a:pt x="520" y="587"/>
                  <a:pt x="521" y="588"/>
                  <a:pt x="521" y="588"/>
                </a:cubicBezTo>
                <a:cubicBezTo>
                  <a:pt x="522" y="589"/>
                  <a:pt x="519" y="588"/>
                  <a:pt x="520" y="587"/>
                </a:cubicBezTo>
                <a:close/>
                <a:moveTo>
                  <a:pt x="524" y="590"/>
                </a:moveTo>
                <a:cubicBezTo>
                  <a:pt x="523" y="591"/>
                  <a:pt x="524" y="588"/>
                  <a:pt x="524" y="590"/>
                </a:cubicBezTo>
                <a:close/>
                <a:moveTo>
                  <a:pt x="525" y="609"/>
                </a:moveTo>
                <a:cubicBezTo>
                  <a:pt x="528" y="610"/>
                  <a:pt x="527" y="613"/>
                  <a:pt x="529" y="615"/>
                </a:cubicBezTo>
                <a:cubicBezTo>
                  <a:pt x="527" y="614"/>
                  <a:pt x="526" y="611"/>
                  <a:pt x="525" y="609"/>
                </a:cubicBezTo>
                <a:close/>
                <a:moveTo>
                  <a:pt x="525" y="580"/>
                </a:moveTo>
                <a:cubicBezTo>
                  <a:pt x="525" y="582"/>
                  <a:pt x="522" y="580"/>
                  <a:pt x="523" y="579"/>
                </a:cubicBezTo>
                <a:cubicBezTo>
                  <a:pt x="524" y="578"/>
                  <a:pt x="525" y="579"/>
                  <a:pt x="525" y="580"/>
                </a:cubicBezTo>
                <a:close/>
                <a:moveTo>
                  <a:pt x="524" y="565"/>
                </a:moveTo>
                <a:cubicBezTo>
                  <a:pt x="524" y="564"/>
                  <a:pt x="525" y="566"/>
                  <a:pt x="525" y="566"/>
                </a:cubicBezTo>
                <a:cubicBezTo>
                  <a:pt x="525" y="568"/>
                  <a:pt x="523" y="566"/>
                  <a:pt x="524" y="565"/>
                </a:cubicBezTo>
                <a:close/>
                <a:moveTo>
                  <a:pt x="524" y="549"/>
                </a:moveTo>
                <a:cubicBezTo>
                  <a:pt x="525" y="547"/>
                  <a:pt x="529" y="549"/>
                  <a:pt x="529" y="551"/>
                </a:cubicBezTo>
                <a:cubicBezTo>
                  <a:pt x="530" y="557"/>
                  <a:pt x="524" y="550"/>
                  <a:pt x="524" y="549"/>
                </a:cubicBezTo>
                <a:close/>
                <a:moveTo>
                  <a:pt x="525" y="541"/>
                </a:moveTo>
                <a:cubicBezTo>
                  <a:pt x="523" y="541"/>
                  <a:pt x="525" y="539"/>
                  <a:pt x="525" y="541"/>
                </a:cubicBezTo>
                <a:close/>
                <a:moveTo>
                  <a:pt x="526" y="576"/>
                </a:moveTo>
                <a:cubicBezTo>
                  <a:pt x="526" y="576"/>
                  <a:pt x="526" y="576"/>
                  <a:pt x="526" y="576"/>
                </a:cubicBezTo>
                <a:cubicBezTo>
                  <a:pt x="526" y="574"/>
                  <a:pt x="526" y="576"/>
                  <a:pt x="526" y="576"/>
                </a:cubicBezTo>
                <a:close/>
                <a:moveTo>
                  <a:pt x="530" y="596"/>
                </a:moveTo>
                <a:cubicBezTo>
                  <a:pt x="530" y="596"/>
                  <a:pt x="530" y="597"/>
                  <a:pt x="531" y="597"/>
                </a:cubicBezTo>
                <a:cubicBezTo>
                  <a:pt x="531" y="599"/>
                  <a:pt x="528" y="596"/>
                  <a:pt x="530" y="596"/>
                </a:cubicBezTo>
                <a:close/>
                <a:moveTo>
                  <a:pt x="527" y="595"/>
                </a:moveTo>
                <a:cubicBezTo>
                  <a:pt x="526" y="594"/>
                  <a:pt x="528" y="590"/>
                  <a:pt x="530" y="591"/>
                </a:cubicBezTo>
                <a:cubicBezTo>
                  <a:pt x="532" y="592"/>
                  <a:pt x="531" y="598"/>
                  <a:pt x="527" y="595"/>
                </a:cubicBezTo>
                <a:close/>
                <a:moveTo>
                  <a:pt x="533" y="617"/>
                </a:moveTo>
                <a:cubicBezTo>
                  <a:pt x="533" y="618"/>
                  <a:pt x="532" y="616"/>
                  <a:pt x="533" y="617"/>
                </a:cubicBezTo>
                <a:close/>
                <a:moveTo>
                  <a:pt x="533" y="600"/>
                </a:moveTo>
                <a:cubicBezTo>
                  <a:pt x="534" y="601"/>
                  <a:pt x="531" y="600"/>
                  <a:pt x="532" y="599"/>
                </a:cubicBezTo>
                <a:cubicBezTo>
                  <a:pt x="532" y="598"/>
                  <a:pt x="533" y="599"/>
                  <a:pt x="533" y="600"/>
                </a:cubicBezTo>
                <a:close/>
                <a:moveTo>
                  <a:pt x="531" y="579"/>
                </a:moveTo>
                <a:cubicBezTo>
                  <a:pt x="530" y="577"/>
                  <a:pt x="529" y="575"/>
                  <a:pt x="529" y="572"/>
                </a:cubicBezTo>
                <a:cubicBezTo>
                  <a:pt x="530" y="574"/>
                  <a:pt x="531" y="576"/>
                  <a:pt x="531" y="579"/>
                </a:cubicBezTo>
                <a:close/>
                <a:moveTo>
                  <a:pt x="532" y="541"/>
                </a:moveTo>
                <a:cubicBezTo>
                  <a:pt x="533" y="541"/>
                  <a:pt x="530" y="540"/>
                  <a:pt x="532" y="541"/>
                </a:cubicBezTo>
                <a:close/>
                <a:moveTo>
                  <a:pt x="531" y="502"/>
                </a:moveTo>
                <a:cubicBezTo>
                  <a:pt x="529" y="501"/>
                  <a:pt x="529" y="499"/>
                  <a:pt x="529" y="498"/>
                </a:cubicBezTo>
                <a:cubicBezTo>
                  <a:pt x="530" y="499"/>
                  <a:pt x="530" y="500"/>
                  <a:pt x="531" y="502"/>
                </a:cubicBezTo>
                <a:close/>
                <a:moveTo>
                  <a:pt x="526" y="400"/>
                </a:moveTo>
                <a:cubicBezTo>
                  <a:pt x="528" y="399"/>
                  <a:pt x="530" y="401"/>
                  <a:pt x="529" y="402"/>
                </a:cubicBezTo>
                <a:cubicBezTo>
                  <a:pt x="529" y="406"/>
                  <a:pt x="525" y="401"/>
                  <a:pt x="526" y="400"/>
                </a:cubicBezTo>
                <a:close/>
                <a:moveTo>
                  <a:pt x="529" y="495"/>
                </a:moveTo>
                <a:cubicBezTo>
                  <a:pt x="528" y="491"/>
                  <a:pt x="529" y="498"/>
                  <a:pt x="529" y="495"/>
                </a:cubicBezTo>
                <a:close/>
                <a:moveTo>
                  <a:pt x="528" y="472"/>
                </a:moveTo>
                <a:cubicBezTo>
                  <a:pt x="528" y="473"/>
                  <a:pt x="528" y="472"/>
                  <a:pt x="528" y="473"/>
                </a:cubicBezTo>
                <a:cubicBezTo>
                  <a:pt x="529" y="474"/>
                  <a:pt x="526" y="471"/>
                  <a:pt x="528" y="472"/>
                </a:cubicBezTo>
                <a:close/>
                <a:moveTo>
                  <a:pt x="527" y="451"/>
                </a:moveTo>
                <a:cubicBezTo>
                  <a:pt x="527" y="452"/>
                  <a:pt x="527" y="453"/>
                  <a:pt x="527" y="454"/>
                </a:cubicBezTo>
                <a:cubicBezTo>
                  <a:pt x="527" y="452"/>
                  <a:pt x="527" y="452"/>
                  <a:pt x="527" y="451"/>
                </a:cubicBezTo>
                <a:close/>
                <a:moveTo>
                  <a:pt x="526" y="427"/>
                </a:moveTo>
                <a:cubicBezTo>
                  <a:pt x="525" y="428"/>
                  <a:pt x="526" y="425"/>
                  <a:pt x="526" y="427"/>
                </a:cubicBezTo>
                <a:close/>
                <a:moveTo>
                  <a:pt x="525" y="423"/>
                </a:moveTo>
                <a:cubicBezTo>
                  <a:pt x="525" y="424"/>
                  <a:pt x="526" y="425"/>
                  <a:pt x="525" y="426"/>
                </a:cubicBezTo>
                <a:cubicBezTo>
                  <a:pt x="525" y="425"/>
                  <a:pt x="524" y="424"/>
                  <a:pt x="525" y="423"/>
                </a:cubicBezTo>
                <a:close/>
                <a:moveTo>
                  <a:pt x="523" y="458"/>
                </a:moveTo>
                <a:cubicBezTo>
                  <a:pt x="523" y="458"/>
                  <a:pt x="523" y="458"/>
                  <a:pt x="523" y="458"/>
                </a:cubicBezTo>
                <a:cubicBezTo>
                  <a:pt x="523" y="458"/>
                  <a:pt x="523" y="458"/>
                  <a:pt x="523" y="458"/>
                </a:cubicBezTo>
                <a:cubicBezTo>
                  <a:pt x="523" y="458"/>
                  <a:pt x="523" y="458"/>
                  <a:pt x="523" y="458"/>
                </a:cubicBezTo>
                <a:close/>
                <a:moveTo>
                  <a:pt x="530" y="536"/>
                </a:moveTo>
                <a:cubicBezTo>
                  <a:pt x="527" y="532"/>
                  <a:pt x="525" y="528"/>
                  <a:pt x="523" y="523"/>
                </a:cubicBezTo>
                <a:cubicBezTo>
                  <a:pt x="526" y="527"/>
                  <a:pt x="529" y="531"/>
                  <a:pt x="530" y="536"/>
                </a:cubicBezTo>
                <a:close/>
                <a:moveTo>
                  <a:pt x="525" y="586"/>
                </a:moveTo>
                <a:cubicBezTo>
                  <a:pt x="525" y="586"/>
                  <a:pt x="525" y="587"/>
                  <a:pt x="524" y="587"/>
                </a:cubicBezTo>
                <a:cubicBezTo>
                  <a:pt x="520" y="589"/>
                  <a:pt x="523" y="581"/>
                  <a:pt x="525" y="586"/>
                </a:cubicBezTo>
                <a:close/>
                <a:moveTo>
                  <a:pt x="521" y="487"/>
                </a:moveTo>
                <a:cubicBezTo>
                  <a:pt x="522" y="487"/>
                  <a:pt x="522" y="487"/>
                  <a:pt x="522" y="487"/>
                </a:cubicBezTo>
                <a:cubicBezTo>
                  <a:pt x="523" y="489"/>
                  <a:pt x="520" y="487"/>
                  <a:pt x="521" y="487"/>
                </a:cubicBezTo>
                <a:close/>
                <a:moveTo>
                  <a:pt x="520" y="406"/>
                </a:moveTo>
                <a:cubicBezTo>
                  <a:pt x="519" y="407"/>
                  <a:pt x="519" y="405"/>
                  <a:pt x="519" y="404"/>
                </a:cubicBezTo>
                <a:cubicBezTo>
                  <a:pt x="520" y="404"/>
                  <a:pt x="520" y="406"/>
                  <a:pt x="520" y="406"/>
                </a:cubicBezTo>
                <a:close/>
                <a:moveTo>
                  <a:pt x="518" y="118"/>
                </a:moveTo>
                <a:cubicBezTo>
                  <a:pt x="516" y="117"/>
                  <a:pt x="520" y="119"/>
                  <a:pt x="518" y="118"/>
                </a:cubicBezTo>
                <a:close/>
                <a:moveTo>
                  <a:pt x="520" y="517"/>
                </a:moveTo>
                <a:cubicBezTo>
                  <a:pt x="520" y="517"/>
                  <a:pt x="523" y="522"/>
                  <a:pt x="521" y="521"/>
                </a:cubicBezTo>
                <a:cubicBezTo>
                  <a:pt x="519" y="520"/>
                  <a:pt x="518" y="514"/>
                  <a:pt x="517" y="511"/>
                </a:cubicBezTo>
                <a:cubicBezTo>
                  <a:pt x="518" y="512"/>
                  <a:pt x="519" y="515"/>
                  <a:pt x="520" y="517"/>
                </a:cubicBezTo>
                <a:close/>
                <a:moveTo>
                  <a:pt x="517" y="510"/>
                </a:moveTo>
                <a:cubicBezTo>
                  <a:pt x="516" y="508"/>
                  <a:pt x="515" y="507"/>
                  <a:pt x="515" y="506"/>
                </a:cubicBezTo>
                <a:cubicBezTo>
                  <a:pt x="516" y="506"/>
                  <a:pt x="517" y="508"/>
                  <a:pt x="517" y="510"/>
                </a:cubicBezTo>
                <a:close/>
                <a:moveTo>
                  <a:pt x="517" y="585"/>
                </a:moveTo>
                <a:cubicBezTo>
                  <a:pt x="516" y="585"/>
                  <a:pt x="516" y="584"/>
                  <a:pt x="516" y="584"/>
                </a:cubicBezTo>
                <a:cubicBezTo>
                  <a:pt x="517" y="584"/>
                  <a:pt x="517" y="585"/>
                  <a:pt x="517" y="585"/>
                </a:cubicBezTo>
                <a:close/>
                <a:moveTo>
                  <a:pt x="513" y="496"/>
                </a:moveTo>
                <a:cubicBezTo>
                  <a:pt x="514" y="498"/>
                  <a:pt x="515" y="500"/>
                  <a:pt x="516" y="502"/>
                </a:cubicBezTo>
                <a:cubicBezTo>
                  <a:pt x="516" y="502"/>
                  <a:pt x="513" y="498"/>
                  <a:pt x="513" y="496"/>
                </a:cubicBezTo>
                <a:close/>
                <a:moveTo>
                  <a:pt x="513" y="532"/>
                </a:moveTo>
                <a:cubicBezTo>
                  <a:pt x="513" y="532"/>
                  <a:pt x="513" y="531"/>
                  <a:pt x="513" y="532"/>
                </a:cubicBezTo>
                <a:cubicBezTo>
                  <a:pt x="513" y="532"/>
                  <a:pt x="513" y="532"/>
                  <a:pt x="513" y="532"/>
                </a:cubicBezTo>
                <a:close/>
                <a:moveTo>
                  <a:pt x="514" y="115"/>
                </a:moveTo>
                <a:cubicBezTo>
                  <a:pt x="514" y="116"/>
                  <a:pt x="512" y="115"/>
                  <a:pt x="512" y="114"/>
                </a:cubicBezTo>
                <a:cubicBezTo>
                  <a:pt x="513" y="114"/>
                  <a:pt x="513" y="115"/>
                  <a:pt x="514" y="115"/>
                </a:cubicBezTo>
                <a:close/>
                <a:moveTo>
                  <a:pt x="513" y="495"/>
                </a:moveTo>
                <a:cubicBezTo>
                  <a:pt x="513" y="496"/>
                  <a:pt x="512" y="493"/>
                  <a:pt x="513" y="495"/>
                </a:cubicBezTo>
                <a:close/>
                <a:moveTo>
                  <a:pt x="515" y="592"/>
                </a:moveTo>
                <a:cubicBezTo>
                  <a:pt x="516" y="594"/>
                  <a:pt x="518" y="595"/>
                  <a:pt x="518" y="598"/>
                </a:cubicBezTo>
                <a:cubicBezTo>
                  <a:pt x="514" y="592"/>
                  <a:pt x="511" y="585"/>
                  <a:pt x="507" y="580"/>
                </a:cubicBezTo>
                <a:cubicBezTo>
                  <a:pt x="504" y="575"/>
                  <a:pt x="511" y="583"/>
                  <a:pt x="512" y="584"/>
                </a:cubicBezTo>
                <a:cubicBezTo>
                  <a:pt x="513" y="586"/>
                  <a:pt x="514" y="590"/>
                  <a:pt x="515" y="592"/>
                </a:cubicBezTo>
                <a:close/>
                <a:moveTo>
                  <a:pt x="509" y="537"/>
                </a:moveTo>
                <a:cubicBezTo>
                  <a:pt x="509" y="539"/>
                  <a:pt x="507" y="537"/>
                  <a:pt x="508" y="537"/>
                </a:cubicBezTo>
                <a:cubicBezTo>
                  <a:pt x="508" y="536"/>
                  <a:pt x="509" y="537"/>
                  <a:pt x="509" y="537"/>
                </a:cubicBezTo>
                <a:close/>
                <a:moveTo>
                  <a:pt x="508" y="484"/>
                </a:moveTo>
                <a:cubicBezTo>
                  <a:pt x="509" y="485"/>
                  <a:pt x="508" y="483"/>
                  <a:pt x="508" y="484"/>
                </a:cubicBezTo>
                <a:close/>
                <a:moveTo>
                  <a:pt x="510" y="544"/>
                </a:moveTo>
                <a:cubicBezTo>
                  <a:pt x="510" y="544"/>
                  <a:pt x="510" y="545"/>
                  <a:pt x="510" y="545"/>
                </a:cubicBezTo>
                <a:cubicBezTo>
                  <a:pt x="507" y="546"/>
                  <a:pt x="508" y="541"/>
                  <a:pt x="510" y="544"/>
                </a:cubicBezTo>
                <a:close/>
                <a:moveTo>
                  <a:pt x="507" y="463"/>
                </a:moveTo>
                <a:cubicBezTo>
                  <a:pt x="508" y="467"/>
                  <a:pt x="511" y="471"/>
                  <a:pt x="511" y="476"/>
                </a:cubicBezTo>
                <a:cubicBezTo>
                  <a:pt x="509" y="472"/>
                  <a:pt x="508" y="468"/>
                  <a:pt x="507" y="463"/>
                </a:cubicBezTo>
                <a:close/>
                <a:moveTo>
                  <a:pt x="508" y="387"/>
                </a:moveTo>
                <a:cubicBezTo>
                  <a:pt x="506" y="384"/>
                  <a:pt x="505" y="381"/>
                  <a:pt x="505" y="378"/>
                </a:cubicBezTo>
                <a:cubicBezTo>
                  <a:pt x="506" y="381"/>
                  <a:pt x="507" y="383"/>
                  <a:pt x="508" y="387"/>
                </a:cubicBezTo>
                <a:close/>
                <a:moveTo>
                  <a:pt x="507" y="528"/>
                </a:moveTo>
                <a:cubicBezTo>
                  <a:pt x="506" y="529"/>
                  <a:pt x="505" y="527"/>
                  <a:pt x="504" y="526"/>
                </a:cubicBezTo>
                <a:cubicBezTo>
                  <a:pt x="506" y="525"/>
                  <a:pt x="506" y="528"/>
                  <a:pt x="507" y="528"/>
                </a:cubicBezTo>
                <a:close/>
                <a:moveTo>
                  <a:pt x="504" y="525"/>
                </a:moveTo>
                <a:cubicBezTo>
                  <a:pt x="504" y="525"/>
                  <a:pt x="502" y="524"/>
                  <a:pt x="503" y="523"/>
                </a:cubicBezTo>
                <a:cubicBezTo>
                  <a:pt x="504" y="523"/>
                  <a:pt x="503" y="524"/>
                  <a:pt x="504" y="525"/>
                </a:cubicBezTo>
                <a:close/>
                <a:moveTo>
                  <a:pt x="503" y="434"/>
                </a:moveTo>
                <a:cubicBezTo>
                  <a:pt x="502" y="434"/>
                  <a:pt x="502" y="433"/>
                  <a:pt x="502" y="432"/>
                </a:cubicBezTo>
                <a:cubicBezTo>
                  <a:pt x="503" y="433"/>
                  <a:pt x="503" y="434"/>
                  <a:pt x="503" y="434"/>
                </a:cubicBezTo>
                <a:close/>
                <a:moveTo>
                  <a:pt x="501" y="431"/>
                </a:moveTo>
                <a:cubicBezTo>
                  <a:pt x="502" y="430"/>
                  <a:pt x="502" y="432"/>
                  <a:pt x="501" y="431"/>
                </a:cubicBezTo>
                <a:close/>
                <a:moveTo>
                  <a:pt x="500" y="448"/>
                </a:moveTo>
                <a:cubicBezTo>
                  <a:pt x="500" y="447"/>
                  <a:pt x="501" y="447"/>
                  <a:pt x="501" y="447"/>
                </a:cubicBezTo>
                <a:cubicBezTo>
                  <a:pt x="502" y="448"/>
                  <a:pt x="500" y="448"/>
                  <a:pt x="500" y="448"/>
                </a:cubicBezTo>
                <a:close/>
                <a:moveTo>
                  <a:pt x="501" y="429"/>
                </a:moveTo>
                <a:cubicBezTo>
                  <a:pt x="500" y="429"/>
                  <a:pt x="499" y="427"/>
                  <a:pt x="499" y="426"/>
                </a:cubicBezTo>
                <a:cubicBezTo>
                  <a:pt x="500" y="427"/>
                  <a:pt x="500" y="428"/>
                  <a:pt x="501" y="429"/>
                </a:cubicBezTo>
                <a:close/>
                <a:moveTo>
                  <a:pt x="499" y="566"/>
                </a:moveTo>
                <a:cubicBezTo>
                  <a:pt x="500" y="568"/>
                  <a:pt x="495" y="566"/>
                  <a:pt x="497" y="565"/>
                </a:cubicBezTo>
                <a:cubicBezTo>
                  <a:pt x="498" y="564"/>
                  <a:pt x="499" y="565"/>
                  <a:pt x="499" y="566"/>
                </a:cubicBezTo>
                <a:close/>
                <a:moveTo>
                  <a:pt x="498" y="149"/>
                </a:moveTo>
                <a:cubicBezTo>
                  <a:pt x="497" y="149"/>
                  <a:pt x="496" y="149"/>
                  <a:pt x="495" y="148"/>
                </a:cubicBezTo>
                <a:cubicBezTo>
                  <a:pt x="496" y="147"/>
                  <a:pt x="497" y="149"/>
                  <a:pt x="498" y="149"/>
                </a:cubicBezTo>
                <a:close/>
                <a:moveTo>
                  <a:pt x="494" y="480"/>
                </a:moveTo>
                <a:cubicBezTo>
                  <a:pt x="495" y="480"/>
                  <a:pt x="494" y="482"/>
                  <a:pt x="494" y="481"/>
                </a:cubicBezTo>
                <a:cubicBezTo>
                  <a:pt x="494" y="481"/>
                  <a:pt x="494" y="480"/>
                  <a:pt x="494" y="480"/>
                </a:cubicBezTo>
                <a:close/>
                <a:moveTo>
                  <a:pt x="487" y="591"/>
                </a:moveTo>
                <a:cubicBezTo>
                  <a:pt x="488" y="592"/>
                  <a:pt x="491" y="594"/>
                  <a:pt x="491" y="595"/>
                </a:cubicBezTo>
                <a:cubicBezTo>
                  <a:pt x="491" y="596"/>
                  <a:pt x="487" y="593"/>
                  <a:pt x="487" y="591"/>
                </a:cubicBezTo>
                <a:close/>
                <a:moveTo>
                  <a:pt x="487" y="573"/>
                </a:moveTo>
                <a:cubicBezTo>
                  <a:pt x="486" y="573"/>
                  <a:pt x="488" y="573"/>
                  <a:pt x="487" y="573"/>
                </a:cubicBezTo>
                <a:close/>
                <a:moveTo>
                  <a:pt x="490" y="482"/>
                </a:moveTo>
                <a:cubicBezTo>
                  <a:pt x="490" y="485"/>
                  <a:pt x="485" y="482"/>
                  <a:pt x="487" y="481"/>
                </a:cubicBezTo>
                <a:cubicBezTo>
                  <a:pt x="488" y="480"/>
                  <a:pt x="490" y="482"/>
                  <a:pt x="490" y="482"/>
                </a:cubicBezTo>
                <a:close/>
                <a:moveTo>
                  <a:pt x="487" y="468"/>
                </a:moveTo>
                <a:cubicBezTo>
                  <a:pt x="487" y="469"/>
                  <a:pt x="486" y="466"/>
                  <a:pt x="487" y="468"/>
                </a:cubicBezTo>
                <a:close/>
                <a:moveTo>
                  <a:pt x="486" y="380"/>
                </a:moveTo>
                <a:cubicBezTo>
                  <a:pt x="486" y="379"/>
                  <a:pt x="488" y="382"/>
                  <a:pt x="486" y="380"/>
                </a:cubicBezTo>
                <a:close/>
                <a:moveTo>
                  <a:pt x="486" y="467"/>
                </a:moveTo>
                <a:cubicBezTo>
                  <a:pt x="486" y="466"/>
                  <a:pt x="485" y="466"/>
                  <a:pt x="485" y="465"/>
                </a:cubicBezTo>
                <a:cubicBezTo>
                  <a:pt x="486" y="465"/>
                  <a:pt x="486" y="466"/>
                  <a:pt x="486" y="467"/>
                </a:cubicBezTo>
                <a:close/>
                <a:moveTo>
                  <a:pt x="486" y="560"/>
                </a:moveTo>
                <a:cubicBezTo>
                  <a:pt x="485" y="561"/>
                  <a:pt x="485" y="558"/>
                  <a:pt x="486" y="560"/>
                </a:cubicBezTo>
                <a:close/>
                <a:moveTo>
                  <a:pt x="484" y="463"/>
                </a:moveTo>
                <a:cubicBezTo>
                  <a:pt x="485" y="463"/>
                  <a:pt x="485" y="464"/>
                  <a:pt x="485" y="464"/>
                </a:cubicBezTo>
                <a:cubicBezTo>
                  <a:pt x="485" y="464"/>
                  <a:pt x="484" y="464"/>
                  <a:pt x="484" y="463"/>
                </a:cubicBezTo>
                <a:close/>
                <a:moveTo>
                  <a:pt x="484" y="462"/>
                </a:moveTo>
                <a:cubicBezTo>
                  <a:pt x="483" y="461"/>
                  <a:pt x="484" y="460"/>
                  <a:pt x="484" y="462"/>
                </a:cubicBezTo>
                <a:close/>
                <a:moveTo>
                  <a:pt x="484" y="465"/>
                </a:moveTo>
                <a:cubicBezTo>
                  <a:pt x="483" y="465"/>
                  <a:pt x="483" y="464"/>
                  <a:pt x="483" y="463"/>
                </a:cubicBezTo>
                <a:cubicBezTo>
                  <a:pt x="484" y="463"/>
                  <a:pt x="484" y="464"/>
                  <a:pt x="484" y="465"/>
                </a:cubicBezTo>
                <a:close/>
                <a:moveTo>
                  <a:pt x="483" y="460"/>
                </a:moveTo>
                <a:cubicBezTo>
                  <a:pt x="482" y="459"/>
                  <a:pt x="481" y="458"/>
                  <a:pt x="482" y="456"/>
                </a:cubicBezTo>
                <a:cubicBezTo>
                  <a:pt x="482" y="457"/>
                  <a:pt x="483" y="458"/>
                  <a:pt x="483" y="460"/>
                </a:cubicBezTo>
                <a:close/>
                <a:moveTo>
                  <a:pt x="482" y="461"/>
                </a:moveTo>
                <a:cubicBezTo>
                  <a:pt x="483" y="462"/>
                  <a:pt x="481" y="460"/>
                  <a:pt x="482" y="461"/>
                </a:cubicBezTo>
                <a:close/>
                <a:moveTo>
                  <a:pt x="486" y="590"/>
                </a:moveTo>
                <a:cubicBezTo>
                  <a:pt x="484" y="587"/>
                  <a:pt x="482" y="585"/>
                  <a:pt x="481" y="582"/>
                </a:cubicBezTo>
                <a:cubicBezTo>
                  <a:pt x="483" y="584"/>
                  <a:pt x="485" y="587"/>
                  <a:pt x="486" y="590"/>
                </a:cubicBezTo>
                <a:close/>
                <a:moveTo>
                  <a:pt x="480" y="457"/>
                </a:moveTo>
                <a:cubicBezTo>
                  <a:pt x="480" y="457"/>
                  <a:pt x="479" y="454"/>
                  <a:pt x="480" y="457"/>
                </a:cubicBezTo>
                <a:close/>
                <a:moveTo>
                  <a:pt x="479" y="414"/>
                </a:moveTo>
                <a:cubicBezTo>
                  <a:pt x="479" y="413"/>
                  <a:pt x="478" y="413"/>
                  <a:pt x="479" y="412"/>
                </a:cubicBezTo>
                <a:cubicBezTo>
                  <a:pt x="479" y="413"/>
                  <a:pt x="480" y="413"/>
                  <a:pt x="479" y="414"/>
                </a:cubicBezTo>
                <a:close/>
                <a:moveTo>
                  <a:pt x="478" y="401"/>
                </a:moveTo>
                <a:cubicBezTo>
                  <a:pt x="477" y="400"/>
                  <a:pt x="475" y="397"/>
                  <a:pt x="475" y="394"/>
                </a:cubicBezTo>
                <a:cubicBezTo>
                  <a:pt x="477" y="396"/>
                  <a:pt x="480" y="404"/>
                  <a:pt x="478" y="401"/>
                </a:cubicBezTo>
                <a:close/>
                <a:moveTo>
                  <a:pt x="474" y="393"/>
                </a:moveTo>
                <a:cubicBezTo>
                  <a:pt x="474" y="393"/>
                  <a:pt x="474" y="393"/>
                  <a:pt x="474" y="393"/>
                </a:cubicBezTo>
                <a:cubicBezTo>
                  <a:pt x="474" y="393"/>
                  <a:pt x="474" y="393"/>
                  <a:pt x="474" y="393"/>
                </a:cubicBezTo>
                <a:cubicBezTo>
                  <a:pt x="474" y="393"/>
                  <a:pt x="474" y="393"/>
                  <a:pt x="474" y="393"/>
                </a:cubicBezTo>
                <a:close/>
                <a:moveTo>
                  <a:pt x="469" y="488"/>
                </a:moveTo>
                <a:cubicBezTo>
                  <a:pt x="471" y="488"/>
                  <a:pt x="472" y="491"/>
                  <a:pt x="473" y="493"/>
                </a:cubicBezTo>
                <a:cubicBezTo>
                  <a:pt x="471" y="492"/>
                  <a:pt x="470" y="489"/>
                  <a:pt x="469" y="488"/>
                </a:cubicBezTo>
                <a:close/>
                <a:moveTo>
                  <a:pt x="472" y="391"/>
                </a:moveTo>
                <a:cubicBezTo>
                  <a:pt x="471" y="389"/>
                  <a:pt x="470" y="388"/>
                  <a:pt x="469" y="385"/>
                </a:cubicBezTo>
                <a:cubicBezTo>
                  <a:pt x="471" y="386"/>
                  <a:pt x="472" y="389"/>
                  <a:pt x="472" y="391"/>
                </a:cubicBezTo>
                <a:close/>
                <a:moveTo>
                  <a:pt x="469" y="124"/>
                </a:moveTo>
                <a:cubicBezTo>
                  <a:pt x="469" y="125"/>
                  <a:pt x="467" y="124"/>
                  <a:pt x="467" y="124"/>
                </a:cubicBezTo>
                <a:cubicBezTo>
                  <a:pt x="464" y="122"/>
                  <a:pt x="470" y="123"/>
                  <a:pt x="469" y="124"/>
                </a:cubicBezTo>
                <a:close/>
                <a:moveTo>
                  <a:pt x="466" y="430"/>
                </a:moveTo>
                <a:cubicBezTo>
                  <a:pt x="466" y="434"/>
                  <a:pt x="471" y="437"/>
                  <a:pt x="470" y="440"/>
                </a:cubicBezTo>
                <a:cubicBezTo>
                  <a:pt x="470" y="440"/>
                  <a:pt x="465" y="433"/>
                  <a:pt x="466" y="430"/>
                </a:cubicBezTo>
                <a:close/>
                <a:moveTo>
                  <a:pt x="465" y="555"/>
                </a:moveTo>
                <a:cubicBezTo>
                  <a:pt x="465" y="555"/>
                  <a:pt x="466" y="556"/>
                  <a:pt x="466" y="556"/>
                </a:cubicBezTo>
                <a:cubicBezTo>
                  <a:pt x="467" y="557"/>
                  <a:pt x="464" y="556"/>
                  <a:pt x="465" y="555"/>
                </a:cubicBezTo>
                <a:close/>
                <a:moveTo>
                  <a:pt x="465" y="575"/>
                </a:moveTo>
                <a:cubicBezTo>
                  <a:pt x="465" y="575"/>
                  <a:pt x="465" y="575"/>
                  <a:pt x="466" y="576"/>
                </a:cubicBezTo>
                <a:cubicBezTo>
                  <a:pt x="467" y="577"/>
                  <a:pt x="464" y="576"/>
                  <a:pt x="465" y="575"/>
                </a:cubicBezTo>
                <a:close/>
                <a:moveTo>
                  <a:pt x="463" y="584"/>
                </a:moveTo>
                <a:cubicBezTo>
                  <a:pt x="464" y="583"/>
                  <a:pt x="464" y="584"/>
                  <a:pt x="465" y="585"/>
                </a:cubicBezTo>
                <a:cubicBezTo>
                  <a:pt x="465" y="586"/>
                  <a:pt x="463" y="585"/>
                  <a:pt x="463" y="584"/>
                </a:cubicBezTo>
                <a:close/>
                <a:moveTo>
                  <a:pt x="464" y="655"/>
                </a:moveTo>
                <a:cubicBezTo>
                  <a:pt x="464" y="656"/>
                  <a:pt x="462" y="656"/>
                  <a:pt x="462" y="655"/>
                </a:cubicBezTo>
                <a:cubicBezTo>
                  <a:pt x="462" y="655"/>
                  <a:pt x="464" y="654"/>
                  <a:pt x="464" y="655"/>
                </a:cubicBezTo>
                <a:close/>
                <a:moveTo>
                  <a:pt x="463" y="619"/>
                </a:moveTo>
                <a:cubicBezTo>
                  <a:pt x="462" y="620"/>
                  <a:pt x="461" y="619"/>
                  <a:pt x="461" y="618"/>
                </a:cubicBezTo>
                <a:cubicBezTo>
                  <a:pt x="462" y="619"/>
                  <a:pt x="462" y="619"/>
                  <a:pt x="463" y="619"/>
                </a:cubicBezTo>
                <a:close/>
                <a:moveTo>
                  <a:pt x="461" y="536"/>
                </a:moveTo>
                <a:cubicBezTo>
                  <a:pt x="462" y="537"/>
                  <a:pt x="458" y="535"/>
                  <a:pt x="459" y="534"/>
                </a:cubicBezTo>
                <a:cubicBezTo>
                  <a:pt x="461" y="533"/>
                  <a:pt x="461" y="535"/>
                  <a:pt x="461" y="536"/>
                </a:cubicBezTo>
                <a:close/>
                <a:moveTo>
                  <a:pt x="454" y="150"/>
                </a:moveTo>
                <a:cubicBezTo>
                  <a:pt x="456" y="152"/>
                  <a:pt x="459" y="152"/>
                  <a:pt x="460" y="154"/>
                </a:cubicBezTo>
                <a:cubicBezTo>
                  <a:pt x="458" y="154"/>
                  <a:pt x="456" y="152"/>
                  <a:pt x="454" y="150"/>
                </a:cubicBezTo>
                <a:close/>
                <a:moveTo>
                  <a:pt x="459" y="122"/>
                </a:moveTo>
                <a:cubicBezTo>
                  <a:pt x="457" y="120"/>
                  <a:pt x="461" y="123"/>
                  <a:pt x="459" y="122"/>
                </a:cubicBezTo>
                <a:close/>
                <a:moveTo>
                  <a:pt x="453" y="94"/>
                </a:moveTo>
                <a:cubicBezTo>
                  <a:pt x="451" y="92"/>
                  <a:pt x="455" y="96"/>
                  <a:pt x="453" y="94"/>
                </a:cubicBezTo>
                <a:close/>
                <a:moveTo>
                  <a:pt x="451" y="96"/>
                </a:moveTo>
                <a:cubicBezTo>
                  <a:pt x="455" y="93"/>
                  <a:pt x="458" y="100"/>
                  <a:pt x="454" y="100"/>
                </a:cubicBezTo>
                <a:cubicBezTo>
                  <a:pt x="453" y="101"/>
                  <a:pt x="452" y="100"/>
                  <a:pt x="451" y="98"/>
                </a:cubicBezTo>
                <a:cubicBezTo>
                  <a:pt x="450" y="97"/>
                  <a:pt x="450" y="96"/>
                  <a:pt x="451" y="96"/>
                </a:cubicBezTo>
                <a:close/>
                <a:moveTo>
                  <a:pt x="447" y="103"/>
                </a:moveTo>
                <a:cubicBezTo>
                  <a:pt x="447" y="103"/>
                  <a:pt x="447" y="103"/>
                  <a:pt x="447" y="103"/>
                </a:cubicBezTo>
                <a:cubicBezTo>
                  <a:pt x="446" y="103"/>
                  <a:pt x="447" y="103"/>
                  <a:pt x="447" y="103"/>
                </a:cubicBezTo>
                <a:close/>
                <a:moveTo>
                  <a:pt x="444" y="145"/>
                </a:moveTo>
                <a:cubicBezTo>
                  <a:pt x="446" y="145"/>
                  <a:pt x="449" y="147"/>
                  <a:pt x="451" y="149"/>
                </a:cubicBezTo>
                <a:cubicBezTo>
                  <a:pt x="448" y="149"/>
                  <a:pt x="441" y="143"/>
                  <a:pt x="444" y="145"/>
                </a:cubicBezTo>
                <a:close/>
                <a:moveTo>
                  <a:pt x="442" y="515"/>
                </a:moveTo>
                <a:cubicBezTo>
                  <a:pt x="440" y="516"/>
                  <a:pt x="441" y="513"/>
                  <a:pt x="442" y="515"/>
                </a:cubicBezTo>
                <a:close/>
                <a:moveTo>
                  <a:pt x="436" y="80"/>
                </a:moveTo>
                <a:cubicBezTo>
                  <a:pt x="434" y="80"/>
                  <a:pt x="435" y="78"/>
                  <a:pt x="436" y="80"/>
                </a:cubicBezTo>
                <a:close/>
                <a:moveTo>
                  <a:pt x="440" y="114"/>
                </a:moveTo>
                <a:cubicBezTo>
                  <a:pt x="438" y="111"/>
                  <a:pt x="432" y="110"/>
                  <a:pt x="431" y="107"/>
                </a:cubicBezTo>
                <a:cubicBezTo>
                  <a:pt x="432" y="108"/>
                  <a:pt x="439" y="111"/>
                  <a:pt x="440" y="114"/>
                </a:cubicBezTo>
                <a:close/>
                <a:moveTo>
                  <a:pt x="433" y="179"/>
                </a:moveTo>
                <a:cubicBezTo>
                  <a:pt x="431" y="177"/>
                  <a:pt x="428" y="175"/>
                  <a:pt x="426" y="172"/>
                </a:cubicBezTo>
                <a:cubicBezTo>
                  <a:pt x="429" y="174"/>
                  <a:pt x="432" y="176"/>
                  <a:pt x="433" y="179"/>
                </a:cubicBezTo>
                <a:close/>
                <a:moveTo>
                  <a:pt x="425" y="594"/>
                </a:moveTo>
                <a:cubicBezTo>
                  <a:pt x="425" y="595"/>
                  <a:pt x="426" y="595"/>
                  <a:pt x="426" y="595"/>
                </a:cubicBezTo>
                <a:cubicBezTo>
                  <a:pt x="426" y="596"/>
                  <a:pt x="424" y="595"/>
                  <a:pt x="425" y="594"/>
                </a:cubicBezTo>
                <a:close/>
                <a:moveTo>
                  <a:pt x="426" y="549"/>
                </a:moveTo>
                <a:cubicBezTo>
                  <a:pt x="426" y="550"/>
                  <a:pt x="425" y="548"/>
                  <a:pt x="426" y="549"/>
                </a:cubicBezTo>
                <a:close/>
                <a:moveTo>
                  <a:pt x="426" y="468"/>
                </a:moveTo>
                <a:cubicBezTo>
                  <a:pt x="423" y="467"/>
                  <a:pt x="426" y="466"/>
                  <a:pt x="426" y="468"/>
                </a:cubicBezTo>
                <a:close/>
                <a:moveTo>
                  <a:pt x="425" y="542"/>
                </a:moveTo>
                <a:cubicBezTo>
                  <a:pt x="424" y="541"/>
                  <a:pt x="424" y="539"/>
                  <a:pt x="424" y="538"/>
                </a:cubicBezTo>
                <a:cubicBezTo>
                  <a:pt x="426" y="538"/>
                  <a:pt x="425" y="541"/>
                  <a:pt x="425" y="542"/>
                </a:cubicBezTo>
                <a:close/>
                <a:moveTo>
                  <a:pt x="423" y="592"/>
                </a:moveTo>
                <a:cubicBezTo>
                  <a:pt x="421" y="592"/>
                  <a:pt x="420" y="590"/>
                  <a:pt x="418" y="589"/>
                </a:cubicBezTo>
                <a:cubicBezTo>
                  <a:pt x="420" y="590"/>
                  <a:pt x="419" y="589"/>
                  <a:pt x="420" y="588"/>
                </a:cubicBezTo>
                <a:cubicBezTo>
                  <a:pt x="423" y="587"/>
                  <a:pt x="425" y="591"/>
                  <a:pt x="423" y="592"/>
                </a:cubicBezTo>
                <a:close/>
                <a:moveTo>
                  <a:pt x="420" y="499"/>
                </a:moveTo>
                <a:cubicBezTo>
                  <a:pt x="419" y="500"/>
                  <a:pt x="417" y="496"/>
                  <a:pt x="416" y="494"/>
                </a:cubicBezTo>
                <a:cubicBezTo>
                  <a:pt x="418" y="496"/>
                  <a:pt x="419" y="497"/>
                  <a:pt x="420" y="499"/>
                </a:cubicBezTo>
                <a:close/>
                <a:moveTo>
                  <a:pt x="417" y="100"/>
                </a:moveTo>
                <a:cubicBezTo>
                  <a:pt x="418" y="101"/>
                  <a:pt x="415" y="99"/>
                  <a:pt x="417" y="100"/>
                </a:cubicBezTo>
                <a:close/>
                <a:moveTo>
                  <a:pt x="416" y="49"/>
                </a:moveTo>
                <a:cubicBezTo>
                  <a:pt x="416" y="49"/>
                  <a:pt x="415" y="49"/>
                  <a:pt x="416" y="49"/>
                </a:cubicBezTo>
                <a:cubicBezTo>
                  <a:pt x="416" y="48"/>
                  <a:pt x="418" y="50"/>
                  <a:pt x="416" y="49"/>
                </a:cubicBezTo>
                <a:close/>
                <a:moveTo>
                  <a:pt x="413" y="491"/>
                </a:moveTo>
                <a:cubicBezTo>
                  <a:pt x="414" y="491"/>
                  <a:pt x="414" y="493"/>
                  <a:pt x="416" y="494"/>
                </a:cubicBezTo>
                <a:cubicBezTo>
                  <a:pt x="415" y="494"/>
                  <a:pt x="413" y="492"/>
                  <a:pt x="413" y="491"/>
                </a:cubicBezTo>
                <a:close/>
                <a:moveTo>
                  <a:pt x="415" y="46"/>
                </a:moveTo>
                <a:cubicBezTo>
                  <a:pt x="417" y="47"/>
                  <a:pt x="414" y="45"/>
                  <a:pt x="415" y="46"/>
                </a:cubicBezTo>
                <a:close/>
                <a:moveTo>
                  <a:pt x="414" y="98"/>
                </a:moveTo>
                <a:cubicBezTo>
                  <a:pt x="414" y="97"/>
                  <a:pt x="417" y="100"/>
                  <a:pt x="414" y="98"/>
                </a:cubicBezTo>
                <a:close/>
                <a:moveTo>
                  <a:pt x="414" y="134"/>
                </a:moveTo>
                <a:cubicBezTo>
                  <a:pt x="413" y="134"/>
                  <a:pt x="412" y="133"/>
                  <a:pt x="411" y="133"/>
                </a:cubicBezTo>
                <a:cubicBezTo>
                  <a:pt x="411" y="132"/>
                  <a:pt x="413" y="133"/>
                  <a:pt x="414" y="134"/>
                </a:cubicBezTo>
                <a:close/>
                <a:moveTo>
                  <a:pt x="413" y="99"/>
                </a:moveTo>
                <a:cubicBezTo>
                  <a:pt x="412" y="99"/>
                  <a:pt x="411" y="98"/>
                  <a:pt x="411" y="97"/>
                </a:cubicBezTo>
                <a:cubicBezTo>
                  <a:pt x="412" y="98"/>
                  <a:pt x="413" y="98"/>
                  <a:pt x="413" y="99"/>
                </a:cubicBezTo>
                <a:close/>
                <a:moveTo>
                  <a:pt x="411" y="96"/>
                </a:moveTo>
                <a:cubicBezTo>
                  <a:pt x="409" y="95"/>
                  <a:pt x="412" y="96"/>
                  <a:pt x="411" y="96"/>
                </a:cubicBezTo>
                <a:close/>
                <a:moveTo>
                  <a:pt x="412" y="68"/>
                </a:moveTo>
                <a:cubicBezTo>
                  <a:pt x="411" y="68"/>
                  <a:pt x="410" y="67"/>
                  <a:pt x="409" y="67"/>
                </a:cubicBezTo>
                <a:cubicBezTo>
                  <a:pt x="410" y="66"/>
                  <a:pt x="412" y="67"/>
                  <a:pt x="412" y="68"/>
                </a:cubicBezTo>
                <a:close/>
                <a:moveTo>
                  <a:pt x="408" y="95"/>
                </a:moveTo>
                <a:cubicBezTo>
                  <a:pt x="410" y="96"/>
                  <a:pt x="409" y="97"/>
                  <a:pt x="408" y="95"/>
                </a:cubicBezTo>
                <a:close/>
                <a:moveTo>
                  <a:pt x="406" y="93"/>
                </a:moveTo>
                <a:cubicBezTo>
                  <a:pt x="407" y="93"/>
                  <a:pt x="408" y="94"/>
                  <a:pt x="409" y="95"/>
                </a:cubicBezTo>
                <a:cubicBezTo>
                  <a:pt x="408" y="94"/>
                  <a:pt x="407" y="94"/>
                  <a:pt x="406" y="93"/>
                </a:cubicBezTo>
                <a:close/>
                <a:moveTo>
                  <a:pt x="408" y="66"/>
                </a:moveTo>
                <a:cubicBezTo>
                  <a:pt x="406" y="66"/>
                  <a:pt x="404" y="64"/>
                  <a:pt x="402" y="63"/>
                </a:cubicBezTo>
                <a:cubicBezTo>
                  <a:pt x="404" y="63"/>
                  <a:pt x="406" y="65"/>
                  <a:pt x="408" y="66"/>
                </a:cubicBezTo>
                <a:close/>
                <a:moveTo>
                  <a:pt x="403" y="92"/>
                </a:moveTo>
                <a:cubicBezTo>
                  <a:pt x="402" y="91"/>
                  <a:pt x="404" y="94"/>
                  <a:pt x="403" y="92"/>
                </a:cubicBezTo>
                <a:close/>
                <a:moveTo>
                  <a:pt x="402" y="116"/>
                </a:moveTo>
                <a:cubicBezTo>
                  <a:pt x="402" y="116"/>
                  <a:pt x="401" y="117"/>
                  <a:pt x="401" y="117"/>
                </a:cubicBezTo>
                <a:cubicBezTo>
                  <a:pt x="400" y="117"/>
                  <a:pt x="401" y="115"/>
                  <a:pt x="402" y="116"/>
                </a:cubicBezTo>
                <a:close/>
                <a:moveTo>
                  <a:pt x="404" y="171"/>
                </a:moveTo>
                <a:cubicBezTo>
                  <a:pt x="403" y="173"/>
                  <a:pt x="400" y="171"/>
                  <a:pt x="400" y="170"/>
                </a:cubicBezTo>
                <a:cubicBezTo>
                  <a:pt x="398" y="167"/>
                  <a:pt x="404" y="169"/>
                  <a:pt x="404" y="171"/>
                </a:cubicBezTo>
                <a:close/>
                <a:moveTo>
                  <a:pt x="398" y="513"/>
                </a:moveTo>
                <a:cubicBezTo>
                  <a:pt x="398" y="512"/>
                  <a:pt x="399" y="513"/>
                  <a:pt x="400" y="513"/>
                </a:cubicBezTo>
                <a:cubicBezTo>
                  <a:pt x="401" y="516"/>
                  <a:pt x="396" y="514"/>
                  <a:pt x="398" y="513"/>
                </a:cubicBezTo>
                <a:close/>
                <a:moveTo>
                  <a:pt x="397" y="471"/>
                </a:moveTo>
                <a:cubicBezTo>
                  <a:pt x="396" y="472"/>
                  <a:pt x="396" y="469"/>
                  <a:pt x="397" y="470"/>
                </a:cubicBezTo>
                <a:cubicBezTo>
                  <a:pt x="397" y="470"/>
                  <a:pt x="397" y="471"/>
                  <a:pt x="397" y="471"/>
                </a:cubicBezTo>
                <a:close/>
                <a:moveTo>
                  <a:pt x="397" y="427"/>
                </a:moveTo>
                <a:cubicBezTo>
                  <a:pt x="398" y="428"/>
                  <a:pt x="394" y="427"/>
                  <a:pt x="396" y="426"/>
                </a:cubicBezTo>
                <a:cubicBezTo>
                  <a:pt x="396" y="426"/>
                  <a:pt x="397" y="427"/>
                  <a:pt x="397" y="427"/>
                </a:cubicBezTo>
                <a:close/>
                <a:moveTo>
                  <a:pt x="396" y="81"/>
                </a:moveTo>
                <a:cubicBezTo>
                  <a:pt x="396" y="82"/>
                  <a:pt x="393" y="82"/>
                  <a:pt x="393" y="81"/>
                </a:cubicBezTo>
                <a:cubicBezTo>
                  <a:pt x="391" y="79"/>
                  <a:pt x="397" y="79"/>
                  <a:pt x="396" y="81"/>
                </a:cubicBezTo>
                <a:close/>
                <a:moveTo>
                  <a:pt x="393" y="150"/>
                </a:moveTo>
                <a:cubicBezTo>
                  <a:pt x="392" y="150"/>
                  <a:pt x="391" y="149"/>
                  <a:pt x="391" y="148"/>
                </a:cubicBezTo>
                <a:cubicBezTo>
                  <a:pt x="392" y="148"/>
                  <a:pt x="393" y="149"/>
                  <a:pt x="393" y="150"/>
                </a:cubicBezTo>
                <a:close/>
                <a:moveTo>
                  <a:pt x="395" y="400"/>
                </a:moveTo>
                <a:cubicBezTo>
                  <a:pt x="394" y="403"/>
                  <a:pt x="389" y="398"/>
                  <a:pt x="390" y="397"/>
                </a:cubicBezTo>
                <a:cubicBezTo>
                  <a:pt x="392" y="395"/>
                  <a:pt x="395" y="399"/>
                  <a:pt x="395" y="400"/>
                </a:cubicBezTo>
                <a:close/>
                <a:moveTo>
                  <a:pt x="391" y="167"/>
                </a:moveTo>
                <a:cubicBezTo>
                  <a:pt x="390" y="168"/>
                  <a:pt x="389" y="166"/>
                  <a:pt x="391" y="167"/>
                </a:cubicBezTo>
                <a:close/>
                <a:moveTo>
                  <a:pt x="390" y="147"/>
                </a:moveTo>
                <a:cubicBezTo>
                  <a:pt x="390" y="146"/>
                  <a:pt x="391" y="149"/>
                  <a:pt x="390" y="147"/>
                </a:cubicBezTo>
                <a:close/>
                <a:moveTo>
                  <a:pt x="390" y="84"/>
                </a:moveTo>
                <a:cubicBezTo>
                  <a:pt x="390" y="85"/>
                  <a:pt x="390" y="85"/>
                  <a:pt x="390" y="85"/>
                </a:cubicBezTo>
                <a:cubicBezTo>
                  <a:pt x="389" y="86"/>
                  <a:pt x="389" y="84"/>
                  <a:pt x="390" y="84"/>
                </a:cubicBezTo>
                <a:close/>
                <a:moveTo>
                  <a:pt x="391" y="691"/>
                </a:moveTo>
                <a:cubicBezTo>
                  <a:pt x="391" y="691"/>
                  <a:pt x="391" y="691"/>
                  <a:pt x="391" y="692"/>
                </a:cubicBezTo>
                <a:cubicBezTo>
                  <a:pt x="388" y="691"/>
                  <a:pt x="382" y="691"/>
                  <a:pt x="384" y="687"/>
                </a:cubicBezTo>
                <a:cubicBezTo>
                  <a:pt x="384" y="687"/>
                  <a:pt x="387" y="686"/>
                  <a:pt x="388" y="687"/>
                </a:cubicBezTo>
                <a:cubicBezTo>
                  <a:pt x="391" y="688"/>
                  <a:pt x="388" y="691"/>
                  <a:pt x="391" y="691"/>
                </a:cubicBezTo>
                <a:close/>
                <a:moveTo>
                  <a:pt x="381" y="643"/>
                </a:moveTo>
                <a:cubicBezTo>
                  <a:pt x="381" y="642"/>
                  <a:pt x="381" y="641"/>
                  <a:pt x="381" y="641"/>
                </a:cubicBezTo>
                <a:cubicBezTo>
                  <a:pt x="381" y="641"/>
                  <a:pt x="379" y="641"/>
                  <a:pt x="379" y="640"/>
                </a:cubicBezTo>
                <a:cubicBezTo>
                  <a:pt x="380" y="637"/>
                  <a:pt x="387" y="642"/>
                  <a:pt x="388" y="643"/>
                </a:cubicBezTo>
                <a:cubicBezTo>
                  <a:pt x="387" y="642"/>
                  <a:pt x="383" y="646"/>
                  <a:pt x="381" y="643"/>
                </a:cubicBezTo>
                <a:close/>
                <a:moveTo>
                  <a:pt x="382" y="615"/>
                </a:moveTo>
                <a:cubicBezTo>
                  <a:pt x="383" y="616"/>
                  <a:pt x="381" y="614"/>
                  <a:pt x="382" y="615"/>
                </a:cubicBezTo>
                <a:close/>
                <a:moveTo>
                  <a:pt x="383" y="159"/>
                </a:moveTo>
                <a:cubicBezTo>
                  <a:pt x="383" y="158"/>
                  <a:pt x="385" y="161"/>
                  <a:pt x="383" y="160"/>
                </a:cubicBezTo>
                <a:cubicBezTo>
                  <a:pt x="383" y="160"/>
                  <a:pt x="382" y="159"/>
                  <a:pt x="383" y="159"/>
                </a:cubicBezTo>
                <a:close/>
                <a:moveTo>
                  <a:pt x="387" y="432"/>
                </a:moveTo>
                <a:cubicBezTo>
                  <a:pt x="387" y="432"/>
                  <a:pt x="387" y="433"/>
                  <a:pt x="387" y="433"/>
                </a:cubicBezTo>
                <a:cubicBezTo>
                  <a:pt x="386" y="434"/>
                  <a:pt x="386" y="432"/>
                  <a:pt x="387" y="432"/>
                </a:cubicBezTo>
                <a:close/>
                <a:moveTo>
                  <a:pt x="387" y="159"/>
                </a:moveTo>
                <a:cubicBezTo>
                  <a:pt x="388" y="159"/>
                  <a:pt x="387" y="161"/>
                  <a:pt x="387" y="159"/>
                </a:cubicBezTo>
                <a:close/>
                <a:moveTo>
                  <a:pt x="388" y="106"/>
                </a:moveTo>
                <a:cubicBezTo>
                  <a:pt x="384" y="103"/>
                  <a:pt x="381" y="102"/>
                  <a:pt x="378" y="97"/>
                </a:cubicBezTo>
                <a:cubicBezTo>
                  <a:pt x="382" y="99"/>
                  <a:pt x="385" y="103"/>
                  <a:pt x="388" y="106"/>
                </a:cubicBezTo>
                <a:close/>
                <a:moveTo>
                  <a:pt x="377" y="583"/>
                </a:moveTo>
                <a:cubicBezTo>
                  <a:pt x="379" y="584"/>
                  <a:pt x="377" y="585"/>
                  <a:pt x="377" y="583"/>
                </a:cubicBezTo>
                <a:close/>
                <a:moveTo>
                  <a:pt x="376" y="149"/>
                </a:moveTo>
                <a:cubicBezTo>
                  <a:pt x="376" y="149"/>
                  <a:pt x="375" y="149"/>
                  <a:pt x="376" y="148"/>
                </a:cubicBezTo>
                <a:cubicBezTo>
                  <a:pt x="376" y="147"/>
                  <a:pt x="378" y="151"/>
                  <a:pt x="376" y="149"/>
                </a:cubicBezTo>
                <a:close/>
                <a:moveTo>
                  <a:pt x="376" y="89"/>
                </a:moveTo>
                <a:cubicBezTo>
                  <a:pt x="375" y="89"/>
                  <a:pt x="377" y="90"/>
                  <a:pt x="376" y="89"/>
                </a:cubicBezTo>
                <a:close/>
                <a:moveTo>
                  <a:pt x="376" y="119"/>
                </a:moveTo>
                <a:cubicBezTo>
                  <a:pt x="376" y="119"/>
                  <a:pt x="376" y="119"/>
                  <a:pt x="376" y="119"/>
                </a:cubicBezTo>
                <a:cubicBezTo>
                  <a:pt x="376" y="119"/>
                  <a:pt x="377" y="119"/>
                  <a:pt x="376" y="119"/>
                </a:cubicBezTo>
                <a:close/>
                <a:moveTo>
                  <a:pt x="377" y="127"/>
                </a:moveTo>
                <a:cubicBezTo>
                  <a:pt x="376" y="126"/>
                  <a:pt x="376" y="126"/>
                  <a:pt x="375" y="125"/>
                </a:cubicBezTo>
                <a:cubicBezTo>
                  <a:pt x="376" y="126"/>
                  <a:pt x="377" y="126"/>
                  <a:pt x="377" y="127"/>
                </a:cubicBezTo>
                <a:close/>
                <a:moveTo>
                  <a:pt x="376" y="147"/>
                </a:moveTo>
                <a:cubicBezTo>
                  <a:pt x="374" y="147"/>
                  <a:pt x="373" y="146"/>
                  <a:pt x="372" y="144"/>
                </a:cubicBezTo>
                <a:cubicBezTo>
                  <a:pt x="374" y="144"/>
                  <a:pt x="375" y="146"/>
                  <a:pt x="376" y="147"/>
                </a:cubicBezTo>
                <a:close/>
                <a:moveTo>
                  <a:pt x="362" y="132"/>
                </a:moveTo>
                <a:cubicBezTo>
                  <a:pt x="366" y="134"/>
                  <a:pt x="369" y="139"/>
                  <a:pt x="372" y="143"/>
                </a:cubicBezTo>
                <a:cubicBezTo>
                  <a:pt x="369" y="141"/>
                  <a:pt x="365" y="135"/>
                  <a:pt x="362" y="132"/>
                </a:cubicBezTo>
                <a:close/>
                <a:moveTo>
                  <a:pt x="367" y="82"/>
                </a:moveTo>
                <a:cubicBezTo>
                  <a:pt x="366" y="81"/>
                  <a:pt x="368" y="83"/>
                  <a:pt x="367" y="82"/>
                </a:cubicBezTo>
                <a:close/>
                <a:moveTo>
                  <a:pt x="366" y="81"/>
                </a:moveTo>
                <a:cubicBezTo>
                  <a:pt x="364" y="81"/>
                  <a:pt x="362" y="79"/>
                  <a:pt x="360" y="77"/>
                </a:cubicBezTo>
                <a:cubicBezTo>
                  <a:pt x="361" y="78"/>
                  <a:pt x="365" y="79"/>
                  <a:pt x="366" y="81"/>
                </a:cubicBezTo>
                <a:close/>
                <a:moveTo>
                  <a:pt x="364" y="54"/>
                </a:moveTo>
                <a:cubicBezTo>
                  <a:pt x="363" y="54"/>
                  <a:pt x="362" y="53"/>
                  <a:pt x="362" y="53"/>
                </a:cubicBezTo>
                <a:cubicBezTo>
                  <a:pt x="362" y="52"/>
                  <a:pt x="364" y="53"/>
                  <a:pt x="364" y="54"/>
                </a:cubicBezTo>
                <a:close/>
                <a:moveTo>
                  <a:pt x="361" y="47"/>
                </a:moveTo>
                <a:cubicBezTo>
                  <a:pt x="361" y="47"/>
                  <a:pt x="360" y="47"/>
                  <a:pt x="360" y="47"/>
                </a:cubicBezTo>
                <a:cubicBezTo>
                  <a:pt x="358" y="46"/>
                  <a:pt x="362" y="45"/>
                  <a:pt x="361" y="47"/>
                </a:cubicBezTo>
                <a:close/>
                <a:moveTo>
                  <a:pt x="361" y="52"/>
                </a:moveTo>
                <a:cubicBezTo>
                  <a:pt x="360" y="53"/>
                  <a:pt x="360" y="52"/>
                  <a:pt x="359" y="52"/>
                </a:cubicBezTo>
                <a:cubicBezTo>
                  <a:pt x="359" y="51"/>
                  <a:pt x="361" y="52"/>
                  <a:pt x="361" y="52"/>
                </a:cubicBezTo>
                <a:close/>
                <a:moveTo>
                  <a:pt x="359" y="74"/>
                </a:moveTo>
                <a:cubicBezTo>
                  <a:pt x="359" y="74"/>
                  <a:pt x="357" y="73"/>
                  <a:pt x="356" y="71"/>
                </a:cubicBezTo>
                <a:cubicBezTo>
                  <a:pt x="357" y="72"/>
                  <a:pt x="358" y="72"/>
                  <a:pt x="359" y="74"/>
                </a:cubicBezTo>
                <a:close/>
                <a:moveTo>
                  <a:pt x="356" y="12"/>
                </a:moveTo>
                <a:cubicBezTo>
                  <a:pt x="357" y="11"/>
                  <a:pt x="358" y="13"/>
                  <a:pt x="356" y="12"/>
                </a:cubicBezTo>
                <a:close/>
                <a:moveTo>
                  <a:pt x="358" y="51"/>
                </a:moveTo>
                <a:cubicBezTo>
                  <a:pt x="357" y="52"/>
                  <a:pt x="356" y="51"/>
                  <a:pt x="355" y="50"/>
                </a:cubicBezTo>
                <a:cubicBezTo>
                  <a:pt x="355" y="49"/>
                  <a:pt x="357" y="51"/>
                  <a:pt x="358" y="51"/>
                </a:cubicBezTo>
                <a:close/>
                <a:moveTo>
                  <a:pt x="350" y="44"/>
                </a:moveTo>
                <a:cubicBezTo>
                  <a:pt x="349" y="44"/>
                  <a:pt x="349" y="44"/>
                  <a:pt x="349" y="43"/>
                </a:cubicBezTo>
                <a:cubicBezTo>
                  <a:pt x="348" y="43"/>
                  <a:pt x="350" y="43"/>
                  <a:pt x="350" y="44"/>
                </a:cubicBezTo>
                <a:close/>
                <a:moveTo>
                  <a:pt x="348" y="18"/>
                </a:moveTo>
                <a:cubicBezTo>
                  <a:pt x="346" y="17"/>
                  <a:pt x="349" y="18"/>
                  <a:pt x="348" y="18"/>
                </a:cubicBezTo>
                <a:close/>
                <a:moveTo>
                  <a:pt x="348" y="50"/>
                </a:moveTo>
                <a:cubicBezTo>
                  <a:pt x="347" y="50"/>
                  <a:pt x="347" y="50"/>
                  <a:pt x="347" y="50"/>
                </a:cubicBezTo>
                <a:cubicBezTo>
                  <a:pt x="348" y="50"/>
                  <a:pt x="348" y="51"/>
                  <a:pt x="348" y="50"/>
                </a:cubicBezTo>
                <a:close/>
                <a:moveTo>
                  <a:pt x="347" y="64"/>
                </a:moveTo>
                <a:cubicBezTo>
                  <a:pt x="349" y="64"/>
                  <a:pt x="352" y="68"/>
                  <a:pt x="355" y="71"/>
                </a:cubicBezTo>
                <a:cubicBezTo>
                  <a:pt x="353" y="70"/>
                  <a:pt x="351" y="68"/>
                  <a:pt x="349" y="66"/>
                </a:cubicBezTo>
                <a:cubicBezTo>
                  <a:pt x="349" y="66"/>
                  <a:pt x="344" y="64"/>
                  <a:pt x="347" y="64"/>
                </a:cubicBezTo>
                <a:close/>
                <a:moveTo>
                  <a:pt x="345" y="38"/>
                </a:moveTo>
                <a:cubicBezTo>
                  <a:pt x="345" y="38"/>
                  <a:pt x="344" y="38"/>
                  <a:pt x="344" y="37"/>
                </a:cubicBezTo>
                <a:cubicBezTo>
                  <a:pt x="345" y="35"/>
                  <a:pt x="347" y="40"/>
                  <a:pt x="345" y="38"/>
                </a:cubicBezTo>
                <a:close/>
                <a:moveTo>
                  <a:pt x="345" y="14"/>
                </a:moveTo>
                <a:cubicBezTo>
                  <a:pt x="345" y="15"/>
                  <a:pt x="343" y="14"/>
                  <a:pt x="343" y="14"/>
                </a:cubicBezTo>
                <a:cubicBezTo>
                  <a:pt x="341" y="12"/>
                  <a:pt x="346" y="12"/>
                  <a:pt x="345" y="14"/>
                </a:cubicBezTo>
                <a:close/>
                <a:moveTo>
                  <a:pt x="333" y="49"/>
                </a:moveTo>
                <a:cubicBezTo>
                  <a:pt x="335" y="48"/>
                  <a:pt x="334" y="50"/>
                  <a:pt x="333" y="49"/>
                </a:cubicBezTo>
                <a:close/>
                <a:moveTo>
                  <a:pt x="344" y="63"/>
                </a:moveTo>
                <a:cubicBezTo>
                  <a:pt x="339" y="61"/>
                  <a:pt x="335" y="59"/>
                  <a:pt x="331" y="56"/>
                </a:cubicBezTo>
                <a:cubicBezTo>
                  <a:pt x="336" y="57"/>
                  <a:pt x="340" y="60"/>
                  <a:pt x="344" y="63"/>
                </a:cubicBezTo>
                <a:close/>
                <a:moveTo>
                  <a:pt x="331" y="76"/>
                </a:moveTo>
                <a:cubicBezTo>
                  <a:pt x="331" y="77"/>
                  <a:pt x="329" y="78"/>
                  <a:pt x="329" y="77"/>
                </a:cubicBezTo>
                <a:cubicBezTo>
                  <a:pt x="329" y="77"/>
                  <a:pt x="329" y="77"/>
                  <a:pt x="329" y="77"/>
                </a:cubicBezTo>
                <a:cubicBezTo>
                  <a:pt x="329" y="78"/>
                  <a:pt x="329" y="78"/>
                  <a:pt x="328" y="78"/>
                </a:cubicBezTo>
                <a:cubicBezTo>
                  <a:pt x="327" y="79"/>
                  <a:pt x="324" y="75"/>
                  <a:pt x="327" y="75"/>
                </a:cubicBezTo>
                <a:cubicBezTo>
                  <a:pt x="328" y="75"/>
                  <a:pt x="329" y="75"/>
                  <a:pt x="329" y="76"/>
                </a:cubicBezTo>
                <a:cubicBezTo>
                  <a:pt x="329" y="76"/>
                  <a:pt x="330" y="75"/>
                  <a:pt x="331" y="76"/>
                </a:cubicBezTo>
                <a:close/>
                <a:moveTo>
                  <a:pt x="327" y="52"/>
                </a:moveTo>
                <a:cubicBezTo>
                  <a:pt x="326" y="52"/>
                  <a:pt x="329" y="52"/>
                  <a:pt x="327" y="52"/>
                </a:cubicBezTo>
                <a:close/>
                <a:moveTo>
                  <a:pt x="325" y="23"/>
                </a:moveTo>
                <a:cubicBezTo>
                  <a:pt x="325" y="22"/>
                  <a:pt x="326" y="24"/>
                  <a:pt x="325" y="23"/>
                </a:cubicBezTo>
                <a:close/>
                <a:moveTo>
                  <a:pt x="330" y="41"/>
                </a:moveTo>
                <a:cubicBezTo>
                  <a:pt x="330" y="43"/>
                  <a:pt x="325" y="43"/>
                  <a:pt x="324" y="42"/>
                </a:cubicBezTo>
                <a:cubicBezTo>
                  <a:pt x="321" y="38"/>
                  <a:pt x="330" y="41"/>
                  <a:pt x="330" y="41"/>
                </a:cubicBezTo>
                <a:close/>
                <a:moveTo>
                  <a:pt x="326" y="75"/>
                </a:moveTo>
                <a:cubicBezTo>
                  <a:pt x="326" y="76"/>
                  <a:pt x="325" y="76"/>
                  <a:pt x="325" y="75"/>
                </a:cubicBezTo>
                <a:cubicBezTo>
                  <a:pt x="324" y="75"/>
                  <a:pt x="326" y="74"/>
                  <a:pt x="326" y="75"/>
                </a:cubicBezTo>
                <a:close/>
                <a:moveTo>
                  <a:pt x="324" y="68"/>
                </a:moveTo>
                <a:cubicBezTo>
                  <a:pt x="324" y="67"/>
                  <a:pt x="325" y="67"/>
                  <a:pt x="325" y="68"/>
                </a:cubicBezTo>
                <a:cubicBezTo>
                  <a:pt x="326" y="69"/>
                  <a:pt x="324" y="68"/>
                  <a:pt x="324" y="68"/>
                </a:cubicBezTo>
                <a:close/>
                <a:moveTo>
                  <a:pt x="327" y="107"/>
                </a:moveTo>
                <a:cubicBezTo>
                  <a:pt x="326" y="109"/>
                  <a:pt x="322" y="107"/>
                  <a:pt x="322" y="107"/>
                </a:cubicBezTo>
                <a:cubicBezTo>
                  <a:pt x="319" y="103"/>
                  <a:pt x="328" y="104"/>
                  <a:pt x="327" y="107"/>
                </a:cubicBezTo>
                <a:close/>
                <a:moveTo>
                  <a:pt x="322" y="27"/>
                </a:moveTo>
                <a:cubicBezTo>
                  <a:pt x="321" y="28"/>
                  <a:pt x="320" y="27"/>
                  <a:pt x="320" y="27"/>
                </a:cubicBezTo>
                <a:cubicBezTo>
                  <a:pt x="319" y="25"/>
                  <a:pt x="322" y="26"/>
                  <a:pt x="322" y="27"/>
                </a:cubicBezTo>
                <a:close/>
                <a:moveTo>
                  <a:pt x="319" y="102"/>
                </a:moveTo>
                <a:cubicBezTo>
                  <a:pt x="319" y="102"/>
                  <a:pt x="318" y="102"/>
                  <a:pt x="318" y="101"/>
                </a:cubicBezTo>
                <a:cubicBezTo>
                  <a:pt x="316" y="100"/>
                  <a:pt x="321" y="100"/>
                  <a:pt x="319" y="102"/>
                </a:cubicBezTo>
                <a:close/>
                <a:moveTo>
                  <a:pt x="319" y="85"/>
                </a:moveTo>
                <a:cubicBezTo>
                  <a:pt x="321" y="85"/>
                  <a:pt x="318" y="87"/>
                  <a:pt x="318" y="85"/>
                </a:cubicBezTo>
                <a:cubicBezTo>
                  <a:pt x="318" y="85"/>
                  <a:pt x="319" y="85"/>
                  <a:pt x="319" y="85"/>
                </a:cubicBezTo>
                <a:close/>
                <a:moveTo>
                  <a:pt x="319" y="73"/>
                </a:moveTo>
                <a:cubicBezTo>
                  <a:pt x="319" y="73"/>
                  <a:pt x="318" y="73"/>
                  <a:pt x="318" y="73"/>
                </a:cubicBezTo>
                <a:cubicBezTo>
                  <a:pt x="316" y="73"/>
                  <a:pt x="318" y="72"/>
                  <a:pt x="319" y="73"/>
                </a:cubicBezTo>
                <a:close/>
                <a:moveTo>
                  <a:pt x="317" y="46"/>
                </a:moveTo>
                <a:cubicBezTo>
                  <a:pt x="317" y="47"/>
                  <a:pt x="315" y="47"/>
                  <a:pt x="315" y="46"/>
                </a:cubicBezTo>
                <a:cubicBezTo>
                  <a:pt x="314" y="45"/>
                  <a:pt x="317" y="44"/>
                  <a:pt x="317" y="46"/>
                </a:cubicBezTo>
                <a:close/>
                <a:moveTo>
                  <a:pt x="315" y="61"/>
                </a:moveTo>
                <a:cubicBezTo>
                  <a:pt x="315" y="61"/>
                  <a:pt x="315" y="60"/>
                  <a:pt x="315" y="60"/>
                </a:cubicBezTo>
                <a:cubicBezTo>
                  <a:pt x="313" y="57"/>
                  <a:pt x="319" y="61"/>
                  <a:pt x="315" y="61"/>
                </a:cubicBezTo>
                <a:close/>
                <a:moveTo>
                  <a:pt x="314" y="88"/>
                </a:moveTo>
                <a:cubicBezTo>
                  <a:pt x="315" y="88"/>
                  <a:pt x="316" y="89"/>
                  <a:pt x="315" y="89"/>
                </a:cubicBezTo>
                <a:cubicBezTo>
                  <a:pt x="315" y="90"/>
                  <a:pt x="313" y="89"/>
                  <a:pt x="314" y="88"/>
                </a:cubicBezTo>
                <a:close/>
                <a:moveTo>
                  <a:pt x="314" y="98"/>
                </a:moveTo>
                <a:cubicBezTo>
                  <a:pt x="313" y="98"/>
                  <a:pt x="312" y="97"/>
                  <a:pt x="312" y="96"/>
                </a:cubicBezTo>
                <a:cubicBezTo>
                  <a:pt x="313" y="96"/>
                  <a:pt x="313" y="97"/>
                  <a:pt x="314" y="98"/>
                </a:cubicBezTo>
                <a:close/>
                <a:moveTo>
                  <a:pt x="313" y="62"/>
                </a:moveTo>
                <a:cubicBezTo>
                  <a:pt x="311" y="61"/>
                  <a:pt x="314" y="62"/>
                  <a:pt x="313" y="62"/>
                </a:cubicBezTo>
                <a:close/>
                <a:moveTo>
                  <a:pt x="308" y="35"/>
                </a:moveTo>
                <a:cubicBezTo>
                  <a:pt x="307" y="34"/>
                  <a:pt x="310" y="37"/>
                  <a:pt x="308" y="35"/>
                </a:cubicBezTo>
                <a:close/>
                <a:moveTo>
                  <a:pt x="305" y="53"/>
                </a:moveTo>
                <a:cubicBezTo>
                  <a:pt x="305" y="52"/>
                  <a:pt x="306" y="54"/>
                  <a:pt x="306" y="54"/>
                </a:cubicBezTo>
                <a:cubicBezTo>
                  <a:pt x="306" y="54"/>
                  <a:pt x="306" y="53"/>
                  <a:pt x="305" y="53"/>
                </a:cubicBezTo>
                <a:close/>
                <a:moveTo>
                  <a:pt x="306" y="45"/>
                </a:moveTo>
                <a:cubicBezTo>
                  <a:pt x="304" y="40"/>
                  <a:pt x="314" y="43"/>
                  <a:pt x="312" y="46"/>
                </a:cubicBezTo>
                <a:cubicBezTo>
                  <a:pt x="311" y="48"/>
                  <a:pt x="307" y="45"/>
                  <a:pt x="306" y="45"/>
                </a:cubicBezTo>
                <a:close/>
                <a:moveTo>
                  <a:pt x="307" y="88"/>
                </a:moveTo>
                <a:cubicBezTo>
                  <a:pt x="308" y="88"/>
                  <a:pt x="307" y="89"/>
                  <a:pt x="307" y="89"/>
                </a:cubicBezTo>
                <a:cubicBezTo>
                  <a:pt x="307" y="89"/>
                  <a:pt x="306" y="87"/>
                  <a:pt x="307" y="88"/>
                </a:cubicBezTo>
                <a:close/>
                <a:moveTo>
                  <a:pt x="313" y="101"/>
                </a:moveTo>
                <a:cubicBezTo>
                  <a:pt x="313" y="102"/>
                  <a:pt x="306" y="96"/>
                  <a:pt x="305" y="95"/>
                </a:cubicBezTo>
                <a:cubicBezTo>
                  <a:pt x="305" y="95"/>
                  <a:pt x="305" y="94"/>
                  <a:pt x="305" y="93"/>
                </a:cubicBezTo>
                <a:cubicBezTo>
                  <a:pt x="305" y="93"/>
                  <a:pt x="314" y="100"/>
                  <a:pt x="313" y="101"/>
                </a:cubicBezTo>
                <a:close/>
                <a:moveTo>
                  <a:pt x="306" y="102"/>
                </a:moveTo>
                <a:cubicBezTo>
                  <a:pt x="304" y="103"/>
                  <a:pt x="303" y="99"/>
                  <a:pt x="302" y="98"/>
                </a:cubicBezTo>
                <a:cubicBezTo>
                  <a:pt x="303" y="98"/>
                  <a:pt x="305" y="101"/>
                  <a:pt x="306" y="102"/>
                </a:cubicBezTo>
                <a:close/>
                <a:moveTo>
                  <a:pt x="301" y="81"/>
                </a:moveTo>
                <a:cubicBezTo>
                  <a:pt x="302" y="80"/>
                  <a:pt x="303" y="84"/>
                  <a:pt x="301" y="82"/>
                </a:cubicBezTo>
                <a:cubicBezTo>
                  <a:pt x="301" y="82"/>
                  <a:pt x="301" y="82"/>
                  <a:pt x="301" y="81"/>
                </a:cubicBezTo>
                <a:close/>
                <a:moveTo>
                  <a:pt x="303" y="92"/>
                </a:moveTo>
                <a:cubicBezTo>
                  <a:pt x="299" y="88"/>
                  <a:pt x="295" y="86"/>
                  <a:pt x="293" y="81"/>
                </a:cubicBezTo>
                <a:cubicBezTo>
                  <a:pt x="297" y="83"/>
                  <a:pt x="301" y="88"/>
                  <a:pt x="303" y="92"/>
                </a:cubicBezTo>
                <a:close/>
                <a:moveTo>
                  <a:pt x="293" y="77"/>
                </a:moveTo>
                <a:cubicBezTo>
                  <a:pt x="293" y="77"/>
                  <a:pt x="293" y="77"/>
                  <a:pt x="293" y="77"/>
                </a:cubicBezTo>
                <a:cubicBezTo>
                  <a:pt x="293" y="77"/>
                  <a:pt x="293" y="77"/>
                  <a:pt x="293" y="77"/>
                </a:cubicBezTo>
                <a:cubicBezTo>
                  <a:pt x="293" y="77"/>
                  <a:pt x="293" y="77"/>
                  <a:pt x="293" y="77"/>
                </a:cubicBezTo>
                <a:close/>
                <a:moveTo>
                  <a:pt x="302" y="98"/>
                </a:moveTo>
                <a:cubicBezTo>
                  <a:pt x="297" y="92"/>
                  <a:pt x="293" y="88"/>
                  <a:pt x="288" y="83"/>
                </a:cubicBezTo>
                <a:cubicBezTo>
                  <a:pt x="293" y="87"/>
                  <a:pt x="298" y="91"/>
                  <a:pt x="302" y="98"/>
                </a:cubicBezTo>
                <a:close/>
                <a:moveTo>
                  <a:pt x="295" y="198"/>
                </a:moveTo>
                <a:cubicBezTo>
                  <a:pt x="291" y="196"/>
                  <a:pt x="287" y="194"/>
                  <a:pt x="284" y="192"/>
                </a:cubicBezTo>
                <a:cubicBezTo>
                  <a:pt x="286" y="193"/>
                  <a:pt x="293" y="196"/>
                  <a:pt x="295" y="198"/>
                </a:cubicBezTo>
                <a:close/>
                <a:moveTo>
                  <a:pt x="287" y="663"/>
                </a:moveTo>
                <a:cubicBezTo>
                  <a:pt x="288" y="663"/>
                  <a:pt x="289" y="664"/>
                  <a:pt x="289" y="664"/>
                </a:cubicBezTo>
                <a:cubicBezTo>
                  <a:pt x="290" y="665"/>
                  <a:pt x="286" y="664"/>
                  <a:pt x="287" y="663"/>
                </a:cubicBezTo>
                <a:close/>
                <a:moveTo>
                  <a:pt x="283" y="230"/>
                </a:moveTo>
                <a:cubicBezTo>
                  <a:pt x="284" y="231"/>
                  <a:pt x="281" y="228"/>
                  <a:pt x="283" y="230"/>
                </a:cubicBezTo>
                <a:close/>
                <a:moveTo>
                  <a:pt x="282" y="216"/>
                </a:moveTo>
                <a:cubicBezTo>
                  <a:pt x="282" y="216"/>
                  <a:pt x="282" y="216"/>
                  <a:pt x="282" y="216"/>
                </a:cubicBezTo>
                <a:cubicBezTo>
                  <a:pt x="283" y="216"/>
                  <a:pt x="283" y="216"/>
                  <a:pt x="283" y="216"/>
                </a:cubicBezTo>
                <a:cubicBezTo>
                  <a:pt x="283" y="216"/>
                  <a:pt x="282" y="216"/>
                  <a:pt x="282" y="216"/>
                </a:cubicBezTo>
                <a:close/>
                <a:moveTo>
                  <a:pt x="283" y="165"/>
                </a:moveTo>
                <a:cubicBezTo>
                  <a:pt x="280" y="165"/>
                  <a:pt x="280" y="160"/>
                  <a:pt x="284" y="161"/>
                </a:cubicBezTo>
                <a:cubicBezTo>
                  <a:pt x="286" y="162"/>
                  <a:pt x="285" y="166"/>
                  <a:pt x="283" y="165"/>
                </a:cubicBezTo>
                <a:close/>
                <a:moveTo>
                  <a:pt x="279" y="199"/>
                </a:moveTo>
                <a:cubicBezTo>
                  <a:pt x="279" y="199"/>
                  <a:pt x="278" y="198"/>
                  <a:pt x="279" y="198"/>
                </a:cubicBezTo>
                <a:cubicBezTo>
                  <a:pt x="279" y="198"/>
                  <a:pt x="280" y="199"/>
                  <a:pt x="279" y="199"/>
                </a:cubicBezTo>
                <a:close/>
                <a:moveTo>
                  <a:pt x="278" y="184"/>
                </a:moveTo>
                <a:cubicBezTo>
                  <a:pt x="278" y="184"/>
                  <a:pt x="278" y="185"/>
                  <a:pt x="278" y="185"/>
                </a:cubicBezTo>
                <a:cubicBezTo>
                  <a:pt x="277" y="183"/>
                  <a:pt x="280" y="185"/>
                  <a:pt x="278" y="184"/>
                </a:cubicBezTo>
                <a:close/>
                <a:moveTo>
                  <a:pt x="270" y="138"/>
                </a:moveTo>
                <a:cubicBezTo>
                  <a:pt x="271" y="139"/>
                  <a:pt x="272" y="136"/>
                  <a:pt x="273" y="136"/>
                </a:cubicBezTo>
                <a:cubicBezTo>
                  <a:pt x="275" y="137"/>
                  <a:pt x="273" y="138"/>
                  <a:pt x="274" y="139"/>
                </a:cubicBezTo>
                <a:cubicBezTo>
                  <a:pt x="277" y="141"/>
                  <a:pt x="282" y="141"/>
                  <a:pt x="284" y="143"/>
                </a:cubicBezTo>
                <a:cubicBezTo>
                  <a:pt x="280" y="142"/>
                  <a:pt x="275" y="140"/>
                  <a:pt x="270" y="138"/>
                </a:cubicBezTo>
                <a:close/>
                <a:moveTo>
                  <a:pt x="278" y="148"/>
                </a:moveTo>
                <a:cubicBezTo>
                  <a:pt x="276" y="148"/>
                  <a:pt x="278" y="147"/>
                  <a:pt x="278" y="148"/>
                </a:cubicBezTo>
                <a:close/>
                <a:moveTo>
                  <a:pt x="265" y="190"/>
                </a:moveTo>
                <a:cubicBezTo>
                  <a:pt x="268" y="190"/>
                  <a:pt x="273" y="192"/>
                  <a:pt x="275" y="194"/>
                </a:cubicBezTo>
                <a:cubicBezTo>
                  <a:pt x="271" y="192"/>
                  <a:pt x="268" y="192"/>
                  <a:pt x="265" y="190"/>
                </a:cubicBezTo>
                <a:close/>
                <a:moveTo>
                  <a:pt x="273" y="554"/>
                </a:moveTo>
                <a:cubicBezTo>
                  <a:pt x="273" y="554"/>
                  <a:pt x="273" y="553"/>
                  <a:pt x="273" y="554"/>
                </a:cubicBezTo>
                <a:cubicBezTo>
                  <a:pt x="273" y="554"/>
                  <a:pt x="273" y="554"/>
                  <a:pt x="273" y="554"/>
                </a:cubicBezTo>
                <a:close/>
                <a:moveTo>
                  <a:pt x="271" y="230"/>
                </a:moveTo>
                <a:cubicBezTo>
                  <a:pt x="272" y="230"/>
                  <a:pt x="274" y="234"/>
                  <a:pt x="272" y="235"/>
                </a:cubicBezTo>
                <a:cubicBezTo>
                  <a:pt x="269" y="235"/>
                  <a:pt x="269" y="231"/>
                  <a:pt x="271" y="230"/>
                </a:cubicBezTo>
                <a:close/>
                <a:moveTo>
                  <a:pt x="270" y="215"/>
                </a:moveTo>
                <a:cubicBezTo>
                  <a:pt x="271" y="214"/>
                  <a:pt x="272" y="217"/>
                  <a:pt x="270" y="216"/>
                </a:cubicBezTo>
                <a:cubicBezTo>
                  <a:pt x="270" y="216"/>
                  <a:pt x="269" y="215"/>
                  <a:pt x="270" y="215"/>
                </a:cubicBezTo>
                <a:close/>
                <a:moveTo>
                  <a:pt x="267" y="262"/>
                </a:moveTo>
                <a:cubicBezTo>
                  <a:pt x="269" y="261"/>
                  <a:pt x="268" y="263"/>
                  <a:pt x="267" y="262"/>
                </a:cubicBezTo>
                <a:close/>
                <a:moveTo>
                  <a:pt x="258" y="254"/>
                </a:moveTo>
                <a:cubicBezTo>
                  <a:pt x="260" y="255"/>
                  <a:pt x="261" y="257"/>
                  <a:pt x="263" y="258"/>
                </a:cubicBezTo>
                <a:cubicBezTo>
                  <a:pt x="261" y="258"/>
                  <a:pt x="260" y="256"/>
                  <a:pt x="258" y="254"/>
                </a:cubicBezTo>
                <a:close/>
                <a:moveTo>
                  <a:pt x="261" y="509"/>
                </a:moveTo>
                <a:cubicBezTo>
                  <a:pt x="261" y="510"/>
                  <a:pt x="260" y="509"/>
                  <a:pt x="260" y="509"/>
                </a:cubicBezTo>
                <a:cubicBezTo>
                  <a:pt x="260" y="508"/>
                  <a:pt x="261" y="509"/>
                  <a:pt x="261" y="509"/>
                </a:cubicBezTo>
                <a:close/>
                <a:moveTo>
                  <a:pt x="258" y="191"/>
                </a:moveTo>
                <a:cubicBezTo>
                  <a:pt x="258" y="191"/>
                  <a:pt x="259" y="193"/>
                  <a:pt x="258" y="193"/>
                </a:cubicBezTo>
                <a:cubicBezTo>
                  <a:pt x="257" y="193"/>
                  <a:pt x="258" y="192"/>
                  <a:pt x="258" y="191"/>
                </a:cubicBezTo>
                <a:close/>
                <a:moveTo>
                  <a:pt x="260" y="233"/>
                </a:moveTo>
                <a:cubicBezTo>
                  <a:pt x="262" y="233"/>
                  <a:pt x="258" y="234"/>
                  <a:pt x="260" y="233"/>
                </a:cubicBezTo>
                <a:close/>
                <a:moveTo>
                  <a:pt x="260" y="231"/>
                </a:moveTo>
                <a:cubicBezTo>
                  <a:pt x="261" y="233"/>
                  <a:pt x="263" y="236"/>
                  <a:pt x="264" y="238"/>
                </a:cubicBezTo>
                <a:cubicBezTo>
                  <a:pt x="262" y="237"/>
                  <a:pt x="261" y="233"/>
                  <a:pt x="260" y="231"/>
                </a:cubicBezTo>
                <a:close/>
                <a:moveTo>
                  <a:pt x="260" y="229"/>
                </a:moveTo>
                <a:cubicBezTo>
                  <a:pt x="260" y="229"/>
                  <a:pt x="261" y="230"/>
                  <a:pt x="261" y="230"/>
                </a:cubicBezTo>
                <a:cubicBezTo>
                  <a:pt x="261" y="230"/>
                  <a:pt x="260" y="229"/>
                  <a:pt x="260" y="229"/>
                </a:cubicBezTo>
                <a:close/>
                <a:moveTo>
                  <a:pt x="261" y="154"/>
                </a:moveTo>
                <a:cubicBezTo>
                  <a:pt x="262" y="155"/>
                  <a:pt x="263" y="157"/>
                  <a:pt x="263" y="158"/>
                </a:cubicBezTo>
                <a:cubicBezTo>
                  <a:pt x="262" y="157"/>
                  <a:pt x="261" y="156"/>
                  <a:pt x="261" y="154"/>
                </a:cubicBezTo>
                <a:close/>
                <a:moveTo>
                  <a:pt x="263" y="68"/>
                </a:moveTo>
                <a:cubicBezTo>
                  <a:pt x="264" y="69"/>
                  <a:pt x="265" y="70"/>
                  <a:pt x="266" y="72"/>
                </a:cubicBezTo>
                <a:cubicBezTo>
                  <a:pt x="264" y="72"/>
                  <a:pt x="264" y="69"/>
                  <a:pt x="263" y="68"/>
                </a:cubicBezTo>
                <a:close/>
                <a:moveTo>
                  <a:pt x="266" y="63"/>
                </a:moveTo>
                <a:cubicBezTo>
                  <a:pt x="264" y="62"/>
                  <a:pt x="265" y="61"/>
                  <a:pt x="266" y="63"/>
                </a:cubicBezTo>
                <a:close/>
                <a:moveTo>
                  <a:pt x="267" y="132"/>
                </a:moveTo>
                <a:cubicBezTo>
                  <a:pt x="269" y="132"/>
                  <a:pt x="271" y="137"/>
                  <a:pt x="268" y="137"/>
                </a:cubicBezTo>
                <a:cubicBezTo>
                  <a:pt x="266" y="138"/>
                  <a:pt x="263" y="132"/>
                  <a:pt x="267" y="132"/>
                </a:cubicBezTo>
                <a:close/>
                <a:moveTo>
                  <a:pt x="267" y="108"/>
                </a:moveTo>
                <a:cubicBezTo>
                  <a:pt x="268" y="108"/>
                  <a:pt x="268" y="109"/>
                  <a:pt x="268" y="109"/>
                </a:cubicBezTo>
                <a:cubicBezTo>
                  <a:pt x="267" y="110"/>
                  <a:pt x="265" y="108"/>
                  <a:pt x="267" y="108"/>
                </a:cubicBezTo>
                <a:close/>
                <a:moveTo>
                  <a:pt x="270" y="113"/>
                </a:moveTo>
                <a:cubicBezTo>
                  <a:pt x="268" y="113"/>
                  <a:pt x="271" y="114"/>
                  <a:pt x="270" y="113"/>
                </a:cubicBezTo>
                <a:close/>
                <a:moveTo>
                  <a:pt x="267" y="149"/>
                </a:moveTo>
                <a:cubicBezTo>
                  <a:pt x="266" y="150"/>
                  <a:pt x="266" y="149"/>
                  <a:pt x="265" y="148"/>
                </a:cubicBezTo>
                <a:cubicBezTo>
                  <a:pt x="264" y="146"/>
                  <a:pt x="269" y="148"/>
                  <a:pt x="267" y="149"/>
                </a:cubicBezTo>
                <a:close/>
                <a:moveTo>
                  <a:pt x="264" y="161"/>
                </a:moveTo>
                <a:cubicBezTo>
                  <a:pt x="265" y="161"/>
                  <a:pt x="265" y="162"/>
                  <a:pt x="265" y="162"/>
                </a:cubicBezTo>
                <a:cubicBezTo>
                  <a:pt x="265" y="162"/>
                  <a:pt x="263" y="158"/>
                  <a:pt x="264" y="161"/>
                </a:cubicBezTo>
                <a:close/>
                <a:moveTo>
                  <a:pt x="266" y="512"/>
                </a:moveTo>
                <a:cubicBezTo>
                  <a:pt x="264" y="513"/>
                  <a:pt x="264" y="510"/>
                  <a:pt x="266" y="512"/>
                </a:cubicBezTo>
                <a:close/>
                <a:moveTo>
                  <a:pt x="271" y="181"/>
                </a:moveTo>
                <a:cubicBezTo>
                  <a:pt x="272" y="180"/>
                  <a:pt x="273" y="183"/>
                  <a:pt x="272" y="182"/>
                </a:cubicBezTo>
                <a:cubicBezTo>
                  <a:pt x="271" y="182"/>
                  <a:pt x="271" y="182"/>
                  <a:pt x="271" y="181"/>
                </a:cubicBezTo>
                <a:close/>
                <a:moveTo>
                  <a:pt x="283" y="92"/>
                </a:moveTo>
                <a:cubicBezTo>
                  <a:pt x="280" y="90"/>
                  <a:pt x="285" y="92"/>
                  <a:pt x="284" y="93"/>
                </a:cubicBezTo>
                <a:cubicBezTo>
                  <a:pt x="284" y="94"/>
                  <a:pt x="281" y="91"/>
                  <a:pt x="280" y="91"/>
                </a:cubicBezTo>
                <a:cubicBezTo>
                  <a:pt x="279" y="90"/>
                  <a:pt x="275" y="89"/>
                  <a:pt x="274" y="87"/>
                </a:cubicBezTo>
                <a:cubicBezTo>
                  <a:pt x="272" y="83"/>
                  <a:pt x="282" y="91"/>
                  <a:pt x="283" y="92"/>
                </a:cubicBezTo>
                <a:close/>
                <a:moveTo>
                  <a:pt x="273" y="75"/>
                </a:moveTo>
                <a:cubicBezTo>
                  <a:pt x="275" y="75"/>
                  <a:pt x="274" y="77"/>
                  <a:pt x="273" y="75"/>
                </a:cubicBezTo>
                <a:close/>
                <a:moveTo>
                  <a:pt x="283" y="102"/>
                </a:moveTo>
                <a:cubicBezTo>
                  <a:pt x="283" y="102"/>
                  <a:pt x="283" y="102"/>
                  <a:pt x="284" y="103"/>
                </a:cubicBezTo>
                <a:cubicBezTo>
                  <a:pt x="284" y="103"/>
                  <a:pt x="284" y="103"/>
                  <a:pt x="284" y="103"/>
                </a:cubicBezTo>
                <a:cubicBezTo>
                  <a:pt x="284" y="102"/>
                  <a:pt x="283" y="102"/>
                  <a:pt x="283" y="102"/>
                </a:cubicBezTo>
                <a:close/>
                <a:moveTo>
                  <a:pt x="285" y="137"/>
                </a:moveTo>
                <a:cubicBezTo>
                  <a:pt x="285" y="138"/>
                  <a:pt x="284" y="137"/>
                  <a:pt x="283" y="137"/>
                </a:cubicBezTo>
                <a:cubicBezTo>
                  <a:pt x="282" y="134"/>
                  <a:pt x="287" y="136"/>
                  <a:pt x="285" y="137"/>
                </a:cubicBezTo>
                <a:close/>
                <a:moveTo>
                  <a:pt x="276" y="104"/>
                </a:moveTo>
                <a:cubicBezTo>
                  <a:pt x="276" y="104"/>
                  <a:pt x="280" y="107"/>
                  <a:pt x="280" y="109"/>
                </a:cubicBezTo>
                <a:cubicBezTo>
                  <a:pt x="279" y="108"/>
                  <a:pt x="276" y="105"/>
                  <a:pt x="276" y="104"/>
                </a:cubicBezTo>
                <a:close/>
                <a:moveTo>
                  <a:pt x="277" y="127"/>
                </a:moveTo>
                <a:cubicBezTo>
                  <a:pt x="276" y="126"/>
                  <a:pt x="276" y="126"/>
                  <a:pt x="275" y="125"/>
                </a:cubicBezTo>
                <a:cubicBezTo>
                  <a:pt x="276" y="125"/>
                  <a:pt x="277" y="126"/>
                  <a:pt x="277" y="127"/>
                </a:cubicBezTo>
                <a:close/>
                <a:moveTo>
                  <a:pt x="279" y="102"/>
                </a:moveTo>
                <a:cubicBezTo>
                  <a:pt x="278" y="102"/>
                  <a:pt x="281" y="102"/>
                  <a:pt x="281" y="102"/>
                </a:cubicBezTo>
                <a:cubicBezTo>
                  <a:pt x="280" y="103"/>
                  <a:pt x="279" y="102"/>
                  <a:pt x="279" y="102"/>
                </a:cubicBezTo>
                <a:close/>
                <a:moveTo>
                  <a:pt x="275" y="111"/>
                </a:moveTo>
                <a:cubicBezTo>
                  <a:pt x="275" y="111"/>
                  <a:pt x="275" y="111"/>
                  <a:pt x="274" y="110"/>
                </a:cubicBezTo>
                <a:cubicBezTo>
                  <a:pt x="275" y="111"/>
                  <a:pt x="275" y="111"/>
                  <a:pt x="275" y="111"/>
                </a:cubicBezTo>
                <a:cubicBezTo>
                  <a:pt x="275" y="111"/>
                  <a:pt x="275" y="111"/>
                  <a:pt x="275" y="111"/>
                </a:cubicBezTo>
                <a:close/>
                <a:moveTo>
                  <a:pt x="287" y="142"/>
                </a:moveTo>
                <a:cubicBezTo>
                  <a:pt x="286" y="143"/>
                  <a:pt x="284" y="140"/>
                  <a:pt x="286" y="140"/>
                </a:cubicBezTo>
                <a:cubicBezTo>
                  <a:pt x="287" y="139"/>
                  <a:pt x="288" y="141"/>
                  <a:pt x="287" y="142"/>
                </a:cubicBezTo>
                <a:close/>
                <a:moveTo>
                  <a:pt x="286" y="87"/>
                </a:moveTo>
                <a:cubicBezTo>
                  <a:pt x="287" y="87"/>
                  <a:pt x="287" y="88"/>
                  <a:pt x="286" y="89"/>
                </a:cubicBezTo>
                <a:cubicBezTo>
                  <a:pt x="286" y="89"/>
                  <a:pt x="285" y="88"/>
                  <a:pt x="286" y="87"/>
                </a:cubicBezTo>
                <a:close/>
                <a:moveTo>
                  <a:pt x="280" y="66"/>
                </a:moveTo>
                <a:cubicBezTo>
                  <a:pt x="282" y="65"/>
                  <a:pt x="285" y="69"/>
                  <a:pt x="286" y="70"/>
                </a:cubicBezTo>
                <a:cubicBezTo>
                  <a:pt x="284" y="71"/>
                  <a:pt x="279" y="68"/>
                  <a:pt x="280" y="66"/>
                </a:cubicBezTo>
                <a:close/>
                <a:moveTo>
                  <a:pt x="276" y="74"/>
                </a:moveTo>
                <a:cubicBezTo>
                  <a:pt x="278" y="76"/>
                  <a:pt x="275" y="73"/>
                  <a:pt x="276" y="74"/>
                </a:cubicBezTo>
                <a:close/>
                <a:moveTo>
                  <a:pt x="276" y="77"/>
                </a:moveTo>
                <a:cubicBezTo>
                  <a:pt x="276" y="77"/>
                  <a:pt x="276" y="77"/>
                  <a:pt x="276" y="77"/>
                </a:cubicBezTo>
                <a:cubicBezTo>
                  <a:pt x="276" y="77"/>
                  <a:pt x="276" y="77"/>
                  <a:pt x="275" y="77"/>
                </a:cubicBezTo>
                <a:cubicBezTo>
                  <a:pt x="276" y="77"/>
                  <a:pt x="276" y="77"/>
                  <a:pt x="276" y="77"/>
                </a:cubicBezTo>
                <a:close/>
                <a:moveTo>
                  <a:pt x="275" y="74"/>
                </a:moveTo>
                <a:cubicBezTo>
                  <a:pt x="274" y="74"/>
                  <a:pt x="273" y="72"/>
                  <a:pt x="271" y="72"/>
                </a:cubicBezTo>
                <a:cubicBezTo>
                  <a:pt x="272" y="71"/>
                  <a:pt x="274" y="73"/>
                  <a:pt x="275" y="74"/>
                </a:cubicBezTo>
                <a:close/>
                <a:moveTo>
                  <a:pt x="273" y="85"/>
                </a:moveTo>
                <a:cubicBezTo>
                  <a:pt x="273" y="86"/>
                  <a:pt x="271" y="85"/>
                  <a:pt x="270" y="85"/>
                </a:cubicBezTo>
                <a:cubicBezTo>
                  <a:pt x="268" y="83"/>
                  <a:pt x="274" y="82"/>
                  <a:pt x="273" y="85"/>
                </a:cubicBezTo>
                <a:close/>
                <a:moveTo>
                  <a:pt x="275" y="102"/>
                </a:moveTo>
                <a:cubicBezTo>
                  <a:pt x="272" y="100"/>
                  <a:pt x="270" y="98"/>
                  <a:pt x="268" y="95"/>
                </a:cubicBezTo>
                <a:cubicBezTo>
                  <a:pt x="271" y="97"/>
                  <a:pt x="273" y="99"/>
                  <a:pt x="275" y="102"/>
                </a:cubicBezTo>
                <a:close/>
                <a:moveTo>
                  <a:pt x="268" y="117"/>
                </a:moveTo>
                <a:cubicBezTo>
                  <a:pt x="268" y="118"/>
                  <a:pt x="267" y="117"/>
                  <a:pt x="267" y="116"/>
                </a:cubicBezTo>
                <a:cubicBezTo>
                  <a:pt x="265" y="115"/>
                  <a:pt x="269" y="116"/>
                  <a:pt x="268" y="117"/>
                </a:cubicBezTo>
                <a:close/>
                <a:moveTo>
                  <a:pt x="268" y="58"/>
                </a:moveTo>
                <a:cubicBezTo>
                  <a:pt x="269" y="59"/>
                  <a:pt x="266" y="57"/>
                  <a:pt x="268" y="58"/>
                </a:cubicBezTo>
                <a:close/>
                <a:moveTo>
                  <a:pt x="267" y="98"/>
                </a:moveTo>
                <a:cubicBezTo>
                  <a:pt x="267" y="98"/>
                  <a:pt x="265" y="98"/>
                  <a:pt x="265" y="97"/>
                </a:cubicBezTo>
                <a:cubicBezTo>
                  <a:pt x="265" y="97"/>
                  <a:pt x="267" y="98"/>
                  <a:pt x="267" y="98"/>
                </a:cubicBezTo>
                <a:close/>
                <a:moveTo>
                  <a:pt x="266" y="51"/>
                </a:moveTo>
                <a:cubicBezTo>
                  <a:pt x="265" y="52"/>
                  <a:pt x="262" y="52"/>
                  <a:pt x="260" y="51"/>
                </a:cubicBezTo>
                <a:cubicBezTo>
                  <a:pt x="262" y="50"/>
                  <a:pt x="264" y="51"/>
                  <a:pt x="266" y="51"/>
                </a:cubicBezTo>
                <a:close/>
                <a:moveTo>
                  <a:pt x="260" y="153"/>
                </a:moveTo>
                <a:cubicBezTo>
                  <a:pt x="260" y="153"/>
                  <a:pt x="260" y="153"/>
                  <a:pt x="260" y="153"/>
                </a:cubicBezTo>
                <a:cubicBezTo>
                  <a:pt x="260" y="153"/>
                  <a:pt x="260" y="153"/>
                  <a:pt x="260" y="153"/>
                </a:cubicBezTo>
                <a:cubicBezTo>
                  <a:pt x="260" y="153"/>
                  <a:pt x="260" y="153"/>
                  <a:pt x="260" y="153"/>
                </a:cubicBezTo>
                <a:close/>
                <a:moveTo>
                  <a:pt x="260" y="181"/>
                </a:moveTo>
                <a:cubicBezTo>
                  <a:pt x="261" y="181"/>
                  <a:pt x="262" y="183"/>
                  <a:pt x="261" y="183"/>
                </a:cubicBezTo>
                <a:cubicBezTo>
                  <a:pt x="261" y="184"/>
                  <a:pt x="259" y="182"/>
                  <a:pt x="260" y="181"/>
                </a:cubicBezTo>
                <a:close/>
                <a:moveTo>
                  <a:pt x="260" y="152"/>
                </a:moveTo>
                <a:cubicBezTo>
                  <a:pt x="259" y="152"/>
                  <a:pt x="259" y="152"/>
                  <a:pt x="260" y="152"/>
                </a:cubicBezTo>
                <a:close/>
                <a:moveTo>
                  <a:pt x="259" y="202"/>
                </a:moveTo>
                <a:cubicBezTo>
                  <a:pt x="261" y="201"/>
                  <a:pt x="259" y="205"/>
                  <a:pt x="259" y="202"/>
                </a:cubicBezTo>
                <a:close/>
                <a:moveTo>
                  <a:pt x="259" y="152"/>
                </a:moveTo>
                <a:cubicBezTo>
                  <a:pt x="258" y="151"/>
                  <a:pt x="257" y="150"/>
                  <a:pt x="257" y="148"/>
                </a:cubicBezTo>
                <a:cubicBezTo>
                  <a:pt x="258" y="149"/>
                  <a:pt x="259" y="150"/>
                  <a:pt x="259" y="152"/>
                </a:cubicBezTo>
                <a:close/>
                <a:moveTo>
                  <a:pt x="255" y="100"/>
                </a:moveTo>
                <a:cubicBezTo>
                  <a:pt x="256" y="100"/>
                  <a:pt x="257" y="102"/>
                  <a:pt x="255" y="103"/>
                </a:cubicBezTo>
                <a:cubicBezTo>
                  <a:pt x="254" y="103"/>
                  <a:pt x="252" y="100"/>
                  <a:pt x="255" y="100"/>
                </a:cubicBezTo>
                <a:close/>
                <a:moveTo>
                  <a:pt x="255" y="196"/>
                </a:moveTo>
                <a:cubicBezTo>
                  <a:pt x="256" y="196"/>
                  <a:pt x="255" y="198"/>
                  <a:pt x="255" y="198"/>
                </a:cubicBezTo>
                <a:cubicBezTo>
                  <a:pt x="254" y="198"/>
                  <a:pt x="254" y="196"/>
                  <a:pt x="255" y="196"/>
                </a:cubicBezTo>
                <a:close/>
                <a:moveTo>
                  <a:pt x="253" y="79"/>
                </a:moveTo>
                <a:cubicBezTo>
                  <a:pt x="252" y="82"/>
                  <a:pt x="243" y="80"/>
                  <a:pt x="246" y="76"/>
                </a:cubicBezTo>
                <a:cubicBezTo>
                  <a:pt x="245" y="77"/>
                  <a:pt x="242" y="76"/>
                  <a:pt x="242" y="75"/>
                </a:cubicBezTo>
                <a:cubicBezTo>
                  <a:pt x="243" y="73"/>
                  <a:pt x="247" y="74"/>
                  <a:pt x="246" y="76"/>
                </a:cubicBezTo>
                <a:cubicBezTo>
                  <a:pt x="247" y="74"/>
                  <a:pt x="253" y="76"/>
                  <a:pt x="253" y="79"/>
                </a:cubicBezTo>
                <a:close/>
                <a:moveTo>
                  <a:pt x="249" y="118"/>
                </a:moveTo>
                <a:cubicBezTo>
                  <a:pt x="248" y="119"/>
                  <a:pt x="247" y="117"/>
                  <a:pt x="248" y="116"/>
                </a:cubicBezTo>
                <a:cubicBezTo>
                  <a:pt x="249" y="116"/>
                  <a:pt x="250" y="118"/>
                  <a:pt x="249" y="118"/>
                </a:cubicBezTo>
                <a:close/>
                <a:moveTo>
                  <a:pt x="244" y="88"/>
                </a:moveTo>
                <a:cubicBezTo>
                  <a:pt x="244" y="88"/>
                  <a:pt x="243" y="87"/>
                  <a:pt x="244" y="87"/>
                </a:cubicBezTo>
                <a:cubicBezTo>
                  <a:pt x="245" y="85"/>
                  <a:pt x="247" y="90"/>
                  <a:pt x="244" y="88"/>
                </a:cubicBezTo>
                <a:close/>
                <a:moveTo>
                  <a:pt x="244" y="70"/>
                </a:moveTo>
                <a:cubicBezTo>
                  <a:pt x="246" y="70"/>
                  <a:pt x="244" y="73"/>
                  <a:pt x="244" y="70"/>
                </a:cubicBezTo>
                <a:close/>
                <a:moveTo>
                  <a:pt x="248" y="64"/>
                </a:moveTo>
                <a:cubicBezTo>
                  <a:pt x="249" y="65"/>
                  <a:pt x="246" y="64"/>
                  <a:pt x="248" y="64"/>
                </a:cubicBezTo>
                <a:close/>
                <a:moveTo>
                  <a:pt x="243" y="69"/>
                </a:moveTo>
                <a:cubicBezTo>
                  <a:pt x="246" y="69"/>
                  <a:pt x="249" y="70"/>
                  <a:pt x="251" y="71"/>
                </a:cubicBezTo>
                <a:cubicBezTo>
                  <a:pt x="250" y="71"/>
                  <a:pt x="248" y="70"/>
                  <a:pt x="246" y="70"/>
                </a:cubicBezTo>
                <a:cubicBezTo>
                  <a:pt x="246" y="70"/>
                  <a:pt x="246" y="70"/>
                  <a:pt x="246" y="70"/>
                </a:cubicBezTo>
                <a:cubicBezTo>
                  <a:pt x="246" y="70"/>
                  <a:pt x="246" y="70"/>
                  <a:pt x="246" y="70"/>
                </a:cubicBezTo>
                <a:cubicBezTo>
                  <a:pt x="245" y="69"/>
                  <a:pt x="244" y="69"/>
                  <a:pt x="243" y="69"/>
                </a:cubicBezTo>
                <a:cubicBezTo>
                  <a:pt x="243" y="69"/>
                  <a:pt x="243" y="70"/>
                  <a:pt x="242" y="69"/>
                </a:cubicBezTo>
                <a:cubicBezTo>
                  <a:pt x="242" y="69"/>
                  <a:pt x="242" y="69"/>
                  <a:pt x="242" y="69"/>
                </a:cubicBezTo>
                <a:cubicBezTo>
                  <a:pt x="242" y="69"/>
                  <a:pt x="242" y="69"/>
                  <a:pt x="242" y="69"/>
                </a:cubicBezTo>
                <a:cubicBezTo>
                  <a:pt x="242" y="68"/>
                  <a:pt x="242" y="68"/>
                  <a:pt x="242" y="68"/>
                </a:cubicBezTo>
                <a:cubicBezTo>
                  <a:pt x="242" y="68"/>
                  <a:pt x="243" y="68"/>
                  <a:pt x="243" y="69"/>
                </a:cubicBezTo>
                <a:close/>
                <a:moveTo>
                  <a:pt x="242" y="89"/>
                </a:moveTo>
                <a:cubicBezTo>
                  <a:pt x="241" y="88"/>
                  <a:pt x="243" y="90"/>
                  <a:pt x="242" y="89"/>
                </a:cubicBezTo>
                <a:close/>
                <a:moveTo>
                  <a:pt x="234" y="66"/>
                </a:moveTo>
                <a:cubicBezTo>
                  <a:pt x="234" y="64"/>
                  <a:pt x="234" y="63"/>
                  <a:pt x="235" y="62"/>
                </a:cubicBezTo>
                <a:cubicBezTo>
                  <a:pt x="238" y="60"/>
                  <a:pt x="242" y="65"/>
                  <a:pt x="241" y="67"/>
                </a:cubicBezTo>
                <a:cubicBezTo>
                  <a:pt x="240" y="69"/>
                  <a:pt x="235" y="67"/>
                  <a:pt x="234" y="66"/>
                </a:cubicBezTo>
                <a:close/>
                <a:moveTo>
                  <a:pt x="246" y="122"/>
                </a:moveTo>
                <a:cubicBezTo>
                  <a:pt x="245" y="123"/>
                  <a:pt x="241" y="118"/>
                  <a:pt x="241" y="117"/>
                </a:cubicBezTo>
                <a:cubicBezTo>
                  <a:pt x="239" y="112"/>
                  <a:pt x="247" y="121"/>
                  <a:pt x="246" y="122"/>
                </a:cubicBezTo>
                <a:close/>
                <a:moveTo>
                  <a:pt x="242" y="252"/>
                </a:moveTo>
                <a:cubicBezTo>
                  <a:pt x="242" y="252"/>
                  <a:pt x="245" y="257"/>
                  <a:pt x="243" y="256"/>
                </a:cubicBezTo>
                <a:cubicBezTo>
                  <a:pt x="242" y="256"/>
                  <a:pt x="242" y="251"/>
                  <a:pt x="242" y="251"/>
                </a:cubicBezTo>
                <a:cubicBezTo>
                  <a:pt x="240" y="247"/>
                  <a:pt x="237" y="245"/>
                  <a:pt x="237" y="241"/>
                </a:cubicBezTo>
                <a:cubicBezTo>
                  <a:pt x="240" y="242"/>
                  <a:pt x="242" y="250"/>
                  <a:pt x="242" y="252"/>
                </a:cubicBezTo>
                <a:close/>
                <a:moveTo>
                  <a:pt x="241" y="246"/>
                </a:moveTo>
                <a:cubicBezTo>
                  <a:pt x="242" y="246"/>
                  <a:pt x="243" y="248"/>
                  <a:pt x="242" y="248"/>
                </a:cubicBezTo>
                <a:cubicBezTo>
                  <a:pt x="242" y="248"/>
                  <a:pt x="241" y="247"/>
                  <a:pt x="241" y="246"/>
                </a:cubicBezTo>
                <a:close/>
                <a:moveTo>
                  <a:pt x="244" y="213"/>
                </a:moveTo>
                <a:cubicBezTo>
                  <a:pt x="243" y="213"/>
                  <a:pt x="243" y="213"/>
                  <a:pt x="243" y="213"/>
                </a:cubicBezTo>
                <a:cubicBezTo>
                  <a:pt x="241" y="212"/>
                  <a:pt x="244" y="211"/>
                  <a:pt x="244" y="213"/>
                </a:cubicBezTo>
                <a:close/>
                <a:moveTo>
                  <a:pt x="241" y="158"/>
                </a:moveTo>
                <a:cubicBezTo>
                  <a:pt x="240" y="157"/>
                  <a:pt x="243" y="158"/>
                  <a:pt x="242" y="159"/>
                </a:cubicBezTo>
                <a:cubicBezTo>
                  <a:pt x="242" y="159"/>
                  <a:pt x="242" y="158"/>
                  <a:pt x="241" y="158"/>
                </a:cubicBezTo>
                <a:close/>
                <a:moveTo>
                  <a:pt x="243" y="148"/>
                </a:moveTo>
                <a:cubicBezTo>
                  <a:pt x="244" y="147"/>
                  <a:pt x="245" y="149"/>
                  <a:pt x="244" y="149"/>
                </a:cubicBezTo>
                <a:cubicBezTo>
                  <a:pt x="244" y="149"/>
                  <a:pt x="243" y="148"/>
                  <a:pt x="243" y="148"/>
                </a:cubicBezTo>
                <a:close/>
                <a:moveTo>
                  <a:pt x="244" y="215"/>
                </a:moveTo>
                <a:cubicBezTo>
                  <a:pt x="244" y="215"/>
                  <a:pt x="246" y="216"/>
                  <a:pt x="245" y="216"/>
                </a:cubicBezTo>
                <a:cubicBezTo>
                  <a:pt x="244" y="216"/>
                  <a:pt x="244" y="216"/>
                  <a:pt x="244" y="215"/>
                </a:cubicBezTo>
                <a:close/>
                <a:moveTo>
                  <a:pt x="230" y="166"/>
                </a:moveTo>
                <a:cubicBezTo>
                  <a:pt x="228" y="160"/>
                  <a:pt x="236" y="159"/>
                  <a:pt x="238" y="164"/>
                </a:cubicBezTo>
                <a:cubicBezTo>
                  <a:pt x="242" y="171"/>
                  <a:pt x="232" y="172"/>
                  <a:pt x="230" y="166"/>
                </a:cubicBezTo>
                <a:close/>
                <a:moveTo>
                  <a:pt x="236" y="177"/>
                </a:moveTo>
                <a:cubicBezTo>
                  <a:pt x="236" y="178"/>
                  <a:pt x="235" y="177"/>
                  <a:pt x="234" y="177"/>
                </a:cubicBezTo>
                <a:cubicBezTo>
                  <a:pt x="235" y="176"/>
                  <a:pt x="236" y="177"/>
                  <a:pt x="236" y="177"/>
                </a:cubicBezTo>
                <a:close/>
                <a:moveTo>
                  <a:pt x="234" y="190"/>
                </a:moveTo>
                <a:cubicBezTo>
                  <a:pt x="233" y="190"/>
                  <a:pt x="234" y="188"/>
                  <a:pt x="234" y="190"/>
                </a:cubicBezTo>
                <a:close/>
                <a:moveTo>
                  <a:pt x="230" y="190"/>
                </a:moveTo>
                <a:cubicBezTo>
                  <a:pt x="231" y="189"/>
                  <a:pt x="233" y="191"/>
                  <a:pt x="233" y="191"/>
                </a:cubicBezTo>
                <a:cubicBezTo>
                  <a:pt x="232" y="192"/>
                  <a:pt x="230" y="190"/>
                  <a:pt x="230" y="190"/>
                </a:cubicBezTo>
                <a:close/>
                <a:moveTo>
                  <a:pt x="232" y="199"/>
                </a:moveTo>
                <a:cubicBezTo>
                  <a:pt x="232" y="200"/>
                  <a:pt x="231" y="198"/>
                  <a:pt x="232" y="198"/>
                </a:cubicBezTo>
                <a:cubicBezTo>
                  <a:pt x="232" y="199"/>
                  <a:pt x="232" y="199"/>
                  <a:pt x="232" y="199"/>
                </a:cubicBezTo>
                <a:close/>
                <a:moveTo>
                  <a:pt x="232" y="179"/>
                </a:moveTo>
                <a:cubicBezTo>
                  <a:pt x="232" y="179"/>
                  <a:pt x="233" y="179"/>
                  <a:pt x="233" y="180"/>
                </a:cubicBezTo>
                <a:cubicBezTo>
                  <a:pt x="233" y="180"/>
                  <a:pt x="231" y="180"/>
                  <a:pt x="232" y="179"/>
                </a:cubicBezTo>
                <a:close/>
                <a:moveTo>
                  <a:pt x="238" y="100"/>
                </a:moveTo>
                <a:cubicBezTo>
                  <a:pt x="238" y="100"/>
                  <a:pt x="238" y="100"/>
                  <a:pt x="238" y="100"/>
                </a:cubicBezTo>
                <a:cubicBezTo>
                  <a:pt x="238" y="100"/>
                  <a:pt x="239" y="101"/>
                  <a:pt x="238" y="100"/>
                </a:cubicBezTo>
                <a:close/>
                <a:moveTo>
                  <a:pt x="235" y="107"/>
                </a:moveTo>
                <a:cubicBezTo>
                  <a:pt x="235" y="107"/>
                  <a:pt x="234" y="109"/>
                  <a:pt x="234" y="107"/>
                </a:cubicBezTo>
                <a:cubicBezTo>
                  <a:pt x="234" y="108"/>
                  <a:pt x="233" y="106"/>
                  <a:pt x="235" y="107"/>
                </a:cubicBezTo>
                <a:close/>
                <a:moveTo>
                  <a:pt x="231" y="104"/>
                </a:moveTo>
                <a:cubicBezTo>
                  <a:pt x="233" y="103"/>
                  <a:pt x="233" y="107"/>
                  <a:pt x="231" y="107"/>
                </a:cubicBezTo>
                <a:cubicBezTo>
                  <a:pt x="230" y="107"/>
                  <a:pt x="229" y="104"/>
                  <a:pt x="231" y="104"/>
                </a:cubicBezTo>
                <a:close/>
                <a:moveTo>
                  <a:pt x="238" y="120"/>
                </a:moveTo>
                <a:cubicBezTo>
                  <a:pt x="238" y="124"/>
                  <a:pt x="230" y="122"/>
                  <a:pt x="229" y="120"/>
                </a:cubicBezTo>
                <a:cubicBezTo>
                  <a:pt x="223" y="112"/>
                  <a:pt x="239" y="113"/>
                  <a:pt x="238" y="120"/>
                </a:cubicBezTo>
                <a:close/>
                <a:moveTo>
                  <a:pt x="233" y="134"/>
                </a:moveTo>
                <a:cubicBezTo>
                  <a:pt x="233" y="133"/>
                  <a:pt x="234" y="135"/>
                  <a:pt x="234" y="135"/>
                </a:cubicBezTo>
                <a:cubicBezTo>
                  <a:pt x="232" y="136"/>
                  <a:pt x="232" y="133"/>
                  <a:pt x="231" y="132"/>
                </a:cubicBezTo>
                <a:cubicBezTo>
                  <a:pt x="230" y="130"/>
                  <a:pt x="226" y="126"/>
                  <a:pt x="225" y="122"/>
                </a:cubicBezTo>
                <a:cubicBezTo>
                  <a:pt x="228" y="124"/>
                  <a:pt x="232" y="131"/>
                  <a:pt x="233" y="134"/>
                </a:cubicBezTo>
                <a:close/>
                <a:moveTo>
                  <a:pt x="226" y="205"/>
                </a:moveTo>
                <a:cubicBezTo>
                  <a:pt x="227" y="204"/>
                  <a:pt x="227" y="206"/>
                  <a:pt x="227" y="206"/>
                </a:cubicBezTo>
                <a:cubicBezTo>
                  <a:pt x="226" y="206"/>
                  <a:pt x="226" y="205"/>
                  <a:pt x="226" y="205"/>
                </a:cubicBezTo>
                <a:close/>
                <a:moveTo>
                  <a:pt x="226" y="130"/>
                </a:moveTo>
                <a:cubicBezTo>
                  <a:pt x="226" y="130"/>
                  <a:pt x="225" y="129"/>
                  <a:pt x="226" y="129"/>
                </a:cubicBezTo>
                <a:cubicBezTo>
                  <a:pt x="226" y="129"/>
                  <a:pt x="226" y="130"/>
                  <a:pt x="226" y="130"/>
                </a:cubicBezTo>
                <a:close/>
                <a:moveTo>
                  <a:pt x="226" y="159"/>
                </a:moveTo>
                <a:cubicBezTo>
                  <a:pt x="224" y="159"/>
                  <a:pt x="226" y="158"/>
                  <a:pt x="226" y="159"/>
                </a:cubicBezTo>
                <a:close/>
                <a:moveTo>
                  <a:pt x="225" y="158"/>
                </a:moveTo>
                <a:cubicBezTo>
                  <a:pt x="224" y="159"/>
                  <a:pt x="222" y="157"/>
                  <a:pt x="221" y="157"/>
                </a:cubicBezTo>
                <a:cubicBezTo>
                  <a:pt x="222" y="156"/>
                  <a:pt x="224" y="158"/>
                  <a:pt x="225" y="158"/>
                </a:cubicBezTo>
                <a:close/>
                <a:moveTo>
                  <a:pt x="224" y="169"/>
                </a:moveTo>
                <a:cubicBezTo>
                  <a:pt x="225" y="170"/>
                  <a:pt x="224" y="174"/>
                  <a:pt x="225" y="175"/>
                </a:cubicBezTo>
                <a:cubicBezTo>
                  <a:pt x="226" y="178"/>
                  <a:pt x="226" y="177"/>
                  <a:pt x="223" y="179"/>
                </a:cubicBezTo>
                <a:cubicBezTo>
                  <a:pt x="221" y="182"/>
                  <a:pt x="216" y="182"/>
                  <a:pt x="217" y="178"/>
                </a:cubicBezTo>
                <a:cubicBezTo>
                  <a:pt x="222" y="179"/>
                  <a:pt x="215" y="177"/>
                  <a:pt x="214" y="175"/>
                </a:cubicBezTo>
                <a:cubicBezTo>
                  <a:pt x="213" y="175"/>
                  <a:pt x="213" y="169"/>
                  <a:pt x="214" y="168"/>
                </a:cubicBezTo>
                <a:cubicBezTo>
                  <a:pt x="217" y="164"/>
                  <a:pt x="222" y="166"/>
                  <a:pt x="224" y="169"/>
                </a:cubicBezTo>
                <a:close/>
                <a:moveTo>
                  <a:pt x="212" y="179"/>
                </a:moveTo>
                <a:cubicBezTo>
                  <a:pt x="213" y="179"/>
                  <a:pt x="213" y="182"/>
                  <a:pt x="212" y="181"/>
                </a:cubicBezTo>
                <a:cubicBezTo>
                  <a:pt x="211" y="181"/>
                  <a:pt x="211" y="180"/>
                  <a:pt x="212" y="179"/>
                </a:cubicBezTo>
                <a:close/>
                <a:moveTo>
                  <a:pt x="211" y="154"/>
                </a:moveTo>
                <a:cubicBezTo>
                  <a:pt x="212" y="153"/>
                  <a:pt x="213" y="154"/>
                  <a:pt x="213" y="155"/>
                </a:cubicBezTo>
                <a:cubicBezTo>
                  <a:pt x="213" y="155"/>
                  <a:pt x="212" y="154"/>
                  <a:pt x="211" y="154"/>
                </a:cubicBezTo>
                <a:close/>
                <a:moveTo>
                  <a:pt x="214" y="225"/>
                </a:moveTo>
                <a:cubicBezTo>
                  <a:pt x="213" y="224"/>
                  <a:pt x="212" y="223"/>
                  <a:pt x="212" y="221"/>
                </a:cubicBezTo>
                <a:cubicBezTo>
                  <a:pt x="212" y="223"/>
                  <a:pt x="214" y="223"/>
                  <a:pt x="214" y="225"/>
                </a:cubicBezTo>
                <a:close/>
                <a:moveTo>
                  <a:pt x="213" y="174"/>
                </a:moveTo>
                <a:cubicBezTo>
                  <a:pt x="212" y="176"/>
                  <a:pt x="218" y="182"/>
                  <a:pt x="216" y="182"/>
                </a:cubicBezTo>
                <a:cubicBezTo>
                  <a:pt x="215" y="182"/>
                  <a:pt x="211" y="176"/>
                  <a:pt x="213" y="174"/>
                </a:cubicBezTo>
                <a:close/>
                <a:moveTo>
                  <a:pt x="219" y="185"/>
                </a:moveTo>
                <a:cubicBezTo>
                  <a:pt x="218" y="186"/>
                  <a:pt x="216" y="185"/>
                  <a:pt x="216" y="184"/>
                </a:cubicBezTo>
                <a:cubicBezTo>
                  <a:pt x="214" y="182"/>
                  <a:pt x="220" y="182"/>
                  <a:pt x="219" y="185"/>
                </a:cubicBezTo>
                <a:close/>
                <a:moveTo>
                  <a:pt x="217" y="156"/>
                </a:moveTo>
                <a:cubicBezTo>
                  <a:pt x="217" y="156"/>
                  <a:pt x="217" y="156"/>
                  <a:pt x="217" y="156"/>
                </a:cubicBezTo>
                <a:cubicBezTo>
                  <a:pt x="215" y="155"/>
                  <a:pt x="219" y="156"/>
                  <a:pt x="217" y="156"/>
                </a:cubicBezTo>
                <a:close/>
                <a:moveTo>
                  <a:pt x="216" y="132"/>
                </a:moveTo>
                <a:cubicBezTo>
                  <a:pt x="216" y="133"/>
                  <a:pt x="215" y="133"/>
                  <a:pt x="214" y="132"/>
                </a:cubicBezTo>
                <a:cubicBezTo>
                  <a:pt x="213" y="131"/>
                  <a:pt x="216" y="130"/>
                  <a:pt x="216" y="132"/>
                </a:cubicBezTo>
                <a:close/>
                <a:moveTo>
                  <a:pt x="216" y="146"/>
                </a:moveTo>
                <a:cubicBezTo>
                  <a:pt x="216" y="147"/>
                  <a:pt x="215" y="146"/>
                  <a:pt x="215" y="146"/>
                </a:cubicBezTo>
                <a:cubicBezTo>
                  <a:pt x="213" y="145"/>
                  <a:pt x="216" y="145"/>
                  <a:pt x="216" y="146"/>
                </a:cubicBezTo>
                <a:close/>
                <a:moveTo>
                  <a:pt x="220" y="156"/>
                </a:moveTo>
                <a:cubicBezTo>
                  <a:pt x="217" y="155"/>
                  <a:pt x="214" y="154"/>
                  <a:pt x="211" y="152"/>
                </a:cubicBezTo>
                <a:cubicBezTo>
                  <a:pt x="214" y="152"/>
                  <a:pt x="218" y="154"/>
                  <a:pt x="220" y="156"/>
                </a:cubicBezTo>
                <a:close/>
                <a:moveTo>
                  <a:pt x="212" y="115"/>
                </a:moveTo>
                <a:cubicBezTo>
                  <a:pt x="212" y="117"/>
                  <a:pt x="209" y="116"/>
                  <a:pt x="209" y="115"/>
                </a:cubicBezTo>
                <a:cubicBezTo>
                  <a:pt x="207" y="112"/>
                  <a:pt x="212" y="112"/>
                  <a:pt x="212" y="115"/>
                </a:cubicBezTo>
                <a:close/>
                <a:moveTo>
                  <a:pt x="210" y="146"/>
                </a:moveTo>
                <a:cubicBezTo>
                  <a:pt x="209" y="146"/>
                  <a:pt x="209" y="145"/>
                  <a:pt x="209" y="144"/>
                </a:cubicBezTo>
                <a:cubicBezTo>
                  <a:pt x="209" y="144"/>
                  <a:pt x="210" y="146"/>
                  <a:pt x="210" y="146"/>
                </a:cubicBezTo>
                <a:close/>
                <a:moveTo>
                  <a:pt x="209" y="150"/>
                </a:moveTo>
                <a:cubicBezTo>
                  <a:pt x="207" y="148"/>
                  <a:pt x="210" y="149"/>
                  <a:pt x="209" y="150"/>
                </a:cubicBezTo>
                <a:close/>
                <a:moveTo>
                  <a:pt x="207" y="167"/>
                </a:moveTo>
                <a:cubicBezTo>
                  <a:pt x="207" y="167"/>
                  <a:pt x="207" y="167"/>
                  <a:pt x="207" y="167"/>
                </a:cubicBezTo>
                <a:cubicBezTo>
                  <a:pt x="209" y="166"/>
                  <a:pt x="206" y="169"/>
                  <a:pt x="207" y="167"/>
                </a:cubicBezTo>
                <a:close/>
                <a:moveTo>
                  <a:pt x="204" y="221"/>
                </a:moveTo>
                <a:cubicBezTo>
                  <a:pt x="205" y="220"/>
                  <a:pt x="206" y="222"/>
                  <a:pt x="205" y="222"/>
                </a:cubicBezTo>
                <a:cubicBezTo>
                  <a:pt x="204" y="222"/>
                  <a:pt x="204" y="221"/>
                  <a:pt x="204" y="221"/>
                </a:cubicBezTo>
                <a:close/>
                <a:moveTo>
                  <a:pt x="204" y="239"/>
                </a:moveTo>
                <a:cubicBezTo>
                  <a:pt x="205" y="239"/>
                  <a:pt x="206" y="241"/>
                  <a:pt x="205" y="242"/>
                </a:cubicBezTo>
                <a:cubicBezTo>
                  <a:pt x="204" y="242"/>
                  <a:pt x="202" y="240"/>
                  <a:pt x="204" y="239"/>
                </a:cubicBezTo>
                <a:close/>
                <a:moveTo>
                  <a:pt x="203" y="346"/>
                </a:moveTo>
                <a:cubicBezTo>
                  <a:pt x="205" y="346"/>
                  <a:pt x="205" y="348"/>
                  <a:pt x="203" y="346"/>
                </a:cubicBezTo>
                <a:close/>
                <a:moveTo>
                  <a:pt x="202" y="233"/>
                </a:moveTo>
                <a:cubicBezTo>
                  <a:pt x="202" y="233"/>
                  <a:pt x="203" y="235"/>
                  <a:pt x="202" y="235"/>
                </a:cubicBezTo>
                <a:cubicBezTo>
                  <a:pt x="202" y="235"/>
                  <a:pt x="201" y="233"/>
                  <a:pt x="202" y="233"/>
                </a:cubicBezTo>
                <a:close/>
                <a:moveTo>
                  <a:pt x="202" y="232"/>
                </a:moveTo>
                <a:cubicBezTo>
                  <a:pt x="200" y="232"/>
                  <a:pt x="202" y="231"/>
                  <a:pt x="202" y="232"/>
                </a:cubicBezTo>
                <a:close/>
                <a:moveTo>
                  <a:pt x="202" y="345"/>
                </a:moveTo>
                <a:cubicBezTo>
                  <a:pt x="204" y="347"/>
                  <a:pt x="201" y="343"/>
                  <a:pt x="202" y="345"/>
                </a:cubicBezTo>
                <a:close/>
                <a:moveTo>
                  <a:pt x="201" y="171"/>
                </a:moveTo>
                <a:cubicBezTo>
                  <a:pt x="201" y="172"/>
                  <a:pt x="203" y="172"/>
                  <a:pt x="202" y="173"/>
                </a:cubicBezTo>
                <a:cubicBezTo>
                  <a:pt x="202" y="174"/>
                  <a:pt x="200" y="171"/>
                  <a:pt x="201" y="171"/>
                </a:cubicBezTo>
                <a:close/>
                <a:moveTo>
                  <a:pt x="200" y="182"/>
                </a:moveTo>
                <a:cubicBezTo>
                  <a:pt x="201" y="181"/>
                  <a:pt x="202" y="184"/>
                  <a:pt x="201" y="184"/>
                </a:cubicBezTo>
                <a:cubicBezTo>
                  <a:pt x="199" y="185"/>
                  <a:pt x="200" y="182"/>
                  <a:pt x="200" y="182"/>
                </a:cubicBezTo>
                <a:close/>
                <a:moveTo>
                  <a:pt x="199" y="304"/>
                </a:moveTo>
                <a:cubicBezTo>
                  <a:pt x="198" y="304"/>
                  <a:pt x="198" y="302"/>
                  <a:pt x="199" y="302"/>
                </a:cubicBezTo>
                <a:cubicBezTo>
                  <a:pt x="200" y="302"/>
                  <a:pt x="200" y="304"/>
                  <a:pt x="199" y="304"/>
                </a:cubicBezTo>
                <a:close/>
                <a:moveTo>
                  <a:pt x="200" y="321"/>
                </a:moveTo>
                <a:cubicBezTo>
                  <a:pt x="200" y="321"/>
                  <a:pt x="200" y="321"/>
                  <a:pt x="200" y="321"/>
                </a:cubicBezTo>
                <a:cubicBezTo>
                  <a:pt x="200" y="321"/>
                  <a:pt x="200" y="321"/>
                  <a:pt x="200" y="321"/>
                </a:cubicBezTo>
                <a:cubicBezTo>
                  <a:pt x="200" y="321"/>
                  <a:pt x="200" y="321"/>
                  <a:pt x="200" y="321"/>
                </a:cubicBezTo>
                <a:close/>
                <a:moveTo>
                  <a:pt x="198" y="238"/>
                </a:moveTo>
                <a:cubicBezTo>
                  <a:pt x="199" y="239"/>
                  <a:pt x="200" y="240"/>
                  <a:pt x="201" y="242"/>
                </a:cubicBezTo>
                <a:cubicBezTo>
                  <a:pt x="199" y="241"/>
                  <a:pt x="198" y="240"/>
                  <a:pt x="198" y="238"/>
                </a:cubicBezTo>
                <a:close/>
                <a:moveTo>
                  <a:pt x="198" y="266"/>
                </a:moveTo>
                <a:cubicBezTo>
                  <a:pt x="197" y="267"/>
                  <a:pt x="197" y="265"/>
                  <a:pt x="197" y="265"/>
                </a:cubicBezTo>
                <a:cubicBezTo>
                  <a:pt x="197" y="265"/>
                  <a:pt x="199" y="266"/>
                  <a:pt x="198" y="266"/>
                </a:cubicBezTo>
                <a:close/>
                <a:moveTo>
                  <a:pt x="199" y="228"/>
                </a:moveTo>
                <a:cubicBezTo>
                  <a:pt x="197" y="229"/>
                  <a:pt x="195" y="222"/>
                  <a:pt x="198" y="222"/>
                </a:cubicBezTo>
                <a:cubicBezTo>
                  <a:pt x="201" y="222"/>
                  <a:pt x="201" y="228"/>
                  <a:pt x="199" y="228"/>
                </a:cubicBezTo>
                <a:close/>
                <a:moveTo>
                  <a:pt x="197" y="165"/>
                </a:moveTo>
                <a:cubicBezTo>
                  <a:pt x="198" y="165"/>
                  <a:pt x="201" y="171"/>
                  <a:pt x="198" y="172"/>
                </a:cubicBezTo>
                <a:cubicBezTo>
                  <a:pt x="194" y="173"/>
                  <a:pt x="192" y="164"/>
                  <a:pt x="197" y="165"/>
                </a:cubicBezTo>
                <a:close/>
                <a:moveTo>
                  <a:pt x="196" y="264"/>
                </a:moveTo>
                <a:cubicBezTo>
                  <a:pt x="195" y="263"/>
                  <a:pt x="195" y="262"/>
                  <a:pt x="194" y="261"/>
                </a:cubicBezTo>
                <a:cubicBezTo>
                  <a:pt x="195" y="261"/>
                  <a:pt x="196" y="263"/>
                  <a:pt x="196" y="264"/>
                </a:cubicBezTo>
                <a:close/>
                <a:moveTo>
                  <a:pt x="194" y="242"/>
                </a:moveTo>
                <a:cubicBezTo>
                  <a:pt x="194" y="242"/>
                  <a:pt x="194" y="242"/>
                  <a:pt x="194" y="242"/>
                </a:cubicBezTo>
                <a:cubicBezTo>
                  <a:pt x="196" y="241"/>
                  <a:pt x="192" y="244"/>
                  <a:pt x="194" y="242"/>
                </a:cubicBezTo>
                <a:close/>
                <a:moveTo>
                  <a:pt x="194" y="188"/>
                </a:moveTo>
                <a:cubicBezTo>
                  <a:pt x="195" y="188"/>
                  <a:pt x="195" y="191"/>
                  <a:pt x="194" y="191"/>
                </a:cubicBezTo>
                <a:cubicBezTo>
                  <a:pt x="193" y="191"/>
                  <a:pt x="192" y="188"/>
                  <a:pt x="194" y="188"/>
                </a:cubicBezTo>
                <a:close/>
                <a:moveTo>
                  <a:pt x="192" y="192"/>
                </a:moveTo>
                <a:cubicBezTo>
                  <a:pt x="190" y="193"/>
                  <a:pt x="193" y="192"/>
                  <a:pt x="192" y="192"/>
                </a:cubicBezTo>
                <a:close/>
                <a:moveTo>
                  <a:pt x="191" y="224"/>
                </a:moveTo>
                <a:cubicBezTo>
                  <a:pt x="191" y="225"/>
                  <a:pt x="190" y="223"/>
                  <a:pt x="190" y="223"/>
                </a:cubicBezTo>
                <a:cubicBezTo>
                  <a:pt x="191" y="222"/>
                  <a:pt x="192" y="224"/>
                  <a:pt x="191" y="224"/>
                </a:cubicBezTo>
                <a:close/>
                <a:moveTo>
                  <a:pt x="191" y="190"/>
                </a:moveTo>
                <a:cubicBezTo>
                  <a:pt x="191" y="189"/>
                  <a:pt x="191" y="189"/>
                  <a:pt x="190" y="188"/>
                </a:cubicBezTo>
                <a:cubicBezTo>
                  <a:pt x="191" y="188"/>
                  <a:pt x="191" y="189"/>
                  <a:pt x="191" y="190"/>
                </a:cubicBezTo>
                <a:close/>
                <a:moveTo>
                  <a:pt x="192" y="243"/>
                </a:moveTo>
                <a:cubicBezTo>
                  <a:pt x="192" y="241"/>
                  <a:pt x="191" y="242"/>
                  <a:pt x="190" y="243"/>
                </a:cubicBezTo>
                <a:cubicBezTo>
                  <a:pt x="188" y="243"/>
                  <a:pt x="184" y="239"/>
                  <a:pt x="186" y="235"/>
                </a:cubicBezTo>
                <a:cubicBezTo>
                  <a:pt x="189" y="230"/>
                  <a:pt x="196" y="237"/>
                  <a:pt x="192" y="243"/>
                </a:cubicBezTo>
                <a:close/>
                <a:moveTo>
                  <a:pt x="192" y="254"/>
                </a:moveTo>
                <a:cubicBezTo>
                  <a:pt x="191" y="255"/>
                  <a:pt x="191" y="253"/>
                  <a:pt x="191" y="253"/>
                </a:cubicBezTo>
                <a:cubicBezTo>
                  <a:pt x="192" y="252"/>
                  <a:pt x="192" y="254"/>
                  <a:pt x="192" y="254"/>
                </a:cubicBezTo>
                <a:close/>
                <a:moveTo>
                  <a:pt x="190" y="274"/>
                </a:moveTo>
                <a:cubicBezTo>
                  <a:pt x="190" y="274"/>
                  <a:pt x="189" y="272"/>
                  <a:pt x="190" y="272"/>
                </a:cubicBezTo>
                <a:cubicBezTo>
                  <a:pt x="191" y="271"/>
                  <a:pt x="191" y="274"/>
                  <a:pt x="190" y="274"/>
                </a:cubicBezTo>
                <a:close/>
                <a:moveTo>
                  <a:pt x="186" y="193"/>
                </a:moveTo>
                <a:cubicBezTo>
                  <a:pt x="189" y="193"/>
                  <a:pt x="188" y="197"/>
                  <a:pt x="187" y="197"/>
                </a:cubicBezTo>
                <a:cubicBezTo>
                  <a:pt x="185" y="197"/>
                  <a:pt x="185" y="193"/>
                  <a:pt x="186" y="193"/>
                </a:cubicBezTo>
                <a:close/>
                <a:moveTo>
                  <a:pt x="185" y="198"/>
                </a:moveTo>
                <a:cubicBezTo>
                  <a:pt x="187" y="198"/>
                  <a:pt x="186" y="200"/>
                  <a:pt x="185" y="198"/>
                </a:cubicBezTo>
                <a:close/>
                <a:moveTo>
                  <a:pt x="183" y="252"/>
                </a:moveTo>
                <a:cubicBezTo>
                  <a:pt x="184" y="252"/>
                  <a:pt x="184" y="254"/>
                  <a:pt x="183" y="253"/>
                </a:cubicBezTo>
                <a:cubicBezTo>
                  <a:pt x="183" y="253"/>
                  <a:pt x="183" y="253"/>
                  <a:pt x="183" y="252"/>
                </a:cubicBezTo>
                <a:close/>
                <a:moveTo>
                  <a:pt x="184" y="268"/>
                </a:moveTo>
                <a:cubicBezTo>
                  <a:pt x="184" y="268"/>
                  <a:pt x="185" y="269"/>
                  <a:pt x="184" y="269"/>
                </a:cubicBezTo>
                <a:cubicBezTo>
                  <a:pt x="184" y="270"/>
                  <a:pt x="182" y="268"/>
                  <a:pt x="184" y="268"/>
                </a:cubicBezTo>
                <a:close/>
                <a:moveTo>
                  <a:pt x="184" y="309"/>
                </a:moveTo>
                <a:cubicBezTo>
                  <a:pt x="183" y="309"/>
                  <a:pt x="182" y="307"/>
                  <a:pt x="183" y="306"/>
                </a:cubicBezTo>
                <a:cubicBezTo>
                  <a:pt x="185" y="305"/>
                  <a:pt x="185" y="309"/>
                  <a:pt x="184" y="309"/>
                </a:cubicBezTo>
                <a:close/>
                <a:moveTo>
                  <a:pt x="184" y="256"/>
                </a:moveTo>
                <a:cubicBezTo>
                  <a:pt x="183" y="256"/>
                  <a:pt x="182" y="254"/>
                  <a:pt x="184" y="254"/>
                </a:cubicBezTo>
                <a:cubicBezTo>
                  <a:pt x="185" y="254"/>
                  <a:pt x="185" y="256"/>
                  <a:pt x="184" y="256"/>
                </a:cubicBezTo>
                <a:close/>
                <a:moveTo>
                  <a:pt x="186" y="272"/>
                </a:moveTo>
                <a:cubicBezTo>
                  <a:pt x="190" y="271"/>
                  <a:pt x="189" y="278"/>
                  <a:pt x="187" y="278"/>
                </a:cubicBezTo>
                <a:cubicBezTo>
                  <a:pt x="185" y="278"/>
                  <a:pt x="184" y="273"/>
                  <a:pt x="186" y="272"/>
                </a:cubicBezTo>
                <a:close/>
                <a:moveTo>
                  <a:pt x="189" y="304"/>
                </a:moveTo>
                <a:cubicBezTo>
                  <a:pt x="193" y="304"/>
                  <a:pt x="193" y="312"/>
                  <a:pt x="190" y="312"/>
                </a:cubicBezTo>
                <a:cubicBezTo>
                  <a:pt x="187" y="312"/>
                  <a:pt x="185" y="305"/>
                  <a:pt x="189" y="304"/>
                </a:cubicBezTo>
                <a:close/>
                <a:moveTo>
                  <a:pt x="193" y="375"/>
                </a:moveTo>
                <a:cubicBezTo>
                  <a:pt x="193" y="375"/>
                  <a:pt x="192" y="374"/>
                  <a:pt x="193" y="374"/>
                </a:cubicBezTo>
                <a:cubicBezTo>
                  <a:pt x="193" y="374"/>
                  <a:pt x="194" y="375"/>
                  <a:pt x="193" y="375"/>
                </a:cubicBezTo>
                <a:close/>
                <a:moveTo>
                  <a:pt x="205" y="365"/>
                </a:moveTo>
                <a:cubicBezTo>
                  <a:pt x="205" y="366"/>
                  <a:pt x="203" y="362"/>
                  <a:pt x="204" y="364"/>
                </a:cubicBezTo>
                <a:cubicBezTo>
                  <a:pt x="199" y="355"/>
                  <a:pt x="192" y="344"/>
                  <a:pt x="189" y="335"/>
                </a:cubicBezTo>
                <a:cubicBezTo>
                  <a:pt x="195" y="343"/>
                  <a:pt x="199" y="352"/>
                  <a:pt x="204" y="362"/>
                </a:cubicBezTo>
                <a:cubicBezTo>
                  <a:pt x="204" y="362"/>
                  <a:pt x="206" y="364"/>
                  <a:pt x="205" y="365"/>
                </a:cubicBezTo>
                <a:close/>
                <a:moveTo>
                  <a:pt x="206" y="165"/>
                </a:moveTo>
                <a:cubicBezTo>
                  <a:pt x="204" y="165"/>
                  <a:pt x="205" y="163"/>
                  <a:pt x="206" y="165"/>
                </a:cubicBezTo>
                <a:close/>
                <a:moveTo>
                  <a:pt x="212" y="221"/>
                </a:moveTo>
                <a:cubicBezTo>
                  <a:pt x="210" y="220"/>
                  <a:pt x="208" y="217"/>
                  <a:pt x="206" y="215"/>
                </a:cubicBezTo>
                <a:cubicBezTo>
                  <a:pt x="209" y="216"/>
                  <a:pt x="210" y="219"/>
                  <a:pt x="212" y="221"/>
                </a:cubicBezTo>
                <a:close/>
                <a:moveTo>
                  <a:pt x="207" y="224"/>
                </a:moveTo>
                <a:cubicBezTo>
                  <a:pt x="205" y="222"/>
                  <a:pt x="211" y="223"/>
                  <a:pt x="209" y="225"/>
                </a:cubicBezTo>
                <a:cubicBezTo>
                  <a:pt x="209" y="226"/>
                  <a:pt x="208" y="225"/>
                  <a:pt x="207" y="224"/>
                </a:cubicBezTo>
                <a:close/>
                <a:moveTo>
                  <a:pt x="209" y="243"/>
                </a:moveTo>
                <a:cubicBezTo>
                  <a:pt x="210" y="243"/>
                  <a:pt x="211" y="244"/>
                  <a:pt x="211" y="244"/>
                </a:cubicBezTo>
                <a:cubicBezTo>
                  <a:pt x="211" y="247"/>
                  <a:pt x="208" y="245"/>
                  <a:pt x="209" y="243"/>
                </a:cubicBezTo>
                <a:close/>
                <a:moveTo>
                  <a:pt x="214" y="405"/>
                </a:moveTo>
                <a:cubicBezTo>
                  <a:pt x="214" y="405"/>
                  <a:pt x="215" y="405"/>
                  <a:pt x="215" y="405"/>
                </a:cubicBezTo>
                <a:cubicBezTo>
                  <a:pt x="216" y="406"/>
                  <a:pt x="213" y="406"/>
                  <a:pt x="214" y="405"/>
                </a:cubicBezTo>
                <a:close/>
                <a:moveTo>
                  <a:pt x="211" y="256"/>
                </a:moveTo>
                <a:cubicBezTo>
                  <a:pt x="211" y="256"/>
                  <a:pt x="210" y="254"/>
                  <a:pt x="211" y="254"/>
                </a:cubicBezTo>
                <a:cubicBezTo>
                  <a:pt x="214" y="256"/>
                  <a:pt x="216" y="261"/>
                  <a:pt x="217" y="264"/>
                </a:cubicBezTo>
                <a:cubicBezTo>
                  <a:pt x="215" y="261"/>
                  <a:pt x="212" y="258"/>
                  <a:pt x="211" y="256"/>
                </a:cubicBezTo>
                <a:close/>
                <a:moveTo>
                  <a:pt x="219" y="262"/>
                </a:moveTo>
                <a:cubicBezTo>
                  <a:pt x="218" y="262"/>
                  <a:pt x="217" y="260"/>
                  <a:pt x="219" y="260"/>
                </a:cubicBezTo>
                <a:cubicBezTo>
                  <a:pt x="219" y="260"/>
                  <a:pt x="220" y="261"/>
                  <a:pt x="219" y="262"/>
                </a:cubicBezTo>
                <a:close/>
                <a:moveTo>
                  <a:pt x="221" y="386"/>
                </a:moveTo>
                <a:cubicBezTo>
                  <a:pt x="221" y="385"/>
                  <a:pt x="222" y="386"/>
                  <a:pt x="222" y="386"/>
                </a:cubicBezTo>
                <a:cubicBezTo>
                  <a:pt x="221" y="387"/>
                  <a:pt x="220" y="387"/>
                  <a:pt x="221" y="386"/>
                </a:cubicBezTo>
                <a:close/>
                <a:moveTo>
                  <a:pt x="222" y="327"/>
                </a:moveTo>
                <a:cubicBezTo>
                  <a:pt x="220" y="326"/>
                  <a:pt x="222" y="326"/>
                  <a:pt x="222" y="327"/>
                </a:cubicBezTo>
                <a:close/>
                <a:moveTo>
                  <a:pt x="224" y="204"/>
                </a:moveTo>
                <a:cubicBezTo>
                  <a:pt x="223" y="205"/>
                  <a:pt x="222" y="205"/>
                  <a:pt x="222" y="205"/>
                </a:cubicBezTo>
                <a:cubicBezTo>
                  <a:pt x="221" y="204"/>
                  <a:pt x="221" y="203"/>
                  <a:pt x="222" y="203"/>
                </a:cubicBezTo>
                <a:cubicBezTo>
                  <a:pt x="222" y="202"/>
                  <a:pt x="222" y="201"/>
                  <a:pt x="222" y="201"/>
                </a:cubicBezTo>
                <a:cubicBezTo>
                  <a:pt x="221" y="200"/>
                  <a:pt x="215" y="194"/>
                  <a:pt x="216" y="194"/>
                </a:cubicBezTo>
                <a:cubicBezTo>
                  <a:pt x="218" y="192"/>
                  <a:pt x="222" y="201"/>
                  <a:pt x="223" y="202"/>
                </a:cubicBezTo>
                <a:cubicBezTo>
                  <a:pt x="224" y="203"/>
                  <a:pt x="225" y="204"/>
                  <a:pt x="224" y="204"/>
                </a:cubicBezTo>
                <a:cubicBezTo>
                  <a:pt x="224" y="204"/>
                  <a:pt x="224" y="204"/>
                  <a:pt x="224" y="204"/>
                </a:cubicBezTo>
                <a:cubicBezTo>
                  <a:pt x="224" y="204"/>
                  <a:pt x="224" y="204"/>
                  <a:pt x="224" y="204"/>
                </a:cubicBezTo>
                <a:close/>
                <a:moveTo>
                  <a:pt x="227" y="215"/>
                </a:moveTo>
                <a:cubicBezTo>
                  <a:pt x="224" y="216"/>
                  <a:pt x="222" y="210"/>
                  <a:pt x="225" y="210"/>
                </a:cubicBezTo>
                <a:cubicBezTo>
                  <a:pt x="227" y="210"/>
                  <a:pt x="228" y="214"/>
                  <a:pt x="227" y="215"/>
                </a:cubicBezTo>
                <a:close/>
                <a:moveTo>
                  <a:pt x="230" y="252"/>
                </a:moveTo>
                <a:cubicBezTo>
                  <a:pt x="230" y="251"/>
                  <a:pt x="231" y="252"/>
                  <a:pt x="231" y="252"/>
                </a:cubicBezTo>
                <a:cubicBezTo>
                  <a:pt x="231" y="252"/>
                  <a:pt x="230" y="252"/>
                  <a:pt x="230" y="252"/>
                </a:cubicBezTo>
                <a:close/>
                <a:moveTo>
                  <a:pt x="232" y="218"/>
                </a:moveTo>
                <a:cubicBezTo>
                  <a:pt x="232" y="218"/>
                  <a:pt x="232" y="218"/>
                  <a:pt x="232" y="218"/>
                </a:cubicBezTo>
                <a:cubicBezTo>
                  <a:pt x="231" y="217"/>
                  <a:pt x="230" y="216"/>
                  <a:pt x="229" y="216"/>
                </a:cubicBezTo>
                <a:cubicBezTo>
                  <a:pt x="229" y="216"/>
                  <a:pt x="230" y="215"/>
                  <a:pt x="230" y="215"/>
                </a:cubicBezTo>
                <a:cubicBezTo>
                  <a:pt x="230" y="214"/>
                  <a:pt x="232" y="217"/>
                  <a:pt x="234" y="218"/>
                </a:cubicBezTo>
                <a:cubicBezTo>
                  <a:pt x="235" y="219"/>
                  <a:pt x="242" y="224"/>
                  <a:pt x="243" y="226"/>
                </a:cubicBezTo>
                <a:cubicBezTo>
                  <a:pt x="244" y="228"/>
                  <a:pt x="241" y="224"/>
                  <a:pt x="240" y="224"/>
                </a:cubicBezTo>
                <a:cubicBezTo>
                  <a:pt x="239" y="222"/>
                  <a:pt x="235" y="220"/>
                  <a:pt x="232" y="218"/>
                </a:cubicBezTo>
                <a:cubicBezTo>
                  <a:pt x="233" y="219"/>
                  <a:pt x="233" y="219"/>
                  <a:pt x="232" y="219"/>
                </a:cubicBezTo>
                <a:cubicBezTo>
                  <a:pt x="232" y="219"/>
                  <a:pt x="232" y="218"/>
                  <a:pt x="232" y="218"/>
                </a:cubicBezTo>
                <a:close/>
                <a:moveTo>
                  <a:pt x="233" y="254"/>
                </a:moveTo>
                <a:cubicBezTo>
                  <a:pt x="233" y="254"/>
                  <a:pt x="232" y="253"/>
                  <a:pt x="232" y="253"/>
                </a:cubicBezTo>
                <a:cubicBezTo>
                  <a:pt x="232" y="253"/>
                  <a:pt x="234" y="253"/>
                  <a:pt x="233" y="254"/>
                </a:cubicBezTo>
                <a:close/>
                <a:moveTo>
                  <a:pt x="233" y="257"/>
                </a:moveTo>
                <a:cubicBezTo>
                  <a:pt x="232" y="257"/>
                  <a:pt x="232" y="255"/>
                  <a:pt x="233" y="255"/>
                </a:cubicBezTo>
                <a:cubicBezTo>
                  <a:pt x="234" y="254"/>
                  <a:pt x="234" y="257"/>
                  <a:pt x="233" y="257"/>
                </a:cubicBezTo>
                <a:close/>
                <a:moveTo>
                  <a:pt x="234" y="240"/>
                </a:moveTo>
                <a:cubicBezTo>
                  <a:pt x="234" y="240"/>
                  <a:pt x="234" y="240"/>
                  <a:pt x="234" y="239"/>
                </a:cubicBezTo>
                <a:cubicBezTo>
                  <a:pt x="235" y="237"/>
                  <a:pt x="237" y="243"/>
                  <a:pt x="234" y="240"/>
                </a:cubicBezTo>
                <a:close/>
                <a:moveTo>
                  <a:pt x="239" y="261"/>
                </a:moveTo>
                <a:cubicBezTo>
                  <a:pt x="240" y="261"/>
                  <a:pt x="242" y="263"/>
                  <a:pt x="240" y="264"/>
                </a:cubicBezTo>
                <a:cubicBezTo>
                  <a:pt x="238" y="266"/>
                  <a:pt x="235" y="260"/>
                  <a:pt x="239" y="261"/>
                </a:cubicBezTo>
                <a:close/>
                <a:moveTo>
                  <a:pt x="243" y="722"/>
                </a:moveTo>
                <a:cubicBezTo>
                  <a:pt x="243" y="722"/>
                  <a:pt x="243" y="722"/>
                  <a:pt x="243" y="722"/>
                </a:cubicBezTo>
                <a:cubicBezTo>
                  <a:pt x="244" y="724"/>
                  <a:pt x="241" y="719"/>
                  <a:pt x="243" y="722"/>
                </a:cubicBezTo>
                <a:close/>
                <a:moveTo>
                  <a:pt x="240" y="314"/>
                </a:moveTo>
                <a:cubicBezTo>
                  <a:pt x="242" y="315"/>
                  <a:pt x="242" y="318"/>
                  <a:pt x="244" y="319"/>
                </a:cubicBezTo>
                <a:cubicBezTo>
                  <a:pt x="242" y="318"/>
                  <a:pt x="241" y="316"/>
                  <a:pt x="240" y="314"/>
                </a:cubicBezTo>
                <a:close/>
                <a:moveTo>
                  <a:pt x="245" y="274"/>
                </a:moveTo>
                <a:cubicBezTo>
                  <a:pt x="247" y="273"/>
                  <a:pt x="246" y="276"/>
                  <a:pt x="245" y="276"/>
                </a:cubicBezTo>
                <a:cubicBezTo>
                  <a:pt x="244" y="277"/>
                  <a:pt x="243" y="274"/>
                  <a:pt x="245" y="274"/>
                </a:cubicBezTo>
                <a:close/>
                <a:moveTo>
                  <a:pt x="246" y="680"/>
                </a:moveTo>
                <a:cubicBezTo>
                  <a:pt x="244" y="679"/>
                  <a:pt x="247" y="680"/>
                  <a:pt x="246" y="680"/>
                </a:cubicBezTo>
                <a:close/>
                <a:moveTo>
                  <a:pt x="245" y="321"/>
                </a:moveTo>
                <a:cubicBezTo>
                  <a:pt x="248" y="323"/>
                  <a:pt x="245" y="324"/>
                  <a:pt x="245" y="321"/>
                </a:cubicBezTo>
                <a:close/>
                <a:moveTo>
                  <a:pt x="247" y="85"/>
                </a:moveTo>
                <a:cubicBezTo>
                  <a:pt x="246" y="86"/>
                  <a:pt x="245" y="85"/>
                  <a:pt x="245" y="84"/>
                </a:cubicBezTo>
                <a:cubicBezTo>
                  <a:pt x="244" y="83"/>
                  <a:pt x="247" y="83"/>
                  <a:pt x="247" y="85"/>
                </a:cubicBezTo>
                <a:close/>
                <a:moveTo>
                  <a:pt x="246" y="83"/>
                </a:moveTo>
                <a:cubicBezTo>
                  <a:pt x="246" y="82"/>
                  <a:pt x="246" y="83"/>
                  <a:pt x="246" y="83"/>
                </a:cubicBezTo>
                <a:cubicBezTo>
                  <a:pt x="248" y="82"/>
                  <a:pt x="245" y="84"/>
                  <a:pt x="246" y="83"/>
                </a:cubicBezTo>
                <a:close/>
                <a:moveTo>
                  <a:pt x="247" y="96"/>
                </a:moveTo>
                <a:cubicBezTo>
                  <a:pt x="248" y="97"/>
                  <a:pt x="247" y="97"/>
                  <a:pt x="247" y="96"/>
                </a:cubicBezTo>
                <a:close/>
                <a:moveTo>
                  <a:pt x="249" y="170"/>
                </a:moveTo>
                <a:cubicBezTo>
                  <a:pt x="247" y="168"/>
                  <a:pt x="250" y="172"/>
                  <a:pt x="249" y="170"/>
                </a:cubicBezTo>
                <a:close/>
                <a:moveTo>
                  <a:pt x="248" y="146"/>
                </a:moveTo>
                <a:cubicBezTo>
                  <a:pt x="248" y="146"/>
                  <a:pt x="247" y="145"/>
                  <a:pt x="248" y="144"/>
                </a:cubicBezTo>
                <a:cubicBezTo>
                  <a:pt x="250" y="141"/>
                  <a:pt x="251" y="149"/>
                  <a:pt x="248" y="146"/>
                </a:cubicBezTo>
                <a:close/>
                <a:moveTo>
                  <a:pt x="251" y="173"/>
                </a:moveTo>
                <a:cubicBezTo>
                  <a:pt x="249" y="171"/>
                  <a:pt x="252" y="175"/>
                  <a:pt x="251" y="173"/>
                </a:cubicBezTo>
                <a:close/>
                <a:moveTo>
                  <a:pt x="251" y="126"/>
                </a:moveTo>
                <a:cubicBezTo>
                  <a:pt x="251" y="125"/>
                  <a:pt x="252" y="126"/>
                  <a:pt x="252" y="126"/>
                </a:cubicBezTo>
                <a:cubicBezTo>
                  <a:pt x="252" y="126"/>
                  <a:pt x="251" y="126"/>
                  <a:pt x="251" y="126"/>
                </a:cubicBezTo>
                <a:close/>
                <a:moveTo>
                  <a:pt x="254" y="93"/>
                </a:moveTo>
                <a:cubicBezTo>
                  <a:pt x="254" y="93"/>
                  <a:pt x="253" y="93"/>
                  <a:pt x="252" y="93"/>
                </a:cubicBezTo>
                <a:cubicBezTo>
                  <a:pt x="250" y="91"/>
                  <a:pt x="255" y="90"/>
                  <a:pt x="254" y="93"/>
                </a:cubicBezTo>
                <a:close/>
                <a:moveTo>
                  <a:pt x="253" y="639"/>
                </a:moveTo>
                <a:cubicBezTo>
                  <a:pt x="253" y="638"/>
                  <a:pt x="255" y="639"/>
                  <a:pt x="255" y="639"/>
                </a:cubicBezTo>
                <a:cubicBezTo>
                  <a:pt x="256" y="641"/>
                  <a:pt x="252" y="640"/>
                  <a:pt x="253" y="639"/>
                </a:cubicBezTo>
                <a:close/>
                <a:moveTo>
                  <a:pt x="254" y="281"/>
                </a:moveTo>
                <a:cubicBezTo>
                  <a:pt x="256" y="282"/>
                  <a:pt x="255" y="284"/>
                  <a:pt x="254" y="281"/>
                </a:cubicBezTo>
                <a:close/>
                <a:moveTo>
                  <a:pt x="256" y="131"/>
                </a:moveTo>
                <a:cubicBezTo>
                  <a:pt x="258" y="131"/>
                  <a:pt x="257" y="133"/>
                  <a:pt x="256" y="133"/>
                </a:cubicBezTo>
                <a:cubicBezTo>
                  <a:pt x="255" y="133"/>
                  <a:pt x="254" y="131"/>
                  <a:pt x="256" y="131"/>
                </a:cubicBezTo>
                <a:close/>
                <a:moveTo>
                  <a:pt x="256" y="252"/>
                </a:moveTo>
                <a:cubicBezTo>
                  <a:pt x="256" y="252"/>
                  <a:pt x="258" y="254"/>
                  <a:pt x="258" y="254"/>
                </a:cubicBezTo>
                <a:cubicBezTo>
                  <a:pt x="258" y="254"/>
                  <a:pt x="256" y="253"/>
                  <a:pt x="256" y="252"/>
                </a:cubicBezTo>
                <a:close/>
                <a:moveTo>
                  <a:pt x="257" y="723"/>
                </a:moveTo>
                <a:cubicBezTo>
                  <a:pt x="257" y="723"/>
                  <a:pt x="258" y="723"/>
                  <a:pt x="258" y="723"/>
                </a:cubicBezTo>
                <a:cubicBezTo>
                  <a:pt x="260" y="724"/>
                  <a:pt x="256" y="723"/>
                  <a:pt x="257" y="723"/>
                </a:cubicBezTo>
                <a:close/>
                <a:moveTo>
                  <a:pt x="257" y="608"/>
                </a:moveTo>
                <a:cubicBezTo>
                  <a:pt x="258" y="607"/>
                  <a:pt x="261" y="610"/>
                  <a:pt x="260" y="610"/>
                </a:cubicBezTo>
                <a:cubicBezTo>
                  <a:pt x="265" y="613"/>
                  <a:pt x="273" y="615"/>
                  <a:pt x="279" y="618"/>
                </a:cubicBezTo>
                <a:cubicBezTo>
                  <a:pt x="279" y="618"/>
                  <a:pt x="281" y="619"/>
                  <a:pt x="281" y="619"/>
                </a:cubicBezTo>
                <a:cubicBezTo>
                  <a:pt x="282" y="621"/>
                  <a:pt x="264" y="613"/>
                  <a:pt x="261" y="611"/>
                </a:cubicBezTo>
                <a:cubicBezTo>
                  <a:pt x="261" y="611"/>
                  <a:pt x="256" y="609"/>
                  <a:pt x="257" y="608"/>
                </a:cubicBezTo>
                <a:close/>
                <a:moveTo>
                  <a:pt x="271" y="686"/>
                </a:moveTo>
                <a:cubicBezTo>
                  <a:pt x="271" y="688"/>
                  <a:pt x="269" y="684"/>
                  <a:pt x="270" y="686"/>
                </a:cubicBezTo>
                <a:cubicBezTo>
                  <a:pt x="270" y="686"/>
                  <a:pt x="271" y="686"/>
                  <a:pt x="271" y="686"/>
                </a:cubicBezTo>
                <a:close/>
                <a:moveTo>
                  <a:pt x="270" y="730"/>
                </a:moveTo>
                <a:cubicBezTo>
                  <a:pt x="270" y="731"/>
                  <a:pt x="268" y="729"/>
                  <a:pt x="270" y="730"/>
                </a:cubicBezTo>
                <a:close/>
                <a:moveTo>
                  <a:pt x="269" y="705"/>
                </a:moveTo>
                <a:cubicBezTo>
                  <a:pt x="269" y="705"/>
                  <a:pt x="271" y="705"/>
                  <a:pt x="271" y="705"/>
                </a:cubicBezTo>
                <a:cubicBezTo>
                  <a:pt x="272" y="707"/>
                  <a:pt x="268" y="706"/>
                  <a:pt x="269" y="705"/>
                </a:cubicBezTo>
                <a:close/>
                <a:moveTo>
                  <a:pt x="270" y="699"/>
                </a:moveTo>
                <a:cubicBezTo>
                  <a:pt x="272" y="697"/>
                  <a:pt x="273" y="701"/>
                  <a:pt x="270" y="699"/>
                </a:cubicBezTo>
                <a:close/>
                <a:moveTo>
                  <a:pt x="277" y="747"/>
                </a:moveTo>
                <a:cubicBezTo>
                  <a:pt x="275" y="746"/>
                  <a:pt x="279" y="748"/>
                  <a:pt x="277" y="747"/>
                </a:cubicBezTo>
                <a:close/>
                <a:moveTo>
                  <a:pt x="277" y="671"/>
                </a:moveTo>
                <a:cubicBezTo>
                  <a:pt x="279" y="670"/>
                  <a:pt x="279" y="671"/>
                  <a:pt x="279" y="671"/>
                </a:cubicBezTo>
                <a:cubicBezTo>
                  <a:pt x="281" y="673"/>
                  <a:pt x="276" y="671"/>
                  <a:pt x="277" y="671"/>
                </a:cubicBezTo>
                <a:close/>
                <a:moveTo>
                  <a:pt x="280" y="741"/>
                </a:moveTo>
                <a:cubicBezTo>
                  <a:pt x="280" y="740"/>
                  <a:pt x="284" y="740"/>
                  <a:pt x="285" y="741"/>
                </a:cubicBezTo>
                <a:cubicBezTo>
                  <a:pt x="285" y="743"/>
                  <a:pt x="280" y="742"/>
                  <a:pt x="280" y="741"/>
                </a:cubicBezTo>
                <a:close/>
                <a:moveTo>
                  <a:pt x="284" y="510"/>
                </a:moveTo>
                <a:cubicBezTo>
                  <a:pt x="284" y="510"/>
                  <a:pt x="285" y="510"/>
                  <a:pt x="286" y="510"/>
                </a:cubicBezTo>
                <a:cubicBezTo>
                  <a:pt x="287" y="512"/>
                  <a:pt x="283" y="512"/>
                  <a:pt x="284" y="510"/>
                </a:cubicBezTo>
                <a:close/>
                <a:moveTo>
                  <a:pt x="286" y="669"/>
                </a:moveTo>
                <a:cubicBezTo>
                  <a:pt x="286" y="667"/>
                  <a:pt x="289" y="668"/>
                  <a:pt x="289" y="669"/>
                </a:cubicBezTo>
                <a:cubicBezTo>
                  <a:pt x="290" y="671"/>
                  <a:pt x="286" y="670"/>
                  <a:pt x="286" y="669"/>
                </a:cubicBezTo>
                <a:close/>
                <a:moveTo>
                  <a:pt x="308" y="749"/>
                </a:moveTo>
                <a:cubicBezTo>
                  <a:pt x="302" y="750"/>
                  <a:pt x="295" y="748"/>
                  <a:pt x="288" y="746"/>
                </a:cubicBezTo>
                <a:cubicBezTo>
                  <a:pt x="294" y="747"/>
                  <a:pt x="301" y="748"/>
                  <a:pt x="308" y="7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136" name="Freeform 131">
            <a:extLst>
              <a:ext uri="{FF2B5EF4-FFF2-40B4-BE49-F238E27FC236}">
                <a16:creationId xmlns="" xmlns:a16="http://schemas.microsoft.com/office/drawing/2014/main" id="{EEB340F0-16BF-4ABF-969D-1FEB0C2FEBB3}"/>
              </a:ext>
            </a:extLst>
          </p:cNvPr>
          <p:cNvSpPr>
            <a:spLocks noEditPoints="1"/>
          </p:cNvSpPr>
          <p:nvPr/>
        </p:nvSpPr>
        <p:spPr bwMode="auto">
          <a:xfrm>
            <a:off x="0" y="-3705224"/>
            <a:ext cx="5716692" cy="6581774"/>
          </a:xfrm>
          <a:custGeom>
            <a:avLst/>
            <a:gdLst>
              <a:gd name="T0" fmla="*/ 472 w 680"/>
              <a:gd name="T1" fmla="*/ 703 h 784"/>
              <a:gd name="T2" fmla="*/ 510 w 680"/>
              <a:gd name="T3" fmla="*/ 633 h 784"/>
              <a:gd name="T4" fmla="*/ 527 w 680"/>
              <a:gd name="T5" fmla="*/ 618 h 784"/>
              <a:gd name="T6" fmla="*/ 559 w 680"/>
              <a:gd name="T7" fmla="*/ 657 h 784"/>
              <a:gd name="T8" fmla="*/ 551 w 680"/>
              <a:gd name="T9" fmla="*/ 603 h 784"/>
              <a:gd name="T10" fmla="*/ 581 w 680"/>
              <a:gd name="T11" fmla="*/ 564 h 784"/>
              <a:gd name="T12" fmla="*/ 625 w 680"/>
              <a:gd name="T13" fmla="*/ 572 h 784"/>
              <a:gd name="T14" fmla="*/ 679 w 680"/>
              <a:gd name="T15" fmla="*/ 423 h 784"/>
              <a:gd name="T16" fmla="*/ 245 w 680"/>
              <a:gd name="T17" fmla="*/ 55 h 784"/>
              <a:gd name="T18" fmla="*/ 197 w 680"/>
              <a:gd name="T19" fmla="*/ 116 h 784"/>
              <a:gd name="T20" fmla="*/ 139 w 680"/>
              <a:gd name="T21" fmla="*/ 176 h 784"/>
              <a:gd name="T22" fmla="*/ 91 w 680"/>
              <a:gd name="T23" fmla="*/ 199 h 784"/>
              <a:gd name="T24" fmla="*/ 61 w 680"/>
              <a:gd name="T25" fmla="*/ 218 h 784"/>
              <a:gd name="T26" fmla="*/ 38 w 680"/>
              <a:gd name="T27" fmla="*/ 290 h 784"/>
              <a:gd name="T28" fmla="*/ 55 w 680"/>
              <a:gd name="T29" fmla="*/ 350 h 784"/>
              <a:gd name="T30" fmla="*/ 6 w 680"/>
              <a:gd name="T31" fmla="*/ 262 h 784"/>
              <a:gd name="T32" fmla="*/ 492 w 680"/>
              <a:gd name="T33" fmla="*/ 624 h 784"/>
              <a:gd name="T34" fmla="*/ 552 w 680"/>
              <a:gd name="T35" fmla="*/ 574 h 784"/>
              <a:gd name="T36" fmla="*/ 633 w 680"/>
              <a:gd name="T37" fmla="*/ 545 h 784"/>
              <a:gd name="T38" fmla="*/ 641 w 680"/>
              <a:gd name="T39" fmla="*/ 482 h 784"/>
              <a:gd name="T40" fmla="*/ 625 w 680"/>
              <a:gd name="T41" fmla="*/ 439 h 784"/>
              <a:gd name="T42" fmla="*/ 595 w 680"/>
              <a:gd name="T43" fmla="*/ 520 h 784"/>
              <a:gd name="T44" fmla="*/ 561 w 680"/>
              <a:gd name="T45" fmla="*/ 516 h 784"/>
              <a:gd name="T46" fmla="*/ 539 w 680"/>
              <a:gd name="T47" fmla="*/ 439 h 784"/>
              <a:gd name="T48" fmla="*/ 26 w 680"/>
              <a:gd name="T49" fmla="*/ 245 h 784"/>
              <a:gd name="T50" fmla="*/ 44 w 680"/>
              <a:gd name="T51" fmla="*/ 264 h 784"/>
              <a:gd name="T52" fmla="*/ 68 w 680"/>
              <a:gd name="T53" fmla="*/ 289 h 784"/>
              <a:gd name="T54" fmla="*/ 46 w 680"/>
              <a:gd name="T55" fmla="*/ 337 h 784"/>
              <a:gd name="T56" fmla="*/ 75 w 680"/>
              <a:gd name="T57" fmla="*/ 351 h 784"/>
              <a:gd name="T58" fmla="*/ 149 w 680"/>
              <a:gd name="T59" fmla="*/ 200 h 784"/>
              <a:gd name="T60" fmla="*/ 124 w 680"/>
              <a:gd name="T61" fmla="*/ 222 h 784"/>
              <a:gd name="T62" fmla="*/ 95 w 680"/>
              <a:gd name="T63" fmla="*/ 257 h 784"/>
              <a:gd name="T64" fmla="*/ 117 w 680"/>
              <a:gd name="T65" fmla="*/ 400 h 784"/>
              <a:gd name="T66" fmla="*/ 177 w 680"/>
              <a:gd name="T67" fmla="*/ 200 h 784"/>
              <a:gd name="T68" fmla="*/ 181 w 680"/>
              <a:gd name="T69" fmla="*/ 290 h 784"/>
              <a:gd name="T70" fmla="*/ 306 w 680"/>
              <a:gd name="T71" fmla="*/ 205 h 784"/>
              <a:gd name="T72" fmla="*/ 350 w 680"/>
              <a:gd name="T73" fmla="*/ 136 h 784"/>
              <a:gd name="T74" fmla="*/ 366 w 680"/>
              <a:gd name="T75" fmla="*/ 677 h 784"/>
              <a:gd name="T76" fmla="*/ 346 w 680"/>
              <a:gd name="T77" fmla="*/ 657 h 784"/>
              <a:gd name="T78" fmla="*/ 328 w 680"/>
              <a:gd name="T79" fmla="*/ 658 h 784"/>
              <a:gd name="T80" fmla="*/ 368 w 680"/>
              <a:gd name="T81" fmla="*/ 740 h 784"/>
              <a:gd name="T82" fmla="*/ 421 w 680"/>
              <a:gd name="T83" fmla="*/ 663 h 784"/>
              <a:gd name="T84" fmla="*/ 446 w 680"/>
              <a:gd name="T85" fmla="*/ 640 h 784"/>
              <a:gd name="T86" fmla="*/ 451 w 680"/>
              <a:gd name="T87" fmla="*/ 566 h 784"/>
              <a:gd name="T88" fmla="*/ 426 w 680"/>
              <a:gd name="T89" fmla="*/ 681 h 784"/>
              <a:gd name="T90" fmla="*/ 399 w 680"/>
              <a:gd name="T91" fmla="*/ 697 h 784"/>
              <a:gd name="T92" fmla="*/ 437 w 680"/>
              <a:gd name="T93" fmla="*/ 693 h 784"/>
              <a:gd name="T94" fmla="*/ 467 w 680"/>
              <a:gd name="T95" fmla="*/ 683 h 784"/>
              <a:gd name="T96" fmla="*/ 482 w 680"/>
              <a:gd name="T97" fmla="*/ 621 h 784"/>
              <a:gd name="T98" fmla="*/ 499 w 680"/>
              <a:gd name="T99" fmla="*/ 528 h 784"/>
              <a:gd name="T100" fmla="*/ 523 w 680"/>
              <a:gd name="T101" fmla="*/ 458 h 784"/>
              <a:gd name="T102" fmla="*/ 495 w 680"/>
              <a:gd name="T103" fmla="*/ 148 h 784"/>
              <a:gd name="T104" fmla="*/ 461 w 680"/>
              <a:gd name="T105" fmla="*/ 536 h 784"/>
              <a:gd name="T106" fmla="*/ 401 w 680"/>
              <a:gd name="T107" fmla="*/ 117 h 784"/>
              <a:gd name="T108" fmla="*/ 364 w 680"/>
              <a:gd name="T109" fmla="*/ 54 h 784"/>
              <a:gd name="T110" fmla="*/ 314 w 680"/>
              <a:gd name="T111" fmla="*/ 88 h 784"/>
              <a:gd name="T112" fmla="*/ 267 w 680"/>
              <a:gd name="T113" fmla="*/ 262 h 784"/>
              <a:gd name="T114" fmla="*/ 280 w 680"/>
              <a:gd name="T115" fmla="*/ 66 h 784"/>
              <a:gd name="T116" fmla="*/ 241 w 680"/>
              <a:gd name="T117" fmla="*/ 67 h 784"/>
              <a:gd name="T118" fmla="*/ 212 w 680"/>
              <a:gd name="T119" fmla="*/ 179 h 784"/>
              <a:gd name="T120" fmla="*/ 194 w 680"/>
              <a:gd name="T121" fmla="*/ 242 h 784"/>
              <a:gd name="T122" fmla="*/ 222 w 680"/>
              <a:gd name="T123" fmla="*/ 327 h 784"/>
              <a:gd name="T124" fmla="*/ 256 w 680"/>
              <a:gd name="T125" fmla="*/ 133 h 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680" h="784">
                <a:moveTo>
                  <a:pt x="298" y="758"/>
                </a:moveTo>
                <a:cubicBezTo>
                  <a:pt x="300" y="757"/>
                  <a:pt x="304" y="758"/>
                  <a:pt x="305" y="756"/>
                </a:cubicBezTo>
                <a:cubicBezTo>
                  <a:pt x="305" y="756"/>
                  <a:pt x="304" y="755"/>
                  <a:pt x="305" y="755"/>
                </a:cubicBezTo>
                <a:cubicBezTo>
                  <a:pt x="307" y="753"/>
                  <a:pt x="311" y="754"/>
                  <a:pt x="312" y="754"/>
                </a:cubicBezTo>
                <a:cubicBezTo>
                  <a:pt x="324" y="757"/>
                  <a:pt x="318" y="767"/>
                  <a:pt x="306" y="764"/>
                </a:cubicBezTo>
                <a:cubicBezTo>
                  <a:pt x="304" y="763"/>
                  <a:pt x="305" y="762"/>
                  <a:pt x="302" y="762"/>
                </a:cubicBezTo>
                <a:cubicBezTo>
                  <a:pt x="340" y="784"/>
                  <a:pt x="340" y="784"/>
                  <a:pt x="340" y="784"/>
                </a:cubicBezTo>
                <a:cubicBezTo>
                  <a:pt x="340" y="783"/>
                  <a:pt x="341" y="783"/>
                  <a:pt x="341" y="783"/>
                </a:cubicBezTo>
                <a:cubicBezTo>
                  <a:pt x="344" y="782"/>
                  <a:pt x="344" y="782"/>
                  <a:pt x="344" y="782"/>
                </a:cubicBezTo>
                <a:cubicBezTo>
                  <a:pt x="344" y="782"/>
                  <a:pt x="343" y="782"/>
                  <a:pt x="343" y="781"/>
                </a:cubicBezTo>
                <a:cubicBezTo>
                  <a:pt x="344" y="781"/>
                  <a:pt x="344" y="781"/>
                  <a:pt x="344" y="782"/>
                </a:cubicBezTo>
                <a:cubicBezTo>
                  <a:pt x="346" y="781"/>
                  <a:pt x="346" y="781"/>
                  <a:pt x="346" y="781"/>
                </a:cubicBezTo>
                <a:cubicBezTo>
                  <a:pt x="346" y="780"/>
                  <a:pt x="345" y="780"/>
                  <a:pt x="345" y="779"/>
                </a:cubicBezTo>
                <a:cubicBezTo>
                  <a:pt x="345" y="777"/>
                  <a:pt x="351" y="775"/>
                  <a:pt x="354" y="776"/>
                </a:cubicBezTo>
                <a:cubicBezTo>
                  <a:pt x="363" y="770"/>
                  <a:pt x="363" y="770"/>
                  <a:pt x="363" y="770"/>
                </a:cubicBezTo>
                <a:cubicBezTo>
                  <a:pt x="363" y="770"/>
                  <a:pt x="363" y="770"/>
                  <a:pt x="363" y="770"/>
                </a:cubicBezTo>
                <a:cubicBezTo>
                  <a:pt x="363" y="770"/>
                  <a:pt x="360" y="768"/>
                  <a:pt x="361" y="766"/>
                </a:cubicBezTo>
                <a:cubicBezTo>
                  <a:pt x="361" y="765"/>
                  <a:pt x="364" y="765"/>
                  <a:pt x="364" y="765"/>
                </a:cubicBezTo>
                <a:cubicBezTo>
                  <a:pt x="366" y="762"/>
                  <a:pt x="364" y="765"/>
                  <a:pt x="366" y="764"/>
                </a:cubicBezTo>
                <a:cubicBezTo>
                  <a:pt x="366" y="764"/>
                  <a:pt x="367" y="763"/>
                  <a:pt x="367" y="763"/>
                </a:cubicBezTo>
                <a:cubicBezTo>
                  <a:pt x="369" y="763"/>
                  <a:pt x="371" y="764"/>
                  <a:pt x="372" y="766"/>
                </a:cubicBezTo>
                <a:cubicBezTo>
                  <a:pt x="420" y="738"/>
                  <a:pt x="420" y="738"/>
                  <a:pt x="420" y="738"/>
                </a:cubicBezTo>
                <a:cubicBezTo>
                  <a:pt x="420" y="737"/>
                  <a:pt x="419" y="737"/>
                  <a:pt x="419" y="737"/>
                </a:cubicBezTo>
                <a:cubicBezTo>
                  <a:pt x="419" y="735"/>
                  <a:pt x="420" y="737"/>
                  <a:pt x="421" y="737"/>
                </a:cubicBezTo>
                <a:cubicBezTo>
                  <a:pt x="419" y="734"/>
                  <a:pt x="424" y="734"/>
                  <a:pt x="423" y="732"/>
                </a:cubicBezTo>
                <a:cubicBezTo>
                  <a:pt x="425" y="733"/>
                  <a:pt x="426" y="733"/>
                  <a:pt x="428" y="733"/>
                </a:cubicBezTo>
                <a:cubicBezTo>
                  <a:pt x="444" y="724"/>
                  <a:pt x="444" y="724"/>
                  <a:pt x="444" y="724"/>
                </a:cubicBezTo>
                <a:cubicBezTo>
                  <a:pt x="442" y="723"/>
                  <a:pt x="441" y="723"/>
                  <a:pt x="440" y="723"/>
                </a:cubicBezTo>
                <a:cubicBezTo>
                  <a:pt x="439" y="723"/>
                  <a:pt x="439" y="724"/>
                  <a:pt x="438" y="724"/>
                </a:cubicBezTo>
                <a:cubicBezTo>
                  <a:pt x="438" y="724"/>
                  <a:pt x="431" y="722"/>
                  <a:pt x="431" y="721"/>
                </a:cubicBezTo>
                <a:cubicBezTo>
                  <a:pt x="430" y="721"/>
                  <a:pt x="429" y="718"/>
                  <a:pt x="429" y="718"/>
                </a:cubicBezTo>
                <a:cubicBezTo>
                  <a:pt x="429" y="718"/>
                  <a:pt x="428" y="718"/>
                  <a:pt x="428" y="717"/>
                </a:cubicBezTo>
                <a:cubicBezTo>
                  <a:pt x="428" y="716"/>
                  <a:pt x="432" y="715"/>
                  <a:pt x="436" y="715"/>
                </a:cubicBezTo>
                <a:cubicBezTo>
                  <a:pt x="436" y="715"/>
                  <a:pt x="436" y="715"/>
                  <a:pt x="436" y="715"/>
                </a:cubicBezTo>
                <a:cubicBezTo>
                  <a:pt x="436" y="715"/>
                  <a:pt x="436" y="715"/>
                  <a:pt x="436" y="715"/>
                </a:cubicBezTo>
                <a:cubicBezTo>
                  <a:pt x="437" y="715"/>
                  <a:pt x="437" y="715"/>
                  <a:pt x="438" y="715"/>
                </a:cubicBezTo>
                <a:cubicBezTo>
                  <a:pt x="440" y="714"/>
                  <a:pt x="442" y="713"/>
                  <a:pt x="440" y="711"/>
                </a:cubicBezTo>
                <a:cubicBezTo>
                  <a:pt x="441" y="712"/>
                  <a:pt x="437" y="712"/>
                  <a:pt x="437" y="711"/>
                </a:cubicBezTo>
                <a:cubicBezTo>
                  <a:pt x="437" y="711"/>
                  <a:pt x="444" y="710"/>
                  <a:pt x="443" y="708"/>
                </a:cubicBezTo>
                <a:cubicBezTo>
                  <a:pt x="443" y="709"/>
                  <a:pt x="440" y="706"/>
                  <a:pt x="441" y="706"/>
                </a:cubicBezTo>
                <a:cubicBezTo>
                  <a:pt x="441" y="705"/>
                  <a:pt x="444" y="705"/>
                  <a:pt x="446" y="705"/>
                </a:cubicBezTo>
                <a:cubicBezTo>
                  <a:pt x="446" y="705"/>
                  <a:pt x="446" y="704"/>
                  <a:pt x="446" y="704"/>
                </a:cubicBezTo>
                <a:cubicBezTo>
                  <a:pt x="446" y="704"/>
                  <a:pt x="446" y="703"/>
                  <a:pt x="446" y="703"/>
                </a:cubicBezTo>
                <a:cubicBezTo>
                  <a:pt x="445" y="702"/>
                  <a:pt x="444" y="703"/>
                  <a:pt x="445" y="701"/>
                </a:cubicBezTo>
                <a:cubicBezTo>
                  <a:pt x="443" y="702"/>
                  <a:pt x="442" y="702"/>
                  <a:pt x="440" y="703"/>
                </a:cubicBezTo>
                <a:cubicBezTo>
                  <a:pt x="442" y="703"/>
                  <a:pt x="442" y="700"/>
                  <a:pt x="443" y="700"/>
                </a:cubicBezTo>
                <a:cubicBezTo>
                  <a:pt x="446" y="700"/>
                  <a:pt x="443" y="700"/>
                  <a:pt x="442" y="698"/>
                </a:cubicBezTo>
                <a:cubicBezTo>
                  <a:pt x="441" y="699"/>
                  <a:pt x="442" y="699"/>
                  <a:pt x="442" y="700"/>
                </a:cubicBezTo>
                <a:cubicBezTo>
                  <a:pt x="440" y="705"/>
                  <a:pt x="434" y="698"/>
                  <a:pt x="437" y="696"/>
                </a:cubicBezTo>
                <a:cubicBezTo>
                  <a:pt x="438" y="696"/>
                  <a:pt x="441" y="698"/>
                  <a:pt x="441" y="697"/>
                </a:cubicBezTo>
                <a:cubicBezTo>
                  <a:pt x="443" y="697"/>
                  <a:pt x="443" y="696"/>
                  <a:pt x="443" y="694"/>
                </a:cubicBezTo>
                <a:cubicBezTo>
                  <a:pt x="444" y="694"/>
                  <a:pt x="445" y="695"/>
                  <a:pt x="447" y="695"/>
                </a:cubicBezTo>
                <a:cubicBezTo>
                  <a:pt x="447" y="695"/>
                  <a:pt x="446" y="694"/>
                  <a:pt x="447" y="694"/>
                </a:cubicBezTo>
                <a:cubicBezTo>
                  <a:pt x="448" y="692"/>
                  <a:pt x="454" y="695"/>
                  <a:pt x="453" y="693"/>
                </a:cubicBezTo>
                <a:cubicBezTo>
                  <a:pt x="454" y="693"/>
                  <a:pt x="454" y="693"/>
                  <a:pt x="454" y="693"/>
                </a:cubicBezTo>
                <a:cubicBezTo>
                  <a:pt x="454" y="693"/>
                  <a:pt x="454" y="693"/>
                  <a:pt x="454" y="693"/>
                </a:cubicBezTo>
                <a:cubicBezTo>
                  <a:pt x="455" y="693"/>
                  <a:pt x="455" y="693"/>
                  <a:pt x="455" y="693"/>
                </a:cubicBezTo>
                <a:cubicBezTo>
                  <a:pt x="454" y="693"/>
                  <a:pt x="454" y="693"/>
                  <a:pt x="454" y="693"/>
                </a:cubicBezTo>
                <a:cubicBezTo>
                  <a:pt x="455" y="694"/>
                  <a:pt x="456" y="697"/>
                  <a:pt x="457" y="699"/>
                </a:cubicBezTo>
                <a:cubicBezTo>
                  <a:pt x="457" y="700"/>
                  <a:pt x="458" y="700"/>
                  <a:pt x="458" y="701"/>
                </a:cubicBezTo>
                <a:cubicBezTo>
                  <a:pt x="457" y="702"/>
                  <a:pt x="455" y="700"/>
                  <a:pt x="455" y="702"/>
                </a:cubicBezTo>
                <a:cubicBezTo>
                  <a:pt x="455" y="706"/>
                  <a:pt x="463" y="704"/>
                  <a:pt x="461" y="698"/>
                </a:cubicBezTo>
                <a:cubicBezTo>
                  <a:pt x="463" y="700"/>
                  <a:pt x="465" y="701"/>
                  <a:pt x="466" y="703"/>
                </a:cubicBezTo>
                <a:cubicBezTo>
                  <a:pt x="466" y="702"/>
                  <a:pt x="468" y="702"/>
                  <a:pt x="468" y="703"/>
                </a:cubicBezTo>
                <a:cubicBezTo>
                  <a:pt x="469" y="704"/>
                  <a:pt x="467" y="704"/>
                  <a:pt x="466" y="703"/>
                </a:cubicBezTo>
                <a:cubicBezTo>
                  <a:pt x="467" y="704"/>
                  <a:pt x="467" y="704"/>
                  <a:pt x="467" y="705"/>
                </a:cubicBezTo>
                <a:cubicBezTo>
                  <a:pt x="467" y="705"/>
                  <a:pt x="468" y="704"/>
                  <a:pt x="468" y="705"/>
                </a:cubicBezTo>
                <a:cubicBezTo>
                  <a:pt x="468" y="706"/>
                  <a:pt x="467" y="706"/>
                  <a:pt x="467" y="705"/>
                </a:cubicBezTo>
                <a:cubicBezTo>
                  <a:pt x="467" y="706"/>
                  <a:pt x="467" y="706"/>
                  <a:pt x="467" y="707"/>
                </a:cubicBezTo>
                <a:cubicBezTo>
                  <a:pt x="467" y="706"/>
                  <a:pt x="469" y="707"/>
                  <a:pt x="471" y="706"/>
                </a:cubicBezTo>
                <a:cubicBezTo>
                  <a:pt x="471" y="706"/>
                  <a:pt x="471" y="706"/>
                  <a:pt x="471" y="706"/>
                </a:cubicBezTo>
                <a:cubicBezTo>
                  <a:pt x="472" y="706"/>
                  <a:pt x="472" y="706"/>
                  <a:pt x="472" y="706"/>
                </a:cubicBezTo>
                <a:cubicBezTo>
                  <a:pt x="472" y="706"/>
                  <a:pt x="472" y="706"/>
                  <a:pt x="472" y="706"/>
                </a:cubicBezTo>
                <a:cubicBezTo>
                  <a:pt x="472" y="706"/>
                  <a:pt x="473" y="706"/>
                  <a:pt x="474" y="706"/>
                </a:cubicBezTo>
                <a:cubicBezTo>
                  <a:pt x="474" y="706"/>
                  <a:pt x="474" y="705"/>
                  <a:pt x="472" y="705"/>
                </a:cubicBezTo>
                <a:cubicBezTo>
                  <a:pt x="472" y="704"/>
                  <a:pt x="475" y="705"/>
                  <a:pt x="476" y="705"/>
                </a:cubicBezTo>
                <a:cubicBezTo>
                  <a:pt x="476" y="705"/>
                  <a:pt x="476" y="705"/>
                  <a:pt x="476" y="705"/>
                </a:cubicBezTo>
                <a:cubicBezTo>
                  <a:pt x="476" y="705"/>
                  <a:pt x="475" y="704"/>
                  <a:pt x="475" y="704"/>
                </a:cubicBezTo>
                <a:cubicBezTo>
                  <a:pt x="474" y="705"/>
                  <a:pt x="471" y="704"/>
                  <a:pt x="472" y="703"/>
                </a:cubicBezTo>
                <a:cubicBezTo>
                  <a:pt x="473" y="703"/>
                  <a:pt x="473" y="703"/>
                  <a:pt x="473" y="703"/>
                </a:cubicBezTo>
                <a:cubicBezTo>
                  <a:pt x="473" y="703"/>
                  <a:pt x="473" y="703"/>
                  <a:pt x="473" y="702"/>
                </a:cubicBezTo>
                <a:cubicBezTo>
                  <a:pt x="473" y="703"/>
                  <a:pt x="475" y="702"/>
                  <a:pt x="475" y="703"/>
                </a:cubicBezTo>
                <a:cubicBezTo>
                  <a:pt x="474" y="701"/>
                  <a:pt x="472" y="701"/>
                  <a:pt x="472" y="700"/>
                </a:cubicBezTo>
                <a:cubicBezTo>
                  <a:pt x="474" y="698"/>
                  <a:pt x="477" y="703"/>
                  <a:pt x="479" y="702"/>
                </a:cubicBezTo>
                <a:cubicBezTo>
                  <a:pt x="479" y="702"/>
                  <a:pt x="479" y="702"/>
                  <a:pt x="479" y="702"/>
                </a:cubicBezTo>
                <a:cubicBezTo>
                  <a:pt x="479" y="702"/>
                  <a:pt x="479" y="702"/>
                  <a:pt x="479" y="702"/>
                </a:cubicBezTo>
                <a:cubicBezTo>
                  <a:pt x="477" y="700"/>
                  <a:pt x="473" y="698"/>
                  <a:pt x="476" y="697"/>
                </a:cubicBezTo>
                <a:cubicBezTo>
                  <a:pt x="475" y="697"/>
                  <a:pt x="475" y="697"/>
                  <a:pt x="474" y="696"/>
                </a:cubicBezTo>
                <a:cubicBezTo>
                  <a:pt x="474" y="696"/>
                  <a:pt x="474" y="695"/>
                  <a:pt x="474" y="695"/>
                </a:cubicBezTo>
                <a:cubicBezTo>
                  <a:pt x="474" y="695"/>
                  <a:pt x="474" y="695"/>
                  <a:pt x="474" y="695"/>
                </a:cubicBezTo>
                <a:cubicBezTo>
                  <a:pt x="474" y="694"/>
                  <a:pt x="476" y="693"/>
                  <a:pt x="476" y="694"/>
                </a:cubicBezTo>
                <a:cubicBezTo>
                  <a:pt x="479" y="694"/>
                  <a:pt x="485" y="695"/>
                  <a:pt x="481" y="692"/>
                </a:cubicBezTo>
                <a:cubicBezTo>
                  <a:pt x="482" y="693"/>
                  <a:pt x="485" y="690"/>
                  <a:pt x="487" y="693"/>
                </a:cubicBezTo>
                <a:cubicBezTo>
                  <a:pt x="487" y="693"/>
                  <a:pt x="486" y="694"/>
                  <a:pt x="486" y="694"/>
                </a:cubicBezTo>
                <a:cubicBezTo>
                  <a:pt x="487" y="694"/>
                  <a:pt x="494" y="692"/>
                  <a:pt x="494" y="691"/>
                </a:cubicBezTo>
                <a:cubicBezTo>
                  <a:pt x="494" y="691"/>
                  <a:pt x="488" y="688"/>
                  <a:pt x="492" y="687"/>
                </a:cubicBezTo>
                <a:cubicBezTo>
                  <a:pt x="494" y="687"/>
                  <a:pt x="496" y="689"/>
                  <a:pt x="496" y="690"/>
                </a:cubicBezTo>
                <a:cubicBezTo>
                  <a:pt x="496" y="693"/>
                  <a:pt x="499" y="688"/>
                  <a:pt x="499" y="688"/>
                </a:cubicBezTo>
                <a:cubicBezTo>
                  <a:pt x="498" y="686"/>
                  <a:pt x="497" y="688"/>
                  <a:pt x="497" y="686"/>
                </a:cubicBezTo>
                <a:cubicBezTo>
                  <a:pt x="497" y="687"/>
                  <a:pt x="500" y="684"/>
                  <a:pt x="500" y="684"/>
                </a:cubicBezTo>
                <a:cubicBezTo>
                  <a:pt x="501" y="683"/>
                  <a:pt x="500" y="682"/>
                  <a:pt x="503" y="683"/>
                </a:cubicBezTo>
                <a:cubicBezTo>
                  <a:pt x="502" y="683"/>
                  <a:pt x="501" y="682"/>
                  <a:pt x="501" y="681"/>
                </a:cubicBezTo>
                <a:cubicBezTo>
                  <a:pt x="500" y="680"/>
                  <a:pt x="499" y="679"/>
                  <a:pt x="500" y="679"/>
                </a:cubicBezTo>
                <a:cubicBezTo>
                  <a:pt x="500" y="678"/>
                  <a:pt x="500" y="678"/>
                  <a:pt x="501" y="678"/>
                </a:cubicBezTo>
                <a:cubicBezTo>
                  <a:pt x="501" y="678"/>
                  <a:pt x="501" y="678"/>
                  <a:pt x="501" y="678"/>
                </a:cubicBezTo>
                <a:cubicBezTo>
                  <a:pt x="502" y="679"/>
                  <a:pt x="503" y="679"/>
                  <a:pt x="503" y="680"/>
                </a:cubicBezTo>
                <a:cubicBezTo>
                  <a:pt x="503" y="680"/>
                  <a:pt x="503" y="680"/>
                  <a:pt x="504" y="680"/>
                </a:cubicBezTo>
                <a:cubicBezTo>
                  <a:pt x="504" y="680"/>
                  <a:pt x="504" y="680"/>
                  <a:pt x="505" y="679"/>
                </a:cubicBezTo>
                <a:cubicBezTo>
                  <a:pt x="504" y="679"/>
                  <a:pt x="504" y="678"/>
                  <a:pt x="504" y="678"/>
                </a:cubicBezTo>
                <a:cubicBezTo>
                  <a:pt x="505" y="676"/>
                  <a:pt x="508" y="676"/>
                  <a:pt x="509" y="678"/>
                </a:cubicBezTo>
                <a:cubicBezTo>
                  <a:pt x="509" y="677"/>
                  <a:pt x="510" y="677"/>
                  <a:pt x="510" y="677"/>
                </a:cubicBezTo>
                <a:cubicBezTo>
                  <a:pt x="510" y="678"/>
                  <a:pt x="512" y="680"/>
                  <a:pt x="513" y="680"/>
                </a:cubicBezTo>
                <a:cubicBezTo>
                  <a:pt x="513" y="680"/>
                  <a:pt x="513" y="681"/>
                  <a:pt x="513" y="681"/>
                </a:cubicBezTo>
                <a:cubicBezTo>
                  <a:pt x="513" y="681"/>
                  <a:pt x="513" y="681"/>
                  <a:pt x="513" y="682"/>
                </a:cubicBezTo>
                <a:cubicBezTo>
                  <a:pt x="513" y="682"/>
                  <a:pt x="513" y="682"/>
                  <a:pt x="513" y="682"/>
                </a:cubicBezTo>
                <a:cubicBezTo>
                  <a:pt x="516" y="683"/>
                  <a:pt x="514" y="677"/>
                  <a:pt x="517" y="678"/>
                </a:cubicBezTo>
                <a:cubicBezTo>
                  <a:pt x="515" y="678"/>
                  <a:pt x="514" y="677"/>
                  <a:pt x="514" y="676"/>
                </a:cubicBezTo>
                <a:cubicBezTo>
                  <a:pt x="512" y="676"/>
                  <a:pt x="510" y="674"/>
                  <a:pt x="511" y="673"/>
                </a:cubicBezTo>
                <a:cubicBezTo>
                  <a:pt x="509" y="673"/>
                  <a:pt x="506" y="673"/>
                  <a:pt x="507" y="670"/>
                </a:cubicBezTo>
                <a:cubicBezTo>
                  <a:pt x="507" y="670"/>
                  <a:pt x="506" y="670"/>
                  <a:pt x="506" y="670"/>
                </a:cubicBezTo>
                <a:cubicBezTo>
                  <a:pt x="508" y="672"/>
                  <a:pt x="505" y="672"/>
                  <a:pt x="504" y="671"/>
                </a:cubicBezTo>
                <a:cubicBezTo>
                  <a:pt x="504" y="670"/>
                  <a:pt x="505" y="670"/>
                  <a:pt x="505" y="670"/>
                </a:cubicBezTo>
                <a:cubicBezTo>
                  <a:pt x="505" y="669"/>
                  <a:pt x="503" y="669"/>
                  <a:pt x="503" y="668"/>
                </a:cubicBezTo>
                <a:cubicBezTo>
                  <a:pt x="501" y="666"/>
                  <a:pt x="502" y="664"/>
                  <a:pt x="499" y="664"/>
                </a:cubicBezTo>
                <a:cubicBezTo>
                  <a:pt x="496" y="664"/>
                  <a:pt x="496" y="661"/>
                  <a:pt x="494" y="661"/>
                </a:cubicBezTo>
                <a:cubicBezTo>
                  <a:pt x="493" y="662"/>
                  <a:pt x="493" y="669"/>
                  <a:pt x="489" y="666"/>
                </a:cubicBezTo>
                <a:cubicBezTo>
                  <a:pt x="488" y="665"/>
                  <a:pt x="489" y="665"/>
                  <a:pt x="488" y="665"/>
                </a:cubicBezTo>
                <a:cubicBezTo>
                  <a:pt x="486" y="665"/>
                  <a:pt x="480" y="661"/>
                  <a:pt x="486" y="661"/>
                </a:cubicBezTo>
                <a:cubicBezTo>
                  <a:pt x="487" y="661"/>
                  <a:pt x="488" y="662"/>
                  <a:pt x="488" y="662"/>
                </a:cubicBezTo>
                <a:cubicBezTo>
                  <a:pt x="490" y="663"/>
                  <a:pt x="490" y="661"/>
                  <a:pt x="492" y="660"/>
                </a:cubicBezTo>
                <a:cubicBezTo>
                  <a:pt x="493" y="660"/>
                  <a:pt x="493" y="662"/>
                  <a:pt x="494" y="661"/>
                </a:cubicBezTo>
                <a:cubicBezTo>
                  <a:pt x="495" y="659"/>
                  <a:pt x="491" y="658"/>
                  <a:pt x="491" y="658"/>
                </a:cubicBezTo>
                <a:cubicBezTo>
                  <a:pt x="490" y="658"/>
                  <a:pt x="490" y="661"/>
                  <a:pt x="489" y="659"/>
                </a:cubicBezTo>
                <a:cubicBezTo>
                  <a:pt x="489" y="658"/>
                  <a:pt x="491" y="655"/>
                  <a:pt x="491" y="655"/>
                </a:cubicBezTo>
                <a:cubicBezTo>
                  <a:pt x="492" y="652"/>
                  <a:pt x="491" y="653"/>
                  <a:pt x="494" y="652"/>
                </a:cubicBezTo>
                <a:cubicBezTo>
                  <a:pt x="496" y="652"/>
                  <a:pt x="499" y="654"/>
                  <a:pt x="499" y="655"/>
                </a:cubicBezTo>
                <a:cubicBezTo>
                  <a:pt x="501" y="658"/>
                  <a:pt x="500" y="655"/>
                  <a:pt x="501" y="654"/>
                </a:cubicBezTo>
                <a:cubicBezTo>
                  <a:pt x="502" y="653"/>
                  <a:pt x="504" y="653"/>
                  <a:pt x="506" y="654"/>
                </a:cubicBezTo>
                <a:cubicBezTo>
                  <a:pt x="506" y="652"/>
                  <a:pt x="506" y="651"/>
                  <a:pt x="507" y="651"/>
                </a:cubicBezTo>
                <a:cubicBezTo>
                  <a:pt x="507" y="651"/>
                  <a:pt x="507" y="651"/>
                  <a:pt x="506" y="650"/>
                </a:cubicBezTo>
                <a:cubicBezTo>
                  <a:pt x="507" y="650"/>
                  <a:pt x="507" y="651"/>
                  <a:pt x="507" y="651"/>
                </a:cubicBezTo>
                <a:cubicBezTo>
                  <a:pt x="507" y="651"/>
                  <a:pt x="508" y="651"/>
                  <a:pt x="508" y="651"/>
                </a:cubicBezTo>
                <a:cubicBezTo>
                  <a:pt x="505" y="650"/>
                  <a:pt x="516" y="648"/>
                  <a:pt x="513" y="646"/>
                </a:cubicBezTo>
                <a:cubicBezTo>
                  <a:pt x="513" y="645"/>
                  <a:pt x="513" y="645"/>
                  <a:pt x="512" y="645"/>
                </a:cubicBezTo>
                <a:cubicBezTo>
                  <a:pt x="512" y="645"/>
                  <a:pt x="513" y="645"/>
                  <a:pt x="513" y="644"/>
                </a:cubicBezTo>
                <a:cubicBezTo>
                  <a:pt x="513" y="644"/>
                  <a:pt x="513" y="644"/>
                  <a:pt x="513" y="644"/>
                </a:cubicBezTo>
                <a:cubicBezTo>
                  <a:pt x="513" y="643"/>
                  <a:pt x="512" y="642"/>
                  <a:pt x="512" y="641"/>
                </a:cubicBezTo>
                <a:cubicBezTo>
                  <a:pt x="512" y="640"/>
                  <a:pt x="511" y="640"/>
                  <a:pt x="512" y="639"/>
                </a:cubicBezTo>
                <a:cubicBezTo>
                  <a:pt x="512" y="638"/>
                  <a:pt x="513" y="637"/>
                  <a:pt x="515" y="637"/>
                </a:cubicBezTo>
                <a:cubicBezTo>
                  <a:pt x="518" y="636"/>
                  <a:pt x="513" y="635"/>
                  <a:pt x="512" y="636"/>
                </a:cubicBezTo>
                <a:cubicBezTo>
                  <a:pt x="512" y="637"/>
                  <a:pt x="512" y="637"/>
                  <a:pt x="511" y="637"/>
                </a:cubicBezTo>
                <a:cubicBezTo>
                  <a:pt x="511" y="637"/>
                  <a:pt x="510" y="637"/>
                  <a:pt x="510" y="636"/>
                </a:cubicBezTo>
                <a:cubicBezTo>
                  <a:pt x="508" y="636"/>
                  <a:pt x="506" y="635"/>
                  <a:pt x="505" y="635"/>
                </a:cubicBezTo>
                <a:cubicBezTo>
                  <a:pt x="507" y="635"/>
                  <a:pt x="508" y="635"/>
                  <a:pt x="510" y="635"/>
                </a:cubicBezTo>
                <a:cubicBezTo>
                  <a:pt x="510" y="634"/>
                  <a:pt x="510" y="634"/>
                  <a:pt x="510" y="634"/>
                </a:cubicBezTo>
                <a:cubicBezTo>
                  <a:pt x="510" y="634"/>
                  <a:pt x="511" y="634"/>
                  <a:pt x="511" y="635"/>
                </a:cubicBezTo>
                <a:cubicBezTo>
                  <a:pt x="511" y="635"/>
                  <a:pt x="512" y="635"/>
                  <a:pt x="512" y="635"/>
                </a:cubicBezTo>
                <a:cubicBezTo>
                  <a:pt x="512" y="634"/>
                  <a:pt x="510" y="634"/>
                  <a:pt x="510" y="633"/>
                </a:cubicBezTo>
                <a:cubicBezTo>
                  <a:pt x="511" y="634"/>
                  <a:pt x="512" y="634"/>
                  <a:pt x="513" y="633"/>
                </a:cubicBezTo>
                <a:cubicBezTo>
                  <a:pt x="513" y="633"/>
                  <a:pt x="513" y="633"/>
                  <a:pt x="514" y="633"/>
                </a:cubicBezTo>
                <a:cubicBezTo>
                  <a:pt x="514" y="633"/>
                  <a:pt x="514" y="633"/>
                  <a:pt x="514" y="633"/>
                </a:cubicBezTo>
                <a:cubicBezTo>
                  <a:pt x="514" y="632"/>
                  <a:pt x="514" y="632"/>
                  <a:pt x="513" y="631"/>
                </a:cubicBezTo>
                <a:cubicBezTo>
                  <a:pt x="513" y="631"/>
                  <a:pt x="513" y="631"/>
                  <a:pt x="513" y="631"/>
                </a:cubicBezTo>
                <a:cubicBezTo>
                  <a:pt x="513" y="631"/>
                  <a:pt x="513" y="632"/>
                  <a:pt x="513" y="632"/>
                </a:cubicBezTo>
                <a:cubicBezTo>
                  <a:pt x="513" y="632"/>
                  <a:pt x="513" y="632"/>
                  <a:pt x="513" y="632"/>
                </a:cubicBezTo>
                <a:cubicBezTo>
                  <a:pt x="513" y="632"/>
                  <a:pt x="513" y="632"/>
                  <a:pt x="513" y="633"/>
                </a:cubicBezTo>
                <a:cubicBezTo>
                  <a:pt x="513" y="633"/>
                  <a:pt x="513" y="632"/>
                  <a:pt x="512" y="632"/>
                </a:cubicBezTo>
                <a:cubicBezTo>
                  <a:pt x="512" y="632"/>
                  <a:pt x="512" y="632"/>
                  <a:pt x="512" y="632"/>
                </a:cubicBezTo>
                <a:cubicBezTo>
                  <a:pt x="512" y="631"/>
                  <a:pt x="512" y="631"/>
                  <a:pt x="512" y="631"/>
                </a:cubicBezTo>
                <a:cubicBezTo>
                  <a:pt x="511" y="631"/>
                  <a:pt x="510" y="630"/>
                  <a:pt x="510" y="630"/>
                </a:cubicBezTo>
                <a:cubicBezTo>
                  <a:pt x="510" y="630"/>
                  <a:pt x="509" y="631"/>
                  <a:pt x="509" y="632"/>
                </a:cubicBezTo>
                <a:cubicBezTo>
                  <a:pt x="509" y="633"/>
                  <a:pt x="510" y="634"/>
                  <a:pt x="509" y="634"/>
                </a:cubicBezTo>
                <a:cubicBezTo>
                  <a:pt x="509" y="634"/>
                  <a:pt x="509" y="634"/>
                  <a:pt x="508" y="633"/>
                </a:cubicBezTo>
                <a:cubicBezTo>
                  <a:pt x="508" y="634"/>
                  <a:pt x="508" y="634"/>
                  <a:pt x="508" y="634"/>
                </a:cubicBezTo>
                <a:cubicBezTo>
                  <a:pt x="507" y="634"/>
                  <a:pt x="505" y="633"/>
                  <a:pt x="504" y="632"/>
                </a:cubicBezTo>
                <a:cubicBezTo>
                  <a:pt x="504" y="634"/>
                  <a:pt x="503" y="634"/>
                  <a:pt x="500" y="634"/>
                </a:cubicBezTo>
                <a:cubicBezTo>
                  <a:pt x="500" y="634"/>
                  <a:pt x="500" y="634"/>
                  <a:pt x="500" y="634"/>
                </a:cubicBezTo>
                <a:cubicBezTo>
                  <a:pt x="501" y="635"/>
                  <a:pt x="504" y="638"/>
                  <a:pt x="506" y="638"/>
                </a:cubicBezTo>
                <a:cubicBezTo>
                  <a:pt x="506" y="638"/>
                  <a:pt x="511" y="638"/>
                  <a:pt x="508" y="640"/>
                </a:cubicBezTo>
                <a:cubicBezTo>
                  <a:pt x="506" y="640"/>
                  <a:pt x="503" y="636"/>
                  <a:pt x="499" y="635"/>
                </a:cubicBezTo>
                <a:cubicBezTo>
                  <a:pt x="499" y="635"/>
                  <a:pt x="498" y="636"/>
                  <a:pt x="498" y="636"/>
                </a:cubicBezTo>
                <a:cubicBezTo>
                  <a:pt x="497" y="635"/>
                  <a:pt x="497" y="635"/>
                  <a:pt x="497" y="634"/>
                </a:cubicBezTo>
                <a:cubicBezTo>
                  <a:pt x="496" y="634"/>
                  <a:pt x="496" y="634"/>
                  <a:pt x="495" y="633"/>
                </a:cubicBezTo>
                <a:cubicBezTo>
                  <a:pt x="494" y="633"/>
                  <a:pt x="494" y="635"/>
                  <a:pt x="494" y="635"/>
                </a:cubicBezTo>
                <a:cubicBezTo>
                  <a:pt x="494" y="635"/>
                  <a:pt x="491" y="636"/>
                  <a:pt x="491" y="636"/>
                </a:cubicBezTo>
                <a:cubicBezTo>
                  <a:pt x="489" y="635"/>
                  <a:pt x="491" y="632"/>
                  <a:pt x="493" y="632"/>
                </a:cubicBezTo>
                <a:cubicBezTo>
                  <a:pt x="491" y="632"/>
                  <a:pt x="493" y="631"/>
                  <a:pt x="492" y="629"/>
                </a:cubicBezTo>
                <a:cubicBezTo>
                  <a:pt x="492" y="630"/>
                  <a:pt x="487" y="627"/>
                  <a:pt x="488" y="626"/>
                </a:cubicBezTo>
                <a:cubicBezTo>
                  <a:pt x="489" y="625"/>
                  <a:pt x="491" y="627"/>
                  <a:pt x="492" y="628"/>
                </a:cubicBezTo>
                <a:cubicBezTo>
                  <a:pt x="492" y="628"/>
                  <a:pt x="492" y="628"/>
                  <a:pt x="493" y="627"/>
                </a:cubicBezTo>
                <a:cubicBezTo>
                  <a:pt x="492" y="627"/>
                  <a:pt x="492" y="627"/>
                  <a:pt x="492" y="626"/>
                </a:cubicBezTo>
                <a:cubicBezTo>
                  <a:pt x="493" y="626"/>
                  <a:pt x="494" y="626"/>
                  <a:pt x="494" y="626"/>
                </a:cubicBezTo>
                <a:cubicBezTo>
                  <a:pt x="494" y="626"/>
                  <a:pt x="494" y="626"/>
                  <a:pt x="494" y="626"/>
                </a:cubicBezTo>
                <a:cubicBezTo>
                  <a:pt x="495" y="626"/>
                  <a:pt x="495" y="627"/>
                  <a:pt x="495" y="628"/>
                </a:cubicBezTo>
                <a:cubicBezTo>
                  <a:pt x="495" y="630"/>
                  <a:pt x="496" y="629"/>
                  <a:pt x="497" y="628"/>
                </a:cubicBezTo>
                <a:cubicBezTo>
                  <a:pt x="497" y="627"/>
                  <a:pt x="497" y="627"/>
                  <a:pt x="497" y="627"/>
                </a:cubicBezTo>
                <a:cubicBezTo>
                  <a:pt x="498" y="627"/>
                  <a:pt x="498" y="627"/>
                  <a:pt x="498" y="627"/>
                </a:cubicBezTo>
                <a:cubicBezTo>
                  <a:pt x="499" y="627"/>
                  <a:pt x="499" y="627"/>
                  <a:pt x="500" y="627"/>
                </a:cubicBezTo>
                <a:cubicBezTo>
                  <a:pt x="501" y="627"/>
                  <a:pt x="500" y="626"/>
                  <a:pt x="500" y="625"/>
                </a:cubicBezTo>
                <a:cubicBezTo>
                  <a:pt x="501" y="624"/>
                  <a:pt x="502" y="625"/>
                  <a:pt x="503" y="624"/>
                </a:cubicBezTo>
                <a:cubicBezTo>
                  <a:pt x="503" y="624"/>
                  <a:pt x="503" y="624"/>
                  <a:pt x="503" y="624"/>
                </a:cubicBezTo>
                <a:cubicBezTo>
                  <a:pt x="501" y="621"/>
                  <a:pt x="497" y="616"/>
                  <a:pt x="496" y="621"/>
                </a:cubicBezTo>
                <a:cubicBezTo>
                  <a:pt x="496" y="617"/>
                  <a:pt x="492" y="620"/>
                  <a:pt x="491" y="621"/>
                </a:cubicBezTo>
                <a:cubicBezTo>
                  <a:pt x="489" y="621"/>
                  <a:pt x="492" y="620"/>
                  <a:pt x="492" y="620"/>
                </a:cubicBezTo>
                <a:cubicBezTo>
                  <a:pt x="491" y="618"/>
                  <a:pt x="488" y="620"/>
                  <a:pt x="486" y="618"/>
                </a:cubicBezTo>
                <a:cubicBezTo>
                  <a:pt x="486" y="618"/>
                  <a:pt x="485" y="615"/>
                  <a:pt x="485" y="616"/>
                </a:cubicBezTo>
                <a:cubicBezTo>
                  <a:pt x="483" y="615"/>
                  <a:pt x="482" y="617"/>
                  <a:pt x="483" y="615"/>
                </a:cubicBezTo>
                <a:cubicBezTo>
                  <a:pt x="483" y="612"/>
                  <a:pt x="480" y="610"/>
                  <a:pt x="479" y="609"/>
                </a:cubicBezTo>
                <a:cubicBezTo>
                  <a:pt x="479" y="609"/>
                  <a:pt x="480" y="605"/>
                  <a:pt x="478" y="604"/>
                </a:cubicBezTo>
                <a:cubicBezTo>
                  <a:pt x="480" y="609"/>
                  <a:pt x="474" y="610"/>
                  <a:pt x="474" y="608"/>
                </a:cubicBezTo>
                <a:cubicBezTo>
                  <a:pt x="474" y="608"/>
                  <a:pt x="471" y="608"/>
                  <a:pt x="471" y="605"/>
                </a:cubicBezTo>
                <a:cubicBezTo>
                  <a:pt x="472" y="603"/>
                  <a:pt x="472" y="604"/>
                  <a:pt x="471" y="601"/>
                </a:cubicBezTo>
                <a:cubicBezTo>
                  <a:pt x="470" y="599"/>
                  <a:pt x="478" y="604"/>
                  <a:pt x="479" y="603"/>
                </a:cubicBezTo>
                <a:cubicBezTo>
                  <a:pt x="481" y="603"/>
                  <a:pt x="478" y="601"/>
                  <a:pt x="481" y="602"/>
                </a:cubicBezTo>
                <a:cubicBezTo>
                  <a:pt x="487" y="603"/>
                  <a:pt x="499" y="603"/>
                  <a:pt x="499" y="612"/>
                </a:cubicBezTo>
                <a:cubicBezTo>
                  <a:pt x="499" y="614"/>
                  <a:pt x="497" y="615"/>
                  <a:pt x="498" y="617"/>
                </a:cubicBezTo>
                <a:cubicBezTo>
                  <a:pt x="499" y="619"/>
                  <a:pt x="501" y="621"/>
                  <a:pt x="503" y="622"/>
                </a:cubicBezTo>
                <a:cubicBezTo>
                  <a:pt x="503" y="622"/>
                  <a:pt x="503" y="622"/>
                  <a:pt x="503" y="622"/>
                </a:cubicBezTo>
                <a:cubicBezTo>
                  <a:pt x="504" y="622"/>
                  <a:pt x="505" y="623"/>
                  <a:pt x="505" y="622"/>
                </a:cubicBezTo>
                <a:cubicBezTo>
                  <a:pt x="506" y="622"/>
                  <a:pt x="506" y="621"/>
                  <a:pt x="506" y="621"/>
                </a:cubicBezTo>
                <a:cubicBezTo>
                  <a:pt x="506" y="620"/>
                  <a:pt x="505" y="619"/>
                  <a:pt x="506" y="619"/>
                </a:cubicBezTo>
                <a:cubicBezTo>
                  <a:pt x="506" y="619"/>
                  <a:pt x="506" y="619"/>
                  <a:pt x="506" y="619"/>
                </a:cubicBezTo>
                <a:cubicBezTo>
                  <a:pt x="507" y="619"/>
                  <a:pt x="507" y="619"/>
                  <a:pt x="507" y="619"/>
                </a:cubicBezTo>
                <a:cubicBezTo>
                  <a:pt x="508" y="618"/>
                  <a:pt x="510" y="620"/>
                  <a:pt x="510" y="618"/>
                </a:cubicBezTo>
                <a:cubicBezTo>
                  <a:pt x="510" y="619"/>
                  <a:pt x="512" y="620"/>
                  <a:pt x="513" y="620"/>
                </a:cubicBezTo>
                <a:cubicBezTo>
                  <a:pt x="513" y="620"/>
                  <a:pt x="514" y="620"/>
                  <a:pt x="514" y="620"/>
                </a:cubicBezTo>
                <a:cubicBezTo>
                  <a:pt x="514" y="619"/>
                  <a:pt x="513" y="617"/>
                  <a:pt x="513" y="617"/>
                </a:cubicBezTo>
                <a:cubicBezTo>
                  <a:pt x="514" y="616"/>
                  <a:pt x="516" y="618"/>
                  <a:pt x="517" y="620"/>
                </a:cubicBezTo>
                <a:cubicBezTo>
                  <a:pt x="517" y="620"/>
                  <a:pt x="518" y="621"/>
                  <a:pt x="518" y="620"/>
                </a:cubicBezTo>
                <a:cubicBezTo>
                  <a:pt x="518" y="620"/>
                  <a:pt x="514" y="615"/>
                  <a:pt x="517" y="615"/>
                </a:cubicBezTo>
                <a:cubicBezTo>
                  <a:pt x="517" y="615"/>
                  <a:pt x="517" y="615"/>
                  <a:pt x="517" y="614"/>
                </a:cubicBezTo>
                <a:cubicBezTo>
                  <a:pt x="517" y="615"/>
                  <a:pt x="516" y="612"/>
                  <a:pt x="516" y="612"/>
                </a:cubicBezTo>
                <a:cubicBezTo>
                  <a:pt x="518" y="610"/>
                  <a:pt x="520" y="614"/>
                  <a:pt x="522" y="615"/>
                </a:cubicBezTo>
                <a:cubicBezTo>
                  <a:pt x="523" y="614"/>
                  <a:pt x="524" y="613"/>
                  <a:pt x="525" y="614"/>
                </a:cubicBezTo>
                <a:cubicBezTo>
                  <a:pt x="525" y="614"/>
                  <a:pt x="526" y="615"/>
                  <a:pt x="526" y="615"/>
                </a:cubicBezTo>
                <a:cubicBezTo>
                  <a:pt x="526" y="615"/>
                  <a:pt x="526" y="615"/>
                  <a:pt x="527" y="616"/>
                </a:cubicBezTo>
                <a:cubicBezTo>
                  <a:pt x="527" y="616"/>
                  <a:pt x="527" y="617"/>
                  <a:pt x="527" y="618"/>
                </a:cubicBezTo>
                <a:cubicBezTo>
                  <a:pt x="526" y="618"/>
                  <a:pt x="526" y="618"/>
                  <a:pt x="525" y="618"/>
                </a:cubicBezTo>
                <a:cubicBezTo>
                  <a:pt x="525" y="618"/>
                  <a:pt x="525" y="618"/>
                  <a:pt x="525" y="618"/>
                </a:cubicBezTo>
                <a:cubicBezTo>
                  <a:pt x="527" y="619"/>
                  <a:pt x="529" y="619"/>
                  <a:pt x="530" y="621"/>
                </a:cubicBezTo>
                <a:cubicBezTo>
                  <a:pt x="531" y="622"/>
                  <a:pt x="531" y="622"/>
                  <a:pt x="531" y="622"/>
                </a:cubicBezTo>
                <a:cubicBezTo>
                  <a:pt x="532" y="622"/>
                  <a:pt x="532" y="622"/>
                  <a:pt x="532" y="621"/>
                </a:cubicBezTo>
                <a:cubicBezTo>
                  <a:pt x="531" y="620"/>
                  <a:pt x="531" y="619"/>
                  <a:pt x="530" y="617"/>
                </a:cubicBezTo>
                <a:cubicBezTo>
                  <a:pt x="531" y="618"/>
                  <a:pt x="532" y="620"/>
                  <a:pt x="533" y="621"/>
                </a:cubicBezTo>
                <a:cubicBezTo>
                  <a:pt x="533" y="621"/>
                  <a:pt x="533" y="621"/>
                  <a:pt x="533" y="621"/>
                </a:cubicBezTo>
                <a:cubicBezTo>
                  <a:pt x="533" y="621"/>
                  <a:pt x="533" y="620"/>
                  <a:pt x="533" y="620"/>
                </a:cubicBezTo>
                <a:cubicBezTo>
                  <a:pt x="534" y="620"/>
                  <a:pt x="534" y="622"/>
                  <a:pt x="534" y="622"/>
                </a:cubicBezTo>
                <a:cubicBezTo>
                  <a:pt x="535" y="623"/>
                  <a:pt x="536" y="627"/>
                  <a:pt x="537" y="628"/>
                </a:cubicBezTo>
                <a:cubicBezTo>
                  <a:pt x="537" y="628"/>
                  <a:pt x="537" y="627"/>
                  <a:pt x="537" y="627"/>
                </a:cubicBezTo>
                <a:cubicBezTo>
                  <a:pt x="538" y="626"/>
                  <a:pt x="539" y="627"/>
                  <a:pt x="540" y="627"/>
                </a:cubicBezTo>
                <a:cubicBezTo>
                  <a:pt x="540" y="627"/>
                  <a:pt x="540" y="627"/>
                  <a:pt x="541" y="627"/>
                </a:cubicBezTo>
                <a:cubicBezTo>
                  <a:pt x="542" y="628"/>
                  <a:pt x="543" y="630"/>
                  <a:pt x="543" y="631"/>
                </a:cubicBezTo>
                <a:cubicBezTo>
                  <a:pt x="543" y="631"/>
                  <a:pt x="542" y="631"/>
                  <a:pt x="542" y="631"/>
                </a:cubicBezTo>
                <a:cubicBezTo>
                  <a:pt x="542" y="631"/>
                  <a:pt x="542" y="631"/>
                  <a:pt x="542" y="631"/>
                </a:cubicBezTo>
                <a:cubicBezTo>
                  <a:pt x="542" y="631"/>
                  <a:pt x="542" y="632"/>
                  <a:pt x="542" y="632"/>
                </a:cubicBezTo>
                <a:cubicBezTo>
                  <a:pt x="540" y="633"/>
                  <a:pt x="541" y="631"/>
                  <a:pt x="541" y="630"/>
                </a:cubicBezTo>
                <a:cubicBezTo>
                  <a:pt x="541" y="630"/>
                  <a:pt x="540" y="630"/>
                  <a:pt x="540" y="630"/>
                </a:cubicBezTo>
                <a:cubicBezTo>
                  <a:pt x="540" y="631"/>
                  <a:pt x="540" y="631"/>
                  <a:pt x="540" y="632"/>
                </a:cubicBezTo>
                <a:cubicBezTo>
                  <a:pt x="541" y="633"/>
                  <a:pt x="540" y="633"/>
                  <a:pt x="539" y="632"/>
                </a:cubicBezTo>
                <a:cubicBezTo>
                  <a:pt x="538" y="635"/>
                  <a:pt x="537" y="640"/>
                  <a:pt x="537" y="640"/>
                </a:cubicBezTo>
                <a:cubicBezTo>
                  <a:pt x="537" y="641"/>
                  <a:pt x="544" y="646"/>
                  <a:pt x="539" y="644"/>
                </a:cubicBezTo>
                <a:cubicBezTo>
                  <a:pt x="539" y="644"/>
                  <a:pt x="539" y="645"/>
                  <a:pt x="539" y="645"/>
                </a:cubicBezTo>
                <a:cubicBezTo>
                  <a:pt x="539" y="645"/>
                  <a:pt x="539" y="645"/>
                  <a:pt x="539" y="645"/>
                </a:cubicBezTo>
                <a:cubicBezTo>
                  <a:pt x="540" y="645"/>
                  <a:pt x="540" y="646"/>
                  <a:pt x="539" y="646"/>
                </a:cubicBezTo>
                <a:cubicBezTo>
                  <a:pt x="539" y="646"/>
                  <a:pt x="540" y="646"/>
                  <a:pt x="540" y="646"/>
                </a:cubicBezTo>
                <a:cubicBezTo>
                  <a:pt x="540" y="647"/>
                  <a:pt x="539" y="648"/>
                  <a:pt x="538" y="647"/>
                </a:cubicBezTo>
                <a:cubicBezTo>
                  <a:pt x="537" y="648"/>
                  <a:pt x="537" y="648"/>
                  <a:pt x="536" y="649"/>
                </a:cubicBezTo>
                <a:cubicBezTo>
                  <a:pt x="536" y="648"/>
                  <a:pt x="535" y="651"/>
                  <a:pt x="535" y="650"/>
                </a:cubicBezTo>
                <a:cubicBezTo>
                  <a:pt x="534" y="651"/>
                  <a:pt x="532" y="649"/>
                  <a:pt x="532" y="649"/>
                </a:cubicBezTo>
                <a:cubicBezTo>
                  <a:pt x="532" y="648"/>
                  <a:pt x="531" y="648"/>
                  <a:pt x="530" y="648"/>
                </a:cubicBezTo>
                <a:cubicBezTo>
                  <a:pt x="532" y="649"/>
                  <a:pt x="532" y="649"/>
                  <a:pt x="531" y="651"/>
                </a:cubicBezTo>
                <a:cubicBezTo>
                  <a:pt x="531" y="651"/>
                  <a:pt x="531" y="651"/>
                  <a:pt x="530" y="651"/>
                </a:cubicBezTo>
                <a:cubicBezTo>
                  <a:pt x="530" y="653"/>
                  <a:pt x="529" y="653"/>
                  <a:pt x="527" y="652"/>
                </a:cubicBezTo>
                <a:cubicBezTo>
                  <a:pt x="527" y="652"/>
                  <a:pt x="527" y="651"/>
                  <a:pt x="527" y="650"/>
                </a:cubicBezTo>
                <a:cubicBezTo>
                  <a:pt x="527" y="650"/>
                  <a:pt x="525" y="649"/>
                  <a:pt x="525" y="648"/>
                </a:cubicBezTo>
                <a:cubicBezTo>
                  <a:pt x="526" y="648"/>
                  <a:pt x="527" y="647"/>
                  <a:pt x="527" y="647"/>
                </a:cubicBezTo>
                <a:cubicBezTo>
                  <a:pt x="527" y="645"/>
                  <a:pt x="524" y="647"/>
                  <a:pt x="525" y="644"/>
                </a:cubicBezTo>
                <a:cubicBezTo>
                  <a:pt x="524" y="646"/>
                  <a:pt x="521" y="646"/>
                  <a:pt x="520" y="649"/>
                </a:cubicBezTo>
                <a:cubicBezTo>
                  <a:pt x="520" y="649"/>
                  <a:pt x="520" y="654"/>
                  <a:pt x="521" y="655"/>
                </a:cubicBezTo>
                <a:cubicBezTo>
                  <a:pt x="522" y="655"/>
                  <a:pt x="522" y="654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5"/>
                  <a:pt x="523" y="655"/>
                  <a:pt x="523" y="655"/>
                </a:cubicBezTo>
                <a:cubicBezTo>
                  <a:pt x="523" y="656"/>
                  <a:pt x="521" y="658"/>
                  <a:pt x="522" y="660"/>
                </a:cubicBezTo>
                <a:cubicBezTo>
                  <a:pt x="522" y="659"/>
                  <a:pt x="523" y="661"/>
                  <a:pt x="523" y="661"/>
                </a:cubicBezTo>
                <a:cubicBezTo>
                  <a:pt x="524" y="661"/>
                  <a:pt x="524" y="660"/>
                  <a:pt x="523" y="660"/>
                </a:cubicBezTo>
                <a:cubicBezTo>
                  <a:pt x="523" y="659"/>
                  <a:pt x="522" y="659"/>
                  <a:pt x="522" y="658"/>
                </a:cubicBezTo>
                <a:cubicBezTo>
                  <a:pt x="523" y="658"/>
                  <a:pt x="523" y="658"/>
                  <a:pt x="524" y="659"/>
                </a:cubicBezTo>
                <a:cubicBezTo>
                  <a:pt x="525" y="658"/>
                  <a:pt x="526" y="660"/>
                  <a:pt x="527" y="660"/>
                </a:cubicBezTo>
                <a:cubicBezTo>
                  <a:pt x="529" y="660"/>
                  <a:pt x="528" y="659"/>
                  <a:pt x="530" y="659"/>
                </a:cubicBezTo>
                <a:cubicBezTo>
                  <a:pt x="528" y="661"/>
                  <a:pt x="529" y="660"/>
                  <a:pt x="531" y="661"/>
                </a:cubicBezTo>
                <a:cubicBezTo>
                  <a:pt x="531" y="660"/>
                  <a:pt x="531" y="660"/>
                  <a:pt x="531" y="661"/>
                </a:cubicBezTo>
                <a:cubicBezTo>
                  <a:pt x="531" y="661"/>
                  <a:pt x="532" y="661"/>
                  <a:pt x="532" y="661"/>
                </a:cubicBezTo>
                <a:cubicBezTo>
                  <a:pt x="532" y="661"/>
                  <a:pt x="532" y="661"/>
                  <a:pt x="532" y="661"/>
                </a:cubicBezTo>
                <a:cubicBezTo>
                  <a:pt x="532" y="661"/>
                  <a:pt x="532" y="661"/>
                  <a:pt x="532" y="661"/>
                </a:cubicBezTo>
                <a:cubicBezTo>
                  <a:pt x="534" y="662"/>
                  <a:pt x="535" y="664"/>
                  <a:pt x="536" y="664"/>
                </a:cubicBezTo>
                <a:cubicBezTo>
                  <a:pt x="537" y="664"/>
                  <a:pt x="537" y="664"/>
                  <a:pt x="537" y="664"/>
                </a:cubicBezTo>
                <a:cubicBezTo>
                  <a:pt x="537" y="664"/>
                  <a:pt x="537" y="664"/>
                  <a:pt x="538" y="665"/>
                </a:cubicBezTo>
                <a:cubicBezTo>
                  <a:pt x="538" y="665"/>
                  <a:pt x="538" y="665"/>
                  <a:pt x="539" y="666"/>
                </a:cubicBezTo>
                <a:cubicBezTo>
                  <a:pt x="538" y="665"/>
                  <a:pt x="538" y="663"/>
                  <a:pt x="539" y="662"/>
                </a:cubicBezTo>
                <a:cubicBezTo>
                  <a:pt x="541" y="661"/>
                  <a:pt x="542" y="663"/>
                  <a:pt x="544" y="663"/>
                </a:cubicBezTo>
                <a:cubicBezTo>
                  <a:pt x="544" y="663"/>
                  <a:pt x="545" y="661"/>
                  <a:pt x="546" y="661"/>
                </a:cubicBezTo>
                <a:cubicBezTo>
                  <a:pt x="546" y="660"/>
                  <a:pt x="545" y="658"/>
                  <a:pt x="545" y="656"/>
                </a:cubicBezTo>
                <a:cubicBezTo>
                  <a:pt x="546" y="656"/>
                  <a:pt x="546" y="659"/>
                  <a:pt x="547" y="659"/>
                </a:cubicBezTo>
                <a:cubicBezTo>
                  <a:pt x="547" y="659"/>
                  <a:pt x="547" y="658"/>
                  <a:pt x="547" y="658"/>
                </a:cubicBezTo>
                <a:cubicBezTo>
                  <a:pt x="547" y="658"/>
                  <a:pt x="547" y="658"/>
                  <a:pt x="547" y="658"/>
                </a:cubicBezTo>
                <a:cubicBezTo>
                  <a:pt x="547" y="658"/>
                  <a:pt x="546" y="657"/>
                  <a:pt x="546" y="656"/>
                </a:cubicBezTo>
                <a:cubicBezTo>
                  <a:pt x="547" y="655"/>
                  <a:pt x="548" y="655"/>
                  <a:pt x="548" y="656"/>
                </a:cubicBezTo>
                <a:cubicBezTo>
                  <a:pt x="549" y="655"/>
                  <a:pt x="550" y="655"/>
                  <a:pt x="551" y="656"/>
                </a:cubicBezTo>
                <a:cubicBezTo>
                  <a:pt x="552" y="656"/>
                  <a:pt x="552" y="656"/>
                  <a:pt x="552" y="657"/>
                </a:cubicBezTo>
                <a:cubicBezTo>
                  <a:pt x="552" y="658"/>
                  <a:pt x="552" y="659"/>
                  <a:pt x="552" y="660"/>
                </a:cubicBezTo>
                <a:cubicBezTo>
                  <a:pt x="552" y="660"/>
                  <a:pt x="552" y="661"/>
                  <a:pt x="552" y="661"/>
                </a:cubicBezTo>
                <a:cubicBezTo>
                  <a:pt x="556" y="659"/>
                  <a:pt x="556" y="659"/>
                  <a:pt x="556" y="659"/>
                </a:cubicBezTo>
                <a:cubicBezTo>
                  <a:pt x="556" y="659"/>
                  <a:pt x="556" y="659"/>
                  <a:pt x="557" y="659"/>
                </a:cubicBezTo>
                <a:cubicBezTo>
                  <a:pt x="559" y="657"/>
                  <a:pt x="559" y="657"/>
                  <a:pt x="559" y="657"/>
                </a:cubicBezTo>
                <a:cubicBezTo>
                  <a:pt x="559" y="657"/>
                  <a:pt x="559" y="656"/>
                  <a:pt x="558" y="656"/>
                </a:cubicBezTo>
                <a:cubicBezTo>
                  <a:pt x="558" y="656"/>
                  <a:pt x="557" y="656"/>
                  <a:pt x="556" y="655"/>
                </a:cubicBezTo>
                <a:cubicBezTo>
                  <a:pt x="556" y="655"/>
                  <a:pt x="556" y="655"/>
                  <a:pt x="555" y="656"/>
                </a:cubicBezTo>
                <a:cubicBezTo>
                  <a:pt x="556" y="656"/>
                  <a:pt x="556" y="655"/>
                  <a:pt x="556" y="655"/>
                </a:cubicBezTo>
                <a:cubicBezTo>
                  <a:pt x="556" y="655"/>
                  <a:pt x="555" y="655"/>
                  <a:pt x="555" y="654"/>
                </a:cubicBezTo>
                <a:cubicBezTo>
                  <a:pt x="555" y="654"/>
                  <a:pt x="557" y="653"/>
                  <a:pt x="557" y="653"/>
                </a:cubicBezTo>
                <a:cubicBezTo>
                  <a:pt x="557" y="652"/>
                  <a:pt x="556" y="651"/>
                  <a:pt x="556" y="650"/>
                </a:cubicBezTo>
                <a:cubicBezTo>
                  <a:pt x="555" y="651"/>
                  <a:pt x="554" y="652"/>
                  <a:pt x="553" y="652"/>
                </a:cubicBezTo>
                <a:cubicBezTo>
                  <a:pt x="553" y="652"/>
                  <a:pt x="553" y="653"/>
                  <a:pt x="553" y="653"/>
                </a:cubicBezTo>
                <a:cubicBezTo>
                  <a:pt x="552" y="653"/>
                  <a:pt x="552" y="652"/>
                  <a:pt x="552" y="652"/>
                </a:cubicBezTo>
                <a:cubicBezTo>
                  <a:pt x="552" y="652"/>
                  <a:pt x="551" y="652"/>
                  <a:pt x="551" y="652"/>
                </a:cubicBezTo>
                <a:cubicBezTo>
                  <a:pt x="551" y="652"/>
                  <a:pt x="551" y="652"/>
                  <a:pt x="551" y="652"/>
                </a:cubicBezTo>
                <a:cubicBezTo>
                  <a:pt x="551" y="653"/>
                  <a:pt x="550" y="653"/>
                  <a:pt x="550" y="653"/>
                </a:cubicBezTo>
                <a:cubicBezTo>
                  <a:pt x="550" y="653"/>
                  <a:pt x="550" y="652"/>
                  <a:pt x="550" y="652"/>
                </a:cubicBezTo>
                <a:cubicBezTo>
                  <a:pt x="548" y="652"/>
                  <a:pt x="546" y="651"/>
                  <a:pt x="545" y="649"/>
                </a:cubicBezTo>
                <a:cubicBezTo>
                  <a:pt x="544" y="648"/>
                  <a:pt x="544" y="647"/>
                  <a:pt x="544" y="646"/>
                </a:cubicBezTo>
                <a:cubicBezTo>
                  <a:pt x="543" y="646"/>
                  <a:pt x="541" y="644"/>
                  <a:pt x="542" y="643"/>
                </a:cubicBezTo>
                <a:cubicBezTo>
                  <a:pt x="543" y="643"/>
                  <a:pt x="544" y="643"/>
                  <a:pt x="544" y="644"/>
                </a:cubicBezTo>
                <a:cubicBezTo>
                  <a:pt x="544" y="644"/>
                  <a:pt x="544" y="644"/>
                  <a:pt x="544" y="643"/>
                </a:cubicBezTo>
                <a:cubicBezTo>
                  <a:pt x="544" y="643"/>
                  <a:pt x="544" y="643"/>
                  <a:pt x="544" y="643"/>
                </a:cubicBezTo>
                <a:cubicBezTo>
                  <a:pt x="545" y="641"/>
                  <a:pt x="546" y="640"/>
                  <a:pt x="548" y="638"/>
                </a:cubicBezTo>
                <a:cubicBezTo>
                  <a:pt x="548" y="638"/>
                  <a:pt x="548" y="638"/>
                  <a:pt x="548" y="638"/>
                </a:cubicBezTo>
                <a:cubicBezTo>
                  <a:pt x="548" y="638"/>
                  <a:pt x="548" y="638"/>
                  <a:pt x="548" y="638"/>
                </a:cubicBezTo>
                <a:cubicBezTo>
                  <a:pt x="549" y="637"/>
                  <a:pt x="549" y="637"/>
                  <a:pt x="549" y="638"/>
                </a:cubicBezTo>
                <a:cubicBezTo>
                  <a:pt x="551" y="637"/>
                  <a:pt x="554" y="636"/>
                  <a:pt x="556" y="638"/>
                </a:cubicBezTo>
                <a:cubicBezTo>
                  <a:pt x="556" y="638"/>
                  <a:pt x="558" y="640"/>
                  <a:pt x="558" y="640"/>
                </a:cubicBezTo>
                <a:cubicBezTo>
                  <a:pt x="558" y="640"/>
                  <a:pt x="557" y="642"/>
                  <a:pt x="557" y="642"/>
                </a:cubicBezTo>
                <a:cubicBezTo>
                  <a:pt x="557" y="642"/>
                  <a:pt x="557" y="642"/>
                  <a:pt x="557" y="642"/>
                </a:cubicBezTo>
                <a:cubicBezTo>
                  <a:pt x="558" y="642"/>
                  <a:pt x="558" y="643"/>
                  <a:pt x="559" y="644"/>
                </a:cubicBezTo>
                <a:cubicBezTo>
                  <a:pt x="559" y="643"/>
                  <a:pt x="559" y="643"/>
                  <a:pt x="559" y="643"/>
                </a:cubicBezTo>
                <a:cubicBezTo>
                  <a:pt x="560" y="642"/>
                  <a:pt x="561" y="644"/>
                  <a:pt x="560" y="644"/>
                </a:cubicBezTo>
                <a:cubicBezTo>
                  <a:pt x="559" y="644"/>
                  <a:pt x="559" y="644"/>
                  <a:pt x="559" y="644"/>
                </a:cubicBezTo>
                <a:cubicBezTo>
                  <a:pt x="560" y="645"/>
                  <a:pt x="561" y="646"/>
                  <a:pt x="562" y="645"/>
                </a:cubicBezTo>
                <a:cubicBezTo>
                  <a:pt x="563" y="645"/>
                  <a:pt x="561" y="642"/>
                  <a:pt x="564" y="642"/>
                </a:cubicBezTo>
                <a:cubicBezTo>
                  <a:pt x="562" y="645"/>
                  <a:pt x="564" y="643"/>
                  <a:pt x="567" y="645"/>
                </a:cubicBezTo>
                <a:cubicBezTo>
                  <a:pt x="570" y="646"/>
                  <a:pt x="569" y="646"/>
                  <a:pt x="567" y="643"/>
                </a:cubicBezTo>
                <a:cubicBezTo>
                  <a:pt x="566" y="641"/>
                  <a:pt x="568" y="642"/>
                  <a:pt x="566" y="640"/>
                </a:cubicBezTo>
                <a:cubicBezTo>
                  <a:pt x="566" y="639"/>
                  <a:pt x="564" y="638"/>
                  <a:pt x="562" y="638"/>
                </a:cubicBezTo>
                <a:cubicBezTo>
                  <a:pt x="562" y="638"/>
                  <a:pt x="562" y="638"/>
                  <a:pt x="562" y="638"/>
                </a:cubicBezTo>
                <a:cubicBezTo>
                  <a:pt x="561" y="638"/>
                  <a:pt x="560" y="638"/>
                  <a:pt x="560" y="638"/>
                </a:cubicBezTo>
                <a:cubicBezTo>
                  <a:pt x="562" y="637"/>
                  <a:pt x="558" y="640"/>
                  <a:pt x="558" y="639"/>
                </a:cubicBezTo>
                <a:cubicBezTo>
                  <a:pt x="558" y="638"/>
                  <a:pt x="558" y="638"/>
                  <a:pt x="558" y="637"/>
                </a:cubicBezTo>
                <a:cubicBezTo>
                  <a:pt x="557" y="637"/>
                  <a:pt x="554" y="634"/>
                  <a:pt x="554" y="634"/>
                </a:cubicBezTo>
                <a:cubicBezTo>
                  <a:pt x="551" y="632"/>
                  <a:pt x="551" y="631"/>
                  <a:pt x="554" y="633"/>
                </a:cubicBezTo>
                <a:cubicBezTo>
                  <a:pt x="555" y="634"/>
                  <a:pt x="557" y="635"/>
                  <a:pt x="558" y="636"/>
                </a:cubicBezTo>
                <a:cubicBezTo>
                  <a:pt x="558" y="634"/>
                  <a:pt x="556" y="635"/>
                  <a:pt x="555" y="634"/>
                </a:cubicBezTo>
                <a:cubicBezTo>
                  <a:pt x="555" y="633"/>
                  <a:pt x="554" y="632"/>
                  <a:pt x="554" y="630"/>
                </a:cubicBezTo>
                <a:cubicBezTo>
                  <a:pt x="554" y="630"/>
                  <a:pt x="553" y="629"/>
                  <a:pt x="553" y="629"/>
                </a:cubicBezTo>
                <a:cubicBezTo>
                  <a:pt x="553" y="629"/>
                  <a:pt x="553" y="629"/>
                  <a:pt x="553" y="628"/>
                </a:cubicBezTo>
                <a:cubicBezTo>
                  <a:pt x="553" y="628"/>
                  <a:pt x="553" y="628"/>
                  <a:pt x="553" y="628"/>
                </a:cubicBezTo>
                <a:cubicBezTo>
                  <a:pt x="551" y="629"/>
                  <a:pt x="552" y="625"/>
                  <a:pt x="553" y="626"/>
                </a:cubicBezTo>
                <a:cubicBezTo>
                  <a:pt x="553" y="626"/>
                  <a:pt x="553" y="625"/>
                  <a:pt x="553" y="625"/>
                </a:cubicBezTo>
                <a:cubicBezTo>
                  <a:pt x="554" y="625"/>
                  <a:pt x="554" y="625"/>
                  <a:pt x="554" y="625"/>
                </a:cubicBezTo>
                <a:cubicBezTo>
                  <a:pt x="554" y="625"/>
                  <a:pt x="554" y="625"/>
                  <a:pt x="554" y="625"/>
                </a:cubicBezTo>
                <a:cubicBezTo>
                  <a:pt x="554" y="625"/>
                  <a:pt x="557" y="625"/>
                  <a:pt x="559" y="624"/>
                </a:cubicBezTo>
                <a:cubicBezTo>
                  <a:pt x="558" y="624"/>
                  <a:pt x="559" y="623"/>
                  <a:pt x="559" y="623"/>
                </a:cubicBezTo>
                <a:cubicBezTo>
                  <a:pt x="559" y="623"/>
                  <a:pt x="560" y="623"/>
                  <a:pt x="560" y="623"/>
                </a:cubicBezTo>
                <a:cubicBezTo>
                  <a:pt x="560" y="623"/>
                  <a:pt x="560" y="622"/>
                  <a:pt x="559" y="621"/>
                </a:cubicBezTo>
                <a:cubicBezTo>
                  <a:pt x="559" y="621"/>
                  <a:pt x="559" y="621"/>
                  <a:pt x="558" y="621"/>
                </a:cubicBezTo>
                <a:cubicBezTo>
                  <a:pt x="559" y="620"/>
                  <a:pt x="561" y="613"/>
                  <a:pt x="557" y="616"/>
                </a:cubicBezTo>
                <a:cubicBezTo>
                  <a:pt x="557" y="616"/>
                  <a:pt x="558" y="617"/>
                  <a:pt x="558" y="617"/>
                </a:cubicBezTo>
                <a:cubicBezTo>
                  <a:pt x="558" y="617"/>
                  <a:pt x="557" y="617"/>
                  <a:pt x="557" y="617"/>
                </a:cubicBezTo>
                <a:cubicBezTo>
                  <a:pt x="556" y="618"/>
                  <a:pt x="558" y="620"/>
                  <a:pt x="557" y="621"/>
                </a:cubicBezTo>
                <a:cubicBezTo>
                  <a:pt x="557" y="619"/>
                  <a:pt x="553" y="620"/>
                  <a:pt x="553" y="618"/>
                </a:cubicBezTo>
                <a:cubicBezTo>
                  <a:pt x="553" y="616"/>
                  <a:pt x="557" y="615"/>
                  <a:pt x="558" y="613"/>
                </a:cubicBezTo>
                <a:cubicBezTo>
                  <a:pt x="559" y="611"/>
                  <a:pt x="557" y="609"/>
                  <a:pt x="555" y="607"/>
                </a:cubicBezTo>
                <a:cubicBezTo>
                  <a:pt x="555" y="608"/>
                  <a:pt x="555" y="610"/>
                  <a:pt x="554" y="611"/>
                </a:cubicBezTo>
                <a:cubicBezTo>
                  <a:pt x="554" y="612"/>
                  <a:pt x="555" y="613"/>
                  <a:pt x="552" y="614"/>
                </a:cubicBezTo>
                <a:cubicBezTo>
                  <a:pt x="550" y="614"/>
                  <a:pt x="546" y="617"/>
                  <a:pt x="545" y="614"/>
                </a:cubicBezTo>
                <a:cubicBezTo>
                  <a:pt x="543" y="610"/>
                  <a:pt x="541" y="602"/>
                  <a:pt x="536" y="600"/>
                </a:cubicBezTo>
                <a:cubicBezTo>
                  <a:pt x="539" y="606"/>
                  <a:pt x="533" y="604"/>
                  <a:pt x="534" y="599"/>
                </a:cubicBezTo>
                <a:cubicBezTo>
                  <a:pt x="535" y="601"/>
                  <a:pt x="535" y="598"/>
                  <a:pt x="536" y="597"/>
                </a:cubicBezTo>
                <a:cubicBezTo>
                  <a:pt x="537" y="597"/>
                  <a:pt x="537" y="598"/>
                  <a:pt x="537" y="598"/>
                </a:cubicBezTo>
                <a:cubicBezTo>
                  <a:pt x="537" y="598"/>
                  <a:pt x="537" y="598"/>
                  <a:pt x="537" y="598"/>
                </a:cubicBezTo>
                <a:cubicBezTo>
                  <a:pt x="539" y="596"/>
                  <a:pt x="541" y="601"/>
                  <a:pt x="538" y="599"/>
                </a:cubicBezTo>
                <a:cubicBezTo>
                  <a:pt x="538" y="599"/>
                  <a:pt x="538" y="599"/>
                  <a:pt x="538" y="599"/>
                </a:cubicBezTo>
                <a:cubicBezTo>
                  <a:pt x="539" y="600"/>
                  <a:pt x="539" y="600"/>
                  <a:pt x="540" y="601"/>
                </a:cubicBezTo>
                <a:cubicBezTo>
                  <a:pt x="542" y="603"/>
                  <a:pt x="546" y="604"/>
                  <a:pt x="549" y="604"/>
                </a:cubicBezTo>
                <a:cubicBezTo>
                  <a:pt x="550" y="603"/>
                  <a:pt x="550" y="603"/>
                  <a:pt x="551" y="603"/>
                </a:cubicBezTo>
                <a:cubicBezTo>
                  <a:pt x="551" y="603"/>
                  <a:pt x="552" y="603"/>
                  <a:pt x="552" y="603"/>
                </a:cubicBezTo>
                <a:cubicBezTo>
                  <a:pt x="553" y="602"/>
                  <a:pt x="553" y="601"/>
                  <a:pt x="550" y="598"/>
                </a:cubicBezTo>
                <a:cubicBezTo>
                  <a:pt x="557" y="600"/>
                  <a:pt x="550" y="591"/>
                  <a:pt x="548" y="592"/>
                </a:cubicBezTo>
                <a:cubicBezTo>
                  <a:pt x="548" y="592"/>
                  <a:pt x="547" y="594"/>
                  <a:pt x="546" y="594"/>
                </a:cubicBezTo>
                <a:cubicBezTo>
                  <a:pt x="545" y="594"/>
                  <a:pt x="543" y="592"/>
                  <a:pt x="542" y="591"/>
                </a:cubicBezTo>
                <a:cubicBezTo>
                  <a:pt x="541" y="590"/>
                  <a:pt x="536" y="584"/>
                  <a:pt x="540" y="587"/>
                </a:cubicBezTo>
                <a:cubicBezTo>
                  <a:pt x="542" y="588"/>
                  <a:pt x="543" y="589"/>
                  <a:pt x="545" y="589"/>
                </a:cubicBezTo>
                <a:cubicBezTo>
                  <a:pt x="545" y="589"/>
                  <a:pt x="544" y="588"/>
                  <a:pt x="545" y="589"/>
                </a:cubicBezTo>
                <a:cubicBezTo>
                  <a:pt x="545" y="589"/>
                  <a:pt x="545" y="589"/>
                  <a:pt x="545" y="589"/>
                </a:cubicBezTo>
                <a:cubicBezTo>
                  <a:pt x="546" y="590"/>
                  <a:pt x="547" y="590"/>
                  <a:pt x="549" y="591"/>
                </a:cubicBezTo>
                <a:cubicBezTo>
                  <a:pt x="551" y="592"/>
                  <a:pt x="552" y="594"/>
                  <a:pt x="553" y="594"/>
                </a:cubicBezTo>
                <a:cubicBezTo>
                  <a:pt x="553" y="594"/>
                  <a:pt x="553" y="594"/>
                  <a:pt x="554" y="593"/>
                </a:cubicBezTo>
                <a:cubicBezTo>
                  <a:pt x="554" y="593"/>
                  <a:pt x="555" y="593"/>
                  <a:pt x="555" y="593"/>
                </a:cubicBezTo>
                <a:cubicBezTo>
                  <a:pt x="555" y="594"/>
                  <a:pt x="555" y="594"/>
                  <a:pt x="556" y="594"/>
                </a:cubicBezTo>
                <a:cubicBezTo>
                  <a:pt x="556" y="594"/>
                  <a:pt x="556" y="594"/>
                  <a:pt x="556" y="594"/>
                </a:cubicBezTo>
                <a:cubicBezTo>
                  <a:pt x="557" y="591"/>
                  <a:pt x="549" y="589"/>
                  <a:pt x="546" y="588"/>
                </a:cubicBezTo>
                <a:cubicBezTo>
                  <a:pt x="547" y="588"/>
                  <a:pt x="547" y="588"/>
                  <a:pt x="546" y="588"/>
                </a:cubicBezTo>
                <a:cubicBezTo>
                  <a:pt x="546" y="589"/>
                  <a:pt x="545" y="588"/>
                  <a:pt x="546" y="587"/>
                </a:cubicBezTo>
                <a:cubicBezTo>
                  <a:pt x="546" y="587"/>
                  <a:pt x="546" y="587"/>
                  <a:pt x="545" y="587"/>
                </a:cubicBezTo>
                <a:cubicBezTo>
                  <a:pt x="545" y="587"/>
                  <a:pt x="545" y="587"/>
                  <a:pt x="544" y="586"/>
                </a:cubicBezTo>
                <a:cubicBezTo>
                  <a:pt x="544" y="586"/>
                  <a:pt x="544" y="586"/>
                  <a:pt x="544" y="586"/>
                </a:cubicBezTo>
                <a:cubicBezTo>
                  <a:pt x="543" y="586"/>
                  <a:pt x="543" y="586"/>
                  <a:pt x="543" y="586"/>
                </a:cubicBezTo>
                <a:cubicBezTo>
                  <a:pt x="541" y="585"/>
                  <a:pt x="539" y="583"/>
                  <a:pt x="539" y="583"/>
                </a:cubicBezTo>
                <a:cubicBezTo>
                  <a:pt x="538" y="579"/>
                  <a:pt x="551" y="590"/>
                  <a:pt x="548" y="583"/>
                </a:cubicBezTo>
                <a:cubicBezTo>
                  <a:pt x="548" y="582"/>
                  <a:pt x="546" y="576"/>
                  <a:pt x="545" y="576"/>
                </a:cubicBezTo>
                <a:cubicBezTo>
                  <a:pt x="544" y="576"/>
                  <a:pt x="545" y="579"/>
                  <a:pt x="544" y="579"/>
                </a:cubicBezTo>
                <a:cubicBezTo>
                  <a:pt x="543" y="580"/>
                  <a:pt x="540" y="578"/>
                  <a:pt x="540" y="577"/>
                </a:cubicBezTo>
                <a:cubicBezTo>
                  <a:pt x="540" y="575"/>
                  <a:pt x="542" y="576"/>
                  <a:pt x="542" y="575"/>
                </a:cubicBezTo>
                <a:cubicBezTo>
                  <a:pt x="542" y="573"/>
                  <a:pt x="541" y="572"/>
                  <a:pt x="539" y="570"/>
                </a:cubicBezTo>
                <a:cubicBezTo>
                  <a:pt x="539" y="571"/>
                  <a:pt x="539" y="571"/>
                  <a:pt x="539" y="571"/>
                </a:cubicBezTo>
                <a:cubicBezTo>
                  <a:pt x="539" y="571"/>
                  <a:pt x="539" y="570"/>
                  <a:pt x="539" y="570"/>
                </a:cubicBezTo>
                <a:cubicBezTo>
                  <a:pt x="537" y="569"/>
                  <a:pt x="536" y="568"/>
                  <a:pt x="535" y="566"/>
                </a:cubicBezTo>
                <a:cubicBezTo>
                  <a:pt x="533" y="563"/>
                  <a:pt x="530" y="561"/>
                  <a:pt x="530" y="561"/>
                </a:cubicBezTo>
                <a:cubicBezTo>
                  <a:pt x="530" y="560"/>
                  <a:pt x="533" y="559"/>
                  <a:pt x="534" y="558"/>
                </a:cubicBezTo>
                <a:cubicBezTo>
                  <a:pt x="534" y="556"/>
                  <a:pt x="532" y="555"/>
                  <a:pt x="535" y="556"/>
                </a:cubicBezTo>
                <a:cubicBezTo>
                  <a:pt x="537" y="556"/>
                  <a:pt x="535" y="554"/>
                  <a:pt x="537" y="556"/>
                </a:cubicBezTo>
                <a:cubicBezTo>
                  <a:pt x="539" y="556"/>
                  <a:pt x="543" y="561"/>
                  <a:pt x="540" y="563"/>
                </a:cubicBezTo>
                <a:cubicBezTo>
                  <a:pt x="539" y="564"/>
                  <a:pt x="536" y="564"/>
                  <a:pt x="538" y="566"/>
                </a:cubicBezTo>
                <a:cubicBezTo>
                  <a:pt x="539" y="567"/>
                  <a:pt x="541" y="567"/>
                  <a:pt x="542" y="568"/>
                </a:cubicBezTo>
                <a:cubicBezTo>
                  <a:pt x="544" y="570"/>
                  <a:pt x="546" y="575"/>
                  <a:pt x="548" y="577"/>
                </a:cubicBezTo>
                <a:cubicBezTo>
                  <a:pt x="550" y="579"/>
                  <a:pt x="553" y="580"/>
                  <a:pt x="555" y="582"/>
                </a:cubicBezTo>
                <a:cubicBezTo>
                  <a:pt x="556" y="584"/>
                  <a:pt x="557" y="590"/>
                  <a:pt x="559" y="591"/>
                </a:cubicBezTo>
                <a:cubicBezTo>
                  <a:pt x="560" y="591"/>
                  <a:pt x="561" y="591"/>
                  <a:pt x="561" y="590"/>
                </a:cubicBezTo>
                <a:cubicBezTo>
                  <a:pt x="562" y="590"/>
                  <a:pt x="562" y="590"/>
                  <a:pt x="562" y="590"/>
                </a:cubicBezTo>
                <a:cubicBezTo>
                  <a:pt x="562" y="590"/>
                  <a:pt x="562" y="590"/>
                  <a:pt x="562" y="590"/>
                </a:cubicBezTo>
                <a:cubicBezTo>
                  <a:pt x="565" y="589"/>
                  <a:pt x="567" y="585"/>
                  <a:pt x="567" y="582"/>
                </a:cubicBezTo>
                <a:cubicBezTo>
                  <a:pt x="567" y="582"/>
                  <a:pt x="567" y="582"/>
                  <a:pt x="567" y="582"/>
                </a:cubicBezTo>
                <a:cubicBezTo>
                  <a:pt x="566" y="582"/>
                  <a:pt x="565" y="581"/>
                  <a:pt x="565" y="581"/>
                </a:cubicBezTo>
                <a:cubicBezTo>
                  <a:pt x="561" y="578"/>
                  <a:pt x="560" y="569"/>
                  <a:pt x="565" y="567"/>
                </a:cubicBezTo>
                <a:cubicBezTo>
                  <a:pt x="565" y="567"/>
                  <a:pt x="565" y="567"/>
                  <a:pt x="565" y="567"/>
                </a:cubicBezTo>
                <a:cubicBezTo>
                  <a:pt x="565" y="566"/>
                  <a:pt x="565" y="566"/>
                  <a:pt x="565" y="566"/>
                </a:cubicBezTo>
                <a:cubicBezTo>
                  <a:pt x="564" y="565"/>
                  <a:pt x="565" y="566"/>
                  <a:pt x="565" y="567"/>
                </a:cubicBezTo>
                <a:cubicBezTo>
                  <a:pt x="566" y="566"/>
                  <a:pt x="566" y="566"/>
                  <a:pt x="566" y="566"/>
                </a:cubicBezTo>
                <a:cubicBezTo>
                  <a:pt x="566" y="565"/>
                  <a:pt x="566" y="564"/>
                  <a:pt x="565" y="564"/>
                </a:cubicBezTo>
                <a:cubicBezTo>
                  <a:pt x="567" y="563"/>
                  <a:pt x="565" y="561"/>
                  <a:pt x="565" y="559"/>
                </a:cubicBezTo>
                <a:cubicBezTo>
                  <a:pt x="565" y="558"/>
                  <a:pt x="568" y="557"/>
                  <a:pt x="566" y="556"/>
                </a:cubicBezTo>
                <a:cubicBezTo>
                  <a:pt x="570" y="558"/>
                  <a:pt x="566" y="547"/>
                  <a:pt x="564" y="546"/>
                </a:cubicBezTo>
                <a:cubicBezTo>
                  <a:pt x="565" y="547"/>
                  <a:pt x="561" y="552"/>
                  <a:pt x="562" y="552"/>
                </a:cubicBezTo>
                <a:cubicBezTo>
                  <a:pt x="562" y="552"/>
                  <a:pt x="562" y="552"/>
                  <a:pt x="562" y="552"/>
                </a:cubicBezTo>
                <a:cubicBezTo>
                  <a:pt x="562" y="552"/>
                  <a:pt x="562" y="552"/>
                  <a:pt x="562" y="553"/>
                </a:cubicBezTo>
                <a:cubicBezTo>
                  <a:pt x="562" y="553"/>
                  <a:pt x="563" y="554"/>
                  <a:pt x="562" y="554"/>
                </a:cubicBezTo>
                <a:cubicBezTo>
                  <a:pt x="560" y="555"/>
                  <a:pt x="561" y="553"/>
                  <a:pt x="560" y="552"/>
                </a:cubicBezTo>
                <a:cubicBezTo>
                  <a:pt x="560" y="552"/>
                  <a:pt x="560" y="552"/>
                  <a:pt x="559" y="552"/>
                </a:cubicBezTo>
                <a:cubicBezTo>
                  <a:pt x="559" y="553"/>
                  <a:pt x="558" y="553"/>
                  <a:pt x="557" y="552"/>
                </a:cubicBezTo>
                <a:cubicBezTo>
                  <a:pt x="557" y="552"/>
                  <a:pt x="557" y="552"/>
                  <a:pt x="557" y="552"/>
                </a:cubicBezTo>
                <a:cubicBezTo>
                  <a:pt x="556" y="552"/>
                  <a:pt x="555" y="552"/>
                  <a:pt x="555" y="552"/>
                </a:cubicBezTo>
                <a:cubicBezTo>
                  <a:pt x="555" y="552"/>
                  <a:pt x="553" y="548"/>
                  <a:pt x="553" y="547"/>
                </a:cubicBezTo>
                <a:cubicBezTo>
                  <a:pt x="552" y="547"/>
                  <a:pt x="548" y="543"/>
                  <a:pt x="549" y="542"/>
                </a:cubicBezTo>
                <a:cubicBezTo>
                  <a:pt x="551" y="540"/>
                  <a:pt x="551" y="543"/>
                  <a:pt x="552" y="543"/>
                </a:cubicBezTo>
                <a:cubicBezTo>
                  <a:pt x="553" y="543"/>
                  <a:pt x="553" y="540"/>
                  <a:pt x="554" y="540"/>
                </a:cubicBezTo>
                <a:cubicBezTo>
                  <a:pt x="554" y="539"/>
                  <a:pt x="556" y="541"/>
                  <a:pt x="557" y="540"/>
                </a:cubicBezTo>
                <a:cubicBezTo>
                  <a:pt x="556" y="540"/>
                  <a:pt x="556" y="537"/>
                  <a:pt x="558" y="537"/>
                </a:cubicBezTo>
                <a:cubicBezTo>
                  <a:pt x="560" y="537"/>
                  <a:pt x="558" y="539"/>
                  <a:pt x="559" y="540"/>
                </a:cubicBezTo>
                <a:cubicBezTo>
                  <a:pt x="559" y="541"/>
                  <a:pt x="561" y="540"/>
                  <a:pt x="561" y="540"/>
                </a:cubicBezTo>
                <a:cubicBezTo>
                  <a:pt x="562" y="540"/>
                  <a:pt x="561" y="542"/>
                  <a:pt x="563" y="543"/>
                </a:cubicBezTo>
                <a:cubicBezTo>
                  <a:pt x="563" y="543"/>
                  <a:pt x="565" y="543"/>
                  <a:pt x="565" y="543"/>
                </a:cubicBezTo>
                <a:cubicBezTo>
                  <a:pt x="567" y="546"/>
                  <a:pt x="567" y="553"/>
                  <a:pt x="572" y="553"/>
                </a:cubicBezTo>
                <a:cubicBezTo>
                  <a:pt x="573" y="554"/>
                  <a:pt x="573" y="552"/>
                  <a:pt x="573" y="551"/>
                </a:cubicBezTo>
                <a:cubicBezTo>
                  <a:pt x="575" y="553"/>
                  <a:pt x="582" y="559"/>
                  <a:pt x="581" y="564"/>
                </a:cubicBezTo>
                <a:cubicBezTo>
                  <a:pt x="581" y="564"/>
                  <a:pt x="579" y="567"/>
                  <a:pt x="579" y="567"/>
                </a:cubicBezTo>
                <a:cubicBezTo>
                  <a:pt x="578" y="568"/>
                  <a:pt x="577" y="568"/>
                  <a:pt x="576" y="568"/>
                </a:cubicBezTo>
                <a:cubicBezTo>
                  <a:pt x="576" y="569"/>
                  <a:pt x="575" y="569"/>
                  <a:pt x="575" y="569"/>
                </a:cubicBezTo>
                <a:cubicBezTo>
                  <a:pt x="575" y="569"/>
                  <a:pt x="575" y="569"/>
                  <a:pt x="575" y="569"/>
                </a:cubicBezTo>
                <a:cubicBezTo>
                  <a:pt x="574" y="569"/>
                  <a:pt x="574" y="569"/>
                  <a:pt x="573" y="569"/>
                </a:cubicBezTo>
                <a:cubicBezTo>
                  <a:pt x="574" y="571"/>
                  <a:pt x="575" y="573"/>
                  <a:pt x="575" y="574"/>
                </a:cubicBezTo>
                <a:cubicBezTo>
                  <a:pt x="577" y="574"/>
                  <a:pt x="576" y="572"/>
                  <a:pt x="576" y="571"/>
                </a:cubicBezTo>
                <a:cubicBezTo>
                  <a:pt x="577" y="572"/>
                  <a:pt x="577" y="572"/>
                  <a:pt x="577" y="572"/>
                </a:cubicBezTo>
                <a:cubicBezTo>
                  <a:pt x="578" y="571"/>
                  <a:pt x="578" y="570"/>
                  <a:pt x="579" y="570"/>
                </a:cubicBezTo>
                <a:cubicBezTo>
                  <a:pt x="580" y="570"/>
                  <a:pt x="579" y="572"/>
                  <a:pt x="580" y="572"/>
                </a:cubicBezTo>
                <a:cubicBezTo>
                  <a:pt x="581" y="573"/>
                  <a:pt x="580" y="571"/>
                  <a:pt x="582" y="573"/>
                </a:cubicBezTo>
                <a:cubicBezTo>
                  <a:pt x="583" y="575"/>
                  <a:pt x="581" y="577"/>
                  <a:pt x="582" y="579"/>
                </a:cubicBezTo>
                <a:cubicBezTo>
                  <a:pt x="582" y="579"/>
                  <a:pt x="582" y="579"/>
                  <a:pt x="582" y="579"/>
                </a:cubicBezTo>
                <a:cubicBezTo>
                  <a:pt x="583" y="579"/>
                  <a:pt x="584" y="578"/>
                  <a:pt x="584" y="578"/>
                </a:cubicBezTo>
                <a:cubicBezTo>
                  <a:pt x="584" y="578"/>
                  <a:pt x="585" y="580"/>
                  <a:pt x="587" y="580"/>
                </a:cubicBezTo>
                <a:cubicBezTo>
                  <a:pt x="588" y="580"/>
                  <a:pt x="587" y="579"/>
                  <a:pt x="587" y="579"/>
                </a:cubicBezTo>
                <a:cubicBezTo>
                  <a:pt x="588" y="579"/>
                  <a:pt x="592" y="580"/>
                  <a:pt x="592" y="579"/>
                </a:cubicBezTo>
                <a:cubicBezTo>
                  <a:pt x="593" y="581"/>
                  <a:pt x="591" y="582"/>
                  <a:pt x="591" y="584"/>
                </a:cubicBezTo>
                <a:cubicBezTo>
                  <a:pt x="591" y="584"/>
                  <a:pt x="592" y="588"/>
                  <a:pt x="592" y="588"/>
                </a:cubicBezTo>
                <a:cubicBezTo>
                  <a:pt x="592" y="588"/>
                  <a:pt x="594" y="587"/>
                  <a:pt x="595" y="588"/>
                </a:cubicBezTo>
                <a:cubicBezTo>
                  <a:pt x="596" y="589"/>
                  <a:pt x="596" y="591"/>
                  <a:pt x="598" y="592"/>
                </a:cubicBezTo>
                <a:cubicBezTo>
                  <a:pt x="599" y="592"/>
                  <a:pt x="601" y="596"/>
                  <a:pt x="601" y="598"/>
                </a:cubicBezTo>
                <a:cubicBezTo>
                  <a:pt x="599" y="602"/>
                  <a:pt x="593" y="597"/>
                  <a:pt x="592" y="604"/>
                </a:cubicBezTo>
                <a:cubicBezTo>
                  <a:pt x="587" y="602"/>
                  <a:pt x="595" y="611"/>
                  <a:pt x="594" y="612"/>
                </a:cubicBezTo>
                <a:cubicBezTo>
                  <a:pt x="594" y="612"/>
                  <a:pt x="594" y="612"/>
                  <a:pt x="594" y="612"/>
                </a:cubicBezTo>
                <a:cubicBezTo>
                  <a:pt x="595" y="612"/>
                  <a:pt x="595" y="613"/>
                  <a:pt x="594" y="613"/>
                </a:cubicBezTo>
                <a:cubicBezTo>
                  <a:pt x="594" y="613"/>
                  <a:pt x="594" y="613"/>
                  <a:pt x="594" y="613"/>
                </a:cubicBezTo>
                <a:cubicBezTo>
                  <a:pt x="592" y="613"/>
                  <a:pt x="593" y="612"/>
                  <a:pt x="594" y="612"/>
                </a:cubicBezTo>
                <a:cubicBezTo>
                  <a:pt x="592" y="612"/>
                  <a:pt x="589" y="606"/>
                  <a:pt x="589" y="611"/>
                </a:cubicBezTo>
                <a:cubicBezTo>
                  <a:pt x="589" y="613"/>
                  <a:pt x="592" y="612"/>
                  <a:pt x="593" y="613"/>
                </a:cubicBezTo>
                <a:cubicBezTo>
                  <a:pt x="593" y="615"/>
                  <a:pt x="591" y="617"/>
                  <a:pt x="591" y="619"/>
                </a:cubicBezTo>
                <a:cubicBezTo>
                  <a:pt x="591" y="619"/>
                  <a:pt x="593" y="622"/>
                  <a:pt x="594" y="622"/>
                </a:cubicBezTo>
                <a:cubicBezTo>
                  <a:pt x="596" y="622"/>
                  <a:pt x="596" y="620"/>
                  <a:pt x="598" y="622"/>
                </a:cubicBezTo>
                <a:cubicBezTo>
                  <a:pt x="599" y="622"/>
                  <a:pt x="597" y="621"/>
                  <a:pt x="598" y="621"/>
                </a:cubicBezTo>
                <a:cubicBezTo>
                  <a:pt x="598" y="623"/>
                  <a:pt x="600" y="622"/>
                  <a:pt x="599" y="620"/>
                </a:cubicBezTo>
                <a:cubicBezTo>
                  <a:pt x="601" y="623"/>
                  <a:pt x="600" y="626"/>
                  <a:pt x="603" y="625"/>
                </a:cubicBezTo>
                <a:cubicBezTo>
                  <a:pt x="603" y="625"/>
                  <a:pt x="608" y="621"/>
                  <a:pt x="608" y="621"/>
                </a:cubicBezTo>
                <a:cubicBezTo>
                  <a:pt x="608" y="617"/>
                  <a:pt x="604" y="622"/>
                  <a:pt x="601" y="620"/>
                </a:cubicBezTo>
                <a:cubicBezTo>
                  <a:pt x="599" y="618"/>
                  <a:pt x="606" y="619"/>
                  <a:pt x="607" y="618"/>
                </a:cubicBezTo>
                <a:cubicBezTo>
                  <a:pt x="608" y="617"/>
                  <a:pt x="606" y="617"/>
                  <a:pt x="607" y="616"/>
                </a:cubicBezTo>
                <a:cubicBezTo>
                  <a:pt x="607" y="615"/>
                  <a:pt x="610" y="614"/>
                  <a:pt x="609" y="613"/>
                </a:cubicBezTo>
                <a:cubicBezTo>
                  <a:pt x="608" y="613"/>
                  <a:pt x="607" y="616"/>
                  <a:pt x="606" y="614"/>
                </a:cubicBezTo>
                <a:cubicBezTo>
                  <a:pt x="605" y="613"/>
                  <a:pt x="608" y="611"/>
                  <a:pt x="608" y="612"/>
                </a:cubicBezTo>
                <a:cubicBezTo>
                  <a:pt x="609" y="610"/>
                  <a:pt x="609" y="610"/>
                  <a:pt x="610" y="609"/>
                </a:cubicBezTo>
                <a:cubicBezTo>
                  <a:pt x="610" y="609"/>
                  <a:pt x="609" y="608"/>
                  <a:pt x="609" y="608"/>
                </a:cubicBezTo>
                <a:cubicBezTo>
                  <a:pt x="610" y="608"/>
                  <a:pt x="611" y="609"/>
                  <a:pt x="611" y="609"/>
                </a:cubicBezTo>
                <a:cubicBezTo>
                  <a:pt x="613" y="610"/>
                  <a:pt x="615" y="611"/>
                  <a:pt x="616" y="612"/>
                </a:cubicBezTo>
                <a:cubicBezTo>
                  <a:pt x="616" y="612"/>
                  <a:pt x="616" y="612"/>
                  <a:pt x="616" y="612"/>
                </a:cubicBezTo>
                <a:cubicBezTo>
                  <a:pt x="617" y="611"/>
                  <a:pt x="616" y="611"/>
                  <a:pt x="616" y="610"/>
                </a:cubicBezTo>
                <a:cubicBezTo>
                  <a:pt x="616" y="610"/>
                  <a:pt x="617" y="609"/>
                  <a:pt x="617" y="609"/>
                </a:cubicBezTo>
                <a:cubicBezTo>
                  <a:pt x="615" y="608"/>
                  <a:pt x="613" y="606"/>
                  <a:pt x="613" y="605"/>
                </a:cubicBezTo>
                <a:cubicBezTo>
                  <a:pt x="613" y="603"/>
                  <a:pt x="616" y="603"/>
                  <a:pt x="614" y="601"/>
                </a:cubicBezTo>
                <a:cubicBezTo>
                  <a:pt x="613" y="601"/>
                  <a:pt x="610" y="602"/>
                  <a:pt x="610" y="602"/>
                </a:cubicBezTo>
                <a:cubicBezTo>
                  <a:pt x="610" y="602"/>
                  <a:pt x="608" y="602"/>
                  <a:pt x="608" y="602"/>
                </a:cubicBezTo>
                <a:cubicBezTo>
                  <a:pt x="607" y="603"/>
                  <a:pt x="608" y="605"/>
                  <a:pt x="608" y="606"/>
                </a:cubicBezTo>
                <a:cubicBezTo>
                  <a:pt x="606" y="607"/>
                  <a:pt x="605" y="604"/>
                  <a:pt x="604" y="603"/>
                </a:cubicBezTo>
                <a:cubicBezTo>
                  <a:pt x="608" y="604"/>
                  <a:pt x="605" y="600"/>
                  <a:pt x="605" y="598"/>
                </a:cubicBezTo>
                <a:cubicBezTo>
                  <a:pt x="604" y="597"/>
                  <a:pt x="605" y="595"/>
                  <a:pt x="605" y="594"/>
                </a:cubicBezTo>
                <a:cubicBezTo>
                  <a:pt x="604" y="593"/>
                  <a:pt x="602" y="594"/>
                  <a:pt x="602" y="592"/>
                </a:cubicBezTo>
                <a:cubicBezTo>
                  <a:pt x="603" y="591"/>
                  <a:pt x="604" y="592"/>
                  <a:pt x="604" y="592"/>
                </a:cubicBezTo>
                <a:cubicBezTo>
                  <a:pt x="605" y="592"/>
                  <a:pt x="603" y="589"/>
                  <a:pt x="605" y="588"/>
                </a:cubicBezTo>
                <a:cubicBezTo>
                  <a:pt x="605" y="588"/>
                  <a:pt x="607" y="589"/>
                  <a:pt x="608" y="590"/>
                </a:cubicBezTo>
                <a:cubicBezTo>
                  <a:pt x="609" y="590"/>
                  <a:pt x="610" y="590"/>
                  <a:pt x="611" y="591"/>
                </a:cubicBezTo>
                <a:cubicBezTo>
                  <a:pt x="611" y="588"/>
                  <a:pt x="613" y="584"/>
                  <a:pt x="614" y="584"/>
                </a:cubicBezTo>
                <a:cubicBezTo>
                  <a:pt x="615" y="582"/>
                  <a:pt x="617" y="585"/>
                  <a:pt x="617" y="582"/>
                </a:cubicBezTo>
                <a:cubicBezTo>
                  <a:pt x="618" y="585"/>
                  <a:pt x="621" y="582"/>
                  <a:pt x="622" y="582"/>
                </a:cubicBezTo>
                <a:cubicBezTo>
                  <a:pt x="623" y="582"/>
                  <a:pt x="622" y="584"/>
                  <a:pt x="623" y="584"/>
                </a:cubicBezTo>
                <a:cubicBezTo>
                  <a:pt x="623" y="585"/>
                  <a:pt x="624" y="584"/>
                  <a:pt x="625" y="585"/>
                </a:cubicBezTo>
                <a:cubicBezTo>
                  <a:pt x="625" y="585"/>
                  <a:pt x="625" y="585"/>
                  <a:pt x="625" y="585"/>
                </a:cubicBezTo>
                <a:cubicBezTo>
                  <a:pt x="626" y="585"/>
                  <a:pt x="628" y="585"/>
                  <a:pt x="629" y="585"/>
                </a:cubicBezTo>
                <a:cubicBezTo>
                  <a:pt x="629" y="585"/>
                  <a:pt x="629" y="584"/>
                  <a:pt x="630" y="584"/>
                </a:cubicBezTo>
                <a:cubicBezTo>
                  <a:pt x="629" y="584"/>
                  <a:pt x="628" y="584"/>
                  <a:pt x="628" y="584"/>
                </a:cubicBezTo>
                <a:cubicBezTo>
                  <a:pt x="627" y="583"/>
                  <a:pt x="626" y="583"/>
                  <a:pt x="626" y="582"/>
                </a:cubicBezTo>
                <a:cubicBezTo>
                  <a:pt x="626" y="581"/>
                  <a:pt x="625" y="581"/>
                  <a:pt x="625" y="580"/>
                </a:cubicBezTo>
                <a:cubicBezTo>
                  <a:pt x="625" y="580"/>
                  <a:pt x="625" y="580"/>
                  <a:pt x="624" y="580"/>
                </a:cubicBezTo>
                <a:cubicBezTo>
                  <a:pt x="624" y="580"/>
                  <a:pt x="624" y="579"/>
                  <a:pt x="624" y="579"/>
                </a:cubicBezTo>
                <a:cubicBezTo>
                  <a:pt x="624" y="577"/>
                  <a:pt x="624" y="575"/>
                  <a:pt x="622" y="574"/>
                </a:cubicBezTo>
                <a:cubicBezTo>
                  <a:pt x="624" y="576"/>
                  <a:pt x="625" y="573"/>
                  <a:pt x="625" y="573"/>
                </a:cubicBezTo>
                <a:cubicBezTo>
                  <a:pt x="625" y="573"/>
                  <a:pt x="625" y="573"/>
                  <a:pt x="625" y="572"/>
                </a:cubicBezTo>
                <a:cubicBezTo>
                  <a:pt x="625" y="572"/>
                  <a:pt x="625" y="572"/>
                  <a:pt x="625" y="572"/>
                </a:cubicBezTo>
                <a:cubicBezTo>
                  <a:pt x="625" y="572"/>
                  <a:pt x="625" y="573"/>
                  <a:pt x="625" y="573"/>
                </a:cubicBezTo>
                <a:cubicBezTo>
                  <a:pt x="623" y="574"/>
                  <a:pt x="619" y="571"/>
                  <a:pt x="619" y="570"/>
                </a:cubicBezTo>
                <a:cubicBezTo>
                  <a:pt x="619" y="569"/>
                  <a:pt x="619" y="570"/>
                  <a:pt x="620" y="569"/>
                </a:cubicBezTo>
                <a:cubicBezTo>
                  <a:pt x="620" y="567"/>
                  <a:pt x="618" y="565"/>
                  <a:pt x="620" y="562"/>
                </a:cubicBezTo>
                <a:cubicBezTo>
                  <a:pt x="621" y="563"/>
                  <a:pt x="620" y="565"/>
                  <a:pt x="621" y="566"/>
                </a:cubicBezTo>
                <a:cubicBezTo>
                  <a:pt x="621" y="567"/>
                  <a:pt x="622" y="565"/>
                  <a:pt x="622" y="565"/>
                </a:cubicBezTo>
                <a:cubicBezTo>
                  <a:pt x="624" y="565"/>
                  <a:pt x="627" y="568"/>
                  <a:pt x="626" y="571"/>
                </a:cubicBezTo>
                <a:cubicBezTo>
                  <a:pt x="627" y="572"/>
                  <a:pt x="628" y="572"/>
                  <a:pt x="628" y="573"/>
                </a:cubicBezTo>
                <a:cubicBezTo>
                  <a:pt x="629" y="573"/>
                  <a:pt x="629" y="572"/>
                  <a:pt x="629" y="572"/>
                </a:cubicBezTo>
                <a:cubicBezTo>
                  <a:pt x="628" y="570"/>
                  <a:pt x="628" y="568"/>
                  <a:pt x="627" y="566"/>
                </a:cubicBezTo>
                <a:cubicBezTo>
                  <a:pt x="626" y="565"/>
                  <a:pt x="625" y="565"/>
                  <a:pt x="624" y="565"/>
                </a:cubicBezTo>
                <a:cubicBezTo>
                  <a:pt x="624" y="564"/>
                  <a:pt x="624" y="563"/>
                  <a:pt x="623" y="563"/>
                </a:cubicBezTo>
                <a:cubicBezTo>
                  <a:pt x="622" y="562"/>
                  <a:pt x="622" y="564"/>
                  <a:pt x="621" y="563"/>
                </a:cubicBezTo>
                <a:cubicBezTo>
                  <a:pt x="620" y="562"/>
                  <a:pt x="621" y="561"/>
                  <a:pt x="621" y="561"/>
                </a:cubicBezTo>
                <a:cubicBezTo>
                  <a:pt x="622" y="560"/>
                  <a:pt x="624" y="562"/>
                  <a:pt x="625" y="562"/>
                </a:cubicBezTo>
                <a:cubicBezTo>
                  <a:pt x="626" y="561"/>
                  <a:pt x="626" y="560"/>
                  <a:pt x="627" y="559"/>
                </a:cubicBezTo>
                <a:cubicBezTo>
                  <a:pt x="628" y="558"/>
                  <a:pt x="630" y="559"/>
                  <a:pt x="629" y="555"/>
                </a:cubicBezTo>
                <a:cubicBezTo>
                  <a:pt x="631" y="560"/>
                  <a:pt x="631" y="555"/>
                  <a:pt x="632" y="554"/>
                </a:cubicBezTo>
                <a:cubicBezTo>
                  <a:pt x="632" y="555"/>
                  <a:pt x="638" y="557"/>
                  <a:pt x="639" y="557"/>
                </a:cubicBezTo>
                <a:cubicBezTo>
                  <a:pt x="640" y="557"/>
                  <a:pt x="641" y="560"/>
                  <a:pt x="643" y="561"/>
                </a:cubicBezTo>
                <a:cubicBezTo>
                  <a:pt x="643" y="560"/>
                  <a:pt x="643" y="560"/>
                  <a:pt x="642" y="560"/>
                </a:cubicBezTo>
                <a:cubicBezTo>
                  <a:pt x="643" y="560"/>
                  <a:pt x="644" y="560"/>
                  <a:pt x="644" y="561"/>
                </a:cubicBezTo>
                <a:cubicBezTo>
                  <a:pt x="644" y="561"/>
                  <a:pt x="644" y="561"/>
                  <a:pt x="645" y="561"/>
                </a:cubicBezTo>
                <a:cubicBezTo>
                  <a:pt x="644" y="561"/>
                  <a:pt x="644" y="561"/>
                  <a:pt x="644" y="560"/>
                </a:cubicBezTo>
                <a:cubicBezTo>
                  <a:pt x="644" y="560"/>
                  <a:pt x="644" y="560"/>
                  <a:pt x="644" y="559"/>
                </a:cubicBezTo>
                <a:cubicBezTo>
                  <a:pt x="644" y="559"/>
                  <a:pt x="644" y="559"/>
                  <a:pt x="644" y="559"/>
                </a:cubicBezTo>
                <a:cubicBezTo>
                  <a:pt x="644" y="559"/>
                  <a:pt x="644" y="559"/>
                  <a:pt x="644" y="559"/>
                </a:cubicBezTo>
                <a:cubicBezTo>
                  <a:pt x="644" y="557"/>
                  <a:pt x="646" y="551"/>
                  <a:pt x="647" y="548"/>
                </a:cubicBezTo>
                <a:cubicBezTo>
                  <a:pt x="646" y="547"/>
                  <a:pt x="646" y="547"/>
                  <a:pt x="646" y="546"/>
                </a:cubicBezTo>
                <a:cubicBezTo>
                  <a:pt x="646" y="545"/>
                  <a:pt x="647" y="546"/>
                  <a:pt x="648" y="546"/>
                </a:cubicBezTo>
                <a:cubicBezTo>
                  <a:pt x="648" y="546"/>
                  <a:pt x="649" y="545"/>
                  <a:pt x="649" y="546"/>
                </a:cubicBezTo>
                <a:cubicBezTo>
                  <a:pt x="650" y="546"/>
                  <a:pt x="650" y="547"/>
                  <a:pt x="650" y="549"/>
                </a:cubicBezTo>
                <a:cubicBezTo>
                  <a:pt x="650" y="548"/>
                  <a:pt x="651" y="548"/>
                  <a:pt x="651" y="548"/>
                </a:cubicBezTo>
                <a:cubicBezTo>
                  <a:pt x="652" y="548"/>
                  <a:pt x="653" y="550"/>
                  <a:pt x="653" y="551"/>
                </a:cubicBezTo>
                <a:cubicBezTo>
                  <a:pt x="654" y="551"/>
                  <a:pt x="655" y="551"/>
                  <a:pt x="655" y="552"/>
                </a:cubicBezTo>
                <a:cubicBezTo>
                  <a:pt x="656" y="553"/>
                  <a:pt x="655" y="554"/>
                  <a:pt x="655" y="555"/>
                </a:cubicBezTo>
                <a:cubicBezTo>
                  <a:pt x="655" y="555"/>
                  <a:pt x="656" y="554"/>
                  <a:pt x="656" y="552"/>
                </a:cubicBezTo>
                <a:cubicBezTo>
                  <a:pt x="656" y="551"/>
                  <a:pt x="654" y="549"/>
                  <a:pt x="654" y="548"/>
                </a:cubicBezTo>
                <a:cubicBezTo>
                  <a:pt x="654" y="548"/>
                  <a:pt x="653" y="548"/>
                  <a:pt x="653" y="548"/>
                </a:cubicBezTo>
                <a:cubicBezTo>
                  <a:pt x="654" y="544"/>
                  <a:pt x="661" y="548"/>
                  <a:pt x="659" y="550"/>
                </a:cubicBezTo>
                <a:cubicBezTo>
                  <a:pt x="659" y="550"/>
                  <a:pt x="657" y="550"/>
                  <a:pt x="657" y="550"/>
                </a:cubicBezTo>
                <a:cubicBezTo>
                  <a:pt x="657" y="551"/>
                  <a:pt x="659" y="555"/>
                  <a:pt x="659" y="557"/>
                </a:cubicBezTo>
                <a:cubicBezTo>
                  <a:pt x="659" y="558"/>
                  <a:pt x="659" y="559"/>
                  <a:pt x="659" y="559"/>
                </a:cubicBezTo>
                <a:cubicBezTo>
                  <a:pt x="660" y="560"/>
                  <a:pt x="662" y="559"/>
                  <a:pt x="663" y="560"/>
                </a:cubicBezTo>
                <a:cubicBezTo>
                  <a:pt x="663" y="560"/>
                  <a:pt x="663" y="561"/>
                  <a:pt x="663" y="561"/>
                </a:cubicBezTo>
                <a:cubicBezTo>
                  <a:pt x="664" y="562"/>
                  <a:pt x="666" y="564"/>
                  <a:pt x="666" y="564"/>
                </a:cubicBezTo>
                <a:cubicBezTo>
                  <a:pt x="667" y="564"/>
                  <a:pt x="667" y="562"/>
                  <a:pt x="666" y="562"/>
                </a:cubicBezTo>
                <a:cubicBezTo>
                  <a:pt x="666" y="562"/>
                  <a:pt x="669" y="561"/>
                  <a:pt x="669" y="563"/>
                </a:cubicBezTo>
                <a:cubicBezTo>
                  <a:pt x="669" y="563"/>
                  <a:pt x="669" y="563"/>
                  <a:pt x="669" y="564"/>
                </a:cubicBezTo>
                <a:cubicBezTo>
                  <a:pt x="670" y="563"/>
                  <a:pt x="670" y="563"/>
                  <a:pt x="671" y="563"/>
                </a:cubicBezTo>
                <a:cubicBezTo>
                  <a:pt x="670" y="562"/>
                  <a:pt x="669" y="562"/>
                  <a:pt x="669" y="561"/>
                </a:cubicBezTo>
                <a:cubicBezTo>
                  <a:pt x="669" y="561"/>
                  <a:pt x="669" y="562"/>
                  <a:pt x="668" y="562"/>
                </a:cubicBezTo>
                <a:cubicBezTo>
                  <a:pt x="668" y="562"/>
                  <a:pt x="667" y="562"/>
                  <a:pt x="667" y="561"/>
                </a:cubicBezTo>
                <a:cubicBezTo>
                  <a:pt x="667" y="561"/>
                  <a:pt x="666" y="560"/>
                  <a:pt x="667" y="559"/>
                </a:cubicBezTo>
                <a:cubicBezTo>
                  <a:pt x="668" y="559"/>
                  <a:pt x="668" y="560"/>
                  <a:pt x="668" y="560"/>
                </a:cubicBezTo>
                <a:cubicBezTo>
                  <a:pt x="668" y="560"/>
                  <a:pt x="668" y="560"/>
                  <a:pt x="668" y="560"/>
                </a:cubicBezTo>
                <a:cubicBezTo>
                  <a:pt x="668" y="560"/>
                  <a:pt x="668" y="560"/>
                  <a:pt x="668" y="560"/>
                </a:cubicBezTo>
                <a:cubicBezTo>
                  <a:pt x="668" y="560"/>
                  <a:pt x="669" y="560"/>
                  <a:pt x="669" y="560"/>
                </a:cubicBezTo>
                <a:cubicBezTo>
                  <a:pt x="668" y="559"/>
                  <a:pt x="669" y="558"/>
                  <a:pt x="671" y="557"/>
                </a:cubicBezTo>
                <a:cubicBezTo>
                  <a:pt x="672" y="557"/>
                  <a:pt x="673" y="558"/>
                  <a:pt x="674" y="559"/>
                </a:cubicBezTo>
                <a:cubicBezTo>
                  <a:pt x="673" y="559"/>
                  <a:pt x="673" y="559"/>
                  <a:pt x="674" y="559"/>
                </a:cubicBezTo>
                <a:cubicBezTo>
                  <a:pt x="674" y="557"/>
                  <a:pt x="674" y="559"/>
                  <a:pt x="675" y="559"/>
                </a:cubicBezTo>
                <a:cubicBezTo>
                  <a:pt x="675" y="558"/>
                  <a:pt x="675" y="558"/>
                  <a:pt x="675" y="557"/>
                </a:cubicBezTo>
                <a:cubicBezTo>
                  <a:pt x="675" y="557"/>
                  <a:pt x="675" y="557"/>
                  <a:pt x="675" y="557"/>
                </a:cubicBezTo>
                <a:cubicBezTo>
                  <a:pt x="675" y="557"/>
                  <a:pt x="675" y="556"/>
                  <a:pt x="675" y="556"/>
                </a:cubicBezTo>
                <a:cubicBezTo>
                  <a:pt x="677" y="554"/>
                  <a:pt x="678" y="556"/>
                  <a:pt x="679" y="557"/>
                </a:cubicBezTo>
                <a:cubicBezTo>
                  <a:pt x="679" y="553"/>
                  <a:pt x="679" y="553"/>
                  <a:pt x="679" y="553"/>
                </a:cubicBezTo>
                <a:cubicBezTo>
                  <a:pt x="679" y="553"/>
                  <a:pt x="678" y="553"/>
                  <a:pt x="677" y="552"/>
                </a:cubicBezTo>
                <a:cubicBezTo>
                  <a:pt x="673" y="549"/>
                  <a:pt x="676" y="544"/>
                  <a:pt x="679" y="544"/>
                </a:cubicBezTo>
                <a:cubicBezTo>
                  <a:pt x="679" y="543"/>
                  <a:pt x="679" y="543"/>
                  <a:pt x="679" y="543"/>
                </a:cubicBezTo>
                <a:cubicBezTo>
                  <a:pt x="679" y="543"/>
                  <a:pt x="679" y="542"/>
                  <a:pt x="679" y="542"/>
                </a:cubicBezTo>
                <a:cubicBezTo>
                  <a:pt x="679" y="542"/>
                  <a:pt x="679" y="543"/>
                  <a:pt x="679" y="543"/>
                </a:cubicBezTo>
                <a:cubicBezTo>
                  <a:pt x="679" y="511"/>
                  <a:pt x="679" y="511"/>
                  <a:pt x="679" y="511"/>
                </a:cubicBezTo>
                <a:cubicBezTo>
                  <a:pt x="678" y="509"/>
                  <a:pt x="677" y="507"/>
                  <a:pt x="677" y="506"/>
                </a:cubicBezTo>
                <a:cubicBezTo>
                  <a:pt x="678" y="507"/>
                  <a:pt x="679" y="508"/>
                  <a:pt x="679" y="509"/>
                </a:cubicBezTo>
                <a:cubicBezTo>
                  <a:pt x="679" y="508"/>
                  <a:pt x="679" y="508"/>
                  <a:pt x="679" y="508"/>
                </a:cubicBezTo>
                <a:cubicBezTo>
                  <a:pt x="679" y="507"/>
                  <a:pt x="678" y="507"/>
                  <a:pt x="679" y="507"/>
                </a:cubicBezTo>
                <a:cubicBezTo>
                  <a:pt x="679" y="423"/>
                  <a:pt x="679" y="423"/>
                  <a:pt x="679" y="423"/>
                </a:cubicBezTo>
                <a:cubicBezTo>
                  <a:pt x="679" y="423"/>
                  <a:pt x="679" y="422"/>
                  <a:pt x="679" y="422"/>
                </a:cubicBezTo>
                <a:cubicBezTo>
                  <a:pt x="679" y="422"/>
                  <a:pt x="679" y="422"/>
                  <a:pt x="679" y="422"/>
                </a:cubicBezTo>
                <a:cubicBezTo>
                  <a:pt x="679" y="196"/>
                  <a:pt x="679" y="196"/>
                  <a:pt x="679" y="196"/>
                </a:cubicBezTo>
                <a:cubicBezTo>
                  <a:pt x="521" y="105"/>
                  <a:pt x="521" y="105"/>
                  <a:pt x="521" y="105"/>
                </a:cubicBezTo>
                <a:cubicBezTo>
                  <a:pt x="520" y="105"/>
                  <a:pt x="517" y="104"/>
                  <a:pt x="516" y="103"/>
                </a:cubicBezTo>
                <a:cubicBezTo>
                  <a:pt x="516" y="103"/>
                  <a:pt x="517" y="102"/>
                  <a:pt x="517" y="102"/>
                </a:cubicBezTo>
                <a:cubicBezTo>
                  <a:pt x="340" y="0"/>
                  <a:pt x="340" y="0"/>
                  <a:pt x="340" y="0"/>
                </a:cubicBezTo>
                <a:cubicBezTo>
                  <a:pt x="329" y="7"/>
                  <a:pt x="329" y="7"/>
                  <a:pt x="329" y="7"/>
                </a:cubicBezTo>
                <a:cubicBezTo>
                  <a:pt x="330" y="7"/>
                  <a:pt x="330" y="7"/>
                  <a:pt x="328" y="7"/>
                </a:cubicBezTo>
                <a:cubicBezTo>
                  <a:pt x="315" y="15"/>
                  <a:pt x="315" y="15"/>
                  <a:pt x="315" y="15"/>
                </a:cubicBezTo>
                <a:cubicBezTo>
                  <a:pt x="315" y="15"/>
                  <a:pt x="315" y="15"/>
                  <a:pt x="315" y="15"/>
                </a:cubicBezTo>
                <a:cubicBezTo>
                  <a:pt x="315" y="15"/>
                  <a:pt x="314" y="15"/>
                  <a:pt x="314" y="15"/>
                </a:cubicBezTo>
                <a:cubicBezTo>
                  <a:pt x="298" y="25"/>
                  <a:pt x="298" y="25"/>
                  <a:pt x="298" y="25"/>
                </a:cubicBezTo>
                <a:cubicBezTo>
                  <a:pt x="299" y="24"/>
                  <a:pt x="301" y="24"/>
                  <a:pt x="301" y="25"/>
                </a:cubicBezTo>
                <a:cubicBezTo>
                  <a:pt x="302" y="27"/>
                  <a:pt x="300" y="27"/>
                  <a:pt x="301" y="28"/>
                </a:cubicBezTo>
                <a:cubicBezTo>
                  <a:pt x="301" y="30"/>
                  <a:pt x="303" y="30"/>
                  <a:pt x="306" y="31"/>
                </a:cubicBezTo>
                <a:cubicBezTo>
                  <a:pt x="305" y="30"/>
                  <a:pt x="305" y="30"/>
                  <a:pt x="305" y="30"/>
                </a:cubicBezTo>
                <a:cubicBezTo>
                  <a:pt x="306" y="30"/>
                  <a:pt x="306" y="30"/>
                  <a:pt x="306" y="31"/>
                </a:cubicBezTo>
                <a:cubicBezTo>
                  <a:pt x="308" y="31"/>
                  <a:pt x="310" y="31"/>
                  <a:pt x="311" y="32"/>
                </a:cubicBezTo>
                <a:cubicBezTo>
                  <a:pt x="314" y="34"/>
                  <a:pt x="318" y="34"/>
                  <a:pt x="318" y="34"/>
                </a:cubicBezTo>
                <a:cubicBezTo>
                  <a:pt x="318" y="35"/>
                  <a:pt x="316" y="37"/>
                  <a:pt x="317" y="39"/>
                </a:cubicBezTo>
                <a:cubicBezTo>
                  <a:pt x="317" y="41"/>
                  <a:pt x="319" y="40"/>
                  <a:pt x="317" y="41"/>
                </a:cubicBezTo>
                <a:cubicBezTo>
                  <a:pt x="315" y="42"/>
                  <a:pt x="318" y="42"/>
                  <a:pt x="315" y="42"/>
                </a:cubicBezTo>
                <a:cubicBezTo>
                  <a:pt x="313" y="42"/>
                  <a:pt x="307" y="41"/>
                  <a:pt x="309" y="37"/>
                </a:cubicBezTo>
                <a:cubicBezTo>
                  <a:pt x="309" y="36"/>
                  <a:pt x="311" y="35"/>
                  <a:pt x="309" y="34"/>
                </a:cubicBezTo>
                <a:cubicBezTo>
                  <a:pt x="308" y="34"/>
                  <a:pt x="306" y="35"/>
                  <a:pt x="305" y="34"/>
                </a:cubicBezTo>
                <a:cubicBezTo>
                  <a:pt x="302" y="33"/>
                  <a:pt x="298" y="30"/>
                  <a:pt x="295" y="29"/>
                </a:cubicBezTo>
                <a:cubicBezTo>
                  <a:pt x="293" y="29"/>
                  <a:pt x="292" y="29"/>
                  <a:pt x="290" y="29"/>
                </a:cubicBezTo>
                <a:cubicBezTo>
                  <a:pt x="280" y="35"/>
                  <a:pt x="280" y="35"/>
                  <a:pt x="280" y="35"/>
                </a:cubicBezTo>
                <a:cubicBezTo>
                  <a:pt x="284" y="37"/>
                  <a:pt x="288" y="43"/>
                  <a:pt x="285" y="47"/>
                </a:cubicBezTo>
                <a:cubicBezTo>
                  <a:pt x="286" y="47"/>
                  <a:pt x="285" y="47"/>
                  <a:pt x="285" y="47"/>
                </a:cubicBezTo>
                <a:cubicBezTo>
                  <a:pt x="285" y="47"/>
                  <a:pt x="285" y="47"/>
                  <a:pt x="285" y="47"/>
                </a:cubicBezTo>
                <a:cubicBezTo>
                  <a:pt x="286" y="48"/>
                  <a:pt x="285" y="47"/>
                  <a:pt x="285" y="47"/>
                </a:cubicBezTo>
                <a:cubicBezTo>
                  <a:pt x="285" y="47"/>
                  <a:pt x="285" y="48"/>
                  <a:pt x="284" y="48"/>
                </a:cubicBezTo>
                <a:cubicBezTo>
                  <a:pt x="285" y="49"/>
                  <a:pt x="286" y="50"/>
                  <a:pt x="286" y="49"/>
                </a:cubicBezTo>
                <a:cubicBezTo>
                  <a:pt x="285" y="51"/>
                  <a:pt x="288" y="52"/>
                  <a:pt x="289" y="53"/>
                </a:cubicBezTo>
                <a:cubicBezTo>
                  <a:pt x="290" y="54"/>
                  <a:pt x="288" y="56"/>
                  <a:pt x="290" y="56"/>
                </a:cubicBezTo>
                <a:cubicBezTo>
                  <a:pt x="285" y="57"/>
                  <a:pt x="295" y="64"/>
                  <a:pt x="296" y="64"/>
                </a:cubicBezTo>
                <a:cubicBezTo>
                  <a:pt x="296" y="64"/>
                  <a:pt x="296" y="57"/>
                  <a:pt x="296" y="58"/>
                </a:cubicBezTo>
                <a:cubicBezTo>
                  <a:pt x="296" y="58"/>
                  <a:pt x="296" y="58"/>
                  <a:pt x="296" y="58"/>
                </a:cubicBezTo>
                <a:cubicBezTo>
                  <a:pt x="295" y="58"/>
                  <a:pt x="295" y="57"/>
                  <a:pt x="295" y="57"/>
                </a:cubicBezTo>
                <a:cubicBezTo>
                  <a:pt x="295" y="57"/>
                  <a:pt x="294" y="56"/>
                  <a:pt x="294" y="56"/>
                </a:cubicBezTo>
                <a:cubicBezTo>
                  <a:pt x="296" y="54"/>
                  <a:pt x="296" y="57"/>
                  <a:pt x="297" y="57"/>
                </a:cubicBezTo>
                <a:cubicBezTo>
                  <a:pt x="297" y="57"/>
                  <a:pt x="297" y="57"/>
                  <a:pt x="297" y="57"/>
                </a:cubicBezTo>
                <a:cubicBezTo>
                  <a:pt x="297" y="56"/>
                  <a:pt x="298" y="55"/>
                  <a:pt x="299" y="55"/>
                </a:cubicBezTo>
                <a:cubicBezTo>
                  <a:pt x="299" y="55"/>
                  <a:pt x="299" y="55"/>
                  <a:pt x="299" y="55"/>
                </a:cubicBezTo>
                <a:cubicBezTo>
                  <a:pt x="300" y="55"/>
                  <a:pt x="301" y="54"/>
                  <a:pt x="302" y="54"/>
                </a:cubicBezTo>
                <a:cubicBezTo>
                  <a:pt x="302" y="54"/>
                  <a:pt x="305" y="57"/>
                  <a:pt x="306" y="57"/>
                </a:cubicBezTo>
                <a:cubicBezTo>
                  <a:pt x="306" y="58"/>
                  <a:pt x="312" y="59"/>
                  <a:pt x="311" y="60"/>
                </a:cubicBezTo>
                <a:cubicBezTo>
                  <a:pt x="311" y="62"/>
                  <a:pt x="309" y="60"/>
                  <a:pt x="308" y="61"/>
                </a:cubicBezTo>
                <a:cubicBezTo>
                  <a:pt x="307" y="61"/>
                  <a:pt x="309" y="63"/>
                  <a:pt x="309" y="64"/>
                </a:cubicBezTo>
                <a:cubicBezTo>
                  <a:pt x="308" y="65"/>
                  <a:pt x="307" y="65"/>
                  <a:pt x="306" y="66"/>
                </a:cubicBezTo>
                <a:cubicBezTo>
                  <a:pt x="306" y="65"/>
                  <a:pt x="308" y="68"/>
                  <a:pt x="306" y="69"/>
                </a:cubicBezTo>
                <a:cubicBezTo>
                  <a:pt x="304" y="70"/>
                  <a:pt x="305" y="67"/>
                  <a:pt x="304" y="67"/>
                </a:cubicBezTo>
                <a:cubicBezTo>
                  <a:pt x="303" y="66"/>
                  <a:pt x="303" y="68"/>
                  <a:pt x="302" y="68"/>
                </a:cubicBezTo>
                <a:cubicBezTo>
                  <a:pt x="301" y="68"/>
                  <a:pt x="301" y="66"/>
                  <a:pt x="299" y="66"/>
                </a:cubicBezTo>
                <a:cubicBezTo>
                  <a:pt x="298" y="66"/>
                  <a:pt x="298" y="67"/>
                  <a:pt x="297" y="67"/>
                </a:cubicBezTo>
                <a:cubicBezTo>
                  <a:pt x="294" y="65"/>
                  <a:pt x="291" y="60"/>
                  <a:pt x="286" y="62"/>
                </a:cubicBezTo>
                <a:cubicBezTo>
                  <a:pt x="285" y="62"/>
                  <a:pt x="286" y="63"/>
                  <a:pt x="287" y="64"/>
                </a:cubicBezTo>
                <a:cubicBezTo>
                  <a:pt x="283" y="64"/>
                  <a:pt x="275" y="63"/>
                  <a:pt x="273" y="57"/>
                </a:cubicBezTo>
                <a:cubicBezTo>
                  <a:pt x="273" y="57"/>
                  <a:pt x="273" y="54"/>
                  <a:pt x="273" y="53"/>
                </a:cubicBezTo>
                <a:cubicBezTo>
                  <a:pt x="273" y="53"/>
                  <a:pt x="274" y="52"/>
                  <a:pt x="275" y="51"/>
                </a:cubicBezTo>
                <a:cubicBezTo>
                  <a:pt x="275" y="51"/>
                  <a:pt x="275" y="50"/>
                  <a:pt x="276" y="50"/>
                </a:cubicBezTo>
                <a:cubicBezTo>
                  <a:pt x="276" y="50"/>
                  <a:pt x="276" y="50"/>
                  <a:pt x="276" y="50"/>
                </a:cubicBezTo>
                <a:cubicBezTo>
                  <a:pt x="276" y="50"/>
                  <a:pt x="276" y="49"/>
                  <a:pt x="277" y="49"/>
                </a:cubicBezTo>
                <a:cubicBezTo>
                  <a:pt x="275" y="48"/>
                  <a:pt x="274" y="46"/>
                  <a:pt x="273" y="45"/>
                </a:cubicBezTo>
                <a:cubicBezTo>
                  <a:pt x="271" y="47"/>
                  <a:pt x="273" y="48"/>
                  <a:pt x="273" y="49"/>
                </a:cubicBezTo>
                <a:cubicBezTo>
                  <a:pt x="273" y="49"/>
                  <a:pt x="272" y="48"/>
                  <a:pt x="272" y="48"/>
                </a:cubicBezTo>
                <a:cubicBezTo>
                  <a:pt x="272" y="49"/>
                  <a:pt x="272" y="50"/>
                  <a:pt x="271" y="51"/>
                </a:cubicBezTo>
                <a:cubicBezTo>
                  <a:pt x="270" y="51"/>
                  <a:pt x="270" y="50"/>
                  <a:pt x="270" y="50"/>
                </a:cubicBezTo>
                <a:cubicBezTo>
                  <a:pt x="268" y="49"/>
                  <a:pt x="270" y="51"/>
                  <a:pt x="267" y="50"/>
                </a:cubicBezTo>
                <a:cubicBezTo>
                  <a:pt x="266" y="49"/>
                  <a:pt x="266" y="46"/>
                  <a:pt x="265" y="45"/>
                </a:cubicBezTo>
                <a:cubicBezTo>
                  <a:pt x="265" y="45"/>
                  <a:pt x="264" y="45"/>
                  <a:pt x="264" y="45"/>
                </a:cubicBezTo>
                <a:cubicBezTo>
                  <a:pt x="264" y="46"/>
                  <a:pt x="263" y="47"/>
                  <a:pt x="263" y="47"/>
                </a:cubicBezTo>
                <a:cubicBezTo>
                  <a:pt x="263" y="47"/>
                  <a:pt x="261" y="45"/>
                  <a:pt x="260" y="47"/>
                </a:cubicBezTo>
                <a:cubicBezTo>
                  <a:pt x="259" y="47"/>
                  <a:pt x="260" y="48"/>
                  <a:pt x="260" y="48"/>
                </a:cubicBezTo>
                <a:cubicBezTo>
                  <a:pt x="259" y="48"/>
                  <a:pt x="255" y="50"/>
                  <a:pt x="256" y="50"/>
                </a:cubicBezTo>
                <a:cubicBezTo>
                  <a:pt x="255" y="50"/>
                  <a:pt x="255" y="49"/>
                  <a:pt x="255" y="49"/>
                </a:cubicBezTo>
                <a:cubicBezTo>
                  <a:pt x="245" y="55"/>
                  <a:pt x="245" y="55"/>
                  <a:pt x="245" y="55"/>
                </a:cubicBezTo>
                <a:cubicBezTo>
                  <a:pt x="246" y="56"/>
                  <a:pt x="246" y="57"/>
                  <a:pt x="247" y="58"/>
                </a:cubicBezTo>
                <a:cubicBezTo>
                  <a:pt x="245" y="59"/>
                  <a:pt x="243" y="58"/>
                  <a:pt x="241" y="57"/>
                </a:cubicBezTo>
                <a:cubicBezTo>
                  <a:pt x="227" y="66"/>
                  <a:pt x="227" y="66"/>
                  <a:pt x="227" y="66"/>
                </a:cubicBezTo>
                <a:cubicBezTo>
                  <a:pt x="227" y="66"/>
                  <a:pt x="227" y="66"/>
                  <a:pt x="227" y="66"/>
                </a:cubicBezTo>
                <a:cubicBezTo>
                  <a:pt x="227" y="66"/>
                  <a:pt x="227" y="66"/>
                  <a:pt x="227" y="66"/>
                </a:cubicBezTo>
                <a:cubicBezTo>
                  <a:pt x="228" y="65"/>
                  <a:pt x="228" y="66"/>
                  <a:pt x="228" y="66"/>
                </a:cubicBezTo>
                <a:cubicBezTo>
                  <a:pt x="229" y="68"/>
                  <a:pt x="230" y="69"/>
                  <a:pt x="232" y="70"/>
                </a:cubicBezTo>
                <a:cubicBezTo>
                  <a:pt x="229" y="69"/>
                  <a:pt x="231" y="72"/>
                  <a:pt x="230" y="73"/>
                </a:cubicBezTo>
                <a:cubicBezTo>
                  <a:pt x="230" y="73"/>
                  <a:pt x="230" y="73"/>
                  <a:pt x="230" y="73"/>
                </a:cubicBezTo>
                <a:cubicBezTo>
                  <a:pt x="230" y="73"/>
                  <a:pt x="230" y="73"/>
                  <a:pt x="230" y="73"/>
                </a:cubicBezTo>
                <a:cubicBezTo>
                  <a:pt x="231" y="73"/>
                  <a:pt x="231" y="72"/>
                  <a:pt x="231" y="72"/>
                </a:cubicBezTo>
                <a:cubicBezTo>
                  <a:pt x="232" y="70"/>
                  <a:pt x="236" y="71"/>
                  <a:pt x="237" y="71"/>
                </a:cubicBezTo>
                <a:cubicBezTo>
                  <a:pt x="238" y="72"/>
                  <a:pt x="237" y="72"/>
                  <a:pt x="237" y="73"/>
                </a:cubicBezTo>
                <a:cubicBezTo>
                  <a:pt x="237" y="74"/>
                  <a:pt x="241" y="76"/>
                  <a:pt x="240" y="79"/>
                </a:cubicBezTo>
                <a:cubicBezTo>
                  <a:pt x="239" y="78"/>
                  <a:pt x="239" y="76"/>
                  <a:pt x="238" y="76"/>
                </a:cubicBezTo>
                <a:cubicBezTo>
                  <a:pt x="237" y="76"/>
                  <a:pt x="237" y="77"/>
                  <a:pt x="237" y="78"/>
                </a:cubicBezTo>
                <a:cubicBezTo>
                  <a:pt x="236" y="79"/>
                  <a:pt x="231" y="77"/>
                  <a:pt x="230" y="74"/>
                </a:cubicBezTo>
                <a:cubicBezTo>
                  <a:pt x="229" y="74"/>
                  <a:pt x="229" y="74"/>
                  <a:pt x="228" y="74"/>
                </a:cubicBezTo>
                <a:cubicBezTo>
                  <a:pt x="227" y="74"/>
                  <a:pt x="227" y="74"/>
                  <a:pt x="227" y="75"/>
                </a:cubicBezTo>
                <a:cubicBezTo>
                  <a:pt x="229" y="76"/>
                  <a:pt x="230" y="78"/>
                  <a:pt x="232" y="79"/>
                </a:cubicBezTo>
                <a:cubicBezTo>
                  <a:pt x="233" y="79"/>
                  <a:pt x="234" y="79"/>
                  <a:pt x="235" y="79"/>
                </a:cubicBezTo>
                <a:cubicBezTo>
                  <a:pt x="236" y="79"/>
                  <a:pt x="236" y="80"/>
                  <a:pt x="237" y="80"/>
                </a:cubicBezTo>
                <a:cubicBezTo>
                  <a:pt x="239" y="80"/>
                  <a:pt x="237" y="78"/>
                  <a:pt x="239" y="79"/>
                </a:cubicBezTo>
                <a:cubicBezTo>
                  <a:pt x="240" y="79"/>
                  <a:pt x="240" y="80"/>
                  <a:pt x="240" y="81"/>
                </a:cubicBezTo>
                <a:cubicBezTo>
                  <a:pt x="240" y="82"/>
                  <a:pt x="237" y="81"/>
                  <a:pt x="236" y="82"/>
                </a:cubicBezTo>
                <a:cubicBezTo>
                  <a:pt x="236" y="82"/>
                  <a:pt x="236" y="84"/>
                  <a:pt x="236" y="85"/>
                </a:cubicBezTo>
                <a:cubicBezTo>
                  <a:pt x="235" y="87"/>
                  <a:pt x="233" y="86"/>
                  <a:pt x="236" y="89"/>
                </a:cubicBezTo>
                <a:cubicBezTo>
                  <a:pt x="232" y="86"/>
                  <a:pt x="234" y="91"/>
                  <a:pt x="234" y="92"/>
                </a:cubicBezTo>
                <a:cubicBezTo>
                  <a:pt x="234" y="91"/>
                  <a:pt x="227" y="93"/>
                  <a:pt x="227" y="93"/>
                </a:cubicBezTo>
                <a:cubicBezTo>
                  <a:pt x="226" y="93"/>
                  <a:pt x="223" y="92"/>
                  <a:pt x="221" y="92"/>
                </a:cubicBezTo>
                <a:cubicBezTo>
                  <a:pt x="221" y="92"/>
                  <a:pt x="222" y="92"/>
                  <a:pt x="222" y="92"/>
                </a:cubicBezTo>
                <a:cubicBezTo>
                  <a:pt x="221" y="93"/>
                  <a:pt x="221" y="92"/>
                  <a:pt x="220" y="92"/>
                </a:cubicBezTo>
                <a:cubicBezTo>
                  <a:pt x="220" y="92"/>
                  <a:pt x="220" y="92"/>
                  <a:pt x="220" y="92"/>
                </a:cubicBezTo>
                <a:cubicBezTo>
                  <a:pt x="220" y="92"/>
                  <a:pt x="220" y="92"/>
                  <a:pt x="221" y="93"/>
                </a:cubicBezTo>
                <a:cubicBezTo>
                  <a:pt x="221" y="93"/>
                  <a:pt x="221" y="93"/>
                  <a:pt x="221" y="93"/>
                </a:cubicBezTo>
                <a:cubicBezTo>
                  <a:pt x="221" y="93"/>
                  <a:pt x="221" y="93"/>
                  <a:pt x="221" y="93"/>
                </a:cubicBezTo>
                <a:cubicBezTo>
                  <a:pt x="221" y="93"/>
                  <a:pt x="221" y="93"/>
                  <a:pt x="221" y="93"/>
                </a:cubicBezTo>
                <a:cubicBezTo>
                  <a:pt x="223" y="96"/>
                  <a:pt x="224" y="101"/>
                  <a:pt x="224" y="105"/>
                </a:cubicBezTo>
                <a:cubicBezTo>
                  <a:pt x="225" y="105"/>
                  <a:pt x="226" y="105"/>
                  <a:pt x="226" y="106"/>
                </a:cubicBezTo>
                <a:cubicBezTo>
                  <a:pt x="226" y="107"/>
                  <a:pt x="225" y="107"/>
                  <a:pt x="224" y="107"/>
                </a:cubicBezTo>
                <a:cubicBezTo>
                  <a:pt x="224" y="107"/>
                  <a:pt x="224" y="108"/>
                  <a:pt x="224" y="108"/>
                </a:cubicBezTo>
                <a:cubicBezTo>
                  <a:pt x="223" y="108"/>
                  <a:pt x="222" y="107"/>
                  <a:pt x="221" y="106"/>
                </a:cubicBezTo>
                <a:cubicBezTo>
                  <a:pt x="221" y="106"/>
                  <a:pt x="221" y="107"/>
                  <a:pt x="221" y="107"/>
                </a:cubicBezTo>
                <a:cubicBezTo>
                  <a:pt x="219" y="107"/>
                  <a:pt x="218" y="106"/>
                  <a:pt x="218" y="105"/>
                </a:cubicBezTo>
                <a:cubicBezTo>
                  <a:pt x="217" y="106"/>
                  <a:pt x="216" y="106"/>
                  <a:pt x="215" y="105"/>
                </a:cubicBezTo>
                <a:cubicBezTo>
                  <a:pt x="214" y="105"/>
                  <a:pt x="214" y="104"/>
                  <a:pt x="214" y="103"/>
                </a:cubicBezTo>
                <a:cubicBezTo>
                  <a:pt x="214" y="103"/>
                  <a:pt x="213" y="104"/>
                  <a:pt x="214" y="105"/>
                </a:cubicBezTo>
                <a:cubicBezTo>
                  <a:pt x="215" y="106"/>
                  <a:pt x="218" y="108"/>
                  <a:pt x="218" y="108"/>
                </a:cubicBezTo>
                <a:cubicBezTo>
                  <a:pt x="218" y="108"/>
                  <a:pt x="219" y="108"/>
                  <a:pt x="219" y="108"/>
                </a:cubicBezTo>
                <a:cubicBezTo>
                  <a:pt x="220" y="111"/>
                  <a:pt x="212" y="112"/>
                  <a:pt x="213" y="109"/>
                </a:cubicBezTo>
                <a:cubicBezTo>
                  <a:pt x="213" y="109"/>
                  <a:pt x="214" y="108"/>
                  <a:pt x="214" y="108"/>
                </a:cubicBezTo>
                <a:cubicBezTo>
                  <a:pt x="214" y="107"/>
                  <a:pt x="210" y="104"/>
                  <a:pt x="209" y="103"/>
                </a:cubicBezTo>
                <a:cubicBezTo>
                  <a:pt x="209" y="102"/>
                  <a:pt x="208" y="102"/>
                  <a:pt x="208" y="101"/>
                </a:cubicBezTo>
                <a:cubicBezTo>
                  <a:pt x="207" y="101"/>
                  <a:pt x="206" y="103"/>
                  <a:pt x="205" y="103"/>
                </a:cubicBezTo>
                <a:cubicBezTo>
                  <a:pt x="204" y="103"/>
                  <a:pt x="204" y="102"/>
                  <a:pt x="203" y="101"/>
                </a:cubicBezTo>
                <a:cubicBezTo>
                  <a:pt x="203" y="101"/>
                  <a:pt x="200" y="100"/>
                  <a:pt x="199" y="101"/>
                </a:cubicBezTo>
                <a:cubicBezTo>
                  <a:pt x="199" y="101"/>
                  <a:pt x="200" y="103"/>
                  <a:pt x="200" y="102"/>
                </a:cubicBezTo>
                <a:cubicBezTo>
                  <a:pt x="200" y="102"/>
                  <a:pt x="199" y="104"/>
                  <a:pt x="197" y="103"/>
                </a:cubicBezTo>
                <a:cubicBezTo>
                  <a:pt x="197" y="103"/>
                  <a:pt x="197" y="103"/>
                  <a:pt x="197" y="103"/>
                </a:cubicBezTo>
                <a:cubicBezTo>
                  <a:pt x="197" y="103"/>
                  <a:pt x="197" y="103"/>
                  <a:pt x="196" y="104"/>
                </a:cubicBezTo>
                <a:cubicBezTo>
                  <a:pt x="197" y="104"/>
                  <a:pt x="198" y="104"/>
                  <a:pt x="199" y="105"/>
                </a:cubicBezTo>
                <a:cubicBezTo>
                  <a:pt x="198" y="104"/>
                  <a:pt x="198" y="104"/>
                  <a:pt x="199" y="104"/>
                </a:cubicBezTo>
                <a:cubicBezTo>
                  <a:pt x="199" y="103"/>
                  <a:pt x="200" y="103"/>
                  <a:pt x="200" y="104"/>
                </a:cubicBezTo>
                <a:cubicBezTo>
                  <a:pt x="201" y="104"/>
                  <a:pt x="202" y="104"/>
                  <a:pt x="201" y="105"/>
                </a:cubicBezTo>
                <a:cubicBezTo>
                  <a:pt x="201" y="106"/>
                  <a:pt x="200" y="105"/>
                  <a:pt x="200" y="105"/>
                </a:cubicBezTo>
                <a:cubicBezTo>
                  <a:pt x="200" y="105"/>
                  <a:pt x="200" y="105"/>
                  <a:pt x="200" y="105"/>
                </a:cubicBezTo>
                <a:cubicBezTo>
                  <a:pt x="200" y="105"/>
                  <a:pt x="200" y="105"/>
                  <a:pt x="200" y="105"/>
                </a:cubicBezTo>
                <a:cubicBezTo>
                  <a:pt x="200" y="105"/>
                  <a:pt x="199" y="105"/>
                  <a:pt x="199" y="105"/>
                </a:cubicBezTo>
                <a:cubicBezTo>
                  <a:pt x="200" y="106"/>
                  <a:pt x="201" y="107"/>
                  <a:pt x="199" y="109"/>
                </a:cubicBezTo>
                <a:cubicBezTo>
                  <a:pt x="198" y="110"/>
                  <a:pt x="197" y="109"/>
                  <a:pt x="196" y="108"/>
                </a:cubicBezTo>
                <a:cubicBezTo>
                  <a:pt x="196" y="109"/>
                  <a:pt x="196" y="109"/>
                  <a:pt x="196" y="109"/>
                </a:cubicBezTo>
                <a:cubicBezTo>
                  <a:pt x="196" y="111"/>
                  <a:pt x="195" y="109"/>
                  <a:pt x="195" y="110"/>
                </a:cubicBezTo>
                <a:cubicBezTo>
                  <a:pt x="194" y="110"/>
                  <a:pt x="195" y="110"/>
                  <a:pt x="195" y="111"/>
                </a:cubicBezTo>
                <a:cubicBezTo>
                  <a:pt x="196" y="111"/>
                  <a:pt x="196" y="111"/>
                  <a:pt x="195" y="111"/>
                </a:cubicBezTo>
                <a:cubicBezTo>
                  <a:pt x="196" y="111"/>
                  <a:pt x="196" y="112"/>
                  <a:pt x="196" y="112"/>
                </a:cubicBezTo>
                <a:cubicBezTo>
                  <a:pt x="195" y="115"/>
                  <a:pt x="191" y="113"/>
                  <a:pt x="189" y="114"/>
                </a:cubicBezTo>
                <a:cubicBezTo>
                  <a:pt x="190" y="115"/>
                  <a:pt x="190" y="117"/>
                  <a:pt x="190" y="117"/>
                </a:cubicBezTo>
                <a:cubicBezTo>
                  <a:pt x="191" y="118"/>
                  <a:pt x="192" y="118"/>
                  <a:pt x="193" y="118"/>
                </a:cubicBezTo>
                <a:cubicBezTo>
                  <a:pt x="194" y="117"/>
                  <a:pt x="195" y="116"/>
                  <a:pt x="197" y="116"/>
                </a:cubicBezTo>
                <a:cubicBezTo>
                  <a:pt x="201" y="117"/>
                  <a:pt x="201" y="123"/>
                  <a:pt x="198" y="125"/>
                </a:cubicBezTo>
                <a:cubicBezTo>
                  <a:pt x="198" y="125"/>
                  <a:pt x="198" y="126"/>
                  <a:pt x="200" y="126"/>
                </a:cubicBezTo>
                <a:cubicBezTo>
                  <a:pt x="199" y="126"/>
                  <a:pt x="199" y="126"/>
                  <a:pt x="198" y="126"/>
                </a:cubicBezTo>
                <a:cubicBezTo>
                  <a:pt x="200" y="127"/>
                  <a:pt x="201" y="130"/>
                  <a:pt x="200" y="132"/>
                </a:cubicBezTo>
                <a:cubicBezTo>
                  <a:pt x="201" y="133"/>
                  <a:pt x="202" y="134"/>
                  <a:pt x="201" y="135"/>
                </a:cubicBezTo>
                <a:cubicBezTo>
                  <a:pt x="201" y="135"/>
                  <a:pt x="200" y="134"/>
                  <a:pt x="200" y="133"/>
                </a:cubicBezTo>
                <a:cubicBezTo>
                  <a:pt x="200" y="133"/>
                  <a:pt x="200" y="133"/>
                  <a:pt x="199" y="133"/>
                </a:cubicBezTo>
                <a:cubicBezTo>
                  <a:pt x="199" y="134"/>
                  <a:pt x="198" y="134"/>
                  <a:pt x="197" y="134"/>
                </a:cubicBezTo>
                <a:cubicBezTo>
                  <a:pt x="196" y="136"/>
                  <a:pt x="196" y="138"/>
                  <a:pt x="193" y="136"/>
                </a:cubicBezTo>
                <a:cubicBezTo>
                  <a:pt x="191" y="136"/>
                  <a:pt x="190" y="137"/>
                  <a:pt x="189" y="137"/>
                </a:cubicBezTo>
                <a:cubicBezTo>
                  <a:pt x="189" y="137"/>
                  <a:pt x="188" y="136"/>
                  <a:pt x="187" y="136"/>
                </a:cubicBezTo>
                <a:cubicBezTo>
                  <a:pt x="189" y="138"/>
                  <a:pt x="191" y="139"/>
                  <a:pt x="193" y="141"/>
                </a:cubicBezTo>
                <a:cubicBezTo>
                  <a:pt x="195" y="138"/>
                  <a:pt x="197" y="136"/>
                  <a:pt x="199" y="140"/>
                </a:cubicBezTo>
                <a:cubicBezTo>
                  <a:pt x="200" y="140"/>
                  <a:pt x="200" y="141"/>
                  <a:pt x="200" y="142"/>
                </a:cubicBezTo>
                <a:cubicBezTo>
                  <a:pt x="200" y="140"/>
                  <a:pt x="205" y="140"/>
                  <a:pt x="203" y="143"/>
                </a:cubicBezTo>
                <a:cubicBezTo>
                  <a:pt x="203" y="144"/>
                  <a:pt x="202" y="143"/>
                  <a:pt x="201" y="143"/>
                </a:cubicBezTo>
                <a:cubicBezTo>
                  <a:pt x="201" y="143"/>
                  <a:pt x="201" y="142"/>
                  <a:pt x="200" y="142"/>
                </a:cubicBezTo>
                <a:cubicBezTo>
                  <a:pt x="201" y="144"/>
                  <a:pt x="202" y="147"/>
                  <a:pt x="203" y="147"/>
                </a:cubicBezTo>
                <a:cubicBezTo>
                  <a:pt x="205" y="149"/>
                  <a:pt x="205" y="148"/>
                  <a:pt x="204" y="150"/>
                </a:cubicBezTo>
                <a:cubicBezTo>
                  <a:pt x="204" y="151"/>
                  <a:pt x="203" y="152"/>
                  <a:pt x="204" y="153"/>
                </a:cubicBezTo>
                <a:cubicBezTo>
                  <a:pt x="204" y="153"/>
                  <a:pt x="209" y="155"/>
                  <a:pt x="206" y="156"/>
                </a:cubicBezTo>
                <a:cubicBezTo>
                  <a:pt x="205" y="156"/>
                  <a:pt x="205" y="155"/>
                  <a:pt x="204" y="155"/>
                </a:cubicBezTo>
                <a:cubicBezTo>
                  <a:pt x="203" y="156"/>
                  <a:pt x="204" y="159"/>
                  <a:pt x="204" y="160"/>
                </a:cubicBezTo>
                <a:cubicBezTo>
                  <a:pt x="203" y="160"/>
                  <a:pt x="200" y="156"/>
                  <a:pt x="199" y="159"/>
                </a:cubicBezTo>
                <a:cubicBezTo>
                  <a:pt x="198" y="160"/>
                  <a:pt x="198" y="160"/>
                  <a:pt x="198" y="160"/>
                </a:cubicBezTo>
                <a:cubicBezTo>
                  <a:pt x="198" y="160"/>
                  <a:pt x="198" y="160"/>
                  <a:pt x="198" y="160"/>
                </a:cubicBezTo>
                <a:cubicBezTo>
                  <a:pt x="196" y="159"/>
                  <a:pt x="196" y="159"/>
                  <a:pt x="195" y="160"/>
                </a:cubicBezTo>
                <a:cubicBezTo>
                  <a:pt x="196" y="161"/>
                  <a:pt x="196" y="162"/>
                  <a:pt x="195" y="163"/>
                </a:cubicBezTo>
                <a:cubicBezTo>
                  <a:pt x="194" y="163"/>
                  <a:pt x="194" y="162"/>
                  <a:pt x="193" y="162"/>
                </a:cubicBezTo>
                <a:cubicBezTo>
                  <a:pt x="193" y="161"/>
                  <a:pt x="193" y="161"/>
                  <a:pt x="193" y="161"/>
                </a:cubicBezTo>
                <a:cubicBezTo>
                  <a:pt x="192" y="162"/>
                  <a:pt x="192" y="163"/>
                  <a:pt x="192" y="164"/>
                </a:cubicBezTo>
                <a:cubicBezTo>
                  <a:pt x="191" y="165"/>
                  <a:pt x="189" y="163"/>
                  <a:pt x="188" y="163"/>
                </a:cubicBezTo>
                <a:cubicBezTo>
                  <a:pt x="185" y="165"/>
                  <a:pt x="189" y="167"/>
                  <a:pt x="189" y="170"/>
                </a:cubicBezTo>
                <a:cubicBezTo>
                  <a:pt x="189" y="170"/>
                  <a:pt x="187" y="172"/>
                  <a:pt x="189" y="173"/>
                </a:cubicBezTo>
                <a:cubicBezTo>
                  <a:pt x="190" y="174"/>
                  <a:pt x="192" y="172"/>
                  <a:pt x="194" y="176"/>
                </a:cubicBezTo>
                <a:cubicBezTo>
                  <a:pt x="194" y="177"/>
                  <a:pt x="197" y="182"/>
                  <a:pt x="195" y="183"/>
                </a:cubicBezTo>
                <a:cubicBezTo>
                  <a:pt x="194" y="183"/>
                  <a:pt x="194" y="181"/>
                  <a:pt x="194" y="181"/>
                </a:cubicBezTo>
                <a:cubicBezTo>
                  <a:pt x="193" y="180"/>
                  <a:pt x="190" y="182"/>
                  <a:pt x="190" y="182"/>
                </a:cubicBezTo>
                <a:cubicBezTo>
                  <a:pt x="189" y="181"/>
                  <a:pt x="189" y="179"/>
                  <a:pt x="188" y="179"/>
                </a:cubicBezTo>
                <a:cubicBezTo>
                  <a:pt x="188" y="179"/>
                  <a:pt x="188" y="179"/>
                  <a:pt x="187" y="180"/>
                </a:cubicBezTo>
                <a:cubicBezTo>
                  <a:pt x="187" y="180"/>
                  <a:pt x="187" y="179"/>
                  <a:pt x="186" y="179"/>
                </a:cubicBezTo>
                <a:cubicBezTo>
                  <a:pt x="185" y="179"/>
                  <a:pt x="184" y="180"/>
                  <a:pt x="183" y="178"/>
                </a:cubicBezTo>
                <a:cubicBezTo>
                  <a:pt x="182" y="179"/>
                  <a:pt x="182" y="179"/>
                  <a:pt x="182" y="179"/>
                </a:cubicBezTo>
                <a:cubicBezTo>
                  <a:pt x="182" y="179"/>
                  <a:pt x="182" y="179"/>
                  <a:pt x="182" y="179"/>
                </a:cubicBezTo>
                <a:cubicBezTo>
                  <a:pt x="182" y="180"/>
                  <a:pt x="181" y="180"/>
                  <a:pt x="180" y="178"/>
                </a:cubicBezTo>
                <a:cubicBezTo>
                  <a:pt x="179" y="178"/>
                  <a:pt x="179" y="178"/>
                  <a:pt x="179" y="178"/>
                </a:cubicBezTo>
                <a:cubicBezTo>
                  <a:pt x="179" y="178"/>
                  <a:pt x="179" y="179"/>
                  <a:pt x="179" y="179"/>
                </a:cubicBezTo>
                <a:cubicBezTo>
                  <a:pt x="179" y="180"/>
                  <a:pt x="179" y="181"/>
                  <a:pt x="179" y="181"/>
                </a:cubicBezTo>
                <a:cubicBezTo>
                  <a:pt x="179" y="182"/>
                  <a:pt x="179" y="182"/>
                  <a:pt x="178" y="182"/>
                </a:cubicBezTo>
                <a:cubicBezTo>
                  <a:pt x="178" y="182"/>
                  <a:pt x="177" y="182"/>
                  <a:pt x="177" y="181"/>
                </a:cubicBezTo>
                <a:cubicBezTo>
                  <a:pt x="176" y="181"/>
                  <a:pt x="175" y="181"/>
                  <a:pt x="175" y="182"/>
                </a:cubicBezTo>
                <a:cubicBezTo>
                  <a:pt x="174" y="181"/>
                  <a:pt x="175" y="178"/>
                  <a:pt x="173" y="176"/>
                </a:cubicBezTo>
                <a:cubicBezTo>
                  <a:pt x="174" y="177"/>
                  <a:pt x="176" y="176"/>
                  <a:pt x="174" y="174"/>
                </a:cubicBezTo>
                <a:cubicBezTo>
                  <a:pt x="173" y="173"/>
                  <a:pt x="173" y="175"/>
                  <a:pt x="173" y="175"/>
                </a:cubicBezTo>
                <a:cubicBezTo>
                  <a:pt x="173" y="175"/>
                  <a:pt x="172" y="174"/>
                  <a:pt x="171" y="174"/>
                </a:cubicBezTo>
                <a:cubicBezTo>
                  <a:pt x="171" y="175"/>
                  <a:pt x="171" y="175"/>
                  <a:pt x="171" y="175"/>
                </a:cubicBezTo>
                <a:cubicBezTo>
                  <a:pt x="172" y="177"/>
                  <a:pt x="173" y="179"/>
                  <a:pt x="172" y="181"/>
                </a:cubicBezTo>
                <a:cubicBezTo>
                  <a:pt x="172" y="181"/>
                  <a:pt x="172" y="181"/>
                  <a:pt x="173" y="181"/>
                </a:cubicBezTo>
                <a:cubicBezTo>
                  <a:pt x="173" y="181"/>
                  <a:pt x="173" y="180"/>
                  <a:pt x="173" y="180"/>
                </a:cubicBezTo>
                <a:cubicBezTo>
                  <a:pt x="174" y="181"/>
                  <a:pt x="173" y="181"/>
                  <a:pt x="172" y="181"/>
                </a:cubicBezTo>
                <a:cubicBezTo>
                  <a:pt x="172" y="182"/>
                  <a:pt x="171" y="182"/>
                  <a:pt x="170" y="182"/>
                </a:cubicBezTo>
                <a:cubicBezTo>
                  <a:pt x="168" y="182"/>
                  <a:pt x="167" y="180"/>
                  <a:pt x="166" y="177"/>
                </a:cubicBezTo>
                <a:cubicBezTo>
                  <a:pt x="166" y="177"/>
                  <a:pt x="165" y="178"/>
                  <a:pt x="164" y="178"/>
                </a:cubicBezTo>
                <a:cubicBezTo>
                  <a:pt x="162" y="177"/>
                  <a:pt x="161" y="174"/>
                  <a:pt x="160" y="175"/>
                </a:cubicBezTo>
                <a:cubicBezTo>
                  <a:pt x="160" y="173"/>
                  <a:pt x="159" y="171"/>
                  <a:pt x="160" y="170"/>
                </a:cubicBezTo>
                <a:cubicBezTo>
                  <a:pt x="161" y="167"/>
                  <a:pt x="162" y="168"/>
                  <a:pt x="160" y="164"/>
                </a:cubicBezTo>
                <a:cubicBezTo>
                  <a:pt x="160" y="164"/>
                  <a:pt x="160" y="163"/>
                  <a:pt x="160" y="162"/>
                </a:cubicBezTo>
                <a:cubicBezTo>
                  <a:pt x="159" y="159"/>
                  <a:pt x="159" y="160"/>
                  <a:pt x="156" y="161"/>
                </a:cubicBezTo>
                <a:cubicBezTo>
                  <a:pt x="158" y="159"/>
                  <a:pt x="156" y="160"/>
                  <a:pt x="155" y="162"/>
                </a:cubicBezTo>
                <a:cubicBezTo>
                  <a:pt x="155" y="162"/>
                  <a:pt x="156" y="162"/>
                  <a:pt x="156" y="162"/>
                </a:cubicBezTo>
                <a:cubicBezTo>
                  <a:pt x="156" y="162"/>
                  <a:pt x="155" y="162"/>
                  <a:pt x="155" y="162"/>
                </a:cubicBezTo>
                <a:cubicBezTo>
                  <a:pt x="155" y="163"/>
                  <a:pt x="155" y="163"/>
                  <a:pt x="155" y="163"/>
                </a:cubicBezTo>
                <a:cubicBezTo>
                  <a:pt x="155" y="163"/>
                  <a:pt x="158" y="164"/>
                  <a:pt x="156" y="165"/>
                </a:cubicBezTo>
                <a:cubicBezTo>
                  <a:pt x="156" y="166"/>
                  <a:pt x="152" y="162"/>
                  <a:pt x="152" y="166"/>
                </a:cubicBezTo>
                <a:cubicBezTo>
                  <a:pt x="150" y="160"/>
                  <a:pt x="148" y="168"/>
                  <a:pt x="147" y="171"/>
                </a:cubicBezTo>
                <a:cubicBezTo>
                  <a:pt x="146" y="172"/>
                  <a:pt x="144" y="172"/>
                  <a:pt x="143" y="173"/>
                </a:cubicBezTo>
                <a:cubicBezTo>
                  <a:pt x="142" y="174"/>
                  <a:pt x="142" y="174"/>
                  <a:pt x="141" y="174"/>
                </a:cubicBezTo>
                <a:cubicBezTo>
                  <a:pt x="141" y="174"/>
                  <a:pt x="141" y="174"/>
                  <a:pt x="141" y="174"/>
                </a:cubicBezTo>
                <a:cubicBezTo>
                  <a:pt x="140" y="175"/>
                  <a:pt x="140" y="175"/>
                  <a:pt x="139" y="176"/>
                </a:cubicBezTo>
                <a:cubicBezTo>
                  <a:pt x="140" y="176"/>
                  <a:pt x="140" y="177"/>
                  <a:pt x="139" y="177"/>
                </a:cubicBezTo>
                <a:cubicBezTo>
                  <a:pt x="140" y="177"/>
                  <a:pt x="140" y="177"/>
                  <a:pt x="140" y="178"/>
                </a:cubicBezTo>
                <a:cubicBezTo>
                  <a:pt x="141" y="178"/>
                  <a:pt x="142" y="179"/>
                  <a:pt x="142" y="181"/>
                </a:cubicBezTo>
                <a:cubicBezTo>
                  <a:pt x="143" y="182"/>
                  <a:pt x="142" y="183"/>
                  <a:pt x="141" y="183"/>
                </a:cubicBezTo>
                <a:cubicBezTo>
                  <a:pt x="141" y="184"/>
                  <a:pt x="142" y="185"/>
                  <a:pt x="142" y="186"/>
                </a:cubicBezTo>
                <a:cubicBezTo>
                  <a:pt x="141" y="187"/>
                  <a:pt x="141" y="185"/>
                  <a:pt x="140" y="184"/>
                </a:cubicBezTo>
                <a:cubicBezTo>
                  <a:pt x="139" y="184"/>
                  <a:pt x="138" y="184"/>
                  <a:pt x="138" y="183"/>
                </a:cubicBezTo>
                <a:cubicBezTo>
                  <a:pt x="138" y="184"/>
                  <a:pt x="138" y="187"/>
                  <a:pt x="138" y="187"/>
                </a:cubicBezTo>
                <a:cubicBezTo>
                  <a:pt x="138" y="187"/>
                  <a:pt x="138" y="187"/>
                  <a:pt x="138" y="188"/>
                </a:cubicBezTo>
                <a:cubicBezTo>
                  <a:pt x="139" y="186"/>
                  <a:pt x="139" y="185"/>
                  <a:pt x="139" y="185"/>
                </a:cubicBezTo>
                <a:cubicBezTo>
                  <a:pt x="139" y="186"/>
                  <a:pt x="139" y="187"/>
                  <a:pt x="139" y="189"/>
                </a:cubicBezTo>
                <a:cubicBezTo>
                  <a:pt x="140" y="189"/>
                  <a:pt x="140" y="189"/>
                  <a:pt x="140" y="189"/>
                </a:cubicBezTo>
                <a:cubicBezTo>
                  <a:pt x="140" y="188"/>
                  <a:pt x="142" y="189"/>
                  <a:pt x="142" y="191"/>
                </a:cubicBezTo>
                <a:cubicBezTo>
                  <a:pt x="143" y="191"/>
                  <a:pt x="143" y="192"/>
                  <a:pt x="142" y="193"/>
                </a:cubicBezTo>
                <a:cubicBezTo>
                  <a:pt x="142" y="193"/>
                  <a:pt x="141" y="192"/>
                  <a:pt x="141" y="192"/>
                </a:cubicBezTo>
                <a:cubicBezTo>
                  <a:pt x="140" y="192"/>
                  <a:pt x="139" y="193"/>
                  <a:pt x="140" y="192"/>
                </a:cubicBezTo>
                <a:cubicBezTo>
                  <a:pt x="140" y="192"/>
                  <a:pt x="140" y="191"/>
                  <a:pt x="140" y="191"/>
                </a:cubicBezTo>
                <a:cubicBezTo>
                  <a:pt x="140" y="191"/>
                  <a:pt x="140" y="191"/>
                  <a:pt x="140" y="191"/>
                </a:cubicBezTo>
                <a:cubicBezTo>
                  <a:pt x="140" y="191"/>
                  <a:pt x="140" y="190"/>
                  <a:pt x="139" y="190"/>
                </a:cubicBezTo>
                <a:cubicBezTo>
                  <a:pt x="139" y="191"/>
                  <a:pt x="139" y="192"/>
                  <a:pt x="138" y="192"/>
                </a:cubicBezTo>
                <a:cubicBezTo>
                  <a:pt x="138" y="192"/>
                  <a:pt x="138" y="191"/>
                  <a:pt x="138" y="190"/>
                </a:cubicBezTo>
                <a:cubicBezTo>
                  <a:pt x="138" y="190"/>
                  <a:pt x="137" y="190"/>
                  <a:pt x="137" y="191"/>
                </a:cubicBezTo>
                <a:cubicBezTo>
                  <a:pt x="137" y="192"/>
                  <a:pt x="138" y="192"/>
                  <a:pt x="138" y="193"/>
                </a:cubicBezTo>
                <a:cubicBezTo>
                  <a:pt x="138" y="194"/>
                  <a:pt x="134" y="195"/>
                  <a:pt x="137" y="197"/>
                </a:cubicBezTo>
                <a:cubicBezTo>
                  <a:pt x="137" y="197"/>
                  <a:pt x="138" y="196"/>
                  <a:pt x="138" y="196"/>
                </a:cubicBezTo>
                <a:cubicBezTo>
                  <a:pt x="138" y="196"/>
                  <a:pt x="138" y="196"/>
                  <a:pt x="138" y="196"/>
                </a:cubicBezTo>
                <a:cubicBezTo>
                  <a:pt x="138" y="196"/>
                  <a:pt x="138" y="195"/>
                  <a:pt x="138" y="195"/>
                </a:cubicBezTo>
                <a:cubicBezTo>
                  <a:pt x="139" y="194"/>
                  <a:pt x="140" y="195"/>
                  <a:pt x="139" y="196"/>
                </a:cubicBezTo>
                <a:cubicBezTo>
                  <a:pt x="139" y="196"/>
                  <a:pt x="139" y="196"/>
                  <a:pt x="139" y="196"/>
                </a:cubicBezTo>
                <a:cubicBezTo>
                  <a:pt x="140" y="197"/>
                  <a:pt x="138" y="201"/>
                  <a:pt x="139" y="202"/>
                </a:cubicBezTo>
                <a:cubicBezTo>
                  <a:pt x="138" y="200"/>
                  <a:pt x="137" y="202"/>
                  <a:pt x="136" y="203"/>
                </a:cubicBezTo>
                <a:cubicBezTo>
                  <a:pt x="137" y="205"/>
                  <a:pt x="138" y="207"/>
                  <a:pt x="139" y="208"/>
                </a:cubicBezTo>
                <a:cubicBezTo>
                  <a:pt x="138" y="207"/>
                  <a:pt x="136" y="205"/>
                  <a:pt x="136" y="203"/>
                </a:cubicBezTo>
                <a:cubicBezTo>
                  <a:pt x="135" y="204"/>
                  <a:pt x="134" y="205"/>
                  <a:pt x="134" y="204"/>
                </a:cubicBezTo>
                <a:cubicBezTo>
                  <a:pt x="132" y="203"/>
                  <a:pt x="133" y="199"/>
                  <a:pt x="131" y="198"/>
                </a:cubicBezTo>
                <a:cubicBezTo>
                  <a:pt x="130" y="198"/>
                  <a:pt x="131" y="199"/>
                  <a:pt x="131" y="199"/>
                </a:cubicBezTo>
                <a:cubicBezTo>
                  <a:pt x="129" y="199"/>
                  <a:pt x="128" y="197"/>
                  <a:pt x="127" y="200"/>
                </a:cubicBezTo>
                <a:cubicBezTo>
                  <a:pt x="127" y="200"/>
                  <a:pt x="126" y="205"/>
                  <a:pt x="127" y="207"/>
                </a:cubicBezTo>
                <a:cubicBezTo>
                  <a:pt x="127" y="210"/>
                  <a:pt x="127" y="211"/>
                  <a:pt x="126" y="214"/>
                </a:cubicBezTo>
                <a:cubicBezTo>
                  <a:pt x="126" y="211"/>
                  <a:pt x="123" y="210"/>
                  <a:pt x="123" y="207"/>
                </a:cubicBezTo>
                <a:cubicBezTo>
                  <a:pt x="122" y="203"/>
                  <a:pt x="125" y="199"/>
                  <a:pt x="124" y="197"/>
                </a:cubicBezTo>
                <a:cubicBezTo>
                  <a:pt x="124" y="197"/>
                  <a:pt x="120" y="193"/>
                  <a:pt x="120" y="193"/>
                </a:cubicBezTo>
                <a:cubicBezTo>
                  <a:pt x="120" y="192"/>
                  <a:pt x="121" y="191"/>
                  <a:pt x="120" y="190"/>
                </a:cubicBezTo>
                <a:cubicBezTo>
                  <a:pt x="120" y="191"/>
                  <a:pt x="120" y="191"/>
                  <a:pt x="119" y="192"/>
                </a:cubicBezTo>
                <a:cubicBezTo>
                  <a:pt x="120" y="192"/>
                  <a:pt x="120" y="192"/>
                  <a:pt x="120" y="192"/>
                </a:cubicBezTo>
                <a:cubicBezTo>
                  <a:pt x="120" y="193"/>
                  <a:pt x="121" y="194"/>
                  <a:pt x="121" y="195"/>
                </a:cubicBezTo>
                <a:cubicBezTo>
                  <a:pt x="121" y="195"/>
                  <a:pt x="121" y="195"/>
                  <a:pt x="121" y="195"/>
                </a:cubicBezTo>
                <a:cubicBezTo>
                  <a:pt x="121" y="195"/>
                  <a:pt x="121" y="195"/>
                  <a:pt x="121" y="195"/>
                </a:cubicBezTo>
                <a:cubicBezTo>
                  <a:pt x="121" y="197"/>
                  <a:pt x="121" y="198"/>
                  <a:pt x="120" y="198"/>
                </a:cubicBezTo>
                <a:cubicBezTo>
                  <a:pt x="120" y="198"/>
                  <a:pt x="119" y="198"/>
                  <a:pt x="119" y="198"/>
                </a:cubicBezTo>
                <a:cubicBezTo>
                  <a:pt x="118" y="198"/>
                  <a:pt x="117" y="197"/>
                  <a:pt x="117" y="196"/>
                </a:cubicBezTo>
                <a:cubicBezTo>
                  <a:pt x="116" y="195"/>
                  <a:pt x="117" y="192"/>
                  <a:pt x="118" y="192"/>
                </a:cubicBezTo>
                <a:cubicBezTo>
                  <a:pt x="118" y="192"/>
                  <a:pt x="118" y="192"/>
                  <a:pt x="118" y="192"/>
                </a:cubicBezTo>
                <a:cubicBezTo>
                  <a:pt x="117" y="192"/>
                  <a:pt x="117" y="190"/>
                  <a:pt x="117" y="189"/>
                </a:cubicBezTo>
                <a:cubicBezTo>
                  <a:pt x="116" y="189"/>
                  <a:pt x="116" y="189"/>
                  <a:pt x="116" y="190"/>
                </a:cubicBezTo>
                <a:cubicBezTo>
                  <a:pt x="116" y="190"/>
                  <a:pt x="116" y="190"/>
                  <a:pt x="116" y="190"/>
                </a:cubicBezTo>
                <a:cubicBezTo>
                  <a:pt x="116" y="191"/>
                  <a:pt x="116" y="191"/>
                  <a:pt x="115" y="190"/>
                </a:cubicBezTo>
                <a:cubicBezTo>
                  <a:pt x="114" y="192"/>
                  <a:pt x="114" y="194"/>
                  <a:pt x="113" y="196"/>
                </a:cubicBezTo>
                <a:cubicBezTo>
                  <a:pt x="112" y="194"/>
                  <a:pt x="112" y="194"/>
                  <a:pt x="111" y="194"/>
                </a:cubicBezTo>
                <a:cubicBezTo>
                  <a:pt x="112" y="196"/>
                  <a:pt x="112" y="199"/>
                  <a:pt x="110" y="197"/>
                </a:cubicBezTo>
                <a:cubicBezTo>
                  <a:pt x="110" y="197"/>
                  <a:pt x="110" y="196"/>
                  <a:pt x="110" y="196"/>
                </a:cubicBezTo>
                <a:cubicBezTo>
                  <a:pt x="109" y="197"/>
                  <a:pt x="109" y="197"/>
                  <a:pt x="108" y="197"/>
                </a:cubicBezTo>
                <a:cubicBezTo>
                  <a:pt x="110" y="200"/>
                  <a:pt x="111" y="202"/>
                  <a:pt x="112" y="205"/>
                </a:cubicBezTo>
                <a:cubicBezTo>
                  <a:pt x="113" y="208"/>
                  <a:pt x="109" y="203"/>
                  <a:pt x="109" y="202"/>
                </a:cubicBezTo>
                <a:cubicBezTo>
                  <a:pt x="108" y="201"/>
                  <a:pt x="108" y="199"/>
                  <a:pt x="107" y="197"/>
                </a:cubicBezTo>
                <a:cubicBezTo>
                  <a:pt x="107" y="197"/>
                  <a:pt x="106" y="196"/>
                  <a:pt x="106" y="196"/>
                </a:cubicBezTo>
                <a:cubicBezTo>
                  <a:pt x="106" y="196"/>
                  <a:pt x="106" y="195"/>
                  <a:pt x="106" y="194"/>
                </a:cubicBezTo>
                <a:cubicBezTo>
                  <a:pt x="105" y="193"/>
                  <a:pt x="104" y="192"/>
                  <a:pt x="103" y="191"/>
                </a:cubicBezTo>
                <a:cubicBezTo>
                  <a:pt x="102" y="190"/>
                  <a:pt x="101" y="189"/>
                  <a:pt x="100" y="190"/>
                </a:cubicBezTo>
                <a:cubicBezTo>
                  <a:pt x="100" y="190"/>
                  <a:pt x="100" y="191"/>
                  <a:pt x="99" y="191"/>
                </a:cubicBezTo>
                <a:cubicBezTo>
                  <a:pt x="99" y="191"/>
                  <a:pt x="99" y="191"/>
                  <a:pt x="99" y="191"/>
                </a:cubicBezTo>
                <a:cubicBezTo>
                  <a:pt x="99" y="192"/>
                  <a:pt x="99" y="192"/>
                  <a:pt x="99" y="192"/>
                </a:cubicBezTo>
                <a:cubicBezTo>
                  <a:pt x="99" y="193"/>
                  <a:pt x="99" y="195"/>
                  <a:pt x="98" y="194"/>
                </a:cubicBezTo>
                <a:cubicBezTo>
                  <a:pt x="98" y="195"/>
                  <a:pt x="98" y="195"/>
                  <a:pt x="98" y="195"/>
                </a:cubicBezTo>
                <a:cubicBezTo>
                  <a:pt x="96" y="195"/>
                  <a:pt x="96" y="194"/>
                  <a:pt x="95" y="192"/>
                </a:cubicBezTo>
                <a:cubicBezTo>
                  <a:pt x="94" y="192"/>
                  <a:pt x="94" y="192"/>
                  <a:pt x="93" y="192"/>
                </a:cubicBezTo>
                <a:cubicBezTo>
                  <a:pt x="93" y="192"/>
                  <a:pt x="93" y="191"/>
                  <a:pt x="93" y="191"/>
                </a:cubicBezTo>
                <a:cubicBezTo>
                  <a:pt x="92" y="193"/>
                  <a:pt x="92" y="194"/>
                  <a:pt x="92" y="196"/>
                </a:cubicBezTo>
                <a:cubicBezTo>
                  <a:pt x="92" y="197"/>
                  <a:pt x="92" y="199"/>
                  <a:pt x="91" y="199"/>
                </a:cubicBezTo>
                <a:cubicBezTo>
                  <a:pt x="91" y="200"/>
                  <a:pt x="90" y="201"/>
                  <a:pt x="89" y="201"/>
                </a:cubicBezTo>
                <a:cubicBezTo>
                  <a:pt x="90" y="202"/>
                  <a:pt x="90" y="202"/>
                  <a:pt x="89" y="203"/>
                </a:cubicBezTo>
                <a:cubicBezTo>
                  <a:pt x="88" y="204"/>
                  <a:pt x="86" y="205"/>
                  <a:pt x="85" y="203"/>
                </a:cubicBezTo>
                <a:cubicBezTo>
                  <a:pt x="85" y="203"/>
                  <a:pt x="85" y="203"/>
                  <a:pt x="85" y="203"/>
                </a:cubicBezTo>
                <a:cubicBezTo>
                  <a:pt x="85" y="203"/>
                  <a:pt x="84" y="203"/>
                  <a:pt x="84" y="203"/>
                </a:cubicBezTo>
                <a:cubicBezTo>
                  <a:pt x="84" y="204"/>
                  <a:pt x="85" y="205"/>
                  <a:pt x="84" y="206"/>
                </a:cubicBezTo>
                <a:cubicBezTo>
                  <a:pt x="85" y="206"/>
                  <a:pt x="86" y="207"/>
                  <a:pt x="86" y="207"/>
                </a:cubicBezTo>
                <a:cubicBezTo>
                  <a:pt x="87" y="207"/>
                  <a:pt x="87" y="209"/>
                  <a:pt x="88" y="210"/>
                </a:cubicBezTo>
                <a:cubicBezTo>
                  <a:pt x="90" y="211"/>
                  <a:pt x="90" y="212"/>
                  <a:pt x="91" y="213"/>
                </a:cubicBezTo>
                <a:cubicBezTo>
                  <a:pt x="91" y="214"/>
                  <a:pt x="92" y="213"/>
                  <a:pt x="92" y="213"/>
                </a:cubicBezTo>
                <a:cubicBezTo>
                  <a:pt x="92" y="215"/>
                  <a:pt x="91" y="216"/>
                  <a:pt x="92" y="216"/>
                </a:cubicBezTo>
                <a:cubicBezTo>
                  <a:pt x="92" y="216"/>
                  <a:pt x="92" y="217"/>
                  <a:pt x="92" y="217"/>
                </a:cubicBezTo>
                <a:cubicBezTo>
                  <a:pt x="92" y="217"/>
                  <a:pt x="92" y="217"/>
                  <a:pt x="92" y="217"/>
                </a:cubicBezTo>
                <a:cubicBezTo>
                  <a:pt x="92" y="217"/>
                  <a:pt x="92" y="217"/>
                  <a:pt x="92" y="218"/>
                </a:cubicBezTo>
                <a:cubicBezTo>
                  <a:pt x="92" y="219"/>
                  <a:pt x="93" y="219"/>
                  <a:pt x="93" y="220"/>
                </a:cubicBezTo>
                <a:cubicBezTo>
                  <a:pt x="93" y="220"/>
                  <a:pt x="92" y="219"/>
                  <a:pt x="92" y="219"/>
                </a:cubicBezTo>
                <a:cubicBezTo>
                  <a:pt x="90" y="221"/>
                  <a:pt x="87" y="226"/>
                  <a:pt x="86" y="226"/>
                </a:cubicBezTo>
                <a:cubicBezTo>
                  <a:pt x="84" y="226"/>
                  <a:pt x="83" y="222"/>
                  <a:pt x="81" y="220"/>
                </a:cubicBezTo>
                <a:cubicBezTo>
                  <a:pt x="80" y="220"/>
                  <a:pt x="79" y="222"/>
                  <a:pt x="78" y="221"/>
                </a:cubicBezTo>
                <a:cubicBezTo>
                  <a:pt x="77" y="219"/>
                  <a:pt x="79" y="219"/>
                  <a:pt x="80" y="218"/>
                </a:cubicBezTo>
                <a:cubicBezTo>
                  <a:pt x="80" y="217"/>
                  <a:pt x="80" y="213"/>
                  <a:pt x="80" y="210"/>
                </a:cubicBezTo>
                <a:cubicBezTo>
                  <a:pt x="80" y="209"/>
                  <a:pt x="81" y="208"/>
                  <a:pt x="81" y="207"/>
                </a:cubicBezTo>
                <a:cubicBezTo>
                  <a:pt x="80" y="206"/>
                  <a:pt x="79" y="202"/>
                  <a:pt x="79" y="201"/>
                </a:cubicBezTo>
                <a:cubicBezTo>
                  <a:pt x="78" y="201"/>
                  <a:pt x="78" y="203"/>
                  <a:pt x="77" y="203"/>
                </a:cubicBezTo>
                <a:cubicBezTo>
                  <a:pt x="77" y="202"/>
                  <a:pt x="78" y="201"/>
                  <a:pt x="78" y="200"/>
                </a:cubicBezTo>
                <a:cubicBezTo>
                  <a:pt x="77" y="198"/>
                  <a:pt x="76" y="194"/>
                  <a:pt x="76" y="192"/>
                </a:cubicBezTo>
                <a:cubicBezTo>
                  <a:pt x="75" y="192"/>
                  <a:pt x="74" y="192"/>
                  <a:pt x="74" y="193"/>
                </a:cubicBezTo>
                <a:cubicBezTo>
                  <a:pt x="74" y="194"/>
                  <a:pt x="75" y="194"/>
                  <a:pt x="75" y="194"/>
                </a:cubicBezTo>
                <a:cubicBezTo>
                  <a:pt x="75" y="194"/>
                  <a:pt x="74" y="197"/>
                  <a:pt x="73" y="200"/>
                </a:cubicBezTo>
                <a:cubicBezTo>
                  <a:pt x="73" y="201"/>
                  <a:pt x="73" y="201"/>
                  <a:pt x="72" y="202"/>
                </a:cubicBezTo>
                <a:cubicBezTo>
                  <a:pt x="72" y="202"/>
                  <a:pt x="72" y="202"/>
                  <a:pt x="72" y="202"/>
                </a:cubicBezTo>
                <a:cubicBezTo>
                  <a:pt x="72" y="202"/>
                  <a:pt x="72" y="202"/>
                  <a:pt x="72" y="202"/>
                </a:cubicBezTo>
                <a:cubicBezTo>
                  <a:pt x="71" y="202"/>
                  <a:pt x="70" y="202"/>
                  <a:pt x="70" y="202"/>
                </a:cubicBezTo>
                <a:cubicBezTo>
                  <a:pt x="68" y="205"/>
                  <a:pt x="70" y="208"/>
                  <a:pt x="69" y="210"/>
                </a:cubicBezTo>
                <a:cubicBezTo>
                  <a:pt x="69" y="210"/>
                  <a:pt x="69" y="211"/>
                  <a:pt x="69" y="212"/>
                </a:cubicBezTo>
                <a:cubicBezTo>
                  <a:pt x="69" y="212"/>
                  <a:pt x="69" y="212"/>
                  <a:pt x="69" y="212"/>
                </a:cubicBezTo>
                <a:cubicBezTo>
                  <a:pt x="70" y="212"/>
                  <a:pt x="73" y="217"/>
                  <a:pt x="71" y="218"/>
                </a:cubicBezTo>
                <a:cubicBezTo>
                  <a:pt x="70" y="219"/>
                  <a:pt x="68" y="218"/>
                  <a:pt x="67" y="216"/>
                </a:cubicBezTo>
                <a:cubicBezTo>
                  <a:pt x="67" y="216"/>
                  <a:pt x="67" y="216"/>
                  <a:pt x="67" y="216"/>
                </a:cubicBezTo>
                <a:cubicBezTo>
                  <a:pt x="66" y="216"/>
                  <a:pt x="66" y="216"/>
                  <a:pt x="66" y="216"/>
                </a:cubicBezTo>
                <a:cubicBezTo>
                  <a:pt x="66" y="216"/>
                  <a:pt x="66" y="216"/>
                  <a:pt x="66" y="216"/>
                </a:cubicBezTo>
                <a:cubicBezTo>
                  <a:pt x="66" y="216"/>
                  <a:pt x="66" y="216"/>
                  <a:pt x="66" y="216"/>
                </a:cubicBezTo>
                <a:cubicBezTo>
                  <a:pt x="66" y="217"/>
                  <a:pt x="66" y="219"/>
                  <a:pt x="66" y="219"/>
                </a:cubicBezTo>
                <a:cubicBezTo>
                  <a:pt x="66" y="219"/>
                  <a:pt x="66" y="219"/>
                  <a:pt x="66" y="220"/>
                </a:cubicBezTo>
                <a:cubicBezTo>
                  <a:pt x="67" y="220"/>
                  <a:pt x="68" y="220"/>
                  <a:pt x="68" y="220"/>
                </a:cubicBezTo>
                <a:cubicBezTo>
                  <a:pt x="70" y="221"/>
                  <a:pt x="70" y="224"/>
                  <a:pt x="72" y="226"/>
                </a:cubicBezTo>
                <a:cubicBezTo>
                  <a:pt x="73" y="227"/>
                  <a:pt x="76" y="230"/>
                  <a:pt x="76" y="231"/>
                </a:cubicBezTo>
                <a:cubicBezTo>
                  <a:pt x="76" y="232"/>
                  <a:pt x="74" y="233"/>
                  <a:pt x="73" y="233"/>
                </a:cubicBezTo>
                <a:cubicBezTo>
                  <a:pt x="73" y="234"/>
                  <a:pt x="74" y="234"/>
                  <a:pt x="74" y="234"/>
                </a:cubicBezTo>
                <a:cubicBezTo>
                  <a:pt x="75" y="235"/>
                  <a:pt x="74" y="236"/>
                  <a:pt x="73" y="237"/>
                </a:cubicBezTo>
                <a:cubicBezTo>
                  <a:pt x="73" y="238"/>
                  <a:pt x="73" y="239"/>
                  <a:pt x="72" y="239"/>
                </a:cubicBezTo>
                <a:cubicBezTo>
                  <a:pt x="72" y="239"/>
                  <a:pt x="71" y="238"/>
                  <a:pt x="70" y="237"/>
                </a:cubicBezTo>
                <a:cubicBezTo>
                  <a:pt x="69" y="236"/>
                  <a:pt x="68" y="235"/>
                  <a:pt x="70" y="234"/>
                </a:cubicBezTo>
                <a:cubicBezTo>
                  <a:pt x="70" y="233"/>
                  <a:pt x="70" y="233"/>
                  <a:pt x="68" y="234"/>
                </a:cubicBezTo>
                <a:cubicBezTo>
                  <a:pt x="68" y="235"/>
                  <a:pt x="68" y="236"/>
                  <a:pt x="67" y="236"/>
                </a:cubicBezTo>
                <a:cubicBezTo>
                  <a:pt x="66" y="236"/>
                  <a:pt x="65" y="235"/>
                  <a:pt x="65" y="234"/>
                </a:cubicBezTo>
                <a:cubicBezTo>
                  <a:pt x="64" y="235"/>
                  <a:pt x="63" y="237"/>
                  <a:pt x="62" y="237"/>
                </a:cubicBezTo>
                <a:cubicBezTo>
                  <a:pt x="62" y="237"/>
                  <a:pt x="59" y="236"/>
                  <a:pt x="58" y="235"/>
                </a:cubicBezTo>
                <a:cubicBezTo>
                  <a:pt x="58" y="234"/>
                  <a:pt x="57" y="231"/>
                  <a:pt x="57" y="231"/>
                </a:cubicBezTo>
                <a:cubicBezTo>
                  <a:pt x="56" y="231"/>
                  <a:pt x="56" y="232"/>
                  <a:pt x="56" y="233"/>
                </a:cubicBezTo>
                <a:cubicBezTo>
                  <a:pt x="56" y="233"/>
                  <a:pt x="57" y="233"/>
                  <a:pt x="57" y="233"/>
                </a:cubicBezTo>
                <a:cubicBezTo>
                  <a:pt x="57" y="233"/>
                  <a:pt x="57" y="233"/>
                  <a:pt x="57" y="233"/>
                </a:cubicBezTo>
                <a:cubicBezTo>
                  <a:pt x="57" y="233"/>
                  <a:pt x="57" y="233"/>
                  <a:pt x="57" y="233"/>
                </a:cubicBezTo>
                <a:cubicBezTo>
                  <a:pt x="57" y="234"/>
                  <a:pt x="58" y="235"/>
                  <a:pt x="57" y="236"/>
                </a:cubicBezTo>
                <a:cubicBezTo>
                  <a:pt x="57" y="236"/>
                  <a:pt x="57" y="236"/>
                  <a:pt x="56" y="236"/>
                </a:cubicBezTo>
                <a:cubicBezTo>
                  <a:pt x="56" y="236"/>
                  <a:pt x="56" y="237"/>
                  <a:pt x="56" y="237"/>
                </a:cubicBezTo>
                <a:cubicBezTo>
                  <a:pt x="56" y="237"/>
                  <a:pt x="56" y="237"/>
                  <a:pt x="55" y="236"/>
                </a:cubicBezTo>
                <a:cubicBezTo>
                  <a:pt x="55" y="236"/>
                  <a:pt x="55" y="237"/>
                  <a:pt x="55" y="237"/>
                </a:cubicBezTo>
                <a:cubicBezTo>
                  <a:pt x="54" y="236"/>
                  <a:pt x="54" y="233"/>
                  <a:pt x="55" y="233"/>
                </a:cubicBezTo>
                <a:cubicBezTo>
                  <a:pt x="55" y="232"/>
                  <a:pt x="55" y="230"/>
                  <a:pt x="56" y="230"/>
                </a:cubicBezTo>
                <a:cubicBezTo>
                  <a:pt x="56" y="230"/>
                  <a:pt x="57" y="231"/>
                  <a:pt x="57" y="231"/>
                </a:cubicBezTo>
                <a:cubicBezTo>
                  <a:pt x="58" y="230"/>
                  <a:pt x="57" y="229"/>
                  <a:pt x="57" y="229"/>
                </a:cubicBezTo>
                <a:cubicBezTo>
                  <a:pt x="57" y="228"/>
                  <a:pt x="58" y="227"/>
                  <a:pt x="58" y="226"/>
                </a:cubicBezTo>
                <a:cubicBezTo>
                  <a:pt x="58" y="225"/>
                  <a:pt x="58" y="224"/>
                  <a:pt x="59" y="224"/>
                </a:cubicBezTo>
                <a:cubicBezTo>
                  <a:pt x="60" y="223"/>
                  <a:pt x="60" y="224"/>
                  <a:pt x="60" y="225"/>
                </a:cubicBezTo>
                <a:cubicBezTo>
                  <a:pt x="61" y="225"/>
                  <a:pt x="61" y="225"/>
                  <a:pt x="61" y="225"/>
                </a:cubicBezTo>
                <a:cubicBezTo>
                  <a:pt x="61" y="224"/>
                  <a:pt x="61" y="222"/>
                  <a:pt x="62" y="221"/>
                </a:cubicBezTo>
                <a:cubicBezTo>
                  <a:pt x="62" y="221"/>
                  <a:pt x="62" y="222"/>
                  <a:pt x="63" y="222"/>
                </a:cubicBezTo>
                <a:cubicBezTo>
                  <a:pt x="62" y="220"/>
                  <a:pt x="62" y="219"/>
                  <a:pt x="61" y="218"/>
                </a:cubicBezTo>
                <a:cubicBezTo>
                  <a:pt x="61" y="218"/>
                  <a:pt x="61" y="217"/>
                  <a:pt x="61" y="217"/>
                </a:cubicBezTo>
                <a:cubicBezTo>
                  <a:pt x="60" y="218"/>
                  <a:pt x="60" y="218"/>
                  <a:pt x="59" y="218"/>
                </a:cubicBezTo>
                <a:cubicBezTo>
                  <a:pt x="57" y="219"/>
                  <a:pt x="58" y="213"/>
                  <a:pt x="60" y="216"/>
                </a:cubicBezTo>
                <a:cubicBezTo>
                  <a:pt x="60" y="216"/>
                  <a:pt x="60" y="216"/>
                  <a:pt x="60" y="215"/>
                </a:cubicBezTo>
                <a:cubicBezTo>
                  <a:pt x="60" y="214"/>
                  <a:pt x="59" y="212"/>
                  <a:pt x="58" y="213"/>
                </a:cubicBezTo>
                <a:cubicBezTo>
                  <a:pt x="57" y="213"/>
                  <a:pt x="58" y="216"/>
                  <a:pt x="57" y="216"/>
                </a:cubicBezTo>
                <a:cubicBezTo>
                  <a:pt x="56" y="217"/>
                  <a:pt x="54" y="213"/>
                  <a:pt x="54" y="213"/>
                </a:cubicBezTo>
                <a:cubicBezTo>
                  <a:pt x="54" y="213"/>
                  <a:pt x="53" y="213"/>
                  <a:pt x="53" y="213"/>
                </a:cubicBezTo>
                <a:cubicBezTo>
                  <a:pt x="55" y="215"/>
                  <a:pt x="55" y="219"/>
                  <a:pt x="55" y="221"/>
                </a:cubicBezTo>
                <a:cubicBezTo>
                  <a:pt x="54" y="223"/>
                  <a:pt x="51" y="223"/>
                  <a:pt x="51" y="224"/>
                </a:cubicBezTo>
                <a:cubicBezTo>
                  <a:pt x="51" y="226"/>
                  <a:pt x="51" y="228"/>
                  <a:pt x="52" y="230"/>
                </a:cubicBezTo>
                <a:cubicBezTo>
                  <a:pt x="51" y="229"/>
                  <a:pt x="51" y="228"/>
                  <a:pt x="50" y="227"/>
                </a:cubicBezTo>
                <a:cubicBezTo>
                  <a:pt x="49" y="227"/>
                  <a:pt x="50" y="226"/>
                  <a:pt x="49" y="225"/>
                </a:cubicBezTo>
                <a:cubicBezTo>
                  <a:pt x="49" y="225"/>
                  <a:pt x="49" y="225"/>
                  <a:pt x="48" y="225"/>
                </a:cubicBezTo>
                <a:cubicBezTo>
                  <a:pt x="48" y="226"/>
                  <a:pt x="48" y="226"/>
                  <a:pt x="48" y="226"/>
                </a:cubicBezTo>
                <a:cubicBezTo>
                  <a:pt x="47" y="227"/>
                  <a:pt x="47" y="226"/>
                  <a:pt x="47" y="225"/>
                </a:cubicBezTo>
                <a:cubicBezTo>
                  <a:pt x="47" y="225"/>
                  <a:pt x="46" y="225"/>
                  <a:pt x="46" y="225"/>
                </a:cubicBezTo>
                <a:cubicBezTo>
                  <a:pt x="45" y="225"/>
                  <a:pt x="44" y="225"/>
                  <a:pt x="43" y="225"/>
                </a:cubicBezTo>
                <a:cubicBezTo>
                  <a:pt x="43" y="225"/>
                  <a:pt x="43" y="226"/>
                  <a:pt x="42" y="226"/>
                </a:cubicBezTo>
                <a:cubicBezTo>
                  <a:pt x="42" y="226"/>
                  <a:pt x="42" y="226"/>
                  <a:pt x="42" y="226"/>
                </a:cubicBezTo>
                <a:cubicBezTo>
                  <a:pt x="42" y="226"/>
                  <a:pt x="42" y="226"/>
                  <a:pt x="42" y="226"/>
                </a:cubicBezTo>
                <a:cubicBezTo>
                  <a:pt x="41" y="226"/>
                  <a:pt x="41" y="226"/>
                  <a:pt x="40" y="225"/>
                </a:cubicBezTo>
                <a:cubicBezTo>
                  <a:pt x="39" y="225"/>
                  <a:pt x="38" y="225"/>
                  <a:pt x="37" y="225"/>
                </a:cubicBezTo>
                <a:cubicBezTo>
                  <a:pt x="37" y="225"/>
                  <a:pt x="36" y="225"/>
                  <a:pt x="36" y="225"/>
                </a:cubicBezTo>
                <a:cubicBezTo>
                  <a:pt x="36" y="226"/>
                  <a:pt x="36" y="226"/>
                  <a:pt x="35" y="226"/>
                </a:cubicBezTo>
                <a:cubicBezTo>
                  <a:pt x="35" y="226"/>
                  <a:pt x="35" y="226"/>
                  <a:pt x="34" y="225"/>
                </a:cubicBezTo>
                <a:cubicBezTo>
                  <a:pt x="33" y="225"/>
                  <a:pt x="32" y="224"/>
                  <a:pt x="31" y="224"/>
                </a:cubicBezTo>
                <a:cubicBezTo>
                  <a:pt x="31" y="224"/>
                  <a:pt x="31" y="224"/>
                  <a:pt x="31" y="224"/>
                </a:cubicBezTo>
                <a:cubicBezTo>
                  <a:pt x="31" y="226"/>
                  <a:pt x="31" y="228"/>
                  <a:pt x="30" y="228"/>
                </a:cubicBezTo>
                <a:cubicBezTo>
                  <a:pt x="28" y="229"/>
                  <a:pt x="27" y="225"/>
                  <a:pt x="27" y="223"/>
                </a:cubicBezTo>
                <a:cubicBezTo>
                  <a:pt x="28" y="225"/>
                  <a:pt x="28" y="224"/>
                  <a:pt x="29" y="223"/>
                </a:cubicBezTo>
                <a:cubicBezTo>
                  <a:pt x="28" y="223"/>
                  <a:pt x="27" y="223"/>
                  <a:pt x="27" y="223"/>
                </a:cubicBezTo>
                <a:cubicBezTo>
                  <a:pt x="26" y="224"/>
                  <a:pt x="25" y="224"/>
                  <a:pt x="25" y="223"/>
                </a:cubicBezTo>
                <a:cubicBezTo>
                  <a:pt x="24" y="223"/>
                  <a:pt x="25" y="221"/>
                  <a:pt x="26" y="220"/>
                </a:cubicBezTo>
                <a:cubicBezTo>
                  <a:pt x="26" y="220"/>
                  <a:pt x="26" y="220"/>
                  <a:pt x="26" y="220"/>
                </a:cubicBezTo>
                <a:cubicBezTo>
                  <a:pt x="26" y="219"/>
                  <a:pt x="25" y="218"/>
                  <a:pt x="23" y="216"/>
                </a:cubicBezTo>
                <a:cubicBezTo>
                  <a:pt x="23" y="217"/>
                  <a:pt x="22" y="217"/>
                  <a:pt x="22" y="217"/>
                </a:cubicBezTo>
                <a:cubicBezTo>
                  <a:pt x="22" y="216"/>
                  <a:pt x="22" y="216"/>
                  <a:pt x="23" y="215"/>
                </a:cubicBezTo>
                <a:cubicBezTo>
                  <a:pt x="22" y="215"/>
                  <a:pt x="22" y="215"/>
                  <a:pt x="22" y="215"/>
                </a:cubicBezTo>
                <a:cubicBezTo>
                  <a:pt x="22" y="215"/>
                  <a:pt x="21" y="216"/>
                  <a:pt x="21" y="216"/>
                </a:cubicBezTo>
                <a:cubicBezTo>
                  <a:pt x="20" y="217"/>
                  <a:pt x="18" y="217"/>
                  <a:pt x="18" y="219"/>
                </a:cubicBezTo>
                <a:cubicBezTo>
                  <a:pt x="17" y="219"/>
                  <a:pt x="18" y="218"/>
                  <a:pt x="17" y="218"/>
                </a:cubicBezTo>
                <a:cubicBezTo>
                  <a:pt x="18" y="220"/>
                  <a:pt x="16" y="219"/>
                  <a:pt x="16" y="221"/>
                </a:cubicBezTo>
                <a:cubicBezTo>
                  <a:pt x="19" y="219"/>
                  <a:pt x="20" y="220"/>
                  <a:pt x="21" y="223"/>
                </a:cubicBezTo>
                <a:cubicBezTo>
                  <a:pt x="21" y="222"/>
                  <a:pt x="22" y="222"/>
                  <a:pt x="22" y="223"/>
                </a:cubicBezTo>
                <a:cubicBezTo>
                  <a:pt x="22" y="223"/>
                  <a:pt x="22" y="223"/>
                  <a:pt x="23" y="223"/>
                </a:cubicBezTo>
                <a:cubicBezTo>
                  <a:pt x="23" y="223"/>
                  <a:pt x="23" y="223"/>
                  <a:pt x="23" y="223"/>
                </a:cubicBezTo>
                <a:cubicBezTo>
                  <a:pt x="23" y="223"/>
                  <a:pt x="23" y="223"/>
                  <a:pt x="23" y="223"/>
                </a:cubicBezTo>
                <a:cubicBezTo>
                  <a:pt x="24" y="224"/>
                  <a:pt x="25" y="226"/>
                  <a:pt x="25" y="226"/>
                </a:cubicBezTo>
                <a:cubicBezTo>
                  <a:pt x="25" y="226"/>
                  <a:pt x="25" y="228"/>
                  <a:pt x="25" y="228"/>
                </a:cubicBezTo>
                <a:cubicBezTo>
                  <a:pt x="27" y="228"/>
                  <a:pt x="31" y="229"/>
                  <a:pt x="31" y="231"/>
                </a:cubicBezTo>
                <a:cubicBezTo>
                  <a:pt x="32" y="232"/>
                  <a:pt x="31" y="236"/>
                  <a:pt x="31" y="237"/>
                </a:cubicBezTo>
                <a:cubicBezTo>
                  <a:pt x="31" y="237"/>
                  <a:pt x="29" y="237"/>
                  <a:pt x="29" y="238"/>
                </a:cubicBezTo>
                <a:cubicBezTo>
                  <a:pt x="27" y="241"/>
                  <a:pt x="27" y="237"/>
                  <a:pt x="26" y="242"/>
                </a:cubicBezTo>
                <a:cubicBezTo>
                  <a:pt x="25" y="241"/>
                  <a:pt x="24" y="239"/>
                  <a:pt x="23" y="239"/>
                </a:cubicBezTo>
                <a:cubicBezTo>
                  <a:pt x="23" y="239"/>
                  <a:pt x="21" y="239"/>
                  <a:pt x="22" y="239"/>
                </a:cubicBezTo>
                <a:cubicBezTo>
                  <a:pt x="20" y="238"/>
                  <a:pt x="22" y="235"/>
                  <a:pt x="20" y="233"/>
                </a:cubicBezTo>
                <a:cubicBezTo>
                  <a:pt x="20" y="234"/>
                  <a:pt x="20" y="235"/>
                  <a:pt x="19" y="236"/>
                </a:cubicBezTo>
                <a:cubicBezTo>
                  <a:pt x="20" y="237"/>
                  <a:pt x="20" y="238"/>
                  <a:pt x="18" y="238"/>
                </a:cubicBezTo>
                <a:cubicBezTo>
                  <a:pt x="22" y="239"/>
                  <a:pt x="22" y="249"/>
                  <a:pt x="17" y="249"/>
                </a:cubicBezTo>
                <a:cubicBezTo>
                  <a:pt x="17" y="249"/>
                  <a:pt x="17" y="249"/>
                  <a:pt x="17" y="249"/>
                </a:cubicBezTo>
                <a:cubicBezTo>
                  <a:pt x="17" y="249"/>
                  <a:pt x="17" y="249"/>
                  <a:pt x="17" y="250"/>
                </a:cubicBezTo>
                <a:cubicBezTo>
                  <a:pt x="20" y="251"/>
                  <a:pt x="21" y="254"/>
                  <a:pt x="20" y="258"/>
                </a:cubicBezTo>
                <a:cubicBezTo>
                  <a:pt x="20" y="257"/>
                  <a:pt x="20" y="258"/>
                  <a:pt x="20" y="258"/>
                </a:cubicBezTo>
                <a:cubicBezTo>
                  <a:pt x="21" y="261"/>
                  <a:pt x="23" y="263"/>
                  <a:pt x="23" y="265"/>
                </a:cubicBezTo>
                <a:cubicBezTo>
                  <a:pt x="23" y="266"/>
                  <a:pt x="23" y="267"/>
                  <a:pt x="23" y="268"/>
                </a:cubicBezTo>
                <a:cubicBezTo>
                  <a:pt x="23" y="270"/>
                  <a:pt x="27" y="272"/>
                  <a:pt x="26" y="275"/>
                </a:cubicBezTo>
                <a:cubicBezTo>
                  <a:pt x="26" y="276"/>
                  <a:pt x="26" y="275"/>
                  <a:pt x="27" y="277"/>
                </a:cubicBezTo>
                <a:cubicBezTo>
                  <a:pt x="27" y="278"/>
                  <a:pt x="28" y="280"/>
                  <a:pt x="28" y="281"/>
                </a:cubicBezTo>
                <a:cubicBezTo>
                  <a:pt x="29" y="282"/>
                  <a:pt x="30" y="285"/>
                  <a:pt x="30" y="285"/>
                </a:cubicBezTo>
                <a:cubicBezTo>
                  <a:pt x="32" y="287"/>
                  <a:pt x="32" y="285"/>
                  <a:pt x="32" y="287"/>
                </a:cubicBezTo>
                <a:cubicBezTo>
                  <a:pt x="31" y="288"/>
                  <a:pt x="32" y="288"/>
                  <a:pt x="32" y="289"/>
                </a:cubicBezTo>
                <a:cubicBezTo>
                  <a:pt x="32" y="288"/>
                  <a:pt x="32" y="288"/>
                  <a:pt x="32" y="288"/>
                </a:cubicBezTo>
                <a:cubicBezTo>
                  <a:pt x="33" y="287"/>
                  <a:pt x="34" y="290"/>
                  <a:pt x="33" y="290"/>
                </a:cubicBezTo>
                <a:cubicBezTo>
                  <a:pt x="33" y="291"/>
                  <a:pt x="34" y="291"/>
                  <a:pt x="34" y="292"/>
                </a:cubicBezTo>
                <a:cubicBezTo>
                  <a:pt x="34" y="292"/>
                  <a:pt x="35" y="292"/>
                  <a:pt x="35" y="292"/>
                </a:cubicBezTo>
                <a:cubicBezTo>
                  <a:pt x="36" y="288"/>
                  <a:pt x="34" y="286"/>
                  <a:pt x="38" y="288"/>
                </a:cubicBezTo>
                <a:cubicBezTo>
                  <a:pt x="39" y="288"/>
                  <a:pt x="39" y="287"/>
                  <a:pt x="40" y="288"/>
                </a:cubicBezTo>
                <a:cubicBezTo>
                  <a:pt x="42" y="289"/>
                  <a:pt x="39" y="291"/>
                  <a:pt x="38" y="290"/>
                </a:cubicBezTo>
                <a:cubicBezTo>
                  <a:pt x="39" y="291"/>
                  <a:pt x="40" y="291"/>
                  <a:pt x="41" y="289"/>
                </a:cubicBezTo>
                <a:cubicBezTo>
                  <a:pt x="42" y="289"/>
                  <a:pt x="42" y="292"/>
                  <a:pt x="41" y="293"/>
                </a:cubicBezTo>
                <a:cubicBezTo>
                  <a:pt x="41" y="293"/>
                  <a:pt x="38" y="295"/>
                  <a:pt x="37" y="296"/>
                </a:cubicBezTo>
                <a:cubicBezTo>
                  <a:pt x="37" y="297"/>
                  <a:pt x="38" y="298"/>
                  <a:pt x="38" y="299"/>
                </a:cubicBezTo>
                <a:cubicBezTo>
                  <a:pt x="40" y="301"/>
                  <a:pt x="40" y="304"/>
                  <a:pt x="41" y="306"/>
                </a:cubicBezTo>
                <a:cubicBezTo>
                  <a:pt x="42" y="307"/>
                  <a:pt x="42" y="307"/>
                  <a:pt x="42" y="309"/>
                </a:cubicBezTo>
                <a:cubicBezTo>
                  <a:pt x="42" y="310"/>
                  <a:pt x="43" y="310"/>
                  <a:pt x="43" y="311"/>
                </a:cubicBezTo>
                <a:cubicBezTo>
                  <a:pt x="44" y="313"/>
                  <a:pt x="45" y="316"/>
                  <a:pt x="46" y="318"/>
                </a:cubicBezTo>
                <a:cubicBezTo>
                  <a:pt x="46" y="318"/>
                  <a:pt x="46" y="317"/>
                  <a:pt x="46" y="318"/>
                </a:cubicBezTo>
                <a:cubicBezTo>
                  <a:pt x="46" y="318"/>
                  <a:pt x="46" y="318"/>
                  <a:pt x="46" y="318"/>
                </a:cubicBezTo>
                <a:cubicBezTo>
                  <a:pt x="46" y="319"/>
                  <a:pt x="46" y="319"/>
                  <a:pt x="47" y="320"/>
                </a:cubicBezTo>
                <a:cubicBezTo>
                  <a:pt x="47" y="320"/>
                  <a:pt x="47" y="324"/>
                  <a:pt x="48" y="324"/>
                </a:cubicBezTo>
                <a:cubicBezTo>
                  <a:pt x="48" y="324"/>
                  <a:pt x="47" y="317"/>
                  <a:pt x="51" y="319"/>
                </a:cubicBezTo>
                <a:cubicBezTo>
                  <a:pt x="51" y="319"/>
                  <a:pt x="52" y="319"/>
                  <a:pt x="52" y="320"/>
                </a:cubicBezTo>
                <a:cubicBezTo>
                  <a:pt x="51" y="316"/>
                  <a:pt x="51" y="310"/>
                  <a:pt x="53" y="306"/>
                </a:cubicBezTo>
                <a:cubicBezTo>
                  <a:pt x="50" y="306"/>
                  <a:pt x="50" y="314"/>
                  <a:pt x="47" y="314"/>
                </a:cubicBezTo>
                <a:cubicBezTo>
                  <a:pt x="45" y="314"/>
                  <a:pt x="48" y="308"/>
                  <a:pt x="46" y="306"/>
                </a:cubicBezTo>
                <a:cubicBezTo>
                  <a:pt x="45" y="305"/>
                  <a:pt x="45" y="306"/>
                  <a:pt x="44" y="305"/>
                </a:cubicBezTo>
                <a:cubicBezTo>
                  <a:pt x="44" y="304"/>
                  <a:pt x="46" y="301"/>
                  <a:pt x="43" y="301"/>
                </a:cubicBezTo>
                <a:cubicBezTo>
                  <a:pt x="40" y="302"/>
                  <a:pt x="46" y="290"/>
                  <a:pt x="49" y="289"/>
                </a:cubicBezTo>
                <a:cubicBezTo>
                  <a:pt x="51" y="289"/>
                  <a:pt x="55" y="290"/>
                  <a:pt x="55" y="291"/>
                </a:cubicBezTo>
                <a:cubicBezTo>
                  <a:pt x="55" y="291"/>
                  <a:pt x="56" y="298"/>
                  <a:pt x="56" y="298"/>
                </a:cubicBezTo>
                <a:cubicBezTo>
                  <a:pt x="56" y="299"/>
                  <a:pt x="56" y="300"/>
                  <a:pt x="56" y="301"/>
                </a:cubicBezTo>
                <a:cubicBezTo>
                  <a:pt x="56" y="301"/>
                  <a:pt x="56" y="301"/>
                  <a:pt x="57" y="300"/>
                </a:cubicBezTo>
                <a:cubicBezTo>
                  <a:pt x="58" y="300"/>
                  <a:pt x="60" y="299"/>
                  <a:pt x="61" y="300"/>
                </a:cubicBezTo>
                <a:cubicBezTo>
                  <a:pt x="66" y="303"/>
                  <a:pt x="64" y="314"/>
                  <a:pt x="63" y="319"/>
                </a:cubicBezTo>
                <a:cubicBezTo>
                  <a:pt x="63" y="318"/>
                  <a:pt x="64" y="318"/>
                  <a:pt x="65" y="318"/>
                </a:cubicBezTo>
                <a:cubicBezTo>
                  <a:pt x="68" y="319"/>
                  <a:pt x="67" y="328"/>
                  <a:pt x="64" y="328"/>
                </a:cubicBezTo>
                <a:cubicBezTo>
                  <a:pt x="64" y="328"/>
                  <a:pt x="64" y="330"/>
                  <a:pt x="63" y="330"/>
                </a:cubicBezTo>
                <a:cubicBezTo>
                  <a:pt x="63" y="330"/>
                  <a:pt x="62" y="328"/>
                  <a:pt x="63" y="328"/>
                </a:cubicBezTo>
                <a:cubicBezTo>
                  <a:pt x="61" y="327"/>
                  <a:pt x="61" y="324"/>
                  <a:pt x="61" y="322"/>
                </a:cubicBezTo>
                <a:cubicBezTo>
                  <a:pt x="61" y="321"/>
                  <a:pt x="60" y="319"/>
                  <a:pt x="58" y="318"/>
                </a:cubicBezTo>
                <a:cubicBezTo>
                  <a:pt x="58" y="318"/>
                  <a:pt x="56" y="319"/>
                  <a:pt x="56" y="319"/>
                </a:cubicBezTo>
                <a:cubicBezTo>
                  <a:pt x="56" y="318"/>
                  <a:pt x="55" y="316"/>
                  <a:pt x="54" y="316"/>
                </a:cubicBezTo>
                <a:cubicBezTo>
                  <a:pt x="52" y="316"/>
                  <a:pt x="53" y="319"/>
                  <a:pt x="52" y="321"/>
                </a:cubicBezTo>
                <a:cubicBezTo>
                  <a:pt x="53" y="324"/>
                  <a:pt x="52" y="328"/>
                  <a:pt x="51" y="329"/>
                </a:cubicBezTo>
                <a:cubicBezTo>
                  <a:pt x="50" y="329"/>
                  <a:pt x="49" y="329"/>
                  <a:pt x="49" y="329"/>
                </a:cubicBezTo>
                <a:cubicBezTo>
                  <a:pt x="49" y="330"/>
                  <a:pt x="50" y="330"/>
                  <a:pt x="50" y="331"/>
                </a:cubicBezTo>
                <a:cubicBezTo>
                  <a:pt x="51" y="332"/>
                  <a:pt x="52" y="333"/>
                  <a:pt x="53" y="334"/>
                </a:cubicBezTo>
                <a:cubicBezTo>
                  <a:pt x="53" y="335"/>
                  <a:pt x="53" y="335"/>
                  <a:pt x="53" y="336"/>
                </a:cubicBezTo>
                <a:cubicBezTo>
                  <a:pt x="56" y="333"/>
                  <a:pt x="57" y="335"/>
                  <a:pt x="56" y="337"/>
                </a:cubicBezTo>
                <a:cubicBezTo>
                  <a:pt x="57" y="338"/>
                  <a:pt x="57" y="339"/>
                  <a:pt x="57" y="339"/>
                </a:cubicBezTo>
                <a:cubicBezTo>
                  <a:pt x="57" y="340"/>
                  <a:pt x="56" y="340"/>
                  <a:pt x="56" y="339"/>
                </a:cubicBezTo>
                <a:cubicBezTo>
                  <a:pt x="56" y="340"/>
                  <a:pt x="56" y="341"/>
                  <a:pt x="55" y="341"/>
                </a:cubicBezTo>
                <a:cubicBezTo>
                  <a:pt x="55" y="341"/>
                  <a:pt x="56" y="342"/>
                  <a:pt x="56" y="342"/>
                </a:cubicBezTo>
                <a:cubicBezTo>
                  <a:pt x="56" y="343"/>
                  <a:pt x="57" y="343"/>
                  <a:pt x="57" y="343"/>
                </a:cubicBezTo>
                <a:cubicBezTo>
                  <a:pt x="58" y="344"/>
                  <a:pt x="57" y="345"/>
                  <a:pt x="57" y="345"/>
                </a:cubicBezTo>
                <a:cubicBezTo>
                  <a:pt x="58" y="346"/>
                  <a:pt x="59" y="347"/>
                  <a:pt x="60" y="348"/>
                </a:cubicBezTo>
                <a:cubicBezTo>
                  <a:pt x="60" y="348"/>
                  <a:pt x="61" y="348"/>
                  <a:pt x="61" y="350"/>
                </a:cubicBezTo>
                <a:cubicBezTo>
                  <a:pt x="62" y="351"/>
                  <a:pt x="62" y="351"/>
                  <a:pt x="63" y="352"/>
                </a:cubicBezTo>
                <a:cubicBezTo>
                  <a:pt x="65" y="356"/>
                  <a:pt x="66" y="361"/>
                  <a:pt x="68" y="365"/>
                </a:cubicBezTo>
                <a:cubicBezTo>
                  <a:pt x="68" y="366"/>
                  <a:pt x="68" y="366"/>
                  <a:pt x="68" y="366"/>
                </a:cubicBezTo>
                <a:cubicBezTo>
                  <a:pt x="68" y="366"/>
                  <a:pt x="69" y="365"/>
                  <a:pt x="68" y="365"/>
                </a:cubicBezTo>
                <a:cubicBezTo>
                  <a:pt x="68" y="364"/>
                  <a:pt x="69" y="362"/>
                  <a:pt x="71" y="361"/>
                </a:cubicBezTo>
                <a:cubicBezTo>
                  <a:pt x="71" y="360"/>
                  <a:pt x="71" y="360"/>
                  <a:pt x="71" y="360"/>
                </a:cubicBezTo>
                <a:cubicBezTo>
                  <a:pt x="72" y="360"/>
                  <a:pt x="74" y="359"/>
                  <a:pt x="75" y="359"/>
                </a:cubicBezTo>
                <a:cubicBezTo>
                  <a:pt x="82" y="360"/>
                  <a:pt x="82" y="374"/>
                  <a:pt x="79" y="380"/>
                </a:cubicBezTo>
                <a:cubicBezTo>
                  <a:pt x="79" y="381"/>
                  <a:pt x="77" y="383"/>
                  <a:pt x="75" y="384"/>
                </a:cubicBezTo>
                <a:cubicBezTo>
                  <a:pt x="76" y="386"/>
                  <a:pt x="77" y="388"/>
                  <a:pt x="76" y="388"/>
                </a:cubicBezTo>
                <a:cubicBezTo>
                  <a:pt x="75" y="389"/>
                  <a:pt x="75" y="387"/>
                  <a:pt x="74" y="385"/>
                </a:cubicBezTo>
                <a:cubicBezTo>
                  <a:pt x="74" y="385"/>
                  <a:pt x="74" y="385"/>
                  <a:pt x="74" y="385"/>
                </a:cubicBezTo>
                <a:cubicBezTo>
                  <a:pt x="73" y="386"/>
                  <a:pt x="73" y="388"/>
                  <a:pt x="72" y="388"/>
                </a:cubicBezTo>
                <a:cubicBezTo>
                  <a:pt x="71" y="388"/>
                  <a:pt x="69" y="384"/>
                  <a:pt x="67" y="380"/>
                </a:cubicBezTo>
                <a:cubicBezTo>
                  <a:pt x="68" y="385"/>
                  <a:pt x="68" y="392"/>
                  <a:pt x="69" y="397"/>
                </a:cubicBezTo>
                <a:cubicBezTo>
                  <a:pt x="69" y="397"/>
                  <a:pt x="71" y="404"/>
                  <a:pt x="70" y="404"/>
                </a:cubicBezTo>
                <a:cubicBezTo>
                  <a:pt x="69" y="405"/>
                  <a:pt x="69" y="398"/>
                  <a:pt x="69" y="397"/>
                </a:cubicBezTo>
                <a:cubicBezTo>
                  <a:pt x="68" y="391"/>
                  <a:pt x="66" y="381"/>
                  <a:pt x="65" y="375"/>
                </a:cubicBezTo>
                <a:cubicBezTo>
                  <a:pt x="65" y="375"/>
                  <a:pt x="65" y="374"/>
                  <a:pt x="65" y="374"/>
                </a:cubicBezTo>
                <a:cubicBezTo>
                  <a:pt x="65" y="374"/>
                  <a:pt x="65" y="374"/>
                  <a:pt x="66" y="374"/>
                </a:cubicBezTo>
                <a:cubicBezTo>
                  <a:pt x="66" y="374"/>
                  <a:pt x="66" y="375"/>
                  <a:pt x="66" y="375"/>
                </a:cubicBezTo>
                <a:cubicBezTo>
                  <a:pt x="66" y="374"/>
                  <a:pt x="66" y="373"/>
                  <a:pt x="66" y="371"/>
                </a:cubicBezTo>
                <a:cubicBezTo>
                  <a:pt x="65" y="371"/>
                  <a:pt x="64" y="370"/>
                  <a:pt x="64" y="370"/>
                </a:cubicBezTo>
                <a:cubicBezTo>
                  <a:pt x="64" y="369"/>
                  <a:pt x="65" y="369"/>
                  <a:pt x="65" y="369"/>
                </a:cubicBezTo>
                <a:cubicBezTo>
                  <a:pt x="64" y="368"/>
                  <a:pt x="64" y="368"/>
                  <a:pt x="63" y="367"/>
                </a:cubicBezTo>
                <a:cubicBezTo>
                  <a:pt x="62" y="366"/>
                  <a:pt x="62" y="364"/>
                  <a:pt x="62" y="362"/>
                </a:cubicBezTo>
                <a:cubicBezTo>
                  <a:pt x="61" y="361"/>
                  <a:pt x="60" y="359"/>
                  <a:pt x="58" y="357"/>
                </a:cubicBezTo>
                <a:cubicBezTo>
                  <a:pt x="58" y="357"/>
                  <a:pt x="59" y="357"/>
                  <a:pt x="59" y="356"/>
                </a:cubicBezTo>
                <a:cubicBezTo>
                  <a:pt x="58" y="355"/>
                  <a:pt x="55" y="353"/>
                  <a:pt x="55" y="352"/>
                </a:cubicBezTo>
                <a:cubicBezTo>
                  <a:pt x="55" y="352"/>
                  <a:pt x="55" y="351"/>
                  <a:pt x="55" y="350"/>
                </a:cubicBezTo>
                <a:cubicBezTo>
                  <a:pt x="55" y="348"/>
                  <a:pt x="53" y="347"/>
                  <a:pt x="53" y="345"/>
                </a:cubicBezTo>
                <a:cubicBezTo>
                  <a:pt x="52" y="343"/>
                  <a:pt x="51" y="341"/>
                  <a:pt x="51" y="340"/>
                </a:cubicBezTo>
                <a:cubicBezTo>
                  <a:pt x="51" y="340"/>
                  <a:pt x="51" y="340"/>
                  <a:pt x="51" y="340"/>
                </a:cubicBezTo>
                <a:cubicBezTo>
                  <a:pt x="51" y="339"/>
                  <a:pt x="50" y="339"/>
                  <a:pt x="50" y="338"/>
                </a:cubicBezTo>
                <a:cubicBezTo>
                  <a:pt x="50" y="338"/>
                  <a:pt x="50" y="337"/>
                  <a:pt x="50" y="337"/>
                </a:cubicBezTo>
                <a:cubicBezTo>
                  <a:pt x="50" y="336"/>
                  <a:pt x="49" y="336"/>
                  <a:pt x="49" y="336"/>
                </a:cubicBezTo>
                <a:cubicBezTo>
                  <a:pt x="49" y="335"/>
                  <a:pt x="50" y="335"/>
                  <a:pt x="49" y="334"/>
                </a:cubicBezTo>
                <a:cubicBezTo>
                  <a:pt x="49" y="334"/>
                  <a:pt x="48" y="334"/>
                  <a:pt x="48" y="333"/>
                </a:cubicBezTo>
                <a:cubicBezTo>
                  <a:pt x="48" y="333"/>
                  <a:pt x="48" y="332"/>
                  <a:pt x="48" y="332"/>
                </a:cubicBezTo>
                <a:cubicBezTo>
                  <a:pt x="48" y="331"/>
                  <a:pt x="47" y="331"/>
                  <a:pt x="46" y="330"/>
                </a:cubicBezTo>
                <a:cubicBezTo>
                  <a:pt x="45" y="329"/>
                  <a:pt x="46" y="327"/>
                  <a:pt x="45" y="326"/>
                </a:cubicBezTo>
                <a:cubicBezTo>
                  <a:pt x="42" y="323"/>
                  <a:pt x="41" y="319"/>
                  <a:pt x="38" y="315"/>
                </a:cubicBezTo>
                <a:cubicBezTo>
                  <a:pt x="37" y="312"/>
                  <a:pt x="35" y="309"/>
                  <a:pt x="34" y="306"/>
                </a:cubicBezTo>
                <a:cubicBezTo>
                  <a:pt x="34" y="306"/>
                  <a:pt x="34" y="307"/>
                  <a:pt x="33" y="307"/>
                </a:cubicBezTo>
                <a:cubicBezTo>
                  <a:pt x="33" y="310"/>
                  <a:pt x="29" y="311"/>
                  <a:pt x="29" y="312"/>
                </a:cubicBezTo>
                <a:cubicBezTo>
                  <a:pt x="29" y="313"/>
                  <a:pt x="30" y="314"/>
                  <a:pt x="30" y="314"/>
                </a:cubicBezTo>
                <a:cubicBezTo>
                  <a:pt x="30" y="314"/>
                  <a:pt x="30" y="314"/>
                  <a:pt x="30" y="314"/>
                </a:cubicBezTo>
                <a:cubicBezTo>
                  <a:pt x="30" y="314"/>
                  <a:pt x="30" y="314"/>
                  <a:pt x="30" y="315"/>
                </a:cubicBezTo>
                <a:cubicBezTo>
                  <a:pt x="31" y="316"/>
                  <a:pt x="32" y="316"/>
                  <a:pt x="32" y="317"/>
                </a:cubicBezTo>
                <a:cubicBezTo>
                  <a:pt x="33" y="319"/>
                  <a:pt x="32" y="319"/>
                  <a:pt x="32" y="320"/>
                </a:cubicBezTo>
                <a:cubicBezTo>
                  <a:pt x="32" y="320"/>
                  <a:pt x="32" y="320"/>
                  <a:pt x="32" y="320"/>
                </a:cubicBezTo>
                <a:cubicBezTo>
                  <a:pt x="32" y="321"/>
                  <a:pt x="33" y="321"/>
                  <a:pt x="33" y="321"/>
                </a:cubicBezTo>
                <a:cubicBezTo>
                  <a:pt x="34" y="322"/>
                  <a:pt x="34" y="326"/>
                  <a:pt x="33" y="327"/>
                </a:cubicBezTo>
                <a:cubicBezTo>
                  <a:pt x="33" y="327"/>
                  <a:pt x="32" y="326"/>
                  <a:pt x="31" y="325"/>
                </a:cubicBezTo>
                <a:cubicBezTo>
                  <a:pt x="31" y="325"/>
                  <a:pt x="31" y="326"/>
                  <a:pt x="31" y="326"/>
                </a:cubicBezTo>
                <a:cubicBezTo>
                  <a:pt x="31" y="327"/>
                  <a:pt x="31" y="328"/>
                  <a:pt x="31" y="328"/>
                </a:cubicBezTo>
                <a:cubicBezTo>
                  <a:pt x="30" y="334"/>
                  <a:pt x="27" y="336"/>
                  <a:pt x="24" y="332"/>
                </a:cubicBezTo>
                <a:cubicBezTo>
                  <a:pt x="22" y="330"/>
                  <a:pt x="23" y="321"/>
                  <a:pt x="28" y="321"/>
                </a:cubicBezTo>
                <a:cubicBezTo>
                  <a:pt x="30" y="322"/>
                  <a:pt x="29" y="322"/>
                  <a:pt x="28" y="320"/>
                </a:cubicBezTo>
                <a:cubicBezTo>
                  <a:pt x="27" y="317"/>
                  <a:pt x="29" y="315"/>
                  <a:pt x="27" y="314"/>
                </a:cubicBezTo>
                <a:cubicBezTo>
                  <a:pt x="22" y="311"/>
                  <a:pt x="22" y="308"/>
                  <a:pt x="24" y="304"/>
                </a:cubicBezTo>
                <a:cubicBezTo>
                  <a:pt x="22" y="304"/>
                  <a:pt x="23" y="301"/>
                  <a:pt x="23" y="300"/>
                </a:cubicBezTo>
                <a:cubicBezTo>
                  <a:pt x="23" y="300"/>
                  <a:pt x="22" y="299"/>
                  <a:pt x="23" y="299"/>
                </a:cubicBezTo>
                <a:cubicBezTo>
                  <a:pt x="24" y="298"/>
                  <a:pt x="25" y="298"/>
                  <a:pt x="25" y="299"/>
                </a:cubicBezTo>
                <a:cubicBezTo>
                  <a:pt x="26" y="298"/>
                  <a:pt x="27" y="298"/>
                  <a:pt x="29" y="298"/>
                </a:cubicBezTo>
                <a:cubicBezTo>
                  <a:pt x="30" y="298"/>
                  <a:pt x="31" y="298"/>
                  <a:pt x="31" y="299"/>
                </a:cubicBezTo>
                <a:cubicBezTo>
                  <a:pt x="31" y="298"/>
                  <a:pt x="31" y="298"/>
                  <a:pt x="31" y="298"/>
                </a:cubicBezTo>
                <a:cubicBezTo>
                  <a:pt x="30" y="296"/>
                  <a:pt x="31" y="294"/>
                  <a:pt x="30" y="293"/>
                </a:cubicBezTo>
                <a:cubicBezTo>
                  <a:pt x="30" y="291"/>
                  <a:pt x="29" y="291"/>
                  <a:pt x="28" y="289"/>
                </a:cubicBezTo>
                <a:cubicBezTo>
                  <a:pt x="28" y="288"/>
                  <a:pt x="28" y="286"/>
                  <a:pt x="27" y="284"/>
                </a:cubicBezTo>
                <a:cubicBezTo>
                  <a:pt x="27" y="285"/>
                  <a:pt x="26" y="287"/>
                  <a:pt x="26" y="289"/>
                </a:cubicBezTo>
                <a:cubicBezTo>
                  <a:pt x="27" y="286"/>
                  <a:pt x="24" y="287"/>
                  <a:pt x="25" y="288"/>
                </a:cubicBezTo>
                <a:cubicBezTo>
                  <a:pt x="24" y="287"/>
                  <a:pt x="22" y="287"/>
                  <a:pt x="21" y="286"/>
                </a:cubicBezTo>
                <a:cubicBezTo>
                  <a:pt x="21" y="285"/>
                  <a:pt x="21" y="284"/>
                  <a:pt x="22" y="283"/>
                </a:cubicBezTo>
                <a:cubicBezTo>
                  <a:pt x="21" y="283"/>
                  <a:pt x="21" y="281"/>
                  <a:pt x="21" y="281"/>
                </a:cubicBezTo>
                <a:cubicBezTo>
                  <a:pt x="22" y="281"/>
                  <a:pt x="22" y="281"/>
                  <a:pt x="22" y="282"/>
                </a:cubicBezTo>
                <a:cubicBezTo>
                  <a:pt x="23" y="281"/>
                  <a:pt x="24" y="280"/>
                  <a:pt x="25" y="280"/>
                </a:cubicBezTo>
                <a:cubicBezTo>
                  <a:pt x="25" y="279"/>
                  <a:pt x="24" y="278"/>
                  <a:pt x="24" y="277"/>
                </a:cubicBezTo>
                <a:cubicBezTo>
                  <a:pt x="24" y="278"/>
                  <a:pt x="23" y="278"/>
                  <a:pt x="23" y="279"/>
                </a:cubicBezTo>
                <a:cubicBezTo>
                  <a:pt x="22" y="279"/>
                  <a:pt x="20" y="277"/>
                  <a:pt x="21" y="275"/>
                </a:cubicBezTo>
                <a:cubicBezTo>
                  <a:pt x="19" y="275"/>
                  <a:pt x="19" y="273"/>
                  <a:pt x="19" y="271"/>
                </a:cubicBezTo>
                <a:cubicBezTo>
                  <a:pt x="18" y="271"/>
                  <a:pt x="17" y="271"/>
                  <a:pt x="16" y="272"/>
                </a:cubicBezTo>
                <a:cubicBezTo>
                  <a:pt x="16" y="272"/>
                  <a:pt x="17" y="273"/>
                  <a:pt x="17" y="273"/>
                </a:cubicBezTo>
                <a:cubicBezTo>
                  <a:pt x="18" y="275"/>
                  <a:pt x="16" y="278"/>
                  <a:pt x="17" y="279"/>
                </a:cubicBezTo>
                <a:cubicBezTo>
                  <a:pt x="17" y="282"/>
                  <a:pt x="15" y="284"/>
                  <a:pt x="14" y="284"/>
                </a:cubicBezTo>
                <a:cubicBezTo>
                  <a:pt x="14" y="285"/>
                  <a:pt x="13" y="285"/>
                  <a:pt x="13" y="285"/>
                </a:cubicBezTo>
                <a:cubicBezTo>
                  <a:pt x="13" y="285"/>
                  <a:pt x="13" y="285"/>
                  <a:pt x="12" y="284"/>
                </a:cubicBezTo>
                <a:cubicBezTo>
                  <a:pt x="12" y="284"/>
                  <a:pt x="12" y="284"/>
                  <a:pt x="12" y="284"/>
                </a:cubicBezTo>
                <a:cubicBezTo>
                  <a:pt x="12" y="284"/>
                  <a:pt x="11" y="284"/>
                  <a:pt x="12" y="283"/>
                </a:cubicBezTo>
                <a:cubicBezTo>
                  <a:pt x="12" y="283"/>
                  <a:pt x="12" y="283"/>
                  <a:pt x="12" y="283"/>
                </a:cubicBezTo>
                <a:cubicBezTo>
                  <a:pt x="12" y="283"/>
                  <a:pt x="12" y="283"/>
                  <a:pt x="12" y="283"/>
                </a:cubicBezTo>
                <a:cubicBezTo>
                  <a:pt x="12" y="282"/>
                  <a:pt x="12" y="280"/>
                  <a:pt x="12" y="278"/>
                </a:cubicBezTo>
                <a:cubicBezTo>
                  <a:pt x="12" y="278"/>
                  <a:pt x="12" y="277"/>
                  <a:pt x="12" y="277"/>
                </a:cubicBezTo>
                <a:cubicBezTo>
                  <a:pt x="12" y="278"/>
                  <a:pt x="12" y="278"/>
                  <a:pt x="11" y="279"/>
                </a:cubicBezTo>
                <a:cubicBezTo>
                  <a:pt x="9" y="282"/>
                  <a:pt x="7" y="277"/>
                  <a:pt x="8" y="276"/>
                </a:cubicBezTo>
                <a:cubicBezTo>
                  <a:pt x="8" y="275"/>
                  <a:pt x="9" y="274"/>
                  <a:pt x="9" y="274"/>
                </a:cubicBezTo>
                <a:cubicBezTo>
                  <a:pt x="10" y="274"/>
                  <a:pt x="10" y="275"/>
                  <a:pt x="10" y="275"/>
                </a:cubicBezTo>
                <a:cubicBezTo>
                  <a:pt x="11" y="275"/>
                  <a:pt x="11" y="275"/>
                  <a:pt x="11" y="276"/>
                </a:cubicBezTo>
                <a:cubicBezTo>
                  <a:pt x="11" y="275"/>
                  <a:pt x="11" y="275"/>
                  <a:pt x="11" y="275"/>
                </a:cubicBezTo>
                <a:cubicBezTo>
                  <a:pt x="11" y="275"/>
                  <a:pt x="10" y="274"/>
                  <a:pt x="10" y="274"/>
                </a:cubicBezTo>
                <a:cubicBezTo>
                  <a:pt x="10" y="274"/>
                  <a:pt x="10" y="273"/>
                  <a:pt x="10" y="272"/>
                </a:cubicBezTo>
                <a:cubicBezTo>
                  <a:pt x="10" y="273"/>
                  <a:pt x="10" y="273"/>
                  <a:pt x="10" y="273"/>
                </a:cubicBezTo>
                <a:cubicBezTo>
                  <a:pt x="10" y="273"/>
                  <a:pt x="9" y="272"/>
                  <a:pt x="9" y="272"/>
                </a:cubicBezTo>
                <a:cubicBezTo>
                  <a:pt x="10" y="271"/>
                  <a:pt x="11" y="271"/>
                  <a:pt x="11" y="272"/>
                </a:cubicBezTo>
                <a:cubicBezTo>
                  <a:pt x="11" y="271"/>
                  <a:pt x="12" y="270"/>
                  <a:pt x="13" y="269"/>
                </a:cubicBezTo>
                <a:cubicBezTo>
                  <a:pt x="12" y="266"/>
                  <a:pt x="11" y="263"/>
                  <a:pt x="9" y="262"/>
                </a:cubicBezTo>
                <a:cubicBezTo>
                  <a:pt x="9" y="262"/>
                  <a:pt x="8" y="262"/>
                  <a:pt x="7" y="263"/>
                </a:cubicBezTo>
                <a:cubicBezTo>
                  <a:pt x="7" y="263"/>
                  <a:pt x="7" y="263"/>
                  <a:pt x="7" y="263"/>
                </a:cubicBezTo>
                <a:cubicBezTo>
                  <a:pt x="6" y="263"/>
                  <a:pt x="6" y="263"/>
                  <a:pt x="6" y="262"/>
                </a:cubicBezTo>
                <a:cubicBezTo>
                  <a:pt x="6" y="262"/>
                  <a:pt x="7" y="257"/>
                  <a:pt x="9" y="260"/>
                </a:cubicBezTo>
                <a:cubicBezTo>
                  <a:pt x="9" y="260"/>
                  <a:pt x="8" y="261"/>
                  <a:pt x="8" y="261"/>
                </a:cubicBezTo>
                <a:cubicBezTo>
                  <a:pt x="11" y="263"/>
                  <a:pt x="10" y="259"/>
                  <a:pt x="10" y="256"/>
                </a:cubicBezTo>
                <a:cubicBezTo>
                  <a:pt x="11" y="254"/>
                  <a:pt x="12" y="252"/>
                  <a:pt x="13" y="250"/>
                </a:cubicBezTo>
                <a:cubicBezTo>
                  <a:pt x="13" y="250"/>
                  <a:pt x="11" y="245"/>
                  <a:pt x="10" y="243"/>
                </a:cubicBezTo>
                <a:cubicBezTo>
                  <a:pt x="10" y="242"/>
                  <a:pt x="9" y="241"/>
                  <a:pt x="9" y="240"/>
                </a:cubicBezTo>
                <a:cubicBezTo>
                  <a:pt x="9" y="240"/>
                  <a:pt x="9" y="240"/>
                  <a:pt x="9" y="240"/>
                </a:cubicBezTo>
                <a:cubicBezTo>
                  <a:pt x="8" y="239"/>
                  <a:pt x="8" y="239"/>
                  <a:pt x="8" y="239"/>
                </a:cubicBezTo>
                <a:cubicBezTo>
                  <a:pt x="8" y="239"/>
                  <a:pt x="8" y="239"/>
                  <a:pt x="8" y="239"/>
                </a:cubicBezTo>
                <a:cubicBezTo>
                  <a:pt x="8" y="240"/>
                  <a:pt x="8" y="240"/>
                  <a:pt x="7" y="240"/>
                </a:cubicBezTo>
                <a:cubicBezTo>
                  <a:pt x="8" y="240"/>
                  <a:pt x="8" y="238"/>
                  <a:pt x="8" y="237"/>
                </a:cubicBezTo>
                <a:cubicBezTo>
                  <a:pt x="7" y="237"/>
                  <a:pt x="7" y="237"/>
                  <a:pt x="7" y="236"/>
                </a:cubicBezTo>
                <a:cubicBezTo>
                  <a:pt x="7" y="236"/>
                  <a:pt x="7" y="236"/>
                  <a:pt x="7" y="236"/>
                </a:cubicBezTo>
                <a:cubicBezTo>
                  <a:pt x="7" y="236"/>
                  <a:pt x="7" y="236"/>
                  <a:pt x="7" y="235"/>
                </a:cubicBezTo>
                <a:cubicBezTo>
                  <a:pt x="7" y="234"/>
                  <a:pt x="6" y="234"/>
                  <a:pt x="5" y="235"/>
                </a:cubicBezTo>
                <a:cubicBezTo>
                  <a:pt x="6" y="234"/>
                  <a:pt x="5" y="239"/>
                  <a:pt x="4" y="238"/>
                </a:cubicBezTo>
                <a:cubicBezTo>
                  <a:pt x="4" y="238"/>
                  <a:pt x="4" y="235"/>
                  <a:pt x="4" y="233"/>
                </a:cubicBezTo>
                <a:cubicBezTo>
                  <a:pt x="4" y="233"/>
                  <a:pt x="3" y="233"/>
                  <a:pt x="3" y="233"/>
                </a:cubicBezTo>
                <a:cubicBezTo>
                  <a:pt x="3" y="236"/>
                  <a:pt x="3" y="234"/>
                  <a:pt x="2" y="233"/>
                </a:cubicBezTo>
                <a:cubicBezTo>
                  <a:pt x="2" y="233"/>
                  <a:pt x="2" y="233"/>
                  <a:pt x="1" y="233"/>
                </a:cubicBezTo>
                <a:cubicBezTo>
                  <a:pt x="1" y="233"/>
                  <a:pt x="1" y="234"/>
                  <a:pt x="1" y="234"/>
                </a:cubicBezTo>
                <a:cubicBezTo>
                  <a:pt x="1" y="272"/>
                  <a:pt x="1" y="272"/>
                  <a:pt x="1" y="272"/>
                </a:cubicBezTo>
                <a:cubicBezTo>
                  <a:pt x="1" y="273"/>
                  <a:pt x="2" y="274"/>
                  <a:pt x="1" y="275"/>
                </a:cubicBezTo>
                <a:cubicBezTo>
                  <a:pt x="1" y="275"/>
                  <a:pt x="1" y="275"/>
                  <a:pt x="1" y="275"/>
                </a:cubicBezTo>
                <a:cubicBezTo>
                  <a:pt x="1" y="359"/>
                  <a:pt x="1" y="359"/>
                  <a:pt x="1" y="359"/>
                </a:cubicBezTo>
                <a:cubicBezTo>
                  <a:pt x="1" y="359"/>
                  <a:pt x="1" y="359"/>
                  <a:pt x="1" y="359"/>
                </a:cubicBezTo>
                <a:cubicBezTo>
                  <a:pt x="7" y="360"/>
                  <a:pt x="4" y="368"/>
                  <a:pt x="1" y="371"/>
                </a:cubicBezTo>
                <a:cubicBezTo>
                  <a:pt x="1" y="448"/>
                  <a:pt x="1" y="448"/>
                  <a:pt x="1" y="448"/>
                </a:cubicBezTo>
                <a:cubicBezTo>
                  <a:pt x="1" y="448"/>
                  <a:pt x="1" y="449"/>
                  <a:pt x="1" y="451"/>
                </a:cubicBezTo>
                <a:cubicBezTo>
                  <a:pt x="1" y="588"/>
                  <a:pt x="1" y="588"/>
                  <a:pt x="1" y="588"/>
                </a:cubicBezTo>
                <a:cubicBezTo>
                  <a:pt x="302" y="762"/>
                  <a:pt x="302" y="762"/>
                  <a:pt x="302" y="762"/>
                </a:cubicBezTo>
                <a:cubicBezTo>
                  <a:pt x="305" y="760"/>
                  <a:pt x="299" y="759"/>
                  <a:pt x="298" y="758"/>
                </a:cubicBezTo>
                <a:close/>
                <a:moveTo>
                  <a:pt x="435" y="727"/>
                </a:moveTo>
                <a:cubicBezTo>
                  <a:pt x="435" y="728"/>
                  <a:pt x="433" y="728"/>
                  <a:pt x="432" y="727"/>
                </a:cubicBezTo>
                <a:cubicBezTo>
                  <a:pt x="432" y="726"/>
                  <a:pt x="434" y="725"/>
                  <a:pt x="435" y="727"/>
                </a:cubicBezTo>
                <a:close/>
                <a:moveTo>
                  <a:pt x="442" y="708"/>
                </a:moveTo>
                <a:cubicBezTo>
                  <a:pt x="440" y="708"/>
                  <a:pt x="440" y="706"/>
                  <a:pt x="442" y="708"/>
                </a:cubicBezTo>
                <a:close/>
                <a:moveTo>
                  <a:pt x="440" y="704"/>
                </a:moveTo>
                <a:cubicBezTo>
                  <a:pt x="439" y="704"/>
                  <a:pt x="439" y="702"/>
                  <a:pt x="440" y="704"/>
                </a:cubicBezTo>
                <a:close/>
                <a:moveTo>
                  <a:pt x="507" y="674"/>
                </a:moveTo>
                <a:cubicBezTo>
                  <a:pt x="509" y="673"/>
                  <a:pt x="509" y="676"/>
                  <a:pt x="507" y="674"/>
                </a:cubicBezTo>
                <a:close/>
                <a:moveTo>
                  <a:pt x="501" y="668"/>
                </a:moveTo>
                <a:cubicBezTo>
                  <a:pt x="502" y="670"/>
                  <a:pt x="499" y="669"/>
                  <a:pt x="499" y="668"/>
                </a:cubicBezTo>
                <a:cubicBezTo>
                  <a:pt x="499" y="667"/>
                  <a:pt x="501" y="667"/>
                  <a:pt x="501" y="668"/>
                </a:cubicBezTo>
                <a:close/>
                <a:moveTo>
                  <a:pt x="500" y="675"/>
                </a:moveTo>
                <a:cubicBezTo>
                  <a:pt x="499" y="676"/>
                  <a:pt x="498" y="674"/>
                  <a:pt x="498" y="674"/>
                </a:cubicBezTo>
                <a:cubicBezTo>
                  <a:pt x="499" y="674"/>
                  <a:pt x="499" y="675"/>
                  <a:pt x="500" y="675"/>
                </a:cubicBezTo>
                <a:close/>
                <a:moveTo>
                  <a:pt x="510" y="641"/>
                </a:moveTo>
                <a:cubicBezTo>
                  <a:pt x="510" y="641"/>
                  <a:pt x="511" y="641"/>
                  <a:pt x="511" y="641"/>
                </a:cubicBezTo>
                <a:cubicBezTo>
                  <a:pt x="513" y="643"/>
                  <a:pt x="509" y="642"/>
                  <a:pt x="510" y="641"/>
                </a:cubicBezTo>
                <a:close/>
                <a:moveTo>
                  <a:pt x="509" y="646"/>
                </a:moveTo>
                <a:cubicBezTo>
                  <a:pt x="510" y="648"/>
                  <a:pt x="507" y="646"/>
                  <a:pt x="508" y="645"/>
                </a:cubicBezTo>
                <a:cubicBezTo>
                  <a:pt x="509" y="645"/>
                  <a:pt x="509" y="646"/>
                  <a:pt x="509" y="646"/>
                </a:cubicBezTo>
                <a:close/>
                <a:moveTo>
                  <a:pt x="508" y="643"/>
                </a:moveTo>
                <a:cubicBezTo>
                  <a:pt x="509" y="642"/>
                  <a:pt x="509" y="643"/>
                  <a:pt x="509" y="644"/>
                </a:cubicBezTo>
                <a:cubicBezTo>
                  <a:pt x="510" y="645"/>
                  <a:pt x="507" y="644"/>
                  <a:pt x="508" y="643"/>
                </a:cubicBezTo>
                <a:close/>
                <a:moveTo>
                  <a:pt x="500" y="642"/>
                </a:moveTo>
                <a:cubicBezTo>
                  <a:pt x="500" y="642"/>
                  <a:pt x="502" y="645"/>
                  <a:pt x="502" y="646"/>
                </a:cubicBezTo>
                <a:cubicBezTo>
                  <a:pt x="501" y="651"/>
                  <a:pt x="497" y="643"/>
                  <a:pt x="500" y="642"/>
                </a:cubicBezTo>
                <a:close/>
                <a:moveTo>
                  <a:pt x="498" y="644"/>
                </a:moveTo>
                <a:cubicBezTo>
                  <a:pt x="498" y="644"/>
                  <a:pt x="498" y="644"/>
                  <a:pt x="498" y="644"/>
                </a:cubicBezTo>
                <a:cubicBezTo>
                  <a:pt x="498" y="644"/>
                  <a:pt x="496" y="644"/>
                  <a:pt x="498" y="644"/>
                </a:cubicBezTo>
                <a:close/>
                <a:moveTo>
                  <a:pt x="495" y="636"/>
                </a:moveTo>
                <a:cubicBezTo>
                  <a:pt x="496" y="635"/>
                  <a:pt x="497" y="638"/>
                  <a:pt x="495" y="636"/>
                </a:cubicBezTo>
                <a:close/>
                <a:moveTo>
                  <a:pt x="495" y="637"/>
                </a:moveTo>
                <a:cubicBezTo>
                  <a:pt x="496" y="637"/>
                  <a:pt x="496" y="638"/>
                  <a:pt x="496" y="638"/>
                </a:cubicBezTo>
                <a:cubicBezTo>
                  <a:pt x="496" y="639"/>
                  <a:pt x="494" y="638"/>
                  <a:pt x="495" y="637"/>
                </a:cubicBezTo>
                <a:close/>
                <a:moveTo>
                  <a:pt x="493" y="642"/>
                </a:moveTo>
                <a:cubicBezTo>
                  <a:pt x="493" y="642"/>
                  <a:pt x="494" y="643"/>
                  <a:pt x="494" y="643"/>
                </a:cubicBezTo>
                <a:cubicBezTo>
                  <a:pt x="494" y="645"/>
                  <a:pt x="492" y="643"/>
                  <a:pt x="493" y="642"/>
                </a:cubicBezTo>
                <a:close/>
                <a:moveTo>
                  <a:pt x="494" y="650"/>
                </a:moveTo>
                <a:cubicBezTo>
                  <a:pt x="494" y="650"/>
                  <a:pt x="493" y="653"/>
                  <a:pt x="492" y="651"/>
                </a:cubicBezTo>
                <a:cubicBezTo>
                  <a:pt x="492" y="650"/>
                  <a:pt x="494" y="648"/>
                  <a:pt x="494" y="650"/>
                </a:cubicBezTo>
                <a:close/>
                <a:moveTo>
                  <a:pt x="498" y="620"/>
                </a:moveTo>
                <a:cubicBezTo>
                  <a:pt x="498" y="620"/>
                  <a:pt x="498" y="620"/>
                  <a:pt x="498" y="620"/>
                </a:cubicBezTo>
                <a:cubicBezTo>
                  <a:pt x="498" y="620"/>
                  <a:pt x="498" y="620"/>
                  <a:pt x="498" y="620"/>
                </a:cubicBezTo>
                <a:cubicBezTo>
                  <a:pt x="498" y="620"/>
                  <a:pt x="498" y="620"/>
                  <a:pt x="498" y="620"/>
                </a:cubicBezTo>
                <a:close/>
                <a:moveTo>
                  <a:pt x="492" y="624"/>
                </a:moveTo>
                <a:cubicBezTo>
                  <a:pt x="493" y="624"/>
                  <a:pt x="493" y="625"/>
                  <a:pt x="492" y="624"/>
                </a:cubicBezTo>
                <a:close/>
                <a:moveTo>
                  <a:pt x="490" y="621"/>
                </a:moveTo>
                <a:cubicBezTo>
                  <a:pt x="491" y="622"/>
                  <a:pt x="490" y="624"/>
                  <a:pt x="489" y="624"/>
                </a:cubicBezTo>
                <a:cubicBezTo>
                  <a:pt x="489" y="623"/>
                  <a:pt x="490" y="621"/>
                  <a:pt x="490" y="621"/>
                </a:cubicBezTo>
                <a:close/>
                <a:moveTo>
                  <a:pt x="489" y="620"/>
                </a:moveTo>
                <a:cubicBezTo>
                  <a:pt x="490" y="620"/>
                  <a:pt x="487" y="619"/>
                  <a:pt x="489" y="620"/>
                </a:cubicBezTo>
                <a:close/>
                <a:moveTo>
                  <a:pt x="485" y="657"/>
                </a:moveTo>
                <a:cubicBezTo>
                  <a:pt x="486" y="656"/>
                  <a:pt x="487" y="657"/>
                  <a:pt x="487" y="657"/>
                </a:cubicBezTo>
                <a:cubicBezTo>
                  <a:pt x="488" y="659"/>
                  <a:pt x="484" y="658"/>
                  <a:pt x="485" y="657"/>
                </a:cubicBezTo>
                <a:close/>
                <a:moveTo>
                  <a:pt x="485" y="644"/>
                </a:moveTo>
                <a:cubicBezTo>
                  <a:pt x="489" y="644"/>
                  <a:pt x="487" y="647"/>
                  <a:pt x="485" y="644"/>
                </a:cubicBezTo>
                <a:close/>
                <a:moveTo>
                  <a:pt x="484" y="637"/>
                </a:moveTo>
                <a:cubicBezTo>
                  <a:pt x="485" y="636"/>
                  <a:pt x="486" y="637"/>
                  <a:pt x="486" y="637"/>
                </a:cubicBezTo>
                <a:cubicBezTo>
                  <a:pt x="486" y="639"/>
                  <a:pt x="484" y="637"/>
                  <a:pt x="484" y="637"/>
                </a:cubicBezTo>
                <a:close/>
                <a:moveTo>
                  <a:pt x="536" y="658"/>
                </a:moveTo>
                <a:cubicBezTo>
                  <a:pt x="533" y="660"/>
                  <a:pt x="529" y="656"/>
                  <a:pt x="530" y="654"/>
                </a:cubicBezTo>
                <a:cubicBezTo>
                  <a:pt x="531" y="652"/>
                  <a:pt x="537" y="654"/>
                  <a:pt x="538" y="655"/>
                </a:cubicBezTo>
                <a:cubicBezTo>
                  <a:pt x="538" y="655"/>
                  <a:pt x="536" y="658"/>
                  <a:pt x="536" y="658"/>
                </a:cubicBezTo>
                <a:close/>
                <a:moveTo>
                  <a:pt x="555" y="657"/>
                </a:moveTo>
                <a:cubicBezTo>
                  <a:pt x="553" y="657"/>
                  <a:pt x="556" y="658"/>
                  <a:pt x="555" y="657"/>
                </a:cubicBezTo>
                <a:close/>
                <a:moveTo>
                  <a:pt x="551" y="654"/>
                </a:moveTo>
                <a:cubicBezTo>
                  <a:pt x="551" y="654"/>
                  <a:pt x="552" y="654"/>
                  <a:pt x="552" y="654"/>
                </a:cubicBezTo>
                <a:cubicBezTo>
                  <a:pt x="553" y="656"/>
                  <a:pt x="549" y="655"/>
                  <a:pt x="551" y="654"/>
                </a:cubicBezTo>
                <a:close/>
                <a:moveTo>
                  <a:pt x="550" y="653"/>
                </a:moveTo>
                <a:cubicBezTo>
                  <a:pt x="550" y="653"/>
                  <a:pt x="550" y="654"/>
                  <a:pt x="549" y="654"/>
                </a:cubicBezTo>
                <a:cubicBezTo>
                  <a:pt x="549" y="653"/>
                  <a:pt x="550" y="653"/>
                  <a:pt x="550" y="653"/>
                </a:cubicBezTo>
                <a:close/>
                <a:moveTo>
                  <a:pt x="546" y="654"/>
                </a:moveTo>
                <a:cubicBezTo>
                  <a:pt x="547" y="654"/>
                  <a:pt x="548" y="655"/>
                  <a:pt x="547" y="656"/>
                </a:cubicBezTo>
                <a:cubicBezTo>
                  <a:pt x="546" y="656"/>
                  <a:pt x="546" y="654"/>
                  <a:pt x="546" y="654"/>
                </a:cubicBezTo>
                <a:close/>
                <a:moveTo>
                  <a:pt x="543" y="650"/>
                </a:moveTo>
                <a:cubicBezTo>
                  <a:pt x="544" y="649"/>
                  <a:pt x="545" y="650"/>
                  <a:pt x="545" y="650"/>
                </a:cubicBezTo>
                <a:cubicBezTo>
                  <a:pt x="546" y="653"/>
                  <a:pt x="542" y="651"/>
                  <a:pt x="543" y="650"/>
                </a:cubicBezTo>
                <a:close/>
                <a:moveTo>
                  <a:pt x="542" y="658"/>
                </a:moveTo>
                <a:cubicBezTo>
                  <a:pt x="544" y="657"/>
                  <a:pt x="543" y="659"/>
                  <a:pt x="542" y="658"/>
                </a:cubicBezTo>
                <a:close/>
                <a:moveTo>
                  <a:pt x="564" y="640"/>
                </a:moveTo>
                <a:cubicBezTo>
                  <a:pt x="565" y="640"/>
                  <a:pt x="564" y="641"/>
                  <a:pt x="564" y="641"/>
                </a:cubicBezTo>
                <a:cubicBezTo>
                  <a:pt x="564" y="643"/>
                  <a:pt x="562" y="640"/>
                  <a:pt x="564" y="640"/>
                </a:cubicBezTo>
                <a:close/>
                <a:moveTo>
                  <a:pt x="549" y="622"/>
                </a:moveTo>
                <a:cubicBezTo>
                  <a:pt x="549" y="622"/>
                  <a:pt x="549" y="622"/>
                  <a:pt x="549" y="622"/>
                </a:cubicBezTo>
                <a:cubicBezTo>
                  <a:pt x="548" y="621"/>
                  <a:pt x="549" y="622"/>
                  <a:pt x="549" y="622"/>
                </a:cubicBezTo>
                <a:close/>
                <a:moveTo>
                  <a:pt x="541" y="636"/>
                </a:moveTo>
                <a:cubicBezTo>
                  <a:pt x="543" y="634"/>
                  <a:pt x="547" y="636"/>
                  <a:pt x="547" y="638"/>
                </a:cubicBezTo>
                <a:cubicBezTo>
                  <a:pt x="547" y="643"/>
                  <a:pt x="539" y="639"/>
                  <a:pt x="541" y="636"/>
                </a:cubicBezTo>
                <a:close/>
                <a:moveTo>
                  <a:pt x="547" y="620"/>
                </a:moveTo>
                <a:cubicBezTo>
                  <a:pt x="547" y="620"/>
                  <a:pt x="547" y="620"/>
                  <a:pt x="547" y="619"/>
                </a:cubicBezTo>
                <a:cubicBezTo>
                  <a:pt x="546" y="619"/>
                  <a:pt x="546" y="619"/>
                  <a:pt x="546" y="619"/>
                </a:cubicBezTo>
                <a:cubicBezTo>
                  <a:pt x="546" y="619"/>
                  <a:pt x="547" y="620"/>
                  <a:pt x="547" y="620"/>
                </a:cubicBezTo>
                <a:close/>
                <a:moveTo>
                  <a:pt x="546" y="630"/>
                </a:moveTo>
                <a:cubicBezTo>
                  <a:pt x="547" y="633"/>
                  <a:pt x="544" y="631"/>
                  <a:pt x="543" y="630"/>
                </a:cubicBezTo>
                <a:cubicBezTo>
                  <a:pt x="543" y="629"/>
                  <a:pt x="546" y="629"/>
                  <a:pt x="546" y="630"/>
                </a:cubicBezTo>
                <a:close/>
                <a:moveTo>
                  <a:pt x="541" y="625"/>
                </a:moveTo>
                <a:cubicBezTo>
                  <a:pt x="542" y="625"/>
                  <a:pt x="542" y="626"/>
                  <a:pt x="542" y="626"/>
                </a:cubicBezTo>
                <a:cubicBezTo>
                  <a:pt x="543" y="628"/>
                  <a:pt x="540" y="626"/>
                  <a:pt x="541" y="625"/>
                </a:cubicBezTo>
                <a:close/>
                <a:moveTo>
                  <a:pt x="537" y="624"/>
                </a:moveTo>
                <a:cubicBezTo>
                  <a:pt x="537" y="624"/>
                  <a:pt x="538" y="625"/>
                  <a:pt x="538" y="625"/>
                </a:cubicBezTo>
                <a:cubicBezTo>
                  <a:pt x="539" y="626"/>
                  <a:pt x="535" y="625"/>
                  <a:pt x="537" y="624"/>
                </a:cubicBezTo>
                <a:close/>
                <a:moveTo>
                  <a:pt x="546" y="599"/>
                </a:moveTo>
                <a:cubicBezTo>
                  <a:pt x="547" y="598"/>
                  <a:pt x="547" y="601"/>
                  <a:pt x="546" y="599"/>
                </a:cubicBezTo>
                <a:close/>
                <a:moveTo>
                  <a:pt x="541" y="575"/>
                </a:moveTo>
                <a:cubicBezTo>
                  <a:pt x="542" y="576"/>
                  <a:pt x="541" y="573"/>
                  <a:pt x="541" y="575"/>
                </a:cubicBezTo>
                <a:close/>
                <a:moveTo>
                  <a:pt x="537" y="591"/>
                </a:moveTo>
                <a:cubicBezTo>
                  <a:pt x="537" y="591"/>
                  <a:pt x="537" y="591"/>
                  <a:pt x="537" y="591"/>
                </a:cubicBezTo>
                <a:cubicBezTo>
                  <a:pt x="535" y="590"/>
                  <a:pt x="539" y="590"/>
                  <a:pt x="537" y="591"/>
                </a:cubicBezTo>
                <a:close/>
                <a:moveTo>
                  <a:pt x="539" y="565"/>
                </a:moveTo>
                <a:cubicBezTo>
                  <a:pt x="539" y="565"/>
                  <a:pt x="539" y="565"/>
                  <a:pt x="539" y="565"/>
                </a:cubicBezTo>
                <a:cubicBezTo>
                  <a:pt x="539" y="564"/>
                  <a:pt x="539" y="563"/>
                  <a:pt x="539" y="565"/>
                </a:cubicBezTo>
                <a:close/>
                <a:moveTo>
                  <a:pt x="565" y="556"/>
                </a:moveTo>
                <a:cubicBezTo>
                  <a:pt x="564" y="557"/>
                  <a:pt x="564" y="555"/>
                  <a:pt x="565" y="556"/>
                </a:cubicBezTo>
                <a:close/>
                <a:moveTo>
                  <a:pt x="562" y="554"/>
                </a:moveTo>
                <a:cubicBezTo>
                  <a:pt x="564" y="554"/>
                  <a:pt x="562" y="555"/>
                  <a:pt x="562" y="554"/>
                </a:cubicBezTo>
                <a:close/>
                <a:moveTo>
                  <a:pt x="559" y="574"/>
                </a:moveTo>
                <a:cubicBezTo>
                  <a:pt x="559" y="574"/>
                  <a:pt x="559" y="574"/>
                  <a:pt x="560" y="574"/>
                </a:cubicBezTo>
                <a:cubicBezTo>
                  <a:pt x="560" y="574"/>
                  <a:pt x="560" y="574"/>
                  <a:pt x="560" y="574"/>
                </a:cubicBezTo>
                <a:cubicBezTo>
                  <a:pt x="560" y="574"/>
                  <a:pt x="560" y="574"/>
                  <a:pt x="560" y="574"/>
                </a:cubicBezTo>
                <a:cubicBezTo>
                  <a:pt x="559" y="574"/>
                  <a:pt x="559" y="574"/>
                  <a:pt x="559" y="573"/>
                </a:cubicBezTo>
                <a:cubicBezTo>
                  <a:pt x="559" y="573"/>
                  <a:pt x="559" y="574"/>
                  <a:pt x="559" y="574"/>
                </a:cubicBezTo>
                <a:close/>
                <a:moveTo>
                  <a:pt x="554" y="557"/>
                </a:moveTo>
                <a:cubicBezTo>
                  <a:pt x="554" y="558"/>
                  <a:pt x="553" y="554"/>
                  <a:pt x="554" y="557"/>
                </a:cubicBezTo>
                <a:close/>
                <a:moveTo>
                  <a:pt x="551" y="572"/>
                </a:moveTo>
                <a:cubicBezTo>
                  <a:pt x="552" y="572"/>
                  <a:pt x="552" y="574"/>
                  <a:pt x="552" y="574"/>
                </a:cubicBezTo>
                <a:cubicBezTo>
                  <a:pt x="552" y="575"/>
                  <a:pt x="551" y="573"/>
                  <a:pt x="551" y="572"/>
                </a:cubicBezTo>
                <a:close/>
                <a:moveTo>
                  <a:pt x="551" y="559"/>
                </a:moveTo>
                <a:cubicBezTo>
                  <a:pt x="551" y="559"/>
                  <a:pt x="552" y="560"/>
                  <a:pt x="551" y="559"/>
                </a:cubicBezTo>
                <a:cubicBezTo>
                  <a:pt x="551" y="559"/>
                  <a:pt x="551" y="559"/>
                  <a:pt x="551" y="559"/>
                </a:cubicBezTo>
                <a:close/>
                <a:moveTo>
                  <a:pt x="552" y="557"/>
                </a:moveTo>
                <a:cubicBezTo>
                  <a:pt x="552" y="558"/>
                  <a:pt x="553" y="559"/>
                  <a:pt x="552" y="559"/>
                </a:cubicBezTo>
                <a:cubicBezTo>
                  <a:pt x="550" y="560"/>
                  <a:pt x="551" y="555"/>
                  <a:pt x="552" y="557"/>
                </a:cubicBezTo>
                <a:close/>
                <a:moveTo>
                  <a:pt x="551" y="551"/>
                </a:moveTo>
                <a:cubicBezTo>
                  <a:pt x="551" y="552"/>
                  <a:pt x="551" y="550"/>
                  <a:pt x="550" y="550"/>
                </a:cubicBezTo>
                <a:cubicBezTo>
                  <a:pt x="551" y="549"/>
                  <a:pt x="551" y="551"/>
                  <a:pt x="551" y="551"/>
                </a:cubicBezTo>
                <a:close/>
                <a:moveTo>
                  <a:pt x="592" y="604"/>
                </a:moveTo>
                <a:cubicBezTo>
                  <a:pt x="592" y="605"/>
                  <a:pt x="593" y="606"/>
                  <a:pt x="593" y="608"/>
                </a:cubicBezTo>
                <a:cubicBezTo>
                  <a:pt x="592" y="607"/>
                  <a:pt x="591" y="606"/>
                  <a:pt x="592" y="604"/>
                </a:cubicBezTo>
                <a:close/>
                <a:moveTo>
                  <a:pt x="595" y="604"/>
                </a:moveTo>
                <a:cubicBezTo>
                  <a:pt x="596" y="606"/>
                  <a:pt x="594" y="603"/>
                  <a:pt x="595" y="604"/>
                </a:cubicBezTo>
                <a:close/>
                <a:moveTo>
                  <a:pt x="606" y="616"/>
                </a:moveTo>
                <a:cubicBezTo>
                  <a:pt x="606" y="616"/>
                  <a:pt x="606" y="617"/>
                  <a:pt x="606" y="617"/>
                </a:cubicBezTo>
                <a:cubicBezTo>
                  <a:pt x="605" y="618"/>
                  <a:pt x="605" y="616"/>
                  <a:pt x="606" y="616"/>
                </a:cubicBezTo>
                <a:close/>
                <a:moveTo>
                  <a:pt x="679" y="480"/>
                </a:moveTo>
                <a:cubicBezTo>
                  <a:pt x="678" y="480"/>
                  <a:pt x="678" y="480"/>
                  <a:pt x="678" y="479"/>
                </a:cubicBezTo>
                <a:cubicBezTo>
                  <a:pt x="678" y="478"/>
                  <a:pt x="680" y="480"/>
                  <a:pt x="679" y="480"/>
                </a:cubicBezTo>
                <a:close/>
                <a:moveTo>
                  <a:pt x="663" y="546"/>
                </a:moveTo>
                <a:cubicBezTo>
                  <a:pt x="664" y="544"/>
                  <a:pt x="665" y="546"/>
                  <a:pt x="666" y="547"/>
                </a:cubicBezTo>
                <a:cubicBezTo>
                  <a:pt x="666" y="550"/>
                  <a:pt x="661" y="548"/>
                  <a:pt x="663" y="546"/>
                </a:cubicBezTo>
                <a:close/>
                <a:moveTo>
                  <a:pt x="668" y="558"/>
                </a:moveTo>
                <a:cubicBezTo>
                  <a:pt x="668" y="558"/>
                  <a:pt x="668" y="558"/>
                  <a:pt x="667" y="558"/>
                </a:cubicBezTo>
                <a:cubicBezTo>
                  <a:pt x="664" y="557"/>
                  <a:pt x="669" y="555"/>
                  <a:pt x="668" y="558"/>
                </a:cubicBezTo>
                <a:close/>
                <a:moveTo>
                  <a:pt x="668" y="529"/>
                </a:moveTo>
                <a:cubicBezTo>
                  <a:pt x="669" y="528"/>
                  <a:pt x="669" y="529"/>
                  <a:pt x="670" y="529"/>
                </a:cubicBezTo>
                <a:cubicBezTo>
                  <a:pt x="670" y="531"/>
                  <a:pt x="667" y="530"/>
                  <a:pt x="668" y="529"/>
                </a:cubicBezTo>
                <a:close/>
                <a:moveTo>
                  <a:pt x="671" y="547"/>
                </a:moveTo>
                <a:cubicBezTo>
                  <a:pt x="670" y="546"/>
                  <a:pt x="670" y="545"/>
                  <a:pt x="671" y="545"/>
                </a:cubicBezTo>
                <a:cubicBezTo>
                  <a:pt x="671" y="545"/>
                  <a:pt x="673" y="547"/>
                  <a:pt x="671" y="547"/>
                </a:cubicBezTo>
                <a:close/>
                <a:moveTo>
                  <a:pt x="674" y="539"/>
                </a:moveTo>
                <a:cubicBezTo>
                  <a:pt x="674" y="540"/>
                  <a:pt x="675" y="541"/>
                  <a:pt x="674" y="541"/>
                </a:cubicBezTo>
                <a:cubicBezTo>
                  <a:pt x="672" y="541"/>
                  <a:pt x="674" y="537"/>
                  <a:pt x="674" y="539"/>
                </a:cubicBezTo>
                <a:close/>
                <a:moveTo>
                  <a:pt x="674" y="500"/>
                </a:moveTo>
                <a:cubicBezTo>
                  <a:pt x="675" y="501"/>
                  <a:pt x="673" y="501"/>
                  <a:pt x="674" y="500"/>
                </a:cubicBezTo>
                <a:close/>
                <a:moveTo>
                  <a:pt x="674" y="542"/>
                </a:moveTo>
                <a:cubicBezTo>
                  <a:pt x="674" y="542"/>
                  <a:pt x="674" y="543"/>
                  <a:pt x="674" y="544"/>
                </a:cubicBezTo>
                <a:cubicBezTo>
                  <a:pt x="674" y="544"/>
                  <a:pt x="675" y="544"/>
                  <a:pt x="674" y="545"/>
                </a:cubicBezTo>
                <a:cubicBezTo>
                  <a:pt x="674" y="545"/>
                  <a:pt x="674" y="545"/>
                  <a:pt x="674" y="545"/>
                </a:cubicBezTo>
                <a:cubicBezTo>
                  <a:pt x="674" y="546"/>
                  <a:pt x="674" y="547"/>
                  <a:pt x="674" y="549"/>
                </a:cubicBezTo>
                <a:cubicBezTo>
                  <a:pt x="673" y="547"/>
                  <a:pt x="673" y="544"/>
                  <a:pt x="674" y="542"/>
                </a:cubicBezTo>
                <a:close/>
                <a:moveTo>
                  <a:pt x="676" y="552"/>
                </a:moveTo>
                <a:cubicBezTo>
                  <a:pt x="676" y="553"/>
                  <a:pt x="676" y="553"/>
                  <a:pt x="676" y="553"/>
                </a:cubicBezTo>
                <a:cubicBezTo>
                  <a:pt x="675" y="554"/>
                  <a:pt x="675" y="551"/>
                  <a:pt x="676" y="552"/>
                </a:cubicBezTo>
                <a:close/>
                <a:moveTo>
                  <a:pt x="675" y="516"/>
                </a:moveTo>
                <a:cubicBezTo>
                  <a:pt x="676" y="516"/>
                  <a:pt x="676" y="517"/>
                  <a:pt x="676" y="517"/>
                </a:cubicBezTo>
                <a:cubicBezTo>
                  <a:pt x="677" y="519"/>
                  <a:pt x="674" y="517"/>
                  <a:pt x="675" y="516"/>
                </a:cubicBezTo>
                <a:close/>
                <a:moveTo>
                  <a:pt x="674" y="502"/>
                </a:moveTo>
                <a:cubicBezTo>
                  <a:pt x="675" y="502"/>
                  <a:pt x="676" y="504"/>
                  <a:pt x="676" y="505"/>
                </a:cubicBezTo>
                <a:cubicBezTo>
                  <a:pt x="675" y="505"/>
                  <a:pt x="675" y="503"/>
                  <a:pt x="674" y="502"/>
                </a:cubicBezTo>
                <a:close/>
                <a:moveTo>
                  <a:pt x="675" y="481"/>
                </a:moveTo>
                <a:cubicBezTo>
                  <a:pt x="674" y="481"/>
                  <a:pt x="674" y="480"/>
                  <a:pt x="674" y="480"/>
                </a:cubicBezTo>
                <a:cubicBezTo>
                  <a:pt x="675" y="479"/>
                  <a:pt x="675" y="480"/>
                  <a:pt x="675" y="481"/>
                </a:cubicBezTo>
                <a:close/>
                <a:moveTo>
                  <a:pt x="672" y="412"/>
                </a:moveTo>
                <a:cubicBezTo>
                  <a:pt x="675" y="413"/>
                  <a:pt x="672" y="417"/>
                  <a:pt x="670" y="416"/>
                </a:cubicBezTo>
                <a:cubicBezTo>
                  <a:pt x="670" y="416"/>
                  <a:pt x="670" y="411"/>
                  <a:pt x="672" y="412"/>
                </a:cubicBezTo>
                <a:close/>
                <a:moveTo>
                  <a:pt x="668" y="453"/>
                </a:moveTo>
                <a:cubicBezTo>
                  <a:pt x="669" y="453"/>
                  <a:pt x="668" y="454"/>
                  <a:pt x="667" y="453"/>
                </a:cubicBezTo>
                <a:cubicBezTo>
                  <a:pt x="667" y="453"/>
                  <a:pt x="668" y="452"/>
                  <a:pt x="668" y="453"/>
                </a:cubicBezTo>
                <a:close/>
                <a:moveTo>
                  <a:pt x="667" y="446"/>
                </a:moveTo>
                <a:cubicBezTo>
                  <a:pt x="665" y="447"/>
                  <a:pt x="668" y="444"/>
                  <a:pt x="667" y="446"/>
                </a:cubicBezTo>
                <a:close/>
                <a:moveTo>
                  <a:pt x="673" y="492"/>
                </a:moveTo>
                <a:cubicBezTo>
                  <a:pt x="672" y="498"/>
                  <a:pt x="665" y="495"/>
                  <a:pt x="665" y="490"/>
                </a:cubicBezTo>
                <a:cubicBezTo>
                  <a:pt x="665" y="482"/>
                  <a:pt x="674" y="486"/>
                  <a:pt x="673" y="492"/>
                </a:cubicBezTo>
                <a:close/>
                <a:moveTo>
                  <a:pt x="664" y="429"/>
                </a:moveTo>
                <a:cubicBezTo>
                  <a:pt x="665" y="429"/>
                  <a:pt x="665" y="430"/>
                  <a:pt x="664" y="430"/>
                </a:cubicBezTo>
                <a:cubicBezTo>
                  <a:pt x="662" y="430"/>
                  <a:pt x="663" y="427"/>
                  <a:pt x="664" y="429"/>
                </a:cubicBezTo>
                <a:close/>
                <a:moveTo>
                  <a:pt x="663" y="455"/>
                </a:moveTo>
                <a:cubicBezTo>
                  <a:pt x="663" y="455"/>
                  <a:pt x="662" y="456"/>
                  <a:pt x="662" y="456"/>
                </a:cubicBezTo>
                <a:cubicBezTo>
                  <a:pt x="662" y="456"/>
                  <a:pt x="662" y="455"/>
                  <a:pt x="663" y="455"/>
                </a:cubicBezTo>
                <a:close/>
                <a:moveTo>
                  <a:pt x="661" y="411"/>
                </a:moveTo>
                <a:cubicBezTo>
                  <a:pt x="661" y="411"/>
                  <a:pt x="661" y="411"/>
                  <a:pt x="661" y="410"/>
                </a:cubicBezTo>
                <a:cubicBezTo>
                  <a:pt x="661" y="410"/>
                  <a:pt x="661" y="410"/>
                  <a:pt x="661" y="410"/>
                </a:cubicBezTo>
                <a:cubicBezTo>
                  <a:pt x="661" y="410"/>
                  <a:pt x="661" y="411"/>
                  <a:pt x="661" y="411"/>
                </a:cubicBezTo>
                <a:close/>
                <a:moveTo>
                  <a:pt x="633" y="545"/>
                </a:moveTo>
                <a:cubicBezTo>
                  <a:pt x="633" y="545"/>
                  <a:pt x="633" y="545"/>
                  <a:pt x="633" y="545"/>
                </a:cubicBezTo>
                <a:cubicBezTo>
                  <a:pt x="633" y="545"/>
                  <a:pt x="632" y="544"/>
                  <a:pt x="633" y="545"/>
                </a:cubicBezTo>
                <a:close/>
                <a:moveTo>
                  <a:pt x="633" y="509"/>
                </a:moveTo>
                <a:cubicBezTo>
                  <a:pt x="632" y="508"/>
                  <a:pt x="633" y="507"/>
                  <a:pt x="634" y="507"/>
                </a:cubicBezTo>
                <a:cubicBezTo>
                  <a:pt x="635" y="507"/>
                  <a:pt x="635" y="510"/>
                  <a:pt x="633" y="509"/>
                </a:cubicBezTo>
                <a:close/>
                <a:moveTo>
                  <a:pt x="635" y="516"/>
                </a:moveTo>
                <a:cubicBezTo>
                  <a:pt x="634" y="517"/>
                  <a:pt x="634" y="516"/>
                  <a:pt x="634" y="516"/>
                </a:cubicBezTo>
                <a:cubicBezTo>
                  <a:pt x="634" y="515"/>
                  <a:pt x="635" y="516"/>
                  <a:pt x="635" y="516"/>
                </a:cubicBezTo>
                <a:close/>
                <a:moveTo>
                  <a:pt x="637" y="522"/>
                </a:moveTo>
                <a:cubicBezTo>
                  <a:pt x="638" y="522"/>
                  <a:pt x="639" y="528"/>
                  <a:pt x="639" y="529"/>
                </a:cubicBezTo>
                <a:cubicBezTo>
                  <a:pt x="638" y="534"/>
                  <a:pt x="636" y="523"/>
                  <a:pt x="637" y="522"/>
                </a:cubicBezTo>
                <a:close/>
                <a:moveTo>
                  <a:pt x="639" y="541"/>
                </a:moveTo>
                <a:cubicBezTo>
                  <a:pt x="639" y="541"/>
                  <a:pt x="640" y="539"/>
                  <a:pt x="640" y="541"/>
                </a:cubicBezTo>
                <a:cubicBezTo>
                  <a:pt x="640" y="540"/>
                  <a:pt x="640" y="542"/>
                  <a:pt x="639" y="541"/>
                </a:cubicBezTo>
                <a:close/>
                <a:moveTo>
                  <a:pt x="641" y="545"/>
                </a:moveTo>
                <a:cubicBezTo>
                  <a:pt x="638" y="545"/>
                  <a:pt x="640" y="542"/>
                  <a:pt x="642" y="543"/>
                </a:cubicBezTo>
                <a:cubicBezTo>
                  <a:pt x="643" y="543"/>
                  <a:pt x="642" y="546"/>
                  <a:pt x="641" y="545"/>
                </a:cubicBezTo>
                <a:close/>
                <a:moveTo>
                  <a:pt x="652" y="501"/>
                </a:moveTo>
                <a:cubicBezTo>
                  <a:pt x="652" y="501"/>
                  <a:pt x="651" y="499"/>
                  <a:pt x="652" y="500"/>
                </a:cubicBezTo>
                <a:cubicBezTo>
                  <a:pt x="652" y="500"/>
                  <a:pt x="653" y="501"/>
                  <a:pt x="652" y="501"/>
                </a:cubicBezTo>
                <a:close/>
                <a:moveTo>
                  <a:pt x="655" y="533"/>
                </a:moveTo>
                <a:cubicBezTo>
                  <a:pt x="654" y="529"/>
                  <a:pt x="654" y="522"/>
                  <a:pt x="654" y="518"/>
                </a:cubicBezTo>
                <a:cubicBezTo>
                  <a:pt x="654" y="520"/>
                  <a:pt x="654" y="517"/>
                  <a:pt x="654" y="517"/>
                </a:cubicBezTo>
                <a:cubicBezTo>
                  <a:pt x="656" y="517"/>
                  <a:pt x="655" y="519"/>
                  <a:pt x="655" y="521"/>
                </a:cubicBezTo>
                <a:cubicBezTo>
                  <a:pt x="655" y="523"/>
                  <a:pt x="656" y="529"/>
                  <a:pt x="655" y="533"/>
                </a:cubicBezTo>
                <a:close/>
                <a:moveTo>
                  <a:pt x="659" y="476"/>
                </a:moveTo>
                <a:cubicBezTo>
                  <a:pt x="659" y="479"/>
                  <a:pt x="659" y="474"/>
                  <a:pt x="659" y="476"/>
                </a:cubicBezTo>
                <a:close/>
                <a:moveTo>
                  <a:pt x="659" y="479"/>
                </a:moveTo>
                <a:cubicBezTo>
                  <a:pt x="660" y="482"/>
                  <a:pt x="659" y="477"/>
                  <a:pt x="659" y="479"/>
                </a:cubicBezTo>
                <a:close/>
                <a:moveTo>
                  <a:pt x="659" y="492"/>
                </a:moveTo>
                <a:cubicBezTo>
                  <a:pt x="659" y="492"/>
                  <a:pt x="659" y="493"/>
                  <a:pt x="659" y="493"/>
                </a:cubicBezTo>
                <a:cubicBezTo>
                  <a:pt x="660" y="495"/>
                  <a:pt x="658" y="493"/>
                  <a:pt x="659" y="492"/>
                </a:cubicBezTo>
                <a:close/>
                <a:moveTo>
                  <a:pt x="658" y="525"/>
                </a:moveTo>
                <a:cubicBezTo>
                  <a:pt x="659" y="525"/>
                  <a:pt x="659" y="526"/>
                  <a:pt x="658" y="526"/>
                </a:cubicBezTo>
                <a:cubicBezTo>
                  <a:pt x="657" y="526"/>
                  <a:pt x="658" y="525"/>
                  <a:pt x="658" y="525"/>
                </a:cubicBezTo>
                <a:close/>
                <a:moveTo>
                  <a:pt x="655" y="464"/>
                </a:moveTo>
                <a:cubicBezTo>
                  <a:pt x="654" y="464"/>
                  <a:pt x="654" y="461"/>
                  <a:pt x="655" y="461"/>
                </a:cubicBezTo>
                <a:cubicBezTo>
                  <a:pt x="656" y="461"/>
                  <a:pt x="656" y="464"/>
                  <a:pt x="655" y="464"/>
                </a:cubicBezTo>
                <a:close/>
                <a:moveTo>
                  <a:pt x="654" y="423"/>
                </a:moveTo>
                <a:cubicBezTo>
                  <a:pt x="654" y="423"/>
                  <a:pt x="654" y="423"/>
                  <a:pt x="653" y="423"/>
                </a:cubicBezTo>
                <a:cubicBezTo>
                  <a:pt x="653" y="422"/>
                  <a:pt x="653" y="422"/>
                  <a:pt x="653" y="422"/>
                </a:cubicBezTo>
                <a:cubicBezTo>
                  <a:pt x="653" y="422"/>
                  <a:pt x="653" y="423"/>
                  <a:pt x="654" y="423"/>
                </a:cubicBezTo>
                <a:close/>
                <a:moveTo>
                  <a:pt x="655" y="454"/>
                </a:moveTo>
                <a:cubicBezTo>
                  <a:pt x="653" y="452"/>
                  <a:pt x="649" y="448"/>
                  <a:pt x="649" y="445"/>
                </a:cubicBezTo>
                <a:cubicBezTo>
                  <a:pt x="651" y="449"/>
                  <a:pt x="654" y="450"/>
                  <a:pt x="655" y="454"/>
                </a:cubicBezTo>
                <a:close/>
                <a:moveTo>
                  <a:pt x="648" y="439"/>
                </a:moveTo>
                <a:cubicBezTo>
                  <a:pt x="648" y="439"/>
                  <a:pt x="648" y="440"/>
                  <a:pt x="648" y="440"/>
                </a:cubicBezTo>
                <a:cubicBezTo>
                  <a:pt x="647" y="440"/>
                  <a:pt x="647" y="438"/>
                  <a:pt x="648" y="439"/>
                </a:cubicBezTo>
                <a:close/>
                <a:moveTo>
                  <a:pt x="647" y="500"/>
                </a:moveTo>
                <a:cubicBezTo>
                  <a:pt x="648" y="501"/>
                  <a:pt x="648" y="502"/>
                  <a:pt x="647" y="502"/>
                </a:cubicBezTo>
                <a:cubicBezTo>
                  <a:pt x="643" y="503"/>
                  <a:pt x="646" y="496"/>
                  <a:pt x="647" y="500"/>
                </a:cubicBezTo>
                <a:close/>
                <a:moveTo>
                  <a:pt x="646" y="457"/>
                </a:moveTo>
                <a:cubicBezTo>
                  <a:pt x="646" y="457"/>
                  <a:pt x="646" y="458"/>
                  <a:pt x="646" y="458"/>
                </a:cubicBezTo>
                <a:cubicBezTo>
                  <a:pt x="644" y="459"/>
                  <a:pt x="645" y="456"/>
                  <a:pt x="646" y="457"/>
                </a:cubicBezTo>
                <a:close/>
                <a:moveTo>
                  <a:pt x="642" y="405"/>
                </a:moveTo>
                <a:cubicBezTo>
                  <a:pt x="642" y="406"/>
                  <a:pt x="643" y="406"/>
                  <a:pt x="642" y="406"/>
                </a:cubicBezTo>
                <a:cubicBezTo>
                  <a:pt x="642" y="407"/>
                  <a:pt x="642" y="405"/>
                  <a:pt x="642" y="405"/>
                </a:cubicBezTo>
                <a:close/>
                <a:moveTo>
                  <a:pt x="642" y="528"/>
                </a:moveTo>
                <a:cubicBezTo>
                  <a:pt x="645" y="524"/>
                  <a:pt x="650" y="530"/>
                  <a:pt x="651" y="533"/>
                </a:cubicBezTo>
                <a:cubicBezTo>
                  <a:pt x="651" y="543"/>
                  <a:pt x="638" y="533"/>
                  <a:pt x="642" y="528"/>
                </a:cubicBezTo>
                <a:close/>
                <a:moveTo>
                  <a:pt x="641" y="494"/>
                </a:moveTo>
                <a:cubicBezTo>
                  <a:pt x="640" y="493"/>
                  <a:pt x="640" y="491"/>
                  <a:pt x="641" y="490"/>
                </a:cubicBezTo>
                <a:cubicBezTo>
                  <a:pt x="641" y="491"/>
                  <a:pt x="641" y="492"/>
                  <a:pt x="641" y="494"/>
                </a:cubicBezTo>
                <a:close/>
                <a:moveTo>
                  <a:pt x="641" y="488"/>
                </a:moveTo>
                <a:cubicBezTo>
                  <a:pt x="641" y="488"/>
                  <a:pt x="641" y="488"/>
                  <a:pt x="641" y="488"/>
                </a:cubicBezTo>
                <a:cubicBezTo>
                  <a:pt x="641" y="488"/>
                  <a:pt x="641" y="488"/>
                  <a:pt x="641" y="488"/>
                </a:cubicBezTo>
                <a:cubicBezTo>
                  <a:pt x="641" y="488"/>
                  <a:pt x="641" y="488"/>
                  <a:pt x="641" y="488"/>
                </a:cubicBezTo>
                <a:close/>
                <a:moveTo>
                  <a:pt x="641" y="452"/>
                </a:moveTo>
                <a:cubicBezTo>
                  <a:pt x="641" y="452"/>
                  <a:pt x="641" y="452"/>
                  <a:pt x="641" y="452"/>
                </a:cubicBezTo>
                <a:cubicBezTo>
                  <a:pt x="641" y="454"/>
                  <a:pt x="640" y="450"/>
                  <a:pt x="641" y="452"/>
                </a:cubicBezTo>
                <a:close/>
                <a:moveTo>
                  <a:pt x="641" y="478"/>
                </a:moveTo>
                <a:cubicBezTo>
                  <a:pt x="641" y="478"/>
                  <a:pt x="641" y="479"/>
                  <a:pt x="641" y="479"/>
                </a:cubicBezTo>
                <a:cubicBezTo>
                  <a:pt x="641" y="479"/>
                  <a:pt x="641" y="479"/>
                  <a:pt x="641" y="480"/>
                </a:cubicBezTo>
                <a:cubicBezTo>
                  <a:pt x="641" y="480"/>
                  <a:pt x="641" y="481"/>
                  <a:pt x="641" y="480"/>
                </a:cubicBezTo>
                <a:cubicBezTo>
                  <a:pt x="641" y="480"/>
                  <a:pt x="641" y="479"/>
                  <a:pt x="641" y="479"/>
                </a:cubicBezTo>
                <a:cubicBezTo>
                  <a:pt x="641" y="479"/>
                  <a:pt x="641" y="479"/>
                  <a:pt x="641" y="479"/>
                </a:cubicBezTo>
                <a:cubicBezTo>
                  <a:pt x="641" y="479"/>
                  <a:pt x="641" y="478"/>
                  <a:pt x="641" y="478"/>
                </a:cubicBezTo>
                <a:close/>
                <a:moveTo>
                  <a:pt x="641" y="482"/>
                </a:moveTo>
                <a:cubicBezTo>
                  <a:pt x="641" y="483"/>
                  <a:pt x="641" y="485"/>
                  <a:pt x="641" y="487"/>
                </a:cubicBezTo>
                <a:cubicBezTo>
                  <a:pt x="640" y="486"/>
                  <a:pt x="640" y="484"/>
                  <a:pt x="641" y="482"/>
                </a:cubicBezTo>
                <a:close/>
                <a:moveTo>
                  <a:pt x="640" y="442"/>
                </a:moveTo>
                <a:cubicBezTo>
                  <a:pt x="639" y="440"/>
                  <a:pt x="634" y="435"/>
                  <a:pt x="634" y="432"/>
                </a:cubicBezTo>
                <a:cubicBezTo>
                  <a:pt x="636" y="435"/>
                  <a:pt x="639" y="439"/>
                  <a:pt x="640" y="442"/>
                </a:cubicBezTo>
                <a:close/>
                <a:moveTo>
                  <a:pt x="633" y="488"/>
                </a:moveTo>
                <a:cubicBezTo>
                  <a:pt x="634" y="488"/>
                  <a:pt x="634" y="489"/>
                  <a:pt x="634" y="489"/>
                </a:cubicBezTo>
                <a:cubicBezTo>
                  <a:pt x="634" y="492"/>
                  <a:pt x="630" y="488"/>
                  <a:pt x="633" y="488"/>
                </a:cubicBezTo>
                <a:close/>
                <a:moveTo>
                  <a:pt x="633" y="524"/>
                </a:moveTo>
                <a:cubicBezTo>
                  <a:pt x="634" y="524"/>
                  <a:pt x="634" y="526"/>
                  <a:pt x="632" y="526"/>
                </a:cubicBezTo>
                <a:cubicBezTo>
                  <a:pt x="631" y="526"/>
                  <a:pt x="631" y="524"/>
                  <a:pt x="633" y="524"/>
                </a:cubicBezTo>
                <a:close/>
                <a:moveTo>
                  <a:pt x="582" y="488"/>
                </a:moveTo>
                <a:cubicBezTo>
                  <a:pt x="583" y="489"/>
                  <a:pt x="581" y="487"/>
                  <a:pt x="582" y="488"/>
                </a:cubicBezTo>
                <a:close/>
                <a:moveTo>
                  <a:pt x="583" y="573"/>
                </a:moveTo>
                <a:cubicBezTo>
                  <a:pt x="585" y="572"/>
                  <a:pt x="587" y="574"/>
                  <a:pt x="589" y="575"/>
                </a:cubicBezTo>
                <a:cubicBezTo>
                  <a:pt x="587" y="575"/>
                  <a:pt x="585" y="574"/>
                  <a:pt x="583" y="573"/>
                </a:cubicBezTo>
                <a:close/>
                <a:moveTo>
                  <a:pt x="590" y="563"/>
                </a:moveTo>
                <a:cubicBezTo>
                  <a:pt x="591" y="564"/>
                  <a:pt x="590" y="565"/>
                  <a:pt x="590" y="563"/>
                </a:cubicBezTo>
                <a:close/>
                <a:moveTo>
                  <a:pt x="590" y="549"/>
                </a:moveTo>
                <a:cubicBezTo>
                  <a:pt x="588" y="548"/>
                  <a:pt x="590" y="547"/>
                  <a:pt x="590" y="549"/>
                </a:cubicBezTo>
                <a:close/>
                <a:moveTo>
                  <a:pt x="595" y="560"/>
                </a:moveTo>
                <a:cubicBezTo>
                  <a:pt x="594" y="559"/>
                  <a:pt x="594" y="557"/>
                  <a:pt x="595" y="555"/>
                </a:cubicBezTo>
                <a:cubicBezTo>
                  <a:pt x="596" y="556"/>
                  <a:pt x="595" y="558"/>
                  <a:pt x="595" y="560"/>
                </a:cubicBezTo>
                <a:close/>
                <a:moveTo>
                  <a:pt x="603" y="595"/>
                </a:moveTo>
                <a:cubicBezTo>
                  <a:pt x="600" y="596"/>
                  <a:pt x="600" y="592"/>
                  <a:pt x="603" y="595"/>
                </a:cubicBezTo>
                <a:close/>
                <a:moveTo>
                  <a:pt x="607" y="583"/>
                </a:moveTo>
                <a:cubicBezTo>
                  <a:pt x="603" y="584"/>
                  <a:pt x="604" y="579"/>
                  <a:pt x="604" y="577"/>
                </a:cubicBezTo>
                <a:cubicBezTo>
                  <a:pt x="607" y="576"/>
                  <a:pt x="611" y="582"/>
                  <a:pt x="607" y="583"/>
                </a:cubicBezTo>
                <a:close/>
                <a:moveTo>
                  <a:pt x="606" y="564"/>
                </a:moveTo>
                <a:cubicBezTo>
                  <a:pt x="608" y="564"/>
                  <a:pt x="609" y="565"/>
                  <a:pt x="610" y="567"/>
                </a:cubicBezTo>
                <a:cubicBezTo>
                  <a:pt x="610" y="567"/>
                  <a:pt x="610" y="567"/>
                  <a:pt x="610" y="567"/>
                </a:cubicBezTo>
                <a:cubicBezTo>
                  <a:pt x="610" y="567"/>
                  <a:pt x="610" y="567"/>
                  <a:pt x="610" y="567"/>
                </a:cubicBezTo>
                <a:cubicBezTo>
                  <a:pt x="611" y="568"/>
                  <a:pt x="612" y="569"/>
                  <a:pt x="612" y="569"/>
                </a:cubicBezTo>
                <a:cubicBezTo>
                  <a:pt x="613" y="569"/>
                  <a:pt x="613" y="569"/>
                  <a:pt x="613" y="570"/>
                </a:cubicBezTo>
                <a:cubicBezTo>
                  <a:pt x="613" y="570"/>
                  <a:pt x="613" y="570"/>
                  <a:pt x="613" y="570"/>
                </a:cubicBezTo>
                <a:cubicBezTo>
                  <a:pt x="613" y="570"/>
                  <a:pt x="613" y="570"/>
                  <a:pt x="613" y="570"/>
                </a:cubicBezTo>
                <a:cubicBezTo>
                  <a:pt x="613" y="570"/>
                  <a:pt x="613" y="570"/>
                  <a:pt x="613" y="571"/>
                </a:cubicBezTo>
                <a:cubicBezTo>
                  <a:pt x="613" y="570"/>
                  <a:pt x="612" y="570"/>
                  <a:pt x="612" y="570"/>
                </a:cubicBezTo>
                <a:cubicBezTo>
                  <a:pt x="610" y="568"/>
                  <a:pt x="608" y="565"/>
                  <a:pt x="606" y="564"/>
                </a:cubicBezTo>
                <a:close/>
                <a:moveTo>
                  <a:pt x="613" y="568"/>
                </a:moveTo>
                <a:cubicBezTo>
                  <a:pt x="611" y="567"/>
                  <a:pt x="613" y="565"/>
                  <a:pt x="613" y="568"/>
                </a:cubicBezTo>
                <a:close/>
                <a:moveTo>
                  <a:pt x="616" y="579"/>
                </a:moveTo>
                <a:cubicBezTo>
                  <a:pt x="612" y="580"/>
                  <a:pt x="611" y="573"/>
                  <a:pt x="613" y="572"/>
                </a:cubicBezTo>
                <a:cubicBezTo>
                  <a:pt x="616" y="570"/>
                  <a:pt x="618" y="575"/>
                  <a:pt x="618" y="576"/>
                </a:cubicBezTo>
                <a:cubicBezTo>
                  <a:pt x="618" y="578"/>
                  <a:pt x="617" y="579"/>
                  <a:pt x="616" y="579"/>
                </a:cubicBezTo>
                <a:close/>
                <a:moveTo>
                  <a:pt x="615" y="543"/>
                </a:moveTo>
                <a:cubicBezTo>
                  <a:pt x="616" y="543"/>
                  <a:pt x="617" y="543"/>
                  <a:pt x="617" y="544"/>
                </a:cubicBezTo>
                <a:cubicBezTo>
                  <a:pt x="618" y="547"/>
                  <a:pt x="613" y="545"/>
                  <a:pt x="615" y="543"/>
                </a:cubicBezTo>
                <a:close/>
                <a:moveTo>
                  <a:pt x="615" y="515"/>
                </a:moveTo>
                <a:cubicBezTo>
                  <a:pt x="616" y="515"/>
                  <a:pt x="616" y="516"/>
                  <a:pt x="616" y="516"/>
                </a:cubicBezTo>
                <a:cubicBezTo>
                  <a:pt x="617" y="518"/>
                  <a:pt x="614" y="516"/>
                  <a:pt x="615" y="515"/>
                </a:cubicBezTo>
                <a:close/>
                <a:moveTo>
                  <a:pt x="617" y="556"/>
                </a:moveTo>
                <a:cubicBezTo>
                  <a:pt x="617" y="556"/>
                  <a:pt x="617" y="556"/>
                  <a:pt x="617" y="556"/>
                </a:cubicBezTo>
                <a:cubicBezTo>
                  <a:pt x="615" y="555"/>
                  <a:pt x="618" y="555"/>
                  <a:pt x="617" y="556"/>
                </a:cubicBezTo>
                <a:close/>
                <a:moveTo>
                  <a:pt x="618" y="554"/>
                </a:moveTo>
                <a:cubicBezTo>
                  <a:pt x="618" y="553"/>
                  <a:pt x="618" y="555"/>
                  <a:pt x="618" y="555"/>
                </a:cubicBezTo>
                <a:cubicBezTo>
                  <a:pt x="618" y="556"/>
                  <a:pt x="616" y="555"/>
                  <a:pt x="618" y="554"/>
                </a:cubicBezTo>
                <a:close/>
                <a:moveTo>
                  <a:pt x="618" y="537"/>
                </a:moveTo>
                <a:cubicBezTo>
                  <a:pt x="617" y="536"/>
                  <a:pt x="617" y="533"/>
                  <a:pt x="619" y="534"/>
                </a:cubicBezTo>
                <a:cubicBezTo>
                  <a:pt x="620" y="534"/>
                  <a:pt x="620" y="538"/>
                  <a:pt x="618" y="537"/>
                </a:cubicBezTo>
                <a:close/>
                <a:moveTo>
                  <a:pt x="621" y="553"/>
                </a:moveTo>
                <a:cubicBezTo>
                  <a:pt x="619" y="554"/>
                  <a:pt x="620" y="549"/>
                  <a:pt x="621" y="552"/>
                </a:cubicBezTo>
                <a:cubicBezTo>
                  <a:pt x="622" y="552"/>
                  <a:pt x="622" y="553"/>
                  <a:pt x="621" y="553"/>
                </a:cubicBezTo>
                <a:close/>
                <a:moveTo>
                  <a:pt x="623" y="544"/>
                </a:moveTo>
                <a:cubicBezTo>
                  <a:pt x="622" y="543"/>
                  <a:pt x="624" y="543"/>
                  <a:pt x="623" y="544"/>
                </a:cubicBezTo>
                <a:close/>
                <a:moveTo>
                  <a:pt x="624" y="553"/>
                </a:moveTo>
                <a:cubicBezTo>
                  <a:pt x="625" y="554"/>
                  <a:pt x="623" y="551"/>
                  <a:pt x="624" y="553"/>
                </a:cubicBezTo>
                <a:close/>
                <a:moveTo>
                  <a:pt x="624" y="503"/>
                </a:moveTo>
                <a:cubicBezTo>
                  <a:pt x="622" y="502"/>
                  <a:pt x="623" y="497"/>
                  <a:pt x="626" y="497"/>
                </a:cubicBezTo>
                <a:cubicBezTo>
                  <a:pt x="629" y="498"/>
                  <a:pt x="627" y="505"/>
                  <a:pt x="624" y="503"/>
                </a:cubicBezTo>
                <a:close/>
                <a:moveTo>
                  <a:pt x="628" y="419"/>
                </a:moveTo>
                <a:cubicBezTo>
                  <a:pt x="629" y="420"/>
                  <a:pt x="628" y="421"/>
                  <a:pt x="627" y="420"/>
                </a:cubicBezTo>
                <a:cubicBezTo>
                  <a:pt x="627" y="419"/>
                  <a:pt x="628" y="419"/>
                  <a:pt x="628" y="419"/>
                </a:cubicBezTo>
                <a:close/>
                <a:moveTo>
                  <a:pt x="628" y="466"/>
                </a:moveTo>
                <a:cubicBezTo>
                  <a:pt x="629" y="467"/>
                  <a:pt x="627" y="472"/>
                  <a:pt x="624" y="469"/>
                </a:cubicBezTo>
                <a:cubicBezTo>
                  <a:pt x="623" y="468"/>
                  <a:pt x="626" y="465"/>
                  <a:pt x="628" y="466"/>
                </a:cubicBezTo>
                <a:close/>
                <a:moveTo>
                  <a:pt x="624" y="448"/>
                </a:moveTo>
                <a:cubicBezTo>
                  <a:pt x="627" y="450"/>
                  <a:pt x="625" y="451"/>
                  <a:pt x="624" y="448"/>
                </a:cubicBezTo>
                <a:close/>
                <a:moveTo>
                  <a:pt x="624" y="438"/>
                </a:moveTo>
                <a:cubicBezTo>
                  <a:pt x="625" y="439"/>
                  <a:pt x="623" y="437"/>
                  <a:pt x="624" y="438"/>
                </a:cubicBezTo>
                <a:close/>
                <a:moveTo>
                  <a:pt x="625" y="439"/>
                </a:moveTo>
                <a:cubicBezTo>
                  <a:pt x="628" y="439"/>
                  <a:pt x="628" y="444"/>
                  <a:pt x="625" y="444"/>
                </a:cubicBezTo>
                <a:cubicBezTo>
                  <a:pt x="623" y="444"/>
                  <a:pt x="623" y="439"/>
                  <a:pt x="625" y="439"/>
                </a:cubicBezTo>
                <a:close/>
                <a:moveTo>
                  <a:pt x="623" y="483"/>
                </a:moveTo>
                <a:cubicBezTo>
                  <a:pt x="624" y="484"/>
                  <a:pt x="622" y="484"/>
                  <a:pt x="623" y="483"/>
                </a:cubicBezTo>
                <a:close/>
                <a:moveTo>
                  <a:pt x="621" y="454"/>
                </a:moveTo>
                <a:cubicBezTo>
                  <a:pt x="622" y="454"/>
                  <a:pt x="621" y="455"/>
                  <a:pt x="621" y="455"/>
                </a:cubicBezTo>
                <a:cubicBezTo>
                  <a:pt x="620" y="454"/>
                  <a:pt x="621" y="454"/>
                  <a:pt x="621" y="454"/>
                </a:cubicBezTo>
                <a:close/>
                <a:moveTo>
                  <a:pt x="618" y="462"/>
                </a:moveTo>
                <a:cubicBezTo>
                  <a:pt x="618" y="462"/>
                  <a:pt x="619" y="463"/>
                  <a:pt x="619" y="463"/>
                </a:cubicBezTo>
                <a:cubicBezTo>
                  <a:pt x="618" y="464"/>
                  <a:pt x="618" y="461"/>
                  <a:pt x="618" y="462"/>
                </a:cubicBezTo>
                <a:close/>
                <a:moveTo>
                  <a:pt x="615" y="421"/>
                </a:moveTo>
                <a:cubicBezTo>
                  <a:pt x="616" y="421"/>
                  <a:pt x="616" y="422"/>
                  <a:pt x="616" y="422"/>
                </a:cubicBezTo>
                <a:cubicBezTo>
                  <a:pt x="615" y="423"/>
                  <a:pt x="615" y="421"/>
                  <a:pt x="615" y="421"/>
                </a:cubicBezTo>
                <a:close/>
                <a:moveTo>
                  <a:pt x="625" y="495"/>
                </a:moveTo>
                <a:cubicBezTo>
                  <a:pt x="624" y="495"/>
                  <a:pt x="622" y="497"/>
                  <a:pt x="621" y="496"/>
                </a:cubicBezTo>
                <a:cubicBezTo>
                  <a:pt x="620" y="495"/>
                  <a:pt x="622" y="494"/>
                  <a:pt x="621" y="493"/>
                </a:cubicBezTo>
                <a:cubicBezTo>
                  <a:pt x="620" y="490"/>
                  <a:pt x="616" y="488"/>
                  <a:pt x="615" y="485"/>
                </a:cubicBezTo>
                <a:cubicBezTo>
                  <a:pt x="618" y="487"/>
                  <a:pt x="621" y="491"/>
                  <a:pt x="625" y="495"/>
                </a:cubicBezTo>
                <a:close/>
                <a:moveTo>
                  <a:pt x="612" y="402"/>
                </a:moveTo>
                <a:cubicBezTo>
                  <a:pt x="613" y="401"/>
                  <a:pt x="614" y="403"/>
                  <a:pt x="614" y="403"/>
                </a:cubicBezTo>
                <a:cubicBezTo>
                  <a:pt x="614" y="406"/>
                  <a:pt x="610" y="403"/>
                  <a:pt x="612" y="402"/>
                </a:cubicBezTo>
                <a:close/>
                <a:moveTo>
                  <a:pt x="612" y="522"/>
                </a:moveTo>
                <a:cubicBezTo>
                  <a:pt x="613" y="522"/>
                  <a:pt x="613" y="524"/>
                  <a:pt x="612" y="524"/>
                </a:cubicBezTo>
                <a:cubicBezTo>
                  <a:pt x="611" y="523"/>
                  <a:pt x="611" y="522"/>
                  <a:pt x="612" y="522"/>
                </a:cubicBezTo>
                <a:close/>
                <a:moveTo>
                  <a:pt x="612" y="517"/>
                </a:moveTo>
                <a:cubicBezTo>
                  <a:pt x="613" y="519"/>
                  <a:pt x="612" y="516"/>
                  <a:pt x="612" y="517"/>
                </a:cubicBezTo>
                <a:close/>
                <a:moveTo>
                  <a:pt x="613" y="502"/>
                </a:moveTo>
                <a:cubicBezTo>
                  <a:pt x="613" y="503"/>
                  <a:pt x="614" y="504"/>
                  <a:pt x="613" y="505"/>
                </a:cubicBezTo>
                <a:cubicBezTo>
                  <a:pt x="613" y="504"/>
                  <a:pt x="612" y="503"/>
                  <a:pt x="613" y="502"/>
                </a:cubicBezTo>
                <a:close/>
                <a:moveTo>
                  <a:pt x="612" y="484"/>
                </a:moveTo>
                <a:cubicBezTo>
                  <a:pt x="613" y="484"/>
                  <a:pt x="614" y="487"/>
                  <a:pt x="612" y="487"/>
                </a:cubicBezTo>
                <a:cubicBezTo>
                  <a:pt x="610" y="486"/>
                  <a:pt x="611" y="484"/>
                  <a:pt x="612" y="484"/>
                </a:cubicBezTo>
                <a:close/>
                <a:moveTo>
                  <a:pt x="611" y="489"/>
                </a:moveTo>
                <a:cubicBezTo>
                  <a:pt x="612" y="488"/>
                  <a:pt x="612" y="490"/>
                  <a:pt x="612" y="490"/>
                </a:cubicBezTo>
                <a:cubicBezTo>
                  <a:pt x="613" y="493"/>
                  <a:pt x="609" y="489"/>
                  <a:pt x="611" y="489"/>
                </a:cubicBezTo>
                <a:close/>
                <a:moveTo>
                  <a:pt x="609" y="556"/>
                </a:moveTo>
                <a:cubicBezTo>
                  <a:pt x="612" y="553"/>
                  <a:pt x="618" y="559"/>
                  <a:pt x="614" y="562"/>
                </a:cubicBezTo>
                <a:cubicBezTo>
                  <a:pt x="615" y="561"/>
                  <a:pt x="617" y="563"/>
                  <a:pt x="616" y="564"/>
                </a:cubicBezTo>
                <a:cubicBezTo>
                  <a:pt x="615" y="566"/>
                  <a:pt x="612" y="563"/>
                  <a:pt x="614" y="562"/>
                </a:cubicBezTo>
                <a:cubicBezTo>
                  <a:pt x="611" y="563"/>
                  <a:pt x="607" y="558"/>
                  <a:pt x="609" y="556"/>
                </a:cubicBezTo>
                <a:close/>
                <a:moveTo>
                  <a:pt x="607" y="532"/>
                </a:moveTo>
                <a:cubicBezTo>
                  <a:pt x="607" y="532"/>
                  <a:pt x="608" y="533"/>
                  <a:pt x="608" y="533"/>
                </a:cubicBezTo>
                <a:cubicBezTo>
                  <a:pt x="607" y="534"/>
                  <a:pt x="607" y="532"/>
                  <a:pt x="607" y="532"/>
                </a:cubicBezTo>
                <a:close/>
                <a:moveTo>
                  <a:pt x="607" y="517"/>
                </a:moveTo>
                <a:cubicBezTo>
                  <a:pt x="607" y="517"/>
                  <a:pt x="606" y="517"/>
                  <a:pt x="606" y="517"/>
                </a:cubicBezTo>
                <a:cubicBezTo>
                  <a:pt x="606" y="517"/>
                  <a:pt x="606" y="517"/>
                  <a:pt x="606" y="517"/>
                </a:cubicBezTo>
                <a:cubicBezTo>
                  <a:pt x="606" y="517"/>
                  <a:pt x="607" y="517"/>
                  <a:pt x="607" y="517"/>
                </a:cubicBezTo>
                <a:close/>
                <a:moveTo>
                  <a:pt x="606" y="571"/>
                </a:moveTo>
                <a:cubicBezTo>
                  <a:pt x="606" y="570"/>
                  <a:pt x="606" y="570"/>
                  <a:pt x="606" y="570"/>
                </a:cubicBezTo>
                <a:cubicBezTo>
                  <a:pt x="606" y="571"/>
                  <a:pt x="607" y="572"/>
                  <a:pt x="606" y="571"/>
                </a:cubicBezTo>
                <a:close/>
                <a:moveTo>
                  <a:pt x="605" y="461"/>
                </a:moveTo>
                <a:cubicBezTo>
                  <a:pt x="605" y="461"/>
                  <a:pt x="606" y="462"/>
                  <a:pt x="605" y="462"/>
                </a:cubicBezTo>
                <a:cubicBezTo>
                  <a:pt x="605" y="463"/>
                  <a:pt x="605" y="461"/>
                  <a:pt x="605" y="461"/>
                </a:cubicBezTo>
                <a:close/>
                <a:moveTo>
                  <a:pt x="602" y="525"/>
                </a:moveTo>
                <a:cubicBezTo>
                  <a:pt x="603" y="527"/>
                  <a:pt x="604" y="530"/>
                  <a:pt x="604" y="534"/>
                </a:cubicBezTo>
                <a:cubicBezTo>
                  <a:pt x="603" y="531"/>
                  <a:pt x="602" y="528"/>
                  <a:pt x="602" y="525"/>
                </a:cubicBezTo>
                <a:close/>
                <a:moveTo>
                  <a:pt x="604" y="450"/>
                </a:moveTo>
                <a:cubicBezTo>
                  <a:pt x="604" y="450"/>
                  <a:pt x="604" y="450"/>
                  <a:pt x="604" y="450"/>
                </a:cubicBezTo>
                <a:cubicBezTo>
                  <a:pt x="603" y="450"/>
                  <a:pt x="604" y="450"/>
                  <a:pt x="604" y="450"/>
                </a:cubicBezTo>
                <a:close/>
                <a:moveTo>
                  <a:pt x="604" y="477"/>
                </a:moveTo>
                <a:cubicBezTo>
                  <a:pt x="603" y="476"/>
                  <a:pt x="604" y="475"/>
                  <a:pt x="604" y="477"/>
                </a:cubicBezTo>
                <a:close/>
                <a:moveTo>
                  <a:pt x="602" y="450"/>
                </a:moveTo>
                <a:cubicBezTo>
                  <a:pt x="602" y="450"/>
                  <a:pt x="601" y="450"/>
                  <a:pt x="601" y="450"/>
                </a:cubicBezTo>
                <a:cubicBezTo>
                  <a:pt x="599" y="450"/>
                  <a:pt x="603" y="448"/>
                  <a:pt x="602" y="450"/>
                </a:cubicBezTo>
                <a:close/>
                <a:moveTo>
                  <a:pt x="601" y="516"/>
                </a:moveTo>
                <a:cubicBezTo>
                  <a:pt x="602" y="518"/>
                  <a:pt x="602" y="521"/>
                  <a:pt x="602" y="522"/>
                </a:cubicBezTo>
                <a:cubicBezTo>
                  <a:pt x="602" y="522"/>
                  <a:pt x="600" y="518"/>
                  <a:pt x="601" y="516"/>
                </a:cubicBezTo>
                <a:close/>
                <a:moveTo>
                  <a:pt x="597" y="521"/>
                </a:moveTo>
                <a:cubicBezTo>
                  <a:pt x="598" y="521"/>
                  <a:pt x="598" y="522"/>
                  <a:pt x="599" y="522"/>
                </a:cubicBezTo>
                <a:cubicBezTo>
                  <a:pt x="599" y="523"/>
                  <a:pt x="597" y="522"/>
                  <a:pt x="597" y="521"/>
                </a:cubicBezTo>
                <a:close/>
                <a:moveTo>
                  <a:pt x="597" y="542"/>
                </a:moveTo>
                <a:cubicBezTo>
                  <a:pt x="598" y="545"/>
                  <a:pt x="593" y="542"/>
                  <a:pt x="595" y="540"/>
                </a:cubicBezTo>
                <a:cubicBezTo>
                  <a:pt x="596" y="539"/>
                  <a:pt x="597" y="541"/>
                  <a:pt x="597" y="542"/>
                </a:cubicBezTo>
                <a:close/>
                <a:moveTo>
                  <a:pt x="594" y="433"/>
                </a:moveTo>
                <a:cubicBezTo>
                  <a:pt x="593" y="434"/>
                  <a:pt x="594" y="431"/>
                  <a:pt x="594" y="433"/>
                </a:cubicBezTo>
                <a:close/>
                <a:moveTo>
                  <a:pt x="595" y="451"/>
                </a:moveTo>
                <a:cubicBezTo>
                  <a:pt x="595" y="451"/>
                  <a:pt x="595" y="452"/>
                  <a:pt x="596" y="453"/>
                </a:cubicBezTo>
                <a:cubicBezTo>
                  <a:pt x="596" y="455"/>
                  <a:pt x="592" y="452"/>
                  <a:pt x="595" y="451"/>
                </a:cubicBezTo>
                <a:close/>
                <a:moveTo>
                  <a:pt x="595" y="520"/>
                </a:moveTo>
                <a:cubicBezTo>
                  <a:pt x="595" y="520"/>
                  <a:pt x="595" y="520"/>
                  <a:pt x="594" y="519"/>
                </a:cubicBezTo>
                <a:cubicBezTo>
                  <a:pt x="594" y="519"/>
                  <a:pt x="594" y="519"/>
                  <a:pt x="594" y="519"/>
                </a:cubicBezTo>
                <a:cubicBezTo>
                  <a:pt x="594" y="519"/>
                  <a:pt x="595" y="520"/>
                  <a:pt x="595" y="520"/>
                </a:cubicBezTo>
                <a:close/>
                <a:moveTo>
                  <a:pt x="595" y="538"/>
                </a:moveTo>
                <a:cubicBezTo>
                  <a:pt x="595" y="543"/>
                  <a:pt x="590" y="531"/>
                  <a:pt x="590" y="529"/>
                </a:cubicBezTo>
                <a:cubicBezTo>
                  <a:pt x="591" y="532"/>
                  <a:pt x="589" y="528"/>
                  <a:pt x="589" y="527"/>
                </a:cubicBezTo>
                <a:cubicBezTo>
                  <a:pt x="591" y="527"/>
                  <a:pt x="592" y="531"/>
                  <a:pt x="592" y="531"/>
                </a:cubicBezTo>
                <a:cubicBezTo>
                  <a:pt x="593" y="533"/>
                  <a:pt x="595" y="536"/>
                  <a:pt x="595" y="538"/>
                </a:cubicBezTo>
                <a:close/>
                <a:moveTo>
                  <a:pt x="590" y="422"/>
                </a:moveTo>
                <a:cubicBezTo>
                  <a:pt x="589" y="421"/>
                  <a:pt x="591" y="423"/>
                  <a:pt x="590" y="422"/>
                </a:cubicBezTo>
                <a:close/>
                <a:moveTo>
                  <a:pt x="591" y="452"/>
                </a:moveTo>
                <a:cubicBezTo>
                  <a:pt x="591" y="452"/>
                  <a:pt x="591" y="454"/>
                  <a:pt x="590" y="454"/>
                </a:cubicBezTo>
                <a:cubicBezTo>
                  <a:pt x="589" y="454"/>
                  <a:pt x="590" y="452"/>
                  <a:pt x="591" y="452"/>
                </a:cubicBezTo>
                <a:close/>
                <a:moveTo>
                  <a:pt x="588" y="505"/>
                </a:moveTo>
                <a:cubicBezTo>
                  <a:pt x="590" y="505"/>
                  <a:pt x="591" y="509"/>
                  <a:pt x="590" y="510"/>
                </a:cubicBezTo>
                <a:cubicBezTo>
                  <a:pt x="588" y="511"/>
                  <a:pt x="587" y="507"/>
                  <a:pt x="588" y="505"/>
                </a:cubicBezTo>
                <a:close/>
                <a:moveTo>
                  <a:pt x="589" y="546"/>
                </a:moveTo>
                <a:cubicBezTo>
                  <a:pt x="589" y="545"/>
                  <a:pt x="589" y="545"/>
                  <a:pt x="589" y="545"/>
                </a:cubicBezTo>
                <a:cubicBezTo>
                  <a:pt x="589" y="545"/>
                  <a:pt x="589" y="545"/>
                  <a:pt x="589" y="546"/>
                </a:cubicBezTo>
                <a:cubicBezTo>
                  <a:pt x="589" y="546"/>
                  <a:pt x="589" y="546"/>
                  <a:pt x="589" y="546"/>
                </a:cubicBezTo>
                <a:cubicBezTo>
                  <a:pt x="589" y="546"/>
                  <a:pt x="589" y="546"/>
                  <a:pt x="589" y="546"/>
                </a:cubicBezTo>
                <a:close/>
                <a:moveTo>
                  <a:pt x="590" y="552"/>
                </a:moveTo>
                <a:cubicBezTo>
                  <a:pt x="589" y="552"/>
                  <a:pt x="587" y="550"/>
                  <a:pt x="587" y="549"/>
                </a:cubicBezTo>
                <a:cubicBezTo>
                  <a:pt x="589" y="549"/>
                  <a:pt x="588" y="551"/>
                  <a:pt x="590" y="552"/>
                </a:cubicBezTo>
                <a:close/>
                <a:moveTo>
                  <a:pt x="587" y="548"/>
                </a:moveTo>
                <a:cubicBezTo>
                  <a:pt x="586" y="545"/>
                  <a:pt x="587" y="549"/>
                  <a:pt x="587" y="548"/>
                </a:cubicBezTo>
                <a:close/>
                <a:moveTo>
                  <a:pt x="586" y="410"/>
                </a:moveTo>
                <a:cubicBezTo>
                  <a:pt x="586" y="410"/>
                  <a:pt x="586" y="410"/>
                  <a:pt x="586" y="410"/>
                </a:cubicBezTo>
                <a:cubicBezTo>
                  <a:pt x="586" y="410"/>
                  <a:pt x="586" y="410"/>
                  <a:pt x="586" y="410"/>
                </a:cubicBezTo>
                <a:close/>
                <a:moveTo>
                  <a:pt x="586" y="566"/>
                </a:moveTo>
                <a:cubicBezTo>
                  <a:pt x="585" y="565"/>
                  <a:pt x="587" y="568"/>
                  <a:pt x="586" y="566"/>
                </a:cubicBezTo>
                <a:close/>
                <a:moveTo>
                  <a:pt x="585" y="530"/>
                </a:moveTo>
                <a:cubicBezTo>
                  <a:pt x="586" y="530"/>
                  <a:pt x="586" y="532"/>
                  <a:pt x="585" y="531"/>
                </a:cubicBezTo>
                <a:cubicBezTo>
                  <a:pt x="584" y="531"/>
                  <a:pt x="585" y="530"/>
                  <a:pt x="585" y="530"/>
                </a:cubicBezTo>
                <a:close/>
                <a:moveTo>
                  <a:pt x="583" y="469"/>
                </a:moveTo>
                <a:cubicBezTo>
                  <a:pt x="583" y="469"/>
                  <a:pt x="584" y="470"/>
                  <a:pt x="583" y="470"/>
                </a:cubicBezTo>
                <a:cubicBezTo>
                  <a:pt x="583" y="471"/>
                  <a:pt x="583" y="468"/>
                  <a:pt x="583" y="469"/>
                </a:cubicBezTo>
                <a:close/>
                <a:moveTo>
                  <a:pt x="582" y="481"/>
                </a:moveTo>
                <a:cubicBezTo>
                  <a:pt x="582" y="481"/>
                  <a:pt x="582" y="482"/>
                  <a:pt x="582" y="482"/>
                </a:cubicBezTo>
                <a:cubicBezTo>
                  <a:pt x="584" y="484"/>
                  <a:pt x="580" y="480"/>
                  <a:pt x="582" y="481"/>
                </a:cubicBezTo>
                <a:close/>
                <a:moveTo>
                  <a:pt x="574" y="537"/>
                </a:moveTo>
                <a:cubicBezTo>
                  <a:pt x="573" y="535"/>
                  <a:pt x="575" y="538"/>
                  <a:pt x="574" y="537"/>
                </a:cubicBezTo>
                <a:close/>
                <a:moveTo>
                  <a:pt x="577" y="514"/>
                </a:moveTo>
                <a:cubicBezTo>
                  <a:pt x="576" y="514"/>
                  <a:pt x="576" y="510"/>
                  <a:pt x="575" y="509"/>
                </a:cubicBezTo>
                <a:cubicBezTo>
                  <a:pt x="578" y="509"/>
                  <a:pt x="576" y="512"/>
                  <a:pt x="577" y="514"/>
                </a:cubicBezTo>
                <a:close/>
                <a:moveTo>
                  <a:pt x="579" y="552"/>
                </a:moveTo>
                <a:cubicBezTo>
                  <a:pt x="577" y="553"/>
                  <a:pt x="576" y="548"/>
                  <a:pt x="576" y="546"/>
                </a:cubicBezTo>
                <a:cubicBezTo>
                  <a:pt x="578" y="547"/>
                  <a:pt x="581" y="552"/>
                  <a:pt x="579" y="552"/>
                </a:cubicBezTo>
                <a:close/>
                <a:moveTo>
                  <a:pt x="577" y="515"/>
                </a:moveTo>
                <a:cubicBezTo>
                  <a:pt x="578" y="522"/>
                  <a:pt x="580" y="527"/>
                  <a:pt x="581" y="534"/>
                </a:cubicBezTo>
                <a:cubicBezTo>
                  <a:pt x="579" y="528"/>
                  <a:pt x="577" y="522"/>
                  <a:pt x="577" y="515"/>
                </a:cubicBezTo>
                <a:close/>
                <a:moveTo>
                  <a:pt x="580" y="426"/>
                </a:moveTo>
                <a:cubicBezTo>
                  <a:pt x="581" y="426"/>
                  <a:pt x="581" y="427"/>
                  <a:pt x="581" y="427"/>
                </a:cubicBezTo>
                <a:cubicBezTo>
                  <a:pt x="582" y="429"/>
                  <a:pt x="579" y="427"/>
                  <a:pt x="580" y="426"/>
                </a:cubicBezTo>
                <a:close/>
                <a:moveTo>
                  <a:pt x="578" y="464"/>
                </a:moveTo>
                <a:cubicBezTo>
                  <a:pt x="577" y="465"/>
                  <a:pt x="577" y="464"/>
                  <a:pt x="577" y="464"/>
                </a:cubicBezTo>
                <a:cubicBezTo>
                  <a:pt x="578" y="463"/>
                  <a:pt x="578" y="464"/>
                  <a:pt x="578" y="464"/>
                </a:cubicBezTo>
                <a:close/>
                <a:moveTo>
                  <a:pt x="576" y="475"/>
                </a:moveTo>
                <a:cubicBezTo>
                  <a:pt x="576" y="474"/>
                  <a:pt x="577" y="477"/>
                  <a:pt x="576" y="475"/>
                </a:cubicBezTo>
                <a:close/>
                <a:moveTo>
                  <a:pt x="576" y="497"/>
                </a:moveTo>
                <a:cubicBezTo>
                  <a:pt x="576" y="497"/>
                  <a:pt x="576" y="498"/>
                  <a:pt x="576" y="498"/>
                </a:cubicBezTo>
                <a:cubicBezTo>
                  <a:pt x="576" y="499"/>
                  <a:pt x="576" y="497"/>
                  <a:pt x="576" y="497"/>
                </a:cubicBezTo>
                <a:close/>
                <a:moveTo>
                  <a:pt x="576" y="507"/>
                </a:moveTo>
                <a:cubicBezTo>
                  <a:pt x="577" y="507"/>
                  <a:pt x="577" y="508"/>
                  <a:pt x="576" y="508"/>
                </a:cubicBezTo>
                <a:cubicBezTo>
                  <a:pt x="574" y="509"/>
                  <a:pt x="575" y="505"/>
                  <a:pt x="576" y="507"/>
                </a:cubicBezTo>
                <a:close/>
                <a:moveTo>
                  <a:pt x="575" y="486"/>
                </a:moveTo>
                <a:cubicBezTo>
                  <a:pt x="575" y="485"/>
                  <a:pt x="576" y="488"/>
                  <a:pt x="575" y="486"/>
                </a:cubicBezTo>
                <a:close/>
                <a:moveTo>
                  <a:pt x="573" y="519"/>
                </a:moveTo>
                <a:cubicBezTo>
                  <a:pt x="574" y="524"/>
                  <a:pt x="577" y="528"/>
                  <a:pt x="576" y="533"/>
                </a:cubicBezTo>
                <a:cubicBezTo>
                  <a:pt x="573" y="530"/>
                  <a:pt x="572" y="524"/>
                  <a:pt x="573" y="519"/>
                </a:cubicBezTo>
                <a:close/>
                <a:moveTo>
                  <a:pt x="556" y="517"/>
                </a:moveTo>
                <a:cubicBezTo>
                  <a:pt x="556" y="517"/>
                  <a:pt x="556" y="516"/>
                  <a:pt x="556" y="516"/>
                </a:cubicBezTo>
                <a:cubicBezTo>
                  <a:pt x="554" y="516"/>
                  <a:pt x="557" y="515"/>
                  <a:pt x="556" y="517"/>
                </a:cubicBezTo>
                <a:close/>
                <a:moveTo>
                  <a:pt x="559" y="486"/>
                </a:moveTo>
                <a:cubicBezTo>
                  <a:pt x="558" y="486"/>
                  <a:pt x="559" y="485"/>
                  <a:pt x="559" y="485"/>
                </a:cubicBezTo>
                <a:cubicBezTo>
                  <a:pt x="559" y="485"/>
                  <a:pt x="559" y="486"/>
                  <a:pt x="559" y="486"/>
                </a:cubicBezTo>
                <a:close/>
                <a:moveTo>
                  <a:pt x="561" y="516"/>
                </a:moveTo>
                <a:cubicBezTo>
                  <a:pt x="560" y="516"/>
                  <a:pt x="560" y="515"/>
                  <a:pt x="560" y="515"/>
                </a:cubicBezTo>
                <a:cubicBezTo>
                  <a:pt x="562" y="514"/>
                  <a:pt x="563" y="517"/>
                  <a:pt x="561" y="516"/>
                </a:cubicBezTo>
                <a:close/>
                <a:moveTo>
                  <a:pt x="572" y="517"/>
                </a:moveTo>
                <a:cubicBezTo>
                  <a:pt x="572" y="517"/>
                  <a:pt x="567" y="506"/>
                  <a:pt x="569" y="506"/>
                </a:cubicBezTo>
                <a:cubicBezTo>
                  <a:pt x="569" y="505"/>
                  <a:pt x="572" y="514"/>
                  <a:pt x="572" y="515"/>
                </a:cubicBezTo>
                <a:cubicBezTo>
                  <a:pt x="572" y="515"/>
                  <a:pt x="572" y="516"/>
                  <a:pt x="572" y="517"/>
                </a:cubicBezTo>
                <a:close/>
                <a:moveTo>
                  <a:pt x="569" y="480"/>
                </a:moveTo>
                <a:cubicBezTo>
                  <a:pt x="570" y="480"/>
                  <a:pt x="570" y="480"/>
                  <a:pt x="570" y="480"/>
                </a:cubicBezTo>
                <a:cubicBezTo>
                  <a:pt x="571" y="482"/>
                  <a:pt x="567" y="479"/>
                  <a:pt x="569" y="480"/>
                </a:cubicBezTo>
                <a:close/>
                <a:moveTo>
                  <a:pt x="570" y="451"/>
                </a:moveTo>
                <a:cubicBezTo>
                  <a:pt x="570" y="451"/>
                  <a:pt x="570" y="452"/>
                  <a:pt x="570" y="453"/>
                </a:cubicBezTo>
                <a:cubicBezTo>
                  <a:pt x="568" y="454"/>
                  <a:pt x="568" y="449"/>
                  <a:pt x="570" y="451"/>
                </a:cubicBezTo>
                <a:close/>
                <a:moveTo>
                  <a:pt x="569" y="528"/>
                </a:moveTo>
                <a:cubicBezTo>
                  <a:pt x="569" y="528"/>
                  <a:pt x="569" y="529"/>
                  <a:pt x="569" y="529"/>
                </a:cubicBezTo>
                <a:cubicBezTo>
                  <a:pt x="567" y="529"/>
                  <a:pt x="569" y="526"/>
                  <a:pt x="569" y="528"/>
                </a:cubicBezTo>
                <a:close/>
                <a:moveTo>
                  <a:pt x="567" y="520"/>
                </a:moveTo>
                <a:cubicBezTo>
                  <a:pt x="567" y="520"/>
                  <a:pt x="567" y="519"/>
                  <a:pt x="567" y="519"/>
                </a:cubicBezTo>
                <a:cubicBezTo>
                  <a:pt x="568" y="519"/>
                  <a:pt x="567" y="521"/>
                  <a:pt x="567" y="520"/>
                </a:cubicBezTo>
                <a:close/>
                <a:moveTo>
                  <a:pt x="567" y="511"/>
                </a:moveTo>
                <a:cubicBezTo>
                  <a:pt x="566" y="511"/>
                  <a:pt x="566" y="509"/>
                  <a:pt x="566" y="508"/>
                </a:cubicBezTo>
                <a:cubicBezTo>
                  <a:pt x="567" y="509"/>
                  <a:pt x="567" y="510"/>
                  <a:pt x="567" y="511"/>
                </a:cubicBezTo>
                <a:close/>
                <a:moveTo>
                  <a:pt x="566" y="507"/>
                </a:moveTo>
                <a:cubicBezTo>
                  <a:pt x="565" y="506"/>
                  <a:pt x="567" y="504"/>
                  <a:pt x="566" y="507"/>
                </a:cubicBezTo>
                <a:close/>
                <a:moveTo>
                  <a:pt x="565" y="501"/>
                </a:moveTo>
                <a:cubicBezTo>
                  <a:pt x="565" y="501"/>
                  <a:pt x="565" y="501"/>
                  <a:pt x="565" y="501"/>
                </a:cubicBezTo>
                <a:cubicBezTo>
                  <a:pt x="565" y="501"/>
                  <a:pt x="565" y="501"/>
                  <a:pt x="565" y="500"/>
                </a:cubicBezTo>
                <a:cubicBezTo>
                  <a:pt x="565" y="501"/>
                  <a:pt x="565" y="501"/>
                  <a:pt x="565" y="501"/>
                </a:cubicBezTo>
                <a:close/>
                <a:moveTo>
                  <a:pt x="565" y="508"/>
                </a:moveTo>
                <a:cubicBezTo>
                  <a:pt x="566" y="510"/>
                  <a:pt x="562" y="508"/>
                  <a:pt x="564" y="507"/>
                </a:cubicBezTo>
                <a:cubicBezTo>
                  <a:pt x="564" y="507"/>
                  <a:pt x="565" y="507"/>
                  <a:pt x="565" y="508"/>
                </a:cubicBezTo>
                <a:close/>
                <a:moveTo>
                  <a:pt x="564" y="502"/>
                </a:moveTo>
                <a:cubicBezTo>
                  <a:pt x="564" y="502"/>
                  <a:pt x="564" y="503"/>
                  <a:pt x="564" y="503"/>
                </a:cubicBezTo>
                <a:cubicBezTo>
                  <a:pt x="565" y="505"/>
                  <a:pt x="561" y="503"/>
                  <a:pt x="564" y="502"/>
                </a:cubicBezTo>
                <a:close/>
                <a:moveTo>
                  <a:pt x="560" y="494"/>
                </a:moveTo>
                <a:cubicBezTo>
                  <a:pt x="562" y="492"/>
                  <a:pt x="564" y="496"/>
                  <a:pt x="564" y="496"/>
                </a:cubicBezTo>
                <a:cubicBezTo>
                  <a:pt x="565" y="501"/>
                  <a:pt x="557" y="496"/>
                  <a:pt x="560" y="494"/>
                </a:cubicBezTo>
                <a:close/>
                <a:moveTo>
                  <a:pt x="557" y="439"/>
                </a:moveTo>
                <a:cubicBezTo>
                  <a:pt x="557" y="440"/>
                  <a:pt x="556" y="438"/>
                  <a:pt x="557" y="439"/>
                </a:cubicBezTo>
                <a:close/>
                <a:moveTo>
                  <a:pt x="555" y="457"/>
                </a:moveTo>
                <a:cubicBezTo>
                  <a:pt x="556" y="456"/>
                  <a:pt x="558" y="461"/>
                  <a:pt x="558" y="460"/>
                </a:cubicBezTo>
                <a:cubicBezTo>
                  <a:pt x="558" y="462"/>
                  <a:pt x="558" y="464"/>
                  <a:pt x="559" y="467"/>
                </a:cubicBezTo>
                <a:cubicBezTo>
                  <a:pt x="560" y="471"/>
                  <a:pt x="564" y="476"/>
                  <a:pt x="564" y="480"/>
                </a:cubicBezTo>
                <a:cubicBezTo>
                  <a:pt x="560" y="478"/>
                  <a:pt x="561" y="472"/>
                  <a:pt x="559" y="469"/>
                </a:cubicBezTo>
                <a:cubicBezTo>
                  <a:pt x="558" y="468"/>
                  <a:pt x="556" y="462"/>
                  <a:pt x="555" y="459"/>
                </a:cubicBezTo>
                <a:cubicBezTo>
                  <a:pt x="555" y="458"/>
                  <a:pt x="553" y="457"/>
                  <a:pt x="555" y="457"/>
                </a:cubicBezTo>
                <a:close/>
                <a:moveTo>
                  <a:pt x="549" y="528"/>
                </a:moveTo>
                <a:cubicBezTo>
                  <a:pt x="549" y="527"/>
                  <a:pt x="550" y="527"/>
                  <a:pt x="550" y="528"/>
                </a:cubicBezTo>
                <a:cubicBezTo>
                  <a:pt x="551" y="529"/>
                  <a:pt x="549" y="528"/>
                  <a:pt x="549" y="528"/>
                </a:cubicBezTo>
                <a:close/>
                <a:moveTo>
                  <a:pt x="540" y="511"/>
                </a:moveTo>
                <a:cubicBezTo>
                  <a:pt x="540" y="513"/>
                  <a:pt x="539" y="510"/>
                  <a:pt x="540" y="511"/>
                </a:cubicBezTo>
                <a:close/>
                <a:moveTo>
                  <a:pt x="541" y="554"/>
                </a:moveTo>
                <a:cubicBezTo>
                  <a:pt x="543" y="553"/>
                  <a:pt x="546" y="557"/>
                  <a:pt x="546" y="557"/>
                </a:cubicBezTo>
                <a:cubicBezTo>
                  <a:pt x="546" y="563"/>
                  <a:pt x="538" y="556"/>
                  <a:pt x="541" y="554"/>
                </a:cubicBezTo>
                <a:close/>
                <a:moveTo>
                  <a:pt x="541" y="528"/>
                </a:moveTo>
                <a:cubicBezTo>
                  <a:pt x="541" y="527"/>
                  <a:pt x="543" y="529"/>
                  <a:pt x="542" y="529"/>
                </a:cubicBezTo>
                <a:cubicBezTo>
                  <a:pt x="542" y="529"/>
                  <a:pt x="541" y="529"/>
                  <a:pt x="541" y="528"/>
                </a:cubicBezTo>
                <a:close/>
                <a:moveTo>
                  <a:pt x="549" y="540"/>
                </a:moveTo>
                <a:cubicBezTo>
                  <a:pt x="550" y="541"/>
                  <a:pt x="548" y="539"/>
                  <a:pt x="549" y="540"/>
                </a:cubicBezTo>
                <a:close/>
                <a:moveTo>
                  <a:pt x="548" y="494"/>
                </a:moveTo>
                <a:cubicBezTo>
                  <a:pt x="547" y="494"/>
                  <a:pt x="547" y="493"/>
                  <a:pt x="547" y="492"/>
                </a:cubicBezTo>
                <a:cubicBezTo>
                  <a:pt x="547" y="492"/>
                  <a:pt x="548" y="493"/>
                  <a:pt x="548" y="494"/>
                </a:cubicBezTo>
                <a:close/>
                <a:moveTo>
                  <a:pt x="546" y="541"/>
                </a:moveTo>
                <a:cubicBezTo>
                  <a:pt x="546" y="544"/>
                  <a:pt x="543" y="538"/>
                  <a:pt x="546" y="539"/>
                </a:cubicBezTo>
                <a:cubicBezTo>
                  <a:pt x="546" y="539"/>
                  <a:pt x="546" y="540"/>
                  <a:pt x="546" y="541"/>
                </a:cubicBezTo>
                <a:close/>
                <a:moveTo>
                  <a:pt x="545" y="522"/>
                </a:moveTo>
                <a:cubicBezTo>
                  <a:pt x="545" y="521"/>
                  <a:pt x="546" y="522"/>
                  <a:pt x="546" y="522"/>
                </a:cubicBezTo>
                <a:cubicBezTo>
                  <a:pt x="546" y="523"/>
                  <a:pt x="544" y="522"/>
                  <a:pt x="545" y="522"/>
                </a:cubicBezTo>
                <a:close/>
                <a:moveTo>
                  <a:pt x="545" y="470"/>
                </a:moveTo>
                <a:cubicBezTo>
                  <a:pt x="545" y="468"/>
                  <a:pt x="544" y="467"/>
                  <a:pt x="544" y="465"/>
                </a:cubicBezTo>
                <a:cubicBezTo>
                  <a:pt x="545" y="466"/>
                  <a:pt x="546" y="468"/>
                  <a:pt x="545" y="470"/>
                </a:cubicBezTo>
                <a:close/>
                <a:moveTo>
                  <a:pt x="543" y="518"/>
                </a:moveTo>
                <a:cubicBezTo>
                  <a:pt x="543" y="518"/>
                  <a:pt x="543" y="518"/>
                  <a:pt x="544" y="518"/>
                </a:cubicBezTo>
                <a:cubicBezTo>
                  <a:pt x="545" y="517"/>
                  <a:pt x="546" y="522"/>
                  <a:pt x="543" y="521"/>
                </a:cubicBezTo>
                <a:cubicBezTo>
                  <a:pt x="543" y="521"/>
                  <a:pt x="542" y="520"/>
                  <a:pt x="542" y="519"/>
                </a:cubicBezTo>
                <a:cubicBezTo>
                  <a:pt x="542" y="519"/>
                  <a:pt x="541" y="519"/>
                  <a:pt x="541" y="518"/>
                </a:cubicBezTo>
                <a:cubicBezTo>
                  <a:pt x="541" y="517"/>
                  <a:pt x="543" y="517"/>
                  <a:pt x="543" y="518"/>
                </a:cubicBezTo>
                <a:cubicBezTo>
                  <a:pt x="543" y="518"/>
                  <a:pt x="543" y="518"/>
                  <a:pt x="543" y="518"/>
                </a:cubicBezTo>
                <a:close/>
                <a:moveTo>
                  <a:pt x="541" y="454"/>
                </a:moveTo>
                <a:cubicBezTo>
                  <a:pt x="542" y="456"/>
                  <a:pt x="543" y="459"/>
                  <a:pt x="543" y="461"/>
                </a:cubicBezTo>
                <a:cubicBezTo>
                  <a:pt x="542" y="459"/>
                  <a:pt x="541" y="457"/>
                  <a:pt x="541" y="454"/>
                </a:cubicBezTo>
                <a:close/>
                <a:moveTo>
                  <a:pt x="539" y="439"/>
                </a:moveTo>
                <a:cubicBezTo>
                  <a:pt x="541" y="443"/>
                  <a:pt x="541" y="450"/>
                  <a:pt x="542" y="454"/>
                </a:cubicBezTo>
                <a:cubicBezTo>
                  <a:pt x="540" y="450"/>
                  <a:pt x="540" y="445"/>
                  <a:pt x="539" y="439"/>
                </a:cubicBezTo>
                <a:close/>
                <a:moveTo>
                  <a:pt x="539" y="439"/>
                </a:moveTo>
                <a:cubicBezTo>
                  <a:pt x="538" y="438"/>
                  <a:pt x="538" y="436"/>
                  <a:pt x="538" y="434"/>
                </a:cubicBezTo>
                <a:cubicBezTo>
                  <a:pt x="540" y="435"/>
                  <a:pt x="540" y="437"/>
                  <a:pt x="539" y="439"/>
                </a:cubicBezTo>
                <a:close/>
                <a:moveTo>
                  <a:pt x="539" y="432"/>
                </a:moveTo>
                <a:cubicBezTo>
                  <a:pt x="539" y="433"/>
                  <a:pt x="540" y="433"/>
                  <a:pt x="539" y="434"/>
                </a:cubicBezTo>
                <a:cubicBezTo>
                  <a:pt x="538" y="434"/>
                  <a:pt x="538" y="429"/>
                  <a:pt x="539" y="432"/>
                </a:cubicBezTo>
                <a:close/>
                <a:moveTo>
                  <a:pt x="538" y="420"/>
                </a:moveTo>
                <a:cubicBezTo>
                  <a:pt x="538" y="420"/>
                  <a:pt x="539" y="420"/>
                  <a:pt x="538" y="421"/>
                </a:cubicBezTo>
                <a:cubicBezTo>
                  <a:pt x="537" y="421"/>
                  <a:pt x="537" y="418"/>
                  <a:pt x="538" y="420"/>
                </a:cubicBezTo>
                <a:close/>
                <a:moveTo>
                  <a:pt x="537" y="551"/>
                </a:moveTo>
                <a:cubicBezTo>
                  <a:pt x="538" y="550"/>
                  <a:pt x="539" y="551"/>
                  <a:pt x="539" y="552"/>
                </a:cubicBezTo>
                <a:cubicBezTo>
                  <a:pt x="539" y="554"/>
                  <a:pt x="536" y="553"/>
                  <a:pt x="537" y="551"/>
                </a:cubicBezTo>
                <a:close/>
                <a:moveTo>
                  <a:pt x="535" y="409"/>
                </a:moveTo>
                <a:cubicBezTo>
                  <a:pt x="536" y="409"/>
                  <a:pt x="536" y="411"/>
                  <a:pt x="535" y="409"/>
                </a:cubicBezTo>
                <a:close/>
                <a:moveTo>
                  <a:pt x="535" y="418"/>
                </a:moveTo>
                <a:cubicBezTo>
                  <a:pt x="533" y="417"/>
                  <a:pt x="535" y="416"/>
                  <a:pt x="535" y="418"/>
                </a:cubicBezTo>
                <a:close/>
                <a:moveTo>
                  <a:pt x="534" y="460"/>
                </a:moveTo>
                <a:cubicBezTo>
                  <a:pt x="535" y="460"/>
                  <a:pt x="536" y="461"/>
                  <a:pt x="536" y="461"/>
                </a:cubicBezTo>
                <a:cubicBezTo>
                  <a:pt x="537" y="465"/>
                  <a:pt x="533" y="461"/>
                  <a:pt x="534" y="460"/>
                </a:cubicBezTo>
                <a:close/>
                <a:moveTo>
                  <a:pt x="301" y="28"/>
                </a:moveTo>
                <a:cubicBezTo>
                  <a:pt x="300" y="27"/>
                  <a:pt x="303" y="29"/>
                  <a:pt x="301" y="28"/>
                </a:cubicBezTo>
                <a:close/>
                <a:moveTo>
                  <a:pt x="308" y="19"/>
                </a:moveTo>
                <a:cubicBezTo>
                  <a:pt x="310" y="20"/>
                  <a:pt x="312" y="22"/>
                  <a:pt x="314" y="24"/>
                </a:cubicBezTo>
                <a:cubicBezTo>
                  <a:pt x="311" y="23"/>
                  <a:pt x="310" y="21"/>
                  <a:pt x="308" y="19"/>
                </a:cubicBezTo>
                <a:close/>
                <a:moveTo>
                  <a:pt x="314" y="19"/>
                </a:moveTo>
                <a:cubicBezTo>
                  <a:pt x="314" y="19"/>
                  <a:pt x="314" y="19"/>
                  <a:pt x="314" y="19"/>
                </a:cubicBezTo>
                <a:cubicBezTo>
                  <a:pt x="315" y="20"/>
                  <a:pt x="314" y="19"/>
                  <a:pt x="314" y="19"/>
                </a:cubicBezTo>
                <a:close/>
                <a:moveTo>
                  <a:pt x="286" y="38"/>
                </a:moveTo>
                <a:cubicBezTo>
                  <a:pt x="286" y="38"/>
                  <a:pt x="286" y="38"/>
                  <a:pt x="286" y="38"/>
                </a:cubicBezTo>
                <a:cubicBezTo>
                  <a:pt x="286" y="38"/>
                  <a:pt x="287" y="38"/>
                  <a:pt x="287" y="38"/>
                </a:cubicBezTo>
                <a:cubicBezTo>
                  <a:pt x="287" y="38"/>
                  <a:pt x="287" y="38"/>
                  <a:pt x="286" y="38"/>
                </a:cubicBezTo>
                <a:close/>
                <a:moveTo>
                  <a:pt x="290" y="56"/>
                </a:moveTo>
                <a:cubicBezTo>
                  <a:pt x="291" y="55"/>
                  <a:pt x="292" y="57"/>
                  <a:pt x="290" y="56"/>
                </a:cubicBezTo>
                <a:close/>
                <a:moveTo>
                  <a:pt x="294" y="57"/>
                </a:moveTo>
                <a:cubicBezTo>
                  <a:pt x="292" y="57"/>
                  <a:pt x="293" y="55"/>
                  <a:pt x="294" y="57"/>
                </a:cubicBezTo>
                <a:close/>
                <a:moveTo>
                  <a:pt x="292" y="34"/>
                </a:moveTo>
                <a:cubicBezTo>
                  <a:pt x="293" y="33"/>
                  <a:pt x="294" y="34"/>
                  <a:pt x="294" y="35"/>
                </a:cubicBezTo>
                <a:cubicBezTo>
                  <a:pt x="293" y="35"/>
                  <a:pt x="293" y="34"/>
                  <a:pt x="292" y="34"/>
                </a:cubicBezTo>
                <a:close/>
                <a:moveTo>
                  <a:pt x="301" y="46"/>
                </a:moveTo>
                <a:cubicBezTo>
                  <a:pt x="302" y="47"/>
                  <a:pt x="299" y="45"/>
                  <a:pt x="301" y="46"/>
                </a:cubicBezTo>
                <a:close/>
                <a:moveTo>
                  <a:pt x="300" y="50"/>
                </a:moveTo>
                <a:cubicBezTo>
                  <a:pt x="298" y="49"/>
                  <a:pt x="302" y="52"/>
                  <a:pt x="300" y="50"/>
                </a:cubicBezTo>
                <a:close/>
                <a:moveTo>
                  <a:pt x="301" y="48"/>
                </a:moveTo>
                <a:cubicBezTo>
                  <a:pt x="300" y="48"/>
                  <a:pt x="300" y="47"/>
                  <a:pt x="300" y="47"/>
                </a:cubicBezTo>
                <a:cubicBezTo>
                  <a:pt x="301" y="45"/>
                  <a:pt x="304" y="50"/>
                  <a:pt x="301" y="48"/>
                </a:cubicBezTo>
                <a:close/>
                <a:moveTo>
                  <a:pt x="197" y="116"/>
                </a:moveTo>
                <a:cubicBezTo>
                  <a:pt x="197" y="115"/>
                  <a:pt x="196" y="115"/>
                  <a:pt x="197" y="115"/>
                </a:cubicBezTo>
                <a:cubicBezTo>
                  <a:pt x="198" y="114"/>
                  <a:pt x="199" y="117"/>
                  <a:pt x="197" y="116"/>
                </a:cubicBezTo>
                <a:close/>
                <a:moveTo>
                  <a:pt x="204" y="118"/>
                </a:moveTo>
                <a:cubicBezTo>
                  <a:pt x="205" y="118"/>
                  <a:pt x="206" y="119"/>
                  <a:pt x="205" y="119"/>
                </a:cubicBezTo>
                <a:cubicBezTo>
                  <a:pt x="205" y="120"/>
                  <a:pt x="203" y="119"/>
                  <a:pt x="204" y="118"/>
                </a:cubicBezTo>
                <a:close/>
                <a:moveTo>
                  <a:pt x="201" y="107"/>
                </a:moveTo>
                <a:cubicBezTo>
                  <a:pt x="205" y="105"/>
                  <a:pt x="202" y="110"/>
                  <a:pt x="201" y="107"/>
                </a:cubicBezTo>
                <a:cubicBezTo>
                  <a:pt x="201" y="106"/>
                  <a:pt x="201" y="107"/>
                  <a:pt x="201" y="107"/>
                </a:cubicBezTo>
                <a:close/>
                <a:moveTo>
                  <a:pt x="203" y="122"/>
                </a:moveTo>
                <a:cubicBezTo>
                  <a:pt x="203" y="122"/>
                  <a:pt x="202" y="122"/>
                  <a:pt x="202" y="121"/>
                </a:cubicBezTo>
                <a:cubicBezTo>
                  <a:pt x="202" y="121"/>
                  <a:pt x="202" y="121"/>
                  <a:pt x="202" y="121"/>
                </a:cubicBezTo>
                <a:cubicBezTo>
                  <a:pt x="202" y="120"/>
                  <a:pt x="201" y="119"/>
                  <a:pt x="200" y="118"/>
                </a:cubicBezTo>
                <a:cubicBezTo>
                  <a:pt x="202" y="119"/>
                  <a:pt x="203" y="121"/>
                  <a:pt x="205" y="124"/>
                </a:cubicBezTo>
                <a:cubicBezTo>
                  <a:pt x="204" y="123"/>
                  <a:pt x="203" y="123"/>
                  <a:pt x="203" y="122"/>
                </a:cubicBezTo>
                <a:close/>
                <a:moveTo>
                  <a:pt x="205" y="124"/>
                </a:moveTo>
                <a:cubicBezTo>
                  <a:pt x="206" y="123"/>
                  <a:pt x="207" y="128"/>
                  <a:pt x="205" y="126"/>
                </a:cubicBezTo>
                <a:cubicBezTo>
                  <a:pt x="205" y="125"/>
                  <a:pt x="204" y="125"/>
                  <a:pt x="205" y="124"/>
                </a:cubicBezTo>
                <a:close/>
                <a:moveTo>
                  <a:pt x="205" y="140"/>
                </a:moveTo>
                <a:cubicBezTo>
                  <a:pt x="204" y="140"/>
                  <a:pt x="204" y="139"/>
                  <a:pt x="205" y="139"/>
                </a:cubicBezTo>
                <a:cubicBezTo>
                  <a:pt x="206" y="138"/>
                  <a:pt x="207" y="141"/>
                  <a:pt x="205" y="140"/>
                </a:cubicBezTo>
                <a:close/>
                <a:moveTo>
                  <a:pt x="77" y="199"/>
                </a:moveTo>
                <a:cubicBezTo>
                  <a:pt x="79" y="200"/>
                  <a:pt x="77" y="201"/>
                  <a:pt x="77" y="199"/>
                </a:cubicBezTo>
                <a:close/>
                <a:moveTo>
                  <a:pt x="21" y="249"/>
                </a:moveTo>
                <a:cubicBezTo>
                  <a:pt x="20" y="248"/>
                  <a:pt x="22" y="247"/>
                  <a:pt x="21" y="249"/>
                </a:cubicBezTo>
                <a:close/>
                <a:moveTo>
                  <a:pt x="24" y="252"/>
                </a:moveTo>
                <a:cubicBezTo>
                  <a:pt x="23" y="252"/>
                  <a:pt x="23" y="251"/>
                  <a:pt x="24" y="251"/>
                </a:cubicBezTo>
                <a:cubicBezTo>
                  <a:pt x="24" y="250"/>
                  <a:pt x="24" y="252"/>
                  <a:pt x="24" y="252"/>
                </a:cubicBezTo>
                <a:close/>
                <a:moveTo>
                  <a:pt x="23" y="249"/>
                </a:moveTo>
                <a:cubicBezTo>
                  <a:pt x="23" y="249"/>
                  <a:pt x="24" y="248"/>
                  <a:pt x="24" y="248"/>
                </a:cubicBezTo>
                <a:cubicBezTo>
                  <a:pt x="26" y="247"/>
                  <a:pt x="24" y="251"/>
                  <a:pt x="23" y="249"/>
                </a:cubicBezTo>
                <a:close/>
                <a:moveTo>
                  <a:pt x="26" y="245"/>
                </a:moveTo>
                <a:cubicBezTo>
                  <a:pt x="25" y="245"/>
                  <a:pt x="25" y="244"/>
                  <a:pt x="25" y="244"/>
                </a:cubicBezTo>
                <a:cubicBezTo>
                  <a:pt x="26" y="243"/>
                  <a:pt x="26" y="245"/>
                  <a:pt x="26" y="245"/>
                </a:cubicBezTo>
                <a:close/>
                <a:moveTo>
                  <a:pt x="33" y="251"/>
                </a:moveTo>
                <a:cubicBezTo>
                  <a:pt x="34" y="250"/>
                  <a:pt x="34" y="253"/>
                  <a:pt x="33" y="253"/>
                </a:cubicBezTo>
                <a:cubicBezTo>
                  <a:pt x="33" y="252"/>
                  <a:pt x="33" y="251"/>
                  <a:pt x="33" y="251"/>
                </a:cubicBezTo>
                <a:close/>
                <a:moveTo>
                  <a:pt x="28" y="258"/>
                </a:moveTo>
                <a:cubicBezTo>
                  <a:pt x="28" y="259"/>
                  <a:pt x="27" y="257"/>
                  <a:pt x="27" y="257"/>
                </a:cubicBezTo>
                <a:cubicBezTo>
                  <a:pt x="28" y="256"/>
                  <a:pt x="28" y="258"/>
                  <a:pt x="28" y="258"/>
                </a:cubicBezTo>
                <a:close/>
                <a:moveTo>
                  <a:pt x="29" y="249"/>
                </a:moveTo>
                <a:cubicBezTo>
                  <a:pt x="29" y="248"/>
                  <a:pt x="30" y="249"/>
                  <a:pt x="29" y="250"/>
                </a:cubicBezTo>
                <a:cubicBezTo>
                  <a:pt x="29" y="250"/>
                  <a:pt x="28" y="249"/>
                  <a:pt x="29" y="249"/>
                </a:cubicBezTo>
                <a:close/>
                <a:moveTo>
                  <a:pt x="29" y="275"/>
                </a:moveTo>
                <a:cubicBezTo>
                  <a:pt x="29" y="276"/>
                  <a:pt x="30" y="274"/>
                  <a:pt x="29" y="275"/>
                </a:cubicBezTo>
                <a:close/>
                <a:moveTo>
                  <a:pt x="29" y="247"/>
                </a:moveTo>
                <a:cubicBezTo>
                  <a:pt x="29" y="247"/>
                  <a:pt x="28" y="247"/>
                  <a:pt x="29" y="248"/>
                </a:cubicBezTo>
                <a:cubicBezTo>
                  <a:pt x="28" y="247"/>
                  <a:pt x="28" y="246"/>
                  <a:pt x="28" y="246"/>
                </a:cubicBezTo>
                <a:cubicBezTo>
                  <a:pt x="28" y="246"/>
                  <a:pt x="28" y="245"/>
                  <a:pt x="28" y="245"/>
                </a:cubicBezTo>
                <a:cubicBezTo>
                  <a:pt x="28" y="244"/>
                  <a:pt x="25" y="241"/>
                  <a:pt x="27" y="240"/>
                </a:cubicBezTo>
                <a:cubicBezTo>
                  <a:pt x="31" y="239"/>
                  <a:pt x="30" y="243"/>
                  <a:pt x="30" y="244"/>
                </a:cubicBezTo>
                <a:cubicBezTo>
                  <a:pt x="30" y="244"/>
                  <a:pt x="30" y="245"/>
                  <a:pt x="30" y="245"/>
                </a:cubicBezTo>
                <a:cubicBezTo>
                  <a:pt x="31" y="245"/>
                  <a:pt x="31" y="247"/>
                  <a:pt x="30" y="247"/>
                </a:cubicBezTo>
                <a:cubicBezTo>
                  <a:pt x="30" y="247"/>
                  <a:pt x="30" y="247"/>
                  <a:pt x="30" y="247"/>
                </a:cubicBezTo>
                <a:cubicBezTo>
                  <a:pt x="29" y="247"/>
                  <a:pt x="29" y="247"/>
                  <a:pt x="29" y="247"/>
                </a:cubicBezTo>
                <a:close/>
                <a:moveTo>
                  <a:pt x="30" y="259"/>
                </a:moveTo>
                <a:cubicBezTo>
                  <a:pt x="31" y="258"/>
                  <a:pt x="32" y="262"/>
                  <a:pt x="31" y="262"/>
                </a:cubicBezTo>
                <a:cubicBezTo>
                  <a:pt x="30" y="262"/>
                  <a:pt x="29" y="260"/>
                  <a:pt x="30" y="259"/>
                </a:cubicBezTo>
                <a:close/>
                <a:moveTo>
                  <a:pt x="32" y="282"/>
                </a:moveTo>
                <a:cubicBezTo>
                  <a:pt x="32" y="281"/>
                  <a:pt x="33" y="281"/>
                  <a:pt x="33" y="282"/>
                </a:cubicBezTo>
                <a:cubicBezTo>
                  <a:pt x="33" y="284"/>
                  <a:pt x="29" y="282"/>
                  <a:pt x="32" y="282"/>
                </a:cubicBezTo>
                <a:close/>
                <a:moveTo>
                  <a:pt x="33" y="261"/>
                </a:moveTo>
                <a:cubicBezTo>
                  <a:pt x="33" y="261"/>
                  <a:pt x="32" y="260"/>
                  <a:pt x="33" y="259"/>
                </a:cubicBezTo>
                <a:cubicBezTo>
                  <a:pt x="34" y="259"/>
                  <a:pt x="34" y="261"/>
                  <a:pt x="33" y="261"/>
                </a:cubicBezTo>
                <a:close/>
                <a:moveTo>
                  <a:pt x="34" y="281"/>
                </a:moveTo>
                <a:cubicBezTo>
                  <a:pt x="33" y="279"/>
                  <a:pt x="35" y="278"/>
                  <a:pt x="34" y="281"/>
                </a:cubicBezTo>
                <a:close/>
                <a:moveTo>
                  <a:pt x="35" y="279"/>
                </a:moveTo>
                <a:cubicBezTo>
                  <a:pt x="35" y="280"/>
                  <a:pt x="34" y="277"/>
                  <a:pt x="35" y="277"/>
                </a:cubicBezTo>
                <a:cubicBezTo>
                  <a:pt x="36" y="278"/>
                  <a:pt x="36" y="278"/>
                  <a:pt x="35" y="279"/>
                </a:cubicBezTo>
                <a:close/>
                <a:moveTo>
                  <a:pt x="37" y="226"/>
                </a:moveTo>
                <a:cubicBezTo>
                  <a:pt x="37" y="226"/>
                  <a:pt x="37" y="227"/>
                  <a:pt x="37" y="228"/>
                </a:cubicBezTo>
                <a:cubicBezTo>
                  <a:pt x="37" y="228"/>
                  <a:pt x="36" y="227"/>
                  <a:pt x="37" y="226"/>
                </a:cubicBezTo>
                <a:close/>
                <a:moveTo>
                  <a:pt x="38" y="238"/>
                </a:moveTo>
                <a:cubicBezTo>
                  <a:pt x="37" y="238"/>
                  <a:pt x="37" y="236"/>
                  <a:pt x="38" y="236"/>
                </a:cubicBezTo>
                <a:cubicBezTo>
                  <a:pt x="39" y="235"/>
                  <a:pt x="39" y="238"/>
                  <a:pt x="38" y="238"/>
                </a:cubicBezTo>
                <a:close/>
                <a:moveTo>
                  <a:pt x="40" y="226"/>
                </a:moveTo>
                <a:cubicBezTo>
                  <a:pt x="41" y="226"/>
                  <a:pt x="40" y="228"/>
                  <a:pt x="40" y="228"/>
                </a:cubicBezTo>
                <a:cubicBezTo>
                  <a:pt x="39" y="228"/>
                  <a:pt x="38" y="227"/>
                  <a:pt x="40" y="226"/>
                </a:cubicBezTo>
                <a:close/>
                <a:moveTo>
                  <a:pt x="40" y="265"/>
                </a:moveTo>
                <a:cubicBezTo>
                  <a:pt x="39" y="266"/>
                  <a:pt x="40" y="264"/>
                  <a:pt x="40" y="265"/>
                </a:cubicBezTo>
                <a:close/>
                <a:moveTo>
                  <a:pt x="40" y="249"/>
                </a:moveTo>
                <a:cubicBezTo>
                  <a:pt x="40" y="249"/>
                  <a:pt x="41" y="250"/>
                  <a:pt x="41" y="250"/>
                </a:cubicBezTo>
                <a:cubicBezTo>
                  <a:pt x="40" y="250"/>
                  <a:pt x="40" y="250"/>
                  <a:pt x="40" y="249"/>
                </a:cubicBezTo>
                <a:close/>
                <a:moveTo>
                  <a:pt x="41" y="284"/>
                </a:moveTo>
                <a:cubicBezTo>
                  <a:pt x="40" y="284"/>
                  <a:pt x="39" y="281"/>
                  <a:pt x="40" y="281"/>
                </a:cubicBezTo>
                <a:cubicBezTo>
                  <a:pt x="41" y="280"/>
                  <a:pt x="42" y="283"/>
                  <a:pt x="41" y="284"/>
                </a:cubicBezTo>
                <a:close/>
                <a:moveTo>
                  <a:pt x="40" y="241"/>
                </a:moveTo>
                <a:cubicBezTo>
                  <a:pt x="39" y="241"/>
                  <a:pt x="38" y="238"/>
                  <a:pt x="40" y="237"/>
                </a:cubicBezTo>
                <a:cubicBezTo>
                  <a:pt x="42" y="237"/>
                  <a:pt x="41" y="241"/>
                  <a:pt x="40" y="241"/>
                </a:cubicBezTo>
                <a:close/>
                <a:moveTo>
                  <a:pt x="57" y="241"/>
                </a:moveTo>
                <a:cubicBezTo>
                  <a:pt x="57" y="241"/>
                  <a:pt x="56" y="243"/>
                  <a:pt x="56" y="243"/>
                </a:cubicBezTo>
                <a:cubicBezTo>
                  <a:pt x="56" y="243"/>
                  <a:pt x="56" y="241"/>
                  <a:pt x="57" y="241"/>
                </a:cubicBezTo>
                <a:close/>
                <a:moveTo>
                  <a:pt x="53" y="238"/>
                </a:moveTo>
                <a:cubicBezTo>
                  <a:pt x="56" y="242"/>
                  <a:pt x="53" y="244"/>
                  <a:pt x="53" y="238"/>
                </a:cubicBezTo>
                <a:close/>
                <a:moveTo>
                  <a:pt x="47" y="255"/>
                </a:moveTo>
                <a:cubicBezTo>
                  <a:pt x="46" y="254"/>
                  <a:pt x="48" y="253"/>
                  <a:pt x="47" y="255"/>
                </a:cubicBezTo>
                <a:close/>
                <a:moveTo>
                  <a:pt x="46" y="251"/>
                </a:moveTo>
                <a:cubicBezTo>
                  <a:pt x="47" y="251"/>
                  <a:pt x="47" y="253"/>
                  <a:pt x="46" y="253"/>
                </a:cubicBezTo>
                <a:cubicBezTo>
                  <a:pt x="45" y="253"/>
                  <a:pt x="46" y="251"/>
                  <a:pt x="46" y="251"/>
                </a:cubicBezTo>
                <a:close/>
                <a:moveTo>
                  <a:pt x="42" y="252"/>
                </a:moveTo>
                <a:cubicBezTo>
                  <a:pt x="43" y="251"/>
                  <a:pt x="44" y="254"/>
                  <a:pt x="43" y="254"/>
                </a:cubicBezTo>
                <a:cubicBezTo>
                  <a:pt x="42" y="255"/>
                  <a:pt x="42" y="252"/>
                  <a:pt x="42" y="252"/>
                </a:cubicBezTo>
                <a:close/>
                <a:moveTo>
                  <a:pt x="43" y="259"/>
                </a:moveTo>
                <a:cubicBezTo>
                  <a:pt x="43" y="260"/>
                  <a:pt x="44" y="261"/>
                  <a:pt x="43" y="262"/>
                </a:cubicBezTo>
                <a:cubicBezTo>
                  <a:pt x="42" y="261"/>
                  <a:pt x="42" y="260"/>
                  <a:pt x="43" y="259"/>
                </a:cubicBezTo>
                <a:close/>
                <a:moveTo>
                  <a:pt x="43" y="292"/>
                </a:moveTo>
                <a:cubicBezTo>
                  <a:pt x="43" y="292"/>
                  <a:pt x="43" y="292"/>
                  <a:pt x="44" y="292"/>
                </a:cubicBezTo>
                <a:cubicBezTo>
                  <a:pt x="44" y="292"/>
                  <a:pt x="44" y="292"/>
                  <a:pt x="44" y="292"/>
                </a:cubicBezTo>
                <a:cubicBezTo>
                  <a:pt x="44" y="292"/>
                  <a:pt x="43" y="292"/>
                  <a:pt x="43" y="292"/>
                </a:cubicBezTo>
                <a:close/>
                <a:moveTo>
                  <a:pt x="44" y="265"/>
                </a:moveTo>
                <a:cubicBezTo>
                  <a:pt x="44" y="265"/>
                  <a:pt x="43" y="264"/>
                  <a:pt x="44" y="264"/>
                </a:cubicBezTo>
                <a:cubicBezTo>
                  <a:pt x="44" y="263"/>
                  <a:pt x="45" y="264"/>
                  <a:pt x="44" y="265"/>
                </a:cubicBezTo>
                <a:close/>
                <a:moveTo>
                  <a:pt x="47" y="274"/>
                </a:moveTo>
                <a:cubicBezTo>
                  <a:pt x="46" y="275"/>
                  <a:pt x="44" y="270"/>
                  <a:pt x="46" y="269"/>
                </a:cubicBezTo>
                <a:cubicBezTo>
                  <a:pt x="48" y="269"/>
                  <a:pt x="48" y="274"/>
                  <a:pt x="47" y="274"/>
                </a:cubicBezTo>
                <a:close/>
                <a:moveTo>
                  <a:pt x="48" y="282"/>
                </a:moveTo>
                <a:cubicBezTo>
                  <a:pt x="46" y="280"/>
                  <a:pt x="50" y="279"/>
                  <a:pt x="48" y="282"/>
                </a:cubicBezTo>
                <a:close/>
                <a:moveTo>
                  <a:pt x="51" y="287"/>
                </a:moveTo>
                <a:cubicBezTo>
                  <a:pt x="48" y="289"/>
                  <a:pt x="51" y="281"/>
                  <a:pt x="52" y="285"/>
                </a:cubicBezTo>
                <a:cubicBezTo>
                  <a:pt x="52" y="286"/>
                  <a:pt x="51" y="287"/>
                  <a:pt x="51" y="287"/>
                </a:cubicBezTo>
                <a:close/>
                <a:moveTo>
                  <a:pt x="53" y="285"/>
                </a:moveTo>
                <a:cubicBezTo>
                  <a:pt x="54" y="284"/>
                  <a:pt x="54" y="285"/>
                  <a:pt x="54" y="285"/>
                </a:cubicBezTo>
                <a:cubicBezTo>
                  <a:pt x="53" y="286"/>
                  <a:pt x="54" y="285"/>
                  <a:pt x="53" y="285"/>
                </a:cubicBezTo>
                <a:close/>
                <a:moveTo>
                  <a:pt x="55" y="281"/>
                </a:moveTo>
                <a:cubicBezTo>
                  <a:pt x="54" y="282"/>
                  <a:pt x="56" y="280"/>
                  <a:pt x="55" y="281"/>
                </a:cubicBezTo>
                <a:close/>
                <a:moveTo>
                  <a:pt x="57" y="266"/>
                </a:moveTo>
                <a:cubicBezTo>
                  <a:pt x="56" y="266"/>
                  <a:pt x="54" y="265"/>
                  <a:pt x="54" y="265"/>
                </a:cubicBezTo>
                <a:cubicBezTo>
                  <a:pt x="50" y="263"/>
                  <a:pt x="46" y="255"/>
                  <a:pt x="50" y="252"/>
                </a:cubicBezTo>
                <a:cubicBezTo>
                  <a:pt x="52" y="251"/>
                  <a:pt x="56" y="253"/>
                  <a:pt x="56" y="254"/>
                </a:cubicBezTo>
                <a:cubicBezTo>
                  <a:pt x="56" y="255"/>
                  <a:pt x="56" y="256"/>
                  <a:pt x="56" y="257"/>
                </a:cubicBezTo>
                <a:cubicBezTo>
                  <a:pt x="56" y="258"/>
                  <a:pt x="57" y="258"/>
                  <a:pt x="57" y="258"/>
                </a:cubicBezTo>
                <a:cubicBezTo>
                  <a:pt x="58" y="260"/>
                  <a:pt x="57" y="262"/>
                  <a:pt x="57" y="264"/>
                </a:cubicBezTo>
                <a:cubicBezTo>
                  <a:pt x="57" y="265"/>
                  <a:pt x="57" y="265"/>
                  <a:pt x="57" y="266"/>
                </a:cubicBezTo>
                <a:close/>
                <a:moveTo>
                  <a:pt x="58" y="333"/>
                </a:moveTo>
                <a:cubicBezTo>
                  <a:pt x="58" y="333"/>
                  <a:pt x="57" y="333"/>
                  <a:pt x="57" y="332"/>
                </a:cubicBezTo>
                <a:cubicBezTo>
                  <a:pt x="57" y="331"/>
                  <a:pt x="58" y="332"/>
                  <a:pt x="58" y="333"/>
                </a:cubicBezTo>
                <a:close/>
                <a:moveTo>
                  <a:pt x="64" y="334"/>
                </a:moveTo>
                <a:cubicBezTo>
                  <a:pt x="63" y="334"/>
                  <a:pt x="63" y="333"/>
                  <a:pt x="64" y="332"/>
                </a:cubicBezTo>
                <a:cubicBezTo>
                  <a:pt x="64" y="332"/>
                  <a:pt x="65" y="334"/>
                  <a:pt x="64" y="334"/>
                </a:cubicBezTo>
                <a:close/>
                <a:moveTo>
                  <a:pt x="70" y="242"/>
                </a:moveTo>
                <a:cubicBezTo>
                  <a:pt x="71" y="242"/>
                  <a:pt x="72" y="242"/>
                  <a:pt x="72" y="243"/>
                </a:cubicBezTo>
                <a:cubicBezTo>
                  <a:pt x="72" y="245"/>
                  <a:pt x="68" y="243"/>
                  <a:pt x="70" y="242"/>
                </a:cubicBezTo>
                <a:close/>
                <a:moveTo>
                  <a:pt x="71" y="259"/>
                </a:moveTo>
                <a:cubicBezTo>
                  <a:pt x="70" y="259"/>
                  <a:pt x="70" y="258"/>
                  <a:pt x="70" y="258"/>
                </a:cubicBezTo>
                <a:cubicBezTo>
                  <a:pt x="71" y="257"/>
                  <a:pt x="71" y="259"/>
                  <a:pt x="71" y="259"/>
                </a:cubicBezTo>
                <a:close/>
                <a:moveTo>
                  <a:pt x="68" y="253"/>
                </a:moveTo>
                <a:cubicBezTo>
                  <a:pt x="69" y="252"/>
                  <a:pt x="69" y="254"/>
                  <a:pt x="68" y="254"/>
                </a:cubicBezTo>
                <a:cubicBezTo>
                  <a:pt x="68" y="254"/>
                  <a:pt x="67" y="253"/>
                  <a:pt x="68" y="253"/>
                </a:cubicBezTo>
                <a:close/>
                <a:moveTo>
                  <a:pt x="68" y="246"/>
                </a:moveTo>
                <a:cubicBezTo>
                  <a:pt x="68" y="246"/>
                  <a:pt x="69" y="247"/>
                  <a:pt x="68" y="247"/>
                </a:cubicBezTo>
                <a:cubicBezTo>
                  <a:pt x="68" y="247"/>
                  <a:pt x="67" y="247"/>
                  <a:pt x="68" y="246"/>
                </a:cubicBezTo>
                <a:close/>
                <a:moveTo>
                  <a:pt x="69" y="248"/>
                </a:moveTo>
                <a:cubicBezTo>
                  <a:pt x="68" y="246"/>
                  <a:pt x="69" y="250"/>
                  <a:pt x="69" y="248"/>
                </a:cubicBezTo>
                <a:close/>
                <a:moveTo>
                  <a:pt x="67" y="243"/>
                </a:moveTo>
                <a:cubicBezTo>
                  <a:pt x="68" y="244"/>
                  <a:pt x="68" y="245"/>
                  <a:pt x="69" y="246"/>
                </a:cubicBezTo>
                <a:cubicBezTo>
                  <a:pt x="68" y="246"/>
                  <a:pt x="67" y="244"/>
                  <a:pt x="67" y="243"/>
                </a:cubicBezTo>
                <a:close/>
                <a:moveTo>
                  <a:pt x="67" y="277"/>
                </a:moveTo>
                <a:cubicBezTo>
                  <a:pt x="69" y="275"/>
                  <a:pt x="70" y="280"/>
                  <a:pt x="70" y="282"/>
                </a:cubicBezTo>
                <a:cubicBezTo>
                  <a:pt x="68" y="281"/>
                  <a:pt x="66" y="279"/>
                  <a:pt x="67" y="277"/>
                </a:cubicBezTo>
                <a:close/>
                <a:moveTo>
                  <a:pt x="66" y="267"/>
                </a:moveTo>
                <a:cubicBezTo>
                  <a:pt x="65" y="267"/>
                  <a:pt x="65" y="266"/>
                  <a:pt x="66" y="266"/>
                </a:cubicBezTo>
                <a:cubicBezTo>
                  <a:pt x="67" y="265"/>
                  <a:pt x="66" y="267"/>
                  <a:pt x="66" y="267"/>
                </a:cubicBezTo>
                <a:close/>
                <a:moveTo>
                  <a:pt x="64" y="237"/>
                </a:moveTo>
                <a:cubicBezTo>
                  <a:pt x="65" y="236"/>
                  <a:pt x="66" y="239"/>
                  <a:pt x="65" y="239"/>
                </a:cubicBezTo>
                <a:cubicBezTo>
                  <a:pt x="64" y="239"/>
                  <a:pt x="64" y="238"/>
                  <a:pt x="64" y="237"/>
                </a:cubicBezTo>
                <a:close/>
                <a:moveTo>
                  <a:pt x="64" y="255"/>
                </a:moveTo>
                <a:cubicBezTo>
                  <a:pt x="64" y="255"/>
                  <a:pt x="65" y="256"/>
                  <a:pt x="64" y="257"/>
                </a:cubicBezTo>
                <a:cubicBezTo>
                  <a:pt x="64" y="256"/>
                  <a:pt x="64" y="256"/>
                  <a:pt x="64" y="255"/>
                </a:cubicBezTo>
                <a:close/>
                <a:moveTo>
                  <a:pt x="64" y="265"/>
                </a:moveTo>
                <a:cubicBezTo>
                  <a:pt x="64" y="265"/>
                  <a:pt x="64" y="265"/>
                  <a:pt x="64" y="265"/>
                </a:cubicBezTo>
                <a:cubicBezTo>
                  <a:pt x="65" y="264"/>
                  <a:pt x="62" y="267"/>
                  <a:pt x="64" y="265"/>
                </a:cubicBezTo>
                <a:close/>
                <a:moveTo>
                  <a:pt x="63" y="259"/>
                </a:moveTo>
                <a:cubicBezTo>
                  <a:pt x="64" y="258"/>
                  <a:pt x="64" y="259"/>
                  <a:pt x="64" y="259"/>
                </a:cubicBezTo>
                <a:cubicBezTo>
                  <a:pt x="64" y="260"/>
                  <a:pt x="63" y="259"/>
                  <a:pt x="63" y="259"/>
                </a:cubicBezTo>
                <a:close/>
                <a:moveTo>
                  <a:pt x="59" y="265"/>
                </a:moveTo>
                <a:cubicBezTo>
                  <a:pt x="60" y="265"/>
                  <a:pt x="61" y="268"/>
                  <a:pt x="60" y="269"/>
                </a:cubicBezTo>
                <a:cubicBezTo>
                  <a:pt x="59" y="269"/>
                  <a:pt x="58" y="266"/>
                  <a:pt x="59" y="265"/>
                </a:cubicBezTo>
                <a:close/>
                <a:moveTo>
                  <a:pt x="67" y="342"/>
                </a:moveTo>
                <a:cubicBezTo>
                  <a:pt x="66" y="343"/>
                  <a:pt x="65" y="341"/>
                  <a:pt x="66" y="341"/>
                </a:cubicBezTo>
                <a:cubicBezTo>
                  <a:pt x="67" y="341"/>
                  <a:pt x="67" y="342"/>
                  <a:pt x="67" y="342"/>
                </a:cubicBezTo>
                <a:close/>
                <a:moveTo>
                  <a:pt x="70" y="301"/>
                </a:moveTo>
                <a:cubicBezTo>
                  <a:pt x="70" y="301"/>
                  <a:pt x="69" y="301"/>
                  <a:pt x="69" y="301"/>
                </a:cubicBezTo>
                <a:cubicBezTo>
                  <a:pt x="68" y="302"/>
                  <a:pt x="66" y="299"/>
                  <a:pt x="65" y="297"/>
                </a:cubicBezTo>
                <a:cubicBezTo>
                  <a:pt x="65" y="298"/>
                  <a:pt x="65" y="300"/>
                  <a:pt x="65" y="301"/>
                </a:cubicBezTo>
                <a:cubicBezTo>
                  <a:pt x="65" y="306"/>
                  <a:pt x="63" y="297"/>
                  <a:pt x="63" y="297"/>
                </a:cubicBezTo>
                <a:cubicBezTo>
                  <a:pt x="62" y="291"/>
                  <a:pt x="61" y="287"/>
                  <a:pt x="60" y="282"/>
                </a:cubicBezTo>
                <a:cubicBezTo>
                  <a:pt x="60" y="281"/>
                  <a:pt x="59" y="274"/>
                  <a:pt x="60" y="273"/>
                </a:cubicBezTo>
                <a:cubicBezTo>
                  <a:pt x="61" y="272"/>
                  <a:pt x="62" y="281"/>
                  <a:pt x="63" y="284"/>
                </a:cubicBezTo>
                <a:cubicBezTo>
                  <a:pt x="63" y="288"/>
                  <a:pt x="63" y="291"/>
                  <a:pt x="64" y="293"/>
                </a:cubicBezTo>
                <a:cubicBezTo>
                  <a:pt x="64" y="291"/>
                  <a:pt x="65" y="289"/>
                  <a:pt x="68" y="289"/>
                </a:cubicBezTo>
                <a:cubicBezTo>
                  <a:pt x="73" y="289"/>
                  <a:pt x="72" y="297"/>
                  <a:pt x="70" y="301"/>
                </a:cubicBezTo>
                <a:close/>
                <a:moveTo>
                  <a:pt x="72" y="283"/>
                </a:moveTo>
                <a:cubicBezTo>
                  <a:pt x="72" y="283"/>
                  <a:pt x="72" y="283"/>
                  <a:pt x="72" y="283"/>
                </a:cubicBezTo>
                <a:cubicBezTo>
                  <a:pt x="74" y="282"/>
                  <a:pt x="70" y="285"/>
                  <a:pt x="72" y="283"/>
                </a:cubicBezTo>
                <a:close/>
                <a:moveTo>
                  <a:pt x="25" y="317"/>
                </a:moveTo>
                <a:cubicBezTo>
                  <a:pt x="27" y="317"/>
                  <a:pt x="26" y="320"/>
                  <a:pt x="25" y="320"/>
                </a:cubicBezTo>
                <a:cubicBezTo>
                  <a:pt x="24" y="321"/>
                  <a:pt x="23" y="317"/>
                  <a:pt x="25" y="317"/>
                </a:cubicBezTo>
                <a:close/>
                <a:moveTo>
                  <a:pt x="24" y="294"/>
                </a:moveTo>
                <a:cubicBezTo>
                  <a:pt x="26" y="293"/>
                  <a:pt x="25" y="296"/>
                  <a:pt x="24" y="296"/>
                </a:cubicBezTo>
                <a:cubicBezTo>
                  <a:pt x="23" y="296"/>
                  <a:pt x="23" y="295"/>
                  <a:pt x="24" y="294"/>
                </a:cubicBezTo>
                <a:close/>
                <a:moveTo>
                  <a:pt x="8" y="242"/>
                </a:moveTo>
                <a:cubicBezTo>
                  <a:pt x="9" y="241"/>
                  <a:pt x="9" y="244"/>
                  <a:pt x="8" y="243"/>
                </a:cubicBezTo>
                <a:cubicBezTo>
                  <a:pt x="8" y="243"/>
                  <a:pt x="8" y="242"/>
                  <a:pt x="8" y="242"/>
                </a:cubicBezTo>
                <a:close/>
                <a:moveTo>
                  <a:pt x="2" y="238"/>
                </a:moveTo>
                <a:cubicBezTo>
                  <a:pt x="2" y="237"/>
                  <a:pt x="0" y="239"/>
                  <a:pt x="2" y="238"/>
                </a:cubicBezTo>
                <a:close/>
                <a:moveTo>
                  <a:pt x="2" y="242"/>
                </a:moveTo>
                <a:cubicBezTo>
                  <a:pt x="2" y="242"/>
                  <a:pt x="2" y="241"/>
                  <a:pt x="2" y="241"/>
                </a:cubicBezTo>
                <a:cubicBezTo>
                  <a:pt x="3" y="240"/>
                  <a:pt x="3" y="242"/>
                  <a:pt x="2" y="242"/>
                </a:cubicBezTo>
                <a:close/>
                <a:moveTo>
                  <a:pt x="3" y="351"/>
                </a:moveTo>
                <a:cubicBezTo>
                  <a:pt x="2" y="353"/>
                  <a:pt x="4" y="350"/>
                  <a:pt x="3" y="351"/>
                </a:cubicBezTo>
                <a:close/>
                <a:moveTo>
                  <a:pt x="3" y="442"/>
                </a:moveTo>
                <a:cubicBezTo>
                  <a:pt x="3" y="442"/>
                  <a:pt x="3" y="442"/>
                  <a:pt x="3" y="442"/>
                </a:cubicBezTo>
                <a:cubicBezTo>
                  <a:pt x="4" y="441"/>
                  <a:pt x="1" y="445"/>
                  <a:pt x="3" y="442"/>
                </a:cubicBezTo>
                <a:close/>
                <a:moveTo>
                  <a:pt x="11" y="295"/>
                </a:moveTo>
                <a:cubicBezTo>
                  <a:pt x="13" y="295"/>
                  <a:pt x="12" y="300"/>
                  <a:pt x="11" y="299"/>
                </a:cubicBezTo>
                <a:cubicBezTo>
                  <a:pt x="9" y="299"/>
                  <a:pt x="10" y="295"/>
                  <a:pt x="11" y="295"/>
                </a:cubicBezTo>
                <a:close/>
                <a:moveTo>
                  <a:pt x="9" y="283"/>
                </a:moveTo>
                <a:cubicBezTo>
                  <a:pt x="12" y="283"/>
                  <a:pt x="10" y="288"/>
                  <a:pt x="8" y="288"/>
                </a:cubicBezTo>
                <a:cubicBezTo>
                  <a:pt x="6" y="288"/>
                  <a:pt x="7" y="283"/>
                  <a:pt x="9" y="283"/>
                </a:cubicBezTo>
                <a:close/>
                <a:moveTo>
                  <a:pt x="5" y="239"/>
                </a:moveTo>
                <a:cubicBezTo>
                  <a:pt x="6" y="239"/>
                  <a:pt x="6" y="243"/>
                  <a:pt x="5" y="243"/>
                </a:cubicBezTo>
                <a:cubicBezTo>
                  <a:pt x="4" y="243"/>
                  <a:pt x="3" y="239"/>
                  <a:pt x="5" y="239"/>
                </a:cubicBezTo>
                <a:close/>
                <a:moveTo>
                  <a:pt x="5" y="282"/>
                </a:moveTo>
                <a:cubicBezTo>
                  <a:pt x="4" y="281"/>
                  <a:pt x="7" y="281"/>
                  <a:pt x="5" y="282"/>
                </a:cubicBezTo>
                <a:close/>
                <a:moveTo>
                  <a:pt x="6" y="383"/>
                </a:moveTo>
                <a:cubicBezTo>
                  <a:pt x="5" y="382"/>
                  <a:pt x="7" y="381"/>
                  <a:pt x="6" y="383"/>
                </a:cubicBezTo>
                <a:close/>
                <a:moveTo>
                  <a:pt x="7" y="413"/>
                </a:moveTo>
                <a:cubicBezTo>
                  <a:pt x="7" y="414"/>
                  <a:pt x="7" y="414"/>
                  <a:pt x="7" y="413"/>
                </a:cubicBezTo>
                <a:close/>
                <a:moveTo>
                  <a:pt x="7" y="412"/>
                </a:moveTo>
                <a:cubicBezTo>
                  <a:pt x="6" y="411"/>
                  <a:pt x="8" y="410"/>
                  <a:pt x="7" y="412"/>
                </a:cubicBezTo>
                <a:close/>
                <a:moveTo>
                  <a:pt x="11" y="364"/>
                </a:moveTo>
                <a:cubicBezTo>
                  <a:pt x="9" y="362"/>
                  <a:pt x="12" y="361"/>
                  <a:pt x="11" y="364"/>
                </a:cubicBezTo>
                <a:close/>
                <a:moveTo>
                  <a:pt x="11" y="360"/>
                </a:moveTo>
                <a:cubicBezTo>
                  <a:pt x="10" y="360"/>
                  <a:pt x="11" y="359"/>
                  <a:pt x="11" y="358"/>
                </a:cubicBezTo>
                <a:cubicBezTo>
                  <a:pt x="12" y="359"/>
                  <a:pt x="11" y="360"/>
                  <a:pt x="11" y="360"/>
                </a:cubicBezTo>
                <a:close/>
                <a:moveTo>
                  <a:pt x="12" y="342"/>
                </a:moveTo>
                <a:cubicBezTo>
                  <a:pt x="11" y="344"/>
                  <a:pt x="9" y="343"/>
                  <a:pt x="7" y="345"/>
                </a:cubicBezTo>
                <a:cubicBezTo>
                  <a:pt x="4" y="343"/>
                  <a:pt x="3" y="336"/>
                  <a:pt x="6" y="332"/>
                </a:cubicBezTo>
                <a:cubicBezTo>
                  <a:pt x="10" y="324"/>
                  <a:pt x="16" y="336"/>
                  <a:pt x="12" y="342"/>
                </a:cubicBezTo>
                <a:close/>
                <a:moveTo>
                  <a:pt x="13" y="293"/>
                </a:moveTo>
                <a:cubicBezTo>
                  <a:pt x="12" y="293"/>
                  <a:pt x="12" y="291"/>
                  <a:pt x="13" y="291"/>
                </a:cubicBezTo>
                <a:cubicBezTo>
                  <a:pt x="14" y="292"/>
                  <a:pt x="14" y="294"/>
                  <a:pt x="13" y="293"/>
                </a:cubicBezTo>
                <a:close/>
                <a:moveTo>
                  <a:pt x="20" y="292"/>
                </a:moveTo>
                <a:cubicBezTo>
                  <a:pt x="19" y="292"/>
                  <a:pt x="18" y="288"/>
                  <a:pt x="20" y="288"/>
                </a:cubicBezTo>
                <a:cubicBezTo>
                  <a:pt x="22" y="288"/>
                  <a:pt x="21" y="292"/>
                  <a:pt x="20" y="292"/>
                </a:cubicBezTo>
                <a:close/>
                <a:moveTo>
                  <a:pt x="21" y="325"/>
                </a:moveTo>
                <a:cubicBezTo>
                  <a:pt x="21" y="325"/>
                  <a:pt x="20" y="324"/>
                  <a:pt x="21" y="324"/>
                </a:cubicBezTo>
                <a:cubicBezTo>
                  <a:pt x="22" y="324"/>
                  <a:pt x="22" y="325"/>
                  <a:pt x="21" y="325"/>
                </a:cubicBezTo>
                <a:close/>
                <a:moveTo>
                  <a:pt x="22" y="295"/>
                </a:moveTo>
                <a:cubicBezTo>
                  <a:pt x="21" y="296"/>
                  <a:pt x="21" y="293"/>
                  <a:pt x="21" y="293"/>
                </a:cubicBezTo>
                <a:cubicBezTo>
                  <a:pt x="22" y="292"/>
                  <a:pt x="23" y="295"/>
                  <a:pt x="22" y="295"/>
                </a:cubicBezTo>
                <a:close/>
                <a:moveTo>
                  <a:pt x="26" y="373"/>
                </a:moveTo>
                <a:cubicBezTo>
                  <a:pt x="25" y="372"/>
                  <a:pt x="28" y="371"/>
                  <a:pt x="26" y="373"/>
                </a:cubicBezTo>
                <a:close/>
                <a:moveTo>
                  <a:pt x="27" y="459"/>
                </a:moveTo>
                <a:cubicBezTo>
                  <a:pt x="26" y="458"/>
                  <a:pt x="28" y="457"/>
                  <a:pt x="27" y="459"/>
                </a:cubicBezTo>
                <a:close/>
                <a:moveTo>
                  <a:pt x="31" y="330"/>
                </a:moveTo>
                <a:cubicBezTo>
                  <a:pt x="32" y="329"/>
                  <a:pt x="32" y="332"/>
                  <a:pt x="31" y="332"/>
                </a:cubicBezTo>
                <a:cubicBezTo>
                  <a:pt x="31" y="332"/>
                  <a:pt x="31" y="330"/>
                  <a:pt x="31" y="330"/>
                </a:cubicBezTo>
                <a:close/>
                <a:moveTo>
                  <a:pt x="31" y="465"/>
                </a:moveTo>
                <a:cubicBezTo>
                  <a:pt x="30" y="463"/>
                  <a:pt x="30" y="461"/>
                  <a:pt x="31" y="458"/>
                </a:cubicBezTo>
                <a:cubicBezTo>
                  <a:pt x="32" y="460"/>
                  <a:pt x="31" y="463"/>
                  <a:pt x="31" y="465"/>
                </a:cubicBezTo>
                <a:close/>
                <a:moveTo>
                  <a:pt x="33" y="366"/>
                </a:moveTo>
                <a:cubicBezTo>
                  <a:pt x="32" y="360"/>
                  <a:pt x="31" y="354"/>
                  <a:pt x="31" y="348"/>
                </a:cubicBezTo>
                <a:cubicBezTo>
                  <a:pt x="33" y="353"/>
                  <a:pt x="33" y="362"/>
                  <a:pt x="35" y="369"/>
                </a:cubicBezTo>
                <a:cubicBezTo>
                  <a:pt x="36" y="374"/>
                  <a:pt x="33" y="367"/>
                  <a:pt x="33" y="366"/>
                </a:cubicBezTo>
                <a:close/>
                <a:moveTo>
                  <a:pt x="35" y="330"/>
                </a:moveTo>
                <a:cubicBezTo>
                  <a:pt x="36" y="331"/>
                  <a:pt x="35" y="331"/>
                  <a:pt x="35" y="330"/>
                </a:cubicBezTo>
                <a:close/>
                <a:moveTo>
                  <a:pt x="46" y="336"/>
                </a:moveTo>
                <a:cubicBezTo>
                  <a:pt x="46" y="336"/>
                  <a:pt x="46" y="337"/>
                  <a:pt x="46" y="337"/>
                </a:cubicBezTo>
                <a:cubicBezTo>
                  <a:pt x="46" y="338"/>
                  <a:pt x="45" y="337"/>
                  <a:pt x="46" y="336"/>
                </a:cubicBezTo>
                <a:close/>
                <a:moveTo>
                  <a:pt x="39" y="421"/>
                </a:moveTo>
                <a:cubicBezTo>
                  <a:pt x="38" y="420"/>
                  <a:pt x="40" y="419"/>
                  <a:pt x="39" y="421"/>
                </a:cubicBezTo>
                <a:close/>
                <a:moveTo>
                  <a:pt x="40" y="416"/>
                </a:moveTo>
                <a:cubicBezTo>
                  <a:pt x="38" y="417"/>
                  <a:pt x="39" y="414"/>
                  <a:pt x="39" y="414"/>
                </a:cubicBezTo>
                <a:cubicBezTo>
                  <a:pt x="40" y="414"/>
                  <a:pt x="39" y="415"/>
                  <a:pt x="40" y="416"/>
                </a:cubicBezTo>
                <a:close/>
                <a:moveTo>
                  <a:pt x="43" y="333"/>
                </a:moveTo>
                <a:cubicBezTo>
                  <a:pt x="43" y="333"/>
                  <a:pt x="42" y="334"/>
                  <a:pt x="42" y="334"/>
                </a:cubicBezTo>
                <a:cubicBezTo>
                  <a:pt x="41" y="335"/>
                  <a:pt x="42" y="332"/>
                  <a:pt x="43" y="333"/>
                </a:cubicBezTo>
                <a:close/>
                <a:moveTo>
                  <a:pt x="43" y="405"/>
                </a:moveTo>
                <a:cubicBezTo>
                  <a:pt x="43" y="407"/>
                  <a:pt x="44" y="410"/>
                  <a:pt x="43" y="411"/>
                </a:cubicBezTo>
                <a:cubicBezTo>
                  <a:pt x="42" y="411"/>
                  <a:pt x="42" y="407"/>
                  <a:pt x="43" y="405"/>
                </a:cubicBezTo>
                <a:close/>
                <a:moveTo>
                  <a:pt x="43" y="446"/>
                </a:moveTo>
                <a:cubicBezTo>
                  <a:pt x="43" y="447"/>
                  <a:pt x="42" y="448"/>
                  <a:pt x="43" y="446"/>
                </a:cubicBezTo>
                <a:close/>
                <a:moveTo>
                  <a:pt x="43" y="449"/>
                </a:moveTo>
                <a:cubicBezTo>
                  <a:pt x="43" y="449"/>
                  <a:pt x="44" y="450"/>
                  <a:pt x="44" y="450"/>
                </a:cubicBezTo>
                <a:cubicBezTo>
                  <a:pt x="43" y="451"/>
                  <a:pt x="42" y="450"/>
                  <a:pt x="43" y="449"/>
                </a:cubicBezTo>
                <a:close/>
                <a:moveTo>
                  <a:pt x="43" y="404"/>
                </a:moveTo>
                <a:cubicBezTo>
                  <a:pt x="42" y="404"/>
                  <a:pt x="43" y="394"/>
                  <a:pt x="43" y="395"/>
                </a:cubicBezTo>
                <a:cubicBezTo>
                  <a:pt x="44" y="397"/>
                  <a:pt x="45" y="401"/>
                  <a:pt x="43" y="404"/>
                </a:cubicBezTo>
                <a:close/>
                <a:moveTo>
                  <a:pt x="44" y="379"/>
                </a:moveTo>
                <a:cubicBezTo>
                  <a:pt x="44" y="379"/>
                  <a:pt x="44" y="379"/>
                  <a:pt x="44" y="379"/>
                </a:cubicBezTo>
                <a:cubicBezTo>
                  <a:pt x="44" y="379"/>
                  <a:pt x="44" y="379"/>
                  <a:pt x="44" y="379"/>
                </a:cubicBezTo>
                <a:cubicBezTo>
                  <a:pt x="44" y="379"/>
                  <a:pt x="44" y="379"/>
                  <a:pt x="44" y="379"/>
                </a:cubicBezTo>
                <a:close/>
                <a:moveTo>
                  <a:pt x="46" y="410"/>
                </a:moveTo>
                <a:cubicBezTo>
                  <a:pt x="44" y="409"/>
                  <a:pt x="44" y="404"/>
                  <a:pt x="47" y="405"/>
                </a:cubicBezTo>
                <a:cubicBezTo>
                  <a:pt x="49" y="406"/>
                  <a:pt x="48" y="410"/>
                  <a:pt x="46" y="410"/>
                </a:cubicBezTo>
                <a:close/>
                <a:moveTo>
                  <a:pt x="48" y="365"/>
                </a:moveTo>
                <a:cubicBezTo>
                  <a:pt x="45" y="365"/>
                  <a:pt x="45" y="360"/>
                  <a:pt x="47" y="360"/>
                </a:cubicBezTo>
                <a:cubicBezTo>
                  <a:pt x="50" y="360"/>
                  <a:pt x="49" y="365"/>
                  <a:pt x="48" y="365"/>
                </a:cubicBezTo>
                <a:close/>
                <a:moveTo>
                  <a:pt x="52" y="444"/>
                </a:moveTo>
                <a:cubicBezTo>
                  <a:pt x="51" y="444"/>
                  <a:pt x="50" y="442"/>
                  <a:pt x="51" y="441"/>
                </a:cubicBezTo>
                <a:cubicBezTo>
                  <a:pt x="52" y="440"/>
                  <a:pt x="52" y="444"/>
                  <a:pt x="52" y="444"/>
                </a:cubicBezTo>
                <a:close/>
                <a:moveTo>
                  <a:pt x="55" y="387"/>
                </a:moveTo>
                <a:cubicBezTo>
                  <a:pt x="56" y="388"/>
                  <a:pt x="55" y="389"/>
                  <a:pt x="55" y="390"/>
                </a:cubicBezTo>
                <a:cubicBezTo>
                  <a:pt x="55" y="389"/>
                  <a:pt x="54" y="388"/>
                  <a:pt x="55" y="387"/>
                </a:cubicBezTo>
                <a:close/>
                <a:moveTo>
                  <a:pt x="54" y="397"/>
                </a:moveTo>
                <a:cubicBezTo>
                  <a:pt x="55" y="396"/>
                  <a:pt x="55" y="399"/>
                  <a:pt x="54" y="399"/>
                </a:cubicBezTo>
                <a:cubicBezTo>
                  <a:pt x="54" y="400"/>
                  <a:pt x="52" y="397"/>
                  <a:pt x="54" y="397"/>
                </a:cubicBezTo>
                <a:close/>
                <a:moveTo>
                  <a:pt x="55" y="464"/>
                </a:moveTo>
                <a:cubicBezTo>
                  <a:pt x="54" y="459"/>
                  <a:pt x="54" y="453"/>
                  <a:pt x="54" y="448"/>
                </a:cubicBezTo>
                <a:cubicBezTo>
                  <a:pt x="56" y="453"/>
                  <a:pt x="56" y="459"/>
                  <a:pt x="55" y="464"/>
                </a:cubicBezTo>
                <a:close/>
                <a:moveTo>
                  <a:pt x="57" y="480"/>
                </a:moveTo>
                <a:cubicBezTo>
                  <a:pt x="56" y="476"/>
                  <a:pt x="56" y="471"/>
                  <a:pt x="56" y="467"/>
                </a:cubicBezTo>
                <a:cubicBezTo>
                  <a:pt x="56" y="471"/>
                  <a:pt x="58" y="475"/>
                  <a:pt x="57" y="480"/>
                </a:cubicBezTo>
                <a:close/>
                <a:moveTo>
                  <a:pt x="64" y="450"/>
                </a:moveTo>
                <a:cubicBezTo>
                  <a:pt x="63" y="451"/>
                  <a:pt x="64" y="449"/>
                  <a:pt x="64" y="450"/>
                </a:cubicBezTo>
                <a:close/>
                <a:moveTo>
                  <a:pt x="71" y="454"/>
                </a:moveTo>
                <a:cubicBezTo>
                  <a:pt x="72" y="455"/>
                  <a:pt x="70" y="456"/>
                  <a:pt x="71" y="454"/>
                </a:cubicBezTo>
                <a:close/>
                <a:moveTo>
                  <a:pt x="75" y="408"/>
                </a:moveTo>
                <a:cubicBezTo>
                  <a:pt x="75" y="408"/>
                  <a:pt x="75" y="408"/>
                  <a:pt x="75" y="408"/>
                </a:cubicBezTo>
                <a:cubicBezTo>
                  <a:pt x="75" y="408"/>
                  <a:pt x="75" y="408"/>
                  <a:pt x="75" y="408"/>
                </a:cubicBezTo>
                <a:cubicBezTo>
                  <a:pt x="75" y="408"/>
                  <a:pt x="75" y="408"/>
                  <a:pt x="75" y="408"/>
                </a:cubicBezTo>
                <a:close/>
                <a:moveTo>
                  <a:pt x="80" y="382"/>
                </a:moveTo>
                <a:cubicBezTo>
                  <a:pt x="80" y="382"/>
                  <a:pt x="80" y="382"/>
                  <a:pt x="80" y="382"/>
                </a:cubicBezTo>
                <a:cubicBezTo>
                  <a:pt x="80" y="382"/>
                  <a:pt x="80" y="382"/>
                  <a:pt x="80" y="382"/>
                </a:cubicBezTo>
                <a:cubicBezTo>
                  <a:pt x="80" y="382"/>
                  <a:pt x="80" y="382"/>
                  <a:pt x="80" y="382"/>
                </a:cubicBezTo>
                <a:close/>
                <a:moveTo>
                  <a:pt x="78" y="214"/>
                </a:moveTo>
                <a:cubicBezTo>
                  <a:pt x="78" y="214"/>
                  <a:pt x="78" y="212"/>
                  <a:pt x="78" y="212"/>
                </a:cubicBezTo>
                <a:cubicBezTo>
                  <a:pt x="78" y="211"/>
                  <a:pt x="79" y="213"/>
                  <a:pt x="78" y="214"/>
                </a:cubicBezTo>
                <a:close/>
                <a:moveTo>
                  <a:pt x="78" y="214"/>
                </a:moveTo>
                <a:cubicBezTo>
                  <a:pt x="79" y="214"/>
                  <a:pt x="78" y="216"/>
                  <a:pt x="78" y="216"/>
                </a:cubicBezTo>
                <a:cubicBezTo>
                  <a:pt x="78" y="216"/>
                  <a:pt x="77" y="215"/>
                  <a:pt x="78" y="214"/>
                </a:cubicBezTo>
                <a:close/>
                <a:moveTo>
                  <a:pt x="76" y="204"/>
                </a:moveTo>
                <a:cubicBezTo>
                  <a:pt x="77" y="205"/>
                  <a:pt x="77" y="206"/>
                  <a:pt x="77" y="208"/>
                </a:cubicBezTo>
                <a:cubicBezTo>
                  <a:pt x="77" y="207"/>
                  <a:pt x="75" y="206"/>
                  <a:pt x="76" y="204"/>
                </a:cubicBezTo>
                <a:close/>
                <a:moveTo>
                  <a:pt x="76" y="221"/>
                </a:moveTo>
                <a:cubicBezTo>
                  <a:pt x="76" y="221"/>
                  <a:pt x="76" y="221"/>
                  <a:pt x="76" y="221"/>
                </a:cubicBezTo>
                <a:cubicBezTo>
                  <a:pt x="76" y="222"/>
                  <a:pt x="75" y="221"/>
                  <a:pt x="76" y="221"/>
                </a:cubicBezTo>
                <a:close/>
                <a:moveTo>
                  <a:pt x="77" y="253"/>
                </a:moveTo>
                <a:cubicBezTo>
                  <a:pt x="77" y="254"/>
                  <a:pt x="75" y="251"/>
                  <a:pt x="76" y="251"/>
                </a:cubicBezTo>
                <a:cubicBezTo>
                  <a:pt x="77" y="251"/>
                  <a:pt x="78" y="253"/>
                  <a:pt x="77" y="253"/>
                </a:cubicBezTo>
                <a:close/>
                <a:moveTo>
                  <a:pt x="76" y="260"/>
                </a:moveTo>
                <a:cubicBezTo>
                  <a:pt x="79" y="259"/>
                  <a:pt x="79" y="264"/>
                  <a:pt x="77" y="265"/>
                </a:cubicBezTo>
                <a:cubicBezTo>
                  <a:pt x="75" y="266"/>
                  <a:pt x="74" y="261"/>
                  <a:pt x="76" y="260"/>
                </a:cubicBezTo>
                <a:close/>
                <a:moveTo>
                  <a:pt x="78" y="258"/>
                </a:moveTo>
                <a:cubicBezTo>
                  <a:pt x="77" y="257"/>
                  <a:pt x="79" y="256"/>
                  <a:pt x="78" y="258"/>
                </a:cubicBezTo>
                <a:close/>
                <a:moveTo>
                  <a:pt x="76" y="353"/>
                </a:moveTo>
                <a:cubicBezTo>
                  <a:pt x="75" y="353"/>
                  <a:pt x="74" y="351"/>
                  <a:pt x="75" y="351"/>
                </a:cubicBezTo>
                <a:cubicBezTo>
                  <a:pt x="75" y="351"/>
                  <a:pt x="76" y="353"/>
                  <a:pt x="76" y="353"/>
                </a:cubicBezTo>
                <a:close/>
                <a:moveTo>
                  <a:pt x="79" y="279"/>
                </a:moveTo>
                <a:cubicBezTo>
                  <a:pt x="79" y="278"/>
                  <a:pt x="81" y="279"/>
                  <a:pt x="81" y="278"/>
                </a:cubicBezTo>
                <a:cubicBezTo>
                  <a:pt x="81" y="277"/>
                  <a:pt x="80" y="276"/>
                  <a:pt x="79" y="276"/>
                </a:cubicBezTo>
                <a:cubicBezTo>
                  <a:pt x="78" y="276"/>
                  <a:pt x="78" y="278"/>
                  <a:pt x="77" y="277"/>
                </a:cubicBezTo>
                <a:cubicBezTo>
                  <a:pt x="78" y="278"/>
                  <a:pt x="77" y="279"/>
                  <a:pt x="77" y="277"/>
                </a:cubicBezTo>
                <a:cubicBezTo>
                  <a:pt x="76" y="277"/>
                  <a:pt x="77" y="276"/>
                  <a:pt x="77" y="275"/>
                </a:cubicBezTo>
                <a:cubicBezTo>
                  <a:pt x="76" y="274"/>
                  <a:pt x="76" y="274"/>
                  <a:pt x="76" y="272"/>
                </a:cubicBezTo>
                <a:cubicBezTo>
                  <a:pt x="76" y="271"/>
                  <a:pt x="79" y="267"/>
                  <a:pt x="81" y="270"/>
                </a:cubicBezTo>
                <a:cubicBezTo>
                  <a:pt x="82" y="273"/>
                  <a:pt x="83" y="278"/>
                  <a:pt x="81" y="280"/>
                </a:cubicBezTo>
                <a:cubicBezTo>
                  <a:pt x="81" y="281"/>
                  <a:pt x="78" y="281"/>
                  <a:pt x="79" y="279"/>
                </a:cubicBezTo>
                <a:close/>
                <a:moveTo>
                  <a:pt x="82" y="357"/>
                </a:moveTo>
                <a:cubicBezTo>
                  <a:pt x="82" y="358"/>
                  <a:pt x="82" y="358"/>
                  <a:pt x="82" y="359"/>
                </a:cubicBezTo>
                <a:cubicBezTo>
                  <a:pt x="82" y="359"/>
                  <a:pt x="82" y="358"/>
                  <a:pt x="82" y="357"/>
                </a:cubicBezTo>
                <a:close/>
                <a:moveTo>
                  <a:pt x="81" y="298"/>
                </a:moveTo>
                <a:cubicBezTo>
                  <a:pt x="82" y="299"/>
                  <a:pt x="83" y="302"/>
                  <a:pt x="83" y="304"/>
                </a:cubicBezTo>
                <a:cubicBezTo>
                  <a:pt x="81" y="302"/>
                  <a:pt x="82" y="300"/>
                  <a:pt x="81" y="298"/>
                </a:cubicBezTo>
                <a:close/>
                <a:moveTo>
                  <a:pt x="81" y="240"/>
                </a:moveTo>
                <a:cubicBezTo>
                  <a:pt x="83" y="236"/>
                  <a:pt x="78" y="238"/>
                  <a:pt x="77" y="238"/>
                </a:cubicBezTo>
                <a:cubicBezTo>
                  <a:pt x="76" y="236"/>
                  <a:pt x="78" y="233"/>
                  <a:pt x="78" y="230"/>
                </a:cubicBezTo>
                <a:cubicBezTo>
                  <a:pt x="78" y="229"/>
                  <a:pt x="76" y="224"/>
                  <a:pt x="77" y="223"/>
                </a:cubicBezTo>
                <a:cubicBezTo>
                  <a:pt x="79" y="223"/>
                  <a:pt x="79" y="229"/>
                  <a:pt x="79" y="229"/>
                </a:cubicBezTo>
                <a:cubicBezTo>
                  <a:pt x="80" y="230"/>
                  <a:pt x="83" y="226"/>
                  <a:pt x="84" y="226"/>
                </a:cubicBezTo>
                <a:cubicBezTo>
                  <a:pt x="92" y="224"/>
                  <a:pt x="89" y="237"/>
                  <a:pt x="87" y="241"/>
                </a:cubicBezTo>
                <a:cubicBezTo>
                  <a:pt x="84" y="246"/>
                  <a:pt x="86" y="236"/>
                  <a:pt x="81" y="240"/>
                </a:cubicBezTo>
                <a:close/>
                <a:moveTo>
                  <a:pt x="83" y="303"/>
                </a:moveTo>
                <a:cubicBezTo>
                  <a:pt x="83" y="302"/>
                  <a:pt x="85" y="304"/>
                  <a:pt x="84" y="304"/>
                </a:cubicBezTo>
                <a:cubicBezTo>
                  <a:pt x="84" y="304"/>
                  <a:pt x="83" y="303"/>
                  <a:pt x="83" y="303"/>
                </a:cubicBezTo>
                <a:close/>
                <a:moveTo>
                  <a:pt x="84" y="307"/>
                </a:moveTo>
                <a:cubicBezTo>
                  <a:pt x="83" y="306"/>
                  <a:pt x="84" y="305"/>
                  <a:pt x="84" y="307"/>
                </a:cubicBezTo>
                <a:close/>
                <a:moveTo>
                  <a:pt x="85" y="311"/>
                </a:moveTo>
                <a:cubicBezTo>
                  <a:pt x="84" y="311"/>
                  <a:pt x="84" y="309"/>
                  <a:pt x="84" y="308"/>
                </a:cubicBezTo>
                <a:cubicBezTo>
                  <a:pt x="84" y="309"/>
                  <a:pt x="85" y="310"/>
                  <a:pt x="85" y="311"/>
                </a:cubicBezTo>
                <a:close/>
                <a:moveTo>
                  <a:pt x="83" y="365"/>
                </a:moveTo>
                <a:cubicBezTo>
                  <a:pt x="84" y="366"/>
                  <a:pt x="83" y="367"/>
                  <a:pt x="84" y="368"/>
                </a:cubicBezTo>
                <a:cubicBezTo>
                  <a:pt x="83" y="368"/>
                  <a:pt x="83" y="366"/>
                  <a:pt x="83" y="365"/>
                </a:cubicBezTo>
                <a:close/>
                <a:moveTo>
                  <a:pt x="84" y="329"/>
                </a:moveTo>
                <a:cubicBezTo>
                  <a:pt x="85" y="329"/>
                  <a:pt x="86" y="330"/>
                  <a:pt x="85" y="331"/>
                </a:cubicBezTo>
                <a:cubicBezTo>
                  <a:pt x="84" y="331"/>
                  <a:pt x="84" y="329"/>
                  <a:pt x="84" y="329"/>
                </a:cubicBezTo>
                <a:close/>
                <a:moveTo>
                  <a:pt x="85" y="377"/>
                </a:moveTo>
                <a:cubicBezTo>
                  <a:pt x="84" y="377"/>
                  <a:pt x="85" y="376"/>
                  <a:pt x="85" y="375"/>
                </a:cubicBezTo>
                <a:cubicBezTo>
                  <a:pt x="84" y="374"/>
                  <a:pt x="85" y="376"/>
                  <a:pt x="85" y="377"/>
                </a:cubicBezTo>
                <a:close/>
                <a:moveTo>
                  <a:pt x="85" y="378"/>
                </a:moveTo>
                <a:cubicBezTo>
                  <a:pt x="85" y="378"/>
                  <a:pt x="85" y="379"/>
                  <a:pt x="85" y="380"/>
                </a:cubicBezTo>
                <a:cubicBezTo>
                  <a:pt x="85" y="380"/>
                  <a:pt x="85" y="378"/>
                  <a:pt x="85" y="378"/>
                </a:cubicBezTo>
                <a:close/>
                <a:moveTo>
                  <a:pt x="86" y="260"/>
                </a:moveTo>
                <a:cubicBezTo>
                  <a:pt x="84" y="260"/>
                  <a:pt x="83" y="256"/>
                  <a:pt x="87" y="256"/>
                </a:cubicBezTo>
                <a:cubicBezTo>
                  <a:pt x="89" y="256"/>
                  <a:pt x="88" y="261"/>
                  <a:pt x="86" y="260"/>
                </a:cubicBezTo>
                <a:close/>
                <a:moveTo>
                  <a:pt x="90" y="332"/>
                </a:moveTo>
                <a:cubicBezTo>
                  <a:pt x="89" y="332"/>
                  <a:pt x="88" y="328"/>
                  <a:pt x="90" y="328"/>
                </a:cubicBezTo>
                <a:cubicBezTo>
                  <a:pt x="90" y="328"/>
                  <a:pt x="90" y="331"/>
                  <a:pt x="90" y="332"/>
                </a:cubicBezTo>
                <a:close/>
                <a:moveTo>
                  <a:pt x="91" y="222"/>
                </a:moveTo>
                <a:cubicBezTo>
                  <a:pt x="91" y="223"/>
                  <a:pt x="91" y="224"/>
                  <a:pt x="91" y="225"/>
                </a:cubicBezTo>
                <a:cubicBezTo>
                  <a:pt x="90" y="224"/>
                  <a:pt x="90" y="223"/>
                  <a:pt x="91" y="222"/>
                </a:cubicBezTo>
                <a:close/>
                <a:moveTo>
                  <a:pt x="91" y="228"/>
                </a:moveTo>
                <a:cubicBezTo>
                  <a:pt x="91" y="229"/>
                  <a:pt x="90" y="228"/>
                  <a:pt x="91" y="227"/>
                </a:cubicBezTo>
                <a:cubicBezTo>
                  <a:pt x="91" y="227"/>
                  <a:pt x="92" y="228"/>
                  <a:pt x="91" y="228"/>
                </a:cubicBezTo>
                <a:close/>
                <a:moveTo>
                  <a:pt x="158" y="205"/>
                </a:moveTo>
                <a:cubicBezTo>
                  <a:pt x="159" y="205"/>
                  <a:pt x="159" y="208"/>
                  <a:pt x="158" y="208"/>
                </a:cubicBezTo>
                <a:cubicBezTo>
                  <a:pt x="158" y="208"/>
                  <a:pt x="157" y="206"/>
                  <a:pt x="158" y="205"/>
                </a:cubicBezTo>
                <a:close/>
                <a:moveTo>
                  <a:pt x="154" y="169"/>
                </a:moveTo>
                <a:cubicBezTo>
                  <a:pt x="155" y="168"/>
                  <a:pt x="155" y="171"/>
                  <a:pt x="154" y="171"/>
                </a:cubicBezTo>
                <a:cubicBezTo>
                  <a:pt x="154" y="171"/>
                  <a:pt x="153" y="170"/>
                  <a:pt x="154" y="169"/>
                </a:cubicBezTo>
                <a:close/>
                <a:moveTo>
                  <a:pt x="155" y="227"/>
                </a:moveTo>
                <a:cubicBezTo>
                  <a:pt x="154" y="227"/>
                  <a:pt x="153" y="225"/>
                  <a:pt x="154" y="225"/>
                </a:cubicBezTo>
                <a:cubicBezTo>
                  <a:pt x="155" y="224"/>
                  <a:pt x="155" y="227"/>
                  <a:pt x="155" y="227"/>
                </a:cubicBezTo>
                <a:close/>
                <a:moveTo>
                  <a:pt x="154" y="181"/>
                </a:moveTo>
                <a:cubicBezTo>
                  <a:pt x="154" y="181"/>
                  <a:pt x="155" y="182"/>
                  <a:pt x="154" y="182"/>
                </a:cubicBezTo>
                <a:cubicBezTo>
                  <a:pt x="153" y="183"/>
                  <a:pt x="153" y="182"/>
                  <a:pt x="154" y="181"/>
                </a:cubicBezTo>
                <a:close/>
                <a:moveTo>
                  <a:pt x="150" y="242"/>
                </a:moveTo>
                <a:cubicBezTo>
                  <a:pt x="149" y="242"/>
                  <a:pt x="150" y="241"/>
                  <a:pt x="150" y="241"/>
                </a:cubicBezTo>
                <a:cubicBezTo>
                  <a:pt x="150" y="240"/>
                  <a:pt x="150" y="242"/>
                  <a:pt x="150" y="242"/>
                </a:cubicBezTo>
                <a:close/>
                <a:moveTo>
                  <a:pt x="149" y="249"/>
                </a:moveTo>
                <a:cubicBezTo>
                  <a:pt x="149" y="249"/>
                  <a:pt x="150" y="251"/>
                  <a:pt x="150" y="251"/>
                </a:cubicBezTo>
                <a:cubicBezTo>
                  <a:pt x="149" y="251"/>
                  <a:pt x="149" y="249"/>
                  <a:pt x="149" y="249"/>
                </a:cubicBezTo>
                <a:close/>
                <a:moveTo>
                  <a:pt x="150" y="301"/>
                </a:moveTo>
                <a:cubicBezTo>
                  <a:pt x="149" y="300"/>
                  <a:pt x="149" y="299"/>
                  <a:pt x="149" y="299"/>
                </a:cubicBezTo>
                <a:cubicBezTo>
                  <a:pt x="149" y="299"/>
                  <a:pt x="150" y="300"/>
                  <a:pt x="150" y="301"/>
                </a:cubicBezTo>
                <a:close/>
                <a:moveTo>
                  <a:pt x="149" y="200"/>
                </a:moveTo>
                <a:cubicBezTo>
                  <a:pt x="151" y="199"/>
                  <a:pt x="150" y="203"/>
                  <a:pt x="149" y="203"/>
                </a:cubicBezTo>
                <a:cubicBezTo>
                  <a:pt x="148" y="202"/>
                  <a:pt x="148" y="200"/>
                  <a:pt x="149" y="200"/>
                </a:cubicBezTo>
                <a:close/>
                <a:moveTo>
                  <a:pt x="148" y="231"/>
                </a:moveTo>
                <a:cubicBezTo>
                  <a:pt x="148" y="232"/>
                  <a:pt x="147" y="231"/>
                  <a:pt x="147" y="231"/>
                </a:cubicBezTo>
                <a:cubicBezTo>
                  <a:pt x="147" y="231"/>
                  <a:pt x="148" y="231"/>
                  <a:pt x="148" y="231"/>
                </a:cubicBezTo>
                <a:close/>
                <a:moveTo>
                  <a:pt x="147" y="333"/>
                </a:moveTo>
                <a:cubicBezTo>
                  <a:pt x="146" y="334"/>
                  <a:pt x="149" y="333"/>
                  <a:pt x="147" y="333"/>
                </a:cubicBezTo>
                <a:close/>
                <a:moveTo>
                  <a:pt x="146" y="173"/>
                </a:moveTo>
                <a:cubicBezTo>
                  <a:pt x="146" y="173"/>
                  <a:pt x="146" y="172"/>
                  <a:pt x="146" y="172"/>
                </a:cubicBezTo>
                <a:cubicBezTo>
                  <a:pt x="148" y="172"/>
                  <a:pt x="144" y="175"/>
                  <a:pt x="146" y="173"/>
                </a:cubicBezTo>
                <a:close/>
                <a:moveTo>
                  <a:pt x="145" y="190"/>
                </a:moveTo>
                <a:cubicBezTo>
                  <a:pt x="145" y="190"/>
                  <a:pt x="146" y="190"/>
                  <a:pt x="146" y="190"/>
                </a:cubicBezTo>
                <a:cubicBezTo>
                  <a:pt x="148" y="189"/>
                  <a:pt x="144" y="192"/>
                  <a:pt x="145" y="190"/>
                </a:cubicBezTo>
                <a:close/>
                <a:moveTo>
                  <a:pt x="144" y="178"/>
                </a:moveTo>
                <a:cubicBezTo>
                  <a:pt x="145" y="178"/>
                  <a:pt x="145" y="180"/>
                  <a:pt x="144" y="180"/>
                </a:cubicBezTo>
                <a:cubicBezTo>
                  <a:pt x="144" y="180"/>
                  <a:pt x="143" y="178"/>
                  <a:pt x="144" y="178"/>
                </a:cubicBezTo>
                <a:close/>
                <a:moveTo>
                  <a:pt x="145" y="222"/>
                </a:moveTo>
                <a:cubicBezTo>
                  <a:pt x="145" y="221"/>
                  <a:pt x="146" y="220"/>
                  <a:pt x="147" y="221"/>
                </a:cubicBezTo>
                <a:cubicBezTo>
                  <a:pt x="148" y="221"/>
                  <a:pt x="148" y="224"/>
                  <a:pt x="147" y="224"/>
                </a:cubicBezTo>
                <a:cubicBezTo>
                  <a:pt x="146" y="224"/>
                  <a:pt x="146" y="223"/>
                  <a:pt x="145" y="222"/>
                </a:cubicBezTo>
                <a:cubicBezTo>
                  <a:pt x="145" y="222"/>
                  <a:pt x="145" y="222"/>
                  <a:pt x="145" y="222"/>
                </a:cubicBezTo>
                <a:cubicBezTo>
                  <a:pt x="144" y="221"/>
                  <a:pt x="144" y="219"/>
                  <a:pt x="143" y="217"/>
                </a:cubicBezTo>
                <a:cubicBezTo>
                  <a:pt x="144" y="218"/>
                  <a:pt x="145" y="220"/>
                  <a:pt x="145" y="222"/>
                </a:cubicBezTo>
                <a:close/>
                <a:moveTo>
                  <a:pt x="145" y="245"/>
                </a:moveTo>
                <a:cubicBezTo>
                  <a:pt x="147" y="244"/>
                  <a:pt x="146" y="248"/>
                  <a:pt x="145" y="248"/>
                </a:cubicBezTo>
                <a:cubicBezTo>
                  <a:pt x="144" y="248"/>
                  <a:pt x="143" y="246"/>
                  <a:pt x="145" y="245"/>
                </a:cubicBezTo>
                <a:close/>
                <a:moveTo>
                  <a:pt x="145" y="314"/>
                </a:moveTo>
                <a:cubicBezTo>
                  <a:pt x="145" y="314"/>
                  <a:pt x="144" y="313"/>
                  <a:pt x="144" y="312"/>
                </a:cubicBezTo>
                <a:cubicBezTo>
                  <a:pt x="144" y="311"/>
                  <a:pt x="145" y="314"/>
                  <a:pt x="145" y="314"/>
                </a:cubicBezTo>
                <a:close/>
                <a:moveTo>
                  <a:pt x="141" y="194"/>
                </a:moveTo>
                <a:cubicBezTo>
                  <a:pt x="141" y="194"/>
                  <a:pt x="140" y="193"/>
                  <a:pt x="140" y="193"/>
                </a:cubicBezTo>
                <a:cubicBezTo>
                  <a:pt x="140" y="192"/>
                  <a:pt x="142" y="194"/>
                  <a:pt x="141" y="194"/>
                </a:cubicBezTo>
                <a:close/>
                <a:moveTo>
                  <a:pt x="142" y="199"/>
                </a:moveTo>
                <a:cubicBezTo>
                  <a:pt x="141" y="199"/>
                  <a:pt x="141" y="198"/>
                  <a:pt x="141" y="197"/>
                </a:cubicBezTo>
                <a:cubicBezTo>
                  <a:pt x="141" y="197"/>
                  <a:pt x="142" y="198"/>
                  <a:pt x="142" y="199"/>
                </a:cubicBezTo>
                <a:close/>
                <a:moveTo>
                  <a:pt x="142" y="216"/>
                </a:moveTo>
                <a:cubicBezTo>
                  <a:pt x="141" y="214"/>
                  <a:pt x="140" y="211"/>
                  <a:pt x="139" y="209"/>
                </a:cubicBezTo>
                <a:cubicBezTo>
                  <a:pt x="141" y="210"/>
                  <a:pt x="142" y="214"/>
                  <a:pt x="142" y="216"/>
                </a:cubicBezTo>
                <a:close/>
                <a:moveTo>
                  <a:pt x="141" y="232"/>
                </a:moveTo>
                <a:cubicBezTo>
                  <a:pt x="141" y="233"/>
                  <a:pt x="141" y="231"/>
                  <a:pt x="141" y="232"/>
                </a:cubicBezTo>
                <a:close/>
                <a:moveTo>
                  <a:pt x="140" y="226"/>
                </a:moveTo>
                <a:cubicBezTo>
                  <a:pt x="139" y="224"/>
                  <a:pt x="140" y="224"/>
                  <a:pt x="140" y="226"/>
                </a:cubicBezTo>
                <a:close/>
                <a:moveTo>
                  <a:pt x="134" y="215"/>
                </a:moveTo>
                <a:cubicBezTo>
                  <a:pt x="134" y="216"/>
                  <a:pt x="133" y="215"/>
                  <a:pt x="133" y="215"/>
                </a:cubicBezTo>
                <a:cubicBezTo>
                  <a:pt x="133" y="214"/>
                  <a:pt x="134" y="215"/>
                  <a:pt x="134" y="215"/>
                </a:cubicBezTo>
                <a:close/>
                <a:moveTo>
                  <a:pt x="128" y="205"/>
                </a:moveTo>
                <a:cubicBezTo>
                  <a:pt x="128" y="203"/>
                  <a:pt x="128" y="202"/>
                  <a:pt x="130" y="202"/>
                </a:cubicBezTo>
                <a:cubicBezTo>
                  <a:pt x="131" y="202"/>
                  <a:pt x="132" y="206"/>
                  <a:pt x="131" y="207"/>
                </a:cubicBezTo>
                <a:cubicBezTo>
                  <a:pt x="130" y="208"/>
                  <a:pt x="130" y="207"/>
                  <a:pt x="129" y="207"/>
                </a:cubicBezTo>
                <a:cubicBezTo>
                  <a:pt x="129" y="207"/>
                  <a:pt x="129" y="207"/>
                  <a:pt x="129" y="207"/>
                </a:cubicBezTo>
                <a:cubicBezTo>
                  <a:pt x="128" y="207"/>
                  <a:pt x="127" y="205"/>
                  <a:pt x="128" y="205"/>
                </a:cubicBezTo>
                <a:close/>
                <a:moveTo>
                  <a:pt x="131" y="346"/>
                </a:moveTo>
                <a:cubicBezTo>
                  <a:pt x="133" y="346"/>
                  <a:pt x="132" y="348"/>
                  <a:pt x="131" y="346"/>
                </a:cubicBezTo>
                <a:close/>
                <a:moveTo>
                  <a:pt x="128" y="352"/>
                </a:moveTo>
                <a:cubicBezTo>
                  <a:pt x="129" y="352"/>
                  <a:pt x="129" y="353"/>
                  <a:pt x="129" y="353"/>
                </a:cubicBezTo>
                <a:cubicBezTo>
                  <a:pt x="128" y="354"/>
                  <a:pt x="128" y="353"/>
                  <a:pt x="128" y="352"/>
                </a:cubicBezTo>
                <a:close/>
                <a:moveTo>
                  <a:pt x="128" y="244"/>
                </a:moveTo>
                <a:cubicBezTo>
                  <a:pt x="128" y="243"/>
                  <a:pt x="129" y="245"/>
                  <a:pt x="129" y="246"/>
                </a:cubicBezTo>
                <a:cubicBezTo>
                  <a:pt x="128" y="245"/>
                  <a:pt x="129" y="245"/>
                  <a:pt x="128" y="244"/>
                </a:cubicBezTo>
                <a:close/>
                <a:moveTo>
                  <a:pt x="128" y="274"/>
                </a:moveTo>
                <a:cubicBezTo>
                  <a:pt x="129" y="275"/>
                  <a:pt x="129" y="276"/>
                  <a:pt x="130" y="277"/>
                </a:cubicBezTo>
                <a:cubicBezTo>
                  <a:pt x="129" y="277"/>
                  <a:pt x="128" y="275"/>
                  <a:pt x="128" y="274"/>
                </a:cubicBezTo>
                <a:close/>
                <a:moveTo>
                  <a:pt x="129" y="246"/>
                </a:moveTo>
                <a:cubicBezTo>
                  <a:pt x="132" y="246"/>
                  <a:pt x="128" y="249"/>
                  <a:pt x="129" y="247"/>
                </a:cubicBezTo>
                <a:cubicBezTo>
                  <a:pt x="129" y="247"/>
                  <a:pt x="129" y="246"/>
                  <a:pt x="129" y="246"/>
                </a:cubicBezTo>
                <a:close/>
                <a:moveTo>
                  <a:pt x="129" y="241"/>
                </a:moveTo>
                <a:cubicBezTo>
                  <a:pt x="130" y="240"/>
                  <a:pt x="130" y="242"/>
                  <a:pt x="130" y="242"/>
                </a:cubicBezTo>
                <a:cubicBezTo>
                  <a:pt x="130" y="242"/>
                  <a:pt x="129" y="241"/>
                  <a:pt x="129" y="241"/>
                </a:cubicBezTo>
                <a:close/>
                <a:moveTo>
                  <a:pt x="130" y="275"/>
                </a:moveTo>
                <a:cubicBezTo>
                  <a:pt x="129" y="274"/>
                  <a:pt x="130" y="273"/>
                  <a:pt x="130" y="274"/>
                </a:cubicBezTo>
                <a:cubicBezTo>
                  <a:pt x="131" y="274"/>
                  <a:pt x="131" y="275"/>
                  <a:pt x="130" y="275"/>
                </a:cubicBezTo>
                <a:close/>
                <a:moveTo>
                  <a:pt x="128" y="210"/>
                </a:moveTo>
                <a:cubicBezTo>
                  <a:pt x="127" y="210"/>
                  <a:pt x="127" y="208"/>
                  <a:pt x="127" y="207"/>
                </a:cubicBezTo>
                <a:cubicBezTo>
                  <a:pt x="128" y="208"/>
                  <a:pt x="128" y="209"/>
                  <a:pt x="128" y="210"/>
                </a:cubicBezTo>
                <a:close/>
                <a:moveTo>
                  <a:pt x="126" y="269"/>
                </a:moveTo>
                <a:cubicBezTo>
                  <a:pt x="127" y="270"/>
                  <a:pt x="128" y="271"/>
                  <a:pt x="128" y="273"/>
                </a:cubicBezTo>
                <a:cubicBezTo>
                  <a:pt x="127" y="272"/>
                  <a:pt x="126" y="271"/>
                  <a:pt x="126" y="269"/>
                </a:cubicBezTo>
                <a:close/>
                <a:moveTo>
                  <a:pt x="123" y="221"/>
                </a:moveTo>
                <a:cubicBezTo>
                  <a:pt x="123" y="221"/>
                  <a:pt x="124" y="221"/>
                  <a:pt x="124" y="222"/>
                </a:cubicBezTo>
                <a:cubicBezTo>
                  <a:pt x="124" y="222"/>
                  <a:pt x="122" y="222"/>
                  <a:pt x="123" y="221"/>
                </a:cubicBezTo>
                <a:close/>
                <a:moveTo>
                  <a:pt x="125" y="273"/>
                </a:moveTo>
                <a:cubicBezTo>
                  <a:pt x="123" y="272"/>
                  <a:pt x="123" y="271"/>
                  <a:pt x="123" y="270"/>
                </a:cubicBezTo>
                <a:cubicBezTo>
                  <a:pt x="124" y="270"/>
                  <a:pt x="125" y="272"/>
                  <a:pt x="125" y="273"/>
                </a:cubicBezTo>
                <a:close/>
                <a:moveTo>
                  <a:pt x="119" y="230"/>
                </a:moveTo>
                <a:cubicBezTo>
                  <a:pt x="119" y="231"/>
                  <a:pt x="119" y="230"/>
                  <a:pt x="119" y="230"/>
                </a:cubicBezTo>
                <a:cubicBezTo>
                  <a:pt x="116" y="228"/>
                  <a:pt x="120" y="229"/>
                  <a:pt x="119" y="230"/>
                </a:cubicBezTo>
                <a:close/>
                <a:moveTo>
                  <a:pt x="116" y="209"/>
                </a:moveTo>
                <a:cubicBezTo>
                  <a:pt x="117" y="209"/>
                  <a:pt x="117" y="211"/>
                  <a:pt x="117" y="211"/>
                </a:cubicBezTo>
                <a:cubicBezTo>
                  <a:pt x="117" y="211"/>
                  <a:pt x="116" y="210"/>
                  <a:pt x="116" y="209"/>
                </a:cubicBezTo>
                <a:close/>
                <a:moveTo>
                  <a:pt x="117" y="220"/>
                </a:moveTo>
                <a:cubicBezTo>
                  <a:pt x="118" y="221"/>
                  <a:pt x="118" y="223"/>
                  <a:pt x="118" y="224"/>
                </a:cubicBezTo>
                <a:cubicBezTo>
                  <a:pt x="118" y="226"/>
                  <a:pt x="119" y="228"/>
                  <a:pt x="118" y="228"/>
                </a:cubicBezTo>
                <a:cubicBezTo>
                  <a:pt x="118" y="228"/>
                  <a:pt x="118" y="228"/>
                  <a:pt x="118" y="227"/>
                </a:cubicBezTo>
                <a:cubicBezTo>
                  <a:pt x="118" y="228"/>
                  <a:pt x="118" y="228"/>
                  <a:pt x="118" y="228"/>
                </a:cubicBezTo>
                <a:cubicBezTo>
                  <a:pt x="118" y="228"/>
                  <a:pt x="117" y="229"/>
                  <a:pt x="117" y="229"/>
                </a:cubicBezTo>
                <a:cubicBezTo>
                  <a:pt x="116" y="229"/>
                  <a:pt x="111" y="224"/>
                  <a:pt x="112" y="221"/>
                </a:cubicBezTo>
                <a:cubicBezTo>
                  <a:pt x="112" y="219"/>
                  <a:pt x="115" y="218"/>
                  <a:pt x="117" y="220"/>
                </a:cubicBezTo>
                <a:close/>
                <a:moveTo>
                  <a:pt x="114" y="428"/>
                </a:moveTo>
                <a:cubicBezTo>
                  <a:pt x="114" y="430"/>
                  <a:pt x="112" y="427"/>
                  <a:pt x="112" y="425"/>
                </a:cubicBezTo>
                <a:cubicBezTo>
                  <a:pt x="111" y="421"/>
                  <a:pt x="110" y="416"/>
                  <a:pt x="110" y="413"/>
                </a:cubicBezTo>
                <a:cubicBezTo>
                  <a:pt x="110" y="413"/>
                  <a:pt x="110" y="411"/>
                  <a:pt x="110" y="411"/>
                </a:cubicBezTo>
                <a:cubicBezTo>
                  <a:pt x="111" y="411"/>
                  <a:pt x="114" y="426"/>
                  <a:pt x="114" y="428"/>
                </a:cubicBezTo>
                <a:close/>
                <a:moveTo>
                  <a:pt x="111" y="324"/>
                </a:moveTo>
                <a:cubicBezTo>
                  <a:pt x="110" y="325"/>
                  <a:pt x="111" y="323"/>
                  <a:pt x="111" y="324"/>
                </a:cubicBezTo>
                <a:close/>
                <a:moveTo>
                  <a:pt x="113" y="271"/>
                </a:moveTo>
                <a:cubicBezTo>
                  <a:pt x="115" y="271"/>
                  <a:pt x="117" y="274"/>
                  <a:pt x="115" y="276"/>
                </a:cubicBezTo>
                <a:cubicBezTo>
                  <a:pt x="112" y="280"/>
                  <a:pt x="109" y="271"/>
                  <a:pt x="113" y="271"/>
                </a:cubicBezTo>
                <a:close/>
                <a:moveTo>
                  <a:pt x="114" y="252"/>
                </a:moveTo>
                <a:cubicBezTo>
                  <a:pt x="114" y="252"/>
                  <a:pt x="115" y="253"/>
                  <a:pt x="114" y="254"/>
                </a:cubicBezTo>
                <a:cubicBezTo>
                  <a:pt x="113" y="254"/>
                  <a:pt x="113" y="252"/>
                  <a:pt x="114" y="252"/>
                </a:cubicBezTo>
                <a:close/>
                <a:moveTo>
                  <a:pt x="115" y="374"/>
                </a:moveTo>
                <a:cubicBezTo>
                  <a:pt x="117" y="374"/>
                  <a:pt x="117" y="378"/>
                  <a:pt x="115" y="378"/>
                </a:cubicBezTo>
                <a:cubicBezTo>
                  <a:pt x="115" y="378"/>
                  <a:pt x="113" y="375"/>
                  <a:pt x="115" y="374"/>
                </a:cubicBezTo>
                <a:close/>
                <a:moveTo>
                  <a:pt x="115" y="266"/>
                </a:moveTo>
                <a:cubicBezTo>
                  <a:pt x="118" y="267"/>
                  <a:pt x="116" y="270"/>
                  <a:pt x="115" y="266"/>
                </a:cubicBezTo>
                <a:close/>
                <a:moveTo>
                  <a:pt x="110" y="225"/>
                </a:moveTo>
                <a:cubicBezTo>
                  <a:pt x="112" y="225"/>
                  <a:pt x="110" y="226"/>
                  <a:pt x="110" y="225"/>
                </a:cubicBezTo>
                <a:close/>
                <a:moveTo>
                  <a:pt x="108" y="237"/>
                </a:moveTo>
                <a:cubicBezTo>
                  <a:pt x="106" y="236"/>
                  <a:pt x="109" y="235"/>
                  <a:pt x="108" y="237"/>
                </a:cubicBezTo>
                <a:close/>
                <a:moveTo>
                  <a:pt x="106" y="237"/>
                </a:moveTo>
                <a:cubicBezTo>
                  <a:pt x="107" y="236"/>
                  <a:pt x="108" y="238"/>
                  <a:pt x="107" y="239"/>
                </a:cubicBezTo>
                <a:cubicBezTo>
                  <a:pt x="106" y="239"/>
                  <a:pt x="106" y="237"/>
                  <a:pt x="106" y="237"/>
                </a:cubicBezTo>
                <a:close/>
                <a:moveTo>
                  <a:pt x="97" y="223"/>
                </a:moveTo>
                <a:cubicBezTo>
                  <a:pt x="98" y="223"/>
                  <a:pt x="98" y="225"/>
                  <a:pt x="96" y="225"/>
                </a:cubicBezTo>
                <a:cubicBezTo>
                  <a:pt x="95" y="224"/>
                  <a:pt x="96" y="223"/>
                  <a:pt x="97" y="223"/>
                </a:cubicBezTo>
                <a:close/>
                <a:moveTo>
                  <a:pt x="96" y="249"/>
                </a:moveTo>
                <a:cubicBezTo>
                  <a:pt x="97" y="250"/>
                  <a:pt x="96" y="250"/>
                  <a:pt x="96" y="249"/>
                </a:cubicBezTo>
                <a:close/>
                <a:moveTo>
                  <a:pt x="96" y="195"/>
                </a:moveTo>
                <a:cubicBezTo>
                  <a:pt x="96" y="195"/>
                  <a:pt x="96" y="196"/>
                  <a:pt x="96" y="197"/>
                </a:cubicBezTo>
                <a:cubicBezTo>
                  <a:pt x="96" y="197"/>
                  <a:pt x="95" y="196"/>
                  <a:pt x="96" y="195"/>
                </a:cubicBezTo>
                <a:close/>
                <a:moveTo>
                  <a:pt x="93" y="195"/>
                </a:moveTo>
                <a:cubicBezTo>
                  <a:pt x="94" y="195"/>
                  <a:pt x="93" y="195"/>
                  <a:pt x="93" y="195"/>
                </a:cubicBezTo>
                <a:cubicBezTo>
                  <a:pt x="93" y="195"/>
                  <a:pt x="93" y="195"/>
                  <a:pt x="93" y="195"/>
                </a:cubicBezTo>
                <a:close/>
                <a:moveTo>
                  <a:pt x="93" y="195"/>
                </a:moveTo>
                <a:cubicBezTo>
                  <a:pt x="93" y="196"/>
                  <a:pt x="93" y="196"/>
                  <a:pt x="93" y="195"/>
                </a:cubicBezTo>
                <a:close/>
                <a:moveTo>
                  <a:pt x="92" y="212"/>
                </a:moveTo>
                <a:cubicBezTo>
                  <a:pt x="91" y="213"/>
                  <a:pt x="90" y="211"/>
                  <a:pt x="89" y="211"/>
                </a:cubicBezTo>
                <a:cubicBezTo>
                  <a:pt x="88" y="207"/>
                  <a:pt x="94" y="209"/>
                  <a:pt x="92" y="212"/>
                </a:cubicBezTo>
                <a:close/>
                <a:moveTo>
                  <a:pt x="92" y="259"/>
                </a:moveTo>
                <a:cubicBezTo>
                  <a:pt x="91" y="259"/>
                  <a:pt x="93" y="251"/>
                  <a:pt x="92" y="248"/>
                </a:cubicBezTo>
                <a:cubicBezTo>
                  <a:pt x="94" y="249"/>
                  <a:pt x="93" y="260"/>
                  <a:pt x="92" y="259"/>
                </a:cubicBezTo>
                <a:close/>
                <a:moveTo>
                  <a:pt x="93" y="228"/>
                </a:moveTo>
                <a:cubicBezTo>
                  <a:pt x="91" y="227"/>
                  <a:pt x="93" y="226"/>
                  <a:pt x="93" y="228"/>
                </a:cubicBezTo>
                <a:close/>
                <a:moveTo>
                  <a:pt x="92" y="225"/>
                </a:moveTo>
                <a:cubicBezTo>
                  <a:pt x="92" y="225"/>
                  <a:pt x="92" y="223"/>
                  <a:pt x="92" y="223"/>
                </a:cubicBezTo>
                <a:cubicBezTo>
                  <a:pt x="93" y="223"/>
                  <a:pt x="93" y="226"/>
                  <a:pt x="92" y="225"/>
                </a:cubicBezTo>
                <a:close/>
                <a:moveTo>
                  <a:pt x="94" y="198"/>
                </a:moveTo>
                <a:cubicBezTo>
                  <a:pt x="95" y="198"/>
                  <a:pt x="95" y="199"/>
                  <a:pt x="95" y="199"/>
                </a:cubicBezTo>
                <a:cubicBezTo>
                  <a:pt x="95" y="199"/>
                  <a:pt x="93" y="200"/>
                  <a:pt x="93" y="200"/>
                </a:cubicBezTo>
                <a:cubicBezTo>
                  <a:pt x="92" y="200"/>
                  <a:pt x="92" y="198"/>
                  <a:pt x="94" y="198"/>
                </a:cubicBezTo>
                <a:close/>
                <a:moveTo>
                  <a:pt x="94" y="407"/>
                </a:moveTo>
                <a:cubicBezTo>
                  <a:pt x="95" y="409"/>
                  <a:pt x="93" y="409"/>
                  <a:pt x="94" y="407"/>
                </a:cubicBezTo>
                <a:close/>
                <a:moveTo>
                  <a:pt x="96" y="275"/>
                </a:moveTo>
                <a:cubicBezTo>
                  <a:pt x="95" y="275"/>
                  <a:pt x="95" y="273"/>
                  <a:pt x="95" y="272"/>
                </a:cubicBezTo>
                <a:cubicBezTo>
                  <a:pt x="97" y="271"/>
                  <a:pt x="97" y="275"/>
                  <a:pt x="96" y="275"/>
                </a:cubicBezTo>
                <a:close/>
                <a:moveTo>
                  <a:pt x="95" y="257"/>
                </a:moveTo>
                <a:cubicBezTo>
                  <a:pt x="97" y="257"/>
                  <a:pt x="98" y="260"/>
                  <a:pt x="98" y="262"/>
                </a:cubicBezTo>
                <a:cubicBezTo>
                  <a:pt x="97" y="260"/>
                  <a:pt x="96" y="259"/>
                  <a:pt x="95" y="257"/>
                </a:cubicBezTo>
                <a:close/>
                <a:moveTo>
                  <a:pt x="99" y="345"/>
                </a:moveTo>
                <a:cubicBezTo>
                  <a:pt x="98" y="346"/>
                  <a:pt x="98" y="344"/>
                  <a:pt x="98" y="344"/>
                </a:cubicBezTo>
                <a:cubicBezTo>
                  <a:pt x="99" y="344"/>
                  <a:pt x="99" y="345"/>
                  <a:pt x="99" y="345"/>
                </a:cubicBezTo>
                <a:close/>
                <a:moveTo>
                  <a:pt x="99" y="391"/>
                </a:moveTo>
                <a:cubicBezTo>
                  <a:pt x="100" y="393"/>
                  <a:pt x="99" y="393"/>
                  <a:pt x="99" y="391"/>
                </a:cubicBezTo>
                <a:close/>
                <a:moveTo>
                  <a:pt x="98" y="263"/>
                </a:moveTo>
                <a:cubicBezTo>
                  <a:pt x="99" y="265"/>
                  <a:pt x="100" y="266"/>
                  <a:pt x="100" y="268"/>
                </a:cubicBezTo>
                <a:cubicBezTo>
                  <a:pt x="100" y="267"/>
                  <a:pt x="99" y="265"/>
                  <a:pt x="98" y="263"/>
                </a:cubicBezTo>
                <a:close/>
                <a:moveTo>
                  <a:pt x="100" y="245"/>
                </a:moveTo>
                <a:cubicBezTo>
                  <a:pt x="98" y="243"/>
                  <a:pt x="100" y="243"/>
                  <a:pt x="100" y="245"/>
                </a:cubicBezTo>
                <a:close/>
                <a:moveTo>
                  <a:pt x="98" y="231"/>
                </a:moveTo>
                <a:cubicBezTo>
                  <a:pt x="97" y="231"/>
                  <a:pt x="98" y="227"/>
                  <a:pt x="99" y="227"/>
                </a:cubicBezTo>
                <a:cubicBezTo>
                  <a:pt x="101" y="227"/>
                  <a:pt x="101" y="232"/>
                  <a:pt x="98" y="231"/>
                </a:cubicBezTo>
                <a:close/>
                <a:moveTo>
                  <a:pt x="99" y="205"/>
                </a:moveTo>
                <a:cubicBezTo>
                  <a:pt x="99" y="204"/>
                  <a:pt x="100" y="206"/>
                  <a:pt x="99" y="206"/>
                </a:cubicBezTo>
                <a:cubicBezTo>
                  <a:pt x="99" y="206"/>
                  <a:pt x="99" y="205"/>
                  <a:pt x="99" y="205"/>
                </a:cubicBezTo>
                <a:close/>
                <a:moveTo>
                  <a:pt x="102" y="420"/>
                </a:moveTo>
                <a:cubicBezTo>
                  <a:pt x="102" y="420"/>
                  <a:pt x="102" y="420"/>
                  <a:pt x="102" y="420"/>
                </a:cubicBezTo>
                <a:cubicBezTo>
                  <a:pt x="102" y="420"/>
                  <a:pt x="102" y="420"/>
                  <a:pt x="102" y="420"/>
                </a:cubicBezTo>
                <a:cubicBezTo>
                  <a:pt x="102" y="420"/>
                  <a:pt x="102" y="420"/>
                  <a:pt x="102" y="420"/>
                </a:cubicBezTo>
                <a:close/>
                <a:moveTo>
                  <a:pt x="101" y="348"/>
                </a:moveTo>
                <a:cubicBezTo>
                  <a:pt x="99" y="349"/>
                  <a:pt x="102" y="346"/>
                  <a:pt x="102" y="347"/>
                </a:cubicBezTo>
                <a:cubicBezTo>
                  <a:pt x="102" y="348"/>
                  <a:pt x="102" y="348"/>
                  <a:pt x="101" y="348"/>
                </a:cubicBezTo>
                <a:close/>
                <a:moveTo>
                  <a:pt x="102" y="273"/>
                </a:moveTo>
                <a:cubicBezTo>
                  <a:pt x="101" y="273"/>
                  <a:pt x="101" y="271"/>
                  <a:pt x="101" y="270"/>
                </a:cubicBezTo>
                <a:cubicBezTo>
                  <a:pt x="102" y="270"/>
                  <a:pt x="103" y="273"/>
                  <a:pt x="102" y="273"/>
                </a:cubicBezTo>
                <a:close/>
                <a:moveTo>
                  <a:pt x="102" y="211"/>
                </a:moveTo>
                <a:cubicBezTo>
                  <a:pt x="102" y="210"/>
                  <a:pt x="103" y="210"/>
                  <a:pt x="102" y="210"/>
                </a:cubicBezTo>
                <a:cubicBezTo>
                  <a:pt x="102" y="210"/>
                  <a:pt x="102" y="211"/>
                  <a:pt x="102" y="211"/>
                </a:cubicBezTo>
                <a:close/>
                <a:moveTo>
                  <a:pt x="101" y="211"/>
                </a:moveTo>
                <a:cubicBezTo>
                  <a:pt x="101" y="211"/>
                  <a:pt x="101" y="210"/>
                  <a:pt x="101" y="210"/>
                </a:cubicBezTo>
                <a:cubicBezTo>
                  <a:pt x="101" y="211"/>
                  <a:pt x="100" y="212"/>
                  <a:pt x="101" y="211"/>
                </a:cubicBezTo>
                <a:close/>
                <a:moveTo>
                  <a:pt x="103" y="355"/>
                </a:moveTo>
                <a:cubicBezTo>
                  <a:pt x="102" y="355"/>
                  <a:pt x="102" y="354"/>
                  <a:pt x="102" y="353"/>
                </a:cubicBezTo>
                <a:cubicBezTo>
                  <a:pt x="103" y="354"/>
                  <a:pt x="103" y="354"/>
                  <a:pt x="103" y="355"/>
                </a:cubicBezTo>
                <a:close/>
                <a:moveTo>
                  <a:pt x="105" y="290"/>
                </a:moveTo>
                <a:cubicBezTo>
                  <a:pt x="105" y="291"/>
                  <a:pt x="104" y="291"/>
                  <a:pt x="103" y="290"/>
                </a:cubicBezTo>
                <a:cubicBezTo>
                  <a:pt x="101" y="289"/>
                  <a:pt x="106" y="287"/>
                  <a:pt x="105" y="290"/>
                </a:cubicBezTo>
                <a:close/>
                <a:moveTo>
                  <a:pt x="103" y="252"/>
                </a:moveTo>
                <a:cubicBezTo>
                  <a:pt x="104" y="252"/>
                  <a:pt x="103" y="253"/>
                  <a:pt x="103" y="252"/>
                </a:cubicBezTo>
                <a:close/>
                <a:moveTo>
                  <a:pt x="105" y="207"/>
                </a:moveTo>
                <a:cubicBezTo>
                  <a:pt x="104" y="207"/>
                  <a:pt x="103" y="205"/>
                  <a:pt x="102" y="205"/>
                </a:cubicBezTo>
                <a:cubicBezTo>
                  <a:pt x="102" y="206"/>
                  <a:pt x="103" y="207"/>
                  <a:pt x="102" y="207"/>
                </a:cubicBezTo>
                <a:cubicBezTo>
                  <a:pt x="102" y="206"/>
                  <a:pt x="98" y="203"/>
                  <a:pt x="98" y="200"/>
                </a:cubicBezTo>
                <a:cubicBezTo>
                  <a:pt x="98" y="199"/>
                  <a:pt x="99" y="196"/>
                  <a:pt x="102" y="196"/>
                </a:cubicBezTo>
                <a:cubicBezTo>
                  <a:pt x="103" y="197"/>
                  <a:pt x="106" y="201"/>
                  <a:pt x="106" y="203"/>
                </a:cubicBezTo>
                <a:cubicBezTo>
                  <a:pt x="105" y="204"/>
                  <a:pt x="105" y="205"/>
                  <a:pt x="105" y="206"/>
                </a:cubicBezTo>
                <a:cubicBezTo>
                  <a:pt x="105" y="206"/>
                  <a:pt x="106" y="207"/>
                  <a:pt x="105" y="207"/>
                </a:cubicBezTo>
                <a:close/>
                <a:moveTo>
                  <a:pt x="106" y="270"/>
                </a:moveTo>
                <a:cubicBezTo>
                  <a:pt x="105" y="270"/>
                  <a:pt x="106" y="270"/>
                  <a:pt x="106" y="270"/>
                </a:cubicBezTo>
                <a:close/>
                <a:moveTo>
                  <a:pt x="106" y="271"/>
                </a:moveTo>
                <a:cubicBezTo>
                  <a:pt x="106" y="271"/>
                  <a:pt x="106" y="271"/>
                  <a:pt x="106" y="271"/>
                </a:cubicBezTo>
                <a:cubicBezTo>
                  <a:pt x="106" y="271"/>
                  <a:pt x="106" y="271"/>
                  <a:pt x="106" y="271"/>
                </a:cubicBezTo>
                <a:cubicBezTo>
                  <a:pt x="106" y="271"/>
                  <a:pt x="106" y="271"/>
                  <a:pt x="106" y="271"/>
                </a:cubicBezTo>
                <a:close/>
                <a:moveTo>
                  <a:pt x="107" y="250"/>
                </a:moveTo>
                <a:cubicBezTo>
                  <a:pt x="107" y="249"/>
                  <a:pt x="108" y="250"/>
                  <a:pt x="109" y="250"/>
                </a:cubicBezTo>
                <a:cubicBezTo>
                  <a:pt x="112" y="250"/>
                  <a:pt x="112" y="254"/>
                  <a:pt x="111" y="255"/>
                </a:cubicBezTo>
                <a:cubicBezTo>
                  <a:pt x="111" y="255"/>
                  <a:pt x="111" y="255"/>
                  <a:pt x="111" y="255"/>
                </a:cubicBezTo>
                <a:cubicBezTo>
                  <a:pt x="111" y="255"/>
                  <a:pt x="111" y="255"/>
                  <a:pt x="111" y="255"/>
                </a:cubicBezTo>
                <a:cubicBezTo>
                  <a:pt x="111" y="259"/>
                  <a:pt x="102" y="254"/>
                  <a:pt x="107" y="250"/>
                </a:cubicBezTo>
                <a:close/>
                <a:moveTo>
                  <a:pt x="107" y="458"/>
                </a:moveTo>
                <a:cubicBezTo>
                  <a:pt x="108" y="460"/>
                  <a:pt x="106" y="460"/>
                  <a:pt x="107" y="458"/>
                </a:cubicBezTo>
                <a:close/>
                <a:moveTo>
                  <a:pt x="109" y="360"/>
                </a:moveTo>
                <a:cubicBezTo>
                  <a:pt x="111" y="360"/>
                  <a:pt x="110" y="363"/>
                  <a:pt x="109" y="363"/>
                </a:cubicBezTo>
                <a:cubicBezTo>
                  <a:pt x="108" y="362"/>
                  <a:pt x="108" y="361"/>
                  <a:pt x="109" y="360"/>
                </a:cubicBezTo>
                <a:close/>
                <a:moveTo>
                  <a:pt x="109" y="423"/>
                </a:moveTo>
                <a:cubicBezTo>
                  <a:pt x="109" y="423"/>
                  <a:pt x="108" y="420"/>
                  <a:pt x="110" y="422"/>
                </a:cubicBezTo>
                <a:cubicBezTo>
                  <a:pt x="112" y="425"/>
                  <a:pt x="112" y="431"/>
                  <a:pt x="113" y="435"/>
                </a:cubicBezTo>
                <a:cubicBezTo>
                  <a:pt x="111" y="432"/>
                  <a:pt x="109" y="427"/>
                  <a:pt x="109" y="423"/>
                </a:cubicBezTo>
                <a:close/>
                <a:moveTo>
                  <a:pt x="113" y="436"/>
                </a:moveTo>
                <a:cubicBezTo>
                  <a:pt x="115" y="437"/>
                  <a:pt x="117" y="442"/>
                  <a:pt x="117" y="446"/>
                </a:cubicBezTo>
                <a:cubicBezTo>
                  <a:pt x="115" y="443"/>
                  <a:pt x="114" y="439"/>
                  <a:pt x="113" y="436"/>
                </a:cubicBezTo>
                <a:close/>
                <a:moveTo>
                  <a:pt x="116" y="414"/>
                </a:moveTo>
                <a:cubicBezTo>
                  <a:pt x="116" y="415"/>
                  <a:pt x="114" y="414"/>
                  <a:pt x="116" y="414"/>
                </a:cubicBezTo>
                <a:close/>
                <a:moveTo>
                  <a:pt x="117" y="400"/>
                </a:moveTo>
                <a:cubicBezTo>
                  <a:pt x="115" y="401"/>
                  <a:pt x="112" y="391"/>
                  <a:pt x="116" y="392"/>
                </a:cubicBezTo>
                <a:cubicBezTo>
                  <a:pt x="118" y="393"/>
                  <a:pt x="117" y="396"/>
                  <a:pt x="117" y="397"/>
                </a:cubicBezTo>
                <a:cubicBezTo>
                  <a:pt x="117" y="398"/>
                  <a:pt x="116" y="398"/>
                  <a:pt x="116" y="398"/>
                </a:cubicBezTo>
                <a:cubicBezTo>
                  <a:pt x="116" y="398"/>
                  <a:pt x="118" y="400"/>
                  <a:pt x="117" y="400"/>
                </a:cubicBezTo>
                <a:close/>
                <a:moveTo>
                  <a:pt x="119" y="371"/>
                </a:moveTo>
                <a:cubicBezTo>
                  <a:pt x="117" y="370"/>
                  <a:pt x="120" y="368"/>
                  <a:pt x="119" y="371"/>
                </a:cubicBezTo>
                <a:close/>
                <a:moveTo>
                  <a:pt x="118" y="368"/>
                </a:moveTo>
                <a:cubicBezTo>
                  <a:pt x="118" y="368"/>
                  <a:pt x="117" y="366"/>
                  <a:pt x="118" y="366"/>
                </a:cubicBezTo>
                <a:cubicBezTo>
                  <a:pt x="119" y="365"/>
                  <a:pt x="120" y="369"/>
                  <a:pt x="118" y="368"/>
                </a:cubicBezTo>
                <a:close/>
                <a:moveTo>
                  <a:pt x="119" y="278"/>
                </a:moveTo>
                <a:cubicBezTo>
                  <a:pt x="118" y="278"/>
                  <a:pt x="118" y="277"/>
                  <a:pt x="118" y="276"/>
                </a:cubicBezTo>
                <a:cubicBezTo>
                  <a:pt x="121" y="274"/>
                  <a:pt x="122" y="280"/>
                  <a:pt x="119" y="278"/>
                </a:cubicBezTo>
                <a:close/>
                <a:moveTo>
                  <a:pt x="120" y="239"/>
                </a:moveTo>
                <a:cubicBezTo>
                  <a:pt x="119" y="241"/>
                  <a:pt x="117" y="235"/>
                  <a:pt x="119" y="235"/>
                </a:cubicBezTo>
                <a:cubicBezTo>
                  <a:pt x="121" y="234"/>
                  <a:pt x="122" y="238"/>
                  <a:pt x="120" y="239"/>
                </a:cubicBezTo>
                <a:close/>
                <a:moveTo>
                  <a:pt x="133" y="398"/>
                </a:moveTo>
                <a:cubicBezTo>
                  <a:pt x="131" y="392"/>
                  <a:pt x="130" y="386"/>
                  <a:pt x="128" y="380"/>
                </a:cubicBezTo>
                <a:cubicBezTo>
                  <a:pt x="125" y="375"/>
                  <a:pt x="122" y="370"/>
                  <a:pt x="122" y="364"/>
                </a:cubicBezTo>
                <a:cubicBezTo>
                  <a:pt x="122" y="364"/>
                  <a:pt x="123" y="363"/>
                  <a:pt x="123" y="363"/>
                </a:cubicBezTo>
                <a:cubicBezTo>
                  <a:pt x="124" y="363"/>
                  <a:pt x="128" y="373"/>
                  <a:pt x="128" y="376"/>
                </a:cubicBezTo>
                <a:cubicBezTo>
                  <a:pt x="129" y="381"/>
                  <a:pt x="131" y="385"/>
                  <a:pt x="132" y="390"/>
                </a:cubicBezTo>
                <a:cubicBezTo>
                  <a:pt x="132" y="392"/>
                  <a:pt x="136" y="397"/>
                  <a:pt x="135" y="399"/>
                </a:cubicBezTo>
                <a:cubicBezTo>
                  <a:pt x="135" y="403"/>
                  <a:pt x="133" y="398"/>
                  <a:pt x="133" y="398"/>
                </a:cubicBezTo>
                <a:close/>
                <a:moveTo>
                  <a:pt x="134" y="304"/>
                </a:moveTo>
                <a:cubicBezTo>
                  <a:pt x="134" y="304"/>
                  <a:pt x="133" y="304"/>
                  <a:pt x="133" y="303"/>
                </a:cubicBezTo>
                <a:cubicBezTo>
                  <a:pt x="133" y="303"/>
                  <a:pt x="134" y="304"/>
                  <a:pt x="134" y="304"/>
                </a:cubicBezTo>
                <a:close/>
                <a:moveTo>
                  <a:pt x="134" y="250"/>
                </a:moveTo>
                <a:cubicBezTo>
                  <a:pt x="135" y="250"/>
                  <a:pt x="136" y="254"/>
                  <a:pt x="134" y="254"/>
                </a:cubicBezTo>
                <a:cubicBezTo>
                  <a:pt x="134" y="254"/>
                  <a:pt x="132" y="250"/>
                  <a:pt x="134" y="250"/>
                </a:cubicBezTo>
                <a:close/>
                <a:moveTo>
                  <a:pt x="136" y="417"/>
                </a:moveTo>
                <a:cubicBezTo>
                  <a:pt x="137" y="418"/>
                  <a:pt x="137" y="419"/>
                  <a:pt x="138" y="420"/>
                </a:cubicBezTo>
                <a:cubicBezTo>
                  <a:pt x="137" y="420"/>
                  <a:pt x="136" y="418"/>
                  <a:pt x="136" y="417"/>
                </a:cubicBezTo>
                <a:close/>
                <a:moveTo>
                  <a:pt x="137" y="421"/>
                </a:moveTo>
                <a:cubicBezTo>
                  <a:pt x="137" y="422"/>
                  <a:pt x="138" y="420"/>
                  <a:pt x="137" y="421"/>
                </a:cubicBezTo>
                <a:close/>
                <a:moveTo>
                  <a:pt x="135" y="249"/>
                </a:moveTo>
                <a:cubicBezTo>
                  <a:pt x="136" y="248"/>
                  <a:pt x="133" y="247"/>
                  <a:pt x="132" y="246"/>
                </a:cubicBezTo>
                <a:cubicBezTo>
                  <a:pt x="129" y="238"/>
                  <a:pt x="140" y="237"/>
                  <a:pt x="139" y="245"/>
                </a:cubicBezTo>
                <a:cubicBezTo>
                  <a:pt x="139" y="246"/>
                  <a:pt x="138" y="249"/>
                  <a:pt x="135" y="249"/>
                </a:cubicBezTo>
                <a:close/>
                <a:moveTo>
                  <a:pt x="138" y="250"/>
                </a:moveTo>
                <a:cubicBezTo>
                  <a:pt x="138" y="250"/>
                  <a:pt x="138" y="249"/>
                  <a:pt x="138" y="249"/>
                </a:cubicBezTo>
                <a:cubicBezTo>
                  <a:pt x="139" y="248"/>
                  <a:pt x="139" y="250"/>
                  <a:pt x="138" y="250"/>
                </a:cubicBezTo>
                <a:close/>
                <a:moveTo>
                  <a:pt x="140" y="271"/>
                </a:moveTo>
                <a:cubicBezTo>
                  <a:pt x="140" y="271"/>
                  <a:pt x="140" y="270"/>
                  <a:pt x="140" y="271"/>
                </a:cubicBezTo>
                <a:close/>
                <a:moveTo>
                  <a:pt x="139" y="232"/>
                </a:moveTo>
                <a:cubicBezTo>
                  <a:pt x="140" y="232"/>
                  <a:pt x="141" y="232"/>
                  <a:pt x="141" y="232"/>
                </a:cubicBezTo>
                <a:cubicBezTo>
                  <a:pt x="145" y="235"/>
                  <a:pt x="139" y="234"/>
                  <a:pt x="139" y="232"/>
                </a:cubicBezTo>
                <a:close/>
                <a:moveTo>
                  <a:pt x="142" y="304"/>
                </a:moveTo>
                <a:cubicBezTo>
                  <a:pt x="143" y="306"/>
                  <a:pt x="145" y="309"/>
                  <a:pt x="143" y="310"/>
                </a:cubicBezTo>
                <a:cubicBezTo>
                  <a:pt x="144" y="308"/>
                  <a:pt x="142" y="307"/>
                  <a:pt x="142" y="304"/>
                </a:cubicBezTo>
                <a:close/>
                <a:moveTo>
                  <a:pt x="144" y="445"/>
                </a:moveTo>
                <a:cubicBezTo>
                  <a:pt x="144" y="445"/>
                  <a:pt x="144" y="444"/>
                  <a:pt x="144" y="444"/>
                </a:cubicBezTo>
                <a:cubicBezTo>
                  <a:pt x="147" y="445"/>
                  <a:pt x="141" y="446"/>
                  <a:pt x="144" y="445"/>
                </a:cubicBezTo>
                <a:close/>
                <a:moveTo>
                  <a:pt x="144" y="390"/>
                </a:moveTo>
                <a:cubicBezTo>
                  <a:pt x="145" y="390"/>
                  <a:pt x="144" y="391"/>
                  <a:pt x="145" y="391"/>
                </a:cubicBezTo>
                <a:cubicBezTo>
                  <a:pt x="144" y="392"/>
                  <a:pt x="144" y="390"/>
                  <a:pt x="144" y="390"/>
                </a:cubicBezTo>
                <a:close/>
                <a:moveTo>
                  <a:pt x="145" y="345"/>
                </a:moveTo>
                <a:cubicBezTo>
                  <a:pt x="141" y="343"/>
                  <a:pt x="142" y="334"/>
                  <a:pt x="147" y="334"/>
                </a:cubicBezTo>
                <a:cubicBezTo>
                  <a:pt x="153" y="335"/>
                  <a:pt x="151" y="349"/>
                  <a:pt x="145" y="345"/>
                </a:cubicBezTo>
                <a:close/>
                <a:moveTo>
                  <a:pt x="150" y="229"/>
                </a:moveTo>
                <a:cubicBezTo>
                  <a:pt x="151" y="228"/>
                  <a:pt x="152" y="230"/>
                  <a:pt x="151" y="230"/>
                </a:cubicBezTo>
                <a:cubicBezTo>
                  <a:pt x="151" y="231"/>
                  <a:pt x="150" y="229"/>
                  <a:pt x="150" y="229"/>
                </a:cubicBezTo>
                <a:close/>
                <a:moveTo>
                  <a:pt x="152" y="263"/>
                </a:moveTo>
                <a:cubicBezTo>
                  <a:pt x="150" y="260"/>
                  <a:pt x="152" y="259"/>
                  <a:pt x="152" y="263"/>
                </a:cubicBezTo>
                <a:close/>
                <a:moveTo>
                  <a:pt x="156" y="234"/>
                </a:moveTo>
                <a:cubicBezTo>
                  <a:pt x="155" y="233"/>
                  <a:pt x="153" y="230"/>
                  <a:pt x="152" y="229"/>
                </a:cubicBezTo>
                <a:cubicBezTo>
                  <a:pt x="151" y="226"/>
                  <a:pt x="157" y="231"/>
                  <a:pt x="156" y="234"/>
                </a:cubicBezTo>
                <a:close/>
                <a:moveTo>
                  <a:pt x="153" y="303"/>
                </a:moveTo>
                <a:cubicBezTo>
                  <a:pt x="154" y="304"/>
                  <a:pt x="152" y="305"/>
                  <a:pt x="153" y="303"/>
                </a:cubicBezTo>
                <a:close/>
                <a:moveTo>
                  <a:pt x="156" y="299"/>
                </a:moveTo>
                <a:cubicBezTo>
                  <a:pt x="155" y="299"/>
                  <a:pt x="155" y="299"/>
                  <a:pt x="155" y="299"/>
                </a:cubicBezTo>
                <a:cubicBezTo>
                  <a:pt x="155" y="299"/>
                  <a:pt x="156" y="298"/>
                  <a:pt x="156" y="298"/>
                </a:cubicBezTo>
                <a:cubicBezTo>
                  <a:pt x="156" y="298"/>
                  <a:pt x="156" y="298"/>
                  <a:pt x="156" y="299"/>
                </a:cubicBezTo>
                <a:close/>
                <a:moveTo>
                  <a:pt x="157" y="293"/>
                </a:moveTo>
                <a:cubicBezTo>
                  <a:pt x="157" y="293"/>
                  <a:pt x="152" y="289"/>
                  <a:pt x="154" y="288"/>
                </a:cubicBezTo>
                <a:cubicBezTo>
                  <a:pt x="156" y="286"/>
                  <a:pt x="158" y="293"/>
                  <a:pt x="157" y="293"/>
                </a:cubicBezTo>
                <a:close/>
                <a:moveTo>
                  <a:pt x="158" y="227"/>
                </a:moveTo>
                <a:cubicBezTo>
                  <a:pt x="158" y="227"/>
                  <a:pt x="159" y="228"/>
                  <a:pt x="159" y="228"/>
                </a:cubicBezTo>
                <a:cubicBezTo>
                  <a:pt x="158" y="229"/>
                  <a:pt x="158" y="227"/>
                  <a:pt x="158" y="227"/>
                </a:cubicBezTo>
                <a:close/>
                <a:moveTo>
                  <a:pt x="180" y="198"/>
                </a:moveTo>
                <a:cubicBezTo>
                  <a:pt x="180" y="198"/>
                  <a:pt x="179" y="198"/>
                  <a:pt x="179" y="197"/>
                </a:cubicBezTo>
                <a:cubicBezTo>
                  <a:pt x="180" y="197"/>
                  <a:pt x="181" y="198"/>
                  <a:pt x="180" y="198"/>
                </a:cubicBezTo>
                <a:close/>
                <a:moveTo>
                  <a:pt x="177" y="199"/>
                </a:moveTo>
                <a:cubicBezTo>
                  <a:pt x="178" y="199"/>
                  <a:pt x="179" y="201"/>
                  <a:pt x="177" y="200"/>
                </a:cubicBezTo>
                <a:cubicBezTo>
                  <a:pt x="177" y="200"/>
                  <a:pt x="177" y="200"/>
                  <a:pt x="177" y="199"/>
                </a:cubicBezTo>
                <a:close/>
                <a:moveTo>
                  <a:pt x="175" y="198"/>
                </a:moveTo>
                <a:cubicBezTo>
                  <a:pt x="177" y="197"/>
                  <a:pt x="174" y="198"/>
                  <a:pt x="175" y="198"/>
                </a:cubicBezTo>
                <a:close/>
                <a:moveTo>
                  <a:pt x="178" y="260"/>
                </a:moveTo>
                <a:cubicBezTo>
                  <a:pt x="176" y="259"/>
                  <a:pt x="176" y="258"/>
                  <a:pt x="175" y="257"/>
                </a:cubicBezTo>
                <a:cubicBezTo>
                  <a:pt x="176" y="257"/>
                  <a:pt x="178" y="259"/>
                  <a:pt x="178" y="260"/>
                </a:cubicBezTo>
                <a:close/>
                <a:moveTo>
                  <a:pt x="174" y="205"/>
                </a:moveTo>
                <a:cubicBezTo>
                  <a:pt x="173" y="205"/>
                  <a:pt x="175" y="206"/>
                  <a:pt x="174" y="207"/>
                </a:cubicBezTo>
                <a:cubicBezTo>
                  <a:pt x="174" y="207"/>
                  <a:pt x="172" y="205"/>
                  <a:pt x="174" y="205"/>
                </a:cubicBezTo>
                <a:close/>
                <a:moveTo>
                  <a:pt x="173" y="231"/>
                </a:moveTo>
                <a:cubicBezTo>
                  <a:pt x="171" y="230"/>
                  <a:pt x="174" y="232"/>
                  <a:pt x="173" y="231"/>
                </a:cubicBezTo>
                <a:close/>
                <a:moveTo>
                  <a:pt x="170" y="230"/>
                </a:moveTo>
                <a:cubicBezTo>
                  <a:pt x="171" y="230"/>
                  <a:pt x="172" y="233"/>
                  <a:pt x="171" y="234"/>
                </a:cubicBezTo>
                <a:cubicBezTo>
                  <a:pt x="170" y="235"/>
                  <a:pt x="168" y="231"/>
                  <a:pt x="170" y="230"/>
                </a:cubicBezTo>
                <a:close/>
                <a:moveTo>
                  <a:pt x="167" y="193"/>
                </a:moveTo>
                <a:cubicBezTo>
                  <a:pt x="168" y="192"/>
                  <a:pt x="169" y="194"/>
                  <a:pt x="168" y="195"/>
                </a:cubicBezTo>
                <a:cubicBezTo>
                  <a:pt x="167" y="195"/>
                  <a:pt x="167" y="193"/>
                  <a:pt x="167" y="193"/>
                </a:cubicBezTo>
                <a:close/>
                <a:moveTo>
                  <a:pt x="168" y="274"/>
                </a:moveTo>
                <a:cubicBezTo>
                  <a:pt x="167" y="273"/>
                  <a:pt x="167" y="272"/>
                  <a:pt x="166" y="272"/>
                </a:cubicBezTo>
                <a:cubicBezTo>
                  <a:pt x="167" y="272"/>
                  <a:pt x="168" y="273"/>
                  <a:pt x="168" y="274"/>
                </a:cubicBezTo>
                <a:close/>
                <a:moveTo>
                  <a:pt x="166" y="208"/>
                </a:moveTo>
                <a:cubicBezTo>
                  <a:pt x="166" y="208"/>
                  <a:pt x="166" y="208"/>
                  <a:pt x="166" y="207"/>
                </a:cubicBezTo>
                <a:cubicBezTo>
                  <a:pt x="166" y="206"/>
                  <a:pt x="168" y="208"/>
                  <a:pt x="166" y="208"/>
                </a:cubicBezTo>
                <a:close/>
                <a:moveTo>
                  <a:pt x="167" y="224"/>
                </a:moveTo>
                <a:cubicBezTo>
                  <a:pt x="165" y="222"/>
                  <a:pt x="165" y="218"/>
                  <a:pt x="163" y="214"/>
                </a:cubicBezTo>
                <a:cubicBezTo>
                  <a:pt x="166" y="217"/>
                  <a:pt x="166" y="221"/>
                  <a:pt x="167" y="224"/>
                </a:cubicBezTo>
                <a:close/>
                <a:moveTo>
                  <a:pt x="166" y="338"/>
                </a:moveTo>
                <a:cubicBezTo>
                  <a:pt x="164" y="337"/>
                  <a:pt x="166" y="334"/>
                  <a:pt x="166" y="338"/>
                </a:cubicBezTo>
                <a:close/>
                <a:moveTo>
                  <a:pt x="163" y="266"/>
                </a:moveTo>
                <a:cubicBezTo>
                  <a:pt x="165" y="266"/>
                  <a:pt x="165" y="269"/>
                  <a:pt x="166" y="270"/>
                </a:cubicBezTo>
                <a:cubicBezTo>
                  <a:pt x="164" y="270"/>
                  <a:pt x="164" y="267"/>
                  <a:pt x="163" y="266"/>
                </a:cubicBezTo>
                <a:close/>
                <a:moveTo>
                  <a:pt x="161" y="230"/>
                </a:moveTo>
                <a:cubicBezTo>
                  <a:pt x="159" y="230"/>
                  <a:pt x="160" y="228"/>
                  <a:pt x="161" y="230"/>
                </a:cubicBezTo>
                <a:close/>
                <a:moveTo>
                  <a:pt x="162" y="222"/>
                </a:moveTo>
                <a:cubicBezTo>
                  <a:pt x="162" y="222"/>
                  <a:pt x="164" y="223"/>
                  <a:pt x="164" y="223"/>
                </a:cubicBezTo>
                <a:cubicBezTo>
                  <a:pt x="165" y="223"/>
                  <a:pt x="166" y="224"/>
                  <a:pt x="165" y="226"/>
                </a:cubicBezTo>
                <a:cubicBezTo>
                  <a:pt x="165" y="226"/>
                  <a:pt x="164" y="226"/>
                  <a:pt x="164" y="225"/>
                </a:cubicBezTo>
                <a:cubicBezTo>
                  <a:pt x="164" y="226"/>
                  <a:pt x="163" y="229"/>
                  <a:pt x="162" y="229"/>
                </a:cubicBezTo>
                <a:cubicBezTo>
                  <a:pt x="159" y="229"/>
                  <a:pt x="161" y="222"/>
                  <a:pt x="162" y="222"/>
                </a:cubicBezTo>
                <a:close/>
                <a:moveTo>
                  <a:pt x="162" y="231"/>
                </a:moveTo>
                <a:cubicBezTo>
                  <a:pt x="162" y="231"/>
                  <a:pt x="163" y="232"/>
                  <a:pt x="162" y="232"/>
                </a:cubicBezTo>
                <a:cubicBezTo>
                  <a:pt x="162" y="232"/>
                  <a:pt x="162" y="231"/>
                  <a:pt x="162" y="231"/>
                </a:cubicBezTo>
                <a:close/>
                <a:moveTo>
                  <a:pt x="163" y="344"/>
                </a:moveTo>
                <a:cubicBezTo>
                  <a:pt x="164" y="346"/>
                  <a:pt x="166" y="350"/>
                  <a:pt x="167" y="353"/>
                </a:cubicBezTo>
                <a:cubicBezTo>
                  <a:pt x="165" y="351"/>
                  <a:pt x="164" y="347"/>
                  <a:pt x="163" y="344"/>
                </a:cubicBezTo>
                <a:close/>
                <a:moveTo>
                  <a:pt x="167" y="354"/>
                </a:moveTo>
                <a:cubicBezTo>
                  <a:pt x="167" y="353"/>
                  <a:pt x="168" y="355"/>
                  <a:pt x="168" y="355"/>
                </a:cubicBezTo>
                <a:cubicBezTo>
                  <a:pt x="168" y="355"/>
                  <a:pt x="167" y="355"/>
                  <a:pt x="167" y="354"/>
                </a:cubicBezTo>
                <a:close/>
                <a:moveTo>
                  <a:pt x="170" y="358"/>
                </a:moveTo>
                <a:cubicBezTo>
                  <a:pt x="169" y="358"/>
                  <a:pt x="168" y="356"/>
                  <a:pt x="168" y="356"/>
                </a:cubicBezTo>
                <a:cubicBezTo>
                  <a:pt x="168" y="355"/>
                  <a:pt x="171" y="358"/>
                  <a:pt x="170" y="358"/>
                </a:cubicBezTo>
                <a:close/>
                <a:moveTo>
                  <a:pt x="171" y="267"/>
                </a:moveTo>
                <a:cubicBezTo>
                  <a:pt x="169" y="267"/>
                  <a:pt x="170" y="265"/>
                  <a:pt x="171" y="267"/>
                </a:cubicBezTo>
                <a:close/>
                <a:moveTo>
                  <a:pt x="173" y="269"/>
                </a:moveTo>
                <a:cubicBezTo>
                  <a:pt x="171" y="269"/>
                  <a:pt x="172" y="267"/>
                  <a:pt x="173" y="269"/>
                </a:cubicBezTo>
                <a:close/>
                <a:moveTo>
                  <a:pt x="173" y="268"/>
                </a:moveTo>
                <a:cubicBezTo>
                  <a:pt x="172" y="269"/>
                  <a:pt x="170" y="264"/>
                  <a:pt x="173" y="264"/>
                </a:cubicBezTo>
                <a:cubicBezTo>
                  <a:pt x="175" y="264"/>
                  <a:pt x="175" y="268"/>
                  <a:pt x="173" y="268"/>
                </a:cubicBezTo>
                <a:close/>
                <a:moveTo>
                  <a:pt x="177" y="280"/>
                </a:moveTo>
                <a:cubicBezTo>
                  <a:pt x="175" y="280"/>
                  <a:pt x="175" y="278"/>
                  <a:pt x="174" y="277"/>
                </a:cubicBezTo>
                <a:cubicBezTo>
                  <a:pt x="175" y="277"/>
                  <a:pt x="176" y="279"/>
                  <a:pt x="177" y="280"/>
                </a:cubicBezTo>
                <a:close/>
                <a:moveTo>
                  <a:pt x="179" y="434"/>
                </a:moveTo>
                <a:cubicBezTo>
                  <a:pt x="179" y="433"/>
                  <a:pt x="178" y="432"/>
                  <a:pt x="179" y="431"/>
                </a:cubicBezTo>
                <a:cubicBezTo>
                  <a:pt x="179" y="432"/>
                  <a:pt x="179" y="433"/>
                  <a:pt x="179" y="434"/>
                </a:cubicBezTo>
                <a:close/>
                <a:moveTo>
                  <a:pt x="178" y="387"/>
                </a:moveTo>
                <a:cubicBezTo>
                  <a:pt x="177" y="387"/>
                  <a:pt x="174" y="383"/>
                  <a:pt x="176" y="381"/>
                </a:cubicBezTo>
                <a:cubicBezTo>
                  <a:pt x="176" y="381"/>
                  <a:pt x="178" y="381"/>
                  <a:pt x="178" y="381"/>
                </a:cubicBezTo>
                <a:cubicBezTo>
                  <a:pt x="178" y="380"/>
                  <a:pt x="176" y="378"/>
                  <a:pt x="176" y="377"/>
                </a:cubicBezTo>
                <a:cubicBezTo>
                  <a:pt x="176" y="377"/>
                  <a:pt x="179" y="381"/>
                  <a:pt x="179" y="383"/>
                </a:cubicBezTo>
                <a:cubicBezTo>
                  <a:pt x="179" y="383"/>
                  <a:pt x="178" y="387"/>
                  <a:pt x="178" y="387"/>
                </a:cubicBezTo>
                <a:close/>
                <a:moveTo>
                  <a:pt x="178" y="354"/>
                </a:moveTo>
                <a:cubicBezTo>
                  <a:pt x="179" y="353"/>
                  <a:pt x="180" y="356"/>
                  <a:pt x="179" y="356"/>
                </a:cubicBezTo>
                <a:cubicBezTo>
                  <a:pt x="178" y="356"/>
                  <a:pt x="178" y="354"/>
                  <a:pt x="178" y="354"/>
                </a:cubicBezTo>
                <a:close/>
                <a:moveTo>
                  <a:pt x="181" y="290"/>
                </a:moveTo>
                <a:cubicBezTo>
                  <a:pt x="179" y="287"/>
                  <a:pt x="177" y="285"/>
                  <a:pt x="176" y="284"/>
                </a:cubicBezTo>
                <a:cubicBezTo>
                  <a:pt x="176" y="281"/>
                  <a:pt x="179" y="285"/>
                  <a:pt x="179" y="285"/>
                </a:cubicBezTo>
                <a:cubicBezTo>
                  <a:pt x="180" y="287"/>
                  <a:pt x="180" y="288"/>
                  <a:pt x="181" y="290"/>
                </a:cubicBezTo>
                <a:cubicBezTo>
                  <a:pt x="181" y="290"/>
                  <a:pt x="181" y="291"/>
                  <a:pt x="181" y="291"/>
                </a:cubicBezTo>
                <a:cubicBezTo>
                  <a:pt x="181" y="291"/>
                  <a:pt x="181" y="290"/>
                  <a:pt x="181" y="290"/>
                </a:cubicBezTo>
                <a:close/>
                <a:moveTo>
                  <a:pt x="182" y="217"/>
                </a:moveTo>
                <a:cubicBezTo>
                  <a:pt x="182" y="218"/>
                  <a:pt x="181" y="217"/>
                  <a:pt x="181" y="217"/>
                </a:cubicBezTo>
                <a:cubicBezTo>
                  <a:pt x="179" y="215"/>
                  <a:pt x="183" y="216"/>
                  <a:pt x="182" y="217"/>
                </a:cubicBezTo>
                <a:close/>
                <a:moveTo>
                  <a:pt x="310" y="745"/>
                </a:moveTo>
                <a:cubicBezTo>
                  <a:pt x="309" y="747"/>
                  <a:pt x="304" y="748"/>
                  <a:pt x="302" y="747"/>
                </a:cubicBezTo>
                <a:cubicBezTo>
                  <a:pt x="301" y="747"/>
                  <a:pt x="299" y="748"/>
                  <a:pt x="298" y="747"/>
                </a:cubicBezTo>
                <a:cubicBezTo>
                  <a:pt x="297" y="747"/>
                  <a:pt x="298" y="744"/>
                  <a:pt x="296" y="744"/>
                </a:cubicBezTo>
                <a:cubicBezTo>
                  <a:pt x="300" y="744"/>
                  <a:pt x="295" y="742"/>
                  <a:pt x="295" y="742"/>
                </a:cubicBezTo>
                <a:cubicBezTo>
                  <a:pt x="294" y="739"/>
                  <a:pt x="301" y="738"/>
                  <a:pt x="302" y="738"/>
                </a:cubicBezTo>
                <a:cubicBezTo>
                  <a:pt x="304" y="738"/>
                  <a:pt x="311" y="740"/>
                  <a:pt x="310" y="745"/>
                </a:cubicBezTo>
                <a:close/>
                <a:moveTo>
                  <a:pt x="295" y="179"/>
                </a:moveTo>
                <a:cubicBezTo>
                  <a:pt x="292" y="179"/>
                  <a:pt x="292" y="177"/>
                  <a:pt x="295" y="179"/>
                </a:cubicBezTo>
                <a:close/>
                <a:moveTo>
                  <a:pt x="292" y="164"/>
                </a:moveTo>
                <a:cubicBezTo>
                  <a:pt x="292" y="164"/>
                  <a:pt x="292" y="163"/>
                  <a:pt x="292" y="163"/>
                </a:cubicBezTo>
                <a:cubicBezTo>
                  <a:pt x="292" y="162"/>
                  <a:pt x="294" y="164"/>
                  <a:pt x="292" y="164"/>
                </a:cubicBezTo>
                <a:close/>
                <a:moveTo>
                  <a:pt x="295" y="173"/>
                </a:moveTo>
                <a:cubicBezTo>
                  <a:pt x="294" y="173"/>
                  <a:pt x="294" y="171"/>
                  <a:pt x="295" y="172"/>
                </a:cubicBezTo>
                <a:cubicBezTo>
                  <a:pt x="295" y="172"/>
                  <a:pt x="295" y="173"/>
                  <a:pt x="295" y="173"/>
                </a:cubicBezTo>
                <a:close/>
                <a:moveTo>
                  <a:pt x="293" y="108"/>
                </a:moveTo>
                <a:cubicBezTo>
                  <a:pt x="294" y="106"/>
                  <a:pt x="296" y="110"/>
                  <a:pt x="297" y="112"/>
                </a:cubicBezTo>
                <a:cubicBezTo>
                  <a:pt x="295" y="112"/>
                  <a:pt x="292" y="110"/>
                  <a:pt x="293" y="108"/>
                </a:cubicBezTo>
                <a:close/>
                <a:moveTo>
                  <a:pt x="296" y="183"/>
                </a:moveTo>
                <a:cubicBezTo>
                  <a:pt x="298" y="182"/>
                  <a:pt x="300" y="186"/>
                  <a:pt x="298" y="187"/>
                </a:cubicBezTo>
                <a:cubicBezTo>
                  <a:pt x="296" y="189"/>
                  <a:pt x="294" y="184"/>
                  <a:pt x="296" y="183"/>
                </a:cubicBezTo>
                <a:close/>
                <a:moveTo>
                  <a:pt x="297" y="144"/>
                </a:moveTo>
                <a:cubicBezTo>
                  <a:pt x="299" y="144"/>
                  <a:pt x="298" y="146"/>
                  <a:pt x="297" y="144"/>
                </a:cubicBezTo>
                <a:close/>
                <a:moveTo>
                  <a:pt x="300" y="188"/>
                </a:moveTo>
                <a:cubicBezTo>
                  <a:pt x="299" y="187"/>
                  <a:pt x="301" y="189"/>
                  <a:pt x="300" y="188"/>
                </a:cubicBezTo>
                <a:close/>
                <a:moveTo>
                  <a:pt x="301" y="225"/>
                </a:moveTo>
                <a:cubicBezTo>
                  <a:pt x="301" y="225"/>
                  <a:pt x="300" y="224"/>
                  <a:pt x="300" y="224"/>
                </a:cubicBezTo>
                <a:cubicBezTo>
                  <a:pt x="301" y="224"/>
                  <a:pt x="302" y="225"/>
                  <a:pt x="301" y="225"/>
                </a:cubicBezTo>
                <a:close/>
                <a:moveTo>
                  <a:pt x="300" y="518"/>
                </a:moveTo>
                <a:cubicBezTo>
                  <a:pt x="301" y="519"/>
                  <a:pt x="299" y="517"/>
                  <a:pt x="299" y="517"/>
                </a:cubicBezTo>
                <a:cubicBezTo>
                  <a:pt x="299" y="516"/>
                  <a:pt x="300" y="517"/>
                  <a:pt x="300" y="518"/>
                </a:cubicBezTo>
                <a:close/>
                <a:moveTo>
                  <a:pt x="300" y="733"/>
                </a:moveTo>
                <a:cubicBezTo>
                  <a:pt x="301" y="733"/>
                  <a:pt x="299" y="734"/>
                  <a:pt x="299" y="734"/>
                </a:cubicBezTo>
                <a:cubicBezTo>
                  <a:pt x="298" y="733"/>
                  <a:pt x="300" y="733"/>
                  <a:pt x="300" y="733"/>
                </a:cubicBezTo>
                <a:close/>
                <a:moveTo>
                  <a:pt x="298" y="724"/>
                </a:moveTo>
                <a:cubicBezTo>
                  <a:pt x="298" y="723"/>
                  <a:pt x="300" y="725"/>
                  <a:pt x="298" y="724"/>
                </a:cubicBezTo>
                <a:close/>
                <a:moveTo>
                  <a:pt x="297" y="681"/>
                </a:moveTo>
                <a:cubicBezTo>
                  <a:pt x="297" y="681"/>
                  <a:pt x="297" y="681"/>
                  <a:pt x="297" y="681"/>
                </a:cubicBezTo>
                <a:cubicBezTo>
                  <a:pt x="298" y="681"/>
                  <a:pt x="298" y="682"/>
                  <a:pt x="297" y="681"/>
                </a:cubicBezTo>
                <a:close/>
                <a:moveTo>
                  <a:pt x="303" y="683"/>
                </a:moveTo>
                <a:cubicBezTo>
                  <a:pt x="303" y="683"/>
                  <a:pt x="304" y="682"/>
                  <a:pt x="305" y="683"/>
                </a:cubicBezTo>
                <a:cubicBezTo>
                  <a:pt x="305" y="683"/>
                  <a:pt x="303" y="683"/>
                  <a:pt x="303" y="683"/>
                </a:cubicBezTo>
                <a:close/>
                <a:moveTo>
                  <a:pt x="304" y="731"/>
                </a:moveTo>
                <a:cubicBezTo>
                  <a:pt x="305" y="731"/>
                  <a:pt x="302" y="730"/>
                  <a:pt x="304" y="731"/>
                </a:cubicBezTo>
                <a:close/>
                <a:moveTo>
                  <a:pt x="303" y="675"/>
                </a:moveTo>
                <a:cubicBezTo>
                  <a:pt x="305" y="673"/>
                  <a:pt x="305" y="677"/>
                  <a:pt x="303" y="675"/>
                </a:cubicBezTo>
                <a:close/>
                <a:moveTo>
                  <a:pt x="302" y="671"/>
                </a:moveTo>
                <a:cubicBezTo>
                  <a:pt x="302" y="669"/>
                  <a:pt x="304" y="669"/>
                  <a:pt x="305" y="670"/>
                </a:cubicBezTo>
                <a:cubicBezTo>
                  <a:pt x="306" y="671"/>
                  <a:pt x="302" y="672"/>
                  <a:pt x="302" y="671"/>
                </a:cubicBezTo>
                <a:close/>
                <a:moveTo>
                  <a:pt x="304" y="158"/>
                </a:moveTo>
                <a:cubicBezTo>
                  <a:pt x="304" y="158"/>
                  <a:pt x="303" y="158"/>
                  <a:pt x="304" y="157"/>
                </a:cubicBezTo>
                <a:cubicBezTo>
                  <a:pt x="304" y="157"/>
                  <a:pt x="305" y="158"/>
                  <a:pt x="304" y="158"/>
                </a:cubicBezTo>
                <a:close/>
                <a:moveTo>
                  <a:pt x="304" y="613"/>
                </a:moveTo>
                <a:cubicBezTo>
                  <a:pt x="305" y="615"/>
                  <a:pt x="301" y="614"/>
                  <a:pt x="302" y="612"/>
                </a:cubicBezTo>
                <a:cubicBezTo>
                  <a:pt x="302" y="612"/>
                  <a:pt x="304" y="612"/>
                  <a:pt x="304" y="613"/>
                </a:cubicBezTo>
                <a:close/>
                <a:moveTo>
                  <a:pt x="305" y="735"/>
                </a:moveTo>
                <a:cubicBezTo>
                  <a:pt x="307" y="734"/>
                  <a:pt x="308" y="736"/>
                  <a:pt x="305" y="735"/>
                </a:cubicBezTo>
                <a:close/>
                <a:moveTo>
                  <a:pt x="307" y="737"/>
                </a:moveTo>
                <a:cubicBezTo>
                  <a:pt x="307" y="737"/>
                  <a:pt x="308" y="737"/>
                  <a:pt x="309" y="737"/>
                </a:cubicBezTo>
                <a:cubicBezTo>
                  <a:pt x="308" y="737"/>
                  <a:pt x="308" y="737"/>
                  <a:pt x="307" y="737"/>
                </a:cubicBezTo>
                <a:close/>
                <a:moveTo>
                  <a:pt x="311" y="752"/>
                </a:moveTo>
                <a:cubicBezTo>
                  <a:pt x="311" y="752"/>
                  <a:pt x="311" y="752"/>
                  <a:pt x="311" y="752"/>
                </a:cubicBezTo>
                <a:cubicBezTo>
                  <a:pt x="313" y="752"/>
                  <a:pt x="312" y="753"/>
                  <a:pt x="311" y="752"/>
                </a:cubicBezTo>
                <a:close/>
                <a:moveTo>
                  <a:pt x="314" y="737"/>
                </a:moveTo>
                <a:cubicBezTo>
                  <a:pt x="315" y="736"/>
                  <a:pt x="316" y="737"/>
                  <a:pt x="316" y="738"/>
                </a:cubicBezTo>
                <a:cubicBezTo>
                  <a:pt x="317" y="739"/>
                  <a:pt x="313" y="738"/>
                  <a:pt x="314" y="737"/>
                </a:cubicBezTo>
                <a:close/>
                <a:moveTo>
                  <a:pt x="313" y="737"/>
                </a:moveTo>
                <a:cubicBezTo>
                  <a:pt x="309" y="737"/>
                  <a:pt x="308" y="733"/>
                  <a:pt x="302" y="734"/>
                </a:cubicBezTo>
                <a:cubicBezTo>
                  <a:pt x="303" y="733"/>
                  <a:pt x="305" y="733"/>
                  <a:pt x="306" y="732"/>
                </a:cubicBezTo>
                <a:cubicBezTo>
                  <a:pt x="306" y="732"/>
                  <a:pt x="305" y="731"/>
                  <a:pt x="305" y="732"/>
                </a:cubicBezTo>
                <a:cubicBezTo>
                  <a:pt x="305" y="731"/>
                  <a:pt x="306" y="731"/>
                  <a:pt x="306" y="731"/>
                </a:cubicBezTo>
                <a:cubicBezTo>
                  <a:pt x="307" y="729"/>
                  <a:pt x="304" y="729"/>
                  <a:pt x="306" y="728"/>
                </a:cubicBezTo>
                <a:cubicBezTo>
                  <a:pt x="307" y="727"/>
                  <a:pt x="308" y="728"/>
                  <a:pt x="310" y="728"/>
                </a:cubicBezTo>
                <a:cubicBezTo>
                  <a:pt x="310" y="728"/>
                  <a:pt x="313" y="728"/>
                  <a:pt x="315" y="729"/>
                </a:cubicBezTo>
                <a:cubicBezTo>
                  <a:pt x="319" y="730"/>
                  <a:pt x="318" y="736"/>
                  <a:pt x="313" y="737"/>
                </a:cubicBezTo>
                <a:close/>
                <a:moveTo>
                  <a:pt x="306" y="205"/>
                </a:moveTo>
                <a:cubicBezTo>
                  <a:pt x="307" y="205"/>
                  <a:pt x="306" y="206"/>
                  <a:pt x="306" y="206"/>
                </a:cubicBezTo>
                <a:cubicBezTo>
                  <a:pt x="304" y="205"/>
                  <a:pt x="306" y="204"/>
                  <a:pt x="306" y="205"/>
                </a:cubicBezTo>
                <a:close/>
                <a:moveTo>
                  <a:pt x="305" y="103"/>
                </a:moveTo>
                <a:cubicBezTo>
                  <a:pt x="307" y="102"/>
                  <a:pt x="308" y="105"/>
                  <a:pt x="306" y="104"/>
                </a:cubicBezTo>
                <a:cubicBezTo>
                  <a:pt x="305" y="104"/>
                  <a:pt x="305" y="103"/>
                  <a:pt x="305" y="103"/>
                </a:cubicBezTo>
                <a:close/>
                <a:moveTo>
                  <a:pt x="311" y="167"/>
                </a:moveTo>
                <a:cubicBezTo>
                  <a:pt x="311" y="167"/>
                  <a:pt x="311" y="167"/>
                  <a:pt x="311" y="167"/>
                </a:cubicBezTo>
                <a:cubicBezTo>
                  <a:pt x="311" y="167"/>
                  <a:pt x="311" y="167"/>
                  <a:pt x="312" y="167"/>
                </a:cubicBezTo>
                <a:cubicBezTo>
                  <a:pt x="312" y="167"/>
                  <a:pt x="311" y="167"/>
                  <a:pt x="311" y="167"/>
                </a:cubicBezTo>
                <a:close/>
                <a:moveTo>
                  <a:pt x="310" y="638"/>
                </a:moveTo>
                <a:cubicBezTo>
                  <a:pt x="314" y="639"/>
                  <a:pt x="311" y="641"/>
                  <a:pt x="310" y="638"/>
                </a:cubicBezTo>
                <a:close/>
                <a:moveTo>
                  <a:pt x="311" y="123"/>
                </a:moveTo>
                <a:cubicBezTo>
                  <a:pt x="309" y="123"/>
                  <a:pt x="312" y="124"/>
                  <a:pt x="311" y="123"/>
                </a:cubicBezTo>
                <a:close/>
                <a:moveTo>
                  <a:pt x="310" y="111"/>
                </a:moveTo>
                <a:cubicBezTo>
                  <a:pt x="311" y="111"/>
                  <a:pt x="312" y="112"/>
                  <a:pt x="311" y="112"/>
                </a:cubicBezTo>
                <a:cubicBezTo>
                  <a:pt x="311" y="112"/>
                  <a:pt x="310" y="112"/>
                  <a:pt x="310" y="111"/>
                </a:cubicBezTo>
                <a:close/>
                <a:moveTo>
                  <a:pt x="308" y="612"/>
                </a:moveTo>
                <a:cubicBezTo>
                  <a:pt x="308" y="611"/>
                  <a:pt x="310" y="612"/>
                  <a:pt x="310" y="612"/>
                </a:cubicBezTo>
                <a:cubicBezTo>
                  <a:pt x="311" y="614"/>
                  <a:pt x="308" y="613"/>
                  <a:pt x="308" y="612"/>
                </a:cubicBezTo>
                <a:close/>
                <a:moveTo>
                  <a:pt x="316" y="436"/>
                </a:moveTo>
                <a:cubicBezTo>
                  <a:pt x="317" y="435"/>
                  <a:pt x="318" y="436"/>
                  <a:pt x="318" y="437"/>
                </a:cubicBezTo>
                <a:cubicBezTo>
                  <a:pt x="320" y="439"/>
                  <a:pt x="316" y="436"/>
                  <a:pt x="316" y="436"/>
                </a:cubicBezTo>
                <a:close/>
                <a:moveTo>
                  <a:pt x="317" y="526"/>
                </a:moveTo>
                <a:cubicBezTo>
                  <a:pt x="317" y="526"/>
                  <a:pt x="318" y="527"/>
                  <a:pt x="319" y="528"/>
                </a:cubicBezTo>
                <a:cubicBezTo>
                  <a:pt x="319" y="529"/>
                  <a:pt x="317" y="527"/>
                  <a:pt x="317" y="526"/>
                </a:cubicBezTo>
                <a:close/>
                <a:moveTo>
                  <a:pt x="316" y="682"/>
                </a:moveTo>
                <a:cubicBezTo>
                  <a:pt x="318" y="683"/>
                  <a:pt x="316" y="684"/>
                  <a:pt x="316" y="682"/>
                </a:cubicBezTo>
                <a:close/>
                <a:moveTo>
                  <a:pt x="315" y="197"/>
                </a:moveTo>
                <a:cubicBezTo>
                  <a:pt x="315" y="196"/>
                  <a:pt x="317" y="197"/>
                  <a:pt x="316" y="198"/>
                </a:cubicBezTo>
                <a:cubicBezTo>
                  <a:pt x="316" y="198"/>
                  <a:pt x="315" y="197"/>
                  <a:pt x="315" y="197"/>
                </a:cubicBezTo>
                <a:close/>
                <a:moveTo>
                  <a:pt x="315" y="98"/>
                </a:moveTo>
                <a:cubicBezTo>
                  <a:pt x="313" y="97"/>
                  <a:pt x="318" y="96"/>
                  <a:pt x="317" y="98"/>
                </a:cubicBezTo>
                <a:cubicBezTo>
                  <a:pt x="316" y="98"/>
                  <a:pt x="316" y="98"/>
                  <a:pt x="315" y="98"/>
                </a:cubicBezTo>
                <a:close/>
                <a:moveTo>
                  <a:pt x="314" y="99"/>
                </a:moveTo>
                <a:cubicBezTo>
                  <a:pt x="317" y="99"/>
                  <a:pt x="315" y="102"/>
                  <a:pt x="314" y="99"/>
                </a:cubicBezTo>
                <a:close/>
                <a:moveTo>
                  <a:pt x="314" y="129"/>
                </a:moveTo>
                <a:cubicBezTo>
                  <a:pt x="314" y="129"/>
                  <a:pt x="314" y="129"/>
                  <a:pt x="314" y="129"/>
                </a:cubicBezTo>
                <a:cubicBezTo>
                  <a:pt x="311" y="127"/>
                  <a:pt x="317" y="129"/>
                  <a:pt x="314" y="129"/>
                </a:cubicBezTo>
                <a:close/>
                <a:moveTo>
                  <a:pt x="313" y="166"/>
                </a:moveTo>
                <a:cubicBezTo>
                  <a:pt x="315" y="165"/>
                  <a:pt x="313" y="168"/>
                  <a:pt x="313" y="166"/>
                </a:cubicBezTo>
                <a:cubicBezTo>
                  <a:pt x="312" y="166"/>
                  <a:pt x="313" y="166"/>
                  <a:pt x="313" y="166"/>
                </a:cubicBezTo>
                <a:close/>
                <a:moveTo>
                  <a:pt x="313" y="636"/>
                </a:moveTo>
                <a:cubicBezTo>
                  <a:pt x="313" y="636"/>
                  <a:pt x="314" y="637"/>
                  <a:pt x="314" y="637"/>
                </a:cubicBezTo>
                <a:cubicBezTo>
                  <a:pt x="316" y="639"/>
                  <a:pt x="311" y="637"/>
                  <a:pt x="313" y="636"/>
                </a:cubicBezTo>
                <a:close/>
                <a:moveTo>
                  <a:pt x="316" y="540"/>
                </a:moveTo>
                <a:cubicBezTo>
                  <a:pt x="317" y="539"/>
                  <a:pt x="318" y="540"/>
                  <a:pt x="319" y="541"/>
                </a:cubicBezTo>
                <a:cubicBezTo>
                  <a:pt x="319" y="542"/>
                  <a:pt x="316" y="541"/>
                  <a:pt x="316" y="540"/>
                </a:cubicBezTo>
                <a:close/>
                <a:moveTo>
                  <a:pt x="318" y="161"/>
                </a:moveTo>
                <a:cubicBezTo>
                  <a:pt x="318" y="162"/>
                  <a:pt x="317" y="161"/>
                  <a:pt x="317" y="161"/>
                </a:cubicBezTo>
                <a:cubicBezTo>
                  <a:pt x="315" y="158"/>
                  <a:pt x="320" y="159"/>
                  <a:pt x="318" y="161"/>
                </a:cubicBezTo>
                <a:close/>
                <a:moveTo>
                  <a:pt x="317" y="121"/>
                </a:moveTo>
                <a:cubicBezTo>
                  <a:pt x="319" y="122"/>
                  <a:pt x="316" y="121"/>
                  <a:pt x="317" y="121"/>
                </a:cubicBezTo>
                <a:close/>
                <a:moveTo>
                  <a:pt x="318" y="139"/>
                </a:moveTo>
                <a:cubicBezTo>
                  <a:pt x="319" y="138"/>
                  <a:pt x="320" y="141"/>
                  <a:pt x="319" y="140"/>
                </a:cubicBezTo>
                <a:cubicBezTo>
                  <a:pt x="319" y="140"/>
                  <a:pt x="318" y="140"/>
                  <a:pt x="318" y="139"/>
                </a:cubicBezTo>
                <a:close/>
                <a:moveTo>
                  <a:pt x="318" y="103"/>
                </a:moveTo>
                <a:cubicBezTo>
                  <a:pt x="319" y="103"/>
                  <a:pt x="319" y="104"/>
                  <a:pt x="319" y="104"/>
                </a:cubicBezTo>
                <a:cubicBezTo>
                  <a:pt x="319" y="104"/>
                  <a:pt x="319" y="104"/>
                  <a:pt x="319" y="104"/>
                </a:cubicBezTo>
                <a:cubicBezTo>
                  <a:pt x="319" y="103"/>
                  <a:pt x="318" y="103"/>
                  <a:pt x="318" y="103"/>
                </a:cubicBezTo>
                <a:close/>
                <a:moveTo>
                  <a:pt x="319" y="603"/>
                </a:moveTo>
                <a:cubicBezTo>
                  <a:pt x="320" y="602"/>
                  <a:pt x="321" y="603"/>
                  <a:pt x="321" y="603"/>
                </a:cubicBezTo>
                <a:cubicBezTo>
                  <a:pt x="321" y="605"/>
                  <a:pt x="318" y="603"/>
                  <a:pt x="319" y="603"/>
                </a:cubicBezTo>
                <a:close/>
                <a:moveTo>
                  <a:pt x="322" y="158"/>
                </a:moveTo>
                <a:cubicBezTo>
                  <a:pt x="321" y="159"/>
                  <a:pt x="320" y="157"/>
                  <a:pt x="321" y="157"/>
                </a:cubicBezTo>
                <a:cubicBezTo>
                  <a:pt x="322" y="157"/>
                  <a:pt x="322" y="158"/>
                  <a:pt x="322" y="158"/>
                </a:cubicBezTo>
                <a:close/>
                <a:moveTo>
                  <a:pt x="322" y="131"/>
                </a:moveTo>
                <a:cubicBezTo>
                  <a:pt x="323" y="132"/>
                  <a:pt x="321" y="131"/>
                  <a:pt x="322" y="131"/>
                </a:cubicBezTo>
                <a:close/>
                <a:moveTo>
                  <a:pt x="321" y="762"/>
                </a:moveTo>
                <a:cubicBezTo>
                  <a:pt x="322" y="762"/>
                  <a:pt x="323" y="762"/>
                  <a:pt x="324" y="763"/>
                </a:cubicBezTo>
                <a:cubicBezTo>
                  <a:pt x="325" y="766"/>
                  <a:pt x="316" y="764"/>
                  <a:pt x="321" y="762"/>
                </a:cubicBezTo>
                <a:close/>
                <a:moveTo>
                  <a:pt x="328" y="213"/>
                </a:moveTo>
                <a:cubicBezTo>
                  <a:pt x="328" y="213"/>
                  <a:pt x="327" y="213"/>
                  <a:pt x="327" y="212"/>
                </a:cubicBezTo>
                <a:cubicBezTo>
                  <a:pt x="325" y="210"/>
                  <a:pt x="330" y="211"/>
                  <a:pt x="328" y="213"/>
                </a:cubicBezTo>
                <a:close/>
                <a:moveTo>
                  <a:pt x="326" y="141"/>
                </a:moveTo>
                <a:cubicBezTo>
                  <a:pt x="326" y="141"/>
                  <a:pt x="327" y="142"/>
                  <a:pt x="327" y="142"/>
                </a:cubicBezTo>
                <a:cubicBezTo>
                  <a:pt x="327" y="142"/>
                  <a:pt x="326" y="142"/>
                  <a:pt x="326" y="141"/>
                </a:cubicBezTo>
                <a:close/>
                <a:moveTo>
                  <a:pt x="340" y="128"/>
                </a:moveTo>
                <a:cubicBezTo>
                  <a:pt x="342" y="128"/>
                  <a:pt x="347" y="132"/>
                  <a:pt x="349" y="135"/>
                </a:cubicBezTo>
                <a:cubicBezTo>
                  <a:pt x="349" y="135"/>
                  <a:pt x="351" y="135"/>
                  <a:pt x="350" y="136"/>
                </a:cubicBezTo>
                <a:cubicBezTo>
                  <a:pt x="349" y="137"/>
                  <a:pt x="345" y="134"/>
                  <a:pt x="346" y="135"/>
                </a:cubicBezTo>
                <a:cubicBezTo>
                  <a:pt x="344" y="134"/>
                  <a:pt x="343" y="131"/>
                  <a:pt x="342" y="130"/>
                </a:cubicBezTo>
                <a:cubicBezTo>
                  <a:pt x="338" y="126"/>
                  <a:pt x="333" y="125"/>
                  <a:pt x="330" y="121"/>
                </a:cubicBezTo>
                <a:cubicBezTo>
                  <a:pt x="334" y="121"/>
                  <a:pt x="336" y="126"/>
                  <a:pt x="340" y="128"/>
                </a:cubicBezTo>
                <a:close/>
                <a:moveTo>
                  <a:pt x="331" y="113"/>
                </a:moveTo>
                <a:cubicBezTo>
                  <a:pt x="332" y="112"/>
                  <a:pt x="332" y="114"/>
                  <a:pt x="332" y="114"/>
                </a:cubicBezTo>
                <a:cubicBezTo>
                  <a:pt x="331" y="114"/>
                  <a:pt x="331" y="113"/>
                  <a:pt x="331" y="113"/>
                </a:cubicBezTo>
                <a:close/>
                <a:moveTo>
                  <a:pt x="335" y="82"/>
                </a:moveTo>
                <a:cubicBezTo>
                  <a:pt x="334" y="81"/>
                  <a:pt x="337" y="82"/>
                  <a:pt x="335" y="82"/>
                </a:cubicBezTo>
                <a:close/>
                <a:moveTo>
                  <a:pt x="337" y="101"/>
                </a:moveTo>
                <a:cubicBezTo>
                  <a:pt x="338" y="100"/>
                  <a:pt x="338" y="102"/>
                  <a:pt x="339" y="101"/>
                </a:cubicBezTo>
                <a:cubicBezTo>
                  <a:pt x="339" y="102"/>
                  <a:pt x="337" y="102"/>
                  <a:pt x="337" y="101"/>
                </a:cubicBezTo>
                <a:close/>
                <a:moveTo>
                  <a:pt x="355" y="124"/>
                </a:moveTo>
                <a:cubicBezTo>
                  <a:pt x="354" y="123"/>
                  <a:pt x="352" y="122"/>
                  <a:pt x="351" y="120"/>
                </a:cubicBezTo>
                <a:cubicBezTo>
                  <a:pt x="353" y="121"/>
                  <a:pt x="354" y="122"/>
                  <a:pt x="355" y="124"/>
                </a:cubicBezTo>
                <a:close/>
                <a:moveTo>
                  <a:pt x="353" y="90"/>
                </a:moveTo>
                <a:cubicBezTo>
                  <a:pt x="353" y="90"/>
                  <a:pt x="353" y="90"/>
                  <a:pt x="353" y="90"/>
                </a:cubicBezTo>
                <a:cubicBezTo>
                  <a:pt x="355" y="92"/>
                  <a:pt x="353" y="90"/>
                  <a:pt x="353" y="90"/>
                </a:cubicBezTo>
                <a:close/>
                <a:moveTo>
                  <a:pt x="366" y="123"/>
                </a:moveTo>
                <a:cubicBezTo>
                  <a:pt x="365" y="124"/>
                  <a:pt x="364" y="123"/>
                  <a:pt x="364" y="123"/>
                </a:cubicBezTo>
                <a:cubicBezTo>
                  <a:pt x="361" y="121"/>
                  <a:pt x="367" y="121"/>
                  <a:pt x="366" y="123"/>
                </a:cubicBezTo>
                <a:close/>
                <a:moveTo>
                  <a:pt x="365" y="109"/>
                </a:moveTo>
                <a:cubicBezTo>
                  <a:pt x="365" y="109"/>
                  <a:pt x="365" y="109"/>
                  <a:pt x="365" y="109"/>
                </a:cubicBezTo>
                <a:cubicBezTo>
                  <a:pt x="363" y="108"/>
                  <a:pt x="367" y="109"/>
                  <a:pt x="365" y="109"/>
                </a:cubicBezTo>
                <a:close/>
                <a:moveTo>
                  <a:pt x="364" y="93"/>
                </a:moveTo>
                <a:cubicBezTo>
                  <a:pt x="363" y="94"/>
                  <a:pt x="363" y="93"/>
                  <a:pt x="363" y="93"/>
                </a:cubicBezTo>
                <a:cubicBezTo>
                  <a:pt x="361" y="92"/>
                  <a:pt x="364" y="92"/>
                  <a:pt x="364" y="93"/>
                </a:cubicBezTo>
                <a:close/>
                <a:moveTo>
                  <a:pt x="363" y="131"/>
                </a:moveTo>
                <a:cubicBezTo>
                  <a:pt x="361" y="130"/>
                  <a:pt x="359" y="128"/>
                  <a:pt x="358" y="126"/>
                </a:cubicBezTo>
                <a:cubicBezTo>
                  <a:pt x="360" y="127"/>
                  <a:pt x="361" y="129"/>
                  <a:pt x="363" y="131"/>
                </a:cubicBezTo>
                <a:close/>
                <a:moveTo>
                  <a:pt x="368" y="604"/>
                </a:moveTo>
                <a:cubicBezTo>
                  <a:pt x="365" y="603"/>
                  <a:pt x="367" y="602"/>
                  <a:pt x="368" y="604"/>
                </a:cubicBezTo>
                <a:close/>
                <a:moveTo>
                  <a:pt x="367" y="364"/>
                </a:moveTo>
                <a:cubicBezTo>
                  <a:pt x="369" y="364"/>
                  <a:pt x="370" y="367"/>
                  <a:pt x="371" y="368"/>
                </a:cubicBezTo>
                <a:cubicBezTo>
                  <a:pt x="369" y="368"/>
                  <a:pt x="368" y="365"/>
                  <a:pt x="367" y="364"/>
                </a:cubicBezTo>
                <a:close/>
                <a:moveTo>
                  <a:pt x="367" y="638"/>
                </a:moveTo>
                <a:cubicBezTo>
                  <a:pt x="368" y="637"/>
                  <a:pt x="368" y="639"/>
                  <a:pt x="367" y="638"/>
                </a:cubicBezTo>
                <a:close/>
                <a:moveTo>
                  <a:pt x="373" y="642"/>
                </a:moveTo>
                <a:cubicBezTo>
                  <a:pt x="375" y="643"/>
                  <a:pt x="376" y="644"/>
                  <a:pt x="376" y="646"/>
                </a:cubicBezTo>
                <a:cubicBezTo>
                  <a:pt x="377" y="652"/>
                  <a:pt x="365" y="646"/>
                  <a:pt x="365" y="645"/>
                </a:cubicBezTo>
                <a:cubicBezTo>
                  <a:pt x="365" y="644"/>
                  <a:pt x="372" y="642"/>
                  <a:pt x="373" y="642"/>
                </a:cubicBezTo>
                <a:close/>
                <a:moveTo>
                  <a:pt x="374" y="562"/>
                </a:moveTo>
                <a:cubicBezTo>
                  <a:pt x="375" y="563"/>
                  <a:pt x="372" y="562"/>
                  <a:pt x="373" y="561"/>
                </a:cubicBezTo>
                <a:cubicBezTo>
                  <a:pt x="374" y="561"/>
                  <a:pt x="374" y="562"/>
                  <a:pt x="374" y="562"/>
                </a:cubicBezTo>
                <a:close/>
                <a:moveTo>
                  <a:pt x="374" y="444"/>
                </a:moveTo>
                <a:cubicBezTo>
                  <a:pt x="373" y="445"/>
                  <a:pt x="373" y="442"/>
                  <a:pt x="374" y="444"/>
                </a:cubicBezTo>
                <a:close/>
                <a:moveTo>
                  <a:pt x="372" y="582"/>
                </a:moveTo>
                <a:cubicBezTo>
                  <a:pt x="375" y="582"/>
                  <a:pt x="372" y="584"/>
                  <a:pt x="372" y="582"/>
                </a:cubicBezTo>
                <a:close/>
                <a:moveTo>
                  <a:pt x="371" y="374"/>
                </a:moveTo>
                <a:cubicBezTo>
                  <a:pt x="372" y="373"/>
                  <a:pt x="372" y="375"/>
                  <a:pt x="371" y="374"/>
                </a:cubicBezTo>
                <a:close/>
                <a:moveTo>
                  <a:pt x="365" y="654"/>
                </a:moveTo>
                <a:cubicBezTo>
                  <a:pt x="366" y="652"/>
                  <a:pt x="367" y="655"/>
                  <a:pt x="365" y="654"/>
                </a:cubicBezTo>
                <a:close/>
                <a:moveTo>
                  <a:pt x="366" y="661"/>
                </a:moveTo>
                <a:cubicBezTo>
                  <a:pt x="369" y="661"/>
                  <a:pt x="370" y="659"/>
                  <a:pt x="371" y="661"/>
                </a:cubicBezTo>
                <a:cubicBezTo>
                  <a:pt x="372" y="661"/>
                  <a:pt x="371" y="662"/>
                  <a:pt x="372" y="663"/>
                </a:cubicBezTo>
                <a:cubicBezTo>
                  <a:pt x="375" y="666"/>
                  <a:pt x="386" y="664"/>
                  <a:pt x="386" y="668"/>
                </a:cubicBezTo>
                <a:cubicBezTo>
                  <a:pt x="387" y="671"/>
                  <a:pt x="373" y="665"/>
                  <a:pt x="372" y="664"/>
                </a:cubicBezTo>
                <a:cubicBezTo>
                  <a:pt x="369" y="662"/>
                  <a:pt x="364" y="662"/>
                  <a:pt x="362" y="661"/>
                </a:cubicBezTo>
                <a:cubicBezTo>
                  <a:pt x="362" y="660"/>
                  <a:pt x="361" y="660"/>
                  <a:pt x="361" y="659"/>
                </a:cubicBezTo>
                <a:cubicBezTo>
                  <a:pt x="362" y="657"/>
                  <a:pt x="364" y="661"/>
                  <a:pt x="366" y="661"/>
                </a:cubicBezTo>
                <a:close/>
                <a:moveTo>
                  <a:pt x="377" y="623"/>
                </a:moveTo>
                <a:cubicBezTo>
                  <a:pt x="379" y="623"/>
                  <a:pt x="377" y="625"/>
                  <a:pt x="377" y="623"/>
                </a:cubicBezTo>
                <a:close/>
                <a:moveTo>
                  <a:pt x="385" y="646"/>
                </a:moveTo>
                <a:cubicBezTo>
                  <a:pt x="385" y="645"/>
                  <a:pt x="387" y="645"/>
                  <a:pt x="387" y="646"/>
                </a:cubicBezTo>
                <a:cubicBezTo>
                  <a:pt x="387" y="647"/>
                  <a:pt x="385" y="647"/>
                  <a:pt x="385" y="646"/>
                </a:cubicBezTo>
                <a:close/>
                <a:moveTo>
                  <a:pt x="387" y="661"/>
                </a:moveTo>
                <a:cubicBezTo>
                  <a:pt x="389" y="662"/>
                  <a:pt x="384" y="662"/>
                  <a:pt x="385" y="661"/>
                </a:cubicBezTo>
                <a:cubicBezTo>
                  <a:pt x="385" y="660"/>
                  <a:pt x="387" y="660"/>
                  <a:pt x="387" y="661"/>
                </a:cubicBezTo>
                <a:close/>
                <a:moveTo>
                  <a:pt x="385" y="654"/>
                </a:moveTo>
                <a:cubicBezTo>
                  <a:pt x="388" y="654"/>
                  <a:pt x="385" y="656"/>
                  <a:pt x="385" y="654"/>
                </a:cubicBezTo>
                <a:close/>
                <a:moveTo>
                  <a:pt x="380" y="671"/>
                </a:moveTo>
                <a:cubicBezTo>
                  <a:pt x="382" y="672"/>
                  <a:pt x="380" y="673"/>
                  <a:pt x="380" y="671"/>
                </a:cubicBezTo>
                <a:close/>
                <a:moveTo>
                  <a:pt x="379" y="676"/>
                </a:moveTo>
                <a:cubicBezTo>
                  <a:pt x="379" y="676"/>
                  <a:pt x="380" y="675"/>
                  <a:pt x="380" y="675"/>
                </a:cubicBezTo>
                <a:cubicBezTo>
                  <a:pt x="380" y="676"/>
                  <a:pt x="380" y="677"/>
                  <a:pt x="379" y="676"/>
                </a:cubicBezTo>
                <a:close/>
                <a:moveTo>
                  <a:pt x="378" y="669"/>
                </a:moveTo>
                <a:cubicBezTo>
                  <a:pt x="377" y="669"/>
                  <a:pt x="377" y="666"/>
                  <a:pt x="378" y="668"/>
                </a:cubicBezTo>
                <a:cubicBezTo>
                  <a:pt x="378" y="668"/>
                  <a:pt x="378" y="669"/>
                  <a:pt x="378" y="669"/>
                </a:cubicBezTo>
                <a:close/>
                <a:moveTo>
                  <a:pt x="366" y="677"/>
                </a:moveTo>
                <a:cubicBezTo>
                  <a:pt x="369" y="676"/>
                  <a:pt x="367" y="673"/>
                  <a:pt x="368" y="672"/>
                </a:cubicBezTo>
                <a:cubicBezTo>
                  <a:pt x="370" y="671"/>
                  <a:pt x="373" y="675"/>
                  <a:pt x="372" y="677"/>
                </a:cubicBezTo>
                <a:cubicBezTo>
                  <a:pt x="371" y="678"/>
                  <a:pt x="368" y="676"/>
                  <a:pt x="366" y="677"/>
                </a:cubicBezTo>
                <a:close/>
                <a:moveTo>
                  <a:pt x="369" y="695"/>
                </a:moveTo>
                <a:cubicBezTo>
                  <a:pt x="369" y="694"/>
                  <a:pt x="371" y="694"/>
                  <a:pt x="371" y="695"/>
                </a:cubicBezTo>
                <a:cubicBezTo>
                  <a:pt x="372" y="696"/>
                  <a:pt x="369" y="696"/>
                  <a:pt x="369" y="695"/>
                </a:cubicBezTo>
                <a:close/>
                <a:moveTo>
                  <a:pt x="365" y="733"/>
                </a:moveTo>
                <a:cubicBezTo>
                  <a:pt x="365" y="731"/>
                  <a:pt x="367" y="731"/>
                  <a:pt x="368" y="732"/>
                </a:cubicBezTo>
                <a:cubicBezTo>
                  <a:pt x="369" y="733"/>
                  <a:pt x="365" y="733"/>
                  <a:pt x="365" y="733"/>
                </a:cubicBezTo>
                <a:close/>
                <a:moveTo>
                  <a:pt x="364" y="734"/>
                </a:moveTo>
                <a:cubicBezTo>
                  <a:pt x="365" y="734"/>
                  <a:pt x="366" y="734"/>
                  <a:pt x="366" y="734"/>
                </a:cubicBezTo>
                <a:cubicBezTo>
                  <a:pt x="367" y="736"/>
                  <a:pt x="363" y="735"/>
                  <a:pt x="364" y="734"/>
                </a:cubicBezTo>
                <a:close/>
                <a:moveTo>
                  <a:pt x="363" y="683"/>
                </a:moveTo>
                <a:cubicBezTo>
                  <a:pt x="365" y="682"/>
                  <a:pt x="364" y="684"/>
                  <a:pt x="363" y="683"/>
                </a:cubicBezTo>
                <a:close/>
                <a:moveTo>
                  <a:pt x="361" y="684"/>
                </a:moveTo>
                <a:cubicBezTo>
                  <a:pt x="360" y="685"/>
                  <a:pt x="360" y="682"/>
                  <a:pt x="361" y="684"/>
                </a:cubicBezTo>
                <a:close/>
                <a:moveTo>
                  <a:pt x="360" y="465"/>
                </a:moveTo>
                <a:cubicBezTo>
                  <a:pt x="360" y="465"/>
                  <a:pt x="361" y="466"/>
                  <a:pt x="361" y="466"/>
                </a:cubicBezTo>
                <a:cubicBezTo>
                  <a:pt x="362" y="468"/>
                  <a:pt x="358" y="466"/>
                  <a:pt x="360" y="465"/>
                </a:cubicBezTo>
                <a:close/>
                <a:moveTo>
                  <a:pt x="361" y="695"/>
                </a:moveTo>
                <a:cubicBezTo>
                  <a:pt x="360" y="696"/>
                  <a:pt x="361" y="694"/>
                  <a:pt x="361" y="695"/>
                </a:cubicBezTo>
                <a:close/>
                <a:moveTo>
                  <a:pt x="364" y="650"/>
                </a:moveTo>
                <a:cubicBezTo>
                  <a:pt x="365" y="652"/>
                  <a:pt x="361" y="651"/>
                  <a:pt x="362" y="649"/>
                </a:cubicBezTo>
                <a:cubicBezTo>
                  <a:pt x="363" y="649"/>
                  <a:pt x="364" y="650"/>
                  <a:pt x="364" y="650"/>
                </a:cubicBezTo>
                <a:close/>
                <a:moveTo>
                  <a:pt x="365" y="376"/>
                </a:moveTo>
                <a:cubicBezTo>
                  <a:pt x="363" y="376"/>
                  <a:pt x="364" y="373"/>
                  <a:pt x="365" y="376"/>
                </a:cubicBezTo>
                <a:close/>
                <a:moveTo>
                  <a:pt x="361" y="355"/>
                </a:moveTo>
                <a:cubicBezTo>
                  <a:pt x="362" y="354"/>
                  <a:pt x="363" y="356"/>
                  <a:pt x="363" y="357"/>
                </a:cubicBezTo>
                <a:cubicBezTo>
                  <a:pt x="362" y="356"/>
                  <a:pt x="362" y="356"/>
                  <a:pt x="361" y="355"/>
                </a:cubicBezTo>
                <a:close/>
                <a:moveTo>
                  <a:pt x="356" y="702"/>
                </a:moveTo>
                <a:cubicBezTo>
                  <a:pt x="359" y="702"/>
                  <a:pt x="356" y="704"/>
                  <a:pt x="356" y="702"/>
                </a:cubicBezTo>
                <a:close/>
                <a:moveTo>
                  <a:pt x="356" y="683"/>
                </a:moveTo>
                <a:cubicBezTo>
                  <a:pt x="356" y="682"/>
                  <a:pt x="357" y="683"/>
                  <a:pt x="357" y="683"/>
                </a:cubicBezTo>
                <a:cubicBezTo>
                  <a:pt x="358" y="684"/>
                  <a:pt x="355" y="683"/>
                  <a:pt x="356" y="683"/>
                </a:cubicBezTo>
                <a:close/>
                <a:moveTo>
                  <a:pt x="359" y="708"/>
                </a:moveTo>
                <a:cubicBezTo>
                  <a:pt x="360" y="710"/>
                  <a:pt x="356" y="709"/>
                  <a:pt x="356" y="708"/>
                </a:cubicBezTo>
                <a:cubicBezTo>
                  <a:pt x="356" y="707"/>
                  <a:pt x="359" y="707"/>
                  <a:pt x="359" y="708"/>
                </a:cubicBezTo>
                <a:close/>
                <a:moveTo>
                  <a:pt x="358" y="153"/>
                </a:moveTo>
                <a:cubicBezTo>
                  <a:pt x="356" y="152"/>
                  <a:pt x="359" y="153"/>
                  <a:pt x="358" y="153"/>
                </a:cubicBezTo>
                <a:close/>
                <a:moveTo>
                  <a:pt x="358" y="538"/>
                </a:moveTo>
                <a:cubicBezTo>
                  <a:pt x="358" y="539"/>
                  <a:pt x="357" y="539"/>
                  <a:pt x="357" y="539"/>
                </a:cubicBezTo>
                <a:cubicBezTo>
                  <a:pt x="356" y="538"/>
                  <a:pt x="357" y="537"/>
                  <a:pt x="358" y="538"/>
                </a:cubicBezTo>
                <a:close/>
                <a:moveTo>
                  <a:pt x="359" y="673"/>
                </a:moveTo>
                <a:cubicBezTo>
                  <a:pt x="360" y="674"/>
                  <a:pt x="356" y="674"/>
                  <a:pt x="356" y="673"/>
                </a:cubicBezTo>
                <a:cubicBezTo>
                  <a:pt x="357" y="673"/>
                  <a:pt x="358" y="672"/>
                  <a:pt x="359" y="673"/>
                </a:cubicBezTo>
                <a:close/>
                <a:moveTo>
                  <a:pt x="359" y="678"/>
                </a:moveTo>
                <a:cubicBezTo>
                  <a:pt x="359" y="678"/>
                  <a:pt x="356" y="681"/>
                  <a:pt x="355" y="681"/>
                </a:cubicBezTo>
                <a:cubicBezTo>
                  <a:pt x="354" y="682"/>
                  <a:pt x="349" y="681"/>
                  <a:pt x="349" y="680"/>
                </a:cubicBezTo>
                <a:cubicBezTo>
                  <a:pt x="348" y="680"/>
                  <a:pt x="348" y="677"/>
                  <a:pt x="348" y="675"/>
                </a:cubicBezTo>
                <a:cubicBezTo>
                  <a:pt x="349" y="674"/>
                  <a:pt x="352" y="674"/>
                  <a:pt x="355" y="675"/>
                </a:cubicBezTo>
                <a:cubicBezTo>
                  <a:pt x="356" y="675"/>
                  <a:pt x="359" y="677"/>
                  <a:pt x="359" y="678"/>
                </a:cubicBezTo>
                <a:close/>
                <a:moveTo>
                  <a:pt x="354" y="738"/>
                </a:moveTo>
                <a:cubicBezTo>
                  <a:pt x="355" y="738"/>
                  <a:pt x="356" y="738"/>
                  <a:pt x="356" y="739"/>
                </a:cubicBezTo>
                <a:cubicBezTo>
                  <a:pt x="357" y="741"/>
                  <a:pt x="353" y="739"/>
                  <a:pt x="354" y="738"/>
                </a:cubicBezTo>
                <a:close/>
                <a:moveTo>
                  <a:pt x="354" y="757"/>
                </a:moveTo>
                <a:cubicBezTo>
                  <a:pt x="354" y="757"/>
                  <a:pt x="356" y="757"/>
                  <a:pt x="356" y="757"/>
                </a:cubicBezTo>
                <a:cubicBezTo>
                  <a:pt x="357" y="759"/>
                  <a:pt x="353" y="759"/>
                  <a:pt x="354" y="757"/>
                </a:cubicBezTo>
                <a:close/>
                <a:moveTo>
                  <a:pt x="349" y="683"/>
                </a:moveTo>
                <a:cubicBezTo>
                  <a:pt x="350" y="681"/>
                  <a:pt x="354" y="683"/>
                  <a:pt x="354" y="685"/>
                </a:cubicBezTo>
                <a:cubicBezTo>
                  <a:pt x="355" y="688"/>
                  <a:pt x="347" y="685"/>
                  <a:pt x="349" y="683"/>
                </a:cubicBezTo>
                <a:close/>
                <a:moveTo>
                  <a:pt x="348" y="704"/>
                </a:moveTo>
                <a:cubicBezTo>
                  <a:pt x="350" y="703"/>
                  <a:pt x="349" y="705"/>
                  <a:pt x="348" y="704"/>
                </a:cubicBezTo>
                <a:close/>
                <a:moveTo>
                  <a:pt x="352" y="646"/>
                </a:moveTo>
                <a:cubicBezTo>
                  <a:pt x="355" y="644"/>
                  <a:pt x="355" y="648"/>
                  <a:pt x="352" y="646"/>
                </a:cubicBezTo>
                <a:close/>
                <a:moveTo>
                  <a:pt x="354" y="388"/>
                </a:moveTo>
                <a:cubicBezTo>
                  <a:pt x="354" y="388"/>
                  <a:pt x="355" y="389"/>
                  <a:pt x="355" y="389"/>
                </a:cubicBezTo>
                <a:cubicBezTo>
                  <a:pt x="355" y="390"/>
                  <a:pt x="354" y="389"/>
                  <a:pt x="354" y="388"/>
                </a:cubicBezTo>
                <a:close/>
                <a:moveTo>
                  <a:pt x="354" y="626"/>
                </a:moveTo>
                <a:cubicBezTo>
                  <a:pt x="354" y="629"/>
                  <a:pt x="352" y="631"/>
                  <a:pt x="350" y="630"/>
                </a:cubicBezTo>
                <a:cubicBezTo>
                  <a:pt x="350" y="630"/>
                  <a:pt x="349" y="629"/>
                  <a:pt x="349" y="629"/>
                </a:cubicBezTo>
                <a:cubicBezTo>
                  <a:pt x="348" y="630"/>
                  <a:pt x="348" y="632"/>
                  <a:pt x="346" y="632"/>
                </a:cubicBezTo>
                <a:cubicBezTo>
                  <a:pt x="343" y="632"/>
                  <a:pt x="342" y="629"/>
                  <a:pt x="341" y="626"/>
                </a:cubicBezTo>
                <a:cubicBezTo>
                  <a:pt x="341" y="626"/>
                  <a:pt x="340" y="625"/>
                  <a:pt x="339" y="624"/>
                </a:cubicBezTo>
                <a:cubicBezTo>
                  <a:pt x="340" y="625"/>
                  <a:pt x="339" y="621"/>
                  <a:pt x="340" y="621"/>
                </a:cubicBezTo>
                <a:cubicBezTo>
                  <a:pt x="340" y="621"/>
                  <a:pt x="341" y="621"/>
                  <a:pt x="341" y="621"/>
                </a:cubicBezTo>
                <a:cubicBezTo>
                  <a:pt x="342" y="621"/>
                  <a:pt x="341" y="619"/>
                  <a:pt x="342" y="619"/>
                </a:cubicBezTo>
                <a:cubicBezTo>
                  <a:pt x="348" y="618"/>
                  <a:pt x="354" y="623"/>
                  <a:pt x="354" y="626"/>
                </a:cubicBezTo>
                <a:close/>
                <a:moveTo>
                  <a:pt x="346" y="657"/>
                </a:moveTo>
                <a:cubicBezTo>
                  <a:pt x="347" y="656"/>
                  <a:pt x="348" y="658"/>
                  <a:pt x="346" y="657"/>
                </a:cubicBezTo>
                <a:close/>
                <a:moveTo>
                  <a:pt x="341" y="652"/>
                </a:moveTo>
                <a:cubicBezTo>
                  <a:pt x="342" y="652"/>
                  <a:pt x="344" y="653"/>
                  <a:pt x="344" y="653"/>
                </a:cubicBezTo>
                <a:cubicBezTo>
                  <a:pt x="344" y="655"/>
                  <a:pt x="340" y="654"/>
                  <a:pt x="341" y="652"/>
                </a:cubicBezTo>
                <a:close/>
                <a:moveTo>
                  <a:pt x="332" y="599"/>
                </a:moveTo>
                <a:cubicBezTo>
                  <a:pt x="331" y="600"/>
                  <a:pt x="329" y="598"/>
                  <a:pt x="328" y="598"/>
                </a:cubicBezTo>
                <a:cubicBezTo>
                  <a:pt x="330" y="597"/>
                  <a:pt x="331" y="599"/>
                  <a:pt x="332" y="599"/>
                </a:cubicBezTo>
                <a:close/>
                <a:moveTo>
                  <a:pt x="328" y="470"/>
                </a:moveTo>
                <a:cubicBezTo>
                  <a:pt x="328" y="470"/>
                  <a:pt x="329" y="470"/>
                  <a:pt x="329" y="471"/>
                </a:cubicBezTo>
                <a:cubicBezTo>
                  <a:pt x="330" y="473"/>
                  <a:pt x="326" y="471"/>
                  <a:pt x="328" y="470"/>
                </a:cubicBezTo>
                <a:close/>
                <a:moveTo>
                  <a:pt x="331" y="572"/>
                </a:moveTo>
                <a:cubicBezTo>
                  <a:pt x="331" y="573"/>
                  <a:pt x="331" y="573"/>
                  <a:pt x="331" y="573"/>
                </a:cubicBezTo>
                <a:cubicBezTo>
                  <a:pt x="331" y="573"/>
                  <a:pt x="331" y="573"/>
                  <a:pt x="331" y="573"/>
                </a:cubicBezTo>
                <a:cubicBezTo>
                  <a:pt x="331" y="572"/>
                  <a:pt x="331" y="572"/>
                  <a:pt x="331" y="572"/>
                </a:cubicBezTo>
                <a:close/>
                <a:moveTo>
                  <a:pt x="334" y="652"/>
                </a:moveTo>
                <a:cubicBezTo>
                  <a:pt x="335" y="654"/>
                  <a:pt x="331" y="654"/>
                  <a:pt x="331" y="652"/>
                </a:cubicBezTo>
                <a:cubicBezTo>
                  <a:pt x="332" y="651"/>
                  <a:pt x="333" y="652"/>
                  <a:pt x="334" y="652"/>
                </a:cubicBezTo>
                <a:close/>
                <a:moveTo>
                  <a:pt x="334" y="375"/>
                </a:moveTo>
                <a:cubicBezTo>
                  <a:pt x="333" y="374"/>
                  <a:pt x="334" y="377"/>
                  <a:pt x="334" y="375"/>
                </a:cubicBezTo>
                <a:close/>
                <a:moveTo>
                  <a:pt x="331" y="609"/>
                </a:moveTo>
                <a:cubicBezTo>
                  <a:pt x="332" y="609"/>
                  <a:pt x="332" y="611"/>
                  <a:pt x="331" y="609"/>
                </a:cubicBezTo>
                <a:close/>
                <a:moveTo>
                  <a:pt x="331" y="720"/>
                </a:moveTo>
                <a:cubicBezTo>
                  <a:pt x="336" y="719"/>
                  <a:pt x="336" y="723"/>
                  <a:pt x="331" y="720"/>
                </a:cubicBezTo>
                <a:close/>
                <a:moveTo>
                  <a:pt x="332" y="660"/>
                </a:moveTo>
                <a:cubicBezTo>
                  <a:pt x="333" y="659"/>
                  <a:pt x="335" y="661"/>
                  <a:pt x="337" y="662"/>
                </a:cubicBezTo>
                <a:cubicBezTo>
                  <a:pt x="335" y="663"/>
                  <a:pt x="333" y="661"/>
                  <a:pt x="332" y="660"/>
                </a:cubicBezTo>
                <a:close/>
                <a:moveTo>
                  <a:pt x="334" y="653"/>
                </a:moveTo>
                <a:cubicBezTo>
                  <a:pt x="334" y="651"/>
                  <a:pt x="339" y="651"/>
                  <a:pt x="339" y="653"/>
                </a:cubicBezTo>
                <a:cubicBezTo>
                  <a:pt x="340" y="657"/>
                  <a:pt x="334" y="655"/>
                  <a:pt x="334" y="653"/>
                </a:cubicBezTo>
                <a:close/>
                <a:moveTo>
                  <a:pt x="337" y="184"/>
                </a:moveTo>
                <a:cubicBezTo>
                  <a:pt x="338" y="185"/>
                  <a:pt x="336" y="183"/>
                  <a:pt x="337" y="184"/>
                </a:cubicBezTo>
                <a:close/>
                <a:moveTo>
                  <a:pt x="338" y="594"/>
                </a:moveTo>
                <a:cubicBezTo>
                  <a:pt x="339" y="594"/>
                  <a:pt x="337" y="594"/>
                  <a:pt x="337" y="594"/>
                </a:cubicBezTo>
                <a:cubicBezTo>
                  <a:pt x="337" y="593"/>
                  <a:pt x="338" y="593"/>
                  <a:pt x="338" y="594"/>
                </a:cubicBezTo>
                <a:close/>
                <a:moveTo>
                  <a:pt x="337" y="603"/>
                </a:moveTo>
                <a:cubicBezTo>
                  <a:pt x="338" y="605"/>
                  <a:pt x="334" y="603"/>
                  <a:pt x="335" y="602"/>
                </a:cubicBezTo>
                <a:cubicBezTo>
                  <a:pt x="336" y="601"/>
                  <a:pt x="337" y="602"/>
                  <a:pt x="337" y="603"/>
                </a:cubicBezTo>
                <a:close/>
                <a:moveTo>
                  <a:pt x="342" y="350"/>
                </a:moveTo>
                <a:cubicBezTo>
                  <a:pt x="343" y="353"/>
                  <a:pt x="337" y="349"/>
                  <a:pt x="339" y="348"/>
                </a:cubicBezTo>
                <a:cubicBezTo>
                  <a:pt x="340" y="347"/>
                  <a:pt x="342" y="350"/>
                  <a:pt x="342" y="350"/>
                </a:cubicBezTo>
                <a:close/>
                <a:moveTo>
                  <a:pt x="339" y="147"/>
                </a:moveTo>
                <a:cubicBezTo>
                  <a:pt x="340" y="146"/>
                  <a:pt x="343" y="150"/>
                  <a:pt x="340" y="149"/>
                </a:cubicBezTo>
                <a:cubicBezTo>
                  <a:pt x="340" y="148"/>
                  <a:pt x="339" y="148"/>
                  <a:pt x="339" y="147"/>
                </a:cubicBezTo>
                <a:close/>
                <a:moveTo>
                  <a:pt x="340" y="607"/>
                </a:moveTo>
                <a:cubicBezTo>
                  <a:pt x="343" y="607"/>
                  <a:pt x="340" y="609"/>
                  <a:pt x="340" y="607"/>
                </a:cubicBezTo>
                <a:close/>
                <a:moveTo>
                  <a:pt x="339" y="475"/>
                </a:moveTo>
                <a:cubicBezTo>
                  <a:pt x="340" y="474"/>
                  <a:pt x="341" y="475"/>
                  <a:pt x="341" y="475"/>
                </a:cubicBezTo>
                <a:cubicBezTo>
                  <a:pt x="342" y="477"/>
                  <a:pt x="339" y="476"/>
                  <a:pt x="339" y="475"/>
                </a:cubicBezTo>
                <a:close/>
                <a:moveTo>
                  <a:pt x="339" y="735"/>
                </a:moveTo>
                <a:cubicBezTo>
                  <a:pt x="340" y="735"/>
                  <a:pt x="340" y="736"/>
                  <a:pt x="339" y="735"/>
                </a:cubicBezTo>
                <a:cubicBezTo>
                  <a:pt x="339" y="735"/>
                  <a:pt x="339" y="735"/>
                  <a:pt x="339" y="735"/>
                </a:cubicBezTo>
                <a:close/>
                <a:moveTo>
                  <a:pt x="344" y="348"/>
                </a:moveTo>
                <a:cubicBezTo>
                  <a:pt x="344" y="348"/>
                  <a:pt x="343" y="346"/>
                  <a:pt x="344" y="347"/>
                </a:cubicBezTo>
                <a:cubicBezTo>
                  <a:pt x="344" y="347"/>
                  <a:pt x="345" y="348"/>
                  <a:pt x="344" y="348"/>
                </a:cubicBezTo>
                <a:close/>
                <a:moveTo>
                  <a:pt x="346" y="610"/>
                </a:moveTo>
                <a:cubicBezTo>
                  <a:pt x="345" y="612"/>
                  <a:pt x="344" y="609"/>
                  <a:pt x="342" y="609"/>
                </a:cubicBezTo>
                <a:cubicBezTo>
                  <a:pt x="344" y="608"/>
                  <a:pt x="345" y="610"/>
                  <a:pt x="346" y="610"/>
                </a:cubicBezTo>
                <a:close/>
                <a:moveTo>
                  <a:pt x="344" y="176"/>
                </a:moveTo>
                <a:cubicBezTo>
                  <a:pt x="343" y="176"/>
                  <a:pt x="343" y="176"/>
                  <a:pt x="342" y="175"/>
                </a:cubicBezTo>
                <a:cubicBezTo>
                  <a:pt x="341" y="174"/>
                  <a:pt x="344" y="174"/>
                  <a:pt x="344" y="176"/>
                </a:cubicBezTo>
                <a:close/>
                <a:moveTo>
                  <a:pt x="347" y="192"/>
                </a:moveTo>
                <a:cubicBezTo>
                  <a:pt x="347" y="192"/>
                  <a:pt x="347" y="192"/>
                  <a:pt x="347" y="192"/>
                </a:cubicBezTo>
                <a:cubicBezTo>
                  <a:pt x="347" y="192"/>
                  <a:pt x="347" y="192"/>
                  <a:pt x="347" y="192"/>
                </a:cubicBezTo>
                <a:close/>
                <a:moveTo>
                  <a:pt x="348" y="594"/>
                </a:moveTo>
                <a:cubicBezTo>
                  <a:pt x="348" y="593"/>
                  <a:pt x="349" y="594"/>
                  <a:pt x="349" y="594"/>
                </a:cubicBezTo>
                <a:cubicBezTo>
                  <a:pt x="350" y="596"/>
                  <a:pt x="347" y="595"/>
                  <a:pt x="348" y="594"/>
                </a:cubicBezTo>
                <a:close/>
                <a:moveTo>
                  <a:pt x="348" y="564"/>
                </a:moveTo>
                <a:cubicBezTo>
                  <a:pt x="349" y="563"/>
                  <a:pt x="351" y="564"/>
                  <a:pt x="351" y="565"/>
                </a:cubicBezTo>
                <a:cubicBezTo>
                  <a:pt x="352" y="569"/>
                  <a:pt x="347" y="566"/>
                  <a:pt x="348" y="564"/>
                </a:cubicBezTo>
                <a:close/>
                <a:moveTo>
                  <a:pt x="349" y="471"/>
                </a:moveTo>
                <a:cubicBezTo>
                  <a:pt x="350" y="472"/>
                  <a:pt x="349" y="470"/>
                  <a:pt x="349" y="471"/>
                </a:cubicBezTo>
                <a:close/>
                <a:moveTo>
                  <a:pt x="348" y="85"/>
                </a:moveTo>
                <a:cubicBezTo>
                  <a:pt x="349" y="85"/>
                  <a:pt x="350" y="87"/>
                  <a:pt x="351" y="87"/>
                </a:cubicBezTo>
                <a:cubicBezTo>
                  <a:pt x="350" y="87"/>
                  <a:pt x="349" y="86"/>
                  <a:pt x="348" y="85"/>
                </a:cubicBezTo>
                <a:close/>
                <a:moveTo>
                  <a:pt x="330" y="414"/>
                </a:moveTo>
                <a:cubicBezTo>
                  <a:pt x="331" y="414"/>
                  <a:pt x="331" y="415"/>
                  <a:pt x="330" y="416"/>
                </a:cubicBezTo>
                <a:cubicBezTo>
                  <a:pt x="325" y="416"/>
                  <a:pt x="329" y="409"/>
                  <a:pt x="330" y="414"/>
                </a:cubicBezTo>
                <a:close/>
                <a:moveTo>
                  <a:pt x="328" y="177"/>
                </a:moveTo>
                <a:cubicBezTo>
                  <a:pt x="328" y="176"/>
                  <a:pt x="329" y="178"/>
                  <a:pt x="328" y="177"/>
                </a:cubicBezTo>
                <a:close/>
                <a:moveTo>
                  <a:pt x="328" y="658"/>
                </a:moveTo>
                <a:cubicBezTo>
                  <a:pt x="327" y="658"/>
                  <a:pt x="326" y="657"/>
                  <a:pt x="326" y="657"/>
                </a:cubicBezTo>
                <a:cubicBezTo>
                  <a:pt x="327" y="657"/>
                  <a:pt x="327" y="657"/>
                  <a:pt x="328" y="658"/>
                </a:cubicBezTo>
                <a:close/>
                <a:moveTo>
                  <a:pt x="326" y="743"/>
                </a:moveTo>
                <a:cubicBezTo>
                  <a:pt x="325" y="744"/>
                  <a:pt x="324" y="742"/>
                  <a:pt x="326" y="743"/>
                </a:cubicBezTo>
                <a:close/>
                <a:moveTo>
                  <a:pt x="325" y="755"/>
                </a:moveTo>
                <a:cubicBezTo>
                  <a:pt x="325" y="755"/>
                  <a:pt x="326" y="755"/>
                  <a:pt x="326" y="756"/>
                </a:cubicBezTo>
                <a:cubicBezTo>
                  <a:pt x="326" y="758"/>
                  <a:pt x="324" y="753"/>
                  <a:pt x="325" y="755"/>
                </a:cubicBezTo>
                <a:close/>
                <a:moveTo>
                  <a:pt x="325" y="738"/>
                </a:moveTo>
                <a:cubicBezTo>
                  <a:pt x="325" y="737"/>
                  <a:pt x="327" y="737"/>
                  <a:pt x="327" y="738"/>
                </a:cubicBezTo>
                <a:cubicBezTo>
                  <a:pt x="328" y="739"/>
                  <a:pt x="326" y="738"/>
                  <a:pt x="325" y="738"/>
                </a:cubicBezTo>
                <a:close/>
                <a:moveTo>
                  <a:pt x="325" y="124"/>
                </a:moveTo>
                <a:cubicBezTo>
                  <a:pt x="325" y="124"/>
                  <a:pt x="325" y="124"/>
                  <a:pt x="325" y="124"/>
                </a:cubicBezTo>
                <a:cubicBezTo>
                  <a:pt x="323" y="123"/>
                  <a:pt x="328" y="123"/>
                  <a:pt x="325" y="124"/>
                </a:cubicBezTo>
                <a:close/>
                <a:moveTo>
                  <a:pt x="326" y="382"/>
                </a:moveTo>
                <a:cubicBezTo>
                  <a:pt x="326" y="383"/>
                  <a:pt x="325" y="381"/>
                  <a:pt x="326" y="382"/>
                </a:cubicBezTo>
                <a:close/>
                <a:moveTo>
                  <a:pt x="326" y="596"/>
                </a:moveTo>
                <a:cubicBezTo>
                  <a:pt x="327" y="597"/>
                  <a:pt x="323" y="595"/>
                  <a:pt x="324" y="595"/>
                </a:cubicBezTo>
                <a:cubicBezTo>
                  <a:pt x="325" y="594"/>
                  <a:pt x="326" y="596"/>
                  <a:pt x="326" y="596"/>
                </a:cubicBezTo>
                <a:close/>
                <a:moveTo>
                  <a:pt x="326" y="759"/>
                </a:moveTo>
                <a:cubicBezTo>
                  <a:pt x="327" y="760"/>
                  <a:pt x="323" y="760"/>
                  <a:pt x="324" y="758"/>
                </a:cubicBezTo>
                <a:cubicBezTo>
                  <a:pt x="324" y="758"/>
                  <a:pt x="326" y="758"/>
                  <a:pt x="326" y="759"/>
                </a:cubicBezTo>
                <a:close/>
                <a:moveTo>
                  <a:pt x="321" y="769"/>
                </a:moveTo>
                <a:cubicBezTo>
                  <a:pt x="321" y="768"/>
                  <a:pt x="323" y="769"/>
                  <a:pt x="323" y="769"/>
                </a:cubicBezTo>
                <a:cubicBezTo>
                  <a:pt x="323" y="770"/>
                  <a:pt x="322" y="769"/>
                  <a:pt x="321" y="769"/>
                </a:cubicBezTo>
                <a:close/>
                <a:moveTo>
                  <a:pt x="323" y="770"/>
                </a:moveTo>
                <a:cubicBezTo>
                  <a:pt x="324" y="768"/>
                  <a:pt x="330" y="767"/>
                  <a:pt x="330" y="770"/>
                </a:cubicBezTo>
                <a:cubicBezTo>
                  <a:pt x="330" y="773"/>
                  <a:pt x="323" y="772"/>
                  <a:pt x="323" y="770"/>
                </a:cubicBezTo>
                <a:close/>
                <a:moveTo>
                  <a:pt x="336" y="777"/>
                </a:moveTo>
                <a:cubicBezTo>
                  <a:pt x="337" y="778"/>
                  <a:pt x="335" y="776"/>
                  <a:pt x="336" y="777"/>
                </a:cubicBezTo>
                <a:close/>
                <a:moveTo>
                  <a:pt x="326" y="757"/>
                </a:moveTo>
                <a:cubicBezTo>
                  <a:pt x="327" y="757"/>
                  <a:pt x="326" y="754"/>
                  <a:pt x="326" y="755"/>
                </a:cubicBezTo>
                <a:cubicBezTo>
                  <a:pt x="326" y="753"/>
                  <a:pt x="333" y="752"/>
                  <a:pt x="335" y="754"/>
                </a:cubicBezTo>
                <a:cubicBezTo>
                  <a:pt x="335" y="754"/>
                  <a:pt x="336" y="757"/>
                  <a:pt x="337" y="757"/>
                </a:cubicBezTo>
                <a:cubicBezTo>
                  <a:pt x="336" y="758"/>
                  <a:pt x="328" y="759"/>
                  <a:pt x="326" y="757"/>
                </a:cubicBezTo>
                <a:close/>
                <a:moveTo>
                  <a:pt x="335" y="748"/>
                </a:moveTo>
                <a:cubicBezTo>
                  <a:pt x="335" y="747"/>
                  <a:pt x="337" y="747"/>
                  <a:pt x="337" y="748"/>
                </a:cubicBezTo>
                <a:cubicBezTo>
                  <a:pt x="338" y="749"/>
                  <a:pt x="336" y="749"/>
                  <a:pt x="335" y="748"/>
                </a:cubicBezTo>
                <a:close/>
                <a:moveTo>
                  <a:pt x="328" y="744"/>
                </a:moveTo>
                <a:cubicBezTo>
                  <a:pt x="328" y="743"/>
                  <a:pt x="329" y="742"/>
                  <a:pt x="329" y="741"/>
                </a:cubicBezTo>
                <a:cubicBezTo>
                  <a:pt x="329" y="742"/>
                  <a:pt x="332" y="740"/>
                  <a:pt x="332" y="740"/>
                </a:cubicBezTo>
                <a:cubicBezTo>
                  <a:pt x="334" y="740"/>
                  <a:pt x="339" y="741"/>
                  <a:pt x="337" y="745"/>
                </a:cubicBezTo>
                <a:cubicBezTo>
                  <a:pt x="336" y="748"/>
                  <a:pt x="329" y="746"/>
                  <a:pt x="328" y="744"/>
                </a:cubicBezTo>
                <a:close/>
                <a:moveTo>
                  <a:pt x="339" y="774"/>
                </a:moveTo>
                <a:cubicBezTo>
                  <a:pt x="339" y="773"/>
                  <a:pt x="337" y="773"/>
                  <a:pt x="337" y="772"/>
                </a:cubicBezTo>
                <a:cubicBezTo>
                  <a:pt x="338" y="770"/>
                  <a:pt x="344" y="770"/>
                  <a:pt x="344" y="772"/>
                </a:cubicBezTo>
                <a:cubicBezTo>
                  <a:pt x="345" y="775"/>
                  <a:pt x="339" y="775"/>
                  <a:pt x="339" y="774"/>
                </a:cubicBezTo>
                <a:close/>
                <a:moveTo>
                  <a:pt x="353" y="716"/>
                </a:moveTo>
                <a:cubicBezTo>
                  <a:pt x="351" y="716"/>
                  <a:pt x="346" y="715"/>
                  <a:pt x="345" y="713"/>
                </a:cubicBezTo>
                <a:cubicBezTo>
                  <a:pt x="348" y="714"/>
                  <a:pt x="350" y="715"/>
                  <a:pt x="353" y="716"/>
                </a:cubicBezTo>
                <a:close/>
                <a:moveTo>
                  <a:pt x="345" y="744"/>
                </a:moveTo>
                <a:cubicBezTo>
                  <a:pt x="345" y="743"/>
                  <a:pt x="348" y="743"/>
                  <a:pt x="348" y="744"/>
                </a:cubicBezTo>
                <a:cubicBezTo>
                  <a:pt x="349" y="745"/>
                  <a:pt x="345" y="744"/>
                  <a:pt x="345" y="744"/>
                </a:cubicBezTo>
                <a:close/>
                <a:moveTo>
                  <a:pt x="345" y="734"/>
                </a:moveTo>
                <a:cubicBezTo>
                  <a:pt x="346" y="733"/>
                  <a:pt x="349" y="733"/>
                  <a:pt x="349" y="735"/>
                </a:cubicBezTo>
                <a:cubicBezTo>
                  <a:pt x="350" y="737"/>
                  <a:pt x="345" y="735"/>
                  <a:pt x="345" y="734"/>
                </a:cubicBezTo>
                <a:close/>
                <a:moveTo>
                  <a:pt x="349" y="764"/>
                </a:moveTo>
                <a:cubicBezTo>
                  <a:pt x="349" y="763"/>
                  <a:pt x="350" y="763"/>
                  <a:pt x="350" y="764"/>
                </a:cubicBezTo>
                <a:cubicBezTo>
                  <a:pt x="351" y="764"/>
                  <a:pt x="349" y="765"/>
                  <a:pt x="349" y="764"/>
                </a:cubicBezTo>
                <a:close/>
                <a:moveTo>
                  <a:pt x="350" y="725"/>
                </a:moveTo>
                <a:cubicBezTo>
                  <a:pt x="350" y="724"/>
                  <a:pt x="353" y="724"/>
                  <a:pt x="354" y="725"/>
                </a:cubicBezTo>
                <a:cubicBezTo>
                  <a:pt x="355" y="727"/>
                  <a:pt x="350" y="727"/>
                  <a:pt x="350" y="725"/>
                </a:cubicBezTo>
                <a:close/>
                <a:moveTo>
                  <a:pt x="353" y="770"/>
                </a:moveTo>
                <a:cubicBezTo>
                  <a:pt x="353" y="769"/>
                  <a:pt x="358" y="767"/>
                  <a:pt x="359" y="769"/>
                </a:cubicBezTo>
                <a:cubicBezTo>
                  <a:pt x="359" y="772"/>
                  <a:pt x="354" y="771"/>
                  <a:pt x="353" y="770"/>
                </a:cubicBezTo>
                <a:close/>
                <a:moveTo>
                  <a:pt x="359" y="772"/>
                </a:moveTo>
                <a:cubicBezTo>
                  <a:pt x="359" y="772"/>
                  <a:pt x="359" y="771"/>
                  <a:pt x="360" y="771"/>
                </a:cubicBezTo>
                <a:cubicBezTo>
                  <a:pt x="360" y="771"/>
                  <a:pt x="359" y="772"/>
                  <a:pt x="359" y="772"/>
                </a:cubicBezTo>
                <a:close/>
                <a:moveTo>
                  <a:pt x="360" y="723"/>
                </a:moveTo>
                <a:cubicBezTo>
                  <a:pt x="360" y="723"/>
                  <a:pt x="360" y="723"/>
                  <a:pt x="360" y="723"/>
                </a:cubicBezTo>
                <a:cubicBezTo>
                  <a:pt x="360" y="723"/>
                  <a:pt x="359" y="722"/>
                  <a:pt x="360" y="723"/>
                </a:cubicBezTo>
                <a:close/>
                <a:moveTo>
                  <a:pt x="361" y="721"/>
                </a:moveTo>
                <a:cubicBezTo>
                  <a:pt x="363" y="719"/>
                  <a:pt x="365" y="722"/>
                  <a:pt x="361" y="721"/>
                </a:cubicBezTo>
                <a:close/>
                <a:moveTo>
                  <a:pt x="356" y="717"/>
                </a:moveTo>
                <a:cubicBezTo>
                  <a:pt x="358" y="718"/>
                  <a:pt x="362" y="717"/>
                  <a:pt x="364" y="719"/>
                </a:cubicBezTo>
                <a:cubicBezTo>
                  <a:pt x="367" y="721"/>
                  <a:pt x="356" y="719"/>
                  <a:pt x="356" y="717"/>
                </a:cubicBezTo>
                <a:close/>
                <a:moveTo>
                  <a:pt x="365" y="760"/>
                </a:moveTo>
                <a:cubicBezTo>
                  <a:pt x="364" y="760"/>
                  <a:pt x="365" y="759"/>
                  <a:pt x="366" y="760"/>
                </a:cubicBezTo>
                <a:cubicBezTo>
                  <a:pt x="366" y="760"/>
                  <a:pt x="365" y="760"/>
                  <a:pt x="365" y="760"/>
                </a:cubicBezTo>
                <a:close/>
                <a:moveTo>
                  <a:pt x="368" y="740"/>
                </a:moveTo>
                <a:cubicBezTo>
                  <a:pt x="368" y="740"/>
                  <a:pt x="369" y="739"/>
                  <a:pt x="369" y="740"/>
                </a:cubicBezTo>
                <a:cubicBezTo>
                  <a:pt x="370" y="741"/>
                  <a:pt x="368" y="741"/>
                  <a:pt x="368" y="740"/>
                </a:cubicBezTo>
                <a:close/>
                <a:moveTo>
                  <a:pt x="364" y="737"/>
                </a:moveTo>
                <a:cubicBezTo>
                  <a:pt x="364" y="735"/>
                  <a:pt x="369" y="735"/>
                  <a:pt x="369" y="737"/>
                </a:cubicBezTo>
                <a:cubicBezTo>
                  <a:pt x="371" y="739"/>
                  <a:pt x="364" y="738"/>
                  <a:pt x="364" y="737"/>
                </a:cubicBezTo>
                <a:close/>
                <a:moveTo>
                  <a:pt x="370" y="740"/>
                </a:moveTo>
                <a:cubicBezTo>
                  <a:pt x="370" y="739"/>
                  <a:pt x="372" y="739"/>
                  <a:pt x="373" y="740"/>
                </a:cubicBezTo>
                <a:cubicBezTo>
                  <a:pt x="374" y="741"/>
                  <a:pt x="370" y="741"/>
                  <a:pt x="370" y="740"/>
                </a:cubicBezTo>
                <a:close/>
                <a:moveTo>
                  <a:pt x="371" y="748"/>
                </a:moveTo>
                <a:cubicBezTo>
                  <a:pt x="371" y="748"/>
                  <a:pt x="372" y="747"/>
                  <a:pt x="373" y="748"/>
                </a:cubicBezTo>
                <a:cubicBezTo>
                  <a:pt x="374" y="750"/>
                  <a:pt x="371" y="749"/>
                  <a:pt x="371" y="748"/>
                </a:cubicBezTo>
                <a:close/>
                <a:moveTo>
                  <a:pt x="373" y="754"/>
                </a:moveTo>
                <a:cubicBezTo>
                  <a:pt x="373" y="753"/>
                  <a:pt x="375" y="755"/>
                  <a:pt x="373" y="754"/>
                </a:cubicBezTo>
                <a:close/>
                <a:moveTo>
                  <a:pt x="375" y="726"/>
                </a:moveTo>
                <a:cubicBezTo>
                  <a:pt x="376" y="725"/>
                  <a:pt x="376" y="728"/>
                  <a:pt x="375" y="726"/>
                </a:cubicBezTo>
                <a:close/>
                <a:moveTo>
                  <a:pt x="375" y="708"/>
                </a:moveTo>
                <a:cubicBezTo>
                  <a:pt x="378" y="708"/>
                  <a:pt x="375" y="710"/>
                  <a:pt x="375" y="708"/>
                </a:cubicBezTo>
                <a:close/>
                <a:moveTo>
                  <a:pt x="376" y="704"/>
                </a:moveTo>
                <a:cubicBezTo>
                  <a:pt x="377" y="703"/>
                  <a:pt x="380" y="704"/>
                  <a:pt x="380" y="706"/>
                </a:cubicBezTo>
                <a:cubicBezTo>
                  <a:pt x="381" y="709"/>
                  <a:pt x="375" y="706"/>
                  <a:pt x="376" y="704"/>
                </a:cubicBezTo>
                <a:close/>
                <a:moveTo>
                  <a:pt x="380" y="746"/>
                </a:moveTo>
                <a:cubicBezTo>
                  <a:pt x="380" y="747"/>
                  <a:pt x="378" y="746"/>
                  <a:pt x="379" y="746"/>
                </a:cubicBezTo>
                <a:cubicBezTo>
                  <a:pt x="380" y="745"/>
                  <a:pt x="380" y="746"/>
                  <a:pt x="380" y="746"/>
                </a:cubicBezTo>
                <a:close/>
                <a:moveTo>
                  <a:pt x="378" y="716"/>
                </a:moveTo>
                <a:cubicBezTo>
                  <a:pt x="378" y="716"/>
                  <a:pt x="378" y="715"/>
                  <a:pt x="379" y="715"/>
                </a:cubicBezTo>
                <a:cubicBezTo>
                  <a:pt x="382" y="714"/>
                  <a:pt x="380" y="718"/>
                  <a:pt x="378" y="716"/>
                </a:cubicBezTo>
                <a:close/>
                <a:moveTo>
                  <a:pt x="380" y="749"/>
                </a:moveTo>
                <a:cubicBezTo>
                  <a:pt x="380" y="749"/>
                  <a:pt x="381" y="748"/>
                  <a:pt x="382" y="748"/>
                </a:cubicBezTo>
                <a:cubicBezTo>
                  <a:pt x="383" y="749"/>
                  <a:pt x="380" y="750"/>
                  <a:pt x="380" y="749"/>
                </a:cubicBezTo>
                <a:close/>
                <a:moveTo>
                  <a:pt x="381" y="734"/>
                </a:moveTo>
                <a:cubicBezTo>
                  <a:pt x="382" y="734"/>
                  <a:pt x="383" y="734"/>
                  <a:pt x="383" y="735"/>
                </a:cubicBezTo>
                <a:cubicBezTo>
                  <a:pt x="384" y="738"/>
                  <a:pt x="378" y="736"/>
                  <a:pt x="381" y="734"/>
                </a:cubicBezTo>
                <a:close/>
                <a:moveTo>
                  <a:pt x="384" y="754"/>
                </a:moveTo>
                <a:cubicBezTo>
                  <a:pt x="384" y="754"/>
                  <a:pt x="384" y="754"/>
                  <a:pt x="385" y="754"/>
                </a:cubicBezTo>
                <a:cubicBezTo>
                  <a:pt x="385" y="755"/>
                  <a:pt x="384" y="755"/>
                  <a:pt x="384" y="754"/>
                </a:cubicBezTo>
                <a:close/>
                <a:moveTo>
                  <a:pt x="386" y="712"/>
                </a:moveTo>
                <a:cubicBezTo>
                  <a:pt x="386" y="712"/>
                  <a:pt x="386" y="712"/>
                  <a:pt x="386" y="712"/>
                </a:cubicBezTo>
                <a:cubicBezTo>
                  <a:pt x="388" y="712"/>
                  <a:pt x="387" y="713"/>
                  <a:pt x="386" y="712"/>
                </a:cubicBezTo>
                <a:close/>
                <a:moveTo>
                  <a:pt x="387" y="722"/>
                </a:moveTo>
                <a:cubicBezTo>
                  <a:pt x="387" y="722"/>
                  <a:pt x="390" y="721"/>
                  <a:pt x="390" y="723"/>
                </a:cubicBezTo>
                <a:cubicBezTo>
                  <a:pt x="390" y="724"/>
                  <a:pt x="388" y="723"/>
                  <a:pt x="387" y="722"/>
                </a:cubicBezTo>
                <a:close/>
                <a:moveTo>
                  <a:pt x="389" y="709"/>
                </a:moveTo>
                <a:cubicBezTo>
                  <a:pt x="387" y="709"/>
                  <a:pt x="387" y="707"/>
                  <a:pt x="389" y="709"/>
                </a:cubicBezTo>
                <a:close/>
                <a:moveTo>
                  <a:pt x="391" y="719"/>
                </a:moveTo>
                <a:cubicBezTo>
                  <a:pt x="391" y="719"/>
                  <a:pt x="391" y="720"/>
                  <a:pt x="391" y="720"/>
                </a:cubicBezTo>
                <a:cubicBezTo>
                  <a:pt x="390" y="720"/>
                  <a:pt x="391" y="719"/>
                  <a:pt x="391" y="719"/>
                </a:cubicBezTo>
                <a:close/>
                <a:moveTo>
                  <a:pt x="391" y="736"/>
                </a:moveTo>
                <a:cubicBezTo>
                  <a:pt x="389" y="735"/>
                  <a:pt x="393" y="737"/>
                  <a:pt x="391" y="736"/>
                </a:cubicBezTo>
                <a:close/>
                <a:moveTo>
                  <a:pt x="390" y="565"/>
                </a:moveTo>
                <a:cubicBezTo>
                  <a:pt x="391" y="567"/>
                  <a:pt x="389" y="563"/>
                  <a:pt x="390" y="565"/>
                </a:cubicBezTo>
                <a:close/>
                <a:moveTo>
                  <a:pt x="390" y="396"/>
                </a:moveTo>
                <a:cubicBezTo>
                  <a:pt x="389" y="395"/>
                  <a:pt x="391" y="397"/>
                  <a:pt x="390" y="396"/>
                </a:cubicBezTo>
                <a:close/>
                <a:moveTo>
                  <a:pt x="398" y="675"/>
                </a:moveTo>
                <a:cubicBezTo>
                  <a:pt x="398" y="675"/>
                  <a:pt x="397" y="676"/>
                  <a:pt x="397" y="677"/>
                </a:cubicBezTo>
                <a:cubicBezTo>
                  <a:pt x="397" y="679"/>
                  <a:pt x="403" y="680"/>
                  <a:pt x="405" y="682"/>
                </a:cubicBezTo>
                <a:cubicBezTo>
                  <a:pt x="408" y="684"/>
                  <a:pt x="411" y="686"/>
                  <a:pt x="413" y="688"/>
                </a:cubicBezTo>
                <a:cubicBezTo>
                  <a:pt x="407" y="687"/>
                  <a:pt x="401" y="679"/>
                  <a:pt x="396" y="677"/>
                </a:cubicBezTo>
                <a:cubicBezTo>
                  <a:pt x="392" y="676"/>
                  <a:pt x="389" y="677"/>
                  <a:pt x="390" y="671"/>
                </a:cubicBezTo>
                <a:cubicBezTo>
                  <a:pt x="392" y="673"/>
                  <a:pt x="397" y="671"/>
                  <a:pt x="398" y="675"/>
                </a:cubicBezTo>
                <a:close/>
                <a:moveTo>
                  <a:pt x="391" y="523"/>
                </a:moveTo>
                <a:cubicBezTo>
                  <a:pt x="392" y="523"/>
                  <a:pt x="392" y="524"/>
                  <a:pt x="393" y="525"/>
                </a:cubicBezTo>
                <a:cubicBezTo>
                  <a:pt x="392" y="525"/>
                  <a:pt x="391" y="523"/>
                  <a:pt x="391" y="523"/>
                </a:cubicBezTo>
                <a:close/>
                <a:moveTo>
                  <a:pt x="402" y="645"/>
                </a:moveTo>
                <a:cubicBezTo>
                  <a:pt x="402" y="646"/>
                  <a:pt x="397" y="644"/>
                  <a:pt x="398" y="644"/>
                </a:cubicBezTo>
                <a:cubicBezTo>
                  <a:pt x="399" y="643"/>
                  <a:pt x="401" y="645"/>
                  <a:pt x="402" y="645"/>
                </a:cubicBezTo>
                <a:close/>
                <a:moveTo>
                  <a:pt x="401" y="387"/>
                </a:moveTo>
                <a:cubicBezTo>
                  <a:pt x="402" y="388"/>
                  <a:pt x="400" y="385"/>
                  <a:pt x="401" y="387"/>
                </a:cubicBezTo>
                <a:close/>
                <a:moveTo>
                  <a:pt x="408" y="130"/>
                </a:moveTo>
                <a:cubicBezTo>
                  <a:pt x="407" y="131"/>
                  <a:pt x="406" y="130"/>
                  <a:pt x="406" y="129"/>
                </a:cubicBezTo>
                <a:cubicBezTo>
                  <a:pt x="407" y="129"/>
                  <a:pt x="407" y="130"/>
                  <a:pt x="408" y="130"/>
                </a:cubicBezTo>
                <a:close/>
                <a:moveTo>
                  <a:pt x="406" y="94"/>
                </a:moveTo>
                <a:cubicBezTo>
                  <a:pt x="407" y="94"/>
                  <a:pt x="407" y="94"/>
                  <a:pt x="408" y="95"/>
                </a:cubicBezTo>
                <a:cubicBezTo>
                  <a:pt x="407" y="95"/>
                  <a:pt x="406" y="95"/>
                  <a:pt x="406" y="94"/>
                </a:cubicBezTo>
                <a:close/>
                <a:moveTo>
                  <a:pt x="412" y="602"/>
                </a:moveTo>
                <a:cubicBezTo>
                  <a:pt x="413" y="605"/>
                  <a:pt x="408" y="603"/>
                  <a:pt x="407" y="602"/>
                </a:cubicBezTo>
                <a:cubicBezTo>
                  <a:pt x="407" y="599"/>
                  <a:pt x="412" y="600"/>
                  <a:pt x="412" y="602"/>
                </a:cubicBezTo>
                <a:close/>
                <a:moveTo>
                  <a:pt x="409" y="131"/>
                </a:moveTo>
                <a:cubicBezTo>
                  <a:pt x="409" y="132"/>
                  <a:pt x="408" y="130"/>
                  <a:pt x="409" y="131"/>
                </a:cubicBezTo>
                <a:close/>
                <a:moveTo>
                  <a:pt x="421" y="663"/>
                </a:moveTo>
                <a:cubicBezTo>
                  <a:pt x="423" y="664"/>
                  <a:pt x="437" y="669"/>
                  <a:pt x="438" y="671"/>
                </a:cubicBezTo>
                <a:cubicBezTo>
                  <a:pt x="438" y="673"/>
                  <a:pt x="434" y="671"/>
                  <a:pt x="433" y="670"/>
                </a:cubicBezTo>
                <a:cubicBezTo>
                  <a:pt x="431" y="669"/>
                  <a:pt x="417" y="663"/>
                  <a:pt x="417" y="661"/>
                </a:cubicBezTo>
                <a:cubicBezTo>
                  <a:pt x="416" y="659"/>
                  <a:pt x="421" y="663"/>
                  <a:pt x="421" y="663"/>
                </a:cubicBezTo>
                <a:close/>
                <a:moveTo>
                  <a:pt x="420" y="624"/>
                </a:moveTo>
                <a:cubicBezTo>
                  <a:pt x="420" y="623"/>
                  <a:pt x="421" y="624"/>
                  <a:pt x="421" y="625"/>
                </a:cubicBezTo>
                <a:cubicBezTo>
                  <a:pt x="421" y="626"/>
                  <a:pt x="419" y="624"/>
                  <a:pt x="420" y="624"/>
                </a:cubicBezTo>
                <a:close/>
                <a:moveTo>
                  <a:pt x="422" y="659"/>
                </a:moveTo>
                <a:cubicBezTo>
                  <a:pt x="422" y="659"/>
                  <a:pt x="423" y="659"/>
                  <a:pt x="423" y="659"/>
                </a:cubicBezTo>
                <a:cubicBezTo>
                  <a:pt x="423" y="661"/>
                  <a:pt x="421" y="659"/>
                  <a:pt x="422" y="659"/>
                </a:cubicBezTo>
                <a:close/>
                <a:moveTo>
                  <a:pt x="435" y="515"/>
                </a:moveTo>
                <a:cubicBezTo>
                  <a:pt x="435" y="516"/>
                  <a:pt x="435" y="517"/>
                  <a:pt x="436" y="518"/>
                </a:cubicBezTo>
                <a:cubicBezTo>
                  <a:pt x="437" y="521"/>
                  <a:pt x="441" y="526"/>
                  <a:pt x="445" y="530"/>
                </a:cubicBezTo>
                <a:cubicBezTo>
                  <a:pt x="448" y="533"/>
                  <a:pt x="451" y="534"/>
                  <a:pt x="453" y="537"/>
                </a:cubicBezTo>
                <a:cubicBezTo>
                  <a:pt x="453" y="537"/>
                  <a:pt x="453" y="538"/>
                  <a:pt x="453" y="539"/>
                </a:cubicBezTo>
                <a:cubicBezTo>
                  <a:pt x="452" y="539"/>
                  <a:pt x="447" y="534"/>
                  <a:pt x="446" y="532"/>
                </a:cubicBezTo>
                <a:cubicBezTo>
                  <a:pt x="444" y="530"/>
                  <a:pt x="442" y="528"/>
                  <a:pt x="440" y="526"/>
                </a:cubicBezTo>
                <a:cubicBezTo>
                  <a:pt x="438" y="524"/>
                  <a:pt x="437" y="519"/>
                  <a:pt x="434" y="518"/>
                </a:cubicBezTo>
                <a:cubicBezTo>
                  <a:pt x="434" y="518"/>
                  <a:pt x="432" y="519"/>
                  <a:pt x="431" y="519"/>
                </a:cubicBezTo>
                <a:cubicBezTo>
                  <a:pt x="427" y="517"/>
                  <a:pt x="431" y="510"/>
                  <a:pt x="435" y="515"/>
                </a:cubicBezTo>
                <a:close/>
                <a:moveTo>
                  <a:pt x="434" y="370"/>
                </a:moveTo>
                <a:cubicBezTo>
                  <a:pt x="435" y="370"/>
                  <a:pt x="436" y="372"/>
                  <a:pt x="436" y="373"/>
                </a:cubicBezTo>
                <a:cubicBezTo>
                  <a:pt x="435" y="373"/>
                  <a:pt x="435" y="371"/>
                  <a:pt x="434" y="370"/>
                </a:cubicBezTo>
                <a:close/>
                <a:moveTo>
                  <a:pt x="437" y="135"/>
                </a:moveTo>
                <a:cubicBezTo>
                  <a:pt x="437" y="135"/>
                  <a:pt x="438" y="135"/>
                  <a:pt x="438" y="136"/>
                </a:cubicBezTo>
                <a:cubicBezTo>
                  <a:pt x="438" y="136"/>
                  <a:pt x="437" y="136"/>
                  <a:pt x="437" y="135"/>
                </a:cubicBezTo>
                <a:close/>
                <a:moveTo>
                  <a:pt x="448" y="408"/>
                </a:moveTo>
                <a:cubicBezTo>
                  <a:pt x="449" y="411"/>
                  <a:pt x="445" y="407"/>
                  <a:pt x="446" y="406"/>
                </a:cubicBezTo>
                <a:cubicBezTo>
                  <a:pt x="447" y="406"/>
                  <a:pt x="448" y="408"/>
                  <a:pt x="448" y="408"/>
                </a:cubicBezTo>
                <a:close/>
                <a:moveTo>
                  <a:pt x="448" y="167"/>
                </a:moveTo>
                <a:cubicBezTo>
                  <a:pt x="449" y="168"/>
                  <a:pt x="446" y="166"/>
                  <a:pt x="448" y="167"/>
                </a:cubicBezTo>
                <a:close/>
                <a:moveTo>
                  <a:pt x="447" y="435"/>
                </a:moveTo>
                <a:cubicBezTo>
                  <a:pt x="448" y="435"/>
                  <a:pt x="449" y="436"/>
                  <a:pt x="449" y="438"/>
                </a:cubicBezTo>
                <a:cubicBezTo>
                  <a:pt x="449" y="439"/>
                  <a:pt x="448" y="440"/>
                  <a:pt x="447" y="440"/>
                </a:cubicBezTo>
                <a:cubicBezTo>
                  <a:pt x="442" y="441"/>
                  <a:pt x="444" y="433"/>
                  <a:pt x="447" y="435"/>
                </a:cubicBezTo>
                <a:close/>
                <a:moveTo>
                  <a:pt x="446" y="515"/>
                </a:moveTo>
                <a:cubicBezTo>
                  <a:pt x="446" y="514"/>
                  <a:pt x="446" y="515"/>
                  <a:pt x="446" y="515"/>
                </a:cubicBezTo>
                <a:close/>
                <a:moveTo>
                  <a:pt x="445" y="441"/>
                </a:moveTo>
                <a:cubicBezTo>
                  <a:pt x="445" y="443"/>
                  <a:pt x="444" y="439"/>
                  <a:pt x="445" y="441"/>
                </a:cubicBezTo>
                <a:close/>
                <a:moveTo>
                  <a:pt x="445" y="494"/>
                </a:moveTo>
                <a:cubicBezTo>
                  <a:pt x="445" y="494"/>
                  <a:pt x="444" y="495"/>
                  <a:pt x="444" y="495"/>
                </a:cubicBezTo>
                <a:cubicBezTo>
                  <a:pt x="443" y="494"/>
                  <a:pt x="444" y="493"/>
                  <a:pt x="445" y="494"/>
                </a:cubicBezTo>
                <a:close/>
                <a:moveTo>
                  <a:pt x="452" y="150"/>
                </a:moveTo>
                <a:cubicBezTo>
                  <a:pt x="452" y="150"/>
                  <a:pt x="452" y="150"/>
                  <a:pt x="452" y="150"/>
                </a:cubicBezTo>
                <a:cubicBezTo>
                  <a:pt x="452" y="150"/>
                  <a:pt x="452" y="150"/>
                  <a:pt x="452" y="150"/>
                </a:cubicBezTo>
                <a:cubicBezTo>
                  <a:pt x="452" y="150"/>
                  <a:pt x="452" y="150"/>
                  <a:pt x="452" y="150"/>
                </a:cubicBezTo>
                <a:close/>
                <a:moveTo>
                  <a:pt x="456" y="548"/>
                </a:moveTo>
                <a:cubicBezTo>
                  <a:pt x="455" y="548"/>
                  <a:pt x="454" y="546"/>
                  <a:pt x="454" y="546"/>
                </a:cubicBezTo>
                <a:cubicBezTo>
                  <a:pt x="455" y="546"/>
                  <a:pt x="455" y="547"/>
                  <a:pt x="456" y="548"/>
                </a:cubicBezTo>
                <a:close/>
                <a:moveTo>
                  <a:pt x="454" y="436"/>
                </a:moveTo>
                <a:cubicBezTo>
                  <a:pt x="454" y="436"/>
                  <a:pt x="454" y="436"/>
                  <a:pt x="454" y="436"/>
                </a:cubicBezTo>
                <a:cubicBezTo>
                  <a:pt x="455" y="437"/>
                  <a:pt x="454" y="436"/>
                  <a:pt x="454" y="436"/>
                </a:cubicBezTo>
                <a:close/>
                <a:moveTo>
                  <a:pt x="459" y="622"/>
                </a:moveTo>
                <a:cubicBezTo>
                  <a:pt x="459" y="623"/>
                  <a:pt x="459" y="624"/>
                  <a:pt x="457" y="623"/>
                </a:cubicBezTo>
                <a:cubicBezTo>
                  <a:pt x="455" y="622"/>
                  <a:pt x="448" y="615"/>
                  <a:pt x="448" y="614"/>
                </a:cubicBezTo>
                <a:cubicBezTo>
                  <a:pt x="450" y="613"/>
                  <a:pt x="451" y="617"/>
                  <a:pt x="452" y="617"/>
                </a:cubicBezTo>
                <a:cubicBezTo>
                  <a:pt x="454" y="619"/>
                  <a:pt x="459" y="619"/>
                  <a:pt x="459" y="622"/>
                </a:cubicBezTo>
                <a:close/>
                <a:moveTo>
                  <a:pt x="458" y="565"/>
                </a:moveTo>
                <a:cubicBezTo>
                  <a:pt x="456" y="564"/>
                  <a:pt x="457" y="563"/>
                  <a:pt x="458" y="565"/>
                </a:cubicBezTo>
                <a:close/>
                <a:moveTo>
                  <a:pt x="459" y="565"/>
                </a:moveTo>
                <a:cubicBezTo>
                  <a:pt x="460" y="565"/>
                  <a:pt x="458" y="567"/>
                  <a:pt x="459" y="565"/>
                </a:cubicBezTo>
                <a:close/>
                <a:moveTo>
                  <a:pt x="459" y="642"/>
                </a:moveTo>
                <a:cubicBezTo>
                  <a:pt x="459" y="642"/>
                  <a:pt x="458" y="641"/>
                  <a:pt x="458" y="641"/>
                </a:cubicBezTo>
                <a:cubicBezTo>
                  <a:pt x="458" y="640"/>
                  <a:pt x="459" y="641"/>
                  <a:pt x="459" y="642"/>
                </a:cubicBezTo>
                <a:close/>
                <a:moveTo>
                  <a:pt x="454" y="648"/>
                </a:moveTo>
                <a:cubicBezTo>
                  <a:pt x="455" y="648"/>
                  <a:pt x="457" y="649"/>
                  <a:pt x="457" y="649"/>
                </a:cubicBezTo>
                <a:cubicBezTo>
                  <a:pt x="458" y="652"/>
                  <a:pt x="453" y="650"/>
                  <a:pt x="454" y="648"/>
                </a:cubicBezTo>
                <a:close/>
                <a:moveTo>
                  <a:pt x="454" y="659"/>
                </a:moveTo>
                <a:cubicBezTo>
                  <a:pt x="454" y="659"/>
                  <a:pt x="455" y="658"/>
                  <a:pt x="456" y="659"/>
                </a:cubicBezTo>
                <a:cubicBezTo>
                  <a:pt x="457" y="659"/>
                  <a:pt x="455" y="660"/>
                  <a:pt x="454" y="659"/>
                </a:cubicBezTo>
                <a:close/>
                <a:moveTo>
                  <a:pt x="452" y="632"/>
                </a:moveTo>
                <a:cubicBezTo>
                  <a:pt x="452" y="632"/>
                  <a:pt x="453" y="632"/>
                  <a:pt x="453" y="633"/>
                </a:cubicBezTo>
                <a:cubicBezTo>
                  <a:pt x="454" y="635"/>
                  <a:pt x="450" y="634"/>
                  <a:pt x="452" y="632"/>
                </a:cubicBezTo>
                <a:close/>
                <a:moveTo>
                  <a:pt x="449" y="622"/>
                </a:moveTo>
                <a:cubicBezTo>
                  <a:pt x="449" y="622"/>
                  <a:pt x="450" y="622"/>
                  <a:pt x="450" y="623"/>
                </a:cubicBezTo>
                <a:cubicBezTo>
                  <a:pt x="451" y="624"/>
                  <a:pt x="449" y="623"/>
                  <a:pt x="449" y="622"/>
                </a:cubicBezTo>
                <a:close/>
                <a:moveTo>
                  <a:pt x="446" y="640"/>
                </a:moveTo>
                <a:cubicBezTo>
                  <a:pt x="446" y="640"/>
                  <a:pt x="444" y="639"/>
                  <a:pt x="444" y="639"/>
                </a:cubicBezTo>
                <a:cubicBezTo>
                  <a:pt x="445" y="639"/>
                  <a:pt x="446" y="640"/>
                  <a:pt x="446" y="640"/>
                </a:cubicBezTo>
                <a:close/>
                <a:moveTo>
                  <a:pt x="445" y="602"/>
                </a:moveTo>
                <a:cubicBezTo>
                  <a:pt x="447" y="601"/>
                  <a:pt x="447" y="603"/>
                  <a:pt x="445" y="602"/>
                </a:cubicBezTo>
                <a:close/>
                <a:moveTo>
                  <a:pt x="444" y="571"/>
                </a:moveTo>
                <a:cubicBezTo>
                  <a:pt x="446" y="569"/>
                  <a:pt x="449" y="573"/>
                  <a:pt x="449" y="574"/>
                </a:cubicBezTo>
                <a:cubicBezTo>
                  <a:pt x="449" y="579"/>
                  <a:pt x="441" y="574"/>
                  <a:pt x="444" y="571"/>
                </a:cubicBezTo>
                <a:close/>
                <a:moveTo>
                  <a:pt x="429" y="648"/>
                </a:moveTo>
                <a:cubicBezTo>
                  <a:pt x="432" y="648"/>
                  <a:pt x="434" y="647"/>
                  <a:pt x="436" y="649"/>
                </a:cubicBezTo>
                <a:cubicBezTo>
                  <a:pt x="437" y="650"/>
                  <a:pt x="437" y="652"/>
                  <a:pt x="437" y="652"/>
                </a:cubicBezTo>
                <a:cubicBezTo>
                  <a:pt x="438" y="654"/>
                  <a:pt x="441" y="652"/>
                  <a:pt x="442" y="654"/>
                </a:cubicBezTo>
                <a:cubicBezTo>
                  <a:pt x="443" y="657"/>
                  <a:pt x="439" y="658"/>
                  <a:pt x="439" y="658"/>
                </a:cubicBezTo>
                <a:cubicBezTo>
                  <a:pt x="436" y="659"/>
                  <a:pt x="435" y="653"/>
                  <a:pt x="431" y="654"/>
                </a:cubicBezTo>
                <a:cubicBezTo>
                  <a:pt x="430" y="654"/>
                  <a:pt x="429" y="655"/>
                  <a:pt x="428" y="654"/>
                </a:cubicBezTo>
                <a:cubicBezTo>
                  <a:pt x="432" y="653"/>
                  <a:pt x="424" y="648"/>
                  <a:pt x="429" y="648"/>
                </a:cubicBezTo>
                <a:close/>
                <a:moveTo>
                  <a:pt x="428" y="646"/>
                </a:moveTo>
                <a:cubicBezTo>
                  <a:pt x="428" y="646"/>
                  <a:pt x="428" y="646"/>
                  <a:pt x="428" y="646"/>
                </a:cubicBezTo>
                <a:cubicBezTo>
                  <a:pt x="430" y="647"/>
                  <a:pt x="426" y="646"/>
                  <a:pt x="428" y="646"/>
                </a:cubicBezTo>
                <a:close/>
                <a:moveTo>
                  <a:pt x="426" y="638"/>
                </a:moveTo>
                <a:cubicBezTo>
                  <a:pt x="427" y="637"/>
                  <a:pt x="427" y="638"/>
                  <a:pt x="427" y="638"/>
                </a:cubicBezTo>
                <a:cubicBezTo>
                  <a:pt x="428" y="639"/>
                  <a:pt x="426" y="639"/>
                  <a:pt x="426" y="638"/>
                </a:cubicBezTo>
                <a:close/>
                <a:moveTo>
                  <a:pt x="429" y="628"/>
                </a:moveTo>
                <a:cubicBezTo>
                  <a:pt x="429" y="627"/>
                  <a:pt x="431" y="628"/>
                  <a:pt x="432" y="627"/>
                </a:cubicBezTo>
                <a:cubicBezTo>
                  <a:pt x="433" y="625"/>
                  <a:pt x="437" y="628"/>
                  <a:pt x="437" y="630"/>
                </a:cubicBezTo>
                <a:cubicBezTo>
                  <a:pt x="437" y="634"/>
                  <a:pt x="435" y="632"/>
                  <a:pt x="433" y="633"/>
                </a:cubicBezTo>
                <a:cubicBezTo>
                  <a:pt x="434" y="633"/>
                  <a:pt x="432" y="634"/>
                  <a:pt x="432" y="634"/>
                </a:cubicBezTo>
                <a:cubicBezTo>
                  <a:pt x="430" y="633"/>
                  <a:pt x="428" y="630"/>
                  <a:pt x="429" y="628"/>
                </a:cubicBezTo>
                <a:close/>
                <a:moveTo>
                  <a:pt x="429" y="579"/>
                </a:moveTo>
                <a:cubicBezTo>
                  <a:pt x="430" y="579"/>
                  <a:pt x="429" y="581"/>
                  <a:pt x="429" y="580"/>
                </a:cubicBezTo>
                <a:cubicBezTo>
                  <a:pt x="429" y="580"/>
                  <a:pt x="429" y="579"/>
                  <a:pt x="429" y="579"/>
                </a:cubicBezTo>
                <a:close/>
                <a:moveTo>
                  <a:pt x="430" y="612"/>
                </a:moveTo>
                <a:cubicBezTo>
                  <a:pt x="431" y="612"/>
                  <a:pt x="431" y="613"/>
                  <a:pt x="432" y="613"/>
                </a:cubicBezTo>
                <a:cubicBezTo>
                  <a:pt x="431" y="614"/>
                  <a:pt x="430" y="613"/>
                  <a:pt x="430" y="612"/>
                </a:cubicBezTo>
                <a:close/>
                <a:moveTo>
                  <a:pt x="433" y="549"/>
                </a:moveTo>
                <a:cubicBezTo>
                  <a:pt x="434" y="549"/>
                  <a:pt x="434" y="549"/>
                  <a:pt x="434" y="550"/>
                </a:cubicBezTo>
                <a:cubicBezTo>
                  <a:pt x="435" y="551"/>
                  <a:pt x="432" y="549"/>
                  <a:pt x="433" y="549"/>
                </a:cubicBezTo>
                <a:close/>
                <a:moveTo>
                  <a:pt x="443" y="617"/>
                </a:moveTo>
                <a:cubicBezTo>
                  <a:pt x="442" y="618"/>
                  <a:pt x="443" y="618"/>
                  <a:pt x="443" y="618"/>
                </a:cubicBezTo>
                <a:cubicBezTo>
                  <a:pt x="444" y="619"/>
                  <a:pt x="442" y="618"/>
                  <a:pt x="443" y="617"/>
                </a:cubicBezTo>
                <a:close/>
                <a:moveTo>
                  <a:pt x="443" y="632"/>
                </a:moveTo>
                <a:cubicBezTo>
                  <a:pt x="443" y="632"/>
                  <a:pt x="443" y="632"/>
                  <a:pt x="443" y="632"/>
                </a:cubicBezTo>
                <a:cubicBezTo>
                  <a:pt x="442" y="632"/>
                  <a:pt x="443" y="632"/>
                  <a:pt x="443" y="632"/>
                </a:cubicBezTo>
                <a:close/>
                <a:moveTo>
                  <a:pt x="442" y="613"/>
                </a:moveTo>
                <a:cubicBezTo>
                  <a:pt x="442" y="612"/>
                  <a:pt x="443" y="613"/>
                  <a:pt x="443" y="613"/>
                </a:cubicBezTo>
                <a:cubicBezTo>
                  <a:pt x="443" y="615"/>
                  <a:pt x="441" y="613"/>
                  <a:pt x="442" y="613"/>
                </a:cubicBezTo>
                <a:close/>
                <a:moveTo>
                  <a:pt x="443" y="582"/>
                </a:moveTo>
                <a:cubicBezTo>
                  <a:pt x="443" y="583"/>
                  <a:pt x="443" y="583"/>
                  <a:pt x="443" y="583"/>
                </a:cubicBezTo>
                <a:cubicBezTo>
                  <a:pt x="443" y="585"/>
                  <a:pt x="442" y="581"/>
                  <a:pt x="443" y="582"/>
                </a:cubicBezTo>
                <a:close/>
                <a:moveTo>
                  <a:pt x="441" y="554"/>
                </a:moveTo>
                <a:cubicBezTo>
                  <a:pt x="442" y="553"/>
                  <a:pt x="447" y="555"/>
                  <a:pt x="446" y="558"/>
                </a:cubicBezTo>
                <a:cubicBezTo>
                  <a:pt x="445" y="558"/>
                  <a:pt x="440" y="556"/>
                  <a:pt x="441" y="554"/>
                </a:cubicBezTo>
                <a:close/>
                <a:moveTo>
                  <a:pt x="441" y="609"/>
                </a:moveTo>
                <a:cubicBezTo>
                  <a:pt x="442" y="610"/>
                  <a:pt x="440" y="608"/>
                  <a:pt x="441" y="609"/>
                </a:cubicBezTo>
                <a:close/>
                <a:moveTo>
                  <a:pt x="440" y="534"/>
                </a:moveTo>
                <a:cubicBezTo>
                  <a:pt x="441" y="534"/>
                  <a:pt x="441" y="535"/>
                  <a:pt x="441" y="535"/>
                </a:cubicBezTo>
                <a:cubicBezTo>
                  <a:pt x="441" y="536"/>
                  <a:pt x="440" y="535"/>
                  <a:pt x="440" y="534"/>
                </a:cubicBezTo>
                <a:close/>
                <a:moveTo>
                  <a:pt x="442" y="648"/>
                </a:moveTo>
                <a:cubicBezTo>
                  <a:pt x="442" y="651"/>
                  <a:pt x="437" y="649"/>
                  <a:pt x="438" y="646"/>
                </a:cubicBezTo>
                <a:cubicBezTo>
                  <a:pt x="438" y="645"/>
                  <a:pt x="442" y="646"/>
                  <a:pt x="442" y="648"/>
                </a:cubicBezTo>
                <a:close/>
                <a:moveTo>
                  <a:pt x="435" y="615"/>
                </a:moveTo>
                <a:cubicBezTo>
                  <a:pt x="437" y="617"/>
                  <a:pt x="438" y="618"/>
                  <a:pt x="440" y="619"/>
                </a:cubicBezTo>
                <a:cubicBezTo>
                  <a:pt x="439" y="620"/>
                  <a:pt x="436" y="617"/>
                  <a:pt x="435" y="615"/>
                </a:cubicBezTo>
                <a:close/>
                <a:moveTo>
                  <a:pt x="437" y="603"/>
                </a:moveTo>
                <a:cubicBezTo>
                  <a:pt x="436" y="604"/>
                  <a:pt x="436" y="602"/>
                  <a:pt x="437" y="603"/>
                </a:cubicBezTo>
                <a:close/>
                <a:moveTo>
                  <a:pt x="436" y="529"/>
                </a:moveTo>
                <a:cubicBezTo>
                  <a:pt x="438" y="528"/>
                  <a:pt x="438" y="531"/>
                  <a:pt x="439" y="532"/>
                </a:cubicBezTo>
                <a:cubicBezTo>
                  <a:pt x="438" y="531"/>
                  <a:pt x="437" y="529"/>
                  <a:pt x="436" y="529"/>
                </a:cubicBezTo>
                <a:close/>
                <a:moveTo>
                  <a:pt x="435" y="525"/>
                </a:moveTo>
                <a:cubicBezTo>
                  <a:pt x="435" y="526"/>
                  <a:pt x="435" y="527"/>
                  <a:pt x="436" y="527"/>
                </a:cubicBezTo>
                <a:cubicBezTo>
                  <a:pt x="435" y="528"/>
                  <a:pt x="434" y="526"/>
                  <a:pt x="435" y="525"/>
                </a:cubicBezTo>
                <a:close/>
                <a:moveTo>
                  <a:pt x="432" y="638"/>
                </a:moveTo>
                <a:cubicBezTo>
                  <a:pt x="432" y="637"/>
                  <a:pt x="436" y="638"/>
                  <a:pt x="436" y="639"/>
                </a:cubicBezTo>
                <a:cubicBezTo>
                  <a:pt x="437" y="642"/>
                  <a:pt x="432" y="639"/>
                  <a:pt x="432" y="638"/>
                </a:cubicBezTo>
                <a:close/>
                <a:moveTo>
                  <a:pt x="435" y="641"/>
                </a:moveTo>
                <a:cubicBezTo>
                  <a:pt x="435" y="641"/>
                  <a:pt x="436" y="641"/>
                  <a:pt x="436" y="642"/>
                </a:cubicBezTo>
                <a:cubicBezTo>
                  <a:pt x="437" y="643"/>
                  <a:pt x="434" y="643"/>
                  <a:pt x="435" y="641"/>
                </a:cubicBezTo>
                <a:close/>
                <a:moveTo>
                  <a:pt x="444" y="668"/>
                </a:moveTo>
                <a:cubicBezTo>
                  <a:pt x="444" y="669"/>
                  <a:pt x="443" y="670"/>
                  <a:pt x="442" y="668"/>
                </a:cubicBezTo>
                <a:cubicBezTo>
                  <a:pt x="442" y="668"/>
                  <a:pt x="444" y="666"/>
                  <a:pt x="444" y="668"/>
                </a:cubicBezTo>
                <a:close/>
                <a:moveTo>
                  <a:pt x="449" y="565"/>
                </a:moveTo>
                <a:cubicBezTo>
                  <a:pt x="450" y="564"/>
                  <a:pt x="451" y="565"/>
                  <a:pt x="451" y="566"/>
                </a:cubicBezTo>
                <a:cubicBezTo>
                  <a:pt x="453" y="568"/>
                  <a:pt x="448" y="567"/>
                  <a:pt x="449" y="565"/>
                </a:cubicBezTo>
                <a:close/>
                <a:moveTo>
                  <a:pt x="455" y="614"/>
                </a:moveTo>
                <a:cubicBezTo>
                  <a:pt x="456" y="615"/>
                  <a:pt x="454" y="614"/>
                  <a:pt x="454" y="614"/>
                </a:cubicBezTo>
                <a:cubicBezTo>
                  <a:pt x="454" y="613"/>
                  <a:pt x="455" y="613"/>
                  <a:pt x="455" y="614"/>
                </a:cubicBezTo>
                <a:close/>
                <a:moveTo>
                  <a:pt x="452" y="555"/>
                </a:moveTo>
                <a:cubicBezTo>
                  <a:pt x="453" y="554"/>
                  <a:pt x="454" y="555"/>
                  <a:pt x="454" y="556"/>
                </a:cubicBezTo>
                <a:cubicBezTo>
                  <a:pt x="456" y="559"/>
                  <a:pt x="450" y="556"/>
                  <a:pt x="452" y="555"/>
                </a:cubicBezTo>
                <a:close/>
                <a:moveTo>
                  <a:pt x="451" y="548"/>
                </a:moveTo>
                <a:cubicBezTo>
                  <a:pt x="453" y="547"/>
                  <a:pt x="455" y="549"/>
                  <a:pt x="455" y="550"/>
                </a:cubicBezTo>
                <a:cubicBezTo>
                  <a:pt x="455" y="553"/>
                  <a:pt x="450" y="550"/>
                  <a:pt x="451" y="548"/>
                </a:cubicBezTo>
                <a:close/>
                <a:moveTo>
                  <a:pt x="454" y="498"/>
                </a:moveTo>
                <a:cubicBezTo>
                  <a:pt x="454" y="498"/>
                  <a:pt x="454" y="499"/>
                  <a:pt x="454" y="499"/>
                </a:cubicBezTo>
                <a:cubicBezTo>
                  <a:pt x="453" y="499"/>
                  <a:pt x="452" y="496"/>
                  <a:pt x="454" y="498"/>
                </a:cubicBezTo>
                <a:close/>
                <a:moveTo>
                  <a:pt x="454" y="414"/>
                </a:moveTo>
                <a:cubicBezTo>
                  <a:pt x="454" y="416"/>
                  <a:pt x="453" y="412"/>
                  <a:pt x="454" y="414"/>
                </a:cubicBezTo>
                <a:close/>
                <a:moveTo>
                  <a:pt x="452" y="462"/>
                </a:moveTo>
                <a:cubicBezTo>
                  <a:pt x="454" y="463"/>
                  <a:pt x="452" y="464"/>
                  <a:pt x="452" y="462"/>
                </a:cubicBezTo>
                <a:close/>
                <a:moveTo>
                  <a:pt x="453" y="501"/>
                </a:moveTo>
                <a:cubicBezTo>
                  <a:pt x="452" y="500"/>
                  <a:pt x="453" y="502"/>
                  <a:pt x="453" y="501"/>
                </a:cubicBezTo>
                <a:close/>
                <a:moveTo>
                  <a:pt x="429" y="475"/>
                </a:moveTo>
                <a:cubicBezTo>
                  <a:pt x="429" y="474"/>
                  <a:pt x="430" y="475"/>
                  <a:pt x="430" y="476"/>
                </a:cubicBezTo>
                <a:cubicBezTo>
                  <a:pt x="431" y="478"/>
                  <a:pt x="427" y="476"/>
                  <a:pt x="429" y="475"/>
                </a:cubicBezTo>
                <a:close/>
                <a:moveTo>
                  <a:pt x="429" y="611"/>
                </a:moveTo>
                <a:cubicBezTo>
                  <a:pt x="429" y="612"/>
                  <a:pt x="426" y="610"/>
                  <a:pt x="427" y="610"/>
                </a:cubicBezTo>
                <a:cubicBezTo>
                  <a:pt x="427" y="609"/>
                  <a:pt x="428" y="610"/>
                  <a:pt x="429" y="611"/>
                </a:cubicBezTo>
                <a:close/>
                <a:moveTo>
                  <a:pt x="427" y="634"/>
                </a:moveTo>
                <a:cubicBezTo>
                  <a:pt x="428" y="633"/>
                  <a:pt x="429" y="634"/>
                  <a:pt x="429" y="634"/>
                </a:cubicBezTo>
                <a:cubicBezTo>
                  <a:pt x="431" y="637"/>
                  <a:pt x="425" y="636"/>
                  <a:pt x="427" y="634"/>
                </a:cubicBezTo>
                <a:close/>
                <a:moveTo>
                  <a:pt x="425" y="607"/>
                </a:moveTo>
                <a:cubicBezTo>
                  <a:pt x="426" y="606"/>
                  <a:pt x="426" y="607"/>
                  <a:pt x="426" y="607"/>
                </a:cubicBezTo>
                <a:cubicBezTo>
                  <a:pt x="427" y="609"/>
                  <a:pt x="424" y="607"/>
                  <a:pt x="425" y="607"/>
                </a:cubicBezTo>
                <a:close/>
                <a:moveTo>
                  <a:pt x="426" y="620"/>
                </a:moveTo>
                <a:cubicBezTo>
                  <a:pt x="426" y="622"/>
                  <a:pt x="423" y="620"/>
                  <a:pt x="423" y="619"/>
                </a:cubicBezTo>
                <a:cubicBezTo>
                  <a:pt x="423" y="618"/>
                  <a:pt x="426" y="619"/>
                  <a:pt x="426" y="620"/>
                </a:cubicBezTo>
                <a:close/>
                <a:moveTo>
                  <a:pt x="420" y="690"/>
                </a:moveTo>
                <a:cubicBezTo>
                  <a:pt x="420" y="689"/>
                  <a:pt x="411" y="686"/>
                  <a:pt x="416" y="684"/>
                </a:cubicBezTo>
                <a:cubicBezTo>
                  <a:pt x="417" y="683"/>
                  <a:pt x="420" y="684"/>
                  <a:pt x="420" y="685"/>
                </a:cubicBezTo>
                <a:cubicBezTo>
                  <a:pt x="421" y="687"/>
                  <a:pt x="418" y="688"/>
                  <a:pt x="423" y="689"/>
                </a:cubicBezTo>
                <a:cubicBezTo>
                  <a:pt x="421" y="689"/>
                  <a:pt x="420" y="689"/>
                  <a:pt x="420" y="690"/>
                </a:cubicBezTo>
                <a:close/>
                <a:moveTo>
                  <a:pt x="418" y="700"/>
                </a:moveTo>
                <a:cubicBezTo>
                  <a:pt x="417" y="701"/>
                  <a:pt x="418" y="702"/>
                  <a:pt x="417" y="702"/>
                </a:cubicBezTo>
                <a:cubicBezTo>
                  <a:pt x="416" y="703"/>
                  <a:pt x="406" y="701"/>
                  <a:pt x="406" y="698"/>
                </a:cubicBezTo>
                <a:cubicBezTo>
                  <a:pt x="406" y="697"/>
                  <a:pt x="408" y="696"/>
                  <a:pt x="406" y="695"/>
                </a:cubicBezTo>
                <a:cubicBezTo>
                  <a:pt x="405" y="694"/>
                  <a:pt x="416" y="695"/>
                  <a:pt x="419" y="696"/>
                </a:cubicBezTo>
                <a:cubicBezTo>
                  <a:pt x="417" y="696"/>
                  <a:pt x="420" y="699"/>
                  <a:pt x="420" y="699"/>
                </a:cubicBezTo>
                <a:cubicBezTo>
                  <a:pt x="420" y="700"/>
                  <a:pt x="419" y="699"/>
                  <a:pt x="418" y="700"/>
                </a:cubicBezTo>
                <a:close/>
                <a:moveTo>
                  <a:pt x="420" y="714"/>
                </a:moveTo>
                <a:cubicBezTo>
                  <a:pt x="422" y="716"/>
                  <a:pt x="416" y="715"/>
                  <a:pt x="418" y="714"/>
                </a:cubicBezTo>
                <a:cubicBezTo>
                  <a:pt x="418" y="714"/>
                  <a:pt x="419" y="714"/>
                  <a:pt x="420" y="714"/>
                </a:cubicBezTo>
                <a:close/>
                <a:moveTo>
                  <a:pt x="410" y="719"/>
                </a:moveTo>
                <a:cubicBezTo>
                  <a:pt x="410" y="718"/>
                  <a:pt x="411" y="718"/>
                  <a:pt x="411" y="719"/>
                </a:cubicBezTo>
                <a:cubicBezTo>
                  <a:pt x="412" y="720"/>
                  <a:pt x="410" y="719"/>
                  <a:pt x="410" y="719"/>
                </a:cubicBezTo>
                <a:close/>
                <a:moveTo>
                  <a:pt x="403" y="686"/>
                </a:moveTo>
                <a:cubicBezTo>
                  <a:pt x="403" y="685"/>
                  <a:pt x="408" y="686"/>
                  <a:pt x="408" y="687"/>
                </a:cubicBezTo>
                <a:cubicBezTo>
                  <a:pt x="409" y="690"/>
                  <a:pt x="403" y="687"/>
                  <a:pt x="403" y="686"/>
                </a:cubicBezTo>
                <a:close/>
                <a:moveTo>
                  <a:pt x="406" y="697"/>
                </a:moveTo>
                <a:cubicBezTo>
                  <a:pt x="404" y="698"/>
                  <a:pt x="402" y="697"/>
                  <a:pt x="403" y="695"/>
                </a:cubicBezTo>
                <a:cubicBezTo>
                  <a:pt x="404" y="696"/>
                  <a:pt x="405" y="697"/>
                  <a:pt x="406" y="697"/>
                </a:cubicBezTo>
                <a:close/>
                <a:moveTo>
                  <a:pt x="414" y="652"/>
                </a:moveTo>
                <a:cubicBezTo>
                  <a:pt x="415" y="651"/>
                  <a:pt x="417" y="653"/>
                  <a:pt x="417" y="653"/>
                </a:cubicBezTo>
                <a:cubicBezTo>
                  <a:pt x="418" y="656"/>
                  <a:pt x="412" y="653"/>
                  <a:pt x="414" y="652"/>
                </a:cubicBezTo>
                <a:close/>
                <a:moveTo>
                  <a:pt x="418" y="679"/>
                </a:moveTo>
                <a:cubicBezTo>
                  <a:pt x="418" y="679"/>
                  <a:pt x="415" y="680"/>
                  <a:pt x="415" y="678"/>
                </a:cubicBezTo>
                <a:cubicBezTo>
                  <a:pt x="414" y="677"/>
                  <a:pt x="418" y="676"/>
                  <a:pt x="418" y="679"/>
                </a:cubicBezTo>
                <a:close/>
                <a:moveTo>
                  <a:pt x="414" y="669"/>
                </a:moveTo>
                <a:cubicBezTo>
                  <a:pt x="413" y="667"/>
                  <a:pt x="415" y="670"/>
                  <a:pt x="414" y="669"/>
                </a:cubicBezTo>
                <a:close/>
                <a:moveTo>
                  <a:pt x="411" y="641"/>
                </a:moveTo>
                <a:cubicBezTo>
                  <a:pt x="412" y="639"/>
                  <a:pt x="414" y="640"/>
                  <a:pt x="414" y="641"/>
                </a:cubicBezTo>
                <a:cubicBezTo>
                  <a:pt x="415" y="643"/>
                  <a:pt x="411" y="642"/>
                  <a:pt x="411" y="641"/>
                </a:cubicBezTo>
                <a:close/>
                <a:moveTo>
                  <a:pt x="420" y="682"/>
                </a:moveTo>
                <a:cubicBezTo>
                  <a:pt x="419" y="681"/>
                  <a:pt x="420" y="682"/>
                  <a:pt x="421" y="682"/>
                </a:cubicBezTo>
                <a:cubicBezTo>
                  <a:pt x="421" y="683"/>
                  <a:pt x="420" y="683"/>
                  <a:pt x="420" y="682"/>
                </a:cubicBezTo>
                <a:close/>
                <a:moveTo>
                  <a:pt x="422" y="683"/>
                </a:moveTo>
                <a:cubicBezTo>
                  <a:pt x="423" y="683"/>
                  <a:pt x="424" y="684"/>
                  <a:pt x="425" y="684"/>
                </a:cubicBezTo>
                <a:cubicBezTo>
                  <a:pt x="424" y="685"/>
                  <a:pt x="422" y="684"/>
                  <a:pt x="422" y="683"/>
                </a:cubicBezTo>
                <a:close/>
                <a:moveTo>
                  <a:pt x="425" y="673"/>
                </a:moveTo>
                <a:cubicBezTo>
                  <a:pt x="426" y="672"/>
                  <a:pt x="427" y="673"/>
                  <a:pt x="428" y="673"/>
                </a:cubicBezTo>
                <a:cubicBezTo>
                  <a:pt x="429" y="676"/>
                  <a:pt x="424" y="674"/>
                  <a:pt x="425" y="673"/>
                </a:cubicBezTo>
                <a:close/>
                <a:moveTo>
                  <a:pt x="426" y="681"/>
                </a:moveTo>
                <a:cubicBezTo>
                  <a:pt x="427" y="680"/>
                  <a:pt x="427" y="683"/>
                  <a:pt x="426" y="681"/>
                </a:cubicBezTo>
                <a:close/>
                <a:moveTo>
                  <a:pt x="427" y="693"/>
                </a:moveTo>
                <a:cubicBezTo>
                  <a:pt x="427" y="693"/>
                  <a:pt x="427" y="694"/>
                  <a:pt x="427" y="694"/>
                </a:cubicBezTo>
                <a:cubicBezTo>
                  <a:pt x="424" y="696"/>
                  <a:pt x="425" y="691"/>
                  <a:pt x="427" y="693"/>
                </a:cubicBezTo>
                <a:close/>
                <a:moveTo>
                  <a:pt x="426" y="685"/>
                </a:moveTo>
                <a:cubicBezTo>
                  <a:pt x="427" y="686"/>
                  <a:pt x="429" y="686"/>
                  <a:pt x="430" y="687"/>
                </a:cubicBezTo>
                <a:cubicBezTo>
                  <a:pt x="428" y="686"/>
                  <a:pt x="426" y="686"/>
                  <a:pt x="426" y="685"/>
                </a:cubicBezTo>
                <a:close/>
                <a:moveTo>
                  <a:pt x="416" y="649"/>
                </a:moveTo>
                <a:cubicBezTo>
                  <a:pt x="420" y="650"/>
                  <a:pt x="417" y="652"/>
                  <a:pt x="416" y="649"/>
                </a:cubicBezTo>
                <a:close/>
                <a:moveTo>
                  <a:pt x="418" y="563"/>
                </a:moveTo>
                <a:cubicBezTo>
                  <a:pt x="417" y="563"/>
                  <a:pt x="417" y="562"/>
                  <a:pt x="416" y="562"/>
                </a:cubicBezTo>
                <a:cubicBezTo>
                  <a:pt x="417" y="561"/>
                  <a:pt x="418" y="562"/>
                  <a:pt x="418" y="563"/>
                </a:cubicBezTo>
                <a:close/>
                <a:moveTo>
                  <a:pt x="414" y="556"/>
                </a:moveTo>
                <a:cubicBezTo>
                  <a:pt x="415" y="555"/>
                  <a:pt x="417" y="556"/>
                  <a:pt x="417" y="557"/>
                </a:cubicBezTo>
                <a:cubicBezTo>
                  <a:pt x="417" y="558"/>
                  <a:pt x="414" y="557"/>
                  <a:pt x="414" y="556"/>
                </a:cubicBezTo>
                <a:close/>
                <a:moveTo>
                  <a:pt x="415" y="631"/>
                </a:moveTo>
                <a:cubicBezTo>
                  <a:pt x="416" y="633"/>
                  <a:pt x="415" y="635"/>
                  <a:pt x="414" y="635"/>
                </a:cubicBezTo>
                <a:cubicBezTo>
                  <a:pt x="414" y="635"/>
                  <a:pt x="410" y="636"/>
                  <a:pt x="409" y="635"/>
                </a:cubicBezTo>
                <a:cubicBezTo>
                  <a:pt x="408" y="634"/>
                  <a:pt x="411" y="632"/>
                  <a:pt x="410" y="631"/>
                </a:cubicBezTo>
                <a:cubicBezTo>
                  <a:pt x="409" y="631"/>
                  <a:pt x="407" y="632"/>
                  <a:pt x="407" y="631"/>
                </a:cubicBezTo>
                <a:cubicBezTo>
                  <a:pt x="405" y="627"/>
                  <a:pt x="414" y="627"/>
                  <a:pt x="415" y="631"/>
                </a:cubicBezTo>
                <a:close/>
                <a:moveTo>
                  <a:pt x="410" y="640"/>
                </a:moveTo>
                <a:cubicBezTo>
                  <a:pt x="410" y="642"/>
                  <a:pt x="408" y="641"/>
                  <a:pt x="408" y="639"/>
                </a:cubicBezTo>
                <a:cubicBezTo>
                  <a:pt x="408" y="638"/>
                  <a:pt x="411" y="637"/>
                  <a:pt x="410" y="640"/>
                </a:cubicBezTo>
                <a:close/>
                <a:moveTo>
                  <a:pt x="408" y="660"/>
                </a:moveTo>
                <a:cubicBezTo>
                  <a:pt x="407" y="661"/>
                  <a:pt x="407" y="658"/>
                  <a:pt x="408" y="659"/>
                </a:cubicBezTo>
                <a:cubicBezTo>
                  <a:pt x="408" y="660"/>
                  <a:pt x="408" y="660"/>
                  <a:pt x="408" y="660"/>
                </a:cubicBezTo>
                <a:close/>
                <a:moveTo>
                  <a:pt x="407" y="611"/>
                </a:moveTo>
                <a:cubicBezTo>
                  <a:pt x="408" y="611"/>
                  <a:pt x="408" y="611"/>
                  <a:pt x="408" y="611"/>
                </a:cubicBezTo>
                <a:cubicBezTo>
                  <a:pt x="409" y="613"/>
                  <a:pt x="406" y="612"/>
                  <a:pt x="407" y="611"/>
                </a:cubicBezTo>
                <a:close/>
                <a:moveTo>
                  <a:pt x="408" y="568"/>
                </a:moveTo>
                <a:cubicBezTo>
                  <a:pt x="407" y="567"/>
                  <a:pt x="409" y="569"/>
                  <a:pt x="408" y="568"/>
                </a:cubicBezTo>
                <a:close/>
                <a:moveTo>
                  <a:pt x="408" y="164"/>
                </a:moveTo>
                <a:cubicBezTo>
                  <a:pt x="406" y="164"/>
                  <a:pt x="406" y="162"/>
                  <a:pt x="405" y="162"/>
                </a:cubicBezTo>
                <a:cubicBezTo>
                  <a:pt x="406" y="161"/>
                  <a:pt x="407" y="163"/>
                  <a:pt x="408" y="164"/>
                </a:cubicBezTo>
                <a:close/>
                <a:moveTo>
                  <a:pt x="405" y="462"/>
                </a:moveTo>
                <a:cubicBezTo>
                  <a:pt x="407" y="463"/>
                  <a:pt x="405" y="464"/>
                  <a:pt x="405" y="462"/>
                </a:cubicBezTo>
                <a:close/>
                <a:moveTo>
                  <a:pt x="404" y="93"/>
                </a:moveTo>
                <a:cubicBezTo>
                  <a:pt x="405" y="93"/>
                  <a:pt x="405" y="93"/>
                  <a:pt x="406" y="94"/>
                </a:cubicBezTo>
                <a:cubicBezTo>
                  <a:pt x="405" y="94"/>
                  <a:pt x="404" y="94"/>
                  <a:pt x="404" y="93"/>
                </a:cubicBezTo>
                <a:close/>
                <a:moveTo>
                  <a:pt x="404" y="393"/>
                </a:moveTo>
                <a:cubicBezTo>
                  <a:pt x="403" y="393"/>
                  <a:pt x="404" y="392"/>
                  <a:pt x="403" y="391"/>
                </a:cubicBezTo>
                <a:cubicBezTo>
                  <a:pt x="403" y="391"/>
                  <a:pt x="404" y="392"/>
                  <a:pt x="404" y="393"/>
                </a:cubicBezTo>
                <a:close/>
                <a:moveTo>
                  <a:pt x="408" y="622"/>
                </a:moveTo>
                <a:cubicBezTo>
                  <a:pt x="408" y="626"/>
                  <a:pt x="401" y="622"/>
                  <a:pt x="402" y="620"/>
                </a:cubicBezTo>
                <a:cubicBezTo>
                  <a:pt x="403" y="617"/>
                  <a:pt x="408" y="620"/>
                  <a:pt x="408" y="622"/>
                </a:cubicBezTo>
                <a:close/>
                <a:moveTo>
                  <a:pt x="406" y="655"/>
                </a:moveTo>
                <a:cubicBezTo>
                  <a:pt x="407" y="657"/>
                  <a:pt x="403" y="656"/>
                  <a:pt x="403" y="655"/>
                </a:cubicBezTo>
                <a:cubicBezTo>
                  <a:pt x="403" y="654"/>
                  <a:pt x="405" y="655"/>
                  <a:pt x="406" y="655"/>
                </a:cubicBezTo>
                <a:close/>
                <a:moveTo>
                  <a:pt x="403" y="640"/>
                </a:moveTo>
                <a:cubicBezTo>
                  <a:pt x="402" y="641"/>
                  <a:pt x="402" y="639"/>
                  <a:pt x="403" y="639"/>
                </a:cubicBezTo>
                <a:cubicBezTo>
                  <a:pt x="403" y="640"/>
                  <a:pt x="403" y="640"/>
                  <a:pt x="403" y="640"/>
                </a:cubicBezTo>
                <a:close/>
                <a:moveTo>
                  <a:pt x="402" y="649"/>
                </a:moveTo>
                <a:cubicBezTo>
                  <a:pt x="402" y="651"/>
                  <a:pt x="398" y="649"/>
                  <a:pt x="399" y="648"/>
                </a:cubicBezTo>
                <a:cubicBezTo>
                  <a:pt x="400" y="647"/>
                  <a:pt x="402" y="649"/>
                  <a:pt x="402" y="649"/>
                </a:cubicBezTo>
                <a:close/>
                <a:moveTo>
                  <a:pt x="402" y="492"/>
                </a:moveTo>
                <a:cubicBezTo>
                  <a:pt x="403" y="493"/>
                  <a:pt x="401" y="490"/>
                  <a:pt x="402" y="492"/>
                </a:cubicBezTo>
                <a:close/>
                <a:moveTo>
                  <a:pt x="397" y="651"/>
                </a:moveTo>
                <a:cubicBezTo>
                  <a:pt x="397" y="650"/>
                  <a:pt x="398" y="651"/>
                  <a:pt x="398" y="651"/>
                </a:cubicBezTo>
                <a:cubicBezTo>
                  <a:pt x="399" y="652"/>
                  <a:pt x="397" y="651"/>
                  <a:pt x="397" y="651"/>
                </a:cubicBezTo>
                <a:close/>
                <a:moveTo>
                  <a:pt x="396" y="629"/>
                </a:moveTo>
                <a:cubicBezTo>
                  <a:pt x="397" y="628"/>
                  <a:pt x="398" y="630"/>
                  <a:pt x="398" y="630"/>
                </a:cubicBezTo>
                <a:cubicBezTo>
                  <a:pt x="398" y="631"/>
                  <a:pt x="397" y="629"/>
                  <a:pt x="396" y="629"/>
                </a:cubicBezTo>
                <a:close/>
                <a:moveTo>
                  <a:pt x="402" y="683"/>
                </a:moveTo>
                <a:cubicBezTo>
                  <a:pt x="401" y="683"/>
                  <a:pt x="401" y="683"/>
                  <a:pt x="400" y="682"/>
                </a:cubicBezTo>
                <a:cubicBezTo>
                  <a:pt x="400" y="682"/>
                  <a:pt x="402" y="683"/>
                  <a:pt x="402" y="683"/>
                </a:cubicBezTo>
                <a:close/>
                <a:moveTo>
                  <a:pt x="399" y="681"/>
                </a:moveTo>
                <a:cubicBezTo>
                  <a:pt x="400" y="682"/>
                  <a:pt x="397" y="681"/>
                  <a:pt x="399" y="681"/>
                </a:cubicBezTo>
                <a:close/>
                <a:moveTo>
                  <a:pt x="394" y="689"/>
                </a:moveTo>
                <a:cubicBezTo>
                  <a:pt x="394" y="688"/>
                  <a:pt x="396" y="689"/>
                  <a:pt x="396" y="689"/>
                </a:cubicBezTo>
                <a:cubicBezTo>
                  <a:pt x="397" y="690"/>
                  <a:pt x="395" y="689"/>
                  <a:pt x="394" y="689"/>
                </a:cubicBezTo>
                <a:close/>
                <a:moveTo>
                  <a:pt x="393" y="724"/>
                </a:moveTo>
                <a:cubicBezTo>
                  <a:pt x="394" y="724"/>
                  <a:pt x="390" y="723"/>
                  <a:pt x="393" y="724"/>
                </a:cubicBezTo>
                <a:close/>
                <a:moveTo>
                  <a:pt x="391" y="742"/>
                </a:moveTo>
                <a:cubicBezTo>
                  <a:pt x="391" y="740"/>
                  <a:pt x="392" y="742"/>
                  <a:pt x="393" y="742"/>
                </a:cubicBezTo>
                <a:cubicBezTo>
                  <a:pt x="394" y="743"/>
                  <a:pt x="391" y="742"/>
                  <a:pt x="391" y="742"/>
                </a:cubicBezTo>
                <a:close/>
                <a:moveTo>
                  <a:pt x="399" y="697"/>
                </a:moveTo>
                <a:cubicBezTo>
                  <a:pt x="399" y="701"/>
                  <a:pt x="393" y="699"/>
                  <a:pt x="393" y="697"/>
                </a:cubicBezTo>
                <a:cubicBezTo>
                  <a:pt x="393" y="695"/>
                  <a:pt x="399" y="695"/>
                  <a:pt x="399" y="697"/>
                </a:cubicBezTo>
                <a:close/>
                <a:moveTo>
                  <a:pt x="394" y="717"/>
                </a:moveTo>
                <a:cubicBezTo>
                  <a:pt x="394" y="717"/>
                  <a:pt x="394" y="716"/>
                  <a:pt x="394" y="717"/>
                </a:cubicBezTo>
                <a:cubicBezTo>
                  <a:pt x="394" y="717"/>
                  <a:pt x="394" y="717"/>
                  <a:pt x="394" y="717"/>
                </a:cubicBezTo>
                <a:close/>
                <a:moveTo>
                  <a:pt x="394" y="727"/>
                </a:moveTo>
                <a:cubicBezTo>
                  <a:pt x="393" y="727"/>
                  <a:pt x="394" y="726"/>
                  <a:pt x="394" y="726"/>
                </a:cubicBezTo>
                <a:cubicBezTo>
                  <a:pt x="395" y="726"/>
                  <a:pt x="394" y="728"/>
                  <a:pt x="394" y="727"/>
                </a:cubicBezTo>
                <a:close/>
                <a:moveTo>
                  <a:pt x="395" y="745"/>
                </a:moveTo>
                <a:cubicBezTo>
                  <a:pt x="396" y="746"/>
                  <a:pt x="393" y="745"/>
                  <a:pt x="395" y="745"/>
                </a:cubicBezTo>
                <a:close/>
                <a:moveTo>
                  <a:pt x="396" y="726"/>
                </a:moveTo>
                <a:cubicBezTo>
                  <a:pt x="396" y="726"/>
                  <a:pt x="397" y="726"/>
                  <a:pt x="397" y="726"/>
                </a:cubicBezTo>
                <a:cubicBezTo>
                  <a:pt x="397" y="729"/>
                  <a:pt x="395" y="723"/>
                  <a:pt x="396" y="726"/>
                </a:cubicBezTo>
                <a:close/>
                <a:moveTo>
                  <a:pt x="404" y="726"/>
                </a:moveTo>
                <a:cubicBezTo>
                  <a:pt x="404" y="725"/>
                  <a:pt x="405" y="725"/>
                  <a:pt x="405" y="726"/>
                </a:cubicBezTo>
                <a:cubicBezTo>
                  <a:pt x="406" y="727"/>
                  <a:pt x="404" y="726"/>
                  <a:pt x="404" y="726"/>
                </a:cubicBezTo>
                <a:close/>
                <a:moveTo>
                  <a:pt x="399" y="722"/>
                </a:moveTo>
                <a:cubicBezTo>
                  <a:pt x="404" y="727"/>
                  <a:pt x="392" y="723"/>
                  <a:pt x="394" y="719"/>
                </a:cubicBezTo>
                <a:cubicBezTo>
                  <a:pt x="394" y="719"/>
                  <a:pt x="395" y="719"/>
                  <a:pt x="396" y="719"/>
                </a:cubicBezTo>
                <a:cubicBezTo>
                  <a:pt x="396" y="719"/>
                  <a:pt x="396" y="716"/>
                  <a:pt x="396" y="715"/>
                </a:cubicBezTo>
                <a:cubicBezTo>
                  <a:pt x="396" y="715"/>
                  <a:pt x="399" y="714"/>
                  <a:pt x="400" y="714"/>
                </a:cubicBezTo>
                <a:cubicBezTo>
                  <a:pt x="404" y="713"/>
                  <a:pt x="405" y="717"/>
                  <a:pt x="408" y="718"/>
                </a:cubicBezTo>
                <a:cubicBezTo>
                  <a:pt x="406" y="720"/>
                  <a:pt x="403" y="723"/>
                  <a:pt x="399" y="722"/>
                </a:cubicBezTo>
                <a:close/>
                <a:moveTo>
                  <a:pt x="409" y="735"/>
                </a:moveTo>
                <a:cubicBezTo>
                  <a:pt x="408" y="733"/>
                  <a:pt x="410" y="736"/>
                  <a:pt x="409" y="735"/>
                </a:cubicBezTo>
                <a:close/>
                <a:moveTo>
                  <a:pt x="415" y="738"/>
                </a:moveTo>
                <a:cubicBezTo>
                  <a:pt x="415" y="739"/>
                  <a:pt x="413" y="737"/>
                  <a:pt x="415" y="738"/>
                </a:cubicBezTo>
                <a:close/>
                <a:moveTo>
                  <a:pt x="408" y="727"/>
                </a:moveTo>
                <a:cubicBezTo>
                  <a:pt x="408" y="724"/>
                  <a:pt x="415" y="723"/>
                  <a:pt x="415" y="727"/>
                </a:cubicBezTo>
                <a:cubicBezTo>
                  <a:pt x="416" y="731"/>
                  <a:pt x="408" y="729"/>
                  <a:pt x="408" y="727"/>
                </a:cubicBezTo>
                <a:close/>
                <a:moveTo>
                  <a:pt x="417" y="733"/>
                </a:moveTo>
                <a:cubicBezTo>
                  <a:pt x="415" y="733"/>
                  <a:pt x="417" y="731"/>
                  <a:pt x="417" y="733"/>
                </a:cubicBezTo>
                <a:close/>
                <a:moveTo>
                  <a:pt x="419" y="726"/>
                </a:moveTo>
                <a:cubicBezTo>
                  <a:pt x="419" y="727"/>
                  <a:pt x="419" y="727"/>
                  <a:pt x="418" y="727"/>
                </a:cubicBezTo>
                <a:cubicBezTo>
                  <a:pt x="418" y="727"/>
                  <a:pt x="418" y="726"/>
                  <a:pt x="418" y="726"/>
                </a:cubicBezTo>
                <a:cubicBezTo>
                  <a:pt x="415" y="724"/>
                  <a:pt x="411" y="721"/>
                  <a:pt x="411" y="721"/>
                </a:cubicBezTo>
                <a:cubicBezTo>
                  <a:pt x="412" y="720"/>
                  <a:pt x="418" y="725"/>
                  <a:pt x="421" y="726"/>
                </a:cubicBezTo>
                <a:cubicBezTo>
                  <a:pt x="421" y="726"/>
                  <a:pt x="420" y="726"/>
                  <a:pt x="419" y="726"/>
                </a:cubicBezTo>
                <a:close/>
                <a:moveTo>
                  <a:pt x="420" y="705"/>
                </a:moveTo>
                <a:cubicBezTo>
                  <a:pt x="420" y="704"/>
                  <a:pt x="423" y="707"/>
                  <a:pt x="423" y="707"/>
                </a:cubicBezTo>
                <a:cubicBezTo>
                  <a:pt x="423" y="710"/>
                  <a:pt x="417" y="706"/>
                  <a:pt x="420" y="705"/>
                </a:cubicBezTo>
                <a:close/>
                <a:moveTo>
                  <a:pt x="422" y="709"/>
                </a:moveTo>
                <a:cubicBezTo>
                  <a:pt x="420" y="708"/>
                  <a:pt x="423" y="710"/>
                  <a:pt x="422" y="709"/>
                </a:cubicBezTo>
                <a:close/>
                <a:moveTo>
                  <a:pt x="422" y="712"/>
                </a:moveTo>
                <a:cubicBezTo>
                  <a:pt x="422" y="711"/>
                  <a:pt x="423" y="711"/>
                  <a:pt x="423" y="711"/>
                </a:cubicBezTo>
                <a:cubicBezTo>
                  <a:pt x="423" y="710"/>
                  <a:pt x="423" y="708"/>
                  <a:pt x="425" y="711"/>
                </a:cubicBezTo>
                <a:cubicBezTo>
                  <a:pt x="425" y="711"/>
                  <a:pt x="425" y="711"/>
                  <a:pt x="425" y="711"/>
                </a:cubicBezTo>
                <a:cubicBezTo>
                  <a:pt x="424" y="712"/>
                  <a:pt x="424" y="712"/>
                  <a:pt x="424" y="712"/>
                </a:cubicBezTo>
                <a:cubicBezTo>
                  <a:pt x="424" y="712"/>
                  <a:pt x="424" y="712"/>
                  <a:pt x="424" y="712"/>
                </a:cubicBezTo>
                <a:cubicBezTo>
                  <a:pt x="425" y="715"/>
                  <a:pt x="420" y="713"/>
                  <a:pt x="422" y="712"/>
                </a:cubicBezTo>
                <a:close/>
                <a:moveTo>
                  <a:pt x="425" y="708"/>
                </a:moveTo>
                <a:cubicBezTo>
                  <a:pt x="425" y="707"/>
                  <a:pt x="426" y="707"/>
                  <a:pt x="426" y="708"/>
                </a:cubicBezTo>
                <a:cubicBezTo>
                  <a:pt x="427" y="709"/>
                  <a:pt x="424" y="709"/>
                  <a:pt x="425" y="708"/>
                </a:cubicBezTo>
                <a:close/>
                <a:moveTo>
                  <a:pt x="426" y="712"/>
                </a:moveTo>
                <a:cubicBezTo>
                  <a:pt x="428" y="712"/>
                  <a:pt x="428" y="714"/>
                  <a:pt x="426" y="712"/>
                </a:cubicBezTo>
                <a:close/>
                <a:moveTo>
                  <a:pt x="422" y="722"/>
                </a:moveTo>
                <a:cubicBezTo>
                  <a:pt x="422" y="721"/>
                  <a:pt x="424" y="722"/>
                  <a:pt x="424" y="722"/>
                </a:cubicBezTo>
                <a:cubicBezTo>
                  <a:pt x="425" y="724"/>
                  <a:pt x="421" y="723"/>
                  <a:pt x="422" y="722"/>
                </a:cubicBezTo>
                <a:close/>
                <a:moveTo>
                  <a:pt x="429" y="731"/>
                </a:moveTo>
                <a:cubicBezTo>
                  <a:pt x="425" y="733"/>
                  <a:pt x="428" y="726"/>
                  <a:pt x="428" y="730"/>
                </a:cubicBezTo>
                <a:cubicBezTo>
                  <a:pt x="428" y="730"/>
                  <a:pt x="429" y="731"/>
                  <a:pt x="429" y="731"/>
                </a:cubicBezTo>
                <a:close/>
                <a:moveTo>
                  <a:pt x="428" y="722"/>
                </a:moveTo>
                <a:cubicBezTo>
                  <a:pt x="428" y="721"/>
                  <a:pt x="430" y="723"/>
                  <a:pt x="429" y="723"/>
                </a:cubicBezTo>
                <a:cubicBezTo>
                  <a:pt x="429" y="724"/>
                  <a:pt x="427" y="723"/>
                  <a:pt x="428" y="722"/>
                </a:cubicBezTo>
                <a:cubicBezTo>
                  <a:pt x="427" y="723"/>
                  <a:pt x="424" y="722"/>
                  <a:pt x="424" y="720"/>
                </a:cubicBezTo>
                <a:cubicBezTo>
                  <a:pt x="424" y="720"/>
                  <a:pt x="426" y="718"/>
                  <a:pt x="425" y="718"/>
                </a:cubicBezTo>
                <a:cubicBezTo>
                  <a:pt x="426" y="718"/>
                  <a:pt x="429" y="721"/>
                  <a:pt x="428" y="722"/>
                </a:cubicBezTo>
                <a:close/>
                <a:moveTo>
                  <a:pt x="427" y="702"/>
                </a:moveTo>
                <a:cubicBezTo>
                  <a:pt x="427" y="702"/>
                  <a:pt x="428" y="702"/>
                  <a:pt x="428" y="702"/>
                </a:cubicBezTo>
                <a:cubicBezTo>
                  <a:pt x="428" y="704"/>
                  <a:pt x="426" y="702"/>
                  <a:pt x="427" y="702"/>
                </a:cubicBezTo>
                <a:close/>
                <a:moveTo>
                  <a:pt x="424" y="697"/>
                </a:moveTo>
                <a:cubicBezTo>
                  <a:pt x="425" y="697"/>
                  <a:pt x="429" y="698"/>
                  <a:pt x="430" y="699"/>
                </a:cubicBezTo>
                <a:cubicBezTo>
                  <a:pt x="430" y="700"/>
                  <a:pt x="425" y="699"/>
                  <a:pt x="424" y="697"/>
                </a:cubicBezTo>
                <a:close/>
                <a:moveTo>
                  <a:pt x="430" y="690"/>
                </a:moveTo>
                <a:cubicBezTo>
                  <a:pt x="430" y="690"/>
                  <a:pt x="431" y="690"/>
                  <a:pt x="431" y="690"/>
                </a:cubicBezTo>
                <a:cubicBezTo>
                  <a:pt x="432" y="691"/>
                  <a:pt x="429" y="691"/>
                  <a:pt x="430" y="690"/>
                </a:cubicBezTo>
                <a:close/>
                <a:moveTo>
                  <a:pt x="435" y="698"/>
                </a:moveTo>
                <a:cubicBezTo>
                  <a:pt x="435" y="698"/>
                  <a:pt x="436" y="698"/>
                  <a:pt x="436" y="698"/>
                </a:cubicBezTo>
                <a:cubicBezTo>
                  <a:pt x="436" y="699"/>
                  <a:pt x="435" y="699"/>
                  <a:pt x="435" y="698"/>
                </a:cubicBezTo>
                <a:close/>
                <a:moveTo>
                  <a:pt x="437" y="693"/>
                </a:moveTo>
                <a:cubicBezTo>
                  <a:pt x="435" y="692"/>
                  <a:pt x="438" y="694"/>
                  <a:pt x="437" y="693"/>
                </a:cubicBezTo>
                <a:close/>
                <a:moveTo>
                  <a:pt x="438" y="696"/>
                </a:moveTo>
                <a:cubicBezTo>
                  <a:pt x="439" y="697"/>
                  <a:pt x="437" y="694"/>
                  <a:pt x="438" y="696"/>
                </a:cubicBezTo>
                <a:close/>
                <a:moveTo>
                  <a:pt x="432" y="689"/>
                </a:moveTo>
                <a:cubicBezTo>
                  <a:pt x="429" y="687"/>
                  <a:pt x="433" y="688"/>
                  <a:pt x="434" y="689"/>
                </a:cubicBezTo>
                <a:cubicBezTo>
                  <a:pt x="437" y="690"/>
                  <a:pt x="443" y="691"/>
                  <a:pt x="443" y="693"/>
                </a:cubicBezTo>
                <a:cubicBezTo>
                  <a:pt x="440" y="691"/>
                  <a:pt x="436" y="691"/>
                  <a:pt x="432" y="689"/>
                </a:cubicBezTo>
                <a:close/>
                <a:moveTo>
                  <a:pt x="439" y="682"/>
                </a:moveTo>
                <a:cubicBezTo>
                  <a:pt x="439" y="682"/>
                  <a:pt x="439" y="682"/>
                  <a:pt x="439" y="682"/>
                </a:cubicBezTo>
                <a:cubicBezTo>
                  <a:pt x="438" y="684"/>
                  <a:pt x="437" y="680"/>
                  <a:pt x="439" y="682"/>
                </a:cubicBezTo>
                <a:close/>
                <a:moveTo>
                  <a:pt x="446" y="681"/>
                </a:moveTo>
                <a:cubicBezTo>
                  <a:pt x="446" y="681"/>
                  <a:pt x="447" y="681"/>
                  <a:pt x="447" y="681"/>
                </a:cubicBezTo>
                <a:cubicBezTo>
                  <a:pt x="447" y="682"/>
                  <a:pt x="445" y="682"/>
                  <a:pt x="446" y="681"/>
                </a:cubicBezTo>
                <a:close/>
                <a:moveTo>
                  <a:pt x="442" y="678"/>
                </a:moveTo>
                <a:cubicBezTo>
                  <a:pt x="440" y="677"/>
                  <a:pt x="440" y="675"/>
                  <a:pt x="440" y="674"/>
                </a:cubicBezTo>
                <a:cubicBezTo>
                  <a:pt x="439" y="674"/>
                  <a:pt x="436" y="675"/>
                  <a:pt x="437" y="673"/>
                </a:cubicBezTo>
                <a:cubicBezTo>
                  <a:pt x="438" y="672"/>
                  <a:pt x="438" y="674"/>
                  <a:pt x="439" y="673"/>
                </a:cubicBezTo>
                <a:cubicBezTo>
                  <a:pt x="441" y="673"/>
                  <a:pt x="441" y="672"/>
                  <a:pt x="442" y="672"/>
                </a:cubicBezTo>
                <a:cubicBezTo>
                  <a:pt x="444" y="671"/>
                  <a:pt x="447" y="673"/>
                  <a:pt x="447" y="675"/>
                </a:cubicBezTo>
                <a:cubicBezTo>
                  <a:pt x="447" y="678"/>
                  <a:pt x="445" y="679"/>
                  <a:pt x="442" y="678"/>
                </a:cubicBezTo>
                <a:close/>
                <a:moveTo>
                  <a:pt x="445" y="642"/>
                </a:moveTo>
                <a:cubicBezTo>
                  <a:pt x="446" y="641"/>
                  <a:pt x="447" y="641"/>
                  <a:pt x="447" y="642"/>
                </a:cubicBezTo>
                <a:cubicBezTo>
                  <a:pt x="448" y="643"/>
                  <a:pt x="445" y="642"/>
                  <a:pt x="445" y="642"/>
                </a:cubicBezTo>
                <a:close/>
                <a:moveTo>
                  <a:pt x="447" y="580"/>
                </a:moveTo>
                <a:cubicBezTo>
                  <a:pt x="448" y="579"/>
                  <a:pt x="449" y="581"/>
                  <a:pt x="449" y="581"/>
                </a:cubicBezTo>
                <a:cubicBezTo>
                  <a:pt x="450" y="583"/>
                  <a:pt x="446" y="581"/>
                  <a:pt x="447" y="580"/>
                </a:cubicBezTo>
                <a:close/>
                <a:moveTo>
                  <a:pt x="448" y="651"/>
                </a:moveTo>
                <a:cubicBezTo>
                  <a:pt x="448" y="651"/>
                  <a:pt x="447" y="651"/>
                  <a:pt x="447" y="651"/>
                </a:cubicBezTo>
                <a:cubicBezTo>
                  <a:pt x="448" y="651"/>
                  <a:pt x="448" y="651"/>
                  <a:pt x="448" y="651"/>
                </a:cubicBezTo>
                <a:cubicBezTo>
                  <a:pt x="448" y="651"/>
                  <a:pt x="448" y="651"/>
                  <a:pt x="448" y="651"/>
                </a:cubicBezTo>
                <a:close/>
                <a:moveTo>
                  <a:pt x="448" y="640"/>
                </a:moveTo>
                <a:cubicBezTo>
                  <a:pt x="448" y="640"/>
                  <a:pt x="449" y="640"/>
                  <a:pt x="450" y="641"/>
                </a:cubicBezTo>
                <a:cubicBezTo>
                  <a:pt x="450" y="642"/>
                  <a:pt x="448" y="641"/>
                  <a:pt x="448" y="640"/>
                </a:cubicBezTo>
                <a:close/>
                <a:moveTo>
                  <a:pt x="450" y="636"/>
                </a:moveTo>
                <a:cubicBezTo>
                  <a:pt x="451" y="636"/>
                  <a:pt x="451" y="636"/>
                  <a:pt x="451" y="636"/>
                </a:cubicBezTo>
                <a:cubicBezTo>
                  <a:pt x="452" y="638"/>
                  <a:pt x="449" y="636"/>
                  <a:pt x="450" y="636"/>
                </a:cubicBezTo>
                <a:close/>
                <a:moveTo>
                  <a:pt x="451" y="642"/>
                </a:moveTo>
                <a:cubicBezTo>
                  <a:pt x="452" y="641"/>
                  <a:pt x="453" y="642"/>
                  <a:pt x="454" y="643"/>
                </a:cubicBezTo>
                <a:cubicBezTo>
                  <a:pt x="456" y="646"/>
                  <a:pt x="448" y="644"/>
                  <a:pt x="451" y="642"/>
                </a:cubicBezTo>
                <a:close/>
                <a:moveTo>
                  <a:pt x="451" y="666"/>
                </a:moveTo>
                <a:cubicBezTo>
                  <a:pt x="452" y="665"/>
                  <a:pt x="452" y="666"/>
                  <a:pt x="453" y="666"/>
                </a:cubicBezTo>
                <a:cubicBezTo>
                  <a:pt x="454" y="668"/>
                  <a:pt x="450" y="666"/>
                  <a:pt x="451" y="666"/>
                </a:cubicBezTo>
                <a:close/>
                <a:moveTo>
                  <a:pt x="453" y="682"/>
                </a:moveTo>
                <a:cubicBezTo>
                  <a:pt x="453" y="682"/>
                  <a:pt x="453" y="682"/>
                  <a:pt x="453" y="681"/>
                </a:cubicBezTo>
                <a:cubicBezTo>
                  <a:pt x="454" y="681"/>
                  <a:pt x="454" y="683"/>
                  <a:pt x="453" y="682"/>
                </a:cubicBezTo>
                <a:close/>
                <a:moveTo>
                  <a:pt x="456" y="685"/>
                </a:moveTo>
                <a:cubicBezTo>
                  <a:pt x="456" y="684"/>
                  <a:pt x="457" y="685"/>
                  <a:pt x="458" y="685"/>
                </a:cubicBezTo>
                <a:cubicBezTo>
                  <a:pt x="459" y="686"/>
                  <a:pt x="456" y="686"/>
                  <a:pt x="456" y="685"/>
                </a:cubicBezTo>
                <a:close/>
                <a:moveTo>
                  <a:pt x="458" y="702"/>
                </a:moveTo>
                <a:cubicBezTo>
                  <a:pt x="458" y="701"/>
                  <a:pt x="459" y="701"/>
                  <a:pt x="459" y="702"/>
                </a:cubicBezTo>
                <a:cubicBezTo>
                  <a:pt x="460" y="704"/>
                  <a:pt x="456" y="703"/>
                  <a:pt x="458" y="702"/>
                </a:cubicBezTo>
                <a:close/>
                <a:moveTo>
                  <a:pt x="460" y="691"/>
                </a:moveTo>
                <a:cubicBezTo>
                  <a:pt x="460" y="689"/>
                  <a:pt x="464" y="690"/>
                  <a:pt x="464" y="690"/>
                </a:cubicBezTo>
                <a:cubicBezTo>
                  <a:pt x="466" y="692"/>
                  <a:pt x="460" y="691"/>
                  <a:pt x="460" y="691"/>
                </a:cubicBezTo>
                <a:close/>
                <a:moveTo>
                  <a:pt x="466" y="690"/>
                </a:moveTo>
                <a:cubicBezTo>
                  <a:pt x="465" y="692"/>
                  <a:pt x="465" y="689"/>
                  <a:pt x="466" y="690"/>
                </a:cubicBezTo>
                <a:close/>
                <a:moveTo>
                  <a:pt x="459" y="679"/>
                </a:moveTo>
                <a:cubicBezTo>
                  <a:pt x="459" y="678"/>
                  <a:pt x="459" y="677"/>
                  <a:pt x="459" y="677"/>
                </a:cubicBezTo>
                <a:cubicBezTo>
                  <a:pt x="457" y="676"/>
                  <a:pt x="456" y="677"/>
                  <a:pt x="454" y="677"/>
                </a:cubicBezTo>
                <a:cubicBezTo>
                  <a:pt x="460" y="675"/>
                  <a:pt x="449" y="672"/>
                  <a:pt x="453" y="669"/>
                </a:cubicBezTo>
                <a:cubicBezTo>
                  <a:pt x="454" y="668"/>
                  <a:pt x="457" y="670"/>
                  <a:pt x="457" y="667"/>
                </a:cubicBezTo>
                <a:cubicBezTo>
                  <a:pt x="457" y="671"/>
                  <a:pt x="461" y="666"/>
                  <a:pt x="465" y="667"/>
                </a:cubicBezTo>
                <a:cubicBezTo>
                  <a:pt x="467" y="668"/>
                  <a:pt x="469" y="671"/>
                  <a:pt x="469" y="673"/>
                </a:cubicBezTo>
                <a:cubicBezTo>
                  <a:pt x="469" y="673"/>
                  <a:pt x="462" y="681"/>
                  <a:pt x="459" y="679"/>
                </a:cubicBezTo>
                <a:close/>
                <a:moveTo>
                  <a:pt x="460" y="633"/>
                </a:moveTo>
                <a:cubicBezTo>
                  <a:pt x="461" y="633"/>
                  <a:pt x="458" y="632"/>
                  <a:pt x="460" y="633"/>
                </a:cubicBezTo>
                <a:close/>
                <a:moveTo>
                  <a:pt x="460" y="643"/>
                </a:moveTo>
                <a:cubicBezTo>
                  <a:pt x="459" y="644"/>
                  <a:pt x="459" y="641"/>
                  <a:pt x="460" y="643"/>
                </a:cubicBezTo>
                <a:close/>
                <a:moveTo>
                  <a:pt x="471" y="641"/>
                </a:moveTo>
                <a:cubicBezTo>
                  <a:pt x="467" y="642"/>
                  <a:pt x="468" y="638"/>
                  <a:pt x="471" y="641"/>
                </a:cubicBezTo>
                <a:close/>
                <a:moveTo>
                  <a:pt x="469" y="656"/>
                </a:moveTo>
                <a:cubicBezTo>
                  <a:pt x="470" y="656"/>
                  <a:pt x="467" y="655"/>
                  <a:pt x="469" y="656"/>
                </a:cubicBezTo>
                <a:close/>
                <a:moveTo>
                  <a:pt x="467" y="622"/>
                </a:moveTo>
                <a:cubicBezTo>
                  <a:pt x="467" y="621"/>
                  <a:pt x="468" y="622"/>
                  <a:pt x="468" y="622"/>
                </a:cubicBezTo>
                <a:cubicBezTo>
                  <a:pt x="469" y="624"/>
                  <a:pt x="466" y="622"/>
                  <a:pt x="467" y="622"/>
                </a:cubicBezTo>
                <a:close/>
                <a:moveTo>
                  <a:pt x="466" y="598"/>
                </a:moveTo>
                <a:cubicBezTo>
                  <a:pt x="467" y="598"/>
                  <a:pt x="467" y="599"/>
                  <a:pt x="467" y="599"/>
                </a:cubicBezTo>
                <a:cubicBezTo>
                  <a:pt x="468" y="601"/>
                  <a:pt x="465" y="599"/>
                  <a:pt x="466" y="598"/>
                </a:cubicBezTo>
                <a:close/>
                <a:moveTo>
                  <a:pt x="470" y="684"/>
                </a:moveTo>
                <a:cubicBezTo>
                  <a:pt x="472" y="686"/>
                  <a:pt x="466" y="685"/>
                  <a:pt x="467" y="683"/>
                </a:cubicBezTo>
                <a:cubicBezTo>
                  <a:pt x="468" y="682"/>
                  <a:pt x="470" y="683"/>
                  <a:pt x="470" y="684"/>
                </a:cubicBezTo>
                <a:close/>
                <a:moveTo>
                  <a:pt x="469" y="666"/>
                </a:moveTo>
                <a:cubicBezTo>
                  <a:pt x="469" y="665"/>
                  <a:pt x="470" y="665"/>
                  <a:pt x="470" y="666"/>
                </a:cubicBezTo>
                <a:cubicBezTo>
                  <a:pt x="471" y="667"/>
                  <a:pt x="469" y="666"/>
                  <a:pt x="469" y="666"/>
                </a:cubicBezTo>
                <a:close/>
                <a:moveTo>
                  <a:pt x="470" y="689"/>
                </a:moveTo>
                <a:cubicBezTo>
                  <a:pt x="475" y="693"/>
                  <a:pt x="467" y="695"/>
                  <a:pt x="467" y="690"/>
                </a:cubicBezTo>
                <a:cubicBezTo>
                  <a:pt x="467" y="690"/>
                  <a:pt x="468" y="687"/>
                  <a:pt x="468" y="687"/>
                </a:cubicBezTo>
                <a:cubicBezTo>
                  <a:pt x="472" y="685"/>
                  <a:pt x="474" y="691"/>
                  <a:pt x="470" y="689"/>
                </a:cubicBezTo>
                <a:close/>
                <a:moveTo>
                  <a:pt x="472" y="667"/>
                </a:moveTo>
                <a:cubicBezTo>
                  <a:pt x="472" y="667"/>
                  <a:pt x="473" y="668"/>
                  <a:pt x="473" y="668"/>
                </a:cubicBezTo>
                <a:cubicBezTo>
                  <a:pt x="475" y="670"/>
                  <a:pt x="470" y="668"/>
                  <a:pt x="472" y="667"/>
                </a:cubicBezTo>
                <a:close/>
                <a:moveTo>
                  <a:pt x="474" y="664"/>
                </a:moveTo>
                <a:cubicBezTo>
                  <a:pt x="474" y="664"/>
                  <a:pt x="475" y="664"/>
                  <a:pt x="475" y="665"/>
                </a:cubicBezTo>
                <a:cubicBezTo>
                  <a:pt x="476" y="667"/>
                  <a:pt x="472" y="665"/>
                  <a:pt x="474" y="664"/>
                </a:cubicBezTo>
                <a:close/>
                <a:moveTo>
                  <a:pt x="476" y="687"/>
                </a:moveTo>
                <a:cubicBezTo>
                  <a:pt x="475" y="687"/>
                  <a:pt x="475" y="684"/>
                  <a:pt x="476" y="685"/>
                </a:cubicBezTo>
                <a:cubicBezTo>
                  <a:pt x="476" y="685"/>
                  <a:pt x="476" y="686"/>
                  <a:pt x="476" y="687"/>
                </a:cubicBezTo>
                <a:close/>
                <a:moveTo>
                  <a:pt x="476" y="673"/>
                </a:moveTo>
                <a:cubicBezTo>
                  <a:pt x="476" y="673"/>
                  <a:pt x="477" y="672"/>
                  <a:pt x="477" y="673"/>
                </a:cubicBezTo>
                <a:cubicBezTo>
                  <a:pt x="478" y="674"/>
                  <a:pt x="476" y="674"/>
                  <a:pt x="476" y="673"/>
                </a:cubicBezTo>
                <a:close/>
                <a:moveTo>
                  <a:pt x="481" y="671"/>
                </a:moveTo>
                <a:cubicBezTo>
                  <a:pt x="477" y="671"/>
                  <a:pt x="479" y="668"/>
                  <a:pt x="481" y="671"/>
                </a:cubicBezTo>
                <a:close/>
                <a:moveTo>
                  <a:pt x="482" y="658"/>
                </a:moveTo>
                <a:cubicBezTo>
                  <a:pt x="477" y="657"/>
                  <a:pt x="479" y="654"/>
                  <a:pt x="482" y="658"/>
                </a:cubicBezTo>
                <a:close/>
                <a:moveTo>
                  <a:pt x="480" y="668"/>
                </a:moveTo>
                <a:cubicBezTo>
                  <a:pt x="481" y="667"/>
                  <a:pt x="481" y="669"/>
                  <a:pt x="480" y="668"/>
                </a:cubicBezTo>
                <a:close/>
                <a:moveTo>
                  <a:pt x="487" y="691"/>
                </a:moveTo>
                <a:cubicBezTo>
                  <a:pt x="488" y="690"/>
                  <a:pt x="489" y="692"/>
                  <a:pt x="489" y="692"/>
                </a:cubicBezTo>
                <a:cubicBezTo>
                  <a:pt x="490" y="695"/>
                  <a:pt x="486" y="693"/>
                  <a:pt x="487" y="691"/>
                </a:cubicBezTo>
                <a:close/>
                <a:moveTo>
                  <a:pt x="493" y="686"/>
                </a:moveTo>
                <a:cubicBezTo>
                  <a:pt x="493" y="686"/>
                  <a:pt x="493" y="686"/>
                  <a:pt x="493" y="686"/>
                </a:cubicBezTo>
                <a:cubicBezTo>
                  <a:pt x="493" y="686"/>
                  <a:pt x="493" y="686"/>
                  <a:pt x="493" y="686"/>
                </a:cubicBezTo>
                <a:cubicBezTo>
                  <a:pt x="493" y="686"/>
                  <a:pt x="493" y="686"/>
                  <a:pt x="493" y="686"/>
                </a:cubicBezTo>
                <a:close/>
                <a:moveTo>
                  <a:pt x="495" y="682"/>
                </a:moveTo>
                <a:cubicBezTo>
                  <a:pt x="497" y="683"/>
                  <a:pt x="494" y="681"/>
                  <a:pt x="495" y="682"/>
                </a:cubicBezTo>
                <a:close/>
                <a:moveTo>
                  <a:pt x="497" y="681"/>
                </a:moveTo>
                <a:cubicBezTo>
                  <a:pt x="497" y="681"/>
                  <a:pt x="497" y="681"/>
                  <a:pt x="497" y="681"/>
                </a:cubicBezTo>
                <a:cubicBezTo>
                  <a:pt x="496" y="680"/>
                  <a:pt x="497" y="681"/>
                  <a:pt x="497" y="681"/>
                </a:cubicBezTo>
                <a:close/>
                <a:moveTo>
                  <a:pt x="496" y="673"/>
                </a:moveTo>
                <a:cubicBezTo>
                  <a:pt x="497" y="674"/>
                  <a:pt x="494" y="674"/>
                  <a:pt x="495" y="673"/>
                </a:cubicBezTo>
                <a:cubicBezTo>
                  <a:pt x="495" y="673"/>
                  <a:pt x="496" y="672"/>
                  <a:pt x="496" y="673"/>
                </a:cubicBezTo>
                <a:close/>
                <a:moveTo>
                  <a:pt x="494" y="670"/>
                </a:moveTo>
                <a:cubicBezTo>
                  <a:pt x="494" y="670"/>
                  <a:pt x="495" y="669"/>
                  <a:pt x="495" y="670"/>
                </a:cubicBezTo>
                <a:cubicBezTo>
                  <a:pt x="496" y="671"/>
                  <a:pt x="492" y="670"/>
                  <a:pt x="494" y="670"/>
                </a:cubicBezTo>
                <a:close/>
                <a:moveTo>
                  <a:pt x="492" y="681"/>
                </a:moveTo>
                <a:cubicBezTo>
                  <a:pt x="492" y="682"/>
                  <a:pt x="494" y="684"/>
                  <a:pt x="494" y="685"/>
                </a:cubicBezTo>
                <a:cubicBezTo>
                  <a:pt x="493" y="685"/>
                  <a:pt x="489" y="685"/>
                  <a:pt x="492" y="682"/>
                </a:cubicBezTo>
                <a:cubicBezTo>
                  <a:pt x="488" y="683"/>
                  <a:pt x="489" y="680"/>
                  <a:pt x="492" y="681"/>
                </a:cubicBezTo>
                <a:close/>
                <a:moveTo>
                  <a:pt x="488" y="684"/>
                </a:moveTo>
                <a:cubicBezTo>
                  <a:pt x="488" y="684"/>
                  <a:pt x="490" y="685"/>
                  <a:pt x="490" y="685"/>
                </a:cubicBezTo>
                <a:cubicBezTo>
                  <a:pt x="491" y="687"/>
                  <a:pt x="486" y="686"/>
                  <a:pt x="488" y="684"/>
                </a:cubicBezTo>
                <a:close/>
                <a:moveTo>
                  <a:pt x="485" y="687"/>
                </a:moveTo>
                <a:cubicBezTo>
                  <a:pt x="485" y="686"/>
                  <a:pt x="486" y="685"/>
                  <a:pt x="487" y="687"/>
                </a:cubicBezTo>
                <a:cubicBezTo>
                  <a:pt x="489" y="688"/>
                  <a:pt x="485" y="688"/>
                  <a:pt x="485" y="687"/>
                </a:cubicBezTo>
                <a:close/>
                <a:moveTo>
                  <a:pt x="485" y="684"/>
                </a:moveTo>
                <a:cubicBezTo>
                  <a:pt x="485" y="683"/>
                  <a:pt x="486" y="683"/>
                  <a:pt x="486" y="683"/>
                </a:cubicBezTo>
                <a:cubicBezTo>
                  <a:pt x="487" y="685"/>
                  <a:pt x="485" y="684"/>
                  <a:pt x="485" y="684"/>
                </a:cubicBezTo>
                <a:close/>
                <a:moveTo>
                  <a:pt x="485" y="683"/>
                </a:moveTo>
                <a:cubicBezTo>
                  <a:pt x="480" y="684"/>
                  <a:pt x="485" y="678"/>
                  <a:pt x="487" y="680"/>
                </a:cubicBezTo>
                <a:cubicBezTo>
                  <a:pt x="487" y="680"/>
                  <a:pt x="485" y="683"/>
                  <a:pt x="485" y="683"/>
                </a:cubicBezTo>
                <a:close/>
                <a:moveTo>
                  <a:pt x="484" y="665"/>
                </a:moveTo>
                <a:cubicBezTo>
                  <a:pt x="484" y="665"/>
                  <a:pt x="485" y="666"/>
                  <a:pt x="485" y="666"/>
                </a:cubicBezTo>
                <a:cubicBezTo>
                  <a:pt x="486" y="667"/>
                  <a:pt x="483" y="666"/>
                  <a:pt x="484" y="665"/>
                </a:cubicBezTo>
                <a:close/>
                <a:moveTo>
                  <a:pt x="486" y="676"/>
                </a:moveTo>
                <a:cubicBezTo>
                  <a:pt x="485" y="676"/>
                  <a:pt x="483" y="672"/>
                  <a:pt x="481" y="672"/>
                </a:cubicBezTo>
                <a:cubicBezTo>
                  <a:pt x="484" y="671"/>
                  <a:pt x="487" y="675"/>
                  <a:pt x="486" y="676"/>
                </a:cubicBezTo>
                <a:close/>
                <a:moveTo>
                  <a:pt x="484" y="651"/>
                </a:moveTo>
                <a:cubicBezTo>
                  <a:pt x="482" y="653"/>
                  <a:pt x="480" y="649"/>
                  <a:pt x="479" y="648"/>
                </a:cubicBezTo>
                <a:cubicBezTo>
                  <a:pt x="480" y="648"/>
                  <a:pt x="485" y="650"/>
                  <a:pt x="484" y="651"/>
                </a:cubicBezTo>
                <a:close/>
                <a:moveTo>
                  <a:pt x="482" y="644"/>
                </a:moveTo>
                <a:cubicBezTo>
                  <a:pt x="484" y="644"/>
                  <a:pt x="483" y="646"/>
                  <a:pt x="482" y="644"/>
                </a:cubicBezTo>
                <a:close/>
                <a:moveTo>
                  <a:pt x="482" y="639"/>
                </a:moveTo>
                <a:cubicBezTo>
                  <a:pt x="483" y="642"/>
                  <a:pt x="477" y="641"/>
                  <a:pt x="478" y="639"/>
                </a:cubicBezTo>
                <a:cubicBezTo>
                  <a:pt x="479" y="637"/>
                  <a:pt x="482" y="638"/>
                  <a:pt x="482" y="639"/>
                </a:cubicBezTo>
                <a:close/>
                <a:moveTo>
                  <a:pt x="481" y="637"/>
                </a:moveTo>
                <a:cubicBezTo>
                  <a:pt x="480" y="636"/>
                  <a:pt x="481" y="635"/>
                  <a:pt x="481" y="637"/>
                </a:cubicBezTo>
                <a:close/>
                <a:moveTo>
                  <a:pt x="482" y="621"/>
                </a:moveTo>
                <a:cubicBezTo>
                  <a:pt x="481" y="622"/>
                  <a:pt x="481" y="621"/>
                  <a:pt x="480" y="621"/>
                </a:cubicBezTo>
                <a:cubicBezTo>
                  <a:pt x="481" y="620"/>
                  <a:pt x="481" y="621"/>
                  <a:pt x="482" y="621"/>
                </a:cubicBezTo>
                <a:close/>
                <a:moveTo>
                  <a:pt x="480" y="622"/>
                </a:moveTo>
                <a:cubicBezTo>
                  <a:pt x="481" y="622"/>
                  <a:pt x="480" y="623"/>
                  <a:pt x="479" y="622"/>
                </a:cubicBezTo>
                <a:cubicBezTo>
                  <a:pt x="479" y="622"/>
                  <a:pt x="480" y="621"/>
                  <a:pt x="480" y="622"/>
                </a:cubicBezTo>
                <a:close/>
                <a:moveTo>
                  <a:pt x="479" y="615"/>
                </a:moveTo>
                <a:cubicBezTo>
                  <a:pt x="480" y="616"/>
                  <a:pt x="477" y="615"/>
                  <a:pt x="477" y="615"/>
                </a:cubicBezTo>
                <a:cubicBezTo>
                  <a:pt x="477" y="614"/>
                  <a:pt x="479" y="614"/>
                  <a:pt x="479" y="615"/>
                </a:cubicBezTo>
                <a:close/>
                <a:moveTo>
                  <a:pt x="477" y="640"/>
                </a:moveTo>
                <a:cubicBezTo>
                  <a:pt x="478" y="641"/>
                  <a:pt x="476" y="638"/>
                  <a:pt x="477" y="640"/>
                </a:cubicBezTo>
                <a:close/>
                <a:moveTo>
                  <a:pt x="477" y="654"/>
                </a:moveTo>
                <a:cubicBezTo>
                  <a:pt x="478" y="655"/>
                  <a:pt x="476" y="654"/>
                  <a:pt x="476" y="654"/>
                </a:cubicBezTo>
                <a:cubicBezTo>
                  <a:pt x="475" y="653"/>
                  <a:pt x="477" y="654"/>
                  <a:pt x="477" y="654"/>
                </a:cubicBezTo>
                <a:close/>
                <a:moveTo>
                  <a:pt x="476" y="611"/>
                </a:moveTo>
                <a:cubicBezTo>
                  <a:pt x="477" y="612"/>
                  <a:pt x="475" y="609"/>
                  <a:pt x="476" y="611"/>
                </a:cubicBezTo>
                <a:close/>
                <a:moveTo>
                  <a:pt x="476" y="642"/>
                </a:moveTo>
                <a:cubicBezTo>
                  <a:pt x="475" y="643"/>
                  <a:pt x="475" y="640"/>
                  <a:pt x="476" y="642"/>
                </a:cubicBezTo>
                <a:close/>
                <a:moveTo>
                  <a:pt x="474" y="617"/>
                </a:moveTo>
                <a:cubicBezTo>
                  <a:pt x="475" y="617"/>
                  <a:pt x="474" y="618"/>
                  <a:pt x="473" y="617"/>
                </a:cubicBezTo>
                <a:cubicBezTo>
                  <a:pt x="473" y="617"/>
                  <a:pt x="474" y="616"/>
                  <a:pt x="474" y="617"/>
                </a:cubicBezTo>
                <a:close/>
                <a:moveTo>
                  <a:pt x="476" y="646"/>
                </a:moveTo>
                <a:cubicBezTo>
                  <a:pt x="475" y="645"/>
                  <a:pt x="474" y="644"/>
                  <a:pt x="473" y="644"/>
                </a:cubicBezTo>
                <a:cubicBezTo>
                  <a:pt x="474" y="644"/>
                  <a:pt x="476" y="645"/>
                  <a:pt x="476" y="646"/>
                </a:cubicBezTo>
                <a:close/>
                <a:moveTo>
                  <a:pt x="475" y="654"/>
                </a:moveTo>
                <a:cubicBezTo>
                  <a:pt x="475" y="654"/>
                  <a:pt x="474" y="657"/>
                  <a:pt x="473" y="656"/>
                </a:cubicBezTo>
                <a:cubicBezTo>
                  <a:pt x="471" y="655"/>
                  <a:pt x="474" y="651"/>
                  <a:pt x="475" y="654"/>
                </a:cubicBezTo>
                <a:close/>
                <a:moveTo>
                  <a:pt x="474" y="661"/>
                </a:moveTo>
                <a:cubicBezTo>
                  <a:pt x="476" y="667"/>
                  <a:pt x="462" y="660"/>
                  <a:pt x="467" y="656"/>
                </a:cubicBezTo>
                <a:cubicBezTo>
                  <a:pt x="466" y="657"/>
                  <a:pt x="470" y="657"/>
                  <a:pt x="469" y="657"/>
                </a:cubicBezTo>
                <a:cubicBezTo>
                  <a:pt x="470" y="657"/>
                  <a:pt x="474" y="660"/>
                  <a:pt x="474" y="661"/>
                </a:cubicBezTo>
                <a:close/>
                <a:moveTo>
                  <a:pt x="468" y="591"/>
                </a:moveTo>
                <a:cubicBezTo>
                  <a:pt x="466" y="590"/>
                  <a:pt x="467" y="589"/>
                  <a:pt x="466" y="588"/>
                </a:cubicBezTo>
                <a:cubicBezTo>
                  <a:pt x="466" y="587"/>
                  <a:pt x="465" y="586"/>
                  <a:pt x="465" y="585"/>
                </a:cubicBezTo>
                <a:cubicBezTo>
                  <a:pt x="466" y="581"/>
                  <a:pt x="472" y="585"/>
                  <a:pt x="471" y="589"/>
                </a:cubicBezTo>
                <a:cubicBezTo>
                  <a:pt x="471" y="590"/>
                  <a:pt x="470" y="593"/>
                  <a:pt x="468" y="591"/>
                </a:cubicBezTo>
                <a:close/>
                <a:moveTo>
                  <a:pt x="466" y="483"/>
                </a:moveTo>
                <a:cubicBezTo>
                  <a:pt x="468" y="484"/>
                  <a:pt x="467" y="485"/>
                  <a:pt x="469" y="486"/>
                </a:cubicBezTo>
                <a:cubicBezTo>
                  <a:pt x="468" y="486"/>
                  <a:pt x="466" y="485"/>
                  <a:pt x="466" y="483"/>
                </a:cubicBezTo>
                <a:close/>
                <a:moveTo>
                  <a:pt x="475" y="566"/>
                </a:moveTo>
                <a:cubicBezTo>
                  <a:pt x="476" y="565"/>
                  <a:pt x="478" y="567"/>
                  <a:pt x="478" y="567"/>
                </a:cubicBezTo>
                <a:cubicBezTo>
                  <a:pt x="479" y="569"/>
                  <a:pt x="474" y="567"/>
                  <a:pt x="475" y="566"/>
                </a:cubicBezTo>
                <a:close/>
                <a:moveTo>
                  <a:pt x="477" y="592"/>
                </a:moveTo>
                <a:cubicBezTo>
                  <a:pt x="477" y="592"/>
                  <a:pt x="476" y="591"/>
                  <a:pt x="477" y="592"/>
                </a:cubicBezTo>
                <a:cubicBezTo>
                  <a:pt x="477" y="593"/>
                  <a:pt x="477" y="592"/>
                  <a:pt x="477" y="592"/>
                </a:cubicBezTo>
                <a:close/>
                <a:moveTo>
                  <a:pt x="477" y="587"/>
                </a:moveTo>
                <a:cubicBezTo>
                  <a:pt x="478" y="586"/>
                  <a:pt x="479" y="588"/>
                  <a:pt x="480" y="588"/>
                </a:cubicBezTo>
                <a:cubicBezTo>
                  <a:pt x="480" y="591"/>
                  <a:pt x="475" y="588"/>
                  <a:pt x="477" y="587"/>
                </a:cubicBezTo>
                <a:close/>
                <a:moveTo>
                  <a:pt x="479" y="454"/>
                </a:moveTo>
                <a:cubicBezTo>
                  <a:pt x="478" y="453"/>
                  <a:pt x="480" y="456"/>
                  <a:pt x="479" y="454"/>
                </a:cubicBezTo>
                <a:close/>
                <a:moveTo>
                  <a:pt x="496" y="587"/>
                </a:moveTo>
                <a:cubicBezTo>
                  <a:pt x="497" y="588"/>
                  <a:pt x="495" y="587"/>
                  <a:pt x="495" y="586"/>
                </a:cubicBezTo>
                <a:cubicBezTo>
                  <a:pt x="496" y="586"/>
                  <a:pt x="496" y="586"/>
                  <a:pt x="496" y="587"/>
                </a:cubicBezTo>
                <a:close/>
                <a:moveTo>
                  <a:pt x="496" y="580"/>
                </a:moveTo>
                <a:cubicBezTo>
                  <a:pt x="495" y="578"/>
                  <a:pt x="496" y="582"/>
                  <a:pt x="496" y="580"/>
                </a:cubicBezTo>
                <a:close/>
                <a:moveTo>
                  <a:pt x="496" y="559"/>
                </a:moveTo>
                <a:cubicBezTo>
                  <a:pt x="496" y="559"/>
                  <a:pt x="496" y="559"/>
                  <a:pt x="496" y="560"/>
                </a:cubicBezTo>
                <a:cubicBezTo>
                  <a:pt x="497" y="561"/>
                  <a:pt x="496" y="560"/>
                  <a:pt x="496" y="559"/>
                </a:cubicBezTo>
                <a:close/>
                <a:moveTo>
                  <a:pt x="496" y="596"/>
                </a:moveTo>
                <a:cubicBezTo>
                  <a:pt x="495" y="595"/>
                  <a:pt x="497" y="597"/>
                  <a:pt x="496" y="596"/>
                </a:cubicBezTo>
                <a:close/>
                <a:moveTo>
                  <a:pt x="496" y="590"/>
                </a:moveTo>
                <a:cubicBezTo>
                  <a:pt x="497" y="589"/>
                  <a:pt x="498" y="592"/>
                  <a:pt x="496" y="592"/>
                </a:cubicBezTo>
                <a:cubicBezTo>
                  <a:pt x="495" y="593"/>
                  <a:pt x="495" y="591"/>
                  <a:pt x="496" y="590"/>
                </a:cubicBezTo>
                <a:close/>
                <a:moveTo>
                  <a:pt x="499" y="609"/>
                </a:moveTo>
                <a:cubicBezTo>
                  <a:pt x="502" y="612"/>
                  <a:pt x="502" y="609"/>
                  <a:pt x="504" y="609"/>
                </a:cubicBezTo>
                <a:cubicBezTo>
                  <a:pt x="504" y="609"/>
                  <a:pt x="506" y="610"/>
                  <a:pt x="506" y="611"/>
                </a:cubicBezTo>
                <a:cubicBezTo>
                  <a:pt x="508" y="615"/>
                  <a:pt x="499" y="614"/>
                  <a:pt x="499" y="609"/>
                </a:cubicBezTo>
                <a:close/>
                <a:moveTo>
                  <a:pt x="505" y="598"/>
                </a:moveTo>
                <a:cubicBezTo>
                  <a:pt x="505" y="600"/>
                  <a:pt x="503" y="601"/>
                  <a:pt x="501" y="601"/>
                </a:cubicBezTo>
                <a:cubicBezTo>
                  <a:pt x="498" y="601"/>
                  <a:pt x="497" y="598"/>
                  <a:pt x="497" y="595"/>
                </a:cubicBezTo>
                <a:cubicBezTo>
                  <a:pt x="497" y="595"/>
                  <a:pt x="497" y="594"/>
                  <a:pt x="496" y="594"/>
                </a:cubicBezTo>
                <a:cubicBezTo>
                  <a:pt x="497" y="593"/>
                  <a:pt x="500" y="593"/>
                  <a:pt x="500" y="593"/>
                </a:cubicBezTo>
                <a:cubicBezTo>
                  <a:pt x="501" y="591"/>
                  <a:pt x="496" y="591"/>
                  <a:pt x="497" y="589"/>
                </a:cubicBezTo>
                <a:cubicBezTo>
                  <a:pt x="498" y="587"/>
                  <a:pt x="500" y="590"/>
                  <a:pt x="500" y="591"/>
                </a:cubicBezTo>
                <a:cubicBezTo>
                  <a:pt x="502" y="592"/>
                  <a:pt x="503" y="590"/>
                  <a:pt x="503" y="593"/>
                </a:cubicBezTo>
                <a:cubicBezTo>
                  <a:pt x="503" y="594"/>
                  <a:pt x="506" y="597"/>
                  <a:pt x="506" y="597"/>
                </a:cubicBezTo>
                <a:cubicBezTo>
                  <a:pt x="507" y="597"/>
                  <a:pt x="507" y="595"/>
                  <a:pt x="508" y="597"/>
                </a:cubicBezTo>
                <a:cubicBezTo>
                  <a:pt x="508" y="596"/>
                  <a:pt x="507" y="600"/>
                  <a:pt x="508" y="600"/>
                </a:cubicBezTo>
                <a:cubicBezTo>
                  <a:pt x="507" y="600"/>
                  <a:pt x="506" y="600"/>
                  <a:pt x="505" y="598"/>
                </a:cubicBezTo>
                <a:close/>
                <a:moveTo>
                  <a:pt x="499" y="528"/>
                </a:moveTo>
                <a:cubicBezTo>
                  <a:pt x="500" y="528"/>
                  <a:pt x="500" y="529"/>
                  <a:pt x="501" y="529"/>
                </a:cubicBezTo>
                <a:cubicBezTo>
                  <a:pt x="502" y="530"/>
                  <a:pt x="498" y="529"/>
                  <a:pt x="499" y="528"/>
                </a:cubicBezTo>
                <a:close/>
                <a:moveTo>
                  <a:pt x="501" y="521"/>
                </a:moveTo>
                <a:cubicBezTo>
                  <a:pt x="502" y="520"/>
                  <a:pt x="502" y="522"/>
                  <a:pt x="502" y="522"/>
                </a:cubicBezTo>
                <a:cubicBezTo>
                  <a:pt x="502" y="523"/>
                  <a:pt x="500" y="521"/>
                  <a:pt x="501" y="521"/>
                </a:cubicBezTo>
                <a:close/>
                <a:moveTo>
                  <a:pt x="509" y="616"/>
                </a:moveTo>
                <a:cubicBezTo>
                  <a:pt x="508" y="616"/>
                  <a:pt x="507" y="614"/>
                  <a:pt x="508" y="614"/>
                </a:cubicBezTo>
                <a:cubicBezTo>
                  <a:pt x="510" y="614"/>
                  <a:pt x="510" y="616"/>
                  <a:pt x="509" y="616"/>
                </a:cubicBezTo>
                <a:close/>
                <a:moveTo>
                  <a:pt x="510" y="615"/>
                </a:moveTo>
                <a:cubicBezTo>
                  <a:pt x="510" y="615"/>
                  <a:pt x="511" y="615"/>
                  <a:pt x="511" y="616"/>
                </a:cubicBezTo>
                <a:cubicBezTo>
                  <a:pt x="512" y="617"/>
                  <a:pt x="510" y="616"/>
                  <a:pt x="510" y="615"/>
                </a:cubicBezTo>
                <a:close/>
                <a:moveTo>
                  <a:pt x="515" y="611"/>
                </a:moveTo>
                <a:cubicBezTo>
                  <a:pt x="514" y="610"/>
                  <a:pt x="516" y="610"/>
                  <a:pt x="515" y="611"/>
                </a:cubicBezTo>
                <a:close/>
                <a:moveTo>
                  <a:pt x="518" y="606"/>
                </a:moveTo>
                <a:cubicBezTo>
                  <a:pt x="517" y="604"/>
                  <a:pt x="519" y="603"/>
                  <a:pt x="518" y="606"/>
                </a:cubicBezTo>
                <a:close/>
                <a:moveTo>
                  <a:pt x="518" y="567"/>
                </a:moveTo>
                <a:cubicBezTo>
                  <a:pt x="517" y="568"/>
                  <a:pt x="518" y="565"/>
                  <a:pt x="518" y="567"/>
                </a:cubicBezTo>
                <a:close/>
                <a:moveTo>
                  <a:pt x="520" y="607"/>
                </a:moveTo>
                <a:cubicBezTo>
                  <a:pt x="519" y="607"/>
                  <a:pt x="520" y="607"/>
                  <a:pt x="520" y="607"/>
                </a:cubicBezTo>
                <a:close/>
                <a:moveTo>
                  <a:pt x="520" y="607"/>
                </a:moveTo>
                <a:cubicBezTo>
                  <a:pt x="520" y="608"/>
                  <a:pt x="520" y="608"/>
                  <a:pt x="520" y="608"/>
                </a:cubicBezTo>
                <a:cubicBezTo>
                  <a:pt x="520" y="608"/>
                  <a:pt x="520" y="608"/>
                  <a:pt x="520" y="608"/>
                </a:cubicBezTo>
                <a:cubicBezTo>
                  <a:pt x="520" y="608"/>
                  <a:pt x="520" y="608"/>
                  <a:pt x="520" y="607"/>
                </a:cubicBezTo>
                <a:close/>
                <a:moveTo>
                  <a:pt x="520" y="587"/>
                </a:moveTo>
                <a:cubicBezTo>
                  <a:pt x="520" y="587"/>
                  <a:pt x="521" y="588"/>
                  <a:pt x="521" y="588"/>
                </a:cubicBezTo>
                <a:cubicBezTo>
                  <a:pt x="522" y="589"/>
                  <a:pt x="519" y="588"/>
                  <a:pt x="520" y="587"/>
                </a:cubicBezTo>
                <a:close/>
                <a:moveTo>
                  <a:pt x="524" y="590"/>
                </a:moveTo>
                <a:cubicBezTo>
                  <a:pt x="523" y="591"/>
                  <a:pt x="524" y="588"/>
                  <a:pt x="524" y="590"/>
                </a:cubicBezTo>
                <a:close/>
                <a:moveTo>
                  <a:pt x="525" y="609"/>
                </a:moveTo>
                <a:cubicBezTo>
                  <a:pt x="528" y="610"/>
                  <a:pt x="527" y="613"/>
                  <a:pt x="529" y="615"/>
                </a:cubicBezTo>
                <a:cubicBezTo>
                  <a:pt x="527" y="614"/>
                  <a:pt x="526" y="611"/>
                  <a:pt x="525" y="609"/>
                </a:cubicBezTo>
                <a:close/>
                <a:moveTo>
                  <a:pt x="525" y="580"/>
                </a:moveTo>
                <a:cubicBezTo>
                  <a:pt x="525" y="582"/>
                  <a:pt x="522" y="580"/>
                  <a:pt x="523" y="579"/>
                </a:cubicBezTo>
                <a:cubicBezTo>
                  <a:pt x="524" y="578"/>
                  <a:pt x="525" y="579"/>
                  <a:pt x="525" y="580"/>
                </a:cubicBezTo>
                <a:close/>
                <a:moveTo>
                  <a:pt x="524" y="565"/>
                </a:moveTo>
                <a:cubicBezTo>
                  <a:pt x="524" y="564"/>
                  <a:pt x="525" y="566"/>
                  <a:pt x="525" y="566"/>
                </a:cubicBezTo>
                <a:cubicBezTo>
                  <a:pt x="525" y="568"/>
                  <a:pt x="523" y="566"/>
                  <a:pt x="524" y="565"/>
                </a:cubicBezTo>
                <a:close/>
                <a:moveTo>
                  <a:pt x="524" y="549"/>
                </a:moveTo>
                <a:cubicBezTo>
                  <a:pt x="525" y="547"/>
                  <a:pt x="529" y="549"/>
                  <a:pt x="529" y="551"/>
                </a:cubicBezTo>
                <a:cubicBezTo>
                  <a:pt x="530" y="557"/>
                  <a:pt x="524" y="550"/>
                  <a:pt x="524" y="549"/>
                </a:cubicBezTo>
                <a:close/>
                <a:moveTo>
                  <a:pt x="525" y="541"/>
                </a:moveTo>
                <a:cubicBezTo>
                  <a:pt x="523" y="541"/>
                  <a:pt x="525" y="539"/>
                  <a:pt x="525" y="541"/>
                </a:cubicBezTo>
                <a:close/>
                <a:moveTo>
                  <a:pt x="526" y="576"/>
                </a:moveTo>
                <a:cubicBezTo>
                  <a:pt x="526" y="576"/>
                  <a:pt x="526" y="576"/>
                  <a:pt x="526" y="576"/>
                </a:cubicBezTo>
                <a:cubicBezTo>
                  <a:pt x="526" y="574"/>
                  <a:pt x="526" y="576"/>
                  <a:pt x="526" y="576"/>
                </a:cubicBezTo>
                <a:close/>
                <a:moveTo>
                  <a:pt x="530" y="596"/>
                </a:moveTo>
                <a:cubicBezTo>
                  <a:pt x="530" y="596"/>
                  <a:pt x="530" y="597"/>
                  <a:pt x="531" y="597"/>
                </a:cubicBezTo>
                <a:cubicBezTo>
                  <a:pt x="531" y="599"/>
                  <a:pt x="528" y="596"/>
                  <a:pt x="530" y="596"/>
                </a:cubicBezTo>
                <a:close/>
                <a:moveTo>
                  <a:pt x="527" y="595"/>
                </a:moveTo>
                <a:cubicBezTo>
                  <a:pt x="526" y="594"/>
                  <a:pt x="528" y="590"/>
                  <a:pt x="530" y="591"/>
                </a:cubicBezTo>
                <a:cubicBezTo>
                  <a:pt x="532" y="592"/>
                  <a:pt x="531" y="598"/>
                  <a:pt x="527" y="595"/>
                </a:cubicBezTo>
                <a:close/>
                <a:moveTo>
                  <a:pt x="533" y="617"/>
                </a:moveTo>
                <a:cubicBezTo>
                  <a:pt x="533" y="618"/>
                  <a:pt x="532" y="616"/>
                  <a:pt x="533" y="617"/>
                </a:cubicBezTo>
                <a:close/>
                <a:moveTo>
                  <a:pt x="533" y="600"/>
                </a:moveTo>
                <a:cubicBezTo>
                  <a:pt x="534" y="601"/>
                  <a:pt x="531" y="600"/>
                  <a:pt x="532" y="599"/>
                </a:cubicBezTo>
                <a:cubicBezTo>
                  <a:pt x="532" y="598"/>
                  <a:pt x="533" y="599"/>
                  <a:pt x="533" y="600"/>
                </a:cubicBezTo>
                <a:close/>
                <a:moveTo>
                  <a:pt x="531" y="579"/>
                </a:moveTo>
                <a:cubicBezTo>
                  <a:pt x="530" y="577"/>
                  <a:pt x="529" y="575"/>
                  <a:pt x="529" y="572"/>
                </a:cubicBezTo>
                <a:cubicBezTo>
                  <a:pt x="530" y="574"/>
                  <a:pt x="531" y="576"/>
                  <a:pt x="531" y="579"/>
                </a:cubicBezTo>
                <a:close/>
                <a:moveTo>
                  <a:pt x="532" y="541"/>
                </a:moveTo>
                <a:cubicBezTo>
                  <a:pt x="533" y="541"/>
                  <a:pt x="530" y="540"/>
                  <a:pt x="532" y="541"/>
                </a:cubicBezTo>
                <a:close/>
                <a:moveTo>
                  <a:pt x="531" y="502"/>
                </a:moveTo>
                <a:cubicBezTo>
                  <a:pt x="529" y="501"/>
                  <a:pt x="529" y="499"/>
                  <a:pt x="529" y="498"/>
                </a:cubicBezTo>
                <a:cubicBezTo>
                  <a:pt x="530" y="499"/>
                  <a:pt x="530" y="500"/>
                  <a:pt x="531" y="502"/>
                </a:cubicBezTo>
                <a:close/>
                <a:moveTo>
                  <a:pt x="526" y="400"/>
                </a:moveTo>
                <a:cubicBezTo>
                  <a:pt x="528" y="399"/>
                  <a:pt x="530" y="401"/>
                  <a:pt x="529" y="402"/>
                </a:cubicBezTo>
                <a:cubicBezTo>
                  <a:pt x="529" y="406"/>
                  <a:pt x="525" y="401"/>
                  <a:pt x="526" y="400"/>
                </a:cubicBezTo>
                <a:close/>
                <a:moveTo>
                  <a:pt x="529" y="495"/>
                </a:moveTo>
                <a:cubicBezTo>
                  <a:pt x="528" y="491"/>
                  <a:pt x="529" y="498"/>
                  <a:pt x="529" y="495"/>
                </a:cubicBezTo>
                <a:close/>
                <a:moveTo>
                  <a:pt x="528" y="472"/>
                </a:moveTo>
                <a:cubicBezTo>
                  <a:pt x="528" y="473"/>
                  <a:pt x="528" y="472"/>
                  <a:pt x="528" y="473"/>
                </a:cubicBezTo>
                <a:cubicBezTo>
                  <a:pt x="529" y="474"/>
                  <a:pt x="526" y="471"/>
                  <a:pt x="528" y="472"/>
                </a:cubicBezTo>
                <a:close/>
                <a:moveTo>
                  <a:pt x="527" y="451"/>
                </a:moveTo>
                <a:cubicBezTo>
                  <a:pt x="527" y="452"/>
                  <a:pt x="527" y="453"/>
                  <a:pt x="527" y="454"/>
                </a:cubicBezTo>
                <a:cubicBezTo>
                  <a:pt x="527" y="452"/>
                  <a:pt x="527" y="452"/>
                  <a:pt x="527" y="451"/>
                </a:cubicBezTo>
                <a:close/>
                <a:moveTo>
                  <a:pt x="526" y="427"/>
                </a:moveTo>
                <a:cubicBezTo>
                  <a:pt x="525" y="428"/>
                  <a:pt x="526" y="425"/>
                  <a:pt x="526" y="427"/>
                </a:cubicBezTo>
                <a:close/>
                <a:moveTo>
                  <a:pt x="525" y="423"/>
                </a:moveTo>
                <a:cubicBezTo>
                  <a:pt x="525" y="424"/>
                  <a:pt x="526" y="425"/>
                  <a:pt x="525" y="426"/>
                </a:cubicBezTo>
                <a:cubicBezTo>
                  <a:pt x="525" y="425"/>
                  <a:pt x="524" y="424"/>
                  <a:pt x="525" y="423"/>
                </a:cubicBezTo>
                <a:close/>
                <a:moveTo>
                  <a:pt x="523" y="458"/>
                </a:moveTo>
                <a:cubicBezTo>
                  <a:pt x="523" y="458"/>
                  <a:pt x="523" y="458"/>
                  <a:pt x="523" y="458"/>
                </a:cubicBezTo>
                <a:cubicBezTo>
                  <a:pt x="523" y="458"/>
                  <a:pt x="523" y="458"/>
                  <a:pt x="523" y="458"/>
                </a:cubicBezTo>
                <a:cubicBezTo>
                  <a:pt x="523" y="458"/>
                  <a:pt x="523" y="458"/>
                  <a:pt x="523" y="458"/>
                </a:cubicBezTo>
                <a:close/>
                <a:moveTo>
                  <a:pt x="530" y="536"/>
                </a:moveTo>
                <a:cubicBezTo>
                  <a:pt x="527" y="532"/>
                  <a:pt x="525" y="528"/>
                  <a:pt x="523" y="523"/>
                </a:cubicBezTo>
                <a:cubicBezTo>
                  <a:pt x="526" y="527"/>
                  <a:pt x="529" y="531"/>
                  <a:pt x="530" y="536"/>
                </a:cubicBezTo>
                <a:close/>
                <a:moveTo>
                  <a:pt x="525" y="586"/>
                </a:moveTo>
                <a:cubicBezTo>
                  <a:pt x="525" y="586"/>
                  <a:pt x="525" y="587"/>
                  <a:pt x="524" y="587"/>
                </a:cubicBezTo>
                <a:cubicBezTo>
                  <a:pt x="520" y="589"/>
                  <a:pt x="523" y="581"/>
                  <a:pt x="525" y="586"/>
                </a:cubicBezTo>
                <a:close/>
                <a:moveTo>
                  <a:pt x="521" y="487"/>
                </a:moveTo>
                <a:cubicBezTo>
                  <a:pt x="522" y="487"/>
                  <a:pt x="522" y="487"/>
                  <a:pt x="522" y="487"/>
                </a:cubicBezTo>
                <a:cubicBezTo>
                  <a:pt x="523" y="489"/>
                  <a:pt x="520" y="487"/>
                  <a:pt x="521" y="487"/>
                </a:cubicBezTo>
                <a:close/>
                <a:moveTo>
                  <a:pt x="520" y="406"/>
                </a:moveTo>
                <a:cubicBezTo>
                  <a:pt x="519" y="407"/>
                  <a:pt x="519" y="405"/>
                  <a:pt x="519" y="404"/>
                </a:cubicBezTo>
                <a:cubicBezTo>
                  <a:pt x="520" y="404"/>
                  <a:pt x="520" y="406"/>
                  <a:pt x="520" y="406"/>
                </a:cubicBezTo>
                <a:close/>
                <a:moveTo>
                  <a:pt x="518" y="118"/>
                </a:moveTo>
                <a:cubicBezTo>
                  <a:pt x="516" y="117"/>
                  <a:pt x="520" y="119"/>
                  <a:pt x="518" y="118"/>
                </a:cubicBezTo>
                <a:close/>
                <a:moveTo>
                  <a:pt x="520" y="517"/>
                </a:moveTo>
                <a:cubicBezTo>
                  <a:pt x="520" y="517"/>
                  <a:pt x="523" y="522"/>
                  <a:pt x="521" y="521"/>
                </a:cubicBezTo>
                <a:cubicBezTo>
                  <a:pt x="519" y="520"/>
                  <a:pt x="518" y="514"/>
                  <a:pt x="517" y="511"/>
                </a:cubicBezTo>
                <a:cubicBezTo>
                  <a:pt x="518" y="512"/>
                  <a:pt x="519" y="515"/>
                  <a:pt x="520" y="517"/>
                </a:cubicBezTo>
                <a:close/>
                <a:moveTo>
                  <a:pt x="517" y="510"/>
                </a:moveTo>
                <a:cubicBezTo>
                  <a:pt x="516" y="508"/>
                  <a:pt x="515" y="507"/>
                  <a:pt x="515" y="506"/>
                </a:cubicBezTo>
                <a:cubicBezTo>
                  <a:pt x="516" y="506"/>
                  <a:pt x="517" y="508"/>
                  <a:pt x="517" y="510"/>
                </a:cubicBezTo>
                <a:close/>
                <a:moveTo>
                  <a:pt x="517" y="585"/>
                </a:moveTo>
                <a:cubicBezTo>
                  <a:pt x="516" y="585"/>
                  <a:pt x="516" y="584"/>
                  <a:pt x="516" y="584"/>
                </a:cubicBezTo>
                <a:cubicBezTo>
                  <a:pt x="517" y="584"/>
                  <a:pt x="517" y="585"/>
                  <a:pt x="517" y="585"/>
                </a:cubicBezTo>
                <a:close/>
                <a:moveTo>
                  <a:pt x="513" y="496"/>
                </a:moveTo>
                <a:cubicBezTo>
                  <a:pt x="514" y="498"/>
                  <a:pt x="515" y="500"/>
                  <a:pt x="516" y="502"/>
                </a:cubicBezTo>
                <a:cubicBezTo>
                  <a:pt x="516" y="502"/>
                  <a:pt x="513" y="498"/>
                  <a:pt x="513" y="496"/>
                </a:cubicBezTo>
                <a:close/>
                <a:moveTo>
                  <a:pt x="513" y="532"/>
                </a:moveTo>
                <a:cubicBezTo>
                  <a:pt x="513" y="532"/>
                  <a:pt x="513" y="531"/>
                  <a:pt x="513" y="532"/>
                </a:cubicBezTo>
                <a:cubicBezTo>
                  <a:pt x="513" y="532"/>
                  <a:pt x="513" y="532"/>
                  <a:pt x="513" y="532"/>
                </a:cubicBezTo>
                <a:close/>
                <a:moveTo>
                  <a:pt x="514" y="115"/>
                </a:moveTo>
                <a:cubicBezTo>
                  <a:pt x="514" y="116"/>
                  <a:pt x="512" y="115"/>
                  <a:pt x="512" y="114"/>
                </a:cubicBezTo>
                <a:cubicBezTo>
                  <a:pt x="513" y="114"/>
                  <a:pt x="513" y="115"/>
                  <a:pt x="514" y="115"/>
                </a:cubicBezTo>
                <a:close/>
                <a:moveTo>
                  <a:pt x="513" y="495"/>
                </a:moveTo>
                <a:cubicBezTo>
                  <a:pt x="513" y="496"/>
                  <a:pt x="512" y="493"/>
                  <a:pt x="513" y="495"/>
                </a:cubicBezTo>
                <a:close/>
                <a:moveTo>
                  <a:pt x="515" y="592"/>
                </a:moveTo>
                <a:cubicBezTo>
                  <a:pt x="516" y="594"/>
                  <a:pt x="518" y="595"/>
                  <a:pt x="518" y="598"/>
                </a:cubicBezTo>
                <a:cubicBezTo>
                  <a:pt x="514" y="592"/>
                  <a:pt x="511" y="585"/>
                  <a:pt x="507" y="580"/>
                </a:cubicBezTo>
                <a:cubicBezTo>
                  <a:pt x="504" y="575"/>
                  <a:pt x="511" y="583"/>
                  <a:pt x="512" y="584"/>
                </a:cubicBezTo>
                <a:cubicBezTo>
                  <a:pt x="513" y="586"/>
                  <a:pt x="514" y="590"/>
                  <a:pt x="515" y="592"/>
                </a:cubicBezTo>
                <a:close/>
                <a:moveTo>
                  <a:pt x="509" y="537"/>
                </a:moveTo>
                <a:cubicBezTo>
                  <a:pt x="509" y="539"/>
                  <a:pt x="507" y="537"/>
                  <a:pt x="508" y="537"/>
                </a:cubicBezTo>
                <a:cubicBezTo>
                  <a:pt x="508" y="536"/>
                  <a:pt x="509" y="537"/>
                  <a:pt x="509" y="537"/>
                </a:cubicBezTo>
                <a:close/>
                <a:moveTo>
                  <a:pt x="508" y="484"/>
                </a:moveTo>
                <a:cubicBezTo>
                  <a:pt x="509" y="485"/>
                  <a:pt x="508" y="483"/>
                  <a:pt x="508" y="484"/>
                </a:cubicBezTo>
                <a:close/>
                <a:moveTo>
                  <a:pt x="510" y="544"/>
                </a:moveTo>
                <a:cubicBezTo>
                  <a:pt x="510" y="544"/>
                  <a:pt x="510" y="545"/>
                  <a:pt x="510" y="545"/>
                </a:cubicBezTo>
                <a:cubicBezTo>
                  <a:pt x="507" y="546"/>
                  <a:pt x="508" y="541"/>
                  <a:pt x="510" y="544"/>
                </a:cubicBezTo>
                <a:close/>
                <a:moveTo>
                  <a:pt x="507" y="463"/>
                </a:moveTo>
                <a:cubicBezTo>
                  <a:pt x="508" y="467"/>
                  <a:pt x="511" y="471"/>
                  <a:pt x="511" y="476"/>
                </a:cubicBezTo>
                <a:cubicBezTo>
                  <a:pt x="509" y="472"/>
                  <a:pt x="508" y="468"/>
                  <a:pt x="507" y="463"/>
                </a:cubicBezTo>
                <a:close/>
                <a:moveTo>
                  <a:pt x="508" y="387"/>
                </a:moveTo>
                <a:cubicBezTo>
                  <a:pt x="506" y="384"/>
                  <a:pt x="505" y="381"/>
                  <a:pt x="505" y="378"/>
                </a:cubicBezTo>
                <a:cubicBezTo>
                  <a:pt x="506" y="381"/>
                  <a:pt x="507" y="383"/>
                  <a:pt x="508" y="387"/>
                </a:cubicBezTo>
                <a:close/>
                <a:moveTo>
                  <a:pt x="507" y="528"/>
                </a:moveTo>
                <a:cubicBezTo>
                  <a:pt x="506" y="529"/>
                  <a:pt x="505" y="527"/>
                  <a:pt x="504" y="526"/>
                </a:cubicBezTo>
                <a:cubicBezTo>
                  <a:pt x="506" y="525"/>
                  <a:pt x="506" y="528"/>
                  <a:pt x="507" y="528"/>
                </a:cubicBezTo>
                <a:close/>
                <a:moveTo>
                  <a:pt x="504" y="525"/>
                </a:moveTo>
                <a:cubicBezTo>
                  <a:pt x="504" y="525"/>
                  <a:pt x="502" y="524"/>
                  <a:pt x="503" y="523"/>
                </a:cubicBezTo>
                <a:cubicBezTo>
                  <a:pt x="504" y="523"/>
                  <a:pt x="503" y="524"/>
                  <a:pt x="504" y="525"/>
                </a:cubicBezTo>
                <a:close/>
                <a:moveTo>
                  <a:pt x="503" y="434"/>
                </a:moveTo>
                <a:cubicBezTo>
                  <a:pt x="502" y="434"/>
                  <a:pt x="502" y="433"/>
                  <a:pt x="502" y="432"/>
                </a:cubicBezTo>
                <a:cubicBezTo>
                  <a:pt x="503" y="433"/>
                  <a:pt x="503" y="434"/>
                  <a:pt x="503" y="434"/>
                </a:cubicBezTo>
                <a:close/>
                <a:moveTo>
                  <a:pt x="501" y="431"/>
                </a:moveTo>
                <a:cubicBezTo>
                  <a:pt x="502" y="430"/>
                  <a:pt x="502" y="432"/>
                  <a:pt x="501" y="431"/>
                </a:cubicBezTo>
                <a:close/>
                <a:moveTo>
                  <a:pt x="500" y="448"/>
                </a:moveTo>
                <a:cubicBezTo>
                  <a:pt x="500" y="447"/>
                  <a:pt x="501" y="447"/>
                  <a:pt x="501" y="447"/>
                </a:cubicBezTo>
                <a:cubicBezTo>
                  <a:pt x="502" y="448"/>
                  <a:pt x="500" y="448"/>
                  <a:pt x="500" y="448"/>
                </a:cubicBezTo>
                <a:close/>
                <a:moveTo>
                  <a:pt x="501" y="429"/>
                </a:moveTo>
                <a:cubicBezTo>
                  <a:pt x="500" y="429"/>
                  <a:pt x="499" y="427"/>
                  <a:pt x="499" y="426"/>
                </a:cubicBezTo>
                <a:cubicBezTo>
                  <a:pt x="500" y="427"/>
                  <a:pt x="500" y="428"/>
                  <a:pt x="501" y="429"/>
                </a:cubicBezTo>
                <a:close/>
                <a:moveTo>
                  <a:pt x="499" y="566"/>
                </a:moveTo>
                <a:cubicBezTo>
                  <a:pt x="500" y="568"/>
                  <a:pt x="495" y="566"/>
                  <a:pt x="497" y="565"/>
                </a:cubicBezTo>
                <a:cubicBezTo>
                  <a:pt x="498" y="564"/>
                  <a:pt x="499" y="565"/>
                  <a:pt x="499" y="566"/>
                </a:cubicBezTo>
                <a:close/>
                <a:moveTo>
                  <a:pt x="498" y="149"/>
                </a:moveTo>
                <a:cubicBezTo>
                  <a:pt x="497" y="149"/>
                  <a:pt x="496" y="149"/>
                  <a:pt x="495" y="148"/>
                </a:cubicBezTo>
                <a:cubicBezTo>
                  <a:pt x="496" y="147"/>
                  <a:pt x="497" y="149"/>
                  <a:pt x="498" y="149"/>
                </a:cubicBezTo>
                <a:close/>
                <a:moveTo>
                  <a:pt x="494" y="480"/>
                </a:moveTo>
                <a:cubicBezTo>
                  <a:pt x="495" y="480"/>
                  <a:pt x="494" y="482"/>
                  <a:pt x="494" y="481"/>
                </a:cubicBezTo>
                <a:cubicBezTo>
                  <a:pt x="494" y="481"/>
                  <a:pt x="494" y="480"/>
                  <a:pt x="494" y="480"/>
                </a:cubicBezTo>
                <a:close/>
                <a:moveTo>
                  <a:pt x="487" y="591"/>
                </a:moveTo>
                <a:cubicBezTo>
                  <a:pt x="488" y="592"/>
                  <a:pt x="491" y="594"/>
                  <a:pt x="491" y="595"/>
                </a:cubicBezTo>
                <a:cubicBezTo>
                  <a:pt x="491" y="596"/>
                  <a:pt x="487" y="593"/>
                  <a:pt x="487" y="591"/>
                </a:cubicBezTo>
                <a:close/>
                <a:moveTo>
                  <a:pt x="487" y="573"/>
                </a:moveTo>
                <a:cubicBezTo>
                  <a:pt x="486" y="573"/>
                  <a:pt x="488" y="573"/>
                  <a:pt x="487" y="573"/>
                </a:cubicBezTo>
                <a:close/>
                <a:moveTo>
                  <a:pt x="490" y="482"/>
                </a:moveTo>
                <a:cubicBezTo>
                  <a:pt x="490" y="485"/>
                  <a:pt x="485" y="482"/>
                  <a:pt x="487" y="481"/>
                </a:cubicBezTo>
                <a:cubicBezTo>
                  <a:pt x="488" y="480"/>
                  <a:pt x="490" y="482"/>
                  <a:pt x="490" y="482"/>
                </a:cubicBezTo>
                <a:close/>
                <a:moveTo>
                  <a:pt x="487" y="468"/>
                </a:moveTo>
                <a:cubicBezTo>
                  <a:pt x="487" y="469"/>
                  <a:pt x="486" y="466"/>
                  <a:pt x="487" y="468"/>
                </a:cubicBezTo>
                <a:close/>
                <a:moveTo>
                  <a:pt x="486" y="380"/>
                </a:moveTo>
                <a:cubicBezTo>
                  <a:pt x="486" y="379"/>
                  <a:pt x="488" y="382"/>
                  <a:pt x="486" y="380"/>
                </a:cubicBezTo>
                <a:close/>
                <a:moveTo>
                  <a:pt x="486" y="467"/>
                </a:moveTo>
                <a:cubicBezTo>
                  <a:pt x="486" y="466"/>
                  <a:pt x="485" y="466"/>
                  <a:pt x="485" y="465"/>
                </a:cubicBezTo>
                <a:cubicBezTo>
                  <a:pt x="486" y="465"/>
                  <a:pt x="486" y="466"/>
                  <a:pt x="486" y="467"/>
                </a:cubicBezTo>
                <a:close/>
                <a:moveTo>
                  <a:pt x="486" y="560"/>
                </a:moveTo>
                <a:cubicBezTo>
                  <a:pt x="485" y="561"/>
                  <a:pt x="485" y="558"/>
                  <a:pt x="486" y="560"/>
                </a:cubicBezTo>
                <a:close/>
                <a:moveTo>
                  <a:pt x="484" y="463"/>
                </a:moveTo>
                <a:cubicBezTo>
                  <a:pt x="485" y="463"/>
                  <a:pt x="485" y="464"/>
                  <a:pt x="485" y="464"/>
                </a:cubicBezTo>
                <a:cubicBezTo>
                  <a:pt x="485" y="464"/>
                  <a:pt x="484" y="464"/>
                  <a:pt x="484" y="463"/>
                </a:cubicBezTo>
                <a:close/>
                <a:moveTo>
                  <a:pt x="484" y="462"/>
                </a:moveTo>
                <a:cubicBezTo>
                  <a:pt x="483" y="461"/>
                  <a:pt x="484" y="460"/>
                  <a:pt x="484" y="462"/>
                </a:cubicBezTo>
                <a:close/>
                <a:moveTo>
                  <a:pt x="484" y="465"/>
                </a:moveTo>
                <a:cubicBezTo>
                  <a:pt x="483" y="465"/>
                  <a:pt x="483" y="464"/>
                  <a:pt x="483" y="463"/>
                </a:cubicBezTo>
                <a:cubicBezTo>
                  <a:pt x="484" y="463"/>
                  <a:pt x="484" y="464"/>
                  <a:pt x="484" y="465"/>
                </a:cubicBezTo>
                <a:close/>
                <a:moveTo>
                  <a:pt x="483" y="460"/>
                </a:moveTo>
                <a:cubicBezTo>
                  <a:pt x="482" y="459"/>
                  <a:pt x="481" y="458"/>
                  <a:pt x="482" y="456"/>
                </a:cubicBezTo>
                <a:cubicBezTo>
                  <a:pt x="482" y="457"/>
                  <a:pt x="483" y="458"/>
                  <a:pt x="483" y="460"/>
                </a:cubicBezTo>
                <a:close/>
                <a:moveTo>
                  <a:pt x="482" y="461"/>
                </a:moveTo>
                <a:cubicBezTo>
                  <a:pt x="483" y="462"/>
                  <a:pt x="481" y="460"/>
                  <a:pt x="482" y="461"/>
                </a:cubicBezTo>
                <a:close/>
                <a:moveTo>
                  <a:pt x="486" y="590"/>
                </a:moveTo>
                <a:cubicBezTo>
                  <a:pt x="484" y="587"/>
                  <a:pt x="482" y="585"/>
                  <a:pt x="481" y="582"/>
                </a:cubicBezTo>
                <a:cubicBezTo>
                  <a:pt x="483" y="584"/>
                  <a:pt x="485" y="587"/>
                  <a:pt x="486" y="590"/>
                </a:cubicBezTo>
                <a:close/>
                <a:moveTo>
                  <a:pt x="480" y="457"/>
                </a:moveTo>
                <a:cubicBezTo>
                  <a:pt x="480" y="457"/>
                  <a:pt x="479" y="454"/>
                  <a:pt x="480" y="457"/>
                </a:cubicBezTo>
                <a:close/>
                <a:moveTo>
                  <a:pt x="479" y="414"/>
                </a:moveTo>
                <a:cubicBezTo>
                  <a:pt x="479" y="413"/>
                  <a:pt x="478" y="413"/>
                  <a:pt x="479" y="412"/>
                </a:cubicBezTo>
                <a:cubicBezTo>
                  <a:pt x="479" y="413"/>
                  <a:pt x="480" y="413"/>
                  <a:pt x="479" y="414"/>
                </a:cubicBezTo>
                <a:close/>
                <a:moveTo>
                  <a:pt x="478" y="401"/>
                </a:moveTo>
                <a:cubicBezTo>
                  <a:pt x="477" y="400"/>
                  <a:pt x="475" y="397"/>
                  <a:pt x="475" y="394"/>
                </a:cubicBezTo>
                <a:cubicBezTo>
                  <a:pt x="477" y="396"/>
                  <a:pt x="480" y="404"/>
                  <a:pt x="478" y="401"/>
                </a:cubicBezTo>
                <a:close/>
                <a:moveTo>
                  <a:pt x="474" y="393"/>
                </a:moveTo>
                <a:cubicBezTo>
                  <a:pt x="474" y="393"/>
                  <a:pt x="474" y="393"/>
                  <a:pt x="474" y="393"/>
                </a:cubicBezTo>
                <a:cubicBezTo>
                  <a:pt x="474" y="393"/>
                  <a:pt x="474" y="393"/>
                  <a:pt x="474" y="393"/>
                </a:cubicBezTo>
                <a:cubicBezTo>
                  <a:pt x="474" y="393"/>
                  <a:pt x="474" y="393"/>
                  <a:pt x="474" y="393"/>
                </a:cubicBezTo>
                <a:close/>
                <a:moveTo>
                  <a:pt x="469" y="488"/>
                </a:moveTo>
                <a:cubicBezTo>
                  <a:pt x="471" y="488"/>
                  <a:pt x="472" y="491"/>
                  <a:pt x="473" y="493"/>
                </a:cubicBezTo>
                <a:cubicBezTo>
                  <a:pt x="471" y="492"/>
                  <a:pt x="470" y="489"/>
                  <a:pt x="469" y="488"/>
                </a:cubicBezTo>
                <a:close/>
                <a:moveTo>
                  <a:pt x="472" y="391"/>
                </a:moveTo>
                <a:cubicBezTo>
                  <a:pt x="471" y="389"/>
                  <a:pt x="470" y="388"/>
                  <a:pt x="469" y="385"/>
                </a:cubicBezTo>
                <a:cubicBezTo>
                  <a:pt x="471" y="386"/>
                  <a:pt x="472" y="389"/>
                  <a:pt x="472" y="391"/>
                </a:cubicBezTo>
                <a:close/>
                <a:moveTo>
                  <a:pt x="469" y="124"/>
                </a:moveTo>
                <a:cubicBezTo>
                  <a:pt x="469" y="125"/>
                  <a:pt x="467" y="124"/>
                  <a:pt x="467" y="124"/>
                </a:cubicBezTo>
                <a:cubicBezTo>
                  <a:pt x="464" y="122"/>
                  <a:pt x="470" y="123"/>
                  <a:pt x="469" y="124"/>
                </a:cubicBezTo>
                <a:close/>
                <a:moveTo>
                  <a:pt x="466" y="430"/>
                </a:moveTo>
                <a:cubicBezTo>
                  <a:pt x="466" y="434"/>
                  <a:pt x="471" y="437"/>
                  <a:pt x="470" y="440"/>
                </a:cubicBezTo>
                <a:cubicBezTo>
                  <a:pt x="470" y="440"/>
                  <a:pt x="465" y="433"/>
                  <a:pt x="466" y="430"/>
                </a:cubicBezTo>
                <a:close/>
                <a:moveTo>
                  <a:pt x="465" y="555"/>
                </a:moveTo>
                <a:cubicBezTo>
                  <a:pt x="465" y="555"/>
                  <a:pt x="466" y="556"/>
                  <a:pt x="466" y="556"/>
                </a:cubicBezTo>
                <a:cubicBezTo>
                  <a:pt x="467" y="557"/>
                  <a:pt x="464" y="556"/>
                  <a:pt x="465" y="555"/>
                </a:cubicBezTo>
                <a:close/>
                <a:moveTo>
                  <a:pt x="465" y="575"/>
                </a:moveTo>
                <a:cubicBezTo>
                  <a:pt x="465" y="575"/>
                  <a:pt x="465" y="575"/>
                  <a:pt x="466" y="576"/>
                </a:cubicBezTo>
                <a:cubicBezTo>
                  <a:pt x="467" y="577"/>
                  <a:pt x="464" y="576"/>
                  <a:pt x="465" y="575"/>
                </a:cubicBezTo>
                <a:close/>
                <a:moveTo>
                  <a:pt x="463" y="584"/>
                </a:moveTo>
                <a:cubicBezTo>
                  <a:pt x="464" y="583"/>
                  <a:pt x="464" y="584"/>
                  <a:pt x="465" y="585"/>
                </a:cubicBezTo>
                <a:cubicBezTo>
                  <a:pt x="465" y="586"/>
                  <a:pt x="463" y="585"/>
                  <a:pt x="463" y="584"/>
                </a:cubicBezTo>
                <a:close/>
                <a:moveTo>
                  <a:pt x="464" y="655"/>
                </a:moveTo>
                <a:cubicBezTo>
                  <a:pt x="464" y="656"/>
                  <a:pt x="462" y="656"/>
                  <a:pt x="462" y="655"/>
                </a:cubicBezTo>
                <a:cubicBezTo>
                  <a:pt x="462" y="655"/>
                  <a:pt x="464" y="654"/>
                  <a:pt x="464" y="655"/>
                </a:cubicBezTo>
                <a:close/>
                <a:moveTo>
                  <a:pt x="463" y="619"/>
                </a:moveTo>
                <a:cubicBezTo>
                  <a:pt x="462" y="620"/>
                  <a:pt x="461" y="619"/>
                  <a:pt x="461" y="618"/>
                </a:cubicBezTo>
                <a:cubicBezTo>
                  <a:pt x="462" y="619"/>
                  <a:pt x="462" y="619"/>
                  <a:pt x="463" y="619"/>
                </a:cubicBezTo>
                <a:close/>
                <a:moveTo>
                  <a:pt x="461" y="536"/>
                </a:moveTo>
                <a:cubicBezTo>
                  <a:pt x="462" y="537"/>
                  <a:pt x="458" y="535"/>
                  <a:pt x="459" y="534"/>
                </a:cubicBezTo>
                <a:cubicBezTo>
                  <a:pt x="461" y="533"/>
                  <a:pt x="461" y="535"/>
                  <a:pt x="461" y="536"/>
                </a:cubicBezTo>
                <a:close/>
                <a:moveTo>
                  <a:pt x="454" y="150"/>
                </a:moveTo>
                <a:cubicBezTo>
                  <a:pt x="456" y="152"/>
                  <a:pt x="459" y="152"/>
                  <a:pt x="460" y="154"/>
                </a:cubicBezTo>
                <a:cubicBezTo>
                  <a:pt x="458" y="154"/>
                  <a:pt x="456" y="152"/>
                  <a:pt x="454" y="150"/>
                </a:cubicBezTo>
                <a:close/>
                <a:moveTo>
                  <a:pt x="459" y="122"/>
                </a:moveTo>
                <a:cubicBezTo>
                  <a:pt x="457" y="120"/>
                  <a:pt x="461" y="123"/>
                  <a:pt x="459" y="122"/>
                </a:cubicBezTo>
                <a:close/>
                <a:moveTo>
                  <a:pt x="453" y="94"/>
                </a:moveTo>
                <a:cubicBezTo>
                  <a:pt x="451" y="92"/>
                  <a:pt x="455" y="96"/>
                  <a:pt x="453" y="94"/>
                </a:cubicBezTo>
                <a:close/>
                <a:moveTo>
                  <a:pt x="451" y="96"/>
                </a:moveTo>
                <a:cubicBezTo>
                  <a:pt x="455" y="93"/>
                  <a:pt x="458" y="100"/>
                  <a:pt x="454" y="100"/>
                </a:cubicBezTo>
                <a:cubicBezTo>
                  <a:pt x="453" y="101"/>
                  <a:pt x="452" y="100"/>
                  <a:pt x="451" y="98"/>
                </a:cubicBezTo>
                <a:cubicBezTo>
                  <a:pt x="450" y="97"/>
                  <a:pt x="450" y="96"/>
                  <a:pt x="451" y="96"/>
                </a:cubicBezTo>
                <a:close/>
                <a:moveTo>
                  <a:pt x="447" y="103"/>
                </a:moveTo>
                <a:cubicBezTo>
                  <a:pt x="447" y="103"/>
                  <a:pt x="447" y="103"/>
                  <a:pt x="447" y="103"/>
                </a:cubicBezTo>
                <a:cubicBezTo>
                  <a:pt x="446" y="103"/>
                  <a:pt x="447" y="103"/>
                  <a:pt x="447" y="103"/>
                </a:cubicBezTo>
                <a:close/>
                <a:moveTo>
                  <a:pt x="444" y="145"/>
                </a:moveTo>
                <a:cubicBezTo>
                  <a:pt x="446" y="145"/>
                  <a:pt x="449" y="147"/>
                  <a:pt x="451" y="149"/>
                </a:cubicBezTo>
                <a:cubicBezTo>
                  <a:pt x="448" y="149"/>
                  <a:pt x="441" y="143"/>
                  <a:pt x="444" y="145"/>
                </a:cubicBezTo>
                <a:close/>
                <a:moveTo>
                  <a:pt x="442" y="515"/>
                </a:moveTo>
                <a:cubicBezTo>
                  <a:pt x="440" y="516"/>
                  <a:pt x="441" y="513"/>
                  <a:pt x="442" y="515"/>
                </a:cubicBezTo>
                <a:close/>
                <a:moveTo>
                  <a:pt x="436" y="80"/>
                </a:moveTo>
                <a:cubicBezTo>
                  <a:pt x="434" y="80"/>
                  <a:pt x="435" y="78"/>
                  <a:pt x="436" y="80"/>
                </a:cubicBezTo>
                <a:close/>
                <a:moveTo>
                  <a:pt x="440" y="114"/>
                </a:moveTo>
                <a:cubicBezTo>
                  <a:pt x="438" y="111"/>
                  <a:pt x="432" y="110"/>
                  <a:pt x="431" y="107"/>
                </a:cubicBezTo>
                <a:cubicBezTo>
                  <a:pt x="432" y="108"/>
                  <a:pt x="439" y="111"/>
                  <a:pt x="440" y="114"/>
                </a:cubicBezTo>
                <a:close/>
                <a:moveTo>
                  <a:pt x="433" y="179"/>
                </a:moveTo>
                <a:cubicBezTo>
                  <a:pt x="431" y="177"/>
                  <a:pt x="428" y="175"/>
                  <a:pt x="426" y="172"/>
                </a:cubicBezTo>
                <a:cubicBezTo>
                  <a:pt x="429" y="174"/>
                  <a:pt x="432" y="176"/>
                  <a:pt x="433" y="179"/>
                </a:cubicBezTo>
                <a:close/>
                <a:moveTo>
                  <a:pt x="425" y="594"/>
                </a:moveTo>
                <a:cubicBezTo>
                  <a:pt x="425" y="595"/>
                  <a:pt x="426" y="595"/>
                  <a:pt x="426" y="595"/>
                </a:cubicBezTo>
                <a:cubicBezTo>
                  <a:pt x="426" y="596"/>
                  <a:pt x="424" y="595"/>
                  <a:pt x="425" y="594"/>
                </a:cubicBezTo>
                <a:close/>
                <a:moveTo>
                  <a:pt x="426" y="549"/>
                </a:moveTo>
                <a:cubicBezTo>
                  <a:pt x="426" y="550"/>
                  <a:pt x="425" y="548"/>
                  <a:pt x="426" y="549"/>
                </a:cubicBezTo>
                <a:close/>
                <a:moveTo>
                  <a:pt x="426" y="468"/>
                </a:moveTo>
                <a:cubicBezTo>
                  <a:pt x="423" y="467"/>
                  <a:pt x="426" y="466"/>
                  <a:pt x="426" y="468"/>
                </a:cubicBezTo>
                <a:close/>
                <a:moveTo>
                  <a:pt x="425" y="542"/>
                </a:moveTo>
                <a:cubicBezTo>
                  <a:pt x="424" y="541"/>
                  <a:pt x="424" y="539"/>
                  <a:pt x="424" y="538"/>
                </a:cubicBezTo>
                <a:cubicBezTo>
                  <a:pt x="426" y="538"/>
                  <a:pt x="425" y="541"/>
                  <a:pt x="425" y="542"/>
                </a:cubicBezTo>
                <a:close/>
                <a:moveTo>
                  <a:pt x="423" y="592"/>
                </a:moveTo>
                <a:cubicBezTo>
                  <a:pt x="421" y="592"/>
                  <a:pt x="420" y="590"/>
                  <a:pt x="418" y="589"/>
                </a:cubicBezTo>
                <a:cubicBezTo>
                  <a:pt x="420" y="590"/>
                  <a:pt x="419" y="589"/>
                  <a:pt x="420" y="588"/>
                </a:cubicBezTo>
                <a:cubicBezTo>
                  <a:pt x="423" y="587"/>
                  <a:pt x="425" y="591"/>
                  <a:pt x="423" y="592"/>
                </a:cubicBezTo>
                <a:close/>
                <a:moveTo>
                  <a:pt x="420" y="499"/>
                </a:moveTo>
                <a:cubicBezTo>
                  <a:pt x="419" y="500"/>
                  <a:pt x="417" y="496"/>
                  <a:pt x="416" y="494"/>
                </a:cubicBezTo>
                <a:cubicBezTo>
                  <a:pt x="418" y="496"/>
                  <a:pt x="419" y="497"/>
                  <a:pt x="420" y="499"/>
                </a:cubicBezTo>
                <a:close/>
                <a:moveTo>
                  <a:pt x="417" y="100"/>
                </a:moveTo>
                <a:cubicBezTo>
                  <a:pt x="418" y="101"/>
                  <a:pt x="415" y="99"/>
                  <a:pt x="417" y="100"/>
                </a:cubicBezTo>
                <a:close/>
                <a:moveTo>
                  <a:pt x="416" y="49"/>
                </a:moveTo>
                <a:cubicBezTo>
                  <a:pt x="416" y="49"/>
                  <a:pt x="415" y="49"/>
                  <a:pt x="416" y="49"/>
                </a:cubicBezTo>
                <a:cubicBezTo>
                  <a:pt x="416" y="48"/>
                  <a:pt x="418" y="50"/>
                  <a:pt x="416" y="49"/>
                </a:cubicBezTo>
                <a:close/>
                <a:moveTo>
                  <a:pt x="413" y="491"/>
                </a:moveTo>
                <a:cubicBezTo>
                  <a:pt x="414" y="491"/>
                  <a:pt x="414" y="493"/>
                  <a:pt x="416" y="494"/>
                </a:cubicBezTo>
                <a:cubicBezTo>
                  <a:pt x="415" y="494"/>
                  <a:pt x="413" y="492"/>
                  <a:pt x="413" y="491"/>
                </a:cubicBezTo>
                <a:close/>
                <a:moveTo>
                  <a:pt x="415" y="46"/>
                </a:moveTo>
                <a:cubicBezTo>
                  <a:pt x="417" y="47"/>
                  <a:pt x="414" y="45"/>
                  <a:pt x="415" y="46"/>
                </a:cubicBezTo>
                <a:close/>
                <a:moveTo>
                  <a:pt x="414" y="98"/>
                </a:moveTo>
                <a:cubicBezTo>
                  <a:pt x="414" y="97"/>
                  <a:pt x="417" y="100"/>
                  <a:pt x="414" y="98"/>
                </a:cubicBezTo>
                <a:close/>
                <a:moveTo>
                  <a:pt x="414" y="134"/>
                </a:moveTo>
                <a:cubicBezTo>
                  <a:pt x="413" y="134"/>
                  <a:pt x="412" y="133"/>
                  <a:pt x="411" y="133"/>
                </a:cubicBezTo>
                <a:cubicBezTo>
                  <a:pt x="411" y="132"/>
                  <a:pt x="413" y="133"/>
                  <a:pt x="414" y="134"/>
                </a:cubicBezTo>
                <a:close/>
                <a:moveTo>
                  <a:pt x="413" y="99"/>
                </a:moveTo>
                <a:cubicBezTo>
                  <a:pt x="412" y="99"/>
                  <a:pt x="411" y="98"/>
                  <a:pt x="411" y="97"/>
                </a:cubicBezTo>
                <a:cubicBezTo>
                  <a:pt x="412" y="98"/>
                  <a:pt x="413" y="98"/>
                  <a:pt x="413" y="99"/>
                </a:cubicBezTo>
                <a:close/>
                <a:moveTo>
                  <a:pt x="411" y="96"/>
                </a:moveTo>
                <a:cubicBezTo>
                  <a:pt x="409" y="95"/>
                  <a:pt x="412" y="96"/>
                  <a:pt x="411" y="96"/>
                </a:cubicBezTo>
                <a:close/>
                <a:moveTo>
                  <a:pt x="412" y="68"/>
                </a:moveTo>
                <a:cubicBezTo>
                  <a:pt x="411" y="68"/>
                  <a:pt x="410" y="67"/>
                  <a:pt x="409" y="67"/>
                </a:cubicBezTo>
                <a:cubicBezTo>
                  <a:pt x="410" y="66"/>
                  <a:pt x="412" y="67"/>
                  <a:pt x="412" y="68"/>
                </a:cubicBezTo>
                <a:close/>
                <a:moveTo>
                  <a:pt x="408" y="95"/>
                </a:moveTo>
                <a:cubicBezTo>
                  <a:pt x="410" y="96"/>
                  <a:pt x="409" y="97"/>
                  <a:pt x="408" y="95"/>
                </a:cubicBezTo>
                <a:close/>
                <a:moveTo>
                  <a:pt x="406" y="93"/>
                </a:moveTo>
                <a:cubicBezTo>
                  <a:pt x="407" y="93"/>
                  <a:pt x="408" y="94"/>
                  <a:pt x="409" y="95"/>
                </a:cubicBezTo>
                <a:cubicBezTo>
                  <a:pt x="408" y="94"/>
                  <a:pt x="407" y="94"/>
                  <a:pt x="406" y="93"/>
                </a:cubicBezTo>
                <a:close/>
                <a:moveTo>
                  <a:pt x="408" y="66"/>
                </a:moveTo>
                <a:cubicBezTo>
                  <a:pt x="406" y="66"/>
                  <a:pt x="404" y="64"/>
                  <a:pt x="402" y="63"/>
                </a:cubicBezTo>
                <a:cubicBezTo>
                  <a:pt x="404" y="63"/>
                  <a:pt x="406" y="65"/>
                  <a:pt x="408" y="66"/>
                </a:cubicBezTo>
                <a:close/>
                <a:moveTo>
                  <a:pt x="403" y="92"/>
                </a:moveTo>
                <a:cubicBezTo>
                  <a:pt x="402" y="91"/>
                  <a:pt x="404" y="94"/>
                  <a:pt x="403" y="92"/>
                </a:cubicBezTo>
                <a:close/>
                <a:moveTo>
                  <a:pt x="402" y="116"/>
                </a:moveTo>
                <a:cubicBezTo>
                  <a:pt x="402" y="116"/>
                  <a:pt x="401" y="117"/>
                  <a:pt x="401" y="117"/>
                </a:cubicBezTo>
                <a:cubicBezTo>
                  <a:pt x="400" y="117"/>
                  <a:pt x="401" y="115"/>
                  <a:pt x="402" y="116"/>
                </a:cubicBezTo>
                <a:close/>
                <a:moveTo>
                  <a:pt x="404" y="171"/>
                </a:moveTo>
                <a:cubicBezTo>
                  <a:pt x="403" y="173"/>
                  <a:pt x="400" y="171"/>
                  <a:pt x="400" y="170"/>
                </a:cubicBezTo>
                <a:cubicBezTo>
                  <a:pt x="398" y="167"/>
                  <a:pt x="404" y="169"/>
                  <a:pt x="404" y="171"/>
                </a:cubicBezTo>
                <a:close/>
                <a:moveTo>
                  <a:pt x="398" y="513"/>
                </a:moveTo>
                <a:cubicBezTo>
                  <a:pt x="398" y="512"/>
                  <a:pt x="399" y="513"/>
                  <a:pt x="400" y="513"/>
                </a:cubicBezTo>
                <a:cubicBezTo>
                  <a:pt x="401" y="516"/>
                  <a:pt x="396" y="514"/>
                  <a:pt x="398" y="513"/>
                </a:cubicBezTo>
                <a:close/>
                <a:moveTo>
                  <a:pt x="397" y="471"/>
                </a:moveTo>
                <a:cubicBezTo>
                  <a:pt x="396" y="472"/>
                  <a:pt x="396" y="469"/>
                  <a:pt x="397" y="470"/>
                </a:cubicBezTo>
                <a:cubicBezTo>
                  <a:pt x="397" y="470"/>
                  <a:pt x="397" y="471"/>
                  <a:pt x="397" y="471"/>
                </a:cubicBezTo>
                <a:close/>
                <a:moveTo>
                  <a:pt x="397" y="427"/>
                </a:moveTo>
                <a:cubicBezTo>
                  <a:pt x="398" y="428"/>
                  <a:pt x="394" y="427"/>
                  <a:pt x="396" y="426"/>
                </a:cubicBezTo>
                <a:cubicBezTo>
                  <a:pt x="396" y="426"/>
                  <a:pt x="397" y="427"/>
                  <a:pt x="397" y="427"/>
                </a:cubicBezTo>
                <a:close/>
                <a:moveTo>
                  <a:pt x="396" y="81"/>
                </a:moveTo>
                <a:cubicBezTo>
                  <a:pt x="396" y="82"/>
                  <a:pt x="393" y="82"/>
                  <a:pt x="393" y="81"/>
                </a:cubicBezTo>
                <a:cubicBezTo>
                  <a:pt x="391" y="79"/>
                  <a:pt x="397" y="79"/>
                  <a:pt x="396" y="81"/>
                </a:cubicBezTo>
                <a:close/>
                <a:moveTo>
                  <a:pt x="393" y="150"/>
                </a:moveTo>
                <a:cubicBezTo>
                  <a:pt x="392" y="150"/>
                  <a:pt x="391" y="149"/>
                  <a:pt x="391" y="148"/>
                </a:cubicBezTo>
                <a:cubicBezTo>
                  <a:pt x="392" y="148"/>
                  <a:pt x="393" y="149"/>
                  <a:pt x="393" y="150"/>
                </a:cubicBezTo>
                <a:close/>
                <a:moveTo>
                  <a:pt x="395" y="400"/>
                </a:moveTo>
                <a:cubicBezTo>
                  <a:pt x="394" y="403"/>
                  <a:pt x="389" y="398"/>
                  <a:pt x="390" y="397"/>
                </a:cubicBezTo>
                <a:cubicBezTo>
                  <a:pt x="392" y="395"/>
                  <a:pt x="395" y="399"/>
                  <a:pt x="395" y="400"/>
                </a:cubicBezTo>
                <a:close/>
                <a:moveTo>
                  <a:pt x="391" y="167"/>
                </a:moveTo>
                <a:cubicBezTo>
                  <a:pt x="390" y="168"/>
                  <a:pt x="389" y="166"/>
                  <a:pt x="391" y="167"/>
                </a:cubicBezTo>
                <a:close/>
                <a:moveTo>
                  <a:pt x="390" y="147"/>
                </a:moveTo>
                <a:cubicBezTo>
                  <a:pt x="390" y="146"/>
                  <a:pt x="391" y="149"/>
                  <a:pt x="390" y="147"/>
                </a:cubicBezTo>
                <a:close/>
                <a:moveTo>
                  <a:pt x="390" y="84"/>
                </a:moveTo>
                <a:cubicBezTo>
                  <a:pt x="390" y="85"/>
                  <a:pt x="390" y="85"/>
                  <a:pt x="390" y="85"/>
                </a:cubicBezTo>
                <a:cubicBezTo>
                  <a:pt x="389" y="86"/>
                  <a:pt x="389" y="84"/>
                  <a:pt x="390" y="84"/>
                </a:cubicBezTo>
                <a:close/>
                <a:moveTo>
                  <a:pt x="391" y="691"/>
                </a:moveTo>
                <a:cubicBezTo>
                  <a:pt x="391" y="691"/>
                  <a:pt x="391" y="691"/>
                  <a:pt x="391" y="692"/>
                </a:cubicBezTo>
                <a:cubicBezTo>
                  <a:pt x="388" y="691"/>
                  <a:pt x="382" y="691"/>
                  <a:pt x="384" y="687"/>
                </a:cubicBezTo>
                <a:cubicBezTo>
                  <a:pt x="384" y="687"/>
                  <a:pt x="387" y="686"/>
                  <a:pt x="388" y="687"/>
                </a:cubicBezTo>
                <a:cubicBezTo>
                  <a:pt x="391" y="688"/>
                  <a:pt x="388" y="691"/>
                  <a:pt x="391" y="691"/>
                </a:cubicBezTo>
                <a:close/>
                <a:moveTo>
                  <a:pt x="381" y="643"/>
                </a:moveTo>
                <a:cubicBezTo>
                  <a:pt x="381" y="642"/>
                  <a:pt x="381" y="641"/>
                  <a:pt x="381" y="641"/>
                </a:cubicBezTo>
                <a:cubicBezTo>
                  <a:pt x="381" y="641"/>
                  <a:pt x="379" y="641"/>
                  <a:pt x="379" y="640"/>
                </a:cubicBezTo>
                <a:cubicBezTo>
                  <a:pt x="380" y="637"/>
                  <a:pt x="387" y="642"/>
                  <a:pt x="388" y="643"/>
                </a:cubicBezTo>
                <a:cubicBezTo>
                  <a:pt x="387" y="642"/>
                  <a:pt x="383" y="646"/>
                  <a:pt x="381" y="643"/>
                </a:cubicBezTo>
                <a:close/>
                <a:moveTo>
                  <a:pt x="382" y="615"/>
                </a:moveTo>
                <a:cubicBezTo>
                  <a:pt x="383" y="616"/>
                  <a:pt x="381" y="614"/>
                  <a:pt x="382" y="615"/>
                </a:cubicBezTo>
                <a:close/>
                <a:moveTo>
                  <a:pt x="383" y="159"/>
                </a:moveTo>
                <a:cubicBezTo>
                  <a:pt x="383" y="158"/>
                  <a:pt x="385" y="161"/>
                  <a:pt x="383" y="160"/>
                </a:cubicBezTo>
                <a:cubicBezTo>
                  <a:pt x="383" y="160"/>
                  <a:pt x="382" y="159"/>
                  <a:pt x="383" y="159"/>
                </a:cubicBezTo>
                <a:close/>
                <a:moveTo>
                  <a:pt x="387" y="432"/>
                </a:moveTo>
                <a:cubicBezTo>
                  <a:pt x="387" y="432"/>
                  <a:pt x="387" y="433"/>
                  <a:pt x="387" y="433"/>
                </a:cubicBezTo>
                <a:cubicBezTo>
                  <a:pt x="386" y="434"/>
                  <a:pt x="386" y="432"/>
                  <a:pt x="387" y="432"/>
                </a:cubicBezTo>
                <a:close/>
                <a:moveTo>
                  <a:pt x="387" y="159"/>
                </a:moveTo>
                <a:cubicBezTo>
                  <a:pt x="388" y="159"/>
                  <a:pt x="387" y="161"/>
                  <a:pt x="387" y="159"/>
                </a:cubicBezTo>
                <a:close/>
                <a:moveTo>
                  <a:pt x="388" y="106"/>
                </a:moveTo>
                <a:cubicBezTo>
                  <a:pt x="384" y="103"/>
                  <a:pt x="381" y="102"/>
                  <a:pt x="378" y="97"/>
                </a:cubicBezTo>
                <a:cubicBezTo>
                  <a:pt x="382" y="99"/>
                  <a:pt x="385" y="103"/>
                  <a:pt x="388" y="106"/>
                </a:cubicBezTo>
                <a:close/>
                <a:moveTo>
                  <a:pt x="377" y="583"/>
                </a:moveTo>
                <a:cubicBezTo>
                  <a:pt x="379" y="584"/>
                  <a:pt x="377" y="585"/>
                  <a:pt x="377" y="583"/>
                </a:cubicBezTo>
                <a:close/>
                <a:moveTo>
                  <a:pt x="376" y="149"/>
                </a:moveTo>
                <a:cubicBezTo>
                  <a:pt x="376" y="149"/>
                  <a:pt x="375" y="149"/>
                  <a:pt x="376" y="148"/>
                </a:cubicBezTo>
                <a:cubicBezTo>
                  <a:pt x="376" y="147"/>
                  <a:pt x="378" y="151"/>
                  <a:pt x="376" y="149"/>
                </a:cubicBezTo>
                <a:close/>
                <a:moveTo>
                  <a:pt x="376" y="89"/>
                </a:moveTo>
                <a:cubicBezTo>
                  <a:pt x="375" y="89"/>
                  <a:pt x="377" y="90"/>
                  <a:pt x="376" y="89"/>
                </a:cubicBezTo>
                <a:close/>
                <a:moveTo>
                  <a:pt x="376" y="119"/>
                </a:moveTo>
                <a:cubicBezTo>
                  <a:pt x="376" y="119"/>
                  <a:pt x="376" y="119"/>
                  <a:pt x="376" y="119"/>
                </a:cubicBezTo>
                <a:cubicBezTo>
                  <a:pt x="376" y="119"/>
                  <a:pt x="377" y="119"/>
                  <a:pt x="376" y="119"/>
                </a:cubicBezTo>
                <a:close/>
                <a:moveTo>
                  <a:pt x="377" y="127"/>
                </a:moveTo>
                <a:cubicBezTo>
                  <a:pt x="376" y="126"/>
                  <a:pt x="376" y="126"/>
                  <a:pt x="375" y="125"/>
                </a:cubicBezTo>
                <a:cubicBezTo>
                  <a:pt x="376" y="126"/>
                  <a:pt x="377" y="126"/>
                  <a:pt x="377" y="127"/>
                </a:cubicBezTo>
                <a:close/>
                <a:moveTo>
                  <a:pt x="376" y="147"/>
                </a:moveTo>
                <a:cubicBezTo>
                  <a:pt x="374" y="147"/>
                  <a:pt x="373" y="146"/>
                  <a:pt x="372" y="144"/>
                </a:cubicBezTo>
                <a:cubicBezTo>
                  <a:pt x="374" y="144"/>
                  <a:pt x="375" y="146"/>
                  <a:pt x="376" y="147"/>
                </a:cubicBezTo>
                <a:close/>
                <a:moveTo>
                  <a:pt x="362" y="132"/>
                </a:moveTo>
                <a:cubicBezTo>
                  <a:pt x="366" y="134"/>
                  <a:pt x="369" y="139"/>
                  <a:pt x="372" y="143"/>
                </a:cubicBezTo>
                <a:cubicBezTo>
                  <a:pt x="369" y="141"/>
                  <a:pt x="365" y="135"/>
                  <a:pt x="362" y="132"/>
                </a:cubicBezTo>
                <a:close/>
                <a:moveTo>
                  <a:pt x="367" y="82"/>
                </a:moveTo>
                <a:cubicBezTo>
                  <a:pt x="366" y="81"/>
                  <a:pt x="368" y="83"/>
                  <a:pt x="367" y="82"/>
                </a:cubicBezTo>
                <a:close/>
                <a:moveTo>
                  <a:pt x="366" y="81"/>
                </a:moveTo>
                <a:cubicBezTo>
                  <a:pt x="364" y="81"/>
                  <a:pt x="362" y="79"/>
                  <a:pt x="360" y="77"/>
                </a:cubicBezTo>
                <a:cubicBezTo>
                  <a:pt x="361" y="78"/>
                  <a:pt x="365" y="79"/>
                  <a:pt x="366" y="81"/>
                </a:cubicBezTo>
                <a:close/>
                <a:moveTo>
                  <a:pt x="364" y="54"/>
                </a:moveTo>
                <a:cubicBezTo>
                  <a:pt x="363" y="54"/>
                  <a:pt x="362" y="53"/>
                  <a:pt x="362" y="53"/>
                </a:cubicBezTo>
                <a:cubicBezTo>
                  <a:pt x="362" y="52"/>
                  <a:pt x="364" y="53"/>
                  <a:pt x="364" y="54"/>
                </a:cubicBezTo>
                <a:close/>
                <a:moveTo>
                  <a:pt x="361" y="47"/>
                </a:moveTo>
                <a:cubicBezTo>
                  <a:pt x="361" y="47"/>
                  <a:pt x="360" y="47"/>
                  <a:pt x="360" y="47"/>
                </a:cubicBezTo>
                <a:cubicBezTo>
                  <a:pt x="358" y="46"/>
                  <a:pt x="362" y="45"/>
                  <a:pt x="361" y="47"/>
                </a:cubicBezTo>
                <a:close/>
                <a:moveTo>
                  <a:pt x="361" y="52"/>
                </a:moveTo>
                <a:cubicBezTo>
                  <a:pt x="360" y="53"/>
                  <a:pt x="360" y="52"/>
                  <a:pt x="359" y="52"/>
                </a:cubicBezTo>
                <a:cubicBezTo>
                  <a:pt x="359" y="51"/>
                  <a:pt x="361" y="52"/>
                  <a:pt x="361" y="52"/>
                </a:cubicBezTo>
                <a:close/>
                <a:moveTo>
                  <a:pt x="359" y="74"/>
                </a:moveTo>
                <a:cubicBezTo>
                  <a:pt x="359" y="74"/>
                  <a:pt x="357" y="73"/>
                  <a:pt x="356" y="71"/>
                </a:cubicBezTo>
                <a:cubicBezTo>
                  <a:pt x="357" y="72"/>
                  <a:pt x="358" y="72"/>
                  <a:pt x="359" y="74"/>
                </a:cubicBezTo>
                <a:close/>
                <a:moveTo>
                  <a:pt x="356" y="12"/>
                </a:moveTo>
                <a:cubicBezTo>
                  <a:pt x="357" y="11"/>
                  <a:pt x="358" y="13"/>
                  <a:pt x="356" y="12"/>
                </a:cubicBezTo>
                <a:close/>
                <a:moveTo>
                  <a:pt x="358" y="51"/>
                </a:moveTo>
                <a:cubicBezTo>
                  <a:pt x="357" y="52"/>
                  <a:pt x="356" y="51"/>
                  <a:pt x="355" y="50"/>
                </a:cubicBezTo>
                <a:cubicBezTo>
                  <a:pt x="355" y="49"/>
                  <a:pt x="357" y="51"/>
                  <a:pt x="358" y="51"/>
                </a:cubicBezTo>
                <a:close/>
                <a:moveTo>
                  <a:pt x="350" y="44"/>
                </a:moveTo>
                <a:cubicBezTo>
                  <a:pt x="349" y="44"/>
                  <a:pt x="349" y="44"/>
                  <a:pt x="349" y="43"/>
                </a:cubicBezTo>
                <a:cubicBezTo>
                  <a:pt x="348" y="43"/>
                  <a:pt x="350" y="43"/>
                  <a:pt x="350" y="44"/>
                </a:cubicBezTo>
                <a:close/>
                <a:moveTo>
                  <a:pt x="348" y="18"/>
                </a:moveTo>
                <a:cubicBezTo>
                  <a:pt x="346" y="17"/>
                  <a:pt x="349" y="18"/>
                  <a:pt x="348" y="18"/>
                </a:cubicBezTo>
                <a:close/>
                <a:moveTo>
                  <a:pt x="348" y="50"/>
                </a:moveTo>
                <a:cubicBezTo>
                  <a:pt x="347" y="50"/>
                  <a:pt x="347" y="50"/>
                  <a:pt x="347" y="50"/>
                </a:cubicBezTo>
                <a:cubicBezTo>
                  <a:pt x="348" y="50"/>
                  <a:pt x="348" y="51"/>
                  <a:pt x="348" y="50"/>
                </a:cubicBezTo>
                <a:close/>
                <a:moveTo>
                  <a:pt x="347" y="64"/>
                </a:moveTo>
                <a:cubicBezTo>
                  <a:pt x="349" y="64"/>
                  <a:pt x="352" y="68"/>
                  <a:pt x="355" y="71"/>
                </a:cubicBezTo>
                <a:cubicBezTo>
                  <a:pt x="353" y="70"/>
                  <a:pt x="351" y="68"/>
                  <a:pt x="349" y="66"/>
                </a:cubicBezTo>
                <a:cubicBezTo>
                  <a:pt x="349" y="66"/>
                  <a:pt x="344" y="64"/>
                  <a:pt x="347" y="64"/>
                </a:cubicBezTo>
                <a:close/>
                <a:moveTo>
                  <a:pt x="345" y="38"/>
                </a:moveTo>
                <a:cubicBezTo>
                  <a:pt x="345" y="38"/>
                  <a:pt x="344" y="38"/>
                  <a:pt x="344" y="37"/>
                </a:cubicBezTo>
                <a:cubicBezTo>
                  <a:pt x="345" y="35"/>
                  <a:pt x="347" y="40"/>
                  <a:pt x="345" y="38"/>
                </a:cubicBezTo>
                <a:close/>
                <a:moveTo>
                  <a:pt x="345" y="14"/>
                </a:moveTo>
                <a:cubicBezTo>
                  <a:pt x="345" y="15"/>
                  <a:pt x="343" y="14"/>
                  <a:pt x="343" y="14"/>
                </a:cubicBezTo>
                <a:cubicBezTo>
                  <a:pt x="341" y="12"/>
                  <a:pt x="346" y="12"/>
                  <a:pt x="345" y="14"/>
                </a:cubicBezTo>
                <a:close/>
                <a:moveTo>
                  <a:pt x="333" y="49"/>
                </a:moveTo>
                <a:cubicBezTo>
                  <a:pt x="335" y="48"/>
                  <a:pt x="334" y="50"/>
                  <a:pt x="333" y="49"/>
                </a:cubicBezTo>
                <a:close/>
                <a:moveTo>
                  <a:pt x="344" y="63"/>
                </a:moveTo>
                <a:cubicBezTo>
                  <a:pt x="339" y="61"/>
                  <a:pt x="335" y="59"/>
                  <a:pt x="331" y="56"/>
                </a:cubicBezTo>
                <a:cubicBezTo>
                  <a:pt x="336" y="57"/>
                  <a:pt x="340" y="60"/>
                  <a:pt x="344" y="63"/>
                </a:cubicBezTo>
                <a:close/>
                <a:moveTo>
                  <a:pt x="331" y="76"/>
                </a:moveTo>
                <a:cubicBezTo>
                  <a:pt x="331" y="77"/>
                  <a:pt x="329" y="78"/>
                  <a:pt x="329" y="77"/>
                </a:cubicBezTo>
                <a:cubicBezTo>
                  <a:pt x="329" y="77"/>
                  <a:pt x="329" y="77"/>
                  <a:pt x="329" y="77"/>
                </a:cubicBezTo>
                <a:cubicBezTo>
                  <a:pt x="329" y="78"/>
                  <a:pt x="329" y="78"/>
                  <a:pt x="328" y="78"/>
                </a:cubicBezTo>
                <a:cubicBezTo>
                  <a:pt x="327" y="79"/>
                  <a:pt x="324" y="75"/>
                  <a:pt x="327" y="75"/>
                </a:cubicBezTo>
                <a:cubicBezTo>
                  <a:pt x="328" y="75"/>
                  <a:pt x="329" y="75"/>
                  <a:pt x="329" y="76"/>
                </a:cubicBezTo>
                <a:cubicBezTo>
                  <a:pt x="329" y="76"/>
                  <a:pt x="330" y="75"/>
                  <a:pt x="331" y="76"/>
                </a:cubicBezTo>
                <a:close/>
                <a:moveTo>
                  <a:pt x="327" y="52"/>
                </a:moveTo>
                <a:cubicBezTo>
                  <a:pt x="326" y="52"/>
                  <a:pt x="329" y="52"/>
                  <a:pt x="327" y="52"/>
                </a:cubicBezTo>
                <a:close/>
                <a:moveTo>
                  <a:pt x="325" y="23"/>
                </a:moveTo>
                <a:cubicBezTo>
                  <a:pt x="325" y="22"/>
                  <a:pt x="326" y="24"/>
                  <a:pt x="325" y="23"/>
                </a:cubicBezTo>
                <a:close/>
                <a:moveTo>
                  <a:pt x="330" y="41"/>
                </a:moveTo>
                <a:cubicBezTo>
                  <a:pt x="330" y="43"/>
                  <a:pt x="325" y="43"/>
                  <a:pt x="324" y="42"/>
                </a:cubicBezTo>
                <a:cubicBezTo>
                  <a:pt x="321" y="38"/>
                  <a:pt x="330" y="41"/>
                  <a:pt x="330" y="41"/>
                </a:cubicBezTo>
                <a:close/>
                <a:moveTo>
                  <a:pt x="326" y="75"/>
                </a:moveTo>
                <a:cubicBezTo>
                  <a:pt x="326" y="76"/>
                  <a:pt x="325" y="76"/>
                  <a:pt x="325" y="75"/>
                </a:cubicBezTo>
                <a:cubicBezTo>
                  <a:pt x="324" y="75"/>
                  <a:pt x="326" y="74"/>
                  <a:pt x="326" y="75"/>
                </a:cubicBezTo>
                <a:close/>
                <a:moveTo>
                  <a:pt x="324" y="68"/>
                </a:moveTo>
                <a:cubicBezTo>
                  <a:pt x="324" y="67"/>
                  <a:pt x="325" y="67"/>
                  <a:pt x="325" y="68"/>
                </a:cubicBezTo>
                <a:cubicBezTo>
                  <a:pt x="326" y="69"/>
                  <a:pt x="324" y="68"/>
                  <a:pt x="324" y="68"/>
                </a:cubicBezTo>
                <a:close/>
                <a:moveTo>
                  <a:pt x="327" y="107"/>
                </a:moveTo>
                <a:cubicBezTo>
                  <a:pt x="326" y="109"/>
                  <a:pt x="322" y="107"/>
                  <a:pt x="322" y="107"/>
                </a:cubicBezTo>
                <a:cubicBezTo>
                  <a:pt x="319" y="103"/>
                  <a:pt x="328" y="104"/>
                  <a:pt x="327" y="107"/>
                </a:cubicBezTo>
                <a:close/>
                <a:moveTo>
                  <a:pt x="322" y="27"/>
                </a:moveTo>
                <a:cubicBezTo>
                  <a:pt x="321" y="28"/>
                  <a:pt x="320" y="27"/>
                  <a:pt x="320" y="27"/>
                </a:cubicBezTo>
                <a:cubicBezTo>
                  <a:pt x="319" y="25"/>
                  <a:pt x="322" y="26"/>
                  <a:pt x="322" y="27"/>
                </a:cubicBezTo>
                <a:close/>
                <a:moveTo>
                  <a:pt x="319" y="102"/>
                </a:moveTo>
                <a:cubicBezTo>
                  <a:pt x="319" y="102"/>
                  <a:pt x="318" y="102"/>
                  <a:pt x="318" y="101"/>
                </a:cubicBezTo>
                <a:cubicBezTo>
                  <a:pt x="316" y="100"/>
                  <a:pt x="321" y="100"/>
                  <a:pt x="319" y="102"/>
                </a:cubicBezTo>
                <a:close/>
                <a:moveTo>
                  <a:pt x="319" y="85"/>
                </a:moveTo>
                <a:cubicBezTo>
                  <a:pt x="321" y="85"/>
                  <a:pt x="318" y="87"/>
                  <a:pt x="318" y="85"/>
                </a:cubicBezTo>
                <a:cubicBezTo>
                  <a:pt x="318" y="85"/>
                  <a:pt x="319" y="85"/>
                  <a:pt x="319" y="85"/>
                </a:cubicBezTo>
                <a:close/>
                <a:moveTo>
                  <a:pt x="319" y="73"/>
                </a:moveTo>
                <a:cubicBezTo>
                  <a:pt x="319" y="73"/>
                  <a:pt x="318" y="73"/>
                  <a:pt x="318" y="73"/>
                </a:cubicBezTo>
                <a:cubicBezTo>
                  <a:pt x="316" y="73"/>
                  <a:pt x="318" y="72"/>
                  <a:pt x="319" y="73"/>
                </a:cubicBezTo>
                <a:close/>
                <a:moveTo>
                  <a:pt x="317" y="46"/>
                </a:moveTo>
                <a:cubicBezTo>
                  <a:pt x="317" y="47"/>
                  <a:pt x="315" y="47"/>
                  <a:pt x="315" y="46"/>
                </a:cubicBezTo>
                <a:cubicBezTo>
                  <a:pt x="314" y="45"/>
                  <a:pt x="317" y="44"/>
                  <a:pt x="317" y="46"/>
                </a:cubicBezTo>
                <a:close/>
                <a:moveTo>
                  <a:pt x="315" y="61"/>
                </a:moveTo>
                <a:cubicBezTo>
                  <a:pt x="315" y="61"/>
                  <a:pt x="315" y="60"/>
                  <a:pt x="315" y="60"/>
                </a:cubicBezTo>
                <a:cubicBezTo>
                  <a:pt x="313" y="57"/>
                  <a:pt x="319" y="61"/>
                  <a:pt x="315" y="61"/>
                </a:cubicBezTo>
                <a:close/>
                <a:moveTo>
                  <a:pt x="314" y="88"/>
                </a:moveTo>
                <a:cubicBezTo>
                  <a:pt x="315" y="88"/>
                  <a:pt x="316" y="89"/>
                  <a:pt x="315" y="89"/>
                </a:cubicBezTo>
                <a:cubicBezTo>
                  <a:pt x="315" y="90"/>
                  <a:pt x="313" y="89"/>
                  <a:pt x="314" y="88"/>
                </a:cubicBezTo>
                <a:close/>
                <a:moveTo>
                  <a:pt x="314" y="98"/>
                </a:moveTo>
                <a:cubicBezTo>
                  <a:pt x="313" y="98"/>
                  <a:pt x="312" y="97"/>
                  <a:pt x="312" y="96"/>
                </a:cubicBezTo>
                <a:cubicBezTo>
                  <a:pt x="313" y="96"/>
                  <a:pt x="313" y="97"/>
                  <a:pt x="314" y="98"/>
                </a:cubicBezTo>
                <a:close/>
                <a:moveTo>
                  <a:pt x="313" y="62"/>
                </a:moveTo>
                <a:cubicBezTo>
                  <a:pt x="311" y="61"/>
                  <a:pt x="314" y="62"/>
                  <a:pt x="313" y="62"/>
                </a:cubicBezTo>
                <a:close/>
                <a:moveTo>
                  <a:pt x="308" y="35"/>
                </a:moveTo>
                <a:cubicBezTo>
                  <a:pt x="307" y="34"/>
                  <a:pt x="310" y="37"/>
                  <a:pt x="308" y="35"/>
                </a:cubicBezTo>
                <a:close/>
                <a:moveTo>
                  <a:pt x="305" y="53"/>
                </a:moveTo>
                <a:cubicBezTo>
                  <a:pt x="305" y="52"/>
                  <a:pt x="306" y="54"/>
                  <a:pt x="306" y="54"/>
                </a:cubicBezTo>
                <a:cubicBezTo>
                  <a:pt x="306" y="54"/>
                  <a:pt x="306" y="53"/>
                  <a:pt x="305" y="53"/>
                </a:cubicBezTo>
                <a:close/>
                <a:moveTo>
                  <a:pt x="306" y="45"/>
                </a:moveTo>
                <a:cubicBezTo>
                  <a:pt x="304" y="40"/>
                  <a:pt x="314" y="43"/>
                  <a:pt x="312" y="46"/>
                </a:cubicBezTo>
                <a:cubicBezTo>
                  <a:pt x="311" y="48"/>
                  <a:pt x="307" y="45"/>
                  <a:pt x="306" y="45"/>
                </a:cubicBezTo>
                <a:close/>
                <a:moveTo>
                  <a:pt x="307" y="88"/>
                </a:moveTo>
                <a:cubicBezTo>
                  <a:pt x="308" y="88"/>
                  <a:pt x="307" y="89"/>
                  <a:pt x="307" y="89"/>
                </a:cubicBezTo>
                <a:cubicBezTo>
                  <a:pt x="307" y="89"/>
                  <a:pt x="306" y="87"/>
                  <a:pt x="307" y="88"/>
                </a:cubicBezTo>
                <a:close/>
                <a:moveTo>
                  <a:pt x="313" y="101"/>
                </a:moveTo>
                <a:cubicBezTo>
                  <a:pt x="313" y="102"/>
                  <a:pt x="306" y="96"/>
                  <a:pt x="305" y="95"/>
                </a:cubicBezTo>
                <a:cubicBezTo>
                  <a:pt x="305" y="95"/>
                  <a:pt x="305" y="94"/>
                  <a:pt x="305" y="93"/>
                </a:cubicBezTo>
                <a:cubicBezTo>
                  <a:pt x="305" y="93"/>
                  <a:pt x="314" y="100"/>
                  <a:pt x="313" y="101"/>
                </a:cubicBezTo>
                <a:close/>
                <a:moveTo>
                  <a:pt x="306" y="102"/>
                </a:moveTo>
                <a:cubicBezTo>
                  <a:pt x="304" y="103"/>
                  <a:pt x="303" y="99"/>
                  <a:pt x="302" y="98"/>
                </a:cubicBezTo>
                <a:cubicBezTo>
                  <a:pt x="303" y="98"/>
                  <a:pt x="305" y="101"/>
                  <a:pt x="306" y="102"/>
                </a:cubicBezTo>
                <a:close/>
                <a:moveTo>
                  <a:pt x="301" y="81"/>
                </a:moveTo>
                <a:cubicBezTo>
                  <a:pt x="302" y="80"/>
                  <a:pt x="303" y="84"/>
                  <a:pt x="301" y="82"/>
                </a:cubicBezTo>
                <a:cubicBezTo>
                  <a:pt x="301" y="82"/>
                  <a:pt x="301" y="82"/>
                  <a:pt x="301" y="81"/>
                </a:cubicBezTo>
                <a:close/>
                <a:moveTo>
                  <a:pt x="303" y="92"/>
                </a:moveTo>
                <a:cubicBezTo>
                  <a:pt x="299" y="88"/>
                  <a:pt x="295" y="86"/>
                  <a:pt x="293" y="81"/>
                </a:cubicBezTo>
                <a:cubicBezTo>
                  <a:pt x="297" y="83"/>
                  <a:pt x="301" y="88"/>
                  <a:pt x="303" y="92"/>
                </a:cubicBezTo>
                <a:close/>
                <a:moveTo>
                  <a:pt x="293" y="77"/>
                </a:moveTo>
                <a:cubicBezTo>
                  <a:pt x="293" y="77"/>
                  <a:pt x="293" y="77"/>
                  <a:pt x="293" y="77"/>
                </a:cubicBezTo>
                <a:cubicBezTo>
                  <a:pt x="293" y="77"/>
                  <a:pt x="293" y="77"/>
                  <a:pt x="293" y="77"/>
                </a:cubicBezTo>
                <a:cubicBezTo>
                  <a:pt x="293" y="77"/>
                  <a:pt x="293" y="77"/>
                  <a:pt x="293" y="77"/>
                </a:cubicBezTo>
                <a:close/>
                <a:moveTo>
                  <a:pt x="302" y="98"/>
                </a:moveTo>
                <a:cubicBezTo>
                  <a:pt x="297" y="92"/>
                  <a:pt x="293" y="88"/>
                  <a:pt x="288" y="83"/>
                </a:cubicBezTo>
                <a:cubicBezTo>
                  <a:pt x="293" y="87"/>
                  <a:pt x="298" y="91"/>
                  <a:pt x="302" y="98"/>
                </a:cubicBezTo>
                <a:close/>
                <a:moveTo>
                  <a:pt x="295" y="198"/>
                </a:moveTo>
                <a:cubicBezTo>
                  <a:pt x="291" y="196"/>
                  <a:pt x="287" y="194"/>
                  <a:pt x="284" y="192"/>
                </a:cubicBezTo>
                <a:cubicBezTo>
                  <a:pt x="286" y="193"/>
                  <a:pt x="293" y="196"/>
                  <a:pt x="295" y="198"/>
                </a:cubicBezTo>
                <a:close/>
                <a:moveTo>
                  <a:pt x="287" y="663"/>
                </a:moveTo>
                <a:cubicBezTo>
                  <a:pt x="288" y="663"/>
                  <a:pt x="289" y="664"/>
                  <a:pt x="289" y="664"/>
                </a:cubicBezTo>
                <a:cubicBezTo>
                  <a:pt x="290" y="665"/>
                  <a:pt x="286" y="664"/>
                  <a:pt x="287" y="663"/>
                </a:cubicBezTo>
                <a:close/>
                <a:moveTo>
                  <a:pt x="283" y="230"/>
                </a:moveTo>
                <a:cubicBezTo>
                  <a:pt x="284" y="231"/>
                  <a:pt x="281" y="228"/>
                  <a:pt x="283" y="230"/>
                </a:cubicBezTo>
                <a:close/>
                <a:moveTo>
                  <a:pt x="282" y="216"/>
                </a:moveTo>
                <a:cubicBezTo>
                  <a:pt x="282" y="216"/>
                  <a:pt x="282" y="216"/>
                  <a:pt x="282" y="216"/>
                </a:cubicBezTo>
                <a:cubicBezTo>
                  <a:pt x="283" y="216"/>
                  <a:pt x="283" y="216"/>
                  <a:pt x="283" y="216"/>
                </a:cubicBezTo>
                <a:cubicBezTo>
                  <a:pt x="283" y="216"/>
                  <a:pt x="282" y="216"/>
                  <a:pt x="282" y="216"/>
                </a:cubicBezTo>
                <a:close/>
                <a:moveTo>
                  <a:pt x="283" y="165"/>
                </a:moveTo>
                <a:cubicBezTo>
                  <a:pt x="280" y="165"/>
                  <a:pt x="280" y="160"/>
                  <a:pt x="284" y="161"/>
                </a:cubicBezTo>
                <a:cubicBezTo>
                  <a:pt x="286" y="162"/>
                  <a:pt x="285" y="166"/>
                  <a:pt x="283" y="165"/>
                </a:cubicBezTo>
                <a:close/>
                <a:moveTo>
                  <a:pt x="279" y="199"/>
                </a:moveTo>
                <a:cubicBezTo>
                  <a:pt x="279" y="199"/>
                  <a:pt x="278" y="198"/>
                  <a:pt x="279" y="198"/>
                </a:cubicBezTo>
                <a:cubicBezTo>
                  <a:pt x="279" y="198"/>
                  <a:pt x="280" y="199"/>
                  <a:pt x="279" y="199"/>
                </a:cubicBezTo>
                <a:close/>
                <a:moveTo>
                  <a:pt x="278" y="184"/>
                </a:moveTo>
                <a:cubicBezTo>
                  <a:pt x="278" y="184"/>
                  <a:pt x="278" y="185"/>
                  <a:pt x="278" y="185"/>
                </a:cubicBezTo>
                <a:cubicBezTo>
                  <a:pt x="277" y="183"/>
                  <a:pt x="280" y="185"/>
                  <a:pt x="278" y="184"/>
                </a:cubicBezTo>
                <a:close/>
                <a:moveTo>
                  <a:pt x="270" y="138"/>
                </a:moveTo>
                <a:cubicBezTo>
                  <a:pt x="271" y="139"/>
                  <a:pt x="272" y="136"/>
                  <a:pt x="273" y="136"/>
                </a:cubicBezTo>
                <a:cubicBezTo>
                  <a:pt x="275" y="137"/>
                  <a:pt x="273" y="138"/>
                  <a:pt x="274" y="139"/>
                </a:cubicBezTo>
                <a:cubicBezTo>
                  <a:pt x="277" y="141"/>
                  <a:pt x="282" y="141"/>
                  <a:pt x="284" y="143"/>
                </a:cubicBezTo>
                <a:cubicBezTo>
                  <a:pt x="280" y="142"/>
                  <a:pt x="275" y="140"/>
                  <a:pt x="270" y="138"/>
                </a:cubicBezTo>
                <a:close/>
                <a:moveTo>
                  <a:pt x="278" y="148"/>
                </a:moveTo>
                <a:cubicBezTo>
                  <a:pt x="276" y="148"/>
                  <a:pt x="278" y="147"/>
                  <a:pt x="278" y="148"/>
                </a:cubicBezTo>
                <a:close/>
                <a:moveTo>
                  <a:pt x="265" y="190"/>
                </a:moveTo>
                <a:cubicBezTo>
                  <a:pt x="268" y="190"/>
                  <a:pt x="273" y="192"/>
                  <a:pt x="275" y="194"/>
                </a:cubicBezTo>
                <a:cubicBezTo>
                  <a:pt x="271" y="192"/>
                  <a:pt x="268" y="192"/>
                  <a:pt x="265" y="190"/>
                </a:cubicBezTo>
                <a:close/>
                <a:moveTo>
                  <a:pt x="273" y="554"/>
                </a:moveTo>
                <a:cubicBezTo>
                  <a:pt x="273" y="554"/>
                  <a:pt x="273" y="553"/>
                  <a:pt x="273" y="554"/>
                </a:cubicBezTo>
                <a:cubicBezTo>
                  <a:pt x="273" y="554"/>
                  <a:pt x="273" y="554"/>
                  <a:pt x="273" y="554"/>
                </a:cubicBezTo>
                <a:close/>
                <a:moveTo>
                  <a:pt x="271" y="230"/>
                </a:moveTo>
                <a:cubicBezTo>
                  <a:pt x="272" y="230"/>
                  <a:pt x="274" y="234"/>
                  <a:pt x="272" y="235"/>
                </a:cubicBezTo>
                <a:cubicBezTo>
                  <a:pt x="269" y="235"/>
                  <a:pt x="269" y="231"/>
                  <a:pt x="271" y="230"/>
                </a:cubicBezTo>
                <a:close/>
                <a:moveTo>
                  <a:pt x="270" y="215"/>
                </a:moveTo>
                <a:cubicBezTo>
                  <a:pt x="271" y="214"/>
                  <a:pt x="272" y="217"/>
                  <a:pt x="270" y="216"/>
                </a:cubicBezTo>
                <a:cubicBezTo>
                  <a:pt x="270" y="216"/>
                  <a:pt x="269" y="215"/>
                  <a:pt x="270" y="215"/>
                </a:cubicBezTo>
                <a:close/>
                <a:moveTo>
                  <a:pt x="267" y="262"/>
                </a:moveTo>
                <a:cubicBezTo>
                  <a:pt x="269" y="261"/>
                  <a:pt x="268" y="263"/>
                  <a:pt x="267" y="262"/>
                </a:cubicBezTo>
                <a:close/>
                <a:moveTo>
                  <a:pt x="258" y="254"/>
                </a:moveTo>
                <a:cubicBezTo>
                  <a:pt x="260" y="255"/>
                  <a:pt x="261" y="257"/>
                  <a:pt x="263" y="258"/>
                </a:cubicBezTo>
                <a:cubicBezTo>
                  <a:pt x="261" y="258"/>
                  <a:pt x="260" y="256"/>
                  <a:pt x="258" y="254"/>
                </a:cubicBezTo>
                <a:close/>
                <a:moveTo>
                  <a:pt x="261" y="509"/>
                </a:moveTo>
                <a:cubicBezTo>
                  <a:pt x="261" y="510"/>
                  <a:pt x="260" y="509"/>
                  <a:pt x="260" y="509"/>
                </a:cubicBezTo>
                <a:cubicBezTo>
                  <a:pt x="260" y="508"/>
                  <a:pt x="261" y="509"/>
                  <a:pt x="261" y="509"/>
                </a:cubicBezTo>
                <a:close/>
                <a:moveTo>
                  <a:pt x="258" y="191"/>
                </a:moveTo>
                <a:cubicBezTo>
                  <a:pt x="258" y="191"/>
                  <a:pt x="259" y="193"/>
                  <a:pt x="258" y="193"/>
                </a:cubicBezTo>
                <a:cubicBezTo>
                  <a:pt x="257" y="193"/>
                  <a:pt x="258" y="192"/>
                  <a:pt x="258" y="191"/>
                </a:cubicBezTo>
                <a:close/>
                <a:moveTo>
                  <a:pt x="260" y="233"/>
                </a:moveTo>
                <a:cubicBezTo>
                  <a:pt x="262" y="233"/>
                  <a:pt x="258" y="234"/>
                  <a:pt x="260" y="233"/>
                </a:cubicBezTo>
                <a:close/>
                <a:moveTo>
                  <a:pt x="260" y="231"/>
                </a:moveTo>
                <a:cubicBezTo>
                  <a:pt x="261" y="233"/>
                  <a:pt x="263" y="236"/>
                  <a:pt x="264" y="238"/>
                </a:cubicBezTo>
                <a:cubicBezTo>
                  <a:pt x="262" y="237"/>
                  <a:pt x="261" y="233"/>
                  <a:pt x="260" y="231"/>
                </a:cubicBezTo>
                <a:close/>
                <a:moveTo>
                  <a:pt x="260" y="229"/>
                </a:moveTo>
                <a:cubicBezTo>
                  <a:pt x="260" y="229"/>
                  <a:pt x="261" y="230"/>
                  <a:pt x="261" y="230"/>
                </a:cubicBezTo>
                <a:cubicBezTo>
                  <a:pt x="261" y="230"/>
                  <a:pt x="260" y="229"/>
                  <a:pt x="260" y="229"/>
                </a:cubicBezTo>
                <a:close/>
                <a:moveTo>
                  <a:pt x="261" y="154"/>
                </a:moveTo>
                <a:cubicBezTo>
                  <a:pt x="262" y="155"/>
                  <a:pt x="263" y="157"/>
                  <a:pt x="263" y="158"/>
                </a:cubicBezTo>
                <a:cubicBezTo>
                  <a:pt x="262" y="157"/>
                  <a:pt x="261" y="156"/>
                  <a:pt x="261" y="154"/>
                </a:cubicBezTo>
                <a:close/>
                <a:moveTo>
                  <a:pt x="263" y="68"/>
                </a:moveTo>
                <a:cubicBezTo>
                  <a:pt x="264" y="69"/>
                  <a:pt x="265" y="70"/>
                  <a:pt x="266" y="72"/>
                </a:cubicBezTo>
                <a:cubicBezTo>
                  <a:pt x="264" y="72"/>
                  <a:pt x="264" y="69"/>
                  <a:pt x="263" y="68"/>
                </a:cubicBezTo>
                <a:close/>
                <a:moveTo>
                  <a:pt x="266" y="63"/>
                </a:moveTo>
                <a:cubicBezTo>
                  <a:pt x="264" y="62"/>
                  <a:pt x="265" y="61"/>
                  <a:pt x="266" y="63"/>
                </a:cubicBezTo>
                <a:close/>
                <a:moveTo>
                  <a:pt x="267" y="132"/>
                </a:moveTo>
                <a:cubicBezTo>
                  <a:pt x="269" y="132"/>
                  <a:pt x="271" y="137"/>
                  <a:pt x="268" y="137"/>
                </a:cubicBezTo>
                <a:cubicBezTo>
                  <a:pt x="266" y="138"/>
                  <a:pt x="263" y="132"/>
                  <a:pt x="267" y="132"/>
                </a:cubicBezTo>
                <a:close/>
                <a:moveTo>
                  <a:pt x="267" y="108"/>
                </a:moveTo>
                <a:cubicBezTo>
                  <a:pt x="268" y="108"/>
                  <a:pt x="268" y="109"/>
                  <a:pt x="268" y="109"/>
                </a:cubicBezTo>
                <a:cubicBezTo>
                  <a:pt x="267" y="110"/>
                  <a:pt x="265" y="108"/>
                  <a:pt x="267" y="108"/>
                </a:cubicBezTo>
                <a:close/>
                <a:moveTo>
                  <a:pt x="270" y="113"/>
                </a:moveTo>
                <a:cubicBezTo>
                  <a:pt x="268" y="113"/>
                  <a:pt x="271" y="114"/>
                  <a:pt x="270" y="113"/>
                </a:cubicBezTo>
                <a:close/>
                <a:moveTo>
                  <a:pt x="267" y="149"/>
                </a:moveTo>
                <a:cubicBezTo>
                  <a:pt x="266" y="150"/>
                  <a:pt x="266" y="149"/>
                  <a:pt x="265" y="148"/>
                </a:cubicBezTo>
                <a:cubicBezTo>
                  <a:pt x="264" y="146"/>
                  <a:pt x="269" y="148"/>
                  <a:pt x="267" y="149"/>
                </a:cubicBezTo>
                <a:close/>
                <a:moveTo>
                  <a:pt x="264" y="161"/>
                </a:moveTo>
                <a:cubicBezTo>
                  <a:pt x="265" y="161"/>
                  <a:pt x="265" y="162"/>
                  <a:pt x="265" y="162"/>
                </a:cubicBezTo>
                <a:cubicBezTo>
                  <a:pt x="265" y="162"/>
                  <a:pt x="263" y="158"/>
                  <a:pt x="264" y="161"/>
                </a:cubicBezTo>
                <a:close/>
                <a:moveTo>
                  <a:pt x="266" y="512"/>
                </a:moveTo>
                <a:cubicBezTo>
                  <a:pt x="264" y="513"/>
                  <a:pt x="264" y="510"/>
                  <a:pt x="266" y="512"/>
                </a:cubicBezTo>
                <a:close/>
                <a:moveTo>
                  <a:pt x="271" y="181"/>
                </a:moveTo>
                <a:cubicBezTo>
                  <a:pt x="272" y="180"/>
                  <a:pt x="273" y="183"/>
                  <a:pt x="272" y="182"/>
                </a:cubicBezTo>
                <a:cubicBezTo>
                  <a:pt x="271" y="182"/>
                  <a:pt x="271" y="182"/>
                  <a:pt x="271" y="181"/>
                </a:cubicBezTo>
                <a:close/>
                <a:moveTo>
                  <a:pt x="283" y="92"/>
                </a:moveTo>
                <a:cubicBezTo>
                  <a:pt x="280" y="90"/>
                  <a:pt x="285" y="92"/>
                  <a:pt x="284" y="93"/>
                </a:cubicBezTo>
                <a:cubicBezTo>
                  <a:pt x="284" y="94"/>
                  <a:pt x="281" y="91"/>
                  <a:pt x="280" y="91"/>
                </a:cubicBezTo>
                <a:cubicBezTo>
                  <a:pt x="279" y="90"/>
                  <a:pt x="275" y="89"/>
                  <a:pt x="274" y="87"/>
                </a:cubicBezTo>
                <a:cubicBezTo>
                  <a:pt x="272" y="83"/>
                  <a:pt x="282" y="91"/>
                  <a:pt x="283" y="92"/>
                </a:cubicBezTo>
                <a:close/>
                <a:moveTo>
                  <a:pt x="273" y="75"/>
                </a:moveTo>
                <a:cubicBezTo>
                  <a:pt x="275" y="75"/>
                  <a:pt x="274" y="77"/>
                  <a:pt x="273" y="75"/>
                </a:cubicBezTo>
                <a:close/>
                <a:moveTo>
                  <a:pt x="283" y="102"/>
                </a:moveTo>
                <a:cubicBezTo>
                  <a:pt x="283" y="102"/>
                  <a:pt x="283" y="102"/>
                  <a:pt x="284" y="103"/>
                </a:cubicBezTo>
                <a:cubicBezTo>
                  <a:pt x="284" y="103"/>
                  <a:pt x="284" y="103"/>
                  <a:pt x="284" y="103"/>
                </a:cubicBezTo>
                <a:cubicBezTo>
                  <a:pt x="284" y="102"/>
                  <a:pt x="283" y="102"/>
                  <a:pt x="283" y="102"/>
                </a:cubicBezTo>
                <a:close/>
                <a:moveTo>
                  <a:pt x="285" y="137"/>
                </a:moveTo>
                <a:cubicBezTo>
                  <a:pt x="285" y="138"/>
                  <a:pt x="284" y="137"/>
                  <a:pt x="283" y="137"/>
                </a:cubicBezTo>
                <a:cubicBezTo>
                  <a:pt x="282" y="134"/>
                  <a:pt x="287" y="136"/>
                  <a:pt x="285" y="137"/>
                </a:cubicBezTo>
                <a:close/>
                <a:moveTo>
                  <a:pt x="276" y="104"/>
                </a:moveTo>
                <a:cubicBezTo>
                  <a:pt x="276" y="104"/>
                  <a:pt x="280" y="107"/>
                  <a:pt x="280" y="109"/>
                </a:cubicBezTo>
                <a:cubicBezTo>
                  <a:pt x="279" y="108"/>
                  <a:pt x="276" y="105"/>
                  <a:pt x="276" y="104"/>
                </a:cubicBezTo>
                <a:close/>
                <a:moveTo>
                  <a:pt x="277" y="127"/>
                </a:moveTo>
                <a:cubicBezTo>
                  <a:pt x="276" y="126"/>
                  <a:pt x="276" y="126"/>
                  <a:pt x="275" y="125"/>
                </a:cubicBezTo>
                <a:cubicBezTo>
                  <a:pt x="276" y="125"/>
                  <a:pt x="277" y="126"/>
                  <a:pt x="277" y="127"/>
                </a:cubicBezTo>
                <a:close/>
                <a:moveTo>
                  <a:pt x="279" y="102"/>
                </a:moveTo>
                <a:cubicBezTo>
                  <a:pt x="278" y="102"/>
                  <a:pt x="281" y="102"/>
                  <a:pt x="281" y="102"/>
                </a:cubicBezTo>
                <a:cubicBezTo>
                  <a:pt x="280" y="103"/>
                  <a:pt x="279" y="102"/>
                  <a:pt x="279" y="102"/>
                </a:cubicBezTo>
                <a:close/>
                <a:moveTo>
                  <a:pt x="275" y="111"/>
                </a:moveTo>
                <a:cubicBezTo>
                  <a:pt x="275" y="111"/>
                  <a:pt x="275" y="111"/>
                  <a:pt x="274" y="110"/>
                </a:cubicBezTo>
                <a:cubicBezTo>
                  <a:pt x="275" y="111"/>
                  <a:pt x="275" y="111"/>
                  <a:pt x="275" y="111"/>
                </a:cubicBezTo>
                <a:cubicBezTo>
                  <a:pt x="275" y="111"/>
                  <a:pt x="275" y="111"/>
                  <a:pt x="275" y="111"/>
                </a:cubicBezTo>
                <a:close/>
                <a:moveTo>
                  <a:pt x="287" y="142"/>
                </a:moveTo>
                <a:cubicBezTo>
                  <a:pt x="286" y="143"/>
                  <a:pt x="284" y="140"/>
                  <a:pt x="286" y="140"/>
                </a:cubicBezTo>
                <a:cubicBezTo>
                  <a:pt x="287" y="139"/>
                  <a:pt x="288" y="141"/>
                  <a:pt x="287" y="142"/>
                </a:cubicBezTo>
                <a:close/>
                <a:moveTo>
                  <a:pt x="286" y="87"/>
                </a:moveTo>
                <a:cubicBezTo>
                  <a:pt x="287" y="87"/>
                  <a:pt x="287" y="88"/>
                  <a:pt x="286" y="89"/>
                </a:cubicBezTo>
                <a:cubicBezTo>
                  <a:pt x="286" y="89"/>
                  <a:pt x="285" y="88"/>
                  <a:pt x="286" y="87"/>
                </a:cubicBezTo>
                <a:close/>
                <a:moveTo>
                  <a:pt x="280" y="66"/>
                </a:moveTo>
                <a:cubicBezTo>
                  <a:pt x="282" y="65"/>
                  <a:pt x="285" y="69"/>
                  <a:pt x="286" y="70"/>
                </a:cubicBezTo>
                <a:cubicBezTo>
                  <a:pt x="284" y="71"/>
                  <a:pt x="279" y="68"/>
                  <a:pt x="280" y="66"/>
                </a:cubicBezTo>
                <a:close/>
                <a:moveTo>
                  <a:pt x="276" y="74"/>
                </a:moveTo>
                <a:cubicBezTo>
                  <a:pt x="278" y="76"/>
                  <a:pt x="275" y="73"/>
                  <a:pt x="276" y="74"/>
                </a:cubicBezTo>
                <a:close/>
                <a:moveTo>
                  <a:pt x="276" y="77"/>
                </a:moveTo>
                <a:cubicBezTo>
                  <a:pt x="276" y="77"/>
                  <a:pt x="276" y="77"/>
                  <a:pt x="276" y="77"/>
                </a:cubicBezTo>
                <a:cubicBezTo>
                  <a:pt x="276" y="77"/>
                  <a:pt x="276" y="77"/>
                  <a:pt x="275" y="77"/>
                </a:cubicBezTo>
                <a:cubicBezTo>
                  <a:pt x="276" y="77"/>
                  <a:pt x="276" y="77"/>
                  <a:pt x="276" y="77"/>
                </a:cubicBezTo>
                <a:close/>
                <a:moveTo>
                  <a:pt x="275" y="74"/>
                </a:moveTo>
                <a:cubicBezTo>
                  <a:pt x="274" y="74"/>
                  <a:pt x="273" y="72"/>
                  <a:pt x="271" y="72"/>
                </a:cubicBezTo>
                <a:cubicBezTo>
                  <a:pt x="272" y="71"/>
                  <a:pt x="274" y="73"/>
                  <a:pt x="275" y="74"/>
                </a:cubicBezTo>
                <a:close/>
                <a:moveTo>
                  <a:pt x="273" y="85"/>
                </a:moveTo>
                <a:cubicBezTo>
                  <a:pt x="273" y="86"/>
                  <a:pt x="271" y="85"/>
                  <a:pt x="270" y="85"/>
                </a:cubicBezTo>
                <a:cubicBezTo>
                  <a:pt x="268" y="83"/>
                  <a:pt x="274" y="82"/>
                  <a:pt x="273" y="85"/>
                </a:cubicBezTo>
                <a:close/>
                <a:moveTo>
                  <a:pt x="275" y="102"/>
                </a:moveTo>
                <a:cubicBezTo>
                  <a:pt x="272" y="100"/>
                  <a:pt x="270" y="98"/>
                  <a:pt x="268" y="95"/>
                </a:cubicBezTo>
                <a:cubicBezTo>
                  <a:pt x="271" y="97"/>
                  <a:pt x="273" y="99"/>
                  <a:pt x="275" y="102"/>
                </a:cubicBezTo>
                <a:close/>
                <a:moveTo>
                  <a:pt x="268" y="117"/>
                </a:moveTo>
                <a:cubicBezTo>
                  <a:pt x="268" y="118"/>
                  <a:pt x="267" y="117"/>
                  <a:pt x="267" y="116"/>
                </a:cubicBezTo>
                <a:cubicBezTo>
                  <a:pt x="265" y="115"/>
                  <a:pt x="269" y="116"/>
                  <a:pt x="268" y="117"/>
                </a:cubicBezTo>
                <a:close/>
                <a:moveTo>
                  <a:pt x="268" y="58"/>
                </a:moveTo>
                <a:cubicBezTo>
                  <a:pt x="269" y="59"/>
                  <a:pt x="266" y="57"/>
                  <a:pt x="268" y="58"/>
                </a:cubicBezTo>
                <a:close/>
                <a:moveTo>
                  <a:pt x="267" y="98"/>
                </a:moveTo>
                <a:cubicBezTo>
                  <a:pt x="267" y="98"/>
                  <a:pt x="265" y="98"/>
                  <a:pt x="265" y="97"/>
                </a:cubicBezTo>
                <a:cubicBezTo>
                  <a:pt x="265" y="97"/>
                  <a:pt x="267" y="98"/>
                  <a:pt x="267" y="98"/>
                </a:cubicBezTo>
                <a:close/>
                <a:moveTo>
                  <a:pt x="266" y="51"/>
                </a:moveTo>
                <a:cubicBezTo>
                  <a:pt x="265" y="52"/>
                  <a:pt x="262" y="52"/>
                  <a:pt x="260" y="51"/>
                </a:cubicBezTo>
                <a:cubicBezTo>
                  <a:pt x="262" y="50"/>
                  <a:pt x="264" y="51"/>
                  <a:pt x="266" y="51"/>
                </a:cubicBezTo>
                <a:close/>
                <a:moveTo>
                  <a:pt x="260" y="153"/>
                </a:moveTo>
                <a:cubicBezTo>
                  <a:pt x="260" y="153"/>
                  <a:pt x="260" y="153"/>
                  <a:pt x="260" y="153"/>
                </a:cubicBezTo>
                <a:cubicBezTo>
                  <a:pt x="260" y="153"/>
                  <a:pt x="260" y="153"/>
                  <a:pt x="260" y="153"/>
                </a:cubicBezTo>
                <a:cubicBezTo>
                  <a:pt x="260" y="153"/>
                  <a:pt x="260" y="153"/>
                  <a:pt x="260" y="153"/>
                </a:cubicBezTo>
                <a:close/>
                <a:moveTo>
                  <a:pt x="260" y="181"/>
                </a:moveTo>
                <a:cubicBezTo>
                  <a:pt x="261" y="181"/>
                  <a:pt x="262" y="183"/>
                  <a:pt x="261" y="183"/>
                </a:cubicBezTo>
                <a:cubicBezTo>
                  <a:pt x="261" y="184"/>
                  <a:pt x="259" y="182"/>
                  <a:pt x="260" y="181"/>
                </a:cubicBezTo>
                <a:close/>
                <a:moveTo>
                  <a:pt x="260" y="152"/>
                </a:moveTo>
                <a:cubicBezTo>
                  <a:pt x="259" y="152"/>
                  <a:pt x="259" y="152"/>
                  <a:pt x="260" y="152"/>
                </a:cubicBezTo>
                <a:close/>
                <a:moveTo>
                  <a:pt x="259" y="202"/>
                </a:moveTo>
                <a:cubicBezTo>
                  <a:pt x="261" y="201"/>
                  <a:pt x="259" y="205"/>
                  <a:pt x="259" y="202"/>
                </a:cubicBezTo>
                <a:close/>
                <a:moveTo>
                  <a:pt x="259" y="152"/>
                </a:moveTo>
                <a:cubicBezTo>
                  <a:pt x="258" y="151"/>
                  <a:pt x="257" y="150"/>
                  <a:pt x="257" y="148"/>
                </a:cubicBezTo>
                <a:cubicBezTo>
                  <a:pt x="258" y="149"/>
                  <a:pt x="259" y="150"/>
                  <a:pt x="259" y="152"/>
                </a:cubicBezTo>
                <a:close/>
                <a:moveTo>
                  <a:pt x="255" y="100"/>
                </a:moveTo>
                <a:cubicBezTo>
                  <a:pt x="256" y="100"/>
                  <a:pt x="257" y="102"/>
                  <a:pt x="255" y="103"/>
                </a:cubicBezTo>
                <a:cubicBezTo>
                  <a:pt x="254" y="103"/>
                  <a:pt x="252" y="100"/>
                  <a:pt x="255" y="100"/>
                </a:cubicBezTo>
                <a:close/>
                <a:moveTo>
                  <a:pt x="255" y="196"/>
                </a:moveTo>
                <a:cubicBezTo>
                  <a:pt x="256" y="196"/>
                  <a:pt x="255" y="198"/>
                  <a:pt x="255" y="198"/>
                </a:cubicBezTo>
                <a:cubicBezTo>
                  <a:pt x="254" y="198"/>
                  <a:pt x="254" y="196"/>
                  <a:pt x="255" y="196"/>
                </a:cubicBezTo>
                <a:close/>
                <a:moveTo>
                  <a:pt x="253" y="79"/>
                </a:moveTo>
                <a:cubicBezTo>
                  <a:pt x="252" y="82"/>
                  <a:pt x="243" y="80"/>
                  <a:pt x="246" y="76"/>
                </a:cubicBezTo>
                <a:cubicBezTo>
                  <a:pt x="245" y="77"/>
                  <a:pt x="242" y="76"/>
                  <a:pt x="242" y="75"/>
                </a:cubicBezTo>
                <a:cubicBezTo>
                  <a:pt x="243" y="73"/>
                  <a:pt x="247" y="74"/>
                  <a:pt x="246" y="76"/>
                </a:cubicBezTo>
                <a:cubicBezTo>
                  <a:pt x="247" y="74"/>
                  <a:pt x="253" y="76"/>
                  <a:pt x="253" y="79"/>
                </a:cubicBezTo>
                <a:close/>
                <a:moveTo>
                  <a:pt x="249" y="118"/>
                </a:moveTo>
                <a:cubicBezTo>
                  <a:pt x="248" y="119"/>
                  <a:pt x="247" y="117"/>
                  <a:pt x="248" y="116"/>
                </a:cubicBezTo>
                <a:cubicBezTo>
                  <a:pt x="249" y="116"/>
                  <a:pt x="250" y="118"/>
                  <a:pt x="249" y="118"/>
                </a:cubicBezTo>
                <a:close/>
                <a:moveTo>
                  <a:pt x="244" y="88"/>
                </a:moveTo>
                <a:cubicBezTo>
                  <a:pt x="244" y="88"/>
                  <a:pt x="243" y="87"/>
                  <a:pt x="244" y="87"/>
                </a:cubicBezTo>
                <a:cubicBezTo>
                  <a:pt x="245" y="85"/>
                  <a:pt x="247" y="90"/>
                  <a:pt x="244" y="88"/>
                </a:cubicBezTo>
                <a:close/>
                <a:moveTo>
                  <a:pt x="244" y="70"/>
                </a:moveTo>
                <a:cubicBezTo>
                  <a:pt x="246" y="70"/>
                  <a:pt x="244" y="73"/>
                  <a:pt x="244" y="70"/>
                </a:cubicBezTo>
                <a:close/>
                <a:moveTo>
                  <a:pt x="248" y="64"/>
                </a:moveTo>
                <a:cubicBezTo>
                  <a:pt x="249" y="65"/>
                  <a:pt x="246" y="64"/>
                  <a:pt x="248" y="64"/>
                </a:cubicBezTo>
                <a:close/>
                <a:moveTo>
                  <a:pt x="243" y="69"/>
                </a:moveTo>
                <a:cubicBezTo>
                  <a:pt x="246" y="69"/>
                  <a:pt x="249" y="70"/>
                  <a:pt x="251" y="71"/>
                </a:cubicBezTo>
                <a:cubicBezTo>
                  <a:pt x="250" y="71"/>
                  <a:pt x="248" y="70"/>
                  <a:pt x="246" y="70"/>
                </a:cubicBezTo>
                <a:cubicBezTo>
                  <a:pt x="246" y="70"/>
                  <a:pt x="246" y="70"/>
                  <a:pt x="246" y="70"/>
                </a:cubicBezTo>
                <a:cubicBezTo>
                  <a:pt x="246" y="70"/>
                  <a:pt x="246" y="70"/>
                  <a:pt x="246" y="70"/>
                </a:cubicBezTo>
                <a:cubicBezTo>
                  <a:pt x="245" y="69"/>
                  <a:pt x="244" y="69"/>
                  <a:pt x="243" y="69"/>
                </a:cubicBezTo>
                <a:cubicBezTo>
                  <a:pt x="243" y="69"/>
                  <a:pt x="243" y="70"/>
                  <a:pt x="242" y="69"/>
                </a:cubicBezTo>
                <a:cubicBezTo>
                  <a:pt x="242" y="69"/>
                  <a:pt x="242" y="69"/>
                  <a:pt x="242" y="69"/>
                </a:cubicBezTo>
                <a:cubicBezTo>
                  <a:pt x="242" y="69"/>
                  <a:pt x="242" y="69"/>
                  <a:pt x="242" y="69"/>
                </a:cubicBezTo>
                <a:cubicBezTo>
                  <a:pt x="242" y="68"/>
                  <a:pt x="242" y="68"/>
                  <a:pt x="242" y="68"/>
                </a:cubicBezTo>
                <a:cubicBezTo>
                  <a:pt x="242" y="68"/>
                  <a:pt x="243" y="68"/>
                  <a:pt x="243" y="69"/>
                </a:cubicBezTo>
                <a:close/>
                <a:moveTo>
                  <a:pt x="242" y="89"/>
                </a:moveTo>
                <a:cubicBezTo>
                  <a:pt x="241" y="88"/>
                  <a:pt x="243" y="90"/>
                  <a:pt x="242" y="89"/>
                </a:cubicBezTo>
                <a:close/>
                <a:moveTo>
                  <a:pt x="234" y="66"/>
                </a:moveTo>
                <a:cubicBezTo>
                  <a:pt x="234" y="64"/>
                  <a:pt x="234" y="63"/>
                  <a:pt x="235" y="62"/>
                </a:cubicBezTo>
                <a:cubicBezTo>
                  <a:pt x="238" y="60"/>
                  <a:pt x="242" y="65"/>
                  <a:pt x="241" y="67"/>
                </a:cubicBezTo>
                <a:cubicBezTo>
                  <a:pt x="240" y="69"/>
                  <a:pt x="235" y="67"/>
                  <a:pt x="234" y="66"/>
                </a:cubicBezTo>
                <a:close/>
                <a:moveTo>
                  <a:pt x="246" y="122"/>
                </a:moveTo>
                <a:cubicBezTo>
                  <a:pt x="245" y="123"/>
                  <a:pt x="241" y="118"/>
                  <a:pt x="241" y="117"/>
                </a:cubicBezTo>
                <a:cubicBezTo>
                  <a:pt x="239" y="112"/>
                  <a:pt x="247" y="121"/>
                  <a:pt x="246" y="122"/>
                </a:cubicBezTo>
                <a:close/>
                <a:moveTo>
                  <a:pt x="242" y="252"/>
                </a:moveTo>
                <a:cubicBezTo>
                  <a:pt x="242" y="252"/>
                  <a:pt x="245" y="257"/>
                  <a:pt x="243" y="256"/>
                </a:cubicBezTo>
                <a:cubicBezTo>
                  <a:pt x="242" y="256"/>
                  <a:pt x="242" y="251"/>
                  <a:pt x="242" y="251"/>
                </a:cubicBezTo>
                <a:cubicBezTo>
                  <a:pt x="240" y="247"/>
                  <a:pt x="237" y="245"/>
                  <a:pt x="237" y="241"/>
                </a:cubicBezTo>
                <a:cubicBezTo>
                  <a:pt x="240" y="242"/>
                  <a:pt x="242" y="250"/>
                  <a:pt x="242" y="252"/>
                </a:cubicBezTo>
                <a:close/>
                <a:moveTo>
                  <a:pt x="241" y="246"/>
                </a:moveTo>
                <a:cubicBezTo>
                  <a:pt x="242" y="246"/>
                  <a:pt x="243" y="248"/>
                  <a:pt x="242" y="248"/>
                </a:cubicBezTo>
                <a:cubicBezTo>
                  <a:pt x="242" y="248"/>
                  <a:pt x="241" y="247"/>
                  <a:pt x="241" y="246"/>
                </a:cubicBezTo>
                <a:close/>
                <a:moveTo>
                  <a:pt x="244" y="213"/>
                </a:moveTo>
                <a:cubicBezTo>
                  <a:pt x="243" y="213"/>
                  <a:pt x="243" y="213"/>
                  <a:pt x="243" y="213"/>
                </a:cubicBezTo>
                <a:cubicBezTo>
                  <a:pt x="241" y="212"/>
                  <a:pt x="244" y="211"/>
                  <a:pt x="244" y="213"/>
                </a:cubicBezTo>
                <a:close/>
                <a:moveTo>
                  <a:pt x="241" y="158"/>
                </a:moveTo>
                <a:cubicBezTo>
                  <a:pt x="240" y="157"/>
                  <a:pt x="243" y="158"/>
                  <a:pt x="242" y="159"/>
                </a:cubicBezTo>
                <a:cubicBezTo>
                  <a:pt x="242" y="159"/>
                  <a:pt x="242" y="158"/>
                  <a:pt x="241" y="158"/>
                </a:cubicBezTo>
                <a:close/>
                <a:moveTo>
                  <a:pt x="243" y="148"/>
                </a:moveTo>
                <a:cubicBezTo>
                  <a:pt x="244" y="147"/>
                  <a:pt x="245" y="149"/>
                  <a:pt x="244" y="149"/>
                </a:cubicBezTo>
                <a:cubicBezTo>
                  <a:pt x="244" y="149"/>
                  <a:pt x="243" y="148"/>
                  <a:pt x="243" y="148"/>
                </a:cubicBezTo>
                <a:close/>
                <a:moveTo>
                  <a:pt x="244" y="215"/>
                </a:moveTo>
                <a:cubicBezTo>
                  <a:pt x="244" y="215"/>
                  <a:pt x="246" y="216"/>
                  <a:pt x="245" y="216"/>
                </a:cubicBezTo>
                <a:cubicBezTo>
                  <a:pt x="244" y="216"/>
                  <a:pt x="244" y="216"/>
                  <a:pt x="244" y="215"/>
                </a:cubicBezTo>
                <a:close/>
                <a:moveTo>
                  <a:pt x="230" y="166"/>
                </a:moveTo>
                <a:cubicBezTo>
                  <a:pt x="228" y="160"/>
                  <a:pt x="236" y="159"/>
                  <a:pt x="238" y="164"/>
                </a:cubicBezTo>
                <a:cubicBezTo>
                  <a:pt x="242" y="171"/>
                  <a:pt x="232" y="172"/>
                  <a:pt x="230" y="166"/>
                </a:cubicBezTo>
                <a:close/>
                <a:moveTo>
                  <a:pt x="236" y="177"/>
                </a:moveTo>
                <a:cubicBezTo>
                  <a:pt x="236" y="178"/>
                  <a:pt x="235" y="177"/>
                  <a:pt x="234" y="177"/>
                </a:cubicBezTo>
                <a:cubicBezTo>
                  <a:pt x="235" y="176"/>
                  <a:pt x="236" y="177"/>
                  <a:pt x="236" y="177"/>
                </a:cubicBezTo>
                <a:close/>
                <a:moveTo>
                  <a:pt x="234" y="190"/>
                </a:moveTo>
                <a:cubicBezTo>
                  <a:pt x="233" y="190"/>
                  <a:pt x="234" y="188"/>
                  <a:pt x="234" y="190"/>
                </a:cubicBezTo>
                <a:close/>
                <a:moveTo>
                  <a:pt x="230" y="190"/>
                </a:moveTo>
                <a:cubicBezTo>
                  <a:pt x="231" y="189"/>
                  <a:pt x="233" y="191"/>
                  <a:pt x="233" y="191"/>
                </a:cubicBezTo>
                <a:cubicBezTo>
                  <a:pt x="232" y="192"/>
                  <a:pt x="230" y="190"/>
                  <a:pt x="230" y="190"/>
                </a:cubicBezTo>
                <a:close/>
                <a:moveTo>
                  <a:pt x="232" y="199"/>
                </a:moveTo>
                <a:cubicBezTo>
                  <a:pt x="232" y="200"/>
                  <a:pt x="231" y="198"/>
                  <a:pt x="232" y="198"/>
                </a:cubicBezTo>
                <a:cubicBezTo>
                  <a:pt x="232" y="199"/>
                  <a:pt x="232" y="199"/>
                  <a:pt x="232" y="199"/>
                </a:cubicBezTo>
                <a:close/>
                <a:moveTo>
                  <a:pt x="232" y="179"/>
                </a:moveTo>
                <a:cubicBezTo>
                  <a:pt x="232" y="179"/>
                  <a:pt x="233" y="179"/>
                  <a:pt x="233" y="180"/>
                </a:cubicBezTo>
                <a:cubicBezTo>
                  <a:pt x="233" y="180"/>
                  <a:pt x="231" y="180"/>
                  <a:pt x="232" y="179"/>
                </a:cubicBezTo>
                <a:close/>
                <a:moveTo>
                  <a:pt x="238" y="100"/>
                </a:moveTo>
                <a:cubicBezTo>
                  <a:pt x="238" y="100"/>
                  <a:pt x="238" y="100"/>
                  <a:pt x="238" y="100"/>
                </a:cubicBezTo>
                <a:cubicBezTo>
                  <a:pt x="238" y="100"/>
                  <a:pt x="239" y="101"/>
                  <a:pt x="238" y="100"/>
                </a:cubicBezTo>
                <a:close/>
                <a:moveTo>
                  <a:pt x="235" y="107"/>
                </a:moveTo>
                <a:cubicBezTo>
                  <a:pt x="235" y="107"/>
                  <a:pt x="234" y="109"/>
                  <a:pt x="234" y="107"/>
                </a:cubicBezTo>
                <a:cubicBezTo>
                  <a:pt x="234" y="108"/>
                  <a:pt x="233" y="106"/>
                  <a:pt x="235" y="107"/>
                </a:cubicBezTo>
                <a:close/>
                <a:moveTo>
                  <a:pt x="231" y="104"/>
                </a:moveTo>
                <a:cubicBezTo>
                  <a:pt x="233" y="103"/>
                  <a:pt x="233" y="107"/>
                  <a:pt x="231" y="107"/>
                </a:cubicBezTo>
                <a:cubicBezTo>
                  <a:pt x="230" y="107"/>
                  <a:pt x="229" y="104"/>
                  <a:pt x="231" y="104"/>
                </a:cubicBezTo>
                <a:close/>
                <a:moveTo>
                  <a:pt x="238" y="120"/>
                </a:moveTo>
                <a:cubicBezTo>
                  <a:pt x="238" y="124"/>
                  <a:pt x="230" y="122"/>
                  <a:pt x="229" y="120"/>
                </a:cubicBezTo>
                <a:cubicBezTo>
                  <a:pt x="223" y="112"/>
                  <a:pt x="239" y="113"/>
                  <a:pt x="238" y="120"/>
                </a:cubicBezTo>
                <a:close/>
                <a:moveTo>
                  <a:pt x="233" y="134"/>
                </a:moveTo>
                <a:cubicBezTo>
                  <a:pt x="233" y="133"/>
                  <a:pt x="234" y="135"/>
                  <a:pt x="234" y="135"/>
                </a:cubicBezTo>
                <a:cubicBezTo>
                  <a:pt x="232" y="136"/>
                  <a:pt x="232" y="133"/>
                  <a:pt x="231" y="132"/>
                </a:cubicBezTo>
                <a:cubicBezTo>
                  <a:pt x="230" y="130"/>
                  <a:pt x="226" y="126"/>
                  <a:pt x="225" y="122"/>
                </a:cubicBezTo>
                <a:cubicBezTo>
                  <a:pt x="228" y="124"/>
                  <a:pt x="232" y="131"/>
                  <a:pt x="233" y="134"/>
                </a:cubicBezTo>
                <a:close/>
                <a:moveTo>
                  <a:pt x="226" y="205"/>
                </a:moveTo>
                <a:cubicBezTo>
                  <a:pt x="227" y="204"/>
                  <a:pt x="227" y="206"/>
                  <a:pt x="227" y="206"/>
                </a:cubicBezTo>
                <a:cubicBezTo>
                  <a:pt x="226" y="206"/>
                  <a:pt x="226" y="205"/>
                  <a:pt x="226" y="205"/>
                </a:cubicBezTo>
                <a:close/>
                <a:moveTo>
                  <a:pt x="226" y="130"/>
                </a:moveTo>
                <a:cubicBezTo>
                  <a:pt x="226" y="130"/>
                  <a:pt x="225" y="129"/>
                  <a:pt x="226" y="129"/>
                </a:cubicBezTo>
                <a:cubicBezTo>
                  <a:pt x="226" y="129"/>
                  <a:pt x="226" y="130"/>
                  <a:pt x="226" y="130"/>
                </a:cubicBezTo>
                <a:close/>
                <a:moveTo>
                  <a:pt x="226" y="159"/>
                </a:moveTo>
                <a:cubicBezTo>
                  <a:pt x="224" y="159"/>
                  <a:pt x="226" y="158"/>
                  <a:pt x="226" y="159"/>
                </a:cubicBezTo>
                <a:close/>
                <a:moveTo>
                  <a:pt x="225" y="158"/>
                </a:moveTo>
                <a:cubicBezTo>
                  <a:pt x="224" y="159"/>
                  <a:pt x="222" y="157"/>
                  <a:pt x="221" y="157"/>
                </a:cubicBezTo>
                <a:cubicBezTo>
                  <a:pt x="222" y="156"/>
                  <a:pt x="224" y="158"/>
                  <a:pt x="225" y="158"/>
                </a:cubicBezTo>
                <a:close/>
                <a:moveTo>
                  <a:pt x="224" y="169"/>
                </a:moveTo>
                <a:cubicBezTo>
                  <a:pt x="225" y="170"/>
                  <a:pt x="224" y="174"/>
                  <a:pt x="225" y="175"/>
                </a:cubicBezTo>
                <a:cubicBezTo>
                  <a:pt x="226" y="178"/>
                  <a:pt x="226" y="177"/>
                  <a:pt x="223" y="179"/>
                </a:cubicBezTo>
                <a:cubicBezTo>
                  <a:pt x="221" y="182"/>
                  <a:pt x="216" y="182"/>
                  <a:pt x="217" y="178"/>
                </a:cubicBezTo>
                <a:cubicBezTo>
                  <a:pt x="222" y="179"/>
                  <a:pt x="215" y="177"/>
                  <a:pt x="214" y="175"/>
                </a:cubicBezTo>
                <a:cubicBezTo>
                  <a:pt x="213" y="175"/>
                  <a:pt x="213" y="169"/>
                  <a:pt x="214" y="168"/>
                </a:cubicBezTo>
                <a:cubicBezTo>
                  <a:pt x="217" y="164"/>
                  <a:pt x="222" y="166"/>
                  <a:pt x="224" y="169"/>
                </a:cubicBezTo>
                <a:close/>
                <a:moveTo>
                  <a:pt x="212" y="179"/>
                </a:moveTo>
                <a:cubicBezTo>
                  <a:pt x="213" y="179"/>
                  <a:pt x="213" y="182"/>
                  <a:pt x="212" y="181"/>
                </a:cubicBezTo>
                <a:cubicBezTo>
                  <a:pt x="211" y="181"/>
                  <a:pt x="211" y="180"/>
                  <a:pt x="212" y="179"/>
                </a:cubicBezTo>
                <a:close/>
                <a:moveTo>
                  <a:pt x="211" y="154"/>
                </a:moveTo>
                <a:cubicBezTo>
                  <a:pt x="212" y="153"/>
                  <a:pt x="213" y="154"/>
                  <a:pt x="213" y="155"/>
                </a:cubicBezTo>
                <a:cubicBezTo>
                  <a:pt x="213" y="155"/>
                  <a:pt x="212" y="154"/>
                  <a:pt x="211" y="154"/>
                </a:cubicBezTo>
                <a:close/>
                <a:moveTo>
                  <a:pt x="214" y="225"/>
                </a:moveTo>
                <a:cubicBezTo>
                  <a:pt x="213" y="224"/>
                  <a:pt x="212" y="223"/>
                  <a:pt x="212" y="221"/>
                </a:cubicBezTo>
                <a:cubicBezTo>
                  <a:pt x="212" y="223"/>
                  <a:pt x="214" y="223"/>
                  <a:pt x="214" y="225"/>
                </a:cubicBezTo>
                <a:close/>
                <a:moveTo>
                  <a:pt x="213" y="174"/>
                </a:moveTo>
                <a:cubicBezTo>
                  <a:pt x="212" y="176"/>
                  <a:pt x="218" y="182"/>
                  <a:pt x="216" y="182"/>
                </a:cubicBezTo>
                <a:cubicBezTo>
                  <a:pt x="215" y="182"/>
                  <a:pt x="211" y="176"/>
                  <a:pt x="213" y="174"/>
                </a:cubicBezTo>
                <a:close/>
                <a:moveTo>
                  <a:pt x="219" y="185"/>
                </a:moveTo>
                <a:cubicBezTo>
                  <a:pt x="218" y="186"/>
                  <a:pt x="216" y="185"/>
                  <a:pt x="216" y="184"/>
                </a:cubicBezTo>
                <a:cubicBezTo>
                  <a:pt x="214" y="182"/>
                  <a:pt x="220" y="182"/>
                  <a:pt x="219" y="185"/>
                </a:cubicBezTo>
                <a:close/>
                <a:moveTo>
                  <a:pt x="217" y="156"/>
                </a:moveTo>
                <a:cubicBezTo>
                  <a:pt x="217" y="156"/>
                  <a:pt x="217" y="156"/>
                  <a:pt x="217" y="156"/>
                </a:cubicBezTo>
                <a:cubicBezTo>
                  <a:pt x="215" y="155"/>
                  <a:pt x="219" y="156"/>
                  <a:pt x="217" y="156"/>
                </a:cubicBezTo>
                <a:close/>
                <a:moveTo>
                  <a:pt x="216" y="132"/>
                </a:moveTo>
                <a:cubicBezTo>
                  <a:pt x="216" y="133"/>
                  <a:pt x="215" y="133"/>
                  <a:pt x="214" y="132"/>
                </a:cubicBezTo>
                <a:cubicBezTo>
                  <a:pt x="213" y="131"/>
                  <a:pt x="216" y="130"/>
                  <a:pt x="216" y="132"/>
                </a:cubicBezTo>
                <a:close/>
                <a:moveTo>
                  <a:pt x="216" y="146"/>
                </a:moveTo>
                <a:cubicBezTo>
                  <a:pt x="216" y="147"/>
                  <a:pt x="215" y="146"/>
                  <a:pt x="215" y="146"/>
                </a:cubicBezTo>
                <a:cubicBezTo>
                  <a:pt x="213" y="145"/>
                  <a:pt x="216" y="145"/>
                  <a:pt x="216" y="146"/>
                </a:cubicBezTo>
                <a:close/>
                <a:moveTo>
                  <a:pt x="220" y="156"/>
                </a:moveTo>
                <a:cubicBezTo>
                  <a:pt x="217" y="155"/>
                  <a:pt x="214" y="154"/>
                  <a:pt x="211" y="152"/>
                </a:cubicBezTo>
                <a:cubicBezTo>
                  <a:pt x="214" y="152"/>
                  <a:pt x="218" y="154"/>
                  <a:pt x="220" y="156"/>
                </a:cubicBezTo>
                <a:close/>
                <a:moveTo>
                  <a:pt x="212" y="115"/>
                </a:moveTo>
                <a:cubicBezTo>
                  <a:pt x="212" y="117"/>
                  <a:pt x="209" y="116"/>
                  <a:pt x="209" y="115"/>
                </a:cubicBezTo>
                <a:cubicBezTo>
                  <a:pt x="207" y="112"/>
                  <a:pt x="212" y="112"/>
                  <a:pt x="212" y="115"/>
                </a:cubicBezTo>
                <a:close/>
                <a:moveTo>
                  <a:pt x="210" y="146"/>
                </a:moveTo>
                <a:cubicBezTo>
                  <a:pt x="209" y="146"/>
                  <a:pt x="209" y="145"/>
                  <a:pt x="209" y="144"/>
                </a:cubicBezTo>
                <a:cubicBezTo>
                  <a:pt x="209" y="144"/>
                  <a:pt x="210" y="146"/>
                  <a:pt x="210" y="146"/>
                </a:cubicBezTo>
                <a:close/>
                <a:moveTo>
                  <a:pt x="209" y="150"/>
                </a:moveTo>
                <a:cubicBezTo>
                  <a:pt x="207" y="148"/>
                  <a:pt x="210" y="149"/>
                  <a:pt x="209" y="150"/>
                </a:cubicBezTo>
                <a:close/>
                <a:moveTo>
                  <a:pt x="207" y="167"/>
                </a:moveTo>
                <a:cubicBezTo>
                  <a:pt x="207" y="167"/>
                  <a:pt x="207" y="167"/>
                  <a:pt x="207" y="167"/>
                </a:cubicBezTo>
                <a:cubicBezTo>
                  <a:pt x="209" y="166"/>
                  <a:pt x="206" y="169"/>
                  <a:pt x="207" y="167"/>
                </a:cubicBezTo>
                <a:close/>
                <a:moveTo>
                  <a:pt x="204" y="221"/>
                </a:moveTo>
                <a:cubicBezTo>
                  <a:pt x="205" y="220"/>
                  <a:pt x="206" y="222"/>
                  <a:pt x="205" y="222"/>
                </a:cubicBezTo>
                <a:cubicBezTo>
                  <a:pt x="204" y="222"/>
                  <a:pt x="204" y="221"/>
                  <a:pt x="204" y="221"/>
                </a:cubicBezTo>
                <a:close/>
                <a:moveTo>
                  <a:pt x="204" y="239"/>
                </a:moveTo>
                <a:cubicBezTo>
                  <a:pt x="205" y="239"/>
                  <a:pt x="206" y="241"/>
                  <a:pt x="205" y="242"/>
                </a:cubicBezTo>
                <a:cubicBezTo>
                  <a:pt x="204" y="242"/>
                  <a:pt x="202" y="240"/>
                  <a:pt x="204" y="239"/>
                </a:cubicBezTo>
                <a:close/>
                <a:moveTo>
                  <a:pt x="203" y="346"/>
                </a:moveTo>
                <a:cubicBezTo>
                  <a:pt x="205" y="346"/>
                  <a:pt x="205" y="348"/>
                  <a:pt x="203" y="346"/>
                </a:cubicBezTo>
                <a:close/>
                <a:moveTo>
                  <a:pt x="202" y="233"/>
                </a:moveTo>
                <a:cubicBezTo>
                  <a:pt x="202" y="233"/>
                  <a:pt x="203" y="235"/>
                  <a:pt x="202" y="235"/>
                </a:cubicBezTo>
                <a:cubicBezTo>
                  <a:pt x="202" y="235"/>
                  <a:pt x="201" y="233"/>
                  <a:pt x="202" y="233"/>
                </a:cubicBezTo>
                <a:close/>
                <a:moveTo>
                  <a:pt x="202" y="232"/>
                </a:moveTo>
                <a:cubicBezTo>
                  <a:pt x="200" y="232"/>
                  <a:pt x="202" y="231"/>
                  <a:pt x="202" y="232"/>
                </a:cubicBezTo>
                <a:close/>
                <a:moveTo>
                  <a:pt x="202" y="345"/>
                </a:moveTo>
                <a:cubicBezTo>
                  <a:pt x="204" y="347"/>
                  <a:pt x="201" y="343"/>
                  <a:pt x="202" y="345"/>
                </a:cubicBezTo>
                <a:close/>
                <a:moveTo>
                  <a:pt x="201" y="171"/>
                </a:moveTo>
                <a:cubicBezTo>
                  <a:pt x="201" y="172"/>
                  <a:pt x="203" y="172"/>
                  <a:pt x="202" y="173"/>
                </a:cubicBezTo>
                <a:cubicBezTo>
                  <a:pt x="202" y="174"/>
                  <a:pt x="200" y="171"/>
                  <a:pt x="201" y="171"/>
                </a:cubicBezTo>
                <a:close/>
                <a:moveTo>
                  <a:pt x="200" y="182"/>
                </a:moveTo>
                <a:cubicBezTo>
                  <a:pt x="201" y="181"/>
                  <a:pt x="202" y="184"/>
                  <a:pt x="201" y="184"/>
                </a:cubicBezTo>
                <a:cubicBezTo>
                  <a:pt x="199" y="185"/>
                  <a:pt x="200" y="182"/>
                  <a:pt x="200" y="182"/>
                </a:cubicBezTo>
                <a:close/>
                <a:moveTo>
                  <a:pt x="199" y="304"/>
                </a:moveTo>
                <a:cubicBezTo>
                  <a:pt x="198" y="304"/>
                  <a:pt x="198" y="302"/>
                  <a:pt x="199" y="302"/>
                </a:cubicBezTo>
                <a:cubicBezTo>
                  <a:pt x="200" y="302"/>
                  <a:pt x="200" y="304"/>
                  <a:pt x="199" y="304"/>
                </a:cubicBezTo>
                <a:close/>
                <a:moveTo>
                  <a:pt x="200" y="321"/>
                </a:moveTo>
                <a:cubicBezTo>
                  <a:pt x="200" y="321"/>
                  <a:pt x="200" y="321"/>
                  <a:pt x="200" y="321"/>
                </a:cubicBezTo>
                <a:cubicBezTo>
                  <a:pt x="200" y="321"/>
                  <a:pt x="200" y="321"/>
                  <a:pt x="200" y="321"/>
                </a:cubicBezTo>
                <a:cubicBezTo>
                  <a:pt x="200" y="321"/>
                  <a:pt x="200" y="321"/>
                  <a:pt x="200" y="321"/>
                </a:cubicBezTo>
                <a:close/>
                <a:moveTo>
                  <a:pt x="198" y="238"/>
                </a:moveTo>
                <a:cubicBezTo>
                  <a:pt x="199" y="239"/>
                  <a:pt x="200" y="240"/>
                  <a:pt x="201" y="242"/>
                </a:cubicBezTo>
                <a:cubicBezTo>
                  <a:pt x="199" y="241"/>
                  <a:pt x="198" y="240"/>
                  <a:pt x="198" y="238"/>
                </a:cubicBezTo>
                <a:close/>
                <a:moveTo>
                  <a:pt x="198" y="266"/>
                </a:moveTo>
                <a:cubicBezTo>
                  <a:pt x="197" y="267"/>
                  <a:pt x="197" y="265"/>
                  <a:pt x="197" y="265"/>
                </a:cubicBezTo>
                <a:cubicBezTo>
                  <a:pt x="197" y="265"/>
                  <a:pt x="199" y="266"/>
                  <a:pt x="198" y="266"/>
                </a:cubicBezTo>
                <a:close/>
                <a:moveTo>
                  <a:pt x="199" y="228"/>
                </a:moveTo>
                <a:cubicBezTo>
                  <a:pt x="197" y="229"/>
                  <a:pt x="195" y="222"/>
                  <a:pt x="198" y="222"/>
                </a:cubicBezTo>
                <a:cubicBezTo>
                  <a:pt x="201" y="222"/>
                  <a:pt x="201" y="228"/>
                  <a:pt x="199" y="228"/>
                </a:cubicBezTo>
                <a:close/>
                <a:moveTo>
                  <a:pt x="197" y="165"/>
                </a:moveTo>
                <a:cubicBezTo>
                  <a:pt x="198" y="165"/>
                  <a:pt x="201" y="171"/>
                  <a:pt x="198" y="172"/>
                </a:cubicBezTo>
                <a:cubicBezTo>
                  <a:pt x="194" y="173"/>
                  <a:pt x="192" y="164"/>
                  <a:pt x="197" y="165"/>
                </a:cubicBezTo>
                <a:close/>
                <a:moveTo>
                  <a:pt x="196" y="264"/>
                </a:moveTo>
                <a:cubicBezTo>
                  <a:pt x="195" y="263"/>
                  <a:pt x="195" y="262"/>
                  <a:pt x="194" y="261"/>
                </a:cubicBezTo>
                <a:cubicBezTo>
                  <a:pt x="195" y="261"/>
                  <a:pt x="196" y="263"/>
                  <a:pt x="196" y="264"/>
                </a:cubicBezTo>
                <a:close/>
                <a:moveTo>
                  <a:pt x="194" y="242"/>
                </a:moveTo>
                <a:cubicBezTo>
                  <a:pt x="194" y="242"/>
                  <a:pt x="194" y="242"/>
                  <a:pt x="194" y="242"/>
                </a:cubicBezTo>
                <a:cubicBezTo>
                  <a:pt x="196" y="241"/>
                  <a:pt x="192" y="244"/>
                  <a:pt x="194" y="242"/>
                </a:cubicBezTo>
                <a:close/>
                <a:moveTo>
                  <a:pt x="194" y="188"/>
                </a:moveTo>
                <a:cubicBezTo>
                  <a:pt x="195" y="188"/>
                  <a:pt x="195" y="191"/>
                  <a:pt x="194" y="191"/>
                </a:cubicBezTo>
                <a:cubicBezTo>
                  <a:pt x="193" y="191"/>
                  <a:pt x="192" y="188"/>
                  <a:pt x="194" y="188"/>
                </a:cubicBezTo>
                <a:close/>
                <a:moveTo>
                  <a:pt x="192" y="192"/>
                </a:moveTo>
                <a:cubicBezTo>
                  <a:pt x="190" y="193"/>
                  <a:pt x="193" y="192"/>
                  <a:pt x="192" y="192"/>
                </a:cubicBezTo>
                <a:close/>
                <a:moveTo>
                  <a:pt x="191" y="224"/>
                </a:moveTo>
                <a:cubicBezTo>
                  <a:pt x="191" y="225"/>
                  <a:pt x="190" y="223"/>
                  <a:pt x="190" y="223"/>
                </a:cubicBezTo>
                <a:cubicBezTo>
                  <a:pt x="191" y="222"/>
                  <a:pt x="192" y="224"/>
                  <a:pt x="191" y="224"/>
                </a:cubicBezTo>
                <a:close/>
                <a:moveTo>
                  <a:pt x="191" y="190"/>
                </a:moveTo>
                <a:cubicBezTo>
                  <a:pt x="191" y="189"/>
                  <a:pt x="191" y="189"/>
                  <a:pt x="190" y="188"/>
                </a:cubicBezTo>
                <a:cubicBezTo>
                  <a:pt x="191" y="188"/>
                  <a:pt x="191" y="189"/>
                  <a:pt x="191" y="190"/>
                </a:cubicBezTo>
                <a:close/>
                <a:moveTo>
                  <a:pt x="192" y="243"/>
                </a:moveTo>
                <a:cubicBezTo>
                  <a:pt x="192" y="241"/>
                  <a:pt x="191" y="242"/>
                  <a:pt x="190" y="243"/>
                </a:cubicBezTo>
                <a:cubicBezTo>
                  <a:pt x="188" y="243"/>
                  <a:pt x="184" y="239"/>
                  <a:pt x="186" y="235"/>
                </a:cubicBezTo>
                <a:cubicBezTo>
                  <a:pt x="189" y="230"/>
                  <a:pt x="196" y="237"/>
                  <a:pt x="192" y="243"/>
                </a:cubicBezTo>
                <a:close/>
                <a:moveTo>
                  <a:pt x="192" y="254"/>
                </a:moveTo>
                <a:cubicBezTo>
                  <a:pt x="191" y="255"/>
                  <a:pt x="191" y="253"/>
                  <a:pt x="191" y="253"/>
                </a:cubicBezTo>
                <a:cubicBezTo>
                  <a:pt x="192" y="252"/>
                  <a:pt x="192" y="254"/>
                  <a:pt x="192" y="254"/>
                </a:cubicBezTo>
                <a:close/>
                <a:moveTo>
                  <a:pt x="190" y="274"/>
                </a:moveTo>
                <a:cubicBezTo>
                  <a:pt x="190" y="274"/>
                  <a:pt x="189" y="272"/>
                  <a:pt x="190" y="272"/>
                </a:cubicBezTo>
                <a:cubicBezTo>
                  <a:pt x="191" y="271"/>
                  <a:pt x="191" y="274"/>
                  <a:pt x="190" y="274"/>
                </a:cubicBezTo>
                <a:close/>
                <a:moveTo>
                  <a:pt x="186" y="193"/>
                </a:moveTo>
                <a:cubicBezTo>
                  <a:pt x="189" y="193"/>
                  <a:pt x="188" y="197"/>
                  <a:pt x="187" y="197"/>
                </a:cubicBezTo>
                <a:cubicBezTo>
                  <a:pt x="185" y="197"/>
                  <a:pt x="185" y="193"/>
                  <a:pt x="186" y="193"/>
                </a:cubicBezTo>
                <a:close/>
                <a:moveTo>
                  <a:pt x="185" y="198"/>
                </a:moveTo>
                <a:cubicBezTo>
                  <a:pt x="187" y="198"/>
                  <a:pt x="186" y="200"/>
                  <a:pt x="185" y="198"/>
                </a:cubicBezTo>
                <a:close/>
                <a:moveTo>
                  <a:pt x="183" y="252"/>
                </a:moveTo>
                <a:cubicBezTo>
                  <a:pt x="184" y="252"/>
                  <a:pt x="184" y="254"/>
                  <a:pt x="183" y="253"/>
                </a:cubicBezTo>
                <a:cubicBezTo>
                  <a:pt x="183" y="253"/>
                  <a:pt x="183" y="253"/>
                  <a:pt x="183" y="252"/>
                </a:cubicBezTo>
                <a:close/>
                <a:moveTo>
                  <a:pt x="184" y="268"/>
                </a:moveTo>
                <a:cubicBezTo>
                  <a:pt x="184" y="268"/>
                  <a:pt x="185" y="269"/>
                  <a:pt x="184" y="269"/>
                </a:cubicBezTo>
                <a:cubicBezTo>
                  <a:pt x="184" y="270"/>
                  <a:pt x="182" y="268"/>
                  <a:pt x="184" y="268"/>
                </a:cubicBezTo>
                <a:close/>
                <a:moveTo>
                  <a:pt x="184" y="309"/>
                </a:moveTo>
                <a:cubicBezTo>
                  <a:pt x="183" y="309"/>
                  <a:pt x="182" y="307"/>
                  <a:pt x="183" y="306"/>
                </a:cubicBezTo>
                <a:cubicBezTo>
                  <a:pt x="185" y="305"/>
                  <a:pt x="185" y="309"/>
                  <a:pt x="184" y="309"/>
                </a:cubicBezTo>
                <a:close/>
                <a:moveTo>
                  <a:pt x="184" y="256"/>
                </a:moveTo>
                <a:cubicBezTo>
                  <a:pt x="183" y="256"/>
                  <a:pt x="182" y="254"/>
                  <a:pt x="184" y="254"/>
                </a:cubicBezTo>
                <a:cubicBezTo>
                  <a:pt x="185" y="254"/>
                  <a:pt x="185" y="256"/>
                  <a:pt x="184" y="256"/>
                </a:cubicBezTo>
                <a:close/>
                <a:moveTo>
                  <a:pt x="186" y="272"/>
                </a:moveTo>
                <a:cubicBezTo>
                  <a:pt x="190" y="271"/>
                  <a:pt x="189" y="278"/>
                  <a:pt x="187" y="278"/>
                </a:cubicBezTo>
                <a:cubicBezTo>
                  <a:pt x="185" y="278"/>
                  <a:pt x="184" y="273"/>
                  <a:pt x="186" y="272"/>
                </a:cubicBezTo>
                <a:close/>
                <a:moveTo>
                  <a:pt x="189" y="304"/>
                </a:moveTo>
                <a:cubicBezTo>
                  <a:pt x="193" y="304"/>
                  <a:pt x="193" y="312"/>
                  <a:pt x="190" y="312"/>
                </a:cubicBezTo>
                <a:cubicBezTo>
                  <a:pt x="187" y="312"/>
                  <a:pt x="185" y="305"/>
                  <a:pt x="189" y="304"/>
                </a:cubicBezTo>
                <a:close/>
                <a:moveTo>
                  <a:pt x="193" y="375"/>
                </a:moveTo>
                <a:cubicBezTo>
                  <a:pt x="193" y="375"/>
                  <a:pt x="192" y="374"/>
                  <a:pt x="193" y="374"/>
                </a:cubicBezTo>
                <a:cubicBezTo>
                  <a:pt x="193" y="374"/>
                  <a:pt x="194" y="375"/>
                  <a:pt x="193" y="375"/>
                </a:cubicBezTo>
                <a:close/>
                <a:moveTo>
                  <a:pt x="205" y="365"/>
                </a:moveTo>
                <a:cubicBezTo>
                  <a:pt x="205" y="366"/>
                  <a:pt x="203" y="362"/>
                  <a:pt x="204" y="364"/>
                </a:cubicBezTo>
                <a:cubicBezTo>
                  <a:pt x="199" y="355"/>
                  <a:pt x="192" y="344"/>
                  <a:pt x="189" y="335"/>
                </a:cubicBezTo>
                <a:cubicBezTo>
                  <a:pt x="195" y="343"/>
                  <a:pt x="199" y="352"/>
                  <a:pt x="204" y="362"/>
                </a:cubicBezTo>
                <a:cubicBezTo>
                  <a:pt x="204" y="362"/>
                  <a:pt x="206" y="364"/>
                  <a:pt x="205" y="365"/>
                </a:cubicBezTo>
                <a:close/>
                <a:moveTo>
                  <a:pt x="206" y="165"/>
                </a:moveTo>
                <a:cubicBezTo>
                  <a:pt x="204" y="165"/>
                  <a:pt x="205" y="163"/>
                  <a:pt x="206" y="165"/>
                </a:cubicBezTo>
                <a:close/>
                <a:moveTo>
                  <a:pt x="212" y="221"/>
                </a:moveTo>
                <a:cubicBezTo>
                  <a:pt x="210" y="220"/>
                  <a:pt x="208" y="217"/>
                  <a:pt x="206" y="215"/>
                </a:cubicBezTo>
                <a:cubicBezTo>
                  <a:pt x="209" y="216"/>
                  <a:pt x="210" y="219"/>
                  <a:pt x="212" y="221"/>
                </a:cubicBezTo>
                <a:close/>
                <a:moveTo>
                  <a:pt x="207" y="224"/>
                </a:moveTo>
                <a:cubicBezTo>
                  <a:pt x="205" y="222"/>
                  <a:pt x="211" y="223"/>
                  <a:pt x="209" y="225"/>
                </a:cubicBezTo>
                <a:cubicBezTo>
                  <a:pt x="209" y="226"/>
                  <a:pt x="208" y="225"/>
                  <a:pt x="207" y="224"/>
                </a:cubicBezTo>
                <a:close/>
                <a:moveTo>
                  <a:pt x="209" y="243"/>
                </a:moveTo>
                <a:cubicBezTo>
                  <a:pt x="210" y="243"/>
                  <a:pt x="211" y="244"/>
                  <a:pt x="211" y="244"/>
                </a:cubicBezTo>
                <a:cubicBezTo>
                  <a:pt x="211" y="247"/>
                  <a:pt x="208" y="245"/>
                  <a:pt x="209" y="243"/>
                </a:cubicBezTo>
                <a:close/>
                <a:moveTo>
                  <a:pt x="214" y="405"/>
                </a:moveTo>
                <a:cubicBezTo>
                  <a:pt x="214" y="405"/>
                  <a:pt x="215" y="405"/>
                  <a:pt x="215" y="405"/>
                </a:cubicBezTo>
                <a:cubicBezTo>
                  <a:pt x="216" y="406"/>
                  <a:pt x="213" y="406"/>
                  <a:pt x="214" y="405"/>
                </a:cubicBezTo>
                <a:close/>
                <a:moveTo>
                  <a:pt x="211" y="256"/>
                </a:moveTo>
                <a:cubicBezTo>
                  <a:pt x="211" y="256"/>
                  <a:pt x="210" y="254"/>
                  <a:pt x="211" y="254"/>
                </a:cubicBezTo>
                <a:cubicBezTo>
                  <a:pt x="214" y="256"/>
                  <a:pt x="216" y="261"/>
                  <a:pt x="217" y="264"/>
                </a:cubicBezTo>
                <a:cubicBezTo>
                  <a:pt x="215" y="261"/>
                  <a:pt x="212" y="258"/>
                  <a:pt x="211" y="256"/>
                </a:cubicBezTo>
                <a:close/>
                <a:moveTo>
                  <a:pt x="219" y="262"/>
                </a:moveTo>
                <a:cubicBezTo>
                  <a:pt x="218" y="262"/>
                  <a:pt x="217" y="260"/>
                  <a:pt x="219" y="260"/>
                </a:cubicBezTo>
                <a:cubicBezTo>
                  <a:pt x="219" y="260"/>
                  <a:pt x="220" y="261"/>
                  <a:pt x="219" y="262"/>
                </a:cubicBezTo>
                <a:close/>
                <a:moveTo>
                  <a:pt x="221" y="386"/>
                </a:moveTo>
                <a:cubicBezTo>
                  <a:pt x="221" y="385"/>
                  <a:pt x="222" y="386"/>
                  <a:pt x="222" y="386"/>
                </a:cubicBezTo>
                <a:cubicBezTo>
                  <a:pt x="221" y="387"/>
                  <a:pt x="220" y="387"/>
                  <a:pt x="221" y="386"/>
                </a:cubicBezTo>
                <a:close/>
                <a:moveTo>
                  <a:pt x="222" y="327"/>
                </a:moveTo>
                <a:cubicBezTo>
                  <a:pt x="220" y="326"/>
                  <a:pt x="222" y="326"/>
                  <a:pt x="222" y="327"/>
                </a:cubicBezTo>
                <a:close/>
                <a:moveTo>
                  <a:pt x="224" y="204"/>
                </a:moveTo>
                <a:cubicBezTo>
                  <a:pt x="223" y="205"/>
                  <a:pt x="222" y="205"/>
                  <a:pt x="222" y="205"/>
                </a:cubicBezTo>
                <a:cubicBezTo>
                  <a:pt x="221" y="204"/>
                  <a:pt x="221" y="203"/>
                  <a:pt x="222" y="203"/>
                </a:cubicBezTo>
                <a:cubicBezTo>
                  <a:pt x="222" y="202"/>
                  <a:pt x="222" y="201"/>
                  <a:pt x="222" y="201"/>
                </a:cubicBezTo>
                <a:cubicBezTo>
                  <a:pt x="221" y="200"/>
                  <a:pt x="215" y="194"/>
                  <a:pt x="216" y="194"/>
                </a:cubicBezTo>
                <a:cubicBezTo>
                  <a:pt x="218" y="192"/>
                  <a:pt x="222" y="201"/>
                  <a:pt x="223" y="202"/>
                </a:cubicBezTo>
                <a:cubicBezTo>
                  <a:pt x="224" y="203"/>
                  <a:pt x="225" y="204"/>
                  <a:pt x="224" y="204"/>
                </a:cubicBezTo>
                <a:cubicBezTo>
                  <a:pt x="224" y="204"/>
                  <a:pt x="224" y="204"/>
                  <a:pt x="224" y="204"/>
                </a:cubicBezTo>
                <a:cubicBezTo>
                  <a:pt x="224" y="204"/>
                  <a:pt x="224" y="204"/>
                  <a:pt x="224" y="204"/>
                </a:cubicBezTo>
                <a:close/>
                <a:moveTo>
                  <a:pt x="227" y="215"/>
                </a:moveTo>
                <a:cubicBezTo>
                  <a:pt x="224" y="216"/>
                  <a:pt x="222" y="210"/>
                  <a:pt x="225" y="210"/>
                </a:cubicBezTo>
                <a:cubicBezTo>
                  <a:pt x="227" y="210"/>
                  <a:pt x="228" y="214"/>
                  <a:pt x="227" y="215"/>
                </a:cubicBezTo>
                <a:close/>
                <a:moveTo>
                  <a:pt x="230" y="252"/>
                </a:moveTo>
                <a:cubicBezTo>
                  <a:pt x="230" y="251"/>
                  <a:pt x="231" y="252"/>
                  <a:pt x="231" y="252"/>
                </a:cubicBezTo>
                <a:cubicBezTo>
                  <a:pt x="231" y="252"/>
                  <a:pt x="230" y="252"/>
                  <a:pt x="230" y="252"/>
                </a:cubicBezTo>
                <a:close/>
                <a:moveTo>
                  <a:pt x="232" y="218"/>
                </a:moveTo>
                <a:cubicBezTo>
                  <a:pt x="232" y="218"/>
                  <a:pt x="232" y="218"/>
                  <a:pt x="232" y="218"/>
                </a:cubicBezTo>
                <a:cubicBezTo>
                  <a:pt x="231" y="217"/>
                  <a:pt x="230" y="216"/>
                  <a:pt x="229" y="216"/>
                </a:cubicBezTo>
                <a:cubicBezTo>
                  <a:pt x="229" y="216"/>
                  <a:pt x="230" y="215"/>
                  <a:pt x="230" y="215"/>
                </a:cubicBezTo>
                <a:cubicBezTo>
                  <a:pt x="230" y="214"/>
                  <a:pt x="232" y="217"/>
                  <a:pt x="234" y="218"/>
                </a:cubicBezTo>
                <a:cubicBezTo>
                  <a:pt x="235" y="219"/>
                  <a:pt x="242" y="224"/>
                  <a:pt x="243" y="226"/>
                </a:cubicBezTo>
                <a:cubicBezTo>
                  <a:pt x="244" y="228"/>
                  <a:pt x="241" y="224"/>
                  <a:pt x="240" y="224"/>
                </a:cubicBezTo>
                <a:cubicBezTo>
                  <a:pt x="239" y="222"/>
                  <a:pt x="235" y="220"/>
                  <a:pt x="232" y="218"/>
                </a:cubicBezTo>
                <a:cubicBezTo>
                  <a:pt x="233" y="219"/>
                  <a:pt x="233" y="219"/>
                  <a:pt x="232" y="219"/>
                </a:cubicBezTo>
                <a:cubicBezTo>
                  <a:pt x="232" y="219"/>
                  <a:pt x="232" y="218"/>
                  <a:pt x="232" y="218"/>
                </a:cubicBezTo>
                <a:close/>
                <a:moveTo>
                  <a:pt x="233" y="254"/>
                </a:moveTo>
                <a:cubicBezTo>
                  <a:pt x="233" y="254"/>
                  <a:pt x="232" y="253"/>
                  <a:pt x="232" y="253"/>
                </a:cubicBezTo>
                <a:cubicBezTo>
                  <a:pt x="232" y="253"/>
                  <a:pt x="234" y="253"/>
                  <a:pt x="233" y="254"/>
                </a:cubicBezTo>
                <a:close/>
                <a:moveTo>
                  <a:pt x="233" y="257"/>
                </a:moveTo>
                <a:cubicBezTo>
                  <a:pt x="232" y="257"/>
                  <a:pt x="232" y="255"/>
                  <a:pt x="233" y="255"/>
                </a:cubicBezTo>
                <a:cubicBezTo>
                  <a:pt x="234" y="254"/>
                  <a:pt x="234" y="257"/>
                  <a:pt x="233" y="257"/>
                </a:cubicBezTo>
                <a:close/>
                <a:moveTo>
                  <a:pt x="234" y="240"/>
                </a:moveTo>
                <a:cubicBezTo>
                  <a:pt x="234" y="240"/>
                  <a:pt x="234" y="240"/>
                  <a:pt x="234" y="239"/>
                </a:cubicBezTo>
                <a:cubicBezTo>
                  <a:pt x="235" y="237"/>
                  <a:pt x="237" y="243"/>
                  <a:pt x="234" y="240"/>
                </a:cubicBezTo>
                <a:close/>
                <a:moveTo>
                  <a:pt x="239" y="261"/>
                </a:moveTo>
                <a:cubicBezTo>
                  <a:pt x="240" y="261"/>
                  <a:pt x="242" y="263"/>
                  <a:pt x="240" y="264"/>
                </a:cubicBezTo>
                <a:cubicBezTo>
                  <a:pt x="238" y="266"/>
                  <a:pt x="235" y="260"/>
                  <a:pt x="239" y="261"/>
                </a:cubicBezTo>
                <a:close/>
                <a:moveTo>
                  <a:pt x="243" y="722"/>
                </a:moveTo>
                <a:cubicBezTo>
                  <a:pt x="243" y="722"/>
                  <a:pt x="243" y="722"/>
                  <a:pt x="243" y="722"/>
                </a:cubicBezTo>
                <a:cubicBezTo>
                  <a:pt x="244" y="724"/>
                  <a:pt x="241" y="719"/>
                  <a:pt x="243" y="722"/>
                </a:cubicBezTo>
                <a:close/>
                <a:moveTo>
                  <a:pt x="240" y="314"/>
                </a:moveTo>
                <a:cubicBezTo>
                  <a:pt x="242" y="315"/>
                  <a:pt x="242" y="318"/>
                  <a:pt x="244" y="319"/>
                </a:cubicBezTo>
                <a:cubicBezTo>
                  <a:pt x="242" y="318"/>
                  <a:pt x="241" y="316"/>
                  <a:pt x="240" y="314"/>
                </a:cubicBezTo>
                <a:close/>
                <a:moveTo>
                  <a:pt x="245" y="274"/>
                </a:moveTo>
                <a:cubicBezTo>
                  <a:pt x="247" y="273"/>
                  <a:pt x="246" y="276"/>
                  <a:pt x="245" y="276"/>
                </a:cubicBezTo>
                <a:cubicBezTo>
                  <a:pt x="244" y="277"/>
                  <a:pt x="243" y="274"/>
                  <a:pt x="245" y="274"/>
                </a:cubicBezTo>
                <a:close/>
                <a:moveTo>
                  <a:pt x="246" y="680"/>
                </a:moveTo>
                <a:cubicBezTo>
                  <a:pt x="244" y="679"/>
                  <a:pt x="247" y="680"/>
                  <a:pt x="246" y="680"/>
                </a:cubicBezTo>
                <a:close/>
                <a:moveTo>
                  <a:pt x="245" y="321"/>
                </a:moveTo>
                <a:cubicBezTo>
                  <a:pt x="248" y="323"/>
                  <a:pt x="245" y="324"/>
                  <a:pt x="245" y="321"/>
                </a:cubicBezTo>
                <a:close/>
                <a:moveTo>
                  <a:pt x="247" y="85"/>
                </a:moveTo>
                <a:cubicBezTo>
                  <a:pt x="246" y="86"/>
                  <a:pt x="245" y="85"/>
                  <a:pt x="245" y="84"/>
                </a:cubicBezTo>
                <a:cubicBezTo>
                  <a:pt x="244" y="83"/>
                  <a:pt x="247" y="83"/>
                  <a:pt x="247" y="85"/>
                </a:cubicBezTo>
                <a:close/>
                <a:moveTo>
                  <a:pt x="246" y="83"/>
                </a:moveTo>
                <a:cubicBezTo>
                  <a:pt x="246" y="82"/>
                  <a:pt x="246" y="83"/>
                  <a:pt x="246" y="83"/>
                </a:cubicBezTo>
                <a:cubicBezTo>
                  <a:pt x="248" y="82"/>
                  <a:pt x="245" y="84"/>
                  <a:pt x="246" y="83"/>
                </a:cubicBezTo>
                <a:close/>
                <a:moveTo>
                  <a:pt x="247" y="96"/>
                </a:moveTo>
                <a:cubicBezTo>
                  <a:pt x="248" y="97"/>
                  <a:pt x="247" y="97"/>
                  <a:pt x="247" y="96"/>
                </a:cubicBezTo>
                <a:close/>
                <a:moveTo>
                  <a:pt x="249" y="170"/>
                </a:moveTo>
                <a:cubicBezTo>
                  <a:pt x="247" y="168"/>
                  <a:pt x="250" y="172"/>
                  <a:pt x="249" y="170"/>
                </a:cubicBezTo>
                <a:close/>
                <a:moveTo>
                  <a:pt x="248" y="146"/>
                </a:moveTo>
                <a:cubicBezTo>
                  <a:pt x="248" y="146"/>
                  <a:pt x="247" y="145"/>
                  <a:pt x="248" y="144"/>
                </a:cubicBezTo>
                <a:cubicBezTo>
                  <a:pt x="250" y="141"/>
                  <a:pt x="251" y="149"/>
                  <a:pt x="248" y="146"/>
                </a:cubicBezTo>
                <a:close/>
                <a:moveTo>
                  <a:pt x="251" y="173"/>
                </a:moveTo>
                <a:cubicBezTo>
                  <a:pt x="249" y="171"/>
                  <a:pt x="252" y="175"/>
                  <a:pt x="251" y="173"/>
                </a:cubicBezTo>
                <a:close/>
                <a:moveTo>
                  <a:pt x="251" y="126"/>
                </a:moveTo>
                <a:cubicBezTo>
                  <a:pt x="251" y="125"/>
                  <a:pt x="252" y="126"/>
                  <a:pt x="252" y="126"/>
                </a:cubicBezTo>
                <a:cubicBezTo>
                  <a:pt x="252" y="126"/>
                  <a:pt x="251" y="126"/>
                  <a:pt x="251" y="126"/>
                </a:cubicBezTo>
                <a:close/>
                <a:moveTo>
                  <a:pt x="254" y="93"/>
                </a:moveTo>
                <a:cubicBezTo>
                  <a:pt x="254" y="93"/>
                  <a:pt x="253" y="93"/>
                  <a:pt x="252" y="93"/>
                </a:cubicBezTo>
                <a:cubicBezTo>
                  <a:pt x="250" y="91"/>
                  <a:pt x="255" y="90"/>
                  <a:pt x="254" y="93"/>
                </a:cubicBezTo>
                <a:close/>
                <a:moveTo>
                  <a:pt x="253" y="639"/>
                </a:moveTo>
                <a:cubicBezTo>
                  <a:pt x="253" y="638"/>
                  <a:pt x="255" y="639"/>
                  <a:pt x="255" y="639"/>
                </a:cubicBezTo>
                <a:cubicBezTo>
                  <a:pt x="256" y="641"/>
                  <a:pt x="252" y="640"/>
                  <a:pt x="253" y="639"/>
                </a:cubicBezTo>
                <a:close/>
                <a:moveTo>
                  <a:pt x="254" y="281"/>
                </a:moveTo>
                <a:cubicBezTo>
                  <a:pt x="256" y="282"/>
                  <a:pt x="255" y="284"/>
                  <a:pt x="254" y="281"/>
                </a:cubicBezTo>
                <a:close/>
                <a:moveTo>
                  <a:pt x="256" y="131"/>
                </a:moveTo>
                <a:cubicBezTo>
                  <a:pt x="258" y="131"/>
                  <a:pt x="257" y="133"/>
                  <a:pt x="256" y="133"/>
                </a:cubicBezTo>
                <a:cubicBezTo>
                  <a:pt x="255" y="133"/>
                  <a:pt x="254" y="131"/>
                  <a:pt x="256" y="131"/>
                </a:cubicBezTo>
                <a:close/>
                <a:moveTo>
                  <a:pt x="256" y="252"/>
                </a:moveTo>
                <a:cubicBezTo>
                  <a:pt x="256" y="252"/>
                  <a:pt x="258" y="254"/>
                  <a:pt x="258" y="254"/>
                </a:cubicBezTo>
                <a:cubicBezTo>
                  <a:pt x="258" y="254"/>
                  <a:pt x="256" y="253"/>
                  <a:pt x="256" y="252"/>
                </a:cubicBezTo>
                <a:close/>
                <a:moveTo>
                  <a:pt x="257" y="723"/>
                </a:moveTo>
                <a:cubicBezTo>
                  <a:pt x="257" y="723"/>
                  <a:pt x="258" y="723"/>
                  <a:pt x="258" y="723"/>
                </a:cubicBezTo>
                <a:cubicBezTo>
                  <a:pt x="260" y="724"/>
                  <a:pt x="256" y="723"/>
                  <a:pt x="257" y="723"/>
                </a:cubicBezTo>
                <a:close/>
                <a:moveTo>
                  <a:pt x="257" y="608"/>
                </a:moveTo>
                <a:cubicBezTo>
                  <a:pt x="258" y="607"/>
                  <a:pt x="261" y="610"/>
                  <a:pt x="260" y="610"/>
                </a:cubicBezTo>
                <a:cubicBezTo>
                  <a:pt x="265" y="613"/>
                  <a:pt x="273" y="615"/>
                  <a:pt x="279" y="618"/>
                </a:cubicBezTo>
                <a:cubicBezTo>
                  <a:pt x="279" y="618"/>
                  <a:pt x="281" y="619"/>
                  <a:pt x="281" y="619"/>
                </a:cubicBezTo>
                <a:cubicBezTo>
                  <a:pt x="282" y="621"/>
                  <a:pt x="264" y="613"/>
                  <a:pt x="261" y="611"/>
                </a:cubicBezTo>
                <a:cubicBezTo>
                  <a:pt x="261" y="611"/>
                  <a:pt x="256" y="609"/>
                  <a:pt x="257" y="608"/>
                </a:cubicBezTo>
                <a:close/>
                <a:moveTo>
                  <a:pt x="271" y="686"/>
                </a:moveTo>
                <a:cubicBezTo>
                  <a:pt x="271" y="688"/>
                  <a:pt x="269" y="684"/>
                  <a:pt x="270" y="686"/>
                </a:cubicBezTo>
                <a:cubicBezTo>
                  <a:pt x="270" y="686"/>
                  <a:pt x="271" y="686"/>
                  <a:pt x="271" y="686"/>
                </a:cubicBezTo>
                <a:close/>
                <a:moveTo>
                  <a:pt x="270" y="730"/>
                </a:moveTo>
                <a:cubicBezTo>
                  <a:pt x="270" y="731"/>
                  <a:pt x="268" y="729"/>
                  <a:pt x="270" y="730"/>
                </a:cubicBezTo>
                <a:close/>
                <a:moveTo>
                  <a:pt x="269" y="705"/>
                </a:moveTo>
                <a:cubicBezTo>
                  <a:pt x="269" y="705"/>
                  <a:pt x="271" y="705"/>
                  <a:pt x="271" y="705"/>
                </a:cubicBezTo>
                <a:cubicBezTo>
                  <a:pt x="272" y="707"/>
                  <a:pt x="268" y="706"/>
                  <a:pt x="269" y="705"/>
                </a:cubicBezTo>
                <a:close/>
                <a:moveTo>
                  <a:pt x="270" y="699"/>
                </a:moveTo>
                <a:cubicBezTo>
                  <a:pt x="272" y="697"/>
                  <a:pt x="273" y="701"/>
                  <a:pt x="270" y="699"/>
                </a:cubicBezTo>
                <a:close/>
                <a:moveTo>
                  <a:pt x="277" y="747"/>
                </a:moveTo>
                <a:cubicBezTo>
                  <a:pt x="275" y="746"/>
                  <a:pt x="279" y="748"/>
                  <a:pt x="277" y="747"/>
                </a:cubicBezTo>
                <a:close/>
                <a:moveTo>
                  <a:pt x="277" y="671"/>
                </a:moveTo>
                <a:cubicBezTo>
                  <a:pt x="279" y="670"/>
                  <a:pt x="279" y="671"/>
                  <a:pt x="279" y="671"/>
                </a:cubicBezTo>
                <a:cubicBezTo>
                  <a:pt x="281" y="673"/>
                  <a:pt x="276" y="671"/>
                  <a:pt x="277" y="671"/>
                </a:cubicBezTo>
                <a:close/>
                <a:moveTo>
                  <a:pt x="280" y="741"/>
                </a:moveTo>
                <a:cubicBezTo>
                  <a:pt x="280" y="740"/>
                  <a:pt x="284" y="740"/>
                  <a:pt x="285" y="741"/>
                </a:cubicBezTo>
                <a:cubicBezTo>
                  <a:pt x="285" y="743"/>
                  <a:pt x="280" y="742"/>
                  <a:pt x="280" y="741"/>
                </a:cubicBezTo>
                <a:close/>
                <a:moveTo>
                  <a:pt x="284" y="510"/>
                </a:moveTo>
                <a:cubicBezTo>
                  <a:pt x="284" y="510"/>
                  <a:pt x="285" y="510"/>
                  <a:pt x="286" y="510"/>
                </a:cubicBezTo>
                <a:cubicBezTo>
                  <a:pt x="287" y="512"/>
                  <a:pt x="283" y="512"/>
                  <a:pt x="284" y="510"/>
                </a:cubicBezTo>
                <a:close/>
                <a:moveTo>
                  <a:pt x="286" y="669"/>
                </a:moveTo>
                <a:cubicBezTo>
                  <a:pt x="286" y="667"/>
                  <a:pt x="289" y="668"/>
                  <a:pt x="289" y="669"/>
                </a:cubicBezTo>
                <a:cubicBezTo>
                  <a:pt x="290" y="671"/>
                  <a:pt x="286" y="670"/>
                  <a:pt x="286" y="669"/>
                </a:cubicBezTo>
                <a:close/>
                <a:moveTo>
                  <a:pt x="308" y="749"/>
                </a:moveTo>
                <a:cubicBezTo>
                  <a:pt x="302" y="750"/>
                  <a:pt x="295" y="748"/>
                  <a:pt x="288" y="746"/>
                </a:cubicBezTo>
                <a:cubicBezTo>
                  <a:pt x="294" y="747"/>
                  <a:pt x="301" y="748"/>
                  <a:pt x="308" y="74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137" name="TextBox 136">
            <a:extLst>
              <a:ext uri="{FF2B5EF4-FFF2-40B4-BE49-F238E27FC236}">
                <a16:creationId xmlns="" xmlns:a16="http://schemas.microsoft.com/office/drawing/2014/main" id="{768F1D36-CE52-475C-8583-9C7DC7B45BDE}"/>
              </a:ext>
            </a:extLst>
          </p:cNvPr>
          <p:cNvSpPr txBox="1"/>
          <p:nvPr/>
        </p:nvSpPr>
        <p:spPr>
          <a:xfrm>
            <a:off x="2870200" y="2744891"/>
            <a:ext cx="6451600" cy="1231106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en-US" sz="8000" dirty="0">
                <a:solidFill>
                  <a:schemeClr val="bg1"/>
                </a:solidFill>
                <a:latin typeface="+mj-lt"/>
              </a:rPr>
              <a:t>THANK YOU</a:t>
            </a:r>
            <a:endParaRPr lang="en-ID" sz="8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="" xmlns:a16="http://schemas.microsoft.com/office/drawing/2014/main" id="{47590D5A-20C9-4E97-A017-D6057EBAEC6A}"/>
              </a:ext>
            </a:extLst>
          </p:cNvPr>
          <p:cNvSpPr/>
          <p:nvPr/>
        </p:nvSpPr>
        <p:spPr>
          <a:xfrm>
            <a:off x="2971800" y="4064192"/>
            <a:ext cx="62484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bg1"/>
                </a:solidFill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</a:rPr>
              <a:t>dolor</a:t>
            </a:r>
            <a:r>
              <a:rPr lang="en-ID" sz="1400" dirty="0">
                <a:solidFill>
                  <a:schemeClr val="bg1"/>
                </a:solidFill>
              </a:rPr>
              <a:t> sit </a:t>
            </a:r>
            <a:r>
              <a:rPr lang="en-ID" sz="1400" dirty="0" err="1">
                <a:solidFill>
                  <a:schemeClr val="bg1"/>
                </a:solidFill>
              </a:rPr>
              <a:t>amet</a:t>
            </a:r>
            <a:r>
              <a:rPr lang="en-ID" sz="1400" dirty="0">
                <a:solidFill>
                  <a:schemeClr val="bg1"/>
                </a:solidFill>
              </a:rPr>
              <a:t>, </a:t>
            </a:r>
            <a:r>
              <a:rPr lang="en-ID" sz="1400" dirty="0" err="1">
                <a:solidFill>
                  <a:schemeClr val="bg1"/>
                </a:solidFill>
              </a:rPr>
              <a:t>consectetur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adipiscing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elit</a:t>
            </a:r>
            <a:r>
              <a:rPr lang="en-ID" sz="1400" dirty="0">
                <a:solidFill>
                  <a:schemeClr val="bg1"/>
                </a:solidFill>
              </a:rPr>
              <a:t>. </a:t>
            </a:r>
            <a:r>
              <a:rPr lang="en-ID" sz="1400" dirty="0" err="1">
                <a:solidFill>
                  <a:schemeClr val="bg1"/>
                </a:solidFill>
              </a:rPr>
              <a:t>Praesent</a:t>
            </a:r>
            <a:r>
              <a:rPr lang="en-ID" sz="1400" dirty="0">
                <a:solidFill>
                  <a:schemeClr val="bg1"/>
                </a:solidFill>
              </a:rPr>
              <a:t> non lacinia </a:t>
            </a:r>
            <a:r>
              <a:rPr lang="en-ID" sz="1400" dirty="0" err="1">
                <a:solidFill>
                  <a:schemeClr val="bg1"/>
                </a:solidFill>
              </a:rPr>
              <a:t>massa</a:t>
            </a:r>
            <a:r>
              <a:rPr lang="en-ID" sz="1400" dirty="0">
                <a:solidFill>
                  <a:schemeClr val="bg1"/>
                </a:solidFill>
              </a:rPr>
              <a:t>, a pharetra ante. </a:t>
            </a:r>
            <a:r>
              <a:rPr lang="en-ID" sz="1400" dirty="0" err="1">
                <a:solidFill>
                  <a:schemeClr val="bg1"/>
                </a:solidFill>
              </a:rPr>
              <a:t>Nullam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condimentum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vel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diam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sed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tincidunt</a:t>
            </a:r>
            <a:r>
              <a:rPr lang="en-ID" sz="1400" dirty="0">
                <a:solidFill>
                  <a:schemeClr val="bg1"/>
                </a:solidFill>
              </a:rPr>
              <a:t>. </a:t>
            </a:r>
            <a:endParaRPr lang="en-US" sz="1400" dirty="0">
              <a:solidFill>
                <a:schemeClr val="bg1"/>
              </a:solidFill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239640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769749" y="538072"/>
            <a:ext cx="10805369" cy="58990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347"/>
              </a:lnSpc>
            </a:pPr>
            <a:r>
              <a:rPr lang="en-US" sz="2100" b="1" spc="75" dirty="0">
                <a:solidFill>
                  <a:srgbClr val="020301"/>
                </a:solidFill>
                <a:latin typeface="Podkova ExtraBold"/>
              </a:rPr>
              <a:t>РЕКЛАМНЫЕ, ПРОДАЮЩИЕ, PR </a:t>
            </a:r>
          </a:p>
          <a:p>
            <a:pPr>
              <a:lnSpc>
                <a:spcPts val="2347"/>
              </a:lnSpc>
            </a:pPr>
            <a:r>
              <a:rPr lang="en-US" sz="2100" b="1" spc="75" dirty="0">
                <a:solidFill>
                  <a:srgbClr val="020301"/>
                </a:solidFill>
                <a:latin typeface="Podkova ExtraBold"/>
              </a:rPr>
              <a:t>И ИНФО-ПРЕЗЕНТАЦИИ ОТ “ПАНДА-КОПИРАЙТИНГ”</a:t>
            </a:r>
          </a:p>
        </p:txBody>
      </p:sp>
      <p:sp>
        <p:nvSpPr>
          <p:cNvPr id="3" name="TextBox 3"/>
          <p:cNvSpPr txBox="1"/>
          <p:nvPr/>
        </p:nvSpPr>
        <p:spPr>
          <a:xfrm>
            <a:off x="769748" y="1501363"/>
            <a:ext cx="10901656" cy="20518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60"/>
              </a:lnSpc>
            </a:pPr>
            <a:r>
              <a:rPr lang="en-US" sz="1200" spc="43" dirty="0">
                <a:latin typeface="Podkova Regular Bold"/>
              </a:rPr>
              <a:t>СТОИМОСТЬ “ПОД КЛЮЧ” ОТ $90 | ЯЗЫКИ: РУССКИЙ, АНГЛИЙСКИЙ, ФРАНЦУЗСКИЙ, НЕМЕЦКИЙ</a:t>
            </a:r>
          </a:p>
        </p:txBody>
      </p:sp>
      <p:sp>
        <p:nvSpPr>
          <p:cNvPr id="4" name="AutoShape 4"/>
          <p:cNvSpPr/>
          <p:nvPr/>
        </p:nvSpPr>
        <p:spPr>
          <a:xfrm>
            <a:off x="12002792" y="1335"/>
            <a:ext cx="189208" cy="6856667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5" name="AutoShape 5"/>
          <p:cNvSpPr/>
          <p:nvPr/>
        </p:nvSpPr>
        <p:spPr>
          <a:xfrm>
            <a:off x="504409" y="310313"/>
            <a:ext cx="120928" cy="1665404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6" name="TextBox 6"/>
          <p:cNvSpPr txBox="1"/>
          <p:nvPr/>
        </p:nvSpPr>
        <p:spPr>
          <a:xfrm>
            <a:off x="953243" y="2668407"/>
            <a:ext cx="2612885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Сильный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родающий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текст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в 5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стилях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4789558" y="2668407"/>
            <a:ext cx="2612885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одбор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из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70 000+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латных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лицензионных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PRO-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шаблонов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8458363" y="2745407"/>
            <a:ext cx="2612885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</a:pP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Готовность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от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36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часов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pic>
        <p:nvPicPr>
          <p:cNvPr id="9" name="Picture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1381" y="2529149"/>
            <a:ext cx="675087" cy="675087"/>
          </a:xfrm>
          <a:prstGeom prst="rect">
            <a:avLst/>
          </a:prstGeom>
        </p:spPr>
      </p:pic>
      <p:pic>
        <p:nvPicPr>
          <p:cNvPr id="10" name="Picture 10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940518" y="2527549"/>
            <a:ext cx="676687" cy="676687"/>
          </a:xfrm>
          <a:prstGeom prst="rect">
            <a:avLst/>
          </a:prstGeom>
        </p:spPr>
      </p:pic>
      <p:pic>
        <p:nvPicPr>
          <p:cNvPr id="11" name="Picture 1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7758849" y="2504721"/>
            <a:ext cx="699515" cy="699515"/>
          </a:xfrm>
          <a:prstGeom prst="rect">
            <a:avLst/>
          </a:prstGeom>
        </p:spPr>
      </p:pic>
      <p:sp>
        <p:nvSpPr>
          <p:cNvPr id="12" name="TextBox 12"/>
          <p:cNvSpPr txBox="1"/>
          <p:nvPr/>
        </p:nvSpPr>
        <p:spPr>
          <a:xfrm>
            <a:off x="1757969" y="4088075"/>
            <a:ext cx="9122780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40"/>
              </a:lnSpc>
            </a:pPr>
            <a:r>
              <a:rPr lang="en-US" sz="1600" spc="48" dirty="0" err="1">
                <a:solidFill>
                  <a:srgbClr val="020301"/>
                </a:solidFill>
                <a:latin typeface="Podkova Regular Bold"/>
              </a:rPr>
              <a:t>Дополнительно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: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оформление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под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брендбук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компании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или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подбор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сочетаний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цветов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для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создания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вашего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фирстиля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 и </a:t>
            </a:r>
            <a:r>
              <a:rPr lang="en-US" sz="1600" spc="48" dirty="0" err="1">
                <a:solidFill>
                  <a:srgbClr val="020301"/>
                </a:solidFill>
                <a:latin typeface="Podkova Regular"/>
              </a:rPr>
              <a:t>оформления</a:t>
            </a:r>
            <a:r>
              <a:rPr lang="en-US" sz="1600" spc="48" dirty="0">
                <a:solidFill>
                  <a:srgbClr val="020301"/>
                </a:solidFill>
                <a:latin typeface="Podkova Regular"/>
              </a:rPr>
              <a:t> </a:t>
            </a:r>
          </a:p>
        </p:txBody>
      </p:sp>
      <p:sp>
        <p:nvSpPr>
          <p:cNvPr id="13" name="AutoShape 13"/>
          <p:cNvSpPr/>
          <p:nvPr/>
        </p:nvSpPr>
        <p:spPr>
          <a:xfrm rot="5400000">
            <a:off x="5916383" y="-669936"/>
            <a:ext cx="170028" cy="12002792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14" name="TextBox 14"/>
          <p:cNvSpPr txBox="1"/>
          <p:nvPr/>
        </p:nvSpPr>
        <p:spPr>
          <a:xfrm>
            <a:off x="7210198" y="5491966"/>
            <a:ext cx="4887199" cy="8720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endParaRPr/>
          </a:p>
          <a:p>
            <a:pPr algn="ctr">
              <a:lnSpc>
                <a:spcPts val="1680"/>
              </a:lnSpc>
            </a:pP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customers@petr-panda.ru    </a:t>
            </a:r>
          </a:p>
          <a:p>
            <a:pPr algn="ctr">
              <a:lnSpc>
                <a:spcPts val="1680"/>
              </a:lnSpc>
            </a:pPr>
            <a:endParaRPr/>
          </a:p>
          <a:p>
            <a:pPr algn="ctr">
              <a:lnSpc>
                <a:spcPts val="1680"/>
              </a:lnSpc>
            </a:pPr>
            <a:r>
              <a:rPr lang="en-US" sz="1200" spc="36" dirty="0" err="1">
                <a:latin typeface="Podkova Regular Bold"/>
              </a:rPr>
              <a:t>Главный</a:t>
            </a:r>
            <a:r>
              <a:rPr lang="en-US" sz="1200" spc="36" dirty="0">
                <a:latin typeface="Podkova Regular Bold"/>
              </a:rPr>
              <a:t> </a:t>
            </a:r>
            <a:r>
              <a:rPr lang="en-US" sz="1200" spc="36" dirty="0" err="1">
                <a:latin typeface="Podkova Regular Bold"/>
              </a:rPr>
              <a:t>сайт</a:t>
            </a:r>
            <a:r>
              <a:rPr lang="en-US" sz="1200" spc="36" dirty="0">
                <a:latin typeface="Podkova Regular Bold"/>
              </a:rPr>
              <a:t> </a:t>
            </a:r>
            <a:r>
              <a:rPr lang="en-US" sz="1200" spc="36" dirty="0" err="1">
                <a:latin typeface="Podkova Regular Bold"/>
              </a:rPr>
              <a:t>проекта</a:t>
            </a:r>
            <a:r>
              <a:rPr lang="en-US" sz="1200" spc="36" dirty="0">
                <a:latin typeface="Podkova Regular Bold"/>
              </a:rPr>
              <a:t>: petr-panda.ru</a:t>
            </a:r>
          </a:p>
        </p:txBody>
      </p:sp>
      <p:pic>
        <p:nvPicPr>
          <p:cNvPr id="15" name="Picture 15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6889740" y="5622966"/>
            <a:ext cx="1025405" cy="1025405"/>
          </a:xfrm>
          <a:prstGeom prst="rect">
            <a:avLst/>
          </a:prstGeom>
        </p:spPr>
      </p:pic>
      <p:pic>
        <p:nvPicPr>
          <p:cNvPr id="16" name="Picture 16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488923" y="3705037"/>
            <a:ext cx="1360435" cy="1360435"/>
          </a:xfrm>
          <a:prstGeom prst="rect">
            <a:avLst/>
          </a:prstGeom>
        </p:spPr>
      </p:pic>
      <p:sp>
        <p:nvSpPr>
          <p:cNvPr id="17" name="TextBox 17"/>
          <p:cNvSpPr txBox="1"/>
          <p:nvPr/>
        </p:nvSpPr>
        <p:spPr>
          <a:xfrm>
            <a:off x="1264594" y="5906882"/>
            <a:ext cx="4603069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Также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“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од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ключ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”: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маркетинг-кит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,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брошюры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,, White Paper,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буклеты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,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коммерческие</a:t>
            </a: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 </a:t>
            </a:r>
            <a:r>
              <a:rPr lang="en-US" sz="1200" spc="36" dirty="0" err="1">
                <a:solidFill>
                  <a:srgbClr val="020301"/>
                </a:solidFill>
                <a:latin typeface="Podkova Regular"/>
              </a:rPr>
              <a:t>предложения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pic>
        <p:nvPicPr>
          <p:cNvPr id="18" name="Picture 18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188560" y="5659065"/>
            <a:ext cx="1004359" cy="1004359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769749" y="538072"/>
            <a:ext cx="10805369" cy="88485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347"/>
              </a:lnSpc>
            </a:pPr>
            <a:r>
              <a:rPr lang="en-US" sz="2100" b="1" spc="75" dirty="0" smtClean="0">
                <a:solidFill>
                  <a:srgbClr val="020301"/>
                </a:solidFill>
                <a:latin typeface="Podkova ExtraBold"/>
              </a:rPr>
              <a:t>THE ADVERTISING, MARKETING, PR, AND INFO-PRESENTATIONS BY PANDA COPYWRITING PROJECT</a:t>
            </a:r>
            <a:endParaRPr lang="ru-RU" sz="2100" b="1" dirty="0" smtClean="0"/>
          </a:p>
          <a:p>
            <a:pPr>
              <a:lnSpc>
                <a:spcPts val="2347"/>
              </a:lnSpc>
            </a:pPr>
            <a:endParaRPr lang="en-US" sz="2100" spc="75" dirty="0">
              <a:solidFill>
                <a:srgbClr val="020301"/>
              </a:solidFill>
              <a:latin typeface="Podkova ExtraBold"/>
            </a:endParaRPr>
          </a:p>
        </p:txBody>
      </p:sp>
      <p:sp>
        <p:nvSpPr>
          <p:cNvPr id="3" name="TextBox 3"/>
          <p:cNvSpPr txBox="1"/>
          <p:nvPr/>
        </p:nvSpPr>
        <p:spPr>
          <a:xfrm>
            <a:off x="769748" y="1501363"/>
            <a:ext cx="10901656" cy="20518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560"/>
              </a:lnSpc>
            </a:pPr>
            <a:r>
              <a:rPr lang="en-US" sz="1200" spc="43" dirty="0" smtClean="0">
                <a:latin typeface="Podkova Regular Bold"/>
              </a:rPr>
              <a:t>A TURNKEY COST STARTS $</a:t>
            </a:r>
            <a:r>
              <a:rPr lang="en-US" sz="1200" spc="43" dirty="0">
                <a:latin typeface="Podkova Regular Bold"/>
              </a:rPr>
              <a:t>90 | </a:t>
            </a:r>
            <a:r>
              <a:rPr lang="en-US" sz="1200" spc="43" dirty="0" smtClean="0">
                <a:latin typeface="Podkova Regular Bold"/>
              </a:rPr>
              <a:t>LANGUAGES: RUSSIAN, ENGLISH, FRENCH, AND GERMAN</a:t>
            </a:r>
            <a:endParaRPr lang="en-US" sz="1200" spc="43" dirty="0">
              <a:latin typeface="Podkova Regular Bold"/>
            </a:endParaRPr>
          </a:p>
        </p:txBody>
      </p:sp>
      <p:sp>
        <p:nvSpPr>
          <p:cNvPr id="4" name="AutoShape 4"/>
          <p:cNvSpPr/>
          <p:nvPr/>
        </p:nvSpPr>
        <p:spPr>
          <a:xfrm>
            <a:off x="12002792" y="1335"/>
            <a:ext cx="189208" cy="6856667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5" name="AutoShape 5"/>
          <p:cNvSpPr/>
          <p:nvPr/>
        </p:nvSpPr>
        <p:spPr>
          <a:xfrm>
            <a:off x="504409" y="310313"/>
            <a:ext cx="120928" cy="1665404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6" name="TextBox 6"/>
          <p:cNvSpPr txBox="1"/>
          <p:nvPr/>
        </p:nvSpPr>
        <p:spPr>
          <a:xfrm>
            <a:off x="953243" y="2668407"/>
            <a:ext cx="2612885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smtClean="0">
                <a:solidFill>
                  <a:srgbClr val="020301"/>
                </a:solidFill>
                <a:latin typeface="Podkova Regular"/>
              </a:rPr>
              <a:t>5 styles of the powerful selling texts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4789558" y="2668407"/>
            <a:ext cx="2612885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smtClean="0">
                <a:solidFill>
                  <a:srgbClr val="020301"/>
                </a:solidFill>
                <a:latin typeface="Podkova Regular"/>
              </a:rPr>
              <a:t>A selection of 70,000+ paid licensed PRO templates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sp>
        <p:nvSpPr>
          <p:cNvPr id="8" name="TextBox 8"/>
          <p:cNvSpPr txBox="1"/>
          <p:nvPr/>
        </p:nvSpPr>
        <p:spPr>
          <a:xfrm>
            <a:off x="8458363" y="2745407"/>
            <a:ext cx="2612885" cy="21800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680"/>
              </a:lnSpc>
            </a:pPr>
            <a:r>
              <a:rPr lang="en-US" sz="1200" spc="36" dirty="0" smtClean="0">
                <a:solidFill>
                  <a:srgbClr val="020301"/>
                </a:solidFill>
                <a:latin typeface="Podkova Regular"/>
              </a:rPr>
              <a:t>An availability from 36 hours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pic>
        <p:nvPicPr>
          <p:cNvPr id="9" name="Picture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51381" y="2529149"/>
            <a:ext cx="675087" cy="675087"/>
          </a:xfrm>
          <a:prstGeom prst="rect">
            <a:avLst/>
          </a:prstGeom>
        </p:spPr>
      </p:pic>
      <p:pic>
        <p:nvPicPr>
          <p:cNvPr id="10" name="Picture 10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940518" y="2527549"/>
            <a:ext cx="676687" cy="676687"/>
          </a:xfrm>
          <a:prstGeom prst="rect">
            <a:avLst/>
          </a:prstGeom>
        </p:spPr>
      </p:pic>
      <p:pic>
        <p:nvPicPr>
          <p:cNvPr id="11" name="Picture 1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7758849" y="2504721"/>
            <a:ext cx="699515" cy="699515"/>
          </a:xfrm>
          <a:prstGeom prst="rect">
            <a:avLst/>
          </a:prstGeom>
        </p:spPr>
      </p:pic>
      <p:sp>
        <p:nvSpPr>
          <p:cNvPr id="12" name="TextBox 12"/>
          <p:cNvSpPr txBox="1"/>
          <p:nvPr/>
        </p:nvSpPr>
        <p:spPr>
          <a:xfrm>
            <a:off x="1757969" y="4088075"/>
            <a:ext cx="9122780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40"/>
              </a:lnSpc>
            </a:pPr>
            <a:r>
              <a:rPr lang="en-US" sz="1600" spc="48" dirty="0" smtClean="0">
                <a:solidFill>
                  <a:srgbClr val="020301"/>
                </a:solidFill>
                <a:latin typeface="Podkova Regular Bold"/>
              </a:rPr>
              <a:t>Additionally: design for a company’s brand book or selection of color combinations to create your corporate identity and design</a:t>
            </a:r>
            <a:endParaRPr lang="en-US" sz="1600" spc="48" dirty="0">
              <a:solidFill>
                <a:srgbClr val="020301"/>
              </a:solidFill>
              <a:latin typeface="Podkova Regular"/>
            </a:endParaRPr>
          </a:p>
        </p:txBody>
      </p:sp>
      <p:sp>
        <p:nvSpPr>
          <p:cNvPr id="13" name="AutoShape 13"/>
          <p:cNvSpPr/>
          <p:nvPr/>
        </p:nvSpPr>
        <p:spPr>
          <a:xfrm rot="5400000">
            <a:off x="5916383" y="-669936"/>
            <a:ext cx="170028" cy="12002792"/>
          </a:xfrm>
          <a:prstGeom prst="rect">
            <a:avLst/>
          </a:prstGeom>
          <a:solidFill>
            <a:srgbClr val="FFFFFF"/>
          </a:solidFill>
        </p:spPr>
      </p:sp>
      <p:sp>
        <p:nvSpPr>
          <p:cNvPr id="14" name="TextBox 14"/>
          <p:cNvSpPr txBox="1"/>
          <p:nvPr/>
        </p:nvSpPr>
        <p:spPr>
          <a:xfrm>
            <a:off x="7210198" y="5491966"/>
            <a:ext cx="4887199" cy="87203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endParaRPr/>
          </a:p>
          <a:p>
            <a:pPr algn="ctr">
              <a:lnSpc>
                <a:spcPts val="1680"/>
              </a:lnSpc>
            </a:pPr>
            <a:r>
              <a:rPr lang="en-US" sz="1200" spc="36" dirty="0">
                <a:solidFill>
                  <a:srgbClr val="020301"/>
                </a:solidFill>
                <a:latin typeface="Podkova Regular"/>
              </a:rPr>
              <a:t>customers@petr-panda.ru    </a:t>
            </a:r>
          </a:p>
          <a:p>
            <a:pPr algn="ctr">
              <a:lnSpc>
                <a:spcPts val="1680"/>
              </a:lnSpc>
            </a:pPr>
            <a:endParaRPr/>
          </a:p>
          <a:p>
            <a:pPr algn="ctr">
              <a:lnSpc>
                <a:spcPts val="1680"/>
              </a:lnSpc>
            </a:pPr>
            <a:r>
              <a:rPr lang="en-US" sz="1200" spc="36" dirty="0" smtClean="0">
                <a:latin typeface="Podkova Regular Bold"/>
              </a:rPr>
              <a:t>The main project’s website: </a:t>
            </a:r>
            <a:r>
              <a:rPr lang="en-US" sz="1200" spc="36" dirty="0">
                <a:latin typeface="Podkova Regular Bold"/>
              </a:rPr>
              <a:t>petr-panda.ru</a:t>
            </a:r>
          </a:p>
        </p:txBody>
      </p:sp>
      <p:pic>
        <p:nvPicPr>
          <p:cNvPr id="15" name="Picture 15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6889740" y="5622966"/>
            <a:ext cx="1025405" cy="1025405"/>
          </a:xfrm>
          <a:prstGeom prst="rect">
            <a:avLst/>
          </a:prstGeom>
        </p:spPr>
      </p:pic>
      <p:pic>
        <p:nvPicPr>
          <p:cNvPr id="16" name="Picture 16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488923" y="3705037"/>
            <a:ext cx="1360435" cy="1360435"/>
          </a:xfrm>
          <a:prstGeom prst="rect">
            <a:avLst/>
          </a:prstGeom>
        </p:spPr>
      </p:pic>
      <p:sp>
        <p:nvSpPr>
          <p:cNvPr id="17" name="TextBox 17"/>
          <p:cNvSpPr txBox="1"/>
          <p:nvPr/>
        </p:nvSpPr>
        <p:spPr>
          <a:xfrm>
            <a:off x="1264594" y="5906882"/>
            <a:ext cx="4603069" cy="43601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1680"/>
              </a:lnSpc>
            </a:pPr>
            <a:r>
              <a:rPr lang="en-US" sz="1200" spc="36" dirty="0" smtClean="0">
                <a:solidFill>
                  <a:srgbClr val="020301"/>
                </a:solidFill>
                <a:latin typeface="Podkova Regular"/>
              </a:rPr>
              <a:t>Plus the turnkey: marketing kit, brochures, White Paper, booklets, and business proposals</a:t>
            </a:r>
            <a:endParaRPr lang="en-US" sz="1200" spc="36" dirty="0">
              <a:solidFill>
                <a:srgbClr val="020301"/>
              </a:solidFill>
              <a:latin typeface="Podkova Regular"/>
            </a:endParaRPr>
          </a:p>
        </p:txBody>
      </p:sp>
      <p:pic>
        <p:nvPicPr>
          <p:cNvPr id="18" name="Picture 18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188560" y="5659065"/>
            <a:ext cx="1004359" cy="1004359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8505CDED-13AE-40F0-87D6-E4A6DDAE0C42}"/>
              </a:ext>
            </a:extLst>
          </p:cNvPr>
          <p:cNvSpPr txBox="1"/>
          <p:nvPr/>
        </p:nvSpPr>
        <p:spPr>
          <a:xfrm>
            <a:off x="391886" y="138113"/>
            <a:ext cx="11408228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>
                <a:solidFill>
                  <a:schemeClr val="tx2"/>
                </a:solidFill>
                <a:latin typeface="+mj-lt"/>
              </a:rPr>
              <a:t>SUPPLY CHAIN</a:t>
            </a:r>
            <a:endParaRPr lang="en-ID" sz="4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650DC6E6-7E8C-4810-BA99-8139F7C1E125}"/>
              </a:ext>
            </a:extLst>
          </p:cNvPr>
          <p:cNvSpPr/>
          <p:nvPr/>
        </p:nvSpPr>
        <p:spPr>
          <a:xfrm>
            <a:off x="334962" y="815221"/>
            <a:ext cx="1152207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lo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l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D372E057-0BFB-4CB4-8BB3-967DEB9AF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BA98C-1060-4864-8096-9350DC016A42}" type="datetime1">
              <a:rPr lang="en-ID" smtClean="0"/>
              <a:pPr/>
              <a:t>6/27/2020</a:t>
            </a:fld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24DC781-AC70-4CCD-8B70-39BA47EBA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89122-6C24-49FD-BEBC-7A811562A5F5}" type="slidenum">
              <a:rPr lang="en-ID" smtClean="0"/>
              <a:pPr/>
              <a:t>2</a:t>
            </a:fld>
            <a:endParaRPr lang="en-ID"/>
          </a:p>
        </p:txBody>
      </p:sp>
      <p:sp>
        <p:nvSpPr>
          <p:cNvPr id="146" name="Freeform 140">
            <a:extLst>
              <a:ext uri="{FF2B5EF4-FFF2-40B4-BE49-F238E27FC236}">
                <a16:creationId xmlns="" xmlns:a16="http://schemas.microsoft.com/office/drawing/2014/main" id="{5DE27882-1C7A-4FC7-A2FE-0A951203BA31}"/>
              </a:ext>
            </a:extLst>
          </p:cNvPr>
          <p:cNvSpPr>
            <a:spLocks noEditPoints="1"/>
          </p:cNvSpPr>
          <p:nvPr/>
        </p:nvSpPr>
        <p:spPr bwMode="auto">
          <a:xfrm>
            <a:off x="625596" y="1707772"/>
            <a:ext cx="2029127" cy="1930777"/>
          </a:xfrm>
          <a:custGeom>
            <a:avLst/>
            <a:gdLst>
              <a:gd name="T0" fmla="*/ 138 w 832"/>
              <a:gd name="T1" fmla="*/ 476 h 793"/>
              <a:gd name="T2" fmla="*/ 201 w 832"/>
              <a:gd name="T3" fmla="*/ 469 h 793"/>
              <a:gd name="T4" fmla="*/ 181 w 832"/>
              <a:gd name="T5" fmla="*/ 508 h 793"/>
              <a:gd name="T6" fmla="*/ 228 w 832"/>
              <a:gd name="T7" fmla="*/ 531 h 793"/>
              <a:gd name="T8" fmla="*/ 299 w 832"/>
              <a:gd name="T9" fmla="*/ 524 h 793"/>
              <a:gd name="T10" fmla="*/ 313 w 832"/>
              <a:gd name="T11" fmla="*/ 582 h 793"/>
              <a:gd name="T12" fmla="*/ 386 w 832"/>
              <a:gd name="T13" fmla="*/ 657 h 793"/>
              <a:gd name="T14" fmla="*/ 377 w 832"/>
              <a:gd name="T15" fmla="*/ 733 h 793"/>
              <a:gd name="T16" fmla="*/ 730 w 832"/>
              <a:gd name="T17" fmla="*/ 282 h 793"/>
              <a:gd name="T18" fmla="*/ 710 w 832"/>
              <a:gd name="T19" fmla="*/ 255 h 793"/>
              <a:gd name="T20" fmla="*/ 636 w 832"/>
              <a:gd name="T21" fmla="*/ 285 h 793"/>
              <a:gd name="T22" fmla="*/ 609 w 832"/>
              <a:gd name="T23" fmla="*/ 220 h 793"/>
              <a:gd name="T24" fmla="*/ 513 w 832"/>
              <a:gd name="T25" fmla="*/ 163 h 793"/>
              <a:gd name="T26" fmla="*/ 489 w 832"/>
              <a:gd name="T27" fmla="*/ 92 h 793"/>
              <a:gd name="T28" fmla="*/ 475 w 832"/>
              <a:gd name="T29" fmla="*/ 43 h 793"/>
              <a:gd name="T30" fmla="*/ 354 w 832"/>
              <a:gd name="T31" fmla="*/ 39 h 793"/>
              <a:gd name="T32" fmla="*/ 277 w 832"/>
              <a:gd name="T33" fmla="*/ 496 h 793"/>
              <a:gd name="T34" fmla="*/ 815 w 832"/>
              <a:gd name="T35" fmla="*/ 374 h 793"/>
              <a:gd name="T36" fmla="*/ 776 w 832"/>
              <a:gd name="T37" fmla="*/ 327 h 793"/>
              <a:gd name="T38" fmla="*/ 741 w 832"/>
              <a:gd name="T39" fmla="*/ 324 h 793"/>
              <a:gd name="T40" fmla="*/ 695 w 832"/>
              <a:gd name="T41" fmla="*/ 438 h 793"/>
              <a:gd name="T42" fmla="*/ 691 w 832"/>
              <a:gd name="T43" fmla="*/ 299 h 793"/>
              <a:gd name="T44" fmla="*/ 644 w 832"/>
              <a:gd name="T45" fmla="*/ 398 h 793"/>
              <a:gd name="T46" fmla="*/ 484 w 832"/>
              <a:gd name="T47" fmla="*/ 157 h 793"/>
              <a:gd name="T48" fmla="*/ 527 w 832"/>
              <a:gd name="T49" fmla="*/ 671 h 793"/>
              <a:gd name="T50" fmla="*/ 570 w 832"/>
              <a:gd name="T51" fmla="*/ 335 h 793"/>
              <a:gd name="T52" fmla="*/ 591 w 832"/>
              <a:gd name="T53" fmla="*/ 396 h 793"/>
              <a:gd name="T54" fmla="*/ 613 w 832"/>
              <a:gd name="T55" fmla="*/ 276 h 793"/>
              <a:gd name="T56" fmla="*/ 607 w 832"/>
              <a:gd name="T57" fmla="*/ 228 h 793"/>
              <a:gd name="T58" fmla="*/ 549 w 832"/>
              <a:gd name="T59" fmla="*/ 270 h 793"/>
              <a:gd name="T60" fmla="*/ 506 w 832"/>
              <a:gd name="T61" fmla="*/ 202 h 793"/>
              <a:gd name="T62" fmla="*/ 481 w 832"/>
              <a:gd name="T63" fmla="*/ 85 h 793"/>
              <a:gd name="T64" fmla="*/ 300 w 832"/>
              <a:gd name="T65" fmla="*/ 462 h 793"/>
              <a:gd name="T66" fmla="*/ 312 w 832"/>
              <a:gd name="T67" fmla="*/ 574 h 793"/>
              <a:gd name="T68" fmla="*/ 341 w 832"/>
              <a:gd name="T69" fmla="*/ 515 h 793"/>
              <a:gd name="T70" fmla="*/ 319 w 832"/>
              <a:gd name="T71" fmla="*/ 563 h 793"/>
              <a:gd name="T72" fmla="*/ 367 w 832"/>
              <a:gd name="T73" fmla="*/ 558 h 793"/>
              <a:gd name="T74" fmla="*/ 445 w 832"/>
              <a:gd name="T75" fmla="*/ 112 h 793"/>
              <a:gd name="T76" fmla="*/ 469 w 832"/>
              <a:gd name="T77" fmla="*/ 613 h 793"/>
              <a:gd name="T78" fmla="*/ 416 w 832"/>
              <a:gd name="T79" fmla="*/ 113 h 793"/>
              <a:gd name="T80" fmla="*/ 432 w 832"/>
              <a:gd name="T81" fmla="*/ 246 h 793"/>
              <a:gd name="T82" fmla="*/ 442 w 832"/>
              <a:gd name="T83" fmla="*/ 577 h 793"/>
              <a:gd name="T84" fmla="*/ 427 w 832"/>
              <a:gd name="T85" fmla="*/ 695 h 793"/>
              <a:gd name="T86" fmla="*/ 469 w 832"/>
              <a:gd name="T87" fmla="*/ 188 h 793"/>
              <a:gd name="T88" fmla="*/ 410 w 832"/>
              <a:gd name="T89" fmla="*/ 668 h 793"/>
              <a:gd name="T90" fmla="*/ 409 w 832"/>
              <a:gd name="T91" fmla="*/ 52 h 793"/>
              <a:gd name="T92" fmla="*/ 411 w 832"/>
              <a:gd name="T93" fmla="*/ 701 h 793"/>
              <a:gd name="T94" fmla="*/ 472 w 832"/>
              <a:gd name="T95" fmla="*/ 674 h 793"/>
              <a:gd name="T96" fmla="*/ 442 w 832"/>
              <a:gd name="T97" fmla="*/ 6 h 793"/>
              <a:gd name="T98" fmla="*/ 387 w 832"/>
              <a:gd name="T99" fmla="*/ 67 h 793"/>
              <a:gd name="T100" fmla="*/ 360 w 832"/>
              <a:gd name="T101" fmla="*/ 68 h 793"/>
              <a:gd name="T102" fmla="*/ 290 w 832"/>
              <a:gd name="T103" fmla="*/ 379 h 793"/>
              <a:gd name="T104" fmla="*/ 238 w 832"/>
              <a:gd name="T105" fmla="*/ 443 h 793"/>
              <a:gd name="T106" fmla="*/ 231 w 832"/>
              <a:gd name="T107" fmla="*/ 395 h 793"/>
              <a:gd name="T108" fmla="*/ 75 w 832"/>
              <a:gd name="T109" fmla="*/ 451 h 793"/>
              <a:gd name="T110" fmla="*/ 124 w 832"/>
              <a:gd name="T111" fmla="*/ 420 h 793"/>
              <a:gd name="T112" fmla="*/ 149 w 832"/>
              <a:gd name="T113" fmla="*/ 411 h 793"/>
              <a:gd name="T114" fmla="*/ 173 w 832"/>
              <a:gd name="T115" fmla="*/ 418 h 793"/>
              <a:gd name="T116" fmla="*/ 187 w 832"/>
              <a:gd name="T117" fmla="*/ 433 h 793"/>
              <a:gd name="T118" fmla="*/ 147 w 832"/>
              <a:gd name="T119" fmla="*/ 373 h 793"/>
              <a:gd name="T120" fmla="*/ 108 w 832"/>
              <a:gd name="T121" fmla="*/ 299 h 793"/>
              <a:gd name="T122" fmla="*/ 78 w 832"/>
              <a:gd name="T123" fmla="*/ 441 h 793"/>
              <a:gd name="T124" fmla="*/ 49 w 832"/>
              <a:gd name="T125" fmla="*/ 418 h 7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32" h="793">
                <a:moveTo>
                  <a:pt x="49" y="426"/>
                </a:moveTo>
                <a:cubicBezTo>
                  <a:pt x="70" y="447"/>
                  <a:pt x="70" y="447"/>
                  <a:pt x="70" y="447"/>
                </a:cubicBezTo>
                <a:cubicBezTo>
                  <a:pt x="71" y="445"/>
                  <a:pt x="72" y="443"/>
                  <a:pt x="73" y="446"/>
                </a:cubicBezTo>
                <a:cubicBezTo>
                  <a:pt x="73" y="446"/>
                  <a:pt x="74" y="448"/>
                  <a:pt x="72" y="449"/>
                </a:cubicBezTo>
                <a:cubicBezTo>
                  <a:pt x="72" y="449"/>
                  <a:pt x="72" y="449"/>
                  <a:pt x="72" y="449"/>
                </a:cubicBezTo>
                <a:cubicBezTo>
                  <a:pt x="76" y="453"/>
                  <a:pt x="76" y="453"/>
                  <a:pt x="76" y="453"/>
                </a:cubicBezTo>
                <a:cubicBezTo>
                  <a:pt x="76" y="451"/>
                  <a:pt x="76" y="449"/>
                  <a:pt x="76" y="449"/>
                </a:cubicBezTo>
                <a:cubicBezTo>
                  <a:pt x="77" y="449"/>
                  <a:pt x="78" y="450"/>
                  <a:pt x="78" y="451"/>
                </a:cubicBezTo>
                <a:cubicBezTo>
                  <a:pt x="78" y="451"/>
                  <a:pt x="78" y="451"/>
                  <a:pt x="78" y="451"/>
                </a:cubicBezTo>
                <a:cubicBezTo>
                  <a:pt x="79" y="452"/>
                  <a:pt x="78" y="454"/>
                  <a:pt x="78" y="455"/>
                </a:cubicBezTo>
                <a:cubicBezTo>
                  <a:pt x="80" y="457"/>
                  <a:pt x="80" y="457"/>
                  <a:pt x="80" y="457"/>
                </a:cubicBezTo>
                <a:cubicBezTo>
                  <a:pt x="80" y="457"/>
                  <a:pt x="80" y="457"/>
                  <a:pt x="80" y="457"/>
                </a:cubicBezTo>
                <a:cubicBezTo>
                  <a:pt x="80" y="457"/>
                  <a:pt x="80" y="457"/>
                  <a:pt x="80" y="457"/>
                </a:cubicBezTo>
                <a:cubicBezTo>
                  <a:pt x="80" y="457"/>
                  <a:pt x="80" y="457"/>
                  <a:pt x="80" y="457"/>
                </a:cubicBezTo>
                <a:cubicBezTo>
                  <a:pt x="81" y="458"/>
                  <a:pt x="83" y="459"/>
                  <a:pt x="83" y="460"/>
                </a:cubicBezTo>
                <a:cubicBezTo>
                  <a:pt x="83" y="460"/>
                  <a:pt x="84" y="460"/>
                  <a:pt x="84" y="460"/>
                </a:cubicBezTo>
                <a:cubicBezTo>
                  <a:pt x="88" y="465"/>
                  <a:pt x="88" y="465"/>
                  <a:pt x="88" y="465"/>
                </a:cubicBezTo>
                <a:cubicBezTo>
                  <a:pt x="88" y="464"/>
                  <a:pt x="88" y="463"/>
                  <a:pt x="88" y="463"/>
                </a:cubicBezTo>
                <a:cubicBezTo>
                  <a:pt x="88" y="464"/>
                  <a:pt x="88" y="464"/>
                  <a:pt x="88" y="465"/>
                </a:cubicBezTo>
                <a:cubicBezTo>
                  <a:pt x="90" y="467"/>
                  <a:pt x="90" y="467"/>
                  <a:pt x="90" y="467"/>
                </a:cubicBezTo>
                <a:cubicBezTo>
                  <a:pt x="90" y="463"/>
                  <a:pt x="97" y="464"/>
                  <a:pt x="96" y="468"/>
                </a:cubicBezTo>
                <a:cubicBezTo>
                  <a:pt x="96" y="468"/>
                  <a:pt x="95" y="469"/>
                  <a:pt x="95" y="469"/>
                </a:cubicBezTo>
                <a:cubicBezTo>
                  <a:pt x="95" y="470"/>
                  <a:pt x="96" y="472"/>
                  <a:pt x="96" y="473"/>
                </a:cubicBezTo>
                <a:cubicBezTo>
                  <a:pt x="98" y="475"/>
                  <a:pt x="98" y="475"/>
                  <a:pt x="98" y="475"/>
                </a:cubicBezTo>
                <a:cubicBezTo>
                  <a:pt x="98" y="473"/>
                  <a:pt x="98" y="471"/>
                  <a:pt x="99" y="471"/>
                </a:cubicBezTo>
                <a:cubicBezTo>
                  <a:pt x="99" y="471"/>
                  <a:pt x="100" y="472"/>
                  <a:pt x="101" y="471"/>
                </a:cubicBezTo>
                <a:cubicBezTo>
                  <a:pt x="102" y="471"/>
                  <a:pt x="101" y="469"/>
                  <a:pt x="102" y="466"/>
                </a:cubicBezTo>
                <a:cubicBezTo>
                  <a:pt x="102" y="465"/>
                  <a:pt x="104" y="464"/>
                  <a:pt x="103" y="463"/>
                </a:cubicBezTo>
                <a:cubicBezTo>
                  <a:pt x="104" y="462"/>
                  <a:pt x="104" y="463"/>
                  <a:pt x="105" y="463"/>
                </a:cubicBezTo>
                <a:cubicBezTo>
                  <a:pt x="104" y="462"/>
                  <a:pt x="104" y="462"/>
                  <a:pt x="104" y="461"/>
                </a:cubicBezTo>
                <a:cubicBezTo>
                  <a:pt x="104" y="461"/>
                  <a:pt x="104" y="461"/>
                  <a:pt x="103" y="461"/>
                </a:cubicBezTo>
                <a:cubicBezTo>
                  <a:pt x="101" y="464"/>
                  <a:pt x="99" y="462"/>
                  <a:pt x="97" y="459"/>
                </a:cubicBezTo>
                <a:cubicBezTo>
                  <a:pt x="96" y="459"/>
                  <a:pt x="96" y="458"/>
                  <a:pt x="96" y="458"/>
                </a:cubicBezTo>
                <a:cubicBezTo>
                  <a:pt x="96" y="457"/>
                  <a:pt x="96" y="456"/>
                  <a:pt x="96" y="455"/>
                </a:cubicBezTo>
                <a:cubicBezTo>
                  <a:pt x="97" y="457"/>
                  <a:pt x="97" y="456"/>
                  <a:pt x="97" y="456"/>
                </a:cubicBezTo>
                <a:cubicBezTo>
                  <a:pt x="95" y="457"/>
                  <a:pt x="98" y="448"/>
                  <a:pt x="97" y="446"/>
                </a:cubicBezTo>
                <a:cubicBezTo>
                  <a:pt x="96" y="445"/>
                  <a:pt x="95" y="445"/>
                  <a:pt x="95" y="445"/>
                </a:cubicBezTo>
                <a:cubicBezTo>
                  <a:pt x="95" y="444"/>
                  <a:pt x="95" y="437"/>
                  <a:pt x="96" y="436"/>
                </a:cubicBezTo>
                <a:cubicBezTo>
                  <a:pt x="96" y="436"/>
                  <a:pt x="98" y="434"/>
                  <a:pt x="98" y="434"/>
                </a:cubicBezTo>
                <a:cubicBezTo>
                  <a:pt x="98" y="434"/>
                  <a:pt x="98" y="433"/>
                  <a:pt x="99" y="433"/>
                </a:cubicBezTo>
                <a:cubicBezTo>
                  <a:pt x="100" y="432"/>
                  <a:pt x="102" y="436"/>
                  <a:pt x="103" y="440"/>
                </a:cubicBezTo>
                <a:cubicBezTo>
                  <a:pt x="103" y="440"/>
                  <a:pt x="103" y="440"/>
                  <a:pt x="103" y="440"/>
                </a:cubicBezTo>
                <a:cubicBezTo>
                  <a:pt x="103" y="440"/>
                  <a:pt x="103" y="440"/>
                  <a:pt x="103" y="440"/>
                </a:cubicBezTo>
                <a:cubicBezTo>
                  <a:pt x="104" y="440"/>
                  <a:pt x="104" y="441"/>
                  <a:pt x="104" y="442"/>
                </a:cubicBezTo>
                <a:cubicBezTo>
                  <a:pt x="105" y="444"/>
                  <a:pt x="107" y="445"/>
                  <a:pt x="108" y="443"/>
                </a:cubicBezTo>
                <a:cubicBezTo>
                  <a:pt x="107" y="444"/>
                  <a:pt x="106" y="440"/>
                  <a:pt x="107" y="440"/>
                </a:cubicBezTo>
                <a:cubicBezTo>
                  <a:pt x="108" y="440"/>
                  <a:pt x="110" y="446"/>
                  <a:pt x="112" y="445"/>
                </a:cubicBezTo>
                <a:cubicBezTo>
                  <a:pt x="111" y="445"/>
                  <a:pt x="113" y="442"/>
                  <a:pt x="113" y="442"/>
                </a:cubicBezTo>
                <a:cubicBezTo>
                  <a:pt x="114" y="442"/>
                  <a:pt x="114" y="445"/>
                  <a:pt x="115" y="446"/>
                </a:cubicBezTo>
                <a:cubicBezTo>
                  <a:pt x="116" y="446"/>
                  <a:pt x="116" y="446"/>
                  <a:pt x="116" y="446"/>
                </a:cubicBezTo>
                <a:cubicBezTo>
                  <a:pt x="117" y="446"/>
                  <a:pt x="117" y="446"/>
                  <a:pt x="118" y="446"/>
                </a:cubicBezTo>
                <a:cubicBezTo>
                  <a:pt x="118" y="445"/>
                  <a:pt x="117" y="444"/>
                  <a:pt x="119" y="444"/>
                </a:cubicBezTo>
                <a:cubicBezTo>
                  <a:pt x="117" y="443"/>
                  <a:pt x="117" y="442"/>
                  <a:pt x="116" y="440"/>
                </a:cubicBezTo>
                <a:cubicBezTo>
                  <a:pt x="117" y="442"/>
                  <a:pt x="119" y="442"/>
                  <a:pt x="119" y="443"/>
                </a:cubicBezTo>
                <a:cubicBezTo>
                  <a:pt x="120" y="445"/>
                  <a:pt x="119" y="443"/>
                  <a:pt x="121" y="440"/>
                </a:cubicBezTo>
                <a:cubicBezTo>
                  <a:pt x="120" y="440"/>
                  <a:pt x="120" y="441"/>
                  <a:pt x="119" y="441"/>
                </a:cubicBezTo>
                <a:cubicBezTo>
                  <a:pt x="114" y="441"/>
                  <a:pt x="118" y="433"/>
                  <a:pt x="121" y="436"/>
                </a:cubicBezTo>
                <a:cubicBezTo>
                  <a:pt x="122" y="436"/>
                  <a:pt x="121" y="440"/>
                  <a:pt x="121" y="440"/>
                </a:cubicBezTo>
                <a:cubicBezTo>
                  <a:pt x="122" y="442"/>
                  <a:pt x="123" y="441"/>
                  <a:pt x="125" y="441"/>
                </a:cubicBezTo>
                <a:cubicBezTo>
                  <a:pt x="125" y="442"/>
                  <a:pt x="124" y="443"/>
                  <a:pt x="125" y="444"/>
                </a:cubicBezTo>
                <a:cubicBezTo>
                  <a:pt x="125" y="445"/>
                  <a:pt x="126" y="444"/>
                  <a:pt x="126" y="444"/>
                </a:cubicBezTo>
                <a:cubicBezTo>
                  <a:pt x="128" y="445"/>
                  <a:pt x="128" y="451"/>
                  <a:pt x="129" y="450"/>
                </a:cubicBezTo>
                <a:cubicBezTo>
                  <a:pt x="129" y="450"/>
                  <a:pt x="129" y="450"/>
                  <a:pt x="129" y="451"/>
                </a:cubicBezTo>
                <a:cubicBezTo>
                  <a:pt x="129" y="451"/>
                  <a:pt x="129" y="451"/>
                  <a:pt x="130" y="451"/>
                </a:cubicBezTo>
                <a:cubicBezTo>
                  <a:pt x="130" y="451"/>
                  <a:pt x="130" y="451"/>
                  <a:pt x="130" y="451"/>
                </a:cubicBezTo>
                <a:cubicBezTo>
                  <a:pt x="130" y="451"/>
                  <a:pt x="129" y="451"/>
                  <a:pt x="129" y="451"/>
                </a:cubicBezTo>
                <a:cubicBezTo>
                  <a:pt x="128" y="452"/>
                  <a:pt x="126" y="454"/>
                  <a:pt x="124" y="455"/>
                </a:cubicBezTo>
                <a:cubicBezTo>
                  <a:pt x="124" y="456"/>
                  <a:pt x="124" y="457"/>
                  <a:pt x="123" y="457"/>
                </a:cubicBezTo>
                <a:cubicBezTo>
                  <a:pt x="121" y="456"/>
                  <a:pt x="123" y="453"/>
                  <a:pt x="121" y="454"/>
                </a:cubicBezTo>
                <a:cubicBezTo>
                  <a:pt x="117" y="455"/>
                  <a:pt x="122" y="462"/>
                  <a:pt x="126" y="460"/>
                </a:cubicBezTo>
                <a:cubicBezTo>
                  <a:pt x="126" y="462"/>
                  <a:pt x="125" y="464"/>
                  <a:pt x="123" y="465"/>
                </a:cubicBezTo>
                <a:cubicBezTo>
                  <a:pt x="124" y="465"/>
                  <a:pt x="125" y="466"/>
                  <a:pt x="124" y="467"/>
                </a:cubicBezTo>
                <a:cubicBezTo>
                  <a:pt x="123" y="468"/>
                  <a:pt x="122" y="466"/>
                  <a:pt x="123" y="466"/>
                </a:cubicBezTo>
                <a:cubicBezTo>
                  <a:pt x="122" y="466"/>
                  <a:pt x="122" y="466"/>
                  <a:pt x="121" y="467"/>
                </a:cubicBezTo>
                <a:cubicBezTo>
                  <a:pt x="122" y="467"/>
                  <a:pt x="122" y="467"/>
                  <a:pt x="122" y="468"/>
                </a:cubicBezTo>
                <a:cubicBezTo>
                  <a:pt x="121" y="468"/>
                  <a:pt x="121" y="467"/>
                  <a:pt x="121" y="467"/>
                </a:cubicBezTo>
                <a:cubicBezTo>
                  <a:pt x="121" y="467"/>
                  <a:pt x="120" y="467"/>
                  <a:pt x="120" y="467"/>
                </a:cubicBezTo>
                <a:cubicBezTo>
                  <a:pt x="121" y="467"/>
                  <a:pt x="121" y="469"/>
                  <a:pt x="121" y="471"/>
                </a:cubicBezTo>
                <a:cubicBezTo>
                  <a:pt x="121" y="471"/>
                  <a:pt x="121" y="471"/>
                  <a:pt x="121" y="471"/>
                </a:cubicBezTo>
                <a:cubicBezTo>
                  <a:pt x="122" y="471"/>
                  <a:pt x="122" y="472"/>
                  <a:pt x="122" y="472"/>
                </a:cubicBezTo>
                <a:cubicBezTo>
                  <a:pt x="122" y="472"/>
                  <a:pt x="122" y="472"/>
                  <a:pt x="122" y="472"/>
                </a:cubicBezTo>
                <a:cubicBezTo>
                  <a:pt x="122" y="472"/>
                  <a:pt x="122" y="473"/>
                  <a:pt x="122" y="473"/>
                </a:cubicBezTo>
                <a:cubicBezTo>
                  <a:pt x="123" y="474"/>
                  <a:pt x="123" y="473"/>
                  <a:pt x="123" y="472"/>
                </a:cubicBezTo>
                <a:cubicBezTo>
                  <a:pt x="124" y="471"/>
                  <a:pt x="124" y="476"/>
                  <a:pt x="123" y="476"/>
                </a:cubicBezTo>
                <a:cubicBezTo>
                  <a:pt x="124" y="476"/>
                  <a:pt x="125" y="475"/>
                  <a:pt x="125" y="474"/>
                </a:cubicBezTo>
                <a:cubicBezTo>
                  <a:pt x="124" y="474"/>
                  <a:pt x="124" y="470"/>
                  <a:pt x="125" y="471"/>
                </a:cubicBezTo>
                <a:cubicBezTo>
                  <a:pt x="125" y="472"/>
                  <a:pt x="125" y="472"/>
                  <a:pt x="125" y="472"/>
                </a:cubicBezTo>
                <a:cubicBezTo>
                  <a:pt x="125" y="472"/>
                  <a:pt x="126" y="472"/>
                  <a:pt x="126" y="472"/>
                </a:cubicBezTo>
                <a:cubicBezTo>
                  <a:pt x="125" y="472"/>
                  <a:pt x="127" y="473"/>
                  <a:pt x="126" y="474"/>
                </a:cubicBezTo>
                <a:cubicBezTo>
                  <a:pt x="128" y="473"/>
                  <a:pt x="127" y="470"/>
                  <a:pt x="128" y="470"/>
                </a:cubicBezTo>
                <a:cubicBezTo>
                  <a:pt x="131" y="472"/>
                  <a:pt x="127" y="476"/>
                  <a:pt x="127" y="477"/>
                </a:cubicBezTo>
                <a:cubicBezTo>
                  <a:pt x="127" y="477"/>
                  <a:pt x="128" y="478"/>
                  <a:pt x="128" y="478"/>
                </a:cubicBezTo>
                <a:cubicBezTo>
                  <a:pt x="128" y="478"/>
                  <a:pt x="128" y="477"/>
                  <a:pt x="128" y="477"/>
                </a:cubicBezTo>
                <a:cubicBezTo>
                  <a:pt x="129" y="475"/>
                  <a:pt x="130" y="471"/>
                  <a:pt x="132" y="473"/>
                </a:cubicBezTo>
                <a:cubicBezTo>
                  <a:pt x="131" y="473"/>
                  <a:pt x="131" y="472"/>
                  <a:pt x="132" y="471"/>
                </a:cubicBezTo>
                <a:cubicBezTo>
                  <a:pt x="133" y="471"/>
                  <a:pt x="133" y="471"/>
                  <a:pt x="133" y="471"/>
                </a:cubicBezTo>
                <a:cubicBezTo>
                  <a:pt x="133" y="471"/>
                  <a:pt x="133" y="471"/>
                  <a:pt x="133" y="471"/>
                </a:cubicBezTo>
                <a:cubicBezTo>
                  <a:pt x="134" y="470"/>
                  <a:pt x="136" y="471"/>
                  <a:pt x="135" y="472"/>
                </a:cubicBezTo>
                <a:cubicBezTo>
                  <a:pt x="136" y="475"/>
                  <a:pt x="136" y="481"/>
                  <a:pt x="138" y="476"/>
                </a:cubicBezTo>
                <a:cubicBezTo>
                  <a:pt x="137" y="478"/>
                  <a:pt x="141" y="480"/>
                  <a:pt x="139" y="482"/>
                </a:cubicBezTo>
                <a:cubicBezTo>
                  <a:pt x="139" y="482"/>
                  <a:pt x="138" y="482"/>
                  <a:pt x="138" y="482"/>
                </a:cubicBezTo>
                <a:cubicBezTo>
                  <a:pt x="138" y="483"/>
                  <a:pt x="141" y="489"/>
                  <a:pt x="142" y="489"/>
                </a:cubicBezTo>
                <a:cubicBezTo>
                  <a:pt x="143" y="489"/>
                  <a:pt x="144" y="483"/>
                  <a:pt x="146" y="486"/>
                </a:cubicBezTo>
                <a:cubicBezTo>
                  <a:pt x="146" y="487"/>
                  <a:pt x="145" y="490"/>
                  <a:pt x="145" y="490"/>
                </a:cubicBezTo>
                <a:cubicBezTo>
                  <a:pt x="141" y="491"/>
                  <a:pt x="146" y="492"/>
                  <a:pt x="147" y="492"/>
                </a:cubicBezTo>
                <a:cubicBezTo>
                  <a:pt x="148" y="492"/>
                  <a:pt x="147" y="490"/>
                  <a:pt x="148" y="490"/>
                </a:cubicBezTo>
                <a:cubicBezTo>
                  <a:pt x="148" y="490"/>
                  <a:pt x="151" y="493"/>
                  <a:pt x="151" y="492"/>
                </a:cubicBezTo>
                <a:cubicBezTo>
                  <a:pt x="152" y="493"/>
                  <a:pt x="153" y="492"/>
                  <a:pt x="152" y="495"/>
                </a:cubicBezTo>
                <a:cubicBezTo>
                  <a:pt x="153" y="495"/>
                  <a:pt x="153" y="493"/>
                  <a:pt x="154" y="492"/>
                </a:cubicBezTo>
                <a:cubicBezTo>
                  <a:pt x="154" y="491"/>
                  <a:pt x="155" y="490"/>
                  <a:pt x="156" y="491"/>
                </a:cubicBezTo>
                <a:cubicBezTo>
                  <a:pt x="156" y="491"/>
                  <a:pt x="157" y="491"/>
                  <a:pt x="157" y="491"/>
                </a:cubicBezTo>
                <a:cubicBezTo>
                  <a:pt x="157" y="492"/>
                  <a:pt x="157" y="492"/>
                  <a:pt x="157" y="492"/>
                </a:cubicBezTo>
                <a:cubicBezTo>
                  <a:pt x="157" y="493"/>
                  <a:pt x="156" y="494"/>
                  <a:pt x="156" y="494"/>
                </a:cubicBezTo>
                <a:cubicBezTo>
                  <a:pt x="156" y="494"/>
                  <a:pt x="156" y="495"/>
                  <a:pt x="155" y="495"/>
                </a:cubicBezTo>
                <a:cubicBezTo>
                  <a:pt x="156" y="495"/>
                  <a:pt x="156" y="495"/>
                  <a:pt x="157" y="496"/>
                </a:cubicBezTo>
                <a:cubicBezTo>
                  <a:pt x="157" y="495"/>
                  <a:pt x="158" y="495"/>
                  <a:pt x="158" y="495"/>
                </a:cubicBezTo>
                <a:cubicBezTo>
                  <a:pt x="160" y="495"/>
                  <a:pt x="161" y="498"/>
                  <a:pt x="160" y="499"/>
                </a:cubicBezTo>
                <a:cubicBezTo>
                  <a:pt x="160" y="500"/>
                  <a:pt x="160" y="500"/>
                  <a:pt x="161" y="500"/>
                </a:cubicBezTo>
                <a:cubicBezTo>
                  <a:pt x="160" y="501"/>
                  <a:pt x="158" y="503"/>
                  <a:pt x="158" y="504"/>
                </a:cubicBezTo>
                <a:cubicBezTo>
                  <a:pt x="158" y="504"/>
                  <a:pt x="158" y="504"/>
                  <a:pt x="158" y="504"/>
                </a:cubicBezTo>
                <a:cubicBezTo>
                  <a:pt x="158" y="504"/>
                  <a:pt x="157" y="504"/>
                  <a:pt x="157" y="504"/>
                </a:cubicBezTo>
                <a:cubicBezTo>
                  <a:pt x="157" y="504"/>
                  <a:pt x="157" y="505"/>
                  <a:pt x="157" y="505"/>
                </a:cubicBezTo>
                <a:cubicBezTo>
                  <a:pt x="157" y="507"/>
                  <a:pt x="161" y="504"/>
                  <a:pt x="162" y="507"/>
                </a:cubicBezTo>
                <a:cubicBezTo>
                  <a:pt x="161" y="505"/>
                  <a:pt x="162" y="504"/>
                  <a:pt x="163" y="503"/>
                </a:cubicBezTo>
                <a:cubicBezTo>
                  <a:pt x="162" y="502"/>
                  <a:pt x="163" y="499"/>
                  <a:pt x="165" y="500"/>
                </a:cubicBezTo>
                <a:cubicBezTo>
                  <a:pt x="164" y="498"/>
                  <a:pt x="163" y="495"/>
                  <a:pt x="166" y="496"/>
                </a:cubicBezTo>
                <a:cubicBezTo>
                  <a:pt x="166" y="495"/>
                  <a:pt x="166" y="495"/>
                  <a:pt x="166" y="494"/>
                </a:cubicBezTo>
                <a:cubicBezTo>
                  <a:pt x="165" y="497"/>
                  <a:pt x="164" y="494"/>
                  <a:pt x="165" y="493"/>
                </a:cubicBezTo>
                <a:cubicBezTo>
                  <a:pt x="165" y="492"/>
                  <a:pt x="166" y="493"/>
                  <a:pt x="166" y="493"/>
                </a:cubicBezTo>
                <a:cubicBezTo>
                  <a:pt x="167" y="493"/>
                  <a:pt x="166" y="491"/>
                  <a:pt x="167" y="490"/>
                </a:cubicBezTo>
                <a:cubicBezTo>
                  <a:pt x="169" y="488"/>
                  <a:pt x="170" y="489"/>
                  <a:pt x="170" y="486"/>
                </a:cubicBezTo>
                <a:cubicBezTo>
                  <a:pt x="169" y="483"/>
                  <a:pt x="172" y="482"/>
                  <a:pt x="171" y="480"/>
                </a:cubicBezTo>
                <a:cubicBezTo>
                  <a:pt x="170" y="479"/>
                  <a:pt x="164" y="481"/>
                  <a:pt x="165" y="477"/>
                </a:cubicBezTo>
                <a:cubicBezTo>
                  <a:pt x="165" y="476"/>
                  <a:pt x="166" y="477"/>
                  <a:pt x="166" y="475"/>
                </a:cubicBezTo>
                <a:cubicBezTo>
                  <a:pt x="165" y="474"/>
                  <a:pt x="167" y="467"/>
                  <a:pt x="169" y="473"/>
                </a:cubicBezTo>
                <a:cubicBezTo>
                  <a:pt x="169" y="473"/>
                  <a:pt x="168" y="475"/>
                  <a:pt x="168" y="475"/>
                </a:cubicBezTo>
                <a:cubicBezTo>
                  <a:pt x="168" y="477"/>
                  <a:pt x="171" y="477"/>
                  <a:pt x="171" y="478"/>
                </a:cubicBezTo>
                <a:cubicBezTo>
                  <a:pt x="172" y="478"/>
                  <a:pt x="170" y="480"/>
                  <a:pt x="171" y="480"/>
                </a:cubicBezTo>
                <a:cubicBezTo>
                  <a:pt x="173" y="480"/>
                  <a:pt x="173" y="477"/>
                  <a:pt x="174" y="477"/>
                </a:cubicBezTo>
                <a:cubicBezTo>
                  <a:pt x="173" y="476"/>
                  <a:pt x="170" y="476"/>
                  <a:pt x="172" y="475"/>
                </a:cubicBezTo>
                <a:cubicBezTo>
                  <a:pt x="172" y="474"/>
                  <a:pt x="176" y="476"/>
                  <a:pt x="176" y="476"/>
                </a:cubicBezTo>
                <a:cubicBezTo>
                  <a:pt x="179" y="476"/>
                  <a:pt x="179" y="475"/>
                  <a:pt x="180" y="478"/>
                </a:cubicBezTo>
                <a:cubicBezTo>
                  <a:pt x="180" y="480"/>
                  <a:pt x="179" y="483"/>
                  <a:pt x="178" y="484"/>
                </a:cubicBezTo>
                <a:cubicBezTo>
                  <a:pt x="176" y="486"/>
                  <a:pt x="178" y="484"/>
                  <a:pt x="180" y="485"/>
                </a:cubicBezTo>
                <a:cubicBezTo>
                  <a:pt x="181" y="486"/>
                  <a:pt x="182" y="488"/>
                  <a:pt x="182" y="490"/>
                </a:cubicBezTo>
                <a:cubicBezTo>
                  <a:pt x="183" y="489"/>
                  <a:pt x="185" y="488"/>
                  <a:pt x="185" y="490"/>
                </a:cubicBezTo>
                <a:cubicBezTo>
                  <a:pt x="185" y="489"/>
                  <a:pt x="185" y="489"/>
                  <a:pt x="185" y="489"/>
                </a:cubicBezTo>
                <a:cubicBezTo>
                  <a:pt x="186" y="490"/>
                  <a:pt x="185" y="490"/>
                  <a:pt x="185" y="490"/>
                </a:cubicBezTo>
                <a:cubicBezTo>
                  <a:pt x="185" y="490"/>
                  <a:pt x="185" y="490"/>
                  <a:pt x="185" y="491"/>
                </a:cubicBezTo>
                <a:cubicBezTo>
                  <a:pt x="185" y="487"/>
                  <a:pt x="190" y="497"/>
                  <a:pt x="191" y="494"/>
                </a:cubicBezTo>
                <a:cubicBezTo>
                  <a:pt x="192" y="494"/>
                  <a:pt x="192" y="493"/>
                  <a:pt x="192" y="493"/>
                </a:cubicBezTo>
                <a:cubicBezTo>
                  <a:pt x="192" y="493"/>
                  <a:pt x="192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4" y="493"/>
                  <a:pt x="195" y="492"/>
                  <a:pt x="196" y="492"/>
                </a:cubicBezTo>
                <a:cubicBezTo>
                  <a:pt x="196" y="491"/>
                  <a:pt x="197" y="491"/>
                  <a:pt x="197" y="491"/>
                </a:cubicBezTo>
                <a:cubicBezTo>
                  <a:pt x="198" y="491"/>
                  <a:pt x="199" y="491"/>
                  <a:pt x="200" y="493"/>
                </a:cubicBezTo>
                <a:cubicBezTo>
                  <a:pt x="202" y="496"/>
                  <a:pt x="201" y="491"/>
                  <a:pt x="200" y="491"/>
                </a:cubicBezTo>
                <a:cubicBezTo>
                  <a:pt x="200" y="491"/>
                  <a:pt x="200" y="490"/>
                  <a:pt x="200" y="489"/>
                </a:cubicBezTo>
                <a:cubicBezTo>
                  <a:pt x="199" y="489"/>
                  <a:pt x="199" y="489"/>
                  <a:pt x="199" y="489"/>
                </a:cubicBezTo>
                <a:cubicBezTo>
                  <a:pt x="199" y="487"/>
                  <a:pt x="199" y="484"/>
                  <a:pt x="200" y="483"/>
                </a:cubicBezTo>
                <a:cubicBezTo>
                  <a:pt x="200" y="485"/>
                  <a:pt x="200" y="486"/>
                  <a:pt x="201" y="488"/>
                </a:cubicBezTo>
                <a:cubicBezTo>
                  <a:pt x="201" y="487"/>
                  <a:pt x="202" y="487"/>
                  <a:pt x="202" y="488"/>
                </a:cubicBezTo>
                <a:cubicBezTo>
                  <a:pt x="202" y="488"/>
                  <a:pt x="202" y="489"/>
                  <a:pt x="201" y="489"/>
                </a:cubicBezTo>
                <a:cubicBezTo>
                  <a:pt x="201" y="489"/>
                  <a:pt x="201" y="490"/>
                  <a:pt x="201" y="490"/>
                </a:cubicBezTo>
                <a:cubicBezTo>
                  <a:pt x="202" y="489"/>
                  <a:pt x="202" y="488"/>
                  <a:pt x="203" y="487"/>
                </a:cubicBezTo>
                <a:cubicBezTo>
                  <a:pt x="202" y="488"/>
                  <a:pt x="203" y="490"/>
                  <a:pt x="204" y="491"/>
                </a:cubicBezTo>
                <a:cubicBezTo>
                  <a:pt x="204" y="491"/>
                  <a:pt x="204" y="491"/>
                  <a:pt x="204" y="491"/>
                </a:cubicBezTo>
                <a:cubicBezTo>
                  <a:pt x="204" y="491"/>
                  <a:pt x="204" y="491"/>
                  <a:pt x="204" y="491"/>
                </a:cubicBezTo>
                <a:cubicBezTo>
                  <a:pt x="205" y="491"/>
                  <a:pt x="205" y="491"/>
                  <a:pt x="205" y="490"/>
                </a:cubicBezTo>
                <a:cubicBezTo>
                  <a:pt x="205" y="490"/>
                  <a:pt x="205" y="490"/>
                  <a:pt x="205" y="490"/>
                </a:cubicBezTo>
                <a:cubicBezTo>
                  <a:pt x="205" y="490"/>
                  <a:pt x="205" y="490"/>
                  <a:pt x="205" y="490"/>
                </a:cubicBezTo>
                <a:cubicBezTo>
                  <a:pt x="204" y="490"/>
                  <a:pt x="204" y="490"/>
                  <a:pt x="204" y="490"/>
                </a:cubicBezTo>
                <a:cubicBezTo>
                  <a:pt x="204" y="490"/>
                  <a:pt x="204" y="490"/>
                  <a:pt x="204" y="490"/>
                </a:cubicBezTo>
                <a:cubicBezTo>
                  <a:pt x="204" y="490"/>
                  <a:pt x="204" y="490"/>
                  <a:pt x="205" y="489"/>
                </a:cubicBezTo>
                <a:cubicBezTo>
                  <a:pt x="205" y="489"/>
                  <a:pt x="205" y="489"/>
                  <a:pt x="205" y="489"/>
                </a:cubicBezTo>
                <a:cubicBezTo>
                  <a:pt x="205" y="489"/>
                  <a:pt x="205" y="489"/>
                  <a:pt x="205" y="489"/>
                </a:cubicBezTo>
                <a:cubicBezTo>
                  <a:pt x="205" y="488"/>
                  <a:pt x="206" y="487"/>
                  <a:pt x="206" y="487"/>
                </a:cubicBezTo>
                <a:cubicBezTo>
                  <a:pt x="205" y="486"/>
                  <a:pt x="204" y="486"/>
                  <a:pt x="203" y="486"/>
                </a:cubicBezTo>
                <a:cubicBezTo>
                  <a:pt x="203" y="487"/>
                  <a:pt x="202" y="487"/>
                  <a:pt x="202" y="487"/>
                </a:cubicBezTo>
                <a:cubicBezTo>
                  <a:pt x="201" y="487"/>
                  <a:pt x="201" y="486"/>
                  <a:pt x="202" y="486"/>
                </a:cubicBezTo>
                <a:cubicBezTo>
                  <a:pt x="202" y="486"/>
                  <a:pt x="201" y="486"/>
                  <a:pt x="201" y="486"/>
                </a:cubicBezTo>
                <a:cubicBezTo>
                  <a:pt x="201" y="485"/>
                  <a:pt x="201" y="483"/>
                  <a:pt x="202" y="481"/>
                </a:cubicBezTo>
                <a:cubicBezTo>
                  <a:pt x="200" y="482"/>
                  <a:pt x="199" y="481"/>
                  <a:pt x="199" y="478"/>
                </a:cubicBezTo>
                <a:cubicBezTo>
                  <a:pt x="199" y="478"/>
                  <a:pt x="199" y="478"/>
                  <a:pt x="199" y="478"/>
                </a:cubicBezTo>
                <a:cubicBezTo>
                  <a:pt x="199" y="479"/>
                  <a:pt x="197" y="484"/>
                  <a:pt x="197" y="485"/>
                </a:cubicBezTo>
                <a:cubicBezTo>
                  <a:pt x="197" y="485"/>
                  <a:pt x="198" y="490"/>
                  <a:pt x="196" y="487"/>
                </a:cubicBezTo>
                <a:cubicBezTo>
                  <a:pt x="194" y="486"/>
                  <a:pt x="198" y="481"/>
                  <a:pt x="198" y="478"/>
                </a:cubicBezTo>
                <a:cubicBezTo>
                  <a:pt x="197" y="478"/>
                  <a:pt x="197" y="477"/>
                  <a:pt x="197" y="477"/>
                </a:cubicBezTo>
                <a:cubicBezTo>
                  <a:pt x="197" y="476"/>
                  <a:pt x="197" y="475"/>
                  <a:pt x="198" y="475"/>
                </a:cubicBezTo>
                <a:cubicBezTo>
                  <a:pt x="198" y="474"/>
                  <a:pt x="198" y="474"/>
                  <a:pt x="198" y="473"/>
                </a:cubicBezTo>
                <a:cubicBezTo>
                  <a:pt x="198" y="472"/>
                  <a:pt x="197" y="473"/>
                  <a:pt x="196" y="473"/>
                </a:cubicBezTo>
                <a:cubicBezTo>
                  <a:pt x="196" y="472"/>
                  <a:pt x="195" y="470"/>
                  <a:pt x="195" y="470"/>
                </a:cubicBezTo>
                <a:cubicBezTo>
                  <a:pt x="195" y="468"/>
                  <a:pt x="198" y="469"/>
                  <a:pt x="199" y="470"/>
                </a:cubicBezTo>
                <a:cubicBezTo>
                  <a:pt x="198" y="469"/>
                  <a:pt x="200" y="470"/>
                  <a:pt x="201" y="469"/>
                </a:cubicBezTo>
                <a:cubicBezTo>
                  <a:pt x="200" y="470"/>
                  <a:pt x="202" y="464"/>
                  <a:pt x="204" y="464"/>
                </a:cubicBezTo>
                <a:cubicBezTo>
                  <a:pt x="204" y="465"/>
                  <a:pt x="203" y="468"/>
                  <a:pt x="203" y="469"/>
                </a:cubicBezTo>
                <a:cubicBezTo>
                  <a:pt x="203" y="469"/>
                  <a:pt x="203" y="469"/>
                  <a:pt x="203" y="469"/>
                </a:cubicBezTo>
                <a:cubicBezTo>
                  <a:pt x="203" y="469"/>
                  <a:pt x="204" y="468"/>
                  <a:pt x="204" y="469"/>
                </a:cubicBezTo>
                <a:cubicBezTo>
                  <a:pt x="205" y="469"/>
                  <a:pt x="205" y="470"/>
                  <a:pt x="205" y="471"/>
                </a:cubicBezTo>
                <a:cubicBezTo>
                  <a:pt x="205" y="471"/>
                  <a:pt x="205" y="471"/>
                  <a:pt x="205" y="471"/>
                </a:cubicBezTo>
                <a:cubicBezTo>
                  <a:pt x="205" y="471"/>
                  <a:pt x="205" y="472"/>
                  <a:pt x="203" y="472"/>
                </a:cubicBezTo>
                <a:cubicBezTo>
                  <a:pt x="201" y="472"/>
                  <a:pt x="203" y="473"/>
                  <a:pt x="204" y="474"/>
                </a:cubicBezTo>
                <a:cubicBezTo>
                  <a:pt x="204" y="474"/>
                  <a:pt x="204" y="474"/>
                  <a:pt x="204" y="474"/>
                </a:cubicBezTo>
                <a:cubicBezTo>
                  <a:pt x="205" y="474"/>
                  <a:pt x="205" y="474"/>
                  <a:pt x="205" y="474"/>
                </a:cubicBezTo>
                <a:cubicBezTo>
                  <a:pt x="206" y="475"/>
                  <a:pt x="206" y="476"/>
                  <a:pt x="205" y="476"/>
                </a:cubicBezTo>
                <a:cubicBezTo>
                  <a:pt x="206" y="477"/>
                  <a:pt x="207" y="476"/>
                  <a:pt x="208" y="476"/>
                </a:cubicBezTo>
                <a:cubicBezTo>
                  <a:pt x="209" y="476"/>
                  <a:pt x="208" y="477"/>
                  <a:pt x="209" y="478"/>
                </a:cubicBezTo>
                <a:cubicBezTo>
                  <a:pt x="209" y="478"/>
                  <a:pt x="209" y="478"/>
                  <a:pt x="209" y="478"/>
                </a:cubicBezTo>
                <a:cubicBezTo>
                  <a:pt x="212" y="475"/>
                  <a:pt x="215" y="470"/>
                  <a:pt x="211" y="471"/>
                </a:cubicBezTo>
                <a:cubicBezTo>
                  <a:pt x="214" y="469"/>
                  <a:pt x="210" y="467"/>
                  <a:pt x="209" y="466"/>
                </a:cubicBezTo>
                <a:cubicBezTo>
                  <a:pt x="208" y="464"/>
                  <a:pt x="210" y="467"/>
                  <a:pt x="210" y="466"/>
                </a:cubicBezTo>
                <a:cubicBezTo>
                  <a:pt x="212" y="465"/>
                  <a:pt x="209" y="463"/>
                  <a:pt x="210" y="460"/>
                </a:cubicBezTo>
                <a:cubicBezTo>
                  <a:pt x="210" y="460"/>
                  <a:pt x="212" y="458"/>
                  <a:pt x="212" y="458"/>
                </a:cubicBezTo>
                <a:cubicBezTo>
                  <a:pt x="213" y="456"/>
                  <a:pt x="210" y="457"/>
                  <a:pt x="213" y="456"/>
                </a:cubicBezTo>
                <a:cubicBezTo>
                  <a:pt x="215" y="456"/>
                  <a:pt x="216" y="452"/>
                  <a:pt x="217" y="451"/>
                </a:cubicBezTo>
                <a:cubicBezTo>
                  <a:pt x="217" y="451"/>
                  <a:pt x="221" y="451"/>
                  <a:pt x="221" y="449"/>
                </a:cubicBezTo>
                <a:cubicBezTo>
                  <a:pt x="217" y="452"/>
                  <a:pt x="215" y="447"/>
                  <a:pt x="217" y="446"/>
                </a:cubicBezTo>
                <a:cubicBezTo>
                  <a:pt x="217" y="446"/>
                  <a:pt x="216" y="443"/>
                  <a:pt x="219" y="443"/>
                </a:cubicBezTo>
                <a:cubicBezTo>
                  <a:pt x="221" y="442"/>
                  <a:pt x="220" y="443"/>
                  <a:pt x="222" y="441"/>
                </a:cubicBezTo>
                <a:cubicBezTo>
                  <a:pt x="224" y="440"/>
                  <a:pt x="222" y="448"/>
                  <a:pt x="222" y="449"/>
                </a:cubicBezTo>
                <a:cubicBezTo>
                  <a:pt x="223" y="451"/>
                  <a:pt x="224" y="448"/>
                  <a:pt x="224" y="451"/>
                </a:cubicBezTo>
                <a:cubicBezTo>
                  <a:pt x="225" y="457"/>
                  <a:pt x="228" y="468"/>
                  <a:pt x="219" y="471"/>
                </a:cubicBezTo>
                <a:cubicBezTo>
                  <a:pt x="217" y="471"/>
                  <a:pt x="216" y="470"/>
                  <a:pt x="215" y="471"/>
                </a:cubicBezTo>
                <a:cubicBezTo>
                  <a:pt x="213" y="473"/>
                  <a:pt x="212" y="475"/>
                  <a:pt x="211" y="478"/>
                </a:cubicBezTo>
                <a:cubicBezTo>
                  <a:pt x="211" y="478"/>
                  <a:pt x="211" y="478"/>
                  <a:pt x="211" y="478"/>
                </a:cubicBezTo>
                <a:cubicBezTo>
                  <a:pt x="212" y="478"/>
                  <a:pt x="211" y="480"/>
                  <a:pt x="211" y="480"/>
                </a:cubicBezTo>
                <a:cubicBezTo>
                  <a:pt x="212" y="480"/>
                  <a:pt x="213" y="480"/>
                  <a:pt x="213" y="480"/>
                </a:cubicBezTo>
                <a:cubicBezTo>
                  <a:pt x="214" y="480"/>
                  <a:pt x="214" y="479"/>
                  <a:pt x="215" y="479"/>
                </a:cubicBezTo>
                <a:cubicBezTo>
                  <a:pt x="215" y="480"/>
                  <a:pt x="215" y="480"/>
                  <a:pt x="215" y="480"/>
                </a:cubicBezTo>
                <a:cubicBezTo>
                  <a:pt x="215" y="480"/>
                  <a:pt x="216" y="480"/>
                  <a:pt x="216" y="481"/>
                </a:cubicBezTo>
                <a:cubicBezTo>
                  <a:pt x="216" y="482"/>
                  <a:pt x="215" y="484"/>
                  <a:pt x="217" y="483"/>
                </a:cubicBezTo>
                <a:cubicBezTo>
                  <a:pt x="216" y="484"/>
                  <a:pt x="216" y="486"/>
                  <a:pt x="216" y="487"/>
                </a:cubicBezTo>
                <a:cubicBezTo>
                  <a:pt x="216" y="487"/>
                  <a:pt x="216" y="487"/>
                  <a:pt x="216" y="487"/>
                </a:cubicBezTo>
                <a:cubicBezTo>
                  <a:pt x="217" y="487"/>
                  <a:pt x="219" y="486"/>
                  <a:pt x="219" y="486"/>
                </a:cubicBezTo>
                <a:cubicBezTo>
                  <a:pt x="220" y="486"/>
                  <a:pt x="219" y="489"/>
                  <a:pt x="217" y="490"/>
                </a:cubicBezTo>
                <a:cubicBezTo>
                  <a:pt x="217" y="491"/>
                  <a:pt x="217" y="492"/>
                  <a:pt x="217" y="492"/>
                </a:cubicBezTo>
                <a:cubicBezTo>
                  <a:pt x="217" y="492"/>
                  <a:pt x="221" y="486"/>
                  <a:pt x="222" y="489"/>
                </a:cubicBezTo>
                <a:cubicBezTo>
                  <a:pt x="222" y="489"/>
                  <a:pt x="222" y="489"/>
                  <a:pt x="222" y="489"/>
                </a:cubicBezTo>
                <a:cubicBezTo>
                  <a:pt x="222" y="489"/>
                  <a:pt x="225" y="487"/>
                  <a:pt x="225" y="487"/>
                </a:cubicBezTo>
                <a:cubicBezTo>
                  <a:pt x="227" y="489"/>
                  <a:pt x="224" y="492"/>
                  <a:pt x="223" y="494"/>
                </a:cubicBezTo>
                <a:cubicBezTo>
                  <a:pt x="225" y="494"/>
                  <a:pt x="226" y="495"/>
                  <a:pt x="225" y="496"/>
                </a:cubicBezTo>
                <a:cubicBezTo>
                  <a:pt x="225" y="497"/>
                  <a:pt x="225" y="497"/>
                  <a:pt x="224" y="497"/>
                </a:cubicBezTo>
                <a:cubicBezTo>
                  <a:pt x="225" y="498"/>
                  <a:pt x="225" y="498"/>
                  <a:pt x="223" y="499"/>
                </a:cubicBezTo>
                <a:cubicBezTo>
                  <a:pt x="223" y="499"/>
                  <a:pt x="223" y="500"/>
                  <a:pt x="222" y="499"/>
                </a:cubicBezTo>
                <a:cubicBezTo>
                  <a:pt x="221" y="499"/>
                  <a:pt x="221" y="498"/>
                  <a:pt x="222" y="498"/>
                </a:cubicBezTo>
                <a:cubicBezTo>
                  <a:pt x="222" y="498"/>
                  <a:pt x="222" y="498"/>
                  <a:pt x="221" y="498"/>
                </a:cubicBezTo>
                <a:cubicBezTo>
                  <a:pt x="221" y="500"/>
                  <a:pt x="221" y="502"/>
                  <a:pt x="219" y="503"/>
                </a:cubicBezTo>
                <a:cubicBezTo>
                  <a:pt x="219" y="504"/>
                  <a:pt x="219" y="504"/>
                  <a:pt x="220" y="505"/>
                </a:cubicBezTo>
                <a:cubicBezTo>
                  <a:pt x="220" y="505"/>
                  <a:pt x="220" y="505"/>
                  <a:pt x="220" y="505"/>
                </a:cubicBezTo>
                <a:cubicBezTo>
                  <a:pt x="221" y="504"/>
                  <a:pt x="222" y="503"/>
                  <a:pt x="223" y="502"/>
                </a:cubicBezTo>
                <a:cubicBezTo>
                  <a:pt x="223" y="504"/>
                  <a:pt x="222" y="505"/>
                  <a:pt x="220" y="506"/>
                </a:cubicBezTo>
                <a:cubicBezTo>
                  <a:pt x="220" y="507"/>
                  <a:pt x="220" y="507"/>
                  <a:pt x="220" y="507"/>
                </a:cubicBezTo>
                <a:cubicBezTo>
                  <a:pt x="221" y="506"/>
                  <a:pt x="221" y="506"/>
                  <a:pt x="221" y="506"/>
                </a:cubicBezTo>
                <a:cubicBezTo>
                  <a:pt x="222" y="507"/>
                  <a:pt x="221" y="507"/>
                  <a:pt x="220" y="507"/>
                </a:cubicBezTo>
                <a:cubicBezTo>
                  <a:pt x="219" y="509"/>
                  <a:pt x="216" y="511"/>
                  <a:pt x="215" y="512"/>
                </a:cubicBezTo>
                <a:cubicBezTo>
                  <a:pt x="216" y="512"/>
                  <a:pt x="216" y="512"/>
                  <a:pt x="216" y="512"/>
                </a:cubicBezTo>
                <a:cubicBezTo>
                  <a:pt x="217" y="512"/>
                  <a:pt x="217" y="513"/>
                  <a:pt x="217" y="514"/>
                </a:cubicBezTo>
                <a:cubicBezTo>
                  <a:pt x="217" y="515"/>
                  <a:pt x="217" y="515"/>
                  <a:pt x="217" y="515"/>
                </a:cubicBezTo>
                <a:cubicBezTo>
                  <a:pt x="217" y="516"/>
                  <a:pt x="215" y="519"/>
                  <a:pt x="214" y="518"/>
                </a:cubicBezTo>
                <a:cubicBezTo>
                  <a:pt x="214" y="518"/>
                  <a:pt x="214" y="518"/>
                  <a:pt x="214" y="517"/>
                </a:cubicBezTo>
                <a:cubicBezTo>
                  <a:pt x="214" y="518"/>
                  <a:pt x="214" y="518"/>
                  <a:pt x="214" y="518"/>
                </a:cubicBezTo>
                <a:cubicBezTo>
                  <a:pt x="214" y="518"/>
                  <a:pt x="213" y="518"/>
                  <a:pt x="213" y="518"/>
                </a:cubicBezTo>
                <a:cubicBezTo>
                  <a:pt x="211" y="517"/>
                  <a:pt x="213" y="516"/>
                  <a:pt x="214" y="517"/>
                </a:cubicBezTo>
                <a:cubicBezTo>
                  <a:pt x="214" y="516"/>
                  <a:pt x="214" y="516"/>
                  <a:pt x="214" y="515"/>
                </a:cubicBezTo>
                <a:cubicBezTo>
                  <a:pt x="213" y="516"/>
                  <a:pt x="213" y="516"/>
                  <a:pt x="213" y="516"/>
                </a:cubicBezTo>
                <a:cubicBezTo>
                  <a:pt x="212" y="517"/>
                  <a:pt x="211" y="516"/>
                  <a:pt x="212" y="515"/>
                </a:cubicBezTo>
                <a:cubicBezTo>
                  <a:pt x="209" y="515"/>
                  <a:pt x="203" y="515"/>
                  <a:pt x="204" y="515"/>
                </a:cubicBezTo>
                <a:cubicBezTo>
                  <a:pt x="203" y="515"/>
                  <a:pt x="200" y="523"/>
                  <a:pt x="200" y="518"/>
                </a:cubicBezTo>
                <a:cubicBezTo>
                  <a:pt x="200" y="519"/>
                  <a:pt x="200" y="519"/>
                  <a:pt x="200" y="519"/>
                </a:cubicBezTo>
                <a:cubicBezTo>
                  <a:pt x="200" y="519"/>
                  <a:pt x="200" y="519"/>
                  <a:pt x="199" y="519"/>
                </a:cubicBezTo>
                <a:cubicBezTo>
                  <a:pt x="199" y="520"/>
                  <a:pt x="199" y="520"/>
                  <a:pt x="198" y="519"/>
                </a:cubicBezTo>
                <a:cubicBezTo>
                  <a:pt x="198" y="520"/>
                  <a:pt x="198" y="520"/>
                  <a:pt x="198" y="520"/>
                </a:cubicBezTo>
                <a:cubicBezTo>
                  <a:pt x="197" y="521"/>
                  <a:pt x="197" y="519"/>
                  <a:pt x="197" y="519"/>
                </a:cubicBezTo>
                <a:cubicBezTo>
                  <a:pt x="196" y="518"/>
                  <a:pt x="196" y="517"/>
                  <a:pt x="195" y="517"/>
                </a:cubicBezTo>
                <a:cubicBezTo>
                  <a:pt x="195" y="517"/>
                  <a:pt x="193" y="516"/>
                  <a:pt x="193" y="517"/>
                </a:cubicBezTo>
                <a:cubicBezTo>
                  <a:pt x="192" y="515"/>
                  <a:pt x="194" y="514"/>
                  <a:pt x="194" y="513"/>
                </a:cubicBezTo>
                <a:cubicBezTo>
                  <a:pt x="194" y="512"/>
                  <a:pt x="194" y="512"/>
                  <a:pt x="194" y="511"/>
                </a:cubicBezTo>
                <a:cubicBezTo>
                  <a:pt x="194" y="513"/>
                  <a:pt x="193" y="514"/>
                  <a:pt x="192" y="513"/>
                </a:cubicBezTo>
                <a:cubicBezTo>
                  <a:pt x="191" y="513"/>
                  <a:pt x="191" y="513"/>
                  <a:pt x="191" y="512"/>
                </a:cubicBezTo>
                <a:cubicBezTo>
                  <a:pt x="190" y="512"/>
                  <a:pt x="189" y="511"/>
                  <a:pt x="189" y="510"/>
                </a:cubicBezTo>
                <a:cubicBezTo>
                  <a:pt x="190" y="509"/>
                  <a:pt x="190" y="509"/>
                  <a:pt x="191" y="509"/>
                </a:cubicBezTo>
                <a:cubicBezTo>
                  <a:pt x="191" y="508"/>
                  <a:pt x="192" y="507"/>
                  <a:pt x="193" y="507"/>
                </a:cubicBezTo>
                <a:cubicBezTo>
                  <a:pt x="193" y="507"/>
                  <a:pt x="194" y="508"/>
                  <a:pt x="194" y="508"/>
                </a:cubicBezTo>
                <a:cubicBezTo>
                  <a:pt x="196" y="507"/>
                  <a:pt x="193" y="505"/>
                  <a:pt x="197" y="505"/>
                </a:cubicBezTo>
                <a:cubicBezTo>
                  <a:pt x="194" y="505"/>
                  <a:pt x="194" y="501"/>
                  <a:pt x="191" y="501"/>
                </a:cubicBezTo>
                <a:cubicBezTo>
                  <a:pt x="190" y="501"/>
                  <a:pt x="185" y="504"/>
                  <a:pt x="185" y="505"/>
                </a:cubicBezTo>
                <a:cubicBezTo>
                  <a:pt x="185" y="505"/>
                  <a:pt x="186" y="505"/>
                  <a:pt x="185" y="506"/>
                </a:cubicBezTo>
                <a:cubicBezTo>
                  <a:pt x="186" y="506"/>
                  <a:pt x="186" y="506"/>
                  <a:pt x="186" y="506"/>
                </a:cubicBezTo>
                <a:cubicBezTo>
                  <a:pt x="186" y="506"/>
                  <a:pt x="186" y="506"/>
                  <a:pt x="185" y="506"/>
                </a:cubicBezTo>
                <a:cubicBezTo>
                  <a:pt x="185" y="506"/>
                  <a:pt x="185" y="506"/>
                  <a:pt x="185" y="506"/>
                </a:cubicBezTo>
                <a:cubicBezTo>
                  <a:pt x="185" y="507"/>
                  <a:pt x="182" y="505"/>
                  <a:pt x="180" y="507"/>
                </a:cubicBezTo>
                <a:cubicBezTo>
                  <a:pt x="181" y="506"/>
                  <a:pt x="179" y="508"/>
                  <a:pt x="180" y="508"/>
                </a:cubicBezTo>
                <a:cubicBezTo>
                  <a:pt x="180" y="509"/>
                  <a:pt x="181" y="508"/>
                  <a:pt x="181" y="508"/>
                </a:cubicBezTo>
                <a:cubicBezTo>
                  <a:pt x="181" y="507"/>
                  <a:pt x="181" y="506"/>
                  <a:pt x="182" y="506"/>
                </a:cubicBezTo>
                <a:cubicBezTo>
                  <a:pt x="183" y="507"/>
                  <a:pt x="182" y="508"/>
                  <a:pt x="182" y="508"/>
                </a:cubicBezTo>
                <a:cubicBezTo>
                  <a:pt x="183" y="509"/>
                  <a:pt x="181" y="511"/>
                  <a:pt x="182" y="512"/>
                </a:cubicBezTo>
                <a:cubicBezTo>
                  <a:pt x="182" y="514"/>
                  <a:pt x="183" y="512"/>
                  <a:pt x="184" y="514"/>
                </a:cubicBezTo>
                <a:cubicBezTo>
                  <a:pt x="181" y="513"/>
                  <a:pt x="182" y="514"/>
                  <a:pt x="182" y="515"/>
                </a:cubicBezTo>
                <a:cubicBezTo>
                  <a:pt x="182" y="515"/>
                  <a:pt x="182" y="515"/>
                  <a:pt x="182" y="516"/>
                </a:cubicBezTo>
                <a:cubicBezTo>
                  <a:pt x="182" y="516"/>
                  <a:pt x="182" y="516"/>
                  <a:pt x="182" y="516"/>
                </a:cubicBezTo>
                <a:cubicBezTo>
                  <a:pt x="182" y="516"/>
                  <a:pt x="182" y="516"/>
                  <a:pt x="182" y="516"/>
                </a:cubicBezTo>
                <a:cubicBezTo>
                  <a:pt x="182" y="516"/>
                  <a:pt x="182" y="517"/>
                  <a:pt x="182" y="517"/>
                </a:cubicBezTo>
                <a:cubicBezTo>
                  <a:pt x="182" y="519"/>
                  <a:pt x="180" y="520"/>
                  <a:pt x="180" y="522"/>
                </a:cubicBezTo>
                <a:cubicBezTo>
                  <a:pt x="180" y="522"/>
                  <a:pt x="181" y="523"/>
                  <a:pt x="181" y="523"/>
                </a:cubicBezTo>
                <a:cubicBezTo>
                  <a:pt x="181" y="523"/>
                  <a:pt x="180" y="523"/>
                  <a:pt x="180" y="523"/>
                </a:cubicBezTo>
                <a:cubicBezTo>
                  <a:pt x="180" y="523"/>
                  <a:pt x="180" y="524"/>
                  <a:pt x="180" y="524"/>
                </a:cubicBezTo>
                <a:cubicBezTo>
                  <a:pt x="180" y="524"/>
                  <a:pt x="182" y="523"/>
                  <a:pt x="183" y="524"/>
                </a:cubicBezTo>
                <a:cubicBezTo>
                  <a:pt x="185" y="525"/>
                  <a:pt x="183" y="527"/>
                  <a:pt x="184" y="528"/>
                </a:cubicBezTo>
                <a:cubicBezTo>
                  <a:pt x="184" y="528"/>
                  <a:pt x="186" y="529"/>
                  <a:pt x="186" y="530"/>
                </a:cubicBezTo>
                <a:cubicBezTo>
                  <a:pt x="187" y="529"/>
                  <a:pt x="188" y="528"/>
                  <a:pt x="190" y="528"/>
                </a:cubicBezTo>
                <a:cubicBezTo>
                  <a:pt x="191" y="529"/>
                  <a:pt x="188" y="530"/>
                  <a:pt x="189" y="530"/>
                </a:cubicBezTo>
                <a:cubicBezTo>
                  <a:pt x="189" y="530"/>
                  <a:pt x="189" y="530"/>
                  <a:pt x="189" y="531"/>
                </a:cubicBezTo>
                <a:cubicBezTo>
                  <a:pt x="189" y="531"/>
                  <a:pt x="189" y="531"/>
                  <a:pt x="189" y="530"/>
                </a:cubicBezTo>
                <a:cubicBezTo>
                  <a:pt x="190" y="530"/>
                  <a:pt x="190" y="528"/>
                  <a:pt x="191" y="529"/>
                </a:cubicBezTo>
                <a:cubicBezTo>
                  <a:pt x="192" y="529"/>
                  <a:pt x="192" y="530"/>
                  <a:pt x="192" y="531"/>
                </a:cubicBezTo>
                <a:cubicBezTo>
                  <a:pt x="193" y="531"/>
                  <a:pt x="193" y="532"/>
                  <a:pt x="192" y="534"/>
                </a:cubicBezTo>
                <a:cubicBezTo>
                  <a:pt x="192" y="534"/>
                  <a:pt x="192" y="534"/>
                  <a:pt x="191" y="535"/>
                </a:cubicBezTo>
                <a:cubicBezTo>
                  <a:pt x="191" y="535"/>
                  <a:pt x="190" y="535"/>
                  <a:pt x="189" y="535"/>
                </a:cubicBezTo>
                <a:cubicBezTo>
                  <a:pt x="188" y="535"/>
                  <a:pt x="188" y="535"/>
                  <a:pt x="187" y="537"/>
                </a:cubicBezTo>
                <a:cubicBezTo>
                  <a:pt x="187" y="536"/>
                  <a:pt x="187" y="535"/>
                  <a:pt x="187" y="535"/>
                </a:cubicBezTo>
                <a:cubicBezTo>
                  <a:pt x="187" y="535"/>
                  <a:pt x="187" y="535"/>
                  <a:pt x="187" y="535"/>
                </a:cubicBezTo>
                <a:cubicBezTo>
                  <a:pt x="187" y="536"/>
                  <a:pt x="186" y="538"/>
                  <a:pt x="186" y="539"/>
                </a:cubicBezTo>
                <a:cubicBezTo>
                  <a:pt x="186" y="539"/>
                  <a:pt x="185" y="538"/>
                  <a:pt x="185" y="538"/>
                </a:cubicBezTo>
                <a:cubicBezTo>
                  <a:pt x="185" y="538"/>
                  <a:pt x="185" y="539"/>
                  <a:pt x="185" y="539"/>
                </a:cubicBezTo>
                <a:cubicBezTo>
                  <a:pt x="184" y="540"/>
                  <a:pt x="182" y="542"/>
                  <a:pt x="185" y="541"/>
                </a:cubicBezTo>
                <a:cubicBezTo>
                  <a:pt x="186" y="540"/>
                  <a:pt x="184" y="544"/>
                  <a:pt x="185" y="543"/>
                </a:cubicBezTo>
                <a:cubicBezTo>
                  <a:pt x="186" y="543"/>
                  <a:pt x="186" y="543"/>
                  <a:pt x="186" y="543"/>
                </a:cubicBezTo>
                <a:cubicBezTo>
                  <a:pt x="186" y="543"/>
                  <a:pt x="186" y="543"/>
                  <a:pt x="186" y="543"/>
                </a:cubicBezTo>
                <a:cubicBezTo>
                  <a:pt x="187" y="541"/>
                  <a:pt x="184" y="539"/>
                  <a:pt x="187" y="538"/>
                </a:cubicBezTo>
                <a:cubicBezTo>
                  <a:pt x="187" y="538"/>
                  <a:pt x="187" y="539"/>
                  <a:pt x="187" y="539"/>
                </a:cubicBezTo>
                <a:cubicBezTo>
                  <a:pt x="189" y="540"/>
                  <a:pt x="191" y="538"/>
                  <a:pt x="192" y="540"/>
                </a:cubicBezTo>
                <a:cubicBezTo>
                  <a:pt x="192" y="541"/>
                  <a:pt x="190" y="540"/>
                  <a:pt x="190" y="542"/>
                </a:cubicBezTo>
                <a:cubicBezTo>
                  <a:pt x="190" y="543"/>
                  <a:pt x="194" y="542"/>
                  <a:pt x="195" y="540"/>
                </a:cubicBezTo>
                <a:cubicBezTo>
                  <a:pt x="194" y="540"/>
                  <a:pt x="194" y="539"/>
                  <a:pt x="194" y="538"/>
                </a:cubicBezTo>
                <a:cubicBezTo>
                  <a:pt x="194" y="538"/>
                  <a:pt x="194" y="538"/>
                  <a:pt x="194" y="537"/>
                </a:cubicBezTo>
                <a:cubicBezTo>
                  <a:pt x="194" y="538"/>
                  <a:pt x="194" y="538"/>
                  <a:pt x="194" y="538"/>
                </a:cubicBezTo>
                <a:cubicBezTo>
                  <a:pt x="195" y="537"/>
                  <a:pt x="195" y="537"/>
                  <a:pt x="195" y="537"/>
                </a:cubicBezTo>
                <a:cubicBezTo>
                  <a:pt x="195" y="537"/>
                  <a:pt x="197" y="538"/>
                  <a:pt x="197" y="538"/>
                </a:cubicBezTo>
                <a:cubicBezTo>
                  <a:pt x="198" y="538"/>
                  <a:pt x="199" y="537"/>
                  <a:pt x="199" y="536"/>
                </a:cubicBezTo>
                <a:cubicBezTo>
                  <a:pt x="198" y="536"/>
                  <a:pt x="197" y="535"/>
                  <a:pt x="197" y="534"/>
                </a:cubicBezTo>
                <a:cubicBezTo>
                  <a:pt x="197" y="534"/>
                  <a:pt x="196" y="534"/>
                  <a:pt x="196" y="534"/>
                </a:cubicBezTo>
                <a:cubicBezTo>
                  <a:pt x="196" y="534"/>
                  <a:pt x="196" y="533"/>
                  <a:pt x="196" y="533"/>
                </a:cubicBezTo>
                <a:cubicBezTo>
                  <a:pt x="196" y="533"/>
                  <a:pt x="196" y="533"/>
                  <a:pt x="196" y="532"/>
                </a:cubicBezTo>
                <a:cubicBezTo>
                  <a:pt x="196" y="532"/>
                  <a:pt x="196" y="532"/>
                  <a:pt x="196" y="532"/>
                </a:cubicBezTo>
                <a:cubicBezTo>
                  <a:pt x="195" y="533"/>
                  <a:pt x="195" y="532"/>
                  <a:pt x="195" y="532"/>
                </a:cubicBezTo>
                <a:cubicBezTo>
                  <a:pt x="195" y="531"/>
                  <a:pt x="195" y="531"/>
                  <a:pt x="196" y="531"/>
                </a:cubicBezTo>
                <a:cubicBezTo>
                  <a:pt x="195" y="529"/>
                  <a:pt x="196" y="527"/>
                  <a:pt x="198" y="526"/>
                </a:cubicBezTo>
                <a:cubicBezTo>
                  <a:pt x="198" y="525"/>
                  <a:pt x="199" y="524"/>
                  <a:pt x="200" y="524"/>
                </a:cubicBezTo>
                <a:cubicBezTo>
                  <a:pt x="200" y="523"/>
                  <a:pt x="201" y="520"/>
                  <a:pt x="202" y="521"/>
                </a:cubicBezTo>
                <a:cubicBezTo>
                  <a:pt x="203" y="522"/>
                  <a:pt x="202" y="523"/>
                  <a:pt x="202" y="523"/>
                </a:cubicBezTo>
                <a:cubicBezTo>
                  <a:pt x="202" y="523"/>
                  <a:pt x="202" y="523"/>
                  <a:pt x="202" y="523"/>
                </a:cubicBezTo>
                <a:cubicBezTo>
                  <a:pt x="202" y="523"/>
                  <a:pt x="202" y="523"/>
                  <a:pt x="202" y="523"/>
                </a:cubicBezTo>
                <a:cubicBezTo>
                  <a:pt x="202" y="523"/>
                  <a:pt x="202" y="523"/>
                  <a:pt x="202" y="523"/>
                </a:cubicBezTo>
                <a:cubicBezTo>
                  <a:pt x="202" y="523"/>
                  <a:pt x="202" y="523"/>
                  <a:pt x="202" y="523"/>
                </a:cubicBezTo>
                <a:cubicBezTo>
                  <a:pt x="205" y="523"/>
                  <a:pt x="207" y="524"/>
                  <a:pt x="208" y="525"/>
                </a:cubicBezTo>
                <a:cubicBezTo>
                  <a:pt x="208" y="525"/>
                  <a:pt x="209" y="525"/>
                  <a:pt x="209" y="525"/>
                </a:cubicBezTo>
                <a:cubicBezTo>
                  <a:pt x="209" y="525"/>
                  <a:pt x="209" y="525"/>
                  <a:pt x="209" y="526"/>
                </a:cubicBezTo>
                <a:cubicBezTo>
                  <a:pt x="209" y="526"/>
                  <a:pt x="209" y="526"/>
                  <a:pt x="209" y="526"/>
                </a:cubicBezTo>
                <a:cubicBezTo>
                  <a:pt x="211" y="528"/>
                  <a:pt x="212" y="531"/>
                  <a:pt x="211" y="533"/>
                </a:cubicBezTo>
                <a:cubicBezTo>
                  <a:pt x="211" y="533"/>
                  <a:pt x="210" y="536"/>
                  <a:pt x="209" y="536"/>
                </a:cubicBezTo>
                <a:cubicBezTo>
                  <a:pt x="209" y="536"/>
                  <a:pt x="208" y="535"/>
                  <a:pt x="208" y="535"/>
                </a:cubicBezTo>
                <a:cubicBezTo>
                  <a:pt x="208" y="535"/>
                  <a:pt x="208" y="535"/>
                  <a:pt x="208" y="535"/>
                </a:cubicBezTo>
                <a:cubicBezTo>
                  <a:pt x="207" y="536"/>
                  <a:pt x="207" y="537"/>
                  <a:pt x="206" y="537"/>
                </a:cubicBezTo>
                <a:cubicBezTo>
                  <a:pt x="207" y="537"/>
                  <a:pt x="207" y="537"/>
                  <a:pt x="208" y="538"/>
                </a:cubicBezTo>
                <a:cubicBezTo>
                  <a:pt x="208" y="538"/>
                  <a:pt x="206" y="539"/>
                  <a:pt x="206" y="538"/>
                </a:cubicBezTo>
                <a:cubicBezTo>
                  <a:pt x="206" y="538"/>
                  <a:pt x="206" y="538"/>
                  <a:pt x="206" y="538"/>
                </a:cubicBezTo>
                <a:cubicBezTo>
                  <a:pt x="205" y="539"/>
                  <a:pt x="205" y="540"/>
                  <a:pt x="206" y="541"/>
                </a:cubicBezTo>
                <a:cubicBezTo>
                  <a:pt x="206" y="541"/>
                  <a:pt x="209" y="539"/>
                  <a:pt x="209" y="542"/>
                </a:cubicBezTo>
                <a:cubicBezTo>
                  <a:pt x="206" y="541"/>
                  <a:pt x="208" y="542"/>
                  <a:pt x="208" y="545"/>
                </a:cubicBezTo>
                <a:cubicBezTo>
                  <a:pt x="207" y="549"/>
                  <a:pt x="207" y="547"/>
                  <a:pt x="209" y="545"/>
                </a:cubicBezTo>
                <a:cubicBezTo>
                  <a:pt x="211" y="543"/>
                  <a:pt x="211" y="545"/>
                  <a:pt x="212" y="543"/>
                </a:cubicBezTo>
                <a:cubicBezTo>
                  <a:pt x="212" y="543"/>
                  <a:pt x="213" y="541"/>
                  <a:pt x="213" y="539"/>
                </a:cubicBezTo>
                <a:cubicBezTo>
                  <a:pt x="213" y="539"/>
                  <a:pt x="213" y="539"/>
                  <a:pt x="213" y="538"/>
                </a:cubicBezTo>
                <a:cubicBezTo>
                  <a:pt x="213" y="538"/>
                  <a:pt x="213" y="537"/>
                  <a:pt x="213" y="537"/>
                </a:cubicBezTo>
                <a:cubicBezTo>
                  <a:pt x="213" y="538"/>
                  <a:pt x="209" y="536"/>
                  <a:pt x="211" y="535"/>
                </a:cubicBezTo>
                <a:cubicBezTo>
                  <a:pt x="211" y="535"/>
                  <a:pt x="212" y="535"/>
                  <a:pt x="212" y="535"/>
                </a:cubicBezTo>
                <a:cubicBezTo>
                  <a:pt x="212" y="533"/>
                  <a:pt x="214" y="530"/>
                  <a:pt x="214" y="529"/>
                </a:cubicBezTo>
                <a:cubicBezTo>
                  <a:pt x="216" y="526"/>
                  <a:pt x="216" y="526"/>
                  <a:pt x="215" y="529"/>
                </a:cubicBezTo>
                <a:cubicBezTo>
                  <a:pt x="214" y="531"/>
                  <a:pt x="214" y="533"/>
                  <a:pt x="214" y="534"/>
                </a:cubicBezTo>
                <a:cubicBezTo>
                  <a:pt x="215" y="534"/>
                  <a:pt x="214" y="532"/>
                  <a:pt x="215" y="531"/>
                </a:cubicBezTo>
                <a:cubicBezTo>
                  <a:pt x="215" y="530"/>
                  <a:pt x="217" y="530"/>
                  <a:pt x="218" y="529"/>
                </a:cubicBezTo>
                <a:cubicBezTo>
                  <a:pt x="218" y="528"/>
                  <a:pt x="219" y="528"/>
                  <a:pt x="219" y="528"/>
                </a:cubicBezTo>
                <a:cubicBezTo>
                  <a:pt x="219" y="528"/>
                  <a:pt x="219" y="528"/>
                  <a:pt x="220" y="528"/>
                </a:cubicBezTo>
                <a:cubicBezTo>
                  <a:pt x="220" y="528"/>
                  <a:pt x="220" y="528"/>
                  <a:pt x="220" y="528"/>
                </a:cubicBezTo>
                <a:cubicBezTo>
                  <a:pt x="219" y="526"/>
                  <a:pt x="222" y="526"/>
                  <a:pt x="222" y="527"/>
                </a:cubicBezTo>
                <a:cubicBezTo>
                  <a:pt x="222" y="527"/>
                  <a:pt x="223" y="527"/>
                  <a:pt x="223" y="527"/>
                </a:cubicBezTo>
                <a:cubicBezTo>
                  <a:pt x="223" y="527"/>
                  <a:pt x="223" y="527"/>
                  <a:pt x="223" y="528"/>
                </a:cubicBezTo>
                <a:cubicBezTo>
                  <a:pt x="223" y="528"/>
                  <a:pt x="223" y="528"/>
                  <a:pt x="223" y="528"/>
                </a:cubicBezTo>
                <a:cubicBezTo>
                  <a:pt x="223" y="528"/>
                  <a:pt x="224" y="530"/>
                  <a:pt x="225" y="532"/>
                </a:cubicBezTo>
                <a:cubicBezTo>
                  <a:pt x="225" y="531"/>
                  <a:pt x="227" y="531"/>
                  <a:pt x="227" y="532"/>
                </a:cubicBezTo>
                <a:cubicBezTo>
                  <a:pt x="227" y="532"/>
                  <a:pt x="226" y="532"/>
                  <a:pt x="226" y="532"/>
                </a:cubicBezTo>
                <a:cubicBezTo>
                  <a:pt x="227" y="533"/>
                  <a:pt x="227" y="533"/>
                  <a:pt x="228" y="531"/>
                </a:cubicBezTo>
                <a:cubicBezTo>
                  <a:pt x="228" y="531"/>
                  <a:pt x="228" y="531"/>
                  <a:pt x="228" y="531"/>
                </a:cubicBezTo>
                <a:cubicBezTo>
                  <a:pt x="229" y="531"/>
                  <a:pt x="236" y="530"/>
                  <a:pt x="233" y="528"/>
                </a:cubicBezTo>
                <a:cubicBezTo>
                  <a:pt x="232" y="527"/>
                  <a:pt x="232" y="529"/>
                  <a:pt x="232" y="529"/>
                </a:cubicBezTo>
                <a:cubicBezTo>
                  <a:pt x="231" y="529"/>
                  <a:pt x="232" y="528"/>
                  <a:pt x="231" y="528"/>
                </a:cubicBezTo>
                <a:cubicBezTo>
                  <a:pt x="230" y="527"/>
                  <a:pt x="229" y="530"/>
                  <a:pt x="227" y="529"/>
                </a:cubicBezTo>
                <a:cubicBezTo>
                  <a:pt x="230" y="529"/>
                  <a:pt x="228" y="525"/>
                  <a:pt x="230" y="525"/>
                </a:cubicBezTo>
                <a:cubicBezTo>
                  <a:pt x="231" y="524"/>
                  <a:pt x="234" y="528"/>
                  <a:pt x="235" y="528"/>
                </a:cubicBezTo>
                <a:cubicBezTo>
                  <a:pt x="238" y="528"/>
                  <a:pt x="239" y="526"/>
                  <a:pt x="241" y="523"/>
                </a:cubicBezTo>
                <a:cubicBezTo>
                  <a:pt x="239" y="524"/>
                  <a:pt x="238" y="524"/>
                  <a:pt x="236" y="523"/>
                </a:cubicBezTo>
                <a:cubicBezTo>
                  <a:pt x="235" y="524"/>
                  <a:pt x="234" y="525"/>
                  <a:pt x="233" y="522"/>
                </a:cubicBezTo>
                <a:cubicBezTo>
                  <a:pt x="232" y="521"/>
                  <a:pt x="229" y="517"/>
                  <a:pt x="231" y="515"/>
                </a:cubicBezTo>
                <a:cubicBezTo>
                  <a:pt x="235" y="512"/>
                  <a:pt x="241" y="508"/>
                  <a:pt x="242" y="503"/>
                </a:cubicBezTo>
                <a:cubicBezTo>
                  <a:pt x="237" y="508"/>
                  <a:pt x="237" y="501"/>
                  <a:pt x="243" y="501"/>
                </a:cubicBezTo>
                <a:cubicBezTo>
                  <a:pt x="241" y="503"/>
                  <a:pt x="244" y="501"/>
                  <a:pt x="244" y="503"/>
                </a:cubicBezTo>
                <a:cubicBezTo>
                  <a:pt x="244" y="503"/>
                  <a:pt x="244" y="503"/>
                  <a:pt x="244" y="504"/>
                </a:cubicBezTo>
                <a:cubicBezTo>
                  <a:pt x="244" y="504"/>
                  <a:pt x="244" y="504"/>
                  <a:pt x="244" y="504"/>
                </a:cubicBezTo>
                <a:cubicBezTo>
                  <a:pt x="247" y="504"/>
                  <a:pt x="242" y="508"/>
                  <a:pt x="243" y="505"/>
                </a:cubicBezTo>
                <a:cubicBezTo>
                  <a:pt x="243" y="505"/>
                  <a:pt x="243" y="505"/>
                  <a:pt x="243" y="505"/>
                </a:cubicBezTo>
                <a:cubicBezTo>
                  <a:pt x="243" y="505"/>
                  <a:pt x="242" y="506"/>
                  <a:pt x="242" y="507"/>
                </a:cubicBezTo>
                <a:cubicBezTo>
                  <a:pt x="241" y="510"/>
                  <a:pt x="241" y="514"/>
                  <a:pt x="242" y="517"/>
                </a:cubicBezTo>
                <a:cubicBezTo>
                  <a:pt x="243" y="517"/>
                  <a:pt x="243" y="518"/>
                  <a:pt x="243" y="518"/>
                </a:cubicBezTo>
                <a:cubicBezTo>
                  <a:pt x="243" y="519"/>
                  <a:pt x="243" y="519"/>
                  <a:pt x="243" y="519"/>
                </a:cubicBezTo>
                <a:cubicBezTo>
                  <a:pt x="244" y="520"/>
                  <a:pt x="246" y="520"/>
                  <a:pt x="248" y="516"/>
                </a:cubicBezTo>
                <a:cubicBezTo>
                  <a:pt x="248" y="523"/>
                  <a:pt x="254" y="514"/>
                  <a:pt x="253" y="512"/>
                </a:cubicBezTo>
                <a:cubicBezTo>
                  <a:pt x="253" y="512"/>
                  <a:pt x="251" y="511"/>
                  <a:pt x="251" y="511"/>
                </a:cubicBezTo>
                <a:cubicBezTo>
                  <a:pt x="250" y="510"/>
                  <a:pt x="251" y="507"/>
                  <a:pt x="252" y="506"/>
                </a:cubicBezTo>
                <a:cubicBezTo>
                  <a:pt x="253" y="505"/>
                  <a:pt x="257" y="499"/>
                  <a:pt x="255" y="503"/>
                </a:cubicBezTo>
                <a:cubicBezTo>
                  <a:pt x="255" y="505"/>
                  <a:pt x="255" y="507"/>
                  <a:pt x="255" y="508"/>
                </a:cubicBezTo>
                <a:cubicBezTo>
                  <a:pt x="255" y="508"/>
                  <a:pt x="255" y="508"/>
                  <a:pt x="255" y="508"/>
                </a:cubicBezTo>
                <a:cubicBezTo>
                  <a:pt x="255" y="508"/>
                  <a:pt x="255" y="508"/>
                  <a:pt x="255" y="508"/>
                </a:cubicBezTo>
                <a:cubicBezTo>
                  <a:pt x="254" y="510"/>
                  <a:pt x="254" y="511"/>
                  <a:pt x="254" y="513"/>
                </a:cubicBezTo>
                <a:cubicBezTo>
                  <a:pt x="254" y="515"/>
                  <a:pt x="252" y="517"/>
                  <a:pt x="252" y="518"/>
                </a:cubicBezTo>
                <a:cubicBezTo>
                  <a:pt x="252" y="517"/>
                  <a:pt x="252" y="517"/>
                  <a:pt x="253" y="518"/>
                </a:cubicBezTo>
                <a:cubicBezTo>
                  <a:pt x="253" y="519"/>
                  <a:pt x="254" y="519"/>
                  <a:pt x="254" y="519"/>
                </a:cubicBezTo>
                <a:cubicBezTo>
                  <a:pt x="253" y="520"/>
                  <a:pt x="253" y="520"/>
                  <a:pt x="253" y="520"/>
                </a:cubicBezTo>
                <a:cubicBezTo>
                  <a:pt x="253" y="520"/>
                  <a:pt x="253" y="521"/>
                  <a:pt x="254" y="521"/>
                </a:cubicBezTo>
                <a:cubicBezTo>
                  <a:pt x="256" y="521"/>
                  <a:pt x="256" y="513"/>
                  <a:pt x="257" y="510"/>
                </a:cubicBezTo>
                <a:cubicBezTo>
                  <a:pt x="256" y="510"/>
                  <a:pt x="256" y="510"/>
                  <a:pt x="256" y="510"/>
                </a:cubicBezTo>
                <a:cubicBezTo>
                  <a:pt x="255" y="509"/>
                  <a:pt x="256" y="509"/>
                  <a:pt x="257" y="509"/>
                </a:cubicBezTo>
                <a:cubicBezTo>
                  <a:pt x="257" y="509"/>
                  <a:pt x="257" y="509"/>
                  <a:pt x="257" y="509"/>
                </a:cubicBezTo>
                <a:cubicBezTo>
                  <a:pt x="257" y="508"/>
                  <a:pt x="257" y="507"/>
                  <a:pt x="257" y="506"/>
                </a:cubicBezTo>
                <a:cubicBezTo>
                  <a:pt x="257" y="506"/>
                  <a:pt x="257" y="506"/>
                  <a:pt x="257" y="506"/>
                </a:cubicBezTo>
                <a:cubicBezTo>
                  <a:pt x="257" y="506"/>
                  <a:pt x="257" y="506"/>
                  <a:pt x="257" y="506"/>
                </a:cubicBezTo>
                <a:cubicBezTo>
                  <a:pt x="258" y="504"/>
                  <a:pt x="259" y="501"/>
                  <a:pt x="259" y="501"/>
                </a:cubicBezTo>
                <a:cubicBezTo>
                  <a:pt x="262" y="499"/>
                  <a:pt x="256" y="514"/>
                  <a:pt x="262" y="510"/>
                </a:cubicBezTo>
                <a:cubicBezTo>
                  <a:pt x="262" y="510"/>
                  <a:pt x="267" y="506"/>
                  <a:pt x="267" y="505"/>
                </a:cubicBezTo>
                <a:cubicBezTo>
                  <a:pt x="267" y="504"/>
                  <a:pt x="265" y="505"/>
                  <a:pt x="264" y="505"/>
                </a:cubicBezTo>
                <a:cubicBezTo>
                  <a:pt x="263" y="504"/>
                  <a:pt x="264" y="501"/>
                  <a:pt x="265" y="500"/>
                </a:cubicBezTo>
                <a:cubicBezTo>
                  <a:pt x="267" y="500"/>
                  <a:pt x="267" y="502"/>
                  <a:pt x="267" y="502"/>
                </a:cubicBezTo>
                <a:cubicBezTo>
                  <a:pt x="269" y="502"/>
                  <a:pt x="270" y="500"/>
                  <a:pt x="271" y="498"/>
                </a:cubicBezTo>
                <a:cubicBezTo>
                  <a:pt x="271" y="498"/>
                  <a:pt x="271" y="498"/>
                  <a:pt x="270" y="498"/>
                </a:cubicBezTo>
                <a:cubicBezTo>
                  <a:pt x="271" y="497"/>
                  <a:pt x="271" y="497"/>
                  <a:pt x="271" y="497"/>
                </a:cubicBezTo>
                <a:cubicBezTo>
                  <a:pt x="272" y="495"/>
                  <a:pt x="273" y="494"/>
                  <a:pt x="274" y="493"/>
                </a:cubicBezTo>
                <a:cubicBezTo>
                  <a:pt x="276" y="490"/>
                  <a:pt x="277" y="487"/>
                  <a:pt x="278" y="487"/>
                </a:cubicBezTo>
                <a:cubicBezTo>
                  <a:pt x="278" y="486"/>
                  <a:pt x="280" y="489"/>
                  <a:pt x="282" y="489"/>
                </a:cubicBezTo>
                <a:cubicBezTo>
                  <a:pt x="284" y="489"/>
                  <a:pt x="284" y="486"/>
                  <a:pt x="284" y="489"/>
                </a:cubicBezTo>
                <a:cubicBezTo>
                  <a:pt x="284" y="491"/>
                  <a:pt x="285" y="489"/>
                  <a:pt x="285" y="492"/>
                </a:cubicBezTo>
                <a:cubicBezTo>
                  <a:pt x="285" y="493"/>
                  <a:pt x="281" y="498"/>
                  <a:pt x="278" y="496"/>
                </a:cubicBezTo>
                <a:cubicBezTo>
                  <a:pt x="277" y="496"/>
                  <a:pt x="277" y="493"/>
                  <a:pt x="275" y="495"/>
                </a:cubicBezTo>
                <a:cubicBezTo>
                  <a:pt x="275" y="496"/>
                  <a:pt x="275" y="498"/>
                  <a:pt x="274" y="499"/>
                </a:cubicBezTo>
                <a:cubicBezTo>
                  <a:pt x="273" y="502"/>
                  <a:pt x="268" y="505"/>
                  <a:pt x="267" y="508"/>
                </a:cubicBezTo>
                <a:cubicBezTo>
                  <a:pt x="266" y="510"/>
                  <a:pt x="266" y="513"/>
                  <a:pt x="264" y="516"/>
                </a:cubicBezTo>
                <a:cubicBezTo>
                  <a:pt x="263" y="518"/>
                  <a:pt x="257" y="521"/>
                  <a:pt x="257" y="523"/>
                </a:cubicBezTo>
                <a:cubicBezTo>
                  <a:pt x="257" y="523"/>
                  <a:pt x="258" y="524"/>
                  <a:pt x="258" y="525"/>
                </a:cubicBezTo>
                <a:cubicBezTo>
                  <a:pt x="258" y="525"/>
                  <a:pt x="259" y="525"/>
                  <a:pt x="259" y="525"/>
                </a:cubicBezTo>
                <a:cubicBezTo>
                  <a:pt x="259" y="525"/>
                  <a:pt x="259" y="525"/>
                  <a:pt x="259" y="525"/>
                </a:cubicBezTo>
                <a:cubicBezTo>
                  <a:pt x="261" y="527"/>
                  <a:pt x="265" y="529"/>
                  <a:pt x="267" y="528"/>
                </a:cubicBezTo>
                <a:cubicBezTo>
                  <a:pt x="268" y="528"/>
                  <a:pt x="268" y="528"/>
                  <a:pt x="268" y="528"/>
                </a:cubicBezTo>
                <a:cubicBezTo>
                  <a:pt x="268" y="527"/>
                  <a:pt x="268" y="526"/>
                  <a:pt x="268" y="525"/>
                </a:cubicBezTo>
                <a:cubicBezTo>
                  <a:pt x="270" y="521"/>
                  <a:pt x="278" y="518"/>
                  <a:pt x="282" y="521"/>
                </a:cubicBezTo>
                <a:cubicBezTo>
                  <a:pt x="282" y="521"/>
                  <a:pt x="282" y="521"/>
                  <a:pt x="282" y="522"/>
                </a:cubicBezTo>
                <a:cubicBezTo>
                  <a:pt x="282" y="522"/>
                  <a:pt x="282" y="522"/>
                  <a:pt x="282" y="521"/>
                </a:cubicBezTo>
                <a:cubicBezTo>
                  <a:pt x="283" y="520"/>
                  <a:pt x="282" y="521"/>
                  <a:pt x="282" y="522"/>
                </a:cubicBezTo>
                <a:cubicBezTo>
                  <a:pt x="282" y="522"/>
                  <a:pt x="282" y="522"/>
                  <a:pt x="283" y="523"/>
                </a:cubicBezTo>
                <a:cubicBezTo>
                  <a:pt x="284" y="522"/>
                  <a:pt x="285" y="522"/>
                  <a:pt x="285" y="521"/>
                </a:cubicBezTo>
                <a:cubicBezTo>
                  <a:pt x="286" y="523"/>
                  <a:pt x="287" y="519"/>
                  <a:pt x="289" y="519"/>
                </a:cubicBezTo>
                <a:cubicBezTo>
                  <a:pt x="290" y="519"/>
                  <a:pt x="292" y="521"/>
                  <a:pt x="292" y="519"/>
                </a:cubicBezTo>
                <a:cubicBezTo>
                  <a:pt x="292" y="524"/>
                  <a:pt x="301" y="516"/>
                  <a:pt x="302" y="515"/>
                </a:cubicBezTo>
                <a:cubicBezTo>
                  <a:pt x="301" y="515"/>
                  <a:pt x="295" y="514"/>
                  <a:pt x="295" y="514"/>
                </a:cubicBezTo>
                <a:cubicBezTo>
                  <a:pt x="295" y="514"/>
                  <a:pt x="295" y="514"/>
                  <a:pt x="295" y="514"/>
                </a:cubicBezTo>
                <a:cubicBezTo>
                  <a:pt x="295" y="514"/>
                  <a:pt x="295" y="514"/>
                  <a:pt x="295" y="514"/>
                </a:cubicBezTo>
                <a:cubicBezTo>
                  <a:pt x="294" y="515"/>
                  <a:pt x="293" y="515"/>
                  <a:pt x="293" y="515"/>
                </a:cubicBezTo>
                <a:cubicBezTo>
                  <a:pt x="292" y="513"/>
                  <a:pt x="294" y="514"/>
                  <a:pt x="295" y="512"/>
                </a:cubicBezTo>
                <a:cubicBezTo>
                  <a:pt x="295" y="512"/>
                  <a:pt x="295" y="512"/>
                  <a:pt x="295" y="512"/>
                </a:cubicBezTo>
                <a:cubicBezTo>
                  <a:pt x="294" y="512"/>
                  <a:pt x="293" y="511"/>
                  <a:pt x="294" y="510"/>
                </a:cubicBezTo>
                <a:cubicBezTo>
                  <a:pt x="294" y="510"/>
                  <a:pt x="294" y="510"/>
                  <a:pt x="294" y="510"/>
                </a:cubicBezTo>
                <a:cubicBezTo>
                  <a:pt x="293" y="509"/>
                  <a:pt x="293" y="508"/>
                  <a:pt x="293" y="507"/>
                </a:cubicBezTo>
                <a:cubicBezTo>
                  <a:pt x="293" y="507"/>
                  <a:pt x="296" y="504"/>
                  <a:pt x="297" y="504"/>
                </a:cubicBezTo>
                <a:cubicBezTo>
                  <a:pt x="298" y="504"/>
                  <a:pt x="300" y="499"/>
                  <a:pt x="302" y="499"/>
                </a:cubicBezTo>
                <a:cubicBezTo>
                  <a:pt x="303" y="500"/>
                  <a:pt x="300" y="501"/>
                  <a:pt x="301" y="503"/>
                </a:cubicBezTo>
                <a:cubicBezTo>
                  <a:pt x="302" y="503"/>
                  <a:pt x="304" y="502"/>
                  <a:pt x="305" y="503"/>
                </a:cubicBezTo>
                <a:cubicBezTo>
                  <a:pt x="305" y="503"/>
                  <a:pt x="304" y="505"/>
                  <a:pt x="305" y="506"/>
                </a:cubicBezTo>
                <a:cubicBezTo>
                  <a:pt x="305" y="505"/>
                  <a:pt x="308" y="505"/>
                  <a:pt x="308" y="506"/>
                </a:cubicBezTo>
                <a:cubicBezTo>
                  <a:pt x="309" y="508"/>
                  <a:pt x="306" y="507"/>
                  <a:pt x="306" y="508"/>
                </a:cubicBezTo>
                <a:cubicBezTo>
                  <a:pt x="305" y="509"/>
                  <a:pt x="306" y="509"/>
                  <a:pt x="306" y="510"/>
                </a:cubicBezTo>
                <a:cubicBezTo>
                  <a:pt x="306" y="511"/>
                  <a:pt x="305" y="511"/>
                  <a:pt x="304" y="513"/>
                </a:cubicBezTo>
                <a:cubicBezTo>
                  <a:pt x="304" y="513"/>
                  <a:pt x="304" y="514"/>
                  <a:pt x="304" y="514"/>
                </a:cubicBezTo>
                <a:cubicBezTo>
                  <a:pt x="302" y="517"/>
                  <a:pt x="296" y="519"/>
                  <a:pt x="297" y="524"/>
                </a:cubicBezTo>
                <a:cubicBezTo>
                  <a:pt x="297" y="525"/>
                  <a:pt x="298" y="525"/>
                  <a:pt x="299" y="524"/>
                </a:cubicBezTo>
                <a:cubicBezTo>
                  <a:pt x="298" y="527"/>
                  <a:pt x="295" y="535"/>
                  <a:pt x="289" y="536"/>
                </a:cubicBezTo>
                <a:cubicBezTo>
                  <a:pt x="289" y="536"/>
                  <a:pt x="286" y="535"/>
                  <a:pt x="285" y="534"/>
                </a:cubicBezTo>
                <a:cubicBezTo>
                  <a:pt x="285" y="534"/>
                  <a:pt x="284" y="533"/>
                  <a:pt x="283" y="532"/>
                </a:cubicBezTo>
                <a:cubicBezTo>
                  <a:pt x="283" y="532"/>
                  <a:pt x="283" y="532"/>
                  <a:pt x="283" y="531"/>
                </a:cubicBezTo>
                <a:cubicBezTo>
                  <a:pt x="283" y="531"/>
                  <a:pt x="283" y="531"/>
                  <a:pt x="283" y="531"/>
                </a:cubicBezTo>
                <a:cubicBezTo>
                  <a:pt x="282" y="531"/>
                  <a:pt x="282" y="530"/>
                  <a:pt x="282" y="530"/>
                </a:cubicBezTo>
                <a:cubicBezTo>
                  <a:pt x="280" y="531"/>
                  <a:pt x="278" y="533"/>
                  <a:pt x="277" y="533"/>
                </a:cubicBezTo>
                <a:cubicBezTo>
                  <a:pt x="278" y="535"/>
                  <a:pt x="280" y="534"/>
                  <a:pt x="281" y="534"/>
                </a:cubicBezTo>
                <a:cubicBezTo>
                  <a:pt x="281" y="534"/>
                  <a:pt x="280" y="534"/>
                  <a:pt x="280" y="535"/>
                </a:cubicBezTo>
                <a:cubicBezTo>
                  <a:pt x="281" y="535"/>
                  <a:pt x="282" y="535"/>
                  <a:pt x="282" y="536"/>
                </a:cubicBezTo>
                <a:cubicBezTo>
                  <a:pt x="283" y="537"/>
                  <a:pt x="281" y="536"/>
                  <a:pt x="281" y="537"/>
                </a:cubicBezTo>
                <a:cubicBezTo>
                  <a:pt x="280" y="538"/>
                  <a:pt x="282" y="537"/>
                  <a:pt x="280" y="539"/>
                </a:cubicBezTo>
                <a:cubicBezTo>
                  <a:pt x="279" y="541"/>
                  <a:pt x="276" y="540"/>
                  <a:pt x="275" y="541"/>
                </a:cubicBezTo>
                <a:cubicBezTo>
                  <a:pt x="275" y="541"/>
                  <a:pt x="275" y="541"/>
                  <a:pt x="275" y="542"/>
                </a:cubicBezTo>
                <a:cubicBezTo>
                  <a:pt x="276" y="542"/>
                  <a:pt x="276" y="543"/>
                  <a:pt x="277" y="543"/>
                </a:cubicBezTo>
                <a:cubicBezTo>
                  <a:pt x="277" y="543"/>
                  <a:pt x="275" y="544"/>
                  <a:pt x="276" y="546"/>
                </a:cubicBezTo>
                <a:cubicBezTo>
                  <a:pt x="276" y="547"/>
                  <a:pt x="277" y="546"/>
                  <a:pt x="277" y="546"/>
                </a:cubicBezTo>
                <a:cubicBezTo>
                  <a:pt x="277" y="547"/>
                  <a:pt x="277" y="551"/>
                  <a:pt x="277" y="551"/>
                </a:cubicBezTo>
                <a:cubicBezTo>
                  <a:pt x="276" y="552"/>
                  <a:pt x="274" y="550"/>
                  <a:pt x="272" y="551"/>
                </a:cubicBezTo>
                <a:cubicBezTo>
                  <a:pt x="273" y="551"/>
                  <a:pt x="269" y="553"/>
                  <a:pt x="269" y="553"/>
                </a:cubicBezTo>
                <a:cubicBezTo>
                  <a:pt x="269" y="554"/>
                  <a:pt x="270" y="555"/>
                  <a:pt x="270" y="556"/>
                </a:cubicBezTo>
                <a:cubicBezTo>
                  <a:pt x="269" y="558"/>
                  <a:pt x="267" y="558"/>
                  <a:pt x="267" y="560"/>
                </a:cubicBezTo>
                <a:cubicBezTo>
                  <a:pt x="267" y="561"/>
                  <a:pt x="264" y="565"/>
                  <a:pt x="262" y="565"/>
                </a:cubicBezTo>
                <a:cubicBezTo>
                  <a:pt x="257" y="564"/>
                  <a:pt x="260" y="557"/>
                  <a:pt x="254" y="558"/>
                </a:cubicBezTo>
                <a:cubicBezTo>
                  <a:pt x="254" y="552"/>
                  <a:pt x="248" y="563"/>
                  <a:pt x="247" y="562"/>
                </a:cubicBezTo>
                <a:cubicBezTo>
                  <a:pt x="246" y="562"/>
                  <a:pt x="246" y="562"/>
                  <a:pt x="246" y="562"/>
                </a:cubicBezTo>
                <a:cubicBezTo>
                  <a:pt x="246" y="563"/>
                  <a:pt x="246" y="563"/>
                  <a:pt x="246" y="563"/>
                </a:cubicBezTo>
                <a:cubicBezTo>
                  <a:pt x="245" y="563"/>
                  <a:pt x="246" y="562"/>
                  <a:pt x="246" y="562"/>
                </a:cubicBezTo>
                <a:cubicBezTo>
                  <a:pt x="245" y="561"/>
                  <a:pt x="246" y="561"/>
                  <a:pt x="246" y="562"/>
                </a:cubicBezTo>
                <a:cubicBezTo>
                  <a:pt x="247" y="560"/>
                  <a:pt x="251" y="555"/>
                  <a:pt x="246" y="557"/>
                </a:cubicBezTo>
                <a:cubicBezTo>
                  <a:pt x="245" y="558"/>
                  <a:pt x="246" y="561"/>
                  <a:pt x="245" y="561"/>
                </a:cubicBezTo>
                <a:cubicBezTo>
                  <a:pt x="244" y="562"/>
                  <a:pt x="241" y="560"/>
                  <a:pt x="239" y="561"/>
                </a:cubicBezTo>
                <a:cubicBezTo>
                  <a:pt x="239" y="561"/>
                  <a:pt x="237" y="564"/>
                  <a:pt x="238" y="565"/>
                </a:cubicBezTo>
                <a:cubicBezTo>
                  <a:pt x="238" y="567"/>
                  <a:pt x="240" y="566"/>
                  <a:pt x="238" y="568"/>
                </a:cubicBezTo>
                <a:cubicBezTo>
                  <a:pt x="238" y="569"/>
                  <a:pt x="239" y="568"/>
                  <a:pt x="239" y="568"/>
                </a:cubicBezTo>
                <a:cubicBezTo>
                  <a:pt x="238" y="569"/>
                  <a:pt x="239" y="570"/>
                  <a:pt x="241" y="570"/>
                </a:cubicBezTo>
                <a:cubicBezTo>
                  <a:pt x="238" y="572"/>
                  <a:pt x="235" y="572"/>
                  <a:pt x="237" y="575"/>
                </a:cubicBezTo>
                <a:cubicBezTo>
                  <a:pt x="237" y="575"/>
                  <a:pt x="242" y="578"/>
                  <a:pt x="242" y="579"/>
                </a:cubicBezTo>
                <a:cubicBezTo>
                  <a:pt x="245" y="577"/>
                  <a:pt x="240" y="574"/>
                  <a:pt x="241" y="571"/>
                </a:cubicBezTo>
                <a:cubicBezTo>
                  <a:pt x="243" y="569"/>
                  <a:pt x="244" y="576"/>
                  <a:pt x="245" y="576"/>
                </a:cubicBezTo>
                <a:cubicBezTo>
                  <a:pt x="246" y="577"/>
                  <a:pt x="245" y="575"/>
                  <a:pt x="246" y="576"/>
                </a:cubicBezTo>
                <a:cubicBezTo>
                  <a:pt x="248" y="576"/>
                  <a:pt x="249" y="578"/>
                  <a:pt x="250" y="577"/>
                </a:cubicBezTo>
                <a:cubicBezTo>
                  <a:pt x="250" y="576"/>
                  <a:pt x="247" y="576"/>
                  <a:pt x="248" y="574"/>
                </a:cubicBezTo>
                <a:cubicBezTo>
                  <a:pt x="249" y="573"/>
                  <a:pt x="252" y="575"/>
                  <a:pt x="251" y="576"/>
                </a:cubicBezTo>
                <a:cubicBezTo>
                  <a:pt x="252" y="576"/>
                  <a:pt x="253" y="576"/>
                  <a:pt x="254" y="577"/>
                </a:cubicBezTo>
                <a:cubicBezTo>
                  <a:pt x="254" y="576"/>
                  <a:pt x="254" y="576"/>
                  <a:pt x="255" y="576"/>
                </a:cubicBezTo>
                <a:cubicBezTo>
                  <a:pt x="255" y="576"/>
                  <a:pt x="255" y="577"/>
                  <a:pt x="254" y="578"/>
                </a:cubicBezTo>
                <a:cubicBezTo>
                  <a:pt x="255" y="580"/>
                  <a:pt x="254" y="582"/>
                  <a:pt x="253" y="583"/>
                </a:cubicBezTo>
                <a:cubicBezTo>
                  <a:pt x="253" y="583"/>
                  <a:pt x="253" y="583"/>
                  <a:pt x="253" y="583"/>
                </a:cubicBezTo>
                <a:cubicBezTo>
                  <a:pt x="255" y="584"/>
                  <a:pt x="254" y="582"/>
                  <a:pt x="255" y="583"/>
                </a:cubicBezTo>
                <a:cubicBezTo>
                  <a:pt x="255" y="583"/>
                  <a:pt x="256" y="583"/>
                  <a:pt x="256" y="583"/>
                </a:cubicBezTo>
                <a:cubicBezTo>
                  <a:pt x="257" y="581"/>
                  <a:pt x="258" y="578"/>
                  <a:pt x="259" y="578"/>
                </a:cubicBezTo>
                <a:cubicBezTo>
                  <a:pt x="260" y="577"/>
                  <a:pt x="262" y="580"/>
                  <a:pt x="262" y="578"/>
                </a:cubicBezTo>
                <a:cubicBezTo>
                  <a:pt x="263" y="577"/>
                  <a:pt x="261" y="575"/>
                  <a:pt x="260" y="575"/>
                </a:cubicBezTo>
                <a:cubicBezTo>
                  <a:pt x="261" y="575"/>
                  <a:pt x="261" y="572"/>
                  <a:pt x="261" y="572"/>
                </a:cubicBezTo>
                <a:cubicBezTo>
                  <a:pt x="259" y="572"/>
                  <a:pt x="257" y="574"/>
                  <a:pt x="256" y="573"/>
                </a:cubicBezTo>
                <a:cubicBezTo>
                  <a:pt x="255" y="573"/>
                  <a:pt x="258" y="571"/>
                  <a:pt x="258" y="570"/>
                </a:cubicBezTo>
                <a:cubicBezTo>
                  <a:pt x="258" y="573"/>
                  <a:pt x="261" y="569"/>
                  <a:pt x="263" y="568"/>
                </a:cubicBezTo>
                <a:cubicBezTo>
                  <a:pt x="264" y="568"/>
                  <a:pt x="266" y="568"/>
                  <a:pt x="267" y="568"/>
                </a:cubicBezTo>
                <a:cubicBezTo>
                  <a:pt x="268" y="567"/>
                  <a:pt x="266" y="565"/>
                  <a:pt x="269" y="564"/>
                </a:cubicBezTo>
                <a:cubicBezTo>
                  <a:pt x="269" y="564"/>
                  <a:pt x="268" y="566"/>
                  <a:pt x="269" y="566"/>
                </a:cubicBezTo>
                <a:cubicBezTo>
                  <a:pt x="269" y="567"/>
                  <a:pt x="271" y="564"/>
                  <a:pt x="273" y="566"/>
                </a:cubicBezTo>
                <a:cubicBezTo>
                  <a:pt x="273" y="566"/>
                  <a:pt x="272" y="568"/>
                  <a:pt x="272" y="570"/>
                </a:cubicBezTo>
                <a:cubicBezTo>
                  <a:pt x="272" y="570"/>
                  <a:pt x="272" y="571"/>
                  <a:pt x="272" y="572"/>
                </a:cubicBezTo>
                <a:cubicBezTo>
                  <a:pt x="274" y="572"/>
                  <a:pt x="279" y="573"/>
                  <a:pt x="280" y="573"/>
                </a:cubicBezTo>
                <a:cubicBezTo>
                  <a:pt x="281" y="574"/>
                  <a:pt x="279" y="576"/>
                  <a:pt x="282" y="576"/>
                </a:cubicBezTo>
                <a:cubicBezTo>
                  <a:pt x="279" y="578"/>
                  <a:pt x="284" y="579"/>
                  <a:pt x="283" y="581"/>
                </a:cubicBezTo>
                <a:cubicBezTo>
                  <a:pt x="283" y="581"/>
                  <a:pt x="281" y="581"/>
                  <a:pt x="281" y="582"/>
                </a:cubicBezTo>
                <a:cubicBezTo>
                  <a:pt x="281" y="582"/>
                  <a:pt x="282" y="583"/>
                  <a:pt x="281" y="584"/>
                </a:cubicBezTo>
                <a:cubicBezTo>
                  <a:pt x="281" y="584"/>
                  <a:pt x="281" y="584"/>
                  <a:pt x="281" y="584"/>
                </a:cubicBezTo>
                <a:cubicBezTo>
                  <a:pt x="282" y="585"/>
                  <a:pt x="283" y="587"/>
                  <a:pt x="282" y="588"/>
                </a:cubicBezTo>
                <a:cubicBezTo>
                  <a:pt x="283" y="588"/>
                  <a:pt x="283" y="588"/>
                  <a:pt x="284" y="588"/>
                </a:cubicBezTo>
                <a:cubicBezTo>
                  <a:pt x="283" y="588"/>
                  <a:pt x="283" y="587"/>
                  <a:pt x="283" y="586"/>
                </a:cubicBezTo>
                <a:cubicBezTo>
                  <a:pt x="283" y="585"/>
                  <a:pt x="284" y="585"/>
                  <a:pt x="285" y="584"/>
                </a:cubicBezTo>
                <a:cubicBezTo>
                  <a:pt x="285" y="584"/>
                  <a:pt x="285" y="583"/>
                  <a:pt x="286" y="582"/>
                </a:cubicBezTo>
                <a:cubicBezTo>
                  <a:pt x="286" y="582"/>
                  <a:pt x="286" y="582"/>
                  <a:pt x="286" y="582"/>
                </a:cubicBezTo>
                <a:cubicBezTo>
                  <a:pt x="286" y="582"/>
                  <a:pt x="287" y="582"/>
                  <a:pt x="287" y="582"/>
                </a:cubicBezTo>
                <a:cubicBezTo>
                  <a:pt x="288" y="581"/>
                  <a:pt x="290" y="580"/>
                  <a:pt x="291" y="578"/>
                </a:cubicBezTo>
                <a:cubicBezTo>
                  <a:pt x="289" y="581"/>
                  <a:pt x="293" y="581"/>
                  <a:pt x="293" y="581"/>
                </a:cubicBezTo>
                <a:cubicBezTo>
                  <a:pt x="294" y="581"/>
                  <a:pt x="294" y="581"/>
                  <a:pt x="294" y="581"/>
                </a:cubicBezTo>
                <a:cubicBezTo>
                  <a:pt x="294" y="581"/>
                  <a:pt x="294" y="581"/>
                  <a:pt x="294" y="581"/>
                </a:cubicBezTo>
                <a:cubicBezTo>
                  <a:pt x="293" y="581"/>
                  <a:pt x="293" y="580"/>
                  <a:pt x="293" y="580"/>
                </a:cubicBezTo>
                <a:cubicBezTo>
                  <a:pt x="292" y="579"/>
                  <a:pt x="293" y="574"/>
                  <a:pt x="294" y="574"/>
                </a:cubicBezTo>
                <a:cubicBezTo>
                  <a:pt x="295" y="573"/>
                  <a:pt x="295" y="574"/>
                  <a:pt x="295" y="574"/>
                </a:cubicBezTo>
                <a:cubicBezTo>
                  <a:pt x="297" y="574"/>
                  <a:pt x="299" y="572"/>
                  <a:pt x="302" y="573"/>
                </a:cubicBezTo>
                <a:cubicBezTo>
                  <a:pt x="301" y="574"/>
                  <a:pt x="299" y="573"/>
                  <a:pt x="299" y="575"/>
                </a:cubicBezTo>
                <a:cubicBezTo>
                  <a:pt x="298" y="576"/>
                  <a:pt x="300" y="575"/>
                  <a:pt x="300" y="576"/>
                </a:cubicBezTo>
                <a:cubicBezTo>
                  <a:pt x="301" y="577"/>
                  <a:pt x="298" y="581"/>
                  <a:pt x="295" y="581"/>
                </a:cubicBezTo>
                <a:cubicBezTo>
                  <a:pt x="295" y="582"/>
                  <a:pt x="294" y="583"/>
                  <a:pt x="294" y="584"/>
                </a:cubicBezTo>
                <a:cubicBezTo>
                  <a:pt x="294" y="584"/>
                  <a:pt x="295" y="584"/>
                  <a:pt x="295" y="584"/>
                </a:cubicBezTo>
                <a:cubicBezTo>
                  <a:pt x="296" y="583"/>
                  <a:pt x="299" y="582"/>
                  <a:pt x="300" y="580"/>
                </a:cubicBezTo>
                <a:cubicBezTo>
                  <a:pt x="301" y="580"/>
                  <a:pt x="300" y="578"/>
                  <a:pt x="301" y="578"/>
                </a:cubicBezTo>
                <a:cubicBezTo>
                  <a:pt x="301" y="577"/>
                  <a:pt x="302" y="577"/>
                  <a:pt x="302" y="576"/>
                </a:cubicBezTo>
                <a:cubicBezTo>
                  <a:pt x="302" y="575"/>
                  <a:pt x="301" y="576"/>
                  <a:pt x="301" y="574"/>
                </a:cubicBezTo>
                <a:cubicBezTo>
                  <a:pt x="302" y="573"/>
                  <a:pt x="303" y="573"/>
                  <a:pt x="304" y="573"/>
                </a:cubicBezTo>
                <a:cubicBezTo>
                  <a:pt x="304" y="574"/>
                  <a:pt x="303" y="576"/>
                  <a:pt x="304" y="578"/>
                </a:cubicBezTo>
                <a:cubicBezTo>
                  <a:pt x="304" y="578"/>
                  <a:pt x="306" y="578"/>
                  <a:pt x="307" y="579"/>
                </a:cubicBezTo>
                <a:cubicBezTo>
                  <a:pt x="308" y="580"/>
                  <a:pt x="308" y="581"/>
                  <a:pt x="311" y="579"/>
                </a:cubicBezTo>
                <a:cubicBezTo>
                  <a:pt x="307" y="583"/>
                  <a:pt x="312" y="581"/>
                  <a:pt x="313" y="582"/>
                </a:cubicBezTo>
                <a:cubicBezTo>
                  <a:pt x="312" y="582"/>
                  <a:pt x="312" y="589"/>
                  <a:pt x="312" y="589"/>
                </a:cubicBezTo>
                <a:cubicBezTo>
                  <a:pt x="312" y="590"/>
                  <a:pt x="310" y="593"/>
                  <a:pt x="310" y="595"/>
                </a:cubicBezTo>
                <a:cubicBezTo>
                  <a:pt x="310" y="594"/>
                  <a:pt x="310" y="594"/>
                  <a:pt x="311" y="594"/>
                </a:cubicBezTo>
                <a:cubicBezTo>
                  <a:pt x="311" y="595"/>
                  <a:pt x="310" y="595"/>
                  <a:pt x="310" y="596"/>
                </a:cubicBezTo>
                <a:cubicBezTo>
                  <a:pt x="310" y="596"/>
                  <a:pt x="310" y="596"/>
                  <a:pt x="310" y="596"/>
                </a:cubicBezTo>
                <a:cubicBezTo>
                  <a:pt x="310" y="596"/>
                  <a:pt x="310" y="596"/>
                  <a:pt x="311" y="595"/>
                </a:cubicBezTo>
                <a:cubicBezTo>
                  <a:pt x="311" y="595"/>
                  <a:pt x="311" y="595"/>
                  <a:pt x="311" y="595"/>
                </a:cubicBezTo>
                <a:cubicBezTo>
                  <a:pt x="311" y="595"/>
                  <a:pt x="311" y="595"/>
                  <a:pt x="311" y="595"/>
                </a:cubicBezTo>
                <a:cubicBezTo>
                  <a:pt x="311" y="595"/>
                  <a:pt x="311" y="595"/>
                  <a:pt x="311" y="595"/>
                </a:cubicBezTo>
                <a:cubicBezTo>
                  <a:pt x="314" y="594"/>
                  <a:pt x="320" y="594"/>
                  <a:pt x="324" y="595"/>
                </a:cubicBezTo>
                <a:cubicBezTo>
                  <a:pt x="324" y="594"/>
                  <a:pt x="324" y="593"/>
                  <a:pt x="324" y="593"/>
                </a:cubicBezTo>
                <a:cubicBezTo>
                  <a:pt x="325" y="593"/>
                  <a:pt x="325" y="594"/>
                  <a:pt x="325" y="595"/>
                </a:cubicBezTo>
                <a:cubicBezTo>
                  <a:pt x="326" y="595"/>
                  <a:pt x="326" y="596"/>
                  <a:pt x="326" y="596"/>
                </a:cubicBezTo>
                <a:cubicBezTo>
                  <a:pt x="326" y="597"/>
                  <a:pt x="325" y="597"/>
                  <a:pt x="323" y="598"/>
                </a:cubicBezTo>
                <a:cubicBezTo>
                  <a:pt x="324" y="598"/>
                  <a:pt x="324" y="598"/>
                  <a:pt x="324" y="599"/>
                </a:cubicBezTo>
                <a:cubicBezTo>
                  <a:pt x="324" y="600"/>
                  <a:pt x="323" y="601"/>
                  <a:pt x="322" y="601"/>
                </a:cubicBezTo>
                <a:cubicBezTo>
                  <a:pt x="323" y="602"/>
                  <a:pt x="322" y="603"/>
                  <a:pt x="321" y="604"/>
                </a:cubicBezTo>
                <a:cubicBezTo>
                  <a:pt x="321" y="604"/>
                  <a:pt x="320" y="604"/>
                  <a:pt x="319" y="604"/>
                </a:cubicBezTo>
                <a:cubicBezTo>
                  <a:pt x="319" y="605"/>
                  <a:pt x="320" y="605"/>
                  <a:pt x="321" y="605"/>
                </a:cubicBezTo>
                <a:cubicBezTo>
                  <a:pt x="323" y="604"/>
                  <a:pt x="325" y="602"/>
                  <a:pt x="325" y="602"/>
                </a:cubicBezTo>
                <a:cubicBezTo>
                  <a:pt x="325" y="601"/>
                  <a:pt x="325" y="601"/>
                  <a:pt x="325" y="601"/>
                </a:cubicBezTo>
                <a:cubicBezTo>
                  <a:pt x="329" y="600"/>
                  <a:pt x="327" y="609"/>
                  <a:pt x="325" y="607"/>
                </a:cubicBezTo>
                <a:cubicBezTo>
                  <a:pt x="325" y="607"/>
                  <a:pt x="324" y="605"/>
                  <a:pt x="324" y="605"/>
                </a:cubicBezTo>
                <a:cubicBezTo>
                  <a:pt x="323" y="605"/>
                  <a:pt x="319" y="608"/>
                  <a:pt x="318" y="609"/>
                </a:cubicBezTo>
                <a:cubicBezTo>
                  <a:pt x="317" y="609"/>
                  <a:pt x="316" y="609"/>
                  <a:pt x="316" y="610"/>
                </a:cubicBezTo>
                <a:cubicBezTo>
                  <a:pt x="316" y="610"/>
                  <a:pt x="317" y="612"/>
                  <a:pt x="316" y="613"/>
                </a:cubicBezTo>
                <a:cubicBezTo>
                  <a:pt x="316" y="613"/>
                  <a:pt x="315" y="614"/>
                  <a:pt x="315" y="614"/>
                </a:cubicBezTo>
                <a:cubicBezTo>
                  <a:pt x="315" y="614"/>
                  <a:pt x="313" y="617"/>
                  <a:pt x="313" y="618"/>
                </a:cubicBezTo>
                <a:cubicBezTo>
                  <a:pt x="314" y="618"/>
                  <a:pt x="315" y="618"/>
                  <a:pt x="315" y="617"/>
                </a:cubicBezTo>
                <a:cubicBezTo>
                  <a:pt x="315" y="617"/>
                  <a:pt x="316" y="619"/>
                  <a:pt x="315" y="620"/>
                </a:cubicBezTo>
                <a:cubicBezTo>
                  <a:pt x="315" y="620"/>
                  <a:pt x="315" y="620"/>
                  <a:pt x="315" y="620"/>
                </a:cubicBezTo>
                <a:cubicBezTo>
                  <a:pt x="315" y="621"/>
                  <a:pt x="315" y="621"/>
                  <a:pt x="316" y="621"/>
                </a:cubicBezTo>
                <a:cubicBezTo>
                  <a:pt x="316" y="621"/>
                  <a:pt x="316" y="620"/>
                  <a:pt x="317" y="619"/>
                </a:cubicBezTo>
                <a:cubicBezTo>
                  <a:pt x="317" y="620"/>
                  <a:pt x="316" y="620"/>
                  <a:pt x="316" y="619"/>
                </a:cubicBezTo>
                <a:cubicBezTo>
                  <a:pt x="316" y="618"/>
                  <a:pt x="316" y="618"/>
                  <a:pt x="316" y="618"/>
                </a:cubicBezTo>
                <a:cubicBezTo>
                  <a:pt x="316" y="617"/>
                  <a:pt x="317" y="616"/>
                  <a:pt x="318" y="617"/>
                </a:cubicBezTo>
                <a:cubicBezTo>
                  <a:pt x="318" y="618"/>
                  <a:pt x="318" y="618"/>
                  <a:pt x="317" y="618"/>
                </a:cubicBezTo>
                <a:cubicBezTo>
                  <a:pt x="317" y="618"/>
                  <a:pt x="317" y="618"/>
                  <a:pt x="317" y="618"/>
                </a:cubicBezTo>
                <a:cubicBezTo>
                  <a:pt x="318" y="618"/>
                  <a:pt x="318" y="618"/>
                  <a:pt x="318" y="618"/>
                </a:cubicBezTo>
                <a:cubicBezTo>
                  <a:pt x="318" y="619"/>
                  <a:pt x="318" y="619"/>
                  <a:pt x="317" y="619"/>
                </a:cubicBezTo>
                <a:cubicBezTo>
                  <a:pt x="319" y="618"/>
                  <a:pt x="320" y="618"/>
                  <a:pt x="321" y="620"/>
                </a:cubicBezTo>
                <a:cubicBezTo>
                  <a:pt x="322" y="621"/>
                  <a:pt x="321" y="623"/>
                  <a:pt x="320" y="623"/>
                </a:cubicBezTo>
                <a:cubicBezTo>
                  <a:pt x="320" y="623"/>
                  <a:pt x="320" y="623"/>
                  <a:pt x="320" y="623"/>
                </a:cubicBezTo>
                <a:cubicBezTo>
                  <a:pt x="322" y="623"/>
                  <a:pt x="320" y="624"/>
                  <a:pt x="321" y="624"/>
                </a:cubicBezTo>
                <a:cubicBezTo>
                  <a:pt x="321" y="625"/>
                  <a:pt x="322" y="624"/>
                  <a:pt x="322" y="624"/>
                </a:cubicBezTo>
                <a:cubicBezTo>
                  <a:pt x="322" y="624"/>
                  <a:pt x="322" y="624"/>
                  <a:pt x="322" y="624"/>
                </a:cubicBezTo>
                <a:cubicBezTo>
                  <a:pt x="323" y="624"/>
                  <a:pt x="323" y="624"/>
                  <a:pt x="324" y="624"/>
                </a:cubicBezTo>
                <a:cubicBezTo>
                  <a:pt x="326" y="625"/>
                  <a:pt x="323" y="629"/>
                  <a:pt x="324" y="631"/>
                </a:cubicBezTo>
                <a:cubicBezTo>
                  <a:pt x="325" y="631"/>
                  <a:pt x="326" y="631"/>
                  <a:pt x="327" y="631"/>
                </a:cubicBezTo>
                <a:cubicBezTo>
                  <a:pt x="328" y="630"/>
                  <a:pt x="328" y="629"/>
                  <a:pt x="329" y="628"/>
                </a:cubicBezTo>
                <a:cubicBezTo>
                  <a:pt x="328" y="627"/>
                  <a:pt x="327" y="626"/>
                  <a:pt x="328" y="624"/>
                </a:cubicBezTo>
                <a:cubicBezTo>
                  <a:pt x="330" y="620"/>
                  <a:pt x="335" y="622"/>
                  <a:pt x="336" y="625"/>
                </a:cubicBezTo>
                <a:cubicBezTo>
                  <a:pt x="337" y="625"/>
                  <a:pt x="337" y="625"/>
                  <a:pt x="338" y="624"/>
                </a:cubicBezTo>
                <a:cubicBezTo>
                  <a:pt x="338" y="624"/>
                  <a:pt x="337" y="625"/>
                  <a:pt x="337" y="625"/>
                </a:cubicBezTo>
                <a:cubicBezTo>
                  <a:pt x="339" y="624"/>
                  <a:pt x="342" y="623"/>
                  <a:pt x="344" y="624"/>
                </a:cubicBezTo>
                <a:cubicBezTo>
                  <a:pt x="345" y="624"/>
                  <a:pt x="347" y="624"/>
                  <a:pt x="347" y="624"/>
                </a:cubicBezTo>
                <a:cubicBezTo>
                  <a:pt x="347" y="625"/>
                  <a:pt x="346" y="625"/>
                  <a:pt x="345" y="625"/>
                </a:cubicBezTo>
                <a:cubicBezTo>
                  <a:pt x="345" y="625"/>
                  <a:pt x="345" y="626"/>
                  <a:pt x="345" y="626"/>
                </a:cubicBezTo>
                <a:cubicBezTo>
                  <a:pt x="345" y="627"/>
                  <a:pt x="345" y="628"/>
                  <a:pt x="345" y="629"/>
                </a:cubicBezTo>
                <a:cubicBezTo>
                  <a:pt x="347" y="629"/>
                  <a:pt x="348" y="630"/>
                  <a:pt x="346" y="632"/>
                </a:cubicBezTo>
                <a:cubicBezTo>
                  <a:pt x="345" y="634"/>
                  <a:pt x="346" y="636"/>
                  <a:pt x="346" y="636"/>
                </a:cubicBezTo>
                <a:cubicBezTo>
                  <a:pt x="346" y="637"/>
                  <a:pt x="345" y="637"/>
                  <a:pt x="345" y="638"/>
                </a:cubicBezTo>
                <a:cubicBezTo>
                  <a:pt x="347" y="637"/>
                  <a:pt x="349" y="635"/>
                  <a:pt x="351" y="634"/>
                </a:cubicBezTo>
                <a:cubicBezTo>
                  <a:pt x="349" y="632"/>
                  <a:pt x="347" y="629"/>
                  <a:pt x="351" y="627"/>
                </a:cubicBezTo>
                <a:cubicBezTo>
                  <a:pt x="352" y="627"/>
                  <a:pt x="352" y="627"/>
                  <a:pt x="353" y="627"/>
                </a:cubicBezTo>
                <a:cubicBezTo>
                  <a:pt x="352" y="627"/>
                  <a:pt x="353" y="622"/>
                  <a:pt x="355" y="624"/>
                </a:cubicBezTo>
                <a:cubicBezTo>
                  <a:pt x="356" y="625"/>
                  <a:pt x="355" y="626"/>
                  <a:pt x="355" y="626"/>
                </a:cubicBezTo>
                <a:cubicBezTo>
                  <a:pt x="354" y="627"/>
                  <a:pt x="354" y="627"/>
                  <a:pt x="354" y="627"/>
                </a:cubicBezTo>
                <a:cubicBezTo>
                  <a:pt x="356" y="627"/>
                  <a:pt x="358" y="627"/>
                  <a:pt x="359" y="626"/>
                </a:cubicBezTo>
                <a:cubicBezTo>
                  <a:pt x="362" y="624"/>
                  <a:pt x="361" y="624"/>
                  <a:pt x="363" y="625"/>
                </a:cubicBezTo>
                <a:cubicBezTo>
                  <a:pt x="363" y="626"/>
                  <a:pt x="363" y="627"/>
                  <a:pt x="365" y="626"/>
                </a:cubicBezTo>
                <a:cubicBezTo>
                  <a:pt x="365" y="626"/>
                  <a:pt x="369" y="622"/>
                  <a:pt x="368" y="625"/>
                </a:cubicBezTo>
                <a:cubicBezTo>
                  <a:pt x="368" y="626"/>
                  <a:pt x="367" y="626"/>
                  <a:pt x="367" y="626"/>
                </a:cubicBezTo>
                <a:cubicBezTo>
                  <a:pt x="367" y="627"/>
                  <a:pt x="371" y="627"/>
                  <a:pt x="372" y="628"/>
                </a:cubicBezTo>
                <a:cubicBezTo>
                  <a:pt x="372" y="629"/>
                  <a:pt x="367" y="630"/>
                  <a:pt x="370" y="632"/>
                </a:cubicBezTo>
                <a:cubicBezTo>
                  <a:pt x="370" y="633"/>
                  <a:pt x="371" y="633"/>
                  <a:pt x="371" y="633"/>
                </a:cubicBezTo>
                <a:cubicBezTo>
                  <a:pt x="371" y="633"/>
                  <a:pt x="370" y="633"/>
                  <a:pt x="370" y="634"/>
                </a:cubicBezTo>
                <a:cubicBezTo>
                  <a:pt x="369" y="635"/>
                  <a:pt x="369" y="636"/>
                  <a:pt x="370" y="636"/>
                </a:cubicBezTo>
                <a:cubicBezTo>
                  <a:pt x="371" y="636"/>
                  <a:pt x="372" y="636"/>
                  <a:pt x="372" y="637"/>
                </a:cubicBezTo>
                <a:cubicBezTo>
                  <a:pt x="372" y="638"/>
                  <a:pt x="372" y="638"/>
                  <a:pt x="371" y="638"/>
                </a:cubicBezTo>
                <a:cubicBezTo>
                  <a:pt x="371" y="639"/>
                  <a:pt x="370" y="639"/>
                  <a:pt x="370" y="639"/>
                </a:cubicBezTo>
                <a:cubicBezTo>
                  <a:pt x="371" y="640"/>
                  <a:pt x="372" y="640"/>
                  <a:pt x="373" y="640"/>
                </a:cubicBezTo>
                <a:cubicBezTo>
                  <a:pt x="373" y="642"/>
                  <a:pt x="371" y="643"/>
                  <a:pt x="371" y="644"/>
                </a:cubicBezTo>
                <a:cubicBezTo>
                  <a:pt x="372" y="647"/>
                  <a:pt x="375" y="644"/>
                  <a:pt x="377" y="645"/>
                </a:cubicBezTo>
                <a:cubicBezTo>
                  <a:pt x="378" y="645"/>
                  <a:pt x="379" y="648"/>
                  <a:pt x="381" y="646"/>
                </a:cubicBezTo>
                <a:cubicBezTo>
                  <a:pt x="382" y="645"/>
                  <a:pt x="381" y="642"/>
                  <a:pt x="385" y="641"/>
                </a:cubicBezTo>
                <a:cubicBezTo>
                  <a:pt x="386" y="641"/>
                  <a:pt x="391" y="640"/>
                  <a:pt x="392" y="642"/>
                </a:cubicBezTo>
                <a:cubicBezTo>
                  <a:pt x="392" y="643"/>
                  <a:pt x="390" y="642"/>
                  <a:pt x="389" y="643"/>
                </a:cubicBezTo>
                <a:cubicBezTo>
                  <a:pt x="388" y="644"/>
                  <a:pt x="390" y="646"/>
                  <a:pt x="390" y="646"/>
                </a:cubicBezTo>
                <a:cubicBezTo>
                  <a:pt x="389" y="648"/>
                  <a:pt x="387" y="647"/>
                  <a:pt x="386" y="648"/>
                </a:cubicBezTo>
                <a:cubicBezTo>
                  <a:pt x="386" y="648"/>
                  <a:pt x="387" y="648"/>
                  <a:pt x="387" y="649"/>
                </a:cubicBezTo>
                <a:cubicBezTo>
                  <a:pt x="387" y="649"/>
                  <a:pt x="386" y="649"/>
                  <a:pt x="386" y="649"/>
                </a:cubicBezTo>
                <a:cubicBezTo>
                  <a:pt x="386" y="651"/>
                  <a:pt x="387" y="652"/>
                  <a:pt x="385" y="653"/>
                </a:cubicBezTo>
                <a:cubicBezTo>
                  <a:pt x="385" y="653"/>
                  <a:pt x="385" y="653"/>
                  <a:pt x="385" y="653"/>
                </a:cubicBezTo>
                <a:cubicBezTo>
                  <a:pt x="385" y="653"/>
                  <a:pt x="385" y="654"/>
                  <a:pt x="385" y="654"/>
                </a:cubicBezTo>
                <a:cubicBezTo>
                  <a:pt x="385" y="654"/>
                  <a:pt x="386" y="655"/>
                  <a:pt x="384" y="656"/>
                </a:cubicBezTo>
                <a:cubicBezTo>
                  <a:pt x="383" y="656"/>
                  <a:pt x="383" y="656"/>
                  <a:pt x="383" y="656"/>
                </a:cubicBezTo>
                <a:cubicBezTo>
                  <a:pt x="383" y="656"/>
                  <a:pt x="384" y="657"/>
                  <a:pt x="384" y="657"/>
                </a:cubicBezTo>
                <a:cubicBezTo>
                  <a:pt x="385" y="657"/>
                  <a:pt x="386" y="657"/>
                  <a:pt x="386" y="657"/>
                </a:cubicBezTo>
                <a:cubicBezTo>
                  <a:pt x="387" y="657"/>
                  <a:pt x="387" y="658"/>
                  <a:pt x="387" y="658"/>
                </a:cubicBezTo>
                <a:cubicBezTo>
                  <a:pt x="387" y="658"/>
                  <a:pt x="387" y="659"/>
                  <a:pt x="386" y="659"/>
                </a:cubicBezTo>
                <a:cubicBezTo>
                  <a:pt x="386" y="660"/>
                  <a:pt x="386" y="661"/>
                  <a:pt x="386" y="661"/>
                </a:cubicBezTo>
                <a:cubicBezTo>
                  <a:pt x="385" y="662"/>
                  <a:pt x="382" y="661"/>
                  <a:pt x="380" y="662"/>
                </a:cubicBezTo>
                <a:cubicBezTo>
                  <a:pt x="381" y="660"/>
                  <a:pt x="381" y="659"/>
                  <a:pt x="379" y="660"/>
                </a:cubicBezTo>
                <a:cubicBezTo>
                  <a:pt x="377" y="661"/>
                  <a:pt x="379" y="661"/>
                  <a:pt x="379" y="662"/>
                </a:cubicBezTo>
                <a:cubicBezTo>
                  <a:pt x="379" y="662"/>
                  <a:pt x="377" y="662"/>
                  <a:pt x="378" y="663"/>
                </a:cubicBezTo>
                <a:cubicBezTo>
                  <a:pt x="378" y="663"/>
                  <a:pt x="378" y="663"/>
                  <a:pt x="378" y="663"/>
                </a:cubicBezTo>
                <a:cubicBezTo>
                  <a:pt x="380" y="663"/>
                  <a:pt x="383" y="663"/>
                  <a:pt x="384" y="663"/>
                </a:cubicBezTo>
                <a:cubicBezTo>
                  <a:pt x="384" y="663"/>
                  <a:pt x="384" y="663"/>
                  <a:pt x="384" y="663"/>
                </a:cubicBezTo>
                <a:cubicBezTo>
                  <a:pt x="384" y="663"/>
                  <a:pt x="384" y="663"/>
                  <a:pt x="384" y="663"/>
                </a:cubicBezTo>
                <a:cubicBezTo>
                  <a:pt x="385" y="662"/>
                  <a:pt x="385" y="663"/>
                  <a:pt x="384" y="664"/>
                </a:cubicBezTo>
                <a:cubicBezTo>
                  <a:pt x="385" y="664"/>
                  <a:pt x="385" y="665"/>
                  <a:pt x="385" y="666"/>
                </a:cubicBezTo>
                <a:cubicBezTo>
                  <a:pt x="385" y="668"/>
                  <a:pt x="382" y="668"/>
                  <a:pt x="379" y="668"/>
                </a:cubicBezTo>
                <a:cubicBezTo>
                  <a:pt x="379" y="669"/>
                  <a:pt x="380" y="670"/>
                  <a:pt x="379" y="671"/>
                </a:cubicBezTo>
                <a:cubicBezTo>
                  <a:pt x="378" y="673"/>
                  <a:pt x="375" y="673"/>
                  <a:pt x="376" y="674"/>
                </a:cubicBezTo>
                <a:cubicBezTo>
                  <a:pt x="374" y="673"/>
                  <a:pt x="372" y="674"/>
                  <a:pt x="371" y="673"/>
                </a:cubicBezTo>
                <a:cubicBezTo>
                  <a:pt x="368" y="671"/>
                  <a:pt x="369" y="671"/>
                  <a:pt x="365" y="671"/>
                </a:cubicBezTo>
                <a:cubicBezTo>
                  <a:pt x="365" y="671"/>
                  <a:pt x="364" y="671"/>
                  <a:pt x="363" y="671"/>
                </a:cubicBezTo>
                <a:cubicBezTo>
                  <a:pt x="360" y="671"/>
                  <a:pt x="361" y="672"/>
                  <a:pt x="362" y="674"/>
                </a:cubicBezTo>
                <a:cubicBezTo>
                  <a:pt x="359" y="672"/>
                  <a:pt x="360" y="674"/>
                  <a:pt x="362" y="675"/>
                </a:cubicBezTo>
                <a:cubicBezTo>
                  <a:pt x="362" y="675"/>
                  <a:pt x="362" y="675"/>
                  <a:pt x="362" y="675"/>
                </a:cubicBezTo>
                <a:cubicBezTo>
                  <a:pt x="362" y="675"/>
                  <a:pt x="362" y="675"/>
                  <a:pt x="362" y="676"/>
                </a:cubicBezTo>
                <a:cubicBezTo>
                  <a:pt x="362" y="676"/>
                  <a:pt x="363" y="676"/>
                  <a:pt x="363" y="676"/>
                </a:cubicBezTo>
                <a:cubicBezTo>
                  <a:pt x="363" y="676"/>
                  <a:pt x="365" y="674"/>
                  <a:pt x="365" y="675"/>
                </a:cubicBezTo>
                <a:cubicBezTo>
                  <a:pt x="366" y="676"/>
                  <a:pt x="361" y="679"/>
                  <a:pt x="365" y="680"/>
                </a:cubicBezTo>
                <a:cubicBezTo>
                  <a:pt x="359" y="680"/>
                  <a:pt x="366" y="684"/>
                  <a:pt x="368" y="686"/>
                </a:cubicBezTo>
                <a:cubicBezTo>
                  <a:pt x="369" y="687"/>
                  <a:pt x="369" y="689"/>
                  <a:pt x="370" y="690"/>
                </a:cubicBezTo>
                <a:cubicBezTo>
                  <a:pt x="370" y="691"/>
                  <a:pt x="371" y="692"/>
                  <a:pt x="370" y="692"/>
                </a:cubicBezTo>
                <a:cubicBezTo>
                  <a:pt x="370" y="692"/>
                  <a:pt x="370" y="692"/>
                  <a:pt x="370" y="692"/>
                </a:cubicBezTo>
                <a:cubicBezTo>
                  <a:pt x="371" y="693"/>
                  <a:pt x="371" y="694"/>
                  <a:pt x="372" y="694"/>
                </a:cubicBezTo>
                <a:cubicBezTo>
                  <a:pt x="372" y="694"/>
                  <a:pt x="372" y="694"/>
                  <a:pt x="372" y="694"/>
                </a:cubicBezTo>
                <a:cubicBezTo>
                  <a:pt x="373" y="694"/>
                  <a:pt x="373" y="694"/>
                  <a:pt x="373" y="694"/>
                </a:cubicBezTo>
                <a:cubicBezTo>
                  <a:pt x="374" y="693"/>
                  <a:pt x="376" y="692"/>
                  <a:pt x="377" y="693"/>
                </a:cubicBezTo>
                <a:cubicBezTo>
                  <a:pt x="378" y="692"/>
                  <a:pt x="379" y="694"/>
                  <a:pt x="379" y="695"/>
                </a:cubicBezTo>
                <a:cubicBezTo>
                  <a:pt x="380" y="695"/>
                  <a:pt x="381" y="694"/>
                  <a:pt x="382" y="695"/>
                </a:cubicBezTo>
                <a:cubicBezTo>
                  <a:pt x="383" y="695"/>
                  <a:pt x="381" y="695"/>
                  <a:pt x="379" y="695"/>
                </a:cubicBezTo>
                <a:cubicBezTo>
                  <a:pt x="379" y="696"/>
                  <a:pt x="379" y="697"/>
                  <a:pt x="378" y="697"/>
                </a:cubicBezTo>
                <a:cubicBezTo>
                  <a:pt x="380" y="698"/>
                  <a:pt x="382" y="698"/>
                  <a:pt x="382" y="698"/>
                </a:cubicBezTo>
                <a:cubicBezTo>
                  <a:pt x="382" y="698"/>
                  <a:pt x="382" y="698"/>
                  <a:pt x="383" y="698"/>
                </a:cubicBezTo>
                <a:cubicBezTo>
                  <a:pt x="382" y="698"/>
                  <a:pt x="381" y="697"/>
                  <a:pt x="380" y="697"/>
                </a:cubicBezTo>
                <a:cubicBezTo>
                  <a:pt x="381" y="697"/>
                  <a:pt x="383" y="697"/>
                  <a:pt x="384" y="697"/>
                </a:cubicBezTo>
                <a:cubicBezTo>
                  <a:pt x="384" y="697"/>
                  <a:pt x="384" y="697"/>
                  <a:pt x="385" y="697"/>
                </a:cubicBezTo>
                <a:cubicBezTo>
                  <a:pt x="384" y="696"/>
                  <a:pt x="385" y="695"/>
                  <a:pt x="386" y="696"/>
                </a:cubicBezTo>
                <a:cubicBezTo>
                  <a:pt x="387" y="695"/>
                  <a:pt x="388" y="695"/>
                  <a:pt x="389" y="696"/>
                </a:cubicBezTo>
                <a:cubicBezTo>
                  <a:pt x="389" y="696"/>
                  <a:pt x="388" y="696"/>
                  <a:pt x="387" y="697"/>
                </a:cubicBezTo>
                <a:cubicBezTo>
                  <a:pt x="387" y="697"/>
                  <a:pt x="388" y="699"/>
                  <a:pt x="387" y="698"/>
                </a:cubicBezTo>
                <a:cubicBezTo>
                  <a:pt x="387" y="698"/>
                  <a:pt x="387" y="698"/>
                  <a:pt x="387" y="698"/>
                </a:cubicBezTo>
                <a:cubicBezTo>
                  <a:pt x="387" y="697"/>
                  <a:pt x="387" y="697"/>
                  <a:pt x="387" y="697"/>
                </a:cubicBezTo>
                <a:cubicBezTo>
                  <a:pt x="386" y="697"/>
                  <a:pt x="386" y="698"/>
                  <a:pt x="385" y="698"/>
                </a:cubicBezTo>
                <a:cubicBezTo>
                  <a:pt x="386" y="698"/>
                  <a:pt x="387" y="699"/>
                  <a:pt x="387" y="699"/>
                </a:cubicBezTo>
                <a:cubicBezTo>
                  <a:pt x="387" y="700"/>
                  <a:pt x="386" y="699"/>
                  <a:pt x="385" y="699"/>
                </a:cubicBezTo>
                <a:cubicBezTo>
                  <a:pt x="385" y="699"/>
                  <a:pt x="385" y="700"/>
                  <a:pt x="385" y="700"/>
                </a:cubicBezTo>
                <a:cubicBezTo>
                  <a:pt x="386" y="700"/>
                  <a:pt x="387" y="699"/>
                  <a:pt x="388" y="700"/>
                </a:cubicBezTo>
                <a:cubicBezTo>
                  <a:pt x="389" y="700"/>
                  <a:pt x="388" y="704"/>
                  <a:pt x="391" y="702"/>
                </a:cubicBezTo>
                <a:cubicBezTo>
                  <a:pt x="392" y="702"/>
                  <a:pt x="391" y="701"/>
                  <a:pt x="391" y="701"/>
                </a:cubicBezTo>
                <a:cubicBezTo>
                  <a:pt x="391" y="701"/>
                  <a:pt x="391" y="700"/>
                  <a:pt x="391" y="700"/>
                </a:cubicBezTo>
                <a:cubicBezTo>
                  <a:pt x="390" y="700"/>
                  <a:pt x="390" y="700"/>
                  <a:pt x="390" y="700"/>
                </a:cubicBezTo>
                <a:cubicBezTo>
                  <a:pt x="389" y="699"/>
                  <a:pt x="391" y="698"/>
                  <a:pt x="391" y="699"/>
                </a:cubicBezTo>
                <a:cubicBezTo>
                  <a:pt x="391" y="699"/>
                  <a:pt x="391" y="699"/>
                  <a:pt x="391" y="699"/>
                </a:cubicBezTo>
                <a:cubicBezTo>
                  <a:pt x="392" y="699"/>
                  <a:pt x="395" y="701"/>
                  <a:pt x="397" y="701"/>
                </a:cubicBezTo>
                <a:cubicBezTo>
                  <a:pt x="395" y="702"/>
                  <a:pt x="396" y="703"/>
                  <a:pt x="397" y="704"/>
                </a:cubicBezTo>
                <a:cubicBezTo>
                  <a:pt x="399" y="704"/>
                  <a:pt x="401" y="703"/>
                  <a:pt x="403" y="702"/>
                </a:cubicBezTo>
                <a:cubicBezTo>
                  <a:pt x="402" y="704"/>
                  <a:pt x="399" y="704"/>
                  <a:pt x="397" y="704"/>
                </a:cubicBezTo>
                <a:cubicBezTo>
                  <a:pt x="398" y="705"/>
                  <a:pt x="398" y="706"/>
                  <a:pt x="397" y="707"/>
                </a:cubicBezTo>
                <a:cubicBezTo>
                  <a:pt x="396" y="708"/>
                  <a:pt x="392" y="706"/>
                  <a:pt x="391" y="708"/>
                </a:cubicBezTo>
                <a:cubicBezTo>
                  <a:pt x="391" y="708"/>
                  <a:pt x="392" y="708"/>
                  <a:pt x="392" y="709"/>
                </a:cubicBezTo>
                <a:cubicBezTo>
                  <a:pt x="392" y="710"/>
                  <a:pt x="389" y="711"/>
                  <a:pt x="392" y="712"/>
                </a:cubicBezTo>
                <a:cubicBezTo>
                  <a:pt x="392" y="712"/>
                  <a:pt x="397" y="714"/>
                  <a:pt x="398" y="714"/>
                </a:cubicBezTo>
                <a:cubicBezTo>
                  <a:pt x="401" y="715"/>
                  <a:pt x="403" y="715"/>
                  <a:pt x="406" y="717"/>
                </a:cubicBezTo>
                <a:cubicBezTo>
                  <a:pt x="402" y="716"/>
                  <a:pt x="401" y="718"/>
                  <a:pt x="397" y="718"/>
                </a:cubicBezTo>
                <a:cubicBezTo>
                  <a:pt x="394" y="718"/>
                  <a:pt x="391" y="714"/>
                  <a:pt x="388" y="714"/>
                </a:cubicBezTo>
                <a:cubicBezTo>
                  <a:pt x="388" y="714"/>
                  <a:pt x="384" y="717"/>
                  <a:pt x="383" y="717"/>
                </a:cubicBezTo>
                <a:cubicBezTo>
                  <a:pt x="382" y="717"/>
                  <a:pt x="381" y="715"/>
                  <a:pt x="381" y="716"/>
                </a:cubicBezTo>
                <a:cubicBezTo>
                  <a:pt x="381" y="717"/>
                  <a:pt x="382" y="717"/>
                  <a:pt x="382" y="717"/>
                </a:cubicBezTo>
                <a:cubicBezTo>
                  <a:pt x="382" y="717"/>
                  <a:pt x="382" y="717"/>
                  <a:pt x="383" y="717"/>
                </a:cubicBezTo>
                <a:cubicBezTo>
                  <a:pt x="383" y="717"/>
                  <a:pt x="384" y="717"/>
                  <a:pt x="386" y="717"/>
                </a:cubicBezTo>
                <a:cubicBezTo>
                  <a:pt x="386" y="717"/>
                  <a:pt x="386" y="717"/>
                  <a:pt x="386" y="717"/>
                </a:cubicBezTo>
                <a:cubicBezTo>
                  <a:pt x="386" y="717"/>
                  <a:pt x="386" y="717"/>
                  <a:pt x="386" y="717"/>
                </a:cubicBezTo>
                <a:cubicBezTo>
                  <a:pt x="387" y="717"/>
                  <a:pt x="388" y="718"/>
                  <a:pt x="388" y="718"/>
                </a:cubicBezTo>
                <a:cubicBezTo>
                  <a:pt x="388" y="718"/>
                  <a:pt x="388" y="719"/>
                  <a:pt x="388" y="719"/>
                </a:cubicBezTo>
                <a:cubicBezTo>
                  <a:pt x="387" y="720"/>
                  <a:pt x="386" y="721"/>
                  <a:pt x="385" y="721"/>
                </a:cubicBezTo>
                <a:cubicBezTo>
                  <a:pt x="384" y="721"/>
                  <a:pt x="382" y="720"/>
                  <a:pt x="382" y="718"/>
                </a:cubicBezTo>
                <a:cubicBezTo>
                  <a:pt x="382" y="719"/>
                  <a:pt x="382" y="718"/>
                  <a:pt x="382" y="719"/>
                </a:cubicBezTo>
                <a:cubicBezTo>
                  <a:pt x="382" y="719"/>
                  <a:pt x="380" y="720"/>
                  <a:pt x="379" y="719"/>
                </a:cubicBezTo>
                <a:cubicBezTo>
                  <a:pt x="379" y="720"/>
                  <a:pt x="379" y="720"/>
                  <a:pt x="379" y="721"/>
                </a:cubicBezTo>
                <a:cubicBezTo>
                  <a:pt x="379" y="721"/>
                  <a:pt x="380" y="720"/>
                  <a:pt x="380" y="720"/>
                </a:cubicBezTo>
                <a:cubicBezTo>
                  <a:pt x="380" y="720"/>
                  <a:pt x="380" y="721"/>
                  <a:pt x="380" y="721"/>
                </a:cubicBezTo>
                <a:cubicBezTo>
                  <a:pt x="381" y="722"/>
                  <a:pt x="383" y="724"/>
                  <a:pt x="384" y="725"/>
                </a:cubicBezTo>
                <a:cubicBezTo>
                  <a:pt x="383" y="725"/>
                  <a:pt x="382" y="726"/>
                  <a:pt x="383" y="726"/>
                </a:cubicBezTo>
                <a:cubicBezTo>
                  <a:pt x="384" y="726"/>
                  <a:pt x="387" y="726"/>
                  <a:pt x="384" y="728"/>
                </a:cubicBezTo>
                <a:cubicBezTo>
                  <a:pt x="384" y="728"/>
                  <a:pt x="384" y="728"/>
                  <a:pt x="384" y="728"/>
                </a:cubicBezTo>
                <a:cubicBezTo>
                  <a:pt x="385" y="728"/>
                  <a:pt x="385" y="729"/>
                  <a:pt x="385" y="729"/>
                </a:cubicBezTo>
                <a:cubicBezTo>
                  <a:pt x="388" y="729"/>
                  <a:pt x="390" y="728"/>
                  <a:pt x="393" y="728"/>
                </a:cubicBezTo>
                <a:cubicBezTo>
                  <a:pt x="397" y="727"/>
                  <a:pt x="391" y="730"/>
                  <a:pt x="390" y="730"/>
                </a:cubicBezTo>
                <a:cubicBezTo>
                  <a:pt x="388" y="730"/>
                  <a:pt x="386" y="731"/>
                  <a:pt x="384" y="731"/>
                </a:cubicBezTo>
                <a:cubicBezTo>
                  <a:pt x="384" y="731"/>
                  <a:pt x="383" y="731"/>
                  <a:pt x="383" y="732"/>
                </a:cubicBezTo>
                <a:cubicBezTo>
                  <a:pt x="383" y="732"/>
                  <a:pt x="382" y="732"/>
                  <a:pt x="381" y="731"/>
                </a:cubicBezTo>
                <a:cubicBezTo>
                  <a:pt x="380" y="732"/>
                  <a:pt x="378" y="732"/>
                  <a:pt x="377" y="733"/>
                </a:cubicBezTo>
                <a:cubicBezTo>
                  <a:pt x="376" y="734"/>
                  <a:pt x="375" y="735"/>
                  <a:pt x="375" y="736"/>
                </a:cubicBezTo>
                <a:cubicBezTo>
                  <a:pt x="376" y="736"/>
                  <a:pt x="376" y="736"/>
                  <a:pt x="377" y="737"/>
                </a:cubicBezTo>
                <a:cubicBezTo>
                  <a:pt x="377" y="737"/>
                  <a:pt x="377" y="737"/>
                  <a:pt x="377" y="737"/>
                </a:cubicBezTo>
                <a:cubicBezTo>
                  <a:pt x="377" y="737"/>
                  <a:pt x="377" y="737"/>
                  <a:pt x="377" y="737"/>
                </a:cubicBezTo>
                <a:cubicBezTo>
                  <a:pt x="378" y="737"/>
                  <a:pt x="380" y="738"/>
                  <a:pt x="379" y="739"/>
                </a:cubicBezTo>
                <a:cubicBezTo>
                  <a:pt x="380" y="739"/>
                  <a:pt x="380" y="739"/>
                  <a:pt x="380" y="739"/>
                </a:cubicBezTo>
                <a:cubicBezTo>
                  <a:pt x="380" y="741"/>
                  <a:pt x="378" y="741"/>
                  <a:pt x="376" y="742"/>
                </a:cubicBezTo>
                <a:cubicBezTo>
                  <a:pt x="377" y="742"/>
                  <a:pt x="376" y="743"/>
                  <a:pt x="375" y="743"/>
                </a:cubicBezTo>
                <a:cubicBezTo>
                  <a:pt x="375" y="743"/>
                  <a:pt x="375" y="743"/>
                  <a:pt x="375" y="743"/>
                </a:cubicBezTo>
                <a:cubicBezTo>
                  <a:pt x="376" y="744"/>
                  <a:pt x="378" y="745"/>
                  <a:pt x="379" y="745"/>
                </a:cubicBezTo>
                <a:cubicBezTo>
                  <a:pt x="380" y="745"/>
                  <a:pt x="382" y="746"/>
                  <a:pt x="382" y="747"/>
                </a:cubicBezTo>
                <a:cubicBezTo>
                  <a:pt x="383" y="747"/>
                  <a:pt x="384" y="748"/>
                  <a:pt x="384" y="749"/>
                </a:cubicBezTo>
                <a:cubicBezTo>
                  <a:pt x="384" y="749"/>
                  <a:pt x="385" y="749"/>
                  <a:pt x="386" y="750"/>
                </a:cubicBezTo>
                <a:cubicBezTo>
                  <a:pt x="387" y="751"/>
                  <a:pt x="386" y="753"/>
                  <a:pt x="385" y="753"/>
                </a:cubicBezTo>
                <a:cubicBezTo>
                  <a:pt x="385" y="753"/>
                  <a:pt x="385" y="753"/>
                  <a:pt x="385" y="753"/>
                </a:cubicBezTo>
                <a:cubicBezTo>
                  <a:pt x="385" y="754"/>
                  <a:pt x="385" y="754"/>
                  <a:pt x="384" y="755"/>
                </a:cubicBezTo>
                <a:cubicBezTo>
                  <a:pt x="385" y="755"/>
                  <a:pt x="386" y="754"/>
                  <a:pt x="387" y="755"/>
                </a:cubicBezTo>
                <a:cubicBezTo>
                  <a:pt x="388" y="754"/>
                  <a:pt x="388" y="753"/>
                  <a:pt x="388" y="753"/>
                </a:cubicBezTo>
                <a:cubicBezTo>
                  <a:pt x="389" y="753"/>
                  <a:pt x="391" y="753"/>
                  <a:pt x="392" y="752"/>
                </a:cubicBezTo>
                <a:cubicBezTo>
                  <a:pt x="393" y="751"/>
                  <a:pt x="394" y="751"/>
                  <a:pt x="396" y="751"/>
                </a:cubicBezTo>
                <a:cubicBezTo>
                  <a:pt x="396" y="750"/>
                  <a:pt x="396" y="750"/>
                  <a:pt x="396" y="749"/>
                </a:cubicBezTo>
                <a:cubicBezTo>
                  <a:pt x="397" y="749"/>
                  <a:pt x="398" y="751"/>
                  <a:pt x="399" y="751"/>
                </a:cubicBezTo>
                <a:cubicBezTo>
                  <a:pt x="399" y="750"/>
                  <a:pt x="399" y="750"/>
                  <a:pt x="399" y="750"/>
                </a:cubicBezTo>
                <a:cubicBezTo>
                  <a:pt x="399" y="750"/>
                  <a:pt x="400" y="750"/>
                  <a:pt x="399" y="750"/>
                </a:cubicBezTo>
                <a:cubicBezTo>
                  <a:pt x="399" y="750"/>
                  <a:pt x="400" y="751"/>
                  <a:pt x="400" y="751"/>
                </a:cubicBezTo>
                <a:cubicBezTo>
                  <a:pt x="401" y="751"/>
                  <a:pt x="402" y="750"/>
                  <a:pt x="403" y="750"/>
                </a:cubicBezTo>
                <a:cubicBezTo>
                  <a:pt x="403" y="750"/>
                  <a:pt x="402" y="751"/>
                  <a:pt x="402" y="751"/>
                </a:cubicBezTo>
                <a:cubicBezTo>
                  <a:pt x="403" y="753"/>
                  <a:pt x="407" y="757"/>
                  <a:pt x="407" y="758"/>
                </a:cubicBezTo>
                <a:cubicBezTo>
                  <a:pt x="407" y="760"/>
                  <a:pt x="402" y="760"/>
                  <a:pt x="400" y="762"/>
                </a:cubicBezTo>
                <a:cubicBezTo>
                  <a:pt x="400" y="763"/>
                  <a:pt x="401" y="764"/>
                  <a:pt x="400" y="765"/>
                </a:cubicBezTo>
                <a:cubicBezTo>
                  <a:pt x="398" y="765"/>
                  <a:pt x="399" y="763"/>
                  <a:pt x="398" y="763"/>
                </a:cubicBezTo>
                <a:cubicBezTo>
                  <a:pt x="397" y="762"/>
                  <a:pt x="393" y="761"/>
                  <a:pt x="391" y="760"/>
                </a:cubicBezTo>
                <a:cubicBezTo>
                  <a:pt x="390" y="760"/>
                  <a:pt x="389" y="759"/>
                  <a:pt x="388" y="758"/>
                </a:cubicBezTo>
                <a:cubicBezTo>
                  <a:pt x="387" y="759"/>
                  <a:pt x="384" y="759"/>
                  <a:pt x="382" y="759"/>
                </a:cubicBezTo>
                <a:cubicBezTo>
                  <a:pt x="385" y="762"/>
                  <a:pt x="385" y="762"/>
                  <a:pt x="385" y="762"/>
                </a:cubicBezTo>
                <a:cubicBezTo>
                  <a:pt x="386" y="762"/>
                  <a:pt x="387" y="763"/>
                  <a:pt x="387" y="763"/>
                </a:cubicBezTo>
                <a:cubicBezTo>
                  <a:pt x="387" y="763"/>
                  <a:pt x="386" y="763"/>
                  <a:pt x="386" y="763"/>
                </a:cubicBezTo>
                <a:cubicBezTo>
                  <a:pt x="393" y="769"/>
                  <a:pt x="393" y="769"/>
                  <a:pt x="393" y="769"/>
                </a:cubicBezTo>
                <a:cubicBezTo>
                  <a:pt x="394" y="769"/>
                  <a:pt x="395" y="769"/>
                  <a:pt x="396" y="770"/>
                </a:cubicBezTo>
                <a:cubicBezTo>
                  <a:pt x="396" y="771"/>
                  <a:pt x="396" y="772"/>
                  <a:pt x="395" y="772"/>
                </a:cubicBezTo>
                <a:cubicBezTo>
                  <a:pt x="397" y="774"/>
                  <a:pt x="397" y="774"/>
                  <a:pt x="397" y="774"/>
                </a:cubicBezTo>
                <a:cubicBezTo>
                  <a:pt x="398" y="773"/>
                  <a:pt x="401" y="773"/>
                  <a:pt x="404" y="772"/>
                </a:cubicBezTo>
                <a:cubicBezTo>
                  <a:pt x="405" y="771"/>
                  <a:pt x="408" y="769"/>
                  <a:pt x="410" y="769"/>
                </a:cubicBezTo>
                <a:cubicBezTo>
                  <a:pt x="411" y="770"/>
                  <a:pt x="411" y="772"/>
                  <a:pt x="411" y="772"/>
                </a:cubicBezTo>
                <a:cubicBezTo>
                  <a:pt x="412" y="772"/>
                  <a:pt x="412" y="771"/>
                  <a:pt x="412" y="771"/>
                </a:cubicBezTo>
                <a:cubicBezTo>
                  <a:pt x="413" y="772"/>
                  <a:pt x="414" y="773"/>
                  <a:pt x="414" y="774"/>
                </a:cubicBezTo>
                <a:cubicBezTo>
                  <a:pt x="415" y="774"/>
                  <a:pt x="416" y="774"/>
                  <a:pt x="416" y="775"/>
                </a:cubicBezTo>
                <a:cubicBezTo>
                  <a:pt x="416" y="775"/>
                  <a:pt x="415" y="776"/>
                  <a:pt x="414" y="776"/>
                </a:cubicBezTo>
                <a:cubicBezTo>
                  <a:pt x="413" y="777"/>
                  <a:pt x="412" y="778"/>
                  <a:pt x="411" y="776"/>
                </a:cubicBezTo>
                <a:cubicBezTo>
                  <a:pt x="411" y="775"/>
                  <a:pt x="410" y="776"/>
                  <a:pt x="410" y="777"/>
                </a:cubicBezTo>
                <a:cubicBezTo>
                  <a:pt x="411" y="778"/>
                  <a:pt x="412" y="778"/>
                  <a:pt x="412" y="779"/>
                </a:cubicBezTo>
                <a:cubicBezTo>
                  <a:pt x="412" y="780"/>
                  <a:pt x="411" y="780"/>
                  <a:pt x="409" y="781"/>
                </a:cubicBezTo>
                <a:cubicBezTo>
                  <a:pt x="411" y="782"/>
                  <a:pt x="412" y="783"/>
                  <a:pt x="412" y="784"/>
                </a:cubicBezTo>
                <a:cubicBezTo>
                  <a:pt x="412" y="784"/>
                  <a:pt x="411" y="786"/>
                  <a:pt x="410" y="787"/>
                </a:cubicBezTo>
                <a:cubicBezTo>
                  <a:pt x="416" y="793"/>
                  <a:pt x="416" y="793"/>
                  <a:pt x="416" y="793"/>
                </a:cubicBezTo>
                <a:cubicBezTo>
                  <a:pt x="435" y="774"/>
                  <a:pt x="435" y="774"/>
                  <a:pt x="435" y="774"/>
                </a:cubicBezTo>
                <a:cubicBezTo>
                  <a:pt x="435" y="773"/>
                  <a:pt x="435" y="773"/>
                  <a:pt x="436" y="773"/>
                </a:cubicBezTo>
                <a:cubicBezTo>
                  <a:pt x="454" y="755"/>
                  <a:pt x="454" y="755"/>
                  <a:pt x="454" y="755"/>
                </a:cubicBezTo>
                <a:cubicBezTo>
                  <a:pt x="454" y="755"/>
                  <a:pt x="454" y="755"/>
                  <a:pt x="454" y="754"/>
                </a:cubicBezTo>
                <a:cubicBezTo>
                  <a:pt x="453" y="754"/>
                  <a:pt x="454" y="754"/>
                  <a:pt x="455" y="754"/>
                </a:cubicBezTo>
                <a:cubicBezTo>
                  <a:pt x="494" y="715"/>
                  <a:pt x="494" y="715"/>
                  <a:pt x="494" y="715"/>
                </a:cubicBezTo>
                <a:cubicBezTo>
                  <a:pt x="494" y="715"/>
                  <a:pt x="493" y="715"/>
                  <a:pt x="493" y="715"/>
                </a:cubicBezTo>
                <a:cubicBezTo>
                  <a:pt x="493" y="715"/>
                  <a:pt x="494" y="715"/>
                  <a:pt x="494" y="715"/>
                </a:cubicBezTo>
                <a:cubicBezTo>
                  <a:pt x="805" y="403"/>
                  <a:pt x="805" y="403"/>
                  <a:pt x="805" y="403"/>
                </a:cubicBezTo>
                <a:cubicBezTo>
                  <a:pt x="804" y="403"/>
                  <a:pt x="806" y="402"/>
                  <a:pt x="806" y="403"/>
                </a:cubicBezTo>
                <a:cubicBezTo>
                  <a:pt x="809" y="400"/>
                  <a:pt x="809" y="400"/>
                  <a:pt x="809" y="400"/>
                </a:cubicBezTo>
                <a:cubicBezTo>
                  <a:pt x="808" y="398"/>
                  <a:pt x="807" y="397"/>
                  <a:pt x="806" y="396"/>
                </a:cubicBezTo>
                <a:cubicBezTo>
                  <a:pt x="806" y="394"/>
                  <a:pt x="806" y="392"/>
                  <a:pt x="808" y="391"/>
                </a:cubicBezTo>
                <a:cubicBezTo>
                  <a:pt x="810" y="389"/>
                  <a:pt x="812" y="393"/>
                  <a:pt x="813" y="396"/>
                </a:cubicBezTo>
                <a:cubicBezTo>
                  <a:pt x="824" y="384"/>
                  <a:pt x="824" y="384"/>
                  <a:pt x="824" y="384"/>
                </a:cubicBezTo>
                <a:cubicBezTo>
                  <a:pt x="824" y="380"/>
                  <a:pt x="819" y="373"/>
                  <a:pt x="822" y="371"/>
                </a:cubicBezTo>
                <a:cubicBezTo>
                  <a:pt x="823" y="370"/>
                  <a:pt x="825" y="379"/>
                  <a:pt x="825" y="383"/>
                </a:cubicBezTo>
                <a:cubicBezTo>
                  <a:pt x="832" y="377"/>
                  <a:pt x="832" y="377"/>
                  <a:pt x="832" y="377"/>
                </a:cubicBezTo>
                <a:cubicBezTo>
                  <a:pt x="801" y="346"/>
                  <a:pt x="801" y="346"/>
                  <a:pt x="801" y="346"/>
                </a:cubicBezTo>
                <a:cubicBezTo>
                  <a:pt x="801" y="347"/>
                  <a:pt x="801" y="348"/>
                  <a:pt x="800" y="348"/>
                </a:cubicBezTo>
                <a:cubicBezTo>
                  <a:pt x="799" y="349"/>
                  <a:pt x="799" y="346"/>
                  <a:pt x="800" y="345"/>
                </a:cubicBezTo>
                <a:cubicBezTo>
                  <a:pt x="787" y="332"/>
                  <a:pt x="787" y="332"/>
                  <a:pt x="787" y="332"/>
                </a:cubicBezTo>
                <a:cubicBezTo>
                  <a:pt x="787" y="334"/>
                  <a:pt x="785" y="338"/>
                  <a:pt x="787" y="340"/>
                </a:cubicBezTo>
                <a:cubicBezTo>
                  <a:pt x="788" y="341"/>
                  <a:pt x="789" y="341"/>
                  <a:pt x="788" y="342"/>
                </a:cubicBezTo>
                <a:cubicBezTo>
                  <a:pt x="786" y="339"/>
                  <a:pt x="785" y="349"/>
                  <a:pt x="783" y="344"/>
                </a:cubicBezTo>
                <a:cubicBezTo>
                  <a:pt x="781" y="343"/>
                  <a:pt x="779" y="341"/>
                  <a:pt x="780" y="338"/>
                </a:cubicBezTo>
                <a:cubicBezTo>
                  <a:pt x="780" y="337"/>
                  <a:pt x="782" y="336"/>
                  <a:pt x="783" y="335"/>
                </a:cubicBezTo>
                <a:cubicBezTo>
                  <a:pt x="783" y="334"/>
                  <a:pt x="780" y="332"/>
                  <a:pt x="782" y="330"/>
                </a:cubicBezTo>
                <a:cubicBezTo>
                  <a:pt x="783" y="329"/>
                  <a:pt x="783" y="329"/>
                  <a:pt x="784" y="329"/>
                </a:cubicBezTo>
                <a:cubicBezTo>
                  <a:pt x="751" y="296"/>
                  <a:pt x="751" y="296"/>
                  <a:pt x="751" y="296"/>
                </a:cubicBezTo>
                <a:cubicBezTo>
                  <a:pt x="751" y="297"/>
                  <a:pt x="751" y="297"/>
                  <a:pt x="751" y="298"/>
                </a:cubicBezTo>
                <a:cubicBezTo>
                  <a:pt x="750" y="297"/>
                  <a:pt x="750" y="296"/>
                  <a:pt x="751" y="296"/>
                </a:cubicBezTo>
                <a:cubicBezTo>
                  <a:pt x="746" y="291"/>
                  <a:pt x="746" y="291"/>
                  <a:pt x="746" y="291"/>
                </a:cubicBezTo>
                <a:cubicBezTo>
                  <a:pt x="746" y="292"/>
                  <a:pt x="746" y="293"/>
                  <a:pt x="746" y="293"/>
                </a:cubicBezTo>
                <a:cubicBezTo>
                  <a:pt x="745" y="292"/>
                  <a:pt x="746" y="292"/>
                  <a:pt x="746" y="291"/>
                </a:cubicBezTo>
                <a:cubicBezTo>
                  <a:pt x="746" y="291"/>
                  <a:pt x="746" y="291"/>
                  <a:pt x="746" y="291"/>
                </a:cubicBezTo>
                <a:cubicBezTo>
                  <a:pt x="733" y="278"/>
                  <a:pt x="733" y="278"/>
                  <a:pt x="733" y="278"/>
                </a:cubicBezTo>
                <a:cubicBezTo>
                  <a:pt x="732" y="278"/>
                  <a:pt x="731" y="278"/>
                  <a:pt x="730" y="276"/>
                </a:cubicBezTo>
                <a:cubicBezTo>
                  <a:pt x="728" y="274"/>
                  <a:pt x="730" y="279"/>
                  <a:pt x="730" y="279"/>
                </a:cubicBezTo>
                <a:cubicBezTo>
                  <a:pt x="731" y="279"/>
                  <a:pt x="731" y="279"/>
                  <a:pt x="731" y="280"/>
                </a:cubicBezTo>
                <a:cubicBezTo>
                  <a:pt x="732" y="280"/>
                  <a:pt x="732" y="280"/>
                  <a:pt x="732" y="281"/>
                </a:cubicBezTo>
                <a:cubicBezTo>
                  <a:pt x="732" y="282"/>
                  <a:pt x="733" y="285"/>
                  <a:pt x="732" y="286"/>
                </a:cubicBezTo>
                <a:cubicBezTo>
                  <a:pt x="732" y="284"/>
                  <a:pt x="731" y="283"/>
                  <a:pt x="731" y="282"/>
                </a:cubicBezTo>
                <a:cubicBezTo>
                  <a:pt x="730" y="282"/>
                  <a:pt x="730" y="282"/>
                  <a:pt x="730" y="282"/>
                </a:cubicBezTo>
                <a:cubicBezTo>
                  <a:pt x="729" y="282"/>
                  <a:pt x="730" y="281"/>
                  <a:pt x="730" y="281"/>
                </a:cubicBezTo>
                <a:cubicBezTo>
                  <a:pt x="730" y="280"/>
                  <a:pt x="730" y="280"/>
                  <a:pt x="730" y="279"/>
                </a:cubicBezTo>
                <a:cubicBezTo>
                  <a:pt x="729" y="281"/>
                  <a:pt x="730" y="282"/>
                  <a:pt x="728" y="283"/>
                </a:cubicBezTo>
                <a:cubicBezTo>
                  <a:pt x="729" y="282"/>
                  <a:pt x="728" y="280"/>
                  <a:pt x="727" y="280"/>
                </a:cubicBezTo>
                <a:cubicBezTo>
                  <a:pt x="727" y="280"/>
                  <a:pt x="727" y="280"/>
                  <a:pt x="727" y="280"/>
                </a:cubicBezTo>
                <a:cubicBezTo>
                  <a:pt x="727" y="280"/>
                  <a:pt x="727" y="279"/>
                  <a:pt x="726" y="279"/>
                </a:cubicBezTo>
                <a:cubicBezTo>
                  <a:pt x="726" y="279"/>
                  <a:pt x="725" y="279"/>
                  <a:pt x="726" y="281"/>
                </a:cubicBezTo>
                <a:cubicBezTo>
                  <a:pt x="726" y="281"/>
                  <a:pt x="726" y="281"/>
                  <a:pt x="726" y="281"/>
                </a:cubicBezTo>
                <a:cubicBezTo>
                  <a:pt x="726" y="280"/>
                  <a:pt x="726" y="280"/>
                  <a:pt x="726" y="280"/>
                </a:cubicBezTo>
                <a:cubicBezTo>
                  <a:pt x="726" y="280"/>
                  <a:pt x="726" y="280"/>
                  <a:pt x="726" y="280"/>
                </a:cubicBezTo>
                <a:cubicBezTo>
                  <a:pt x="727" y="280"/>
                  <a:pt x="727" y="280"/>
                  <a:pt x="727" y="280"/>
                </a:cubicBezTo>
                <a:cubicBezTo>
                  <a:pt x="727" y="280"/>
                  <a:pt x="727" y="281"/>
                  <a:pt x="727" y="281"/>
                </a:cubicBezTo>
                <a:cubicBezTo>
                  <a:pt x="727" y="281"/>
                  <a:pt x="727" y="282"/>
                  <a:pt x="727" y="282"/>
                </a:cubicBezTo>
                <a:cubicBezTo>
                  <a:pt x="727" y="282"/>
                  <a:pt x="727" y="282"/>
                  <a:pt x="726" y="282"/>
                </a:cubicBezTo>
                <a:cubicBezTo>
                  <a:pt x="726" y="283"/>
                  <a:pt x="726" y="284"/>
                  <a:pt x="726" y="284"/>
                </a:cubicBezTo>
                <a:cubicBezTo>
                  <a:pt x="726" y="284"/>
                  <a:pt x="727" y="284"/>
                  <a:pt x="728" y="284"/>
                </a:cubicBezTo>
                <a:cubicBezTo>
                  <a:pt x="729" y="283"/>
                  <a:pt x="729" y="282"/>
                  <a:pt x="730" y="283"/>
                </a:cubicBezTo>
                <a:cubicBezTo>
                  <a:pt x="730" y="283"/>
                  <a:pt x="730" y="283"/>
                  <a:pt x="730" y="284"/>
                </a:cubicBezTo>
                <a:cubicBezTo>
                  <a:pt x="730" y="284"/>
                  <a:pt x="730" y="284"/>
                  <a:pt x="730" y="284"/>
                </a:cubicBezTo>
                <a:cubicBezTo>
                  <a:pt x="731" y="284"/>
                  <a:pt x="731" y="287"/>
                  <a:pt x="731" y="288"/>
                </a:cubicBezTo>
                <a:cubicBezTo>
                  <a:pt x="732" y="287"/>
                  <a:pt x="734" y="288"/>
                  <a:pt x="735" y="291"/>
                </a:cubicBezTo>
                <a:cubicBezTo>
                  <a:pt x="735" y="291"/>
                  <a:pt x="735" y="291"/>
                  <a:pt x="735" y="291"/>
                </a:cubicBezTo>
                <a:cubicBezTo>
                  <a:pt x="735" y="290"/>
                  <a:pt x="736" y="285"/>
                  <a:pt x="735" y="284"/>
                </a:cubicBezTo>
                <a:cubicBezTo>
                  <a:pt x="735" y="284"/>
                  <a:pt x="732" y="279"/>
                  <a:pt x="736" y="281"/>
                </a:cubicBezTo>
                <a:cubicBezTo>
                  <a:pt x="737" y="282"/>
                  <a:pt x="735" y="287"/>
                  <a:pt x="736" y="291"/>
                </a:cubicBezTo>
                <a:cubicBezTo>
                  <a:pt x="736" y="291"/>
                  <a:pt x="737" y="291"/>
                  <a:pt x="737" y="291"/>
                </a:cubicBezTo>
                <a:cubicBezTo>
                  <a:pt x="737" y="293"/>
                  <a:pt x="737" y="293"/>
                  <a:pt x="737" y="293"/>
                </a:cubicBezTo>
                <a:cubicBezTo>
                  <a:pt x="737" y="294"/>
                  <a:pt x="737" y="295"/>
                  <a:pt x="736" y="295"/>
                </a:cubicBezTo>
                <a:cubicBezTo>
                  <a:pt x="737" y="296"/>
                  <a:pt x="738" y="295"/>
                  <a:pt x="739" y="295"/>
                </a:cubicBezTo>
                <a:cubicBezTo>
                  <a:pt x="739" y="295"/>
                  <a:pt x="741" y="297"/>
                  <a:pt x="741" y="297"/>
                </a:cubicBezTo>
                <a:cubicBezTo>
                  <a:pt x="741" y="300"/>
                  <a:pt x="738" y="300"/>
                  <a:pt x="736" y="298"/>
                </a:cubicBezTo>
                <a:cubicBezTo>
                  <a:pt x="738" y="300"/>
                  <a:pt x="735" y="299"/>
                  <a:pt x="735" y="300"/>
                </a:cubicBezTo>
                <a:cubicBezTo>
                  <a:pt x="735" y="299"/>
                  <a:pt x="735" y="305"/>
                  <a:pt x="733" y="305"/>
                </a:cubicBezTo>
                <a:cubicBezTo>
                  <a:pt x="733" y="305"/>
                  <a:pt x="734" y="301"/>
                  <a:pt x="733" y="300"/>
                </a:cubicBezTo>
                <a:cubicBezTo>
                  <a:pt x="733" y="300"/>
                  <a:pt x="733" y="300"/>
                  <a:pt x="733" y="300"/>
                </a:cubicBezTo>
                <a:cubicBezTo>
                  <a:pt x="733" y="301"/>
                  <a:pt x="732" y="301"/>
                  <a:pt x="732" y="301"/>
                </a:cubicBezTo>
                <a:cubicBezTo>
                  <a:pt x="731" y="301"/>
                  <a:pt x="731" y="300"/>
                  <a:pt x="731" y="299"/>
                </a:cubicBezTo>
                <a:cubicBezTo>
                  <a:pt x="731" y="299"/>
                  <a:pt x="731" y="299"/>
                  <a:pt x="731" y="299"/>
                </a:cubicBezTo>
                <a:cubicBezTo>
                  <a:pt x="731" y="299"/>
                  <a:pt x="731" y="298"/>
                  <a:pt x="732" y="298"/>
                </a:cubicBezTo>
                <a:cubicBezTo>
                  <a:pt x="734" y="297"/>
                  <a:pt x="732" y="297"/>
                  <a:pt x="730" y="296"/>
                </a:cubicBezTo>
                <a:cubicBezTo>
                  <a:pt x="730" y="296"/>
                  <a:pt x="730" y="296"/>
                  <a:pt x="730" y="296"/>
                </a:cubicBezTo>
                <a:cubicBezTo>
                  <a:pt x="730" y="296"/>
                  <a:pt x="730" y="296"/>
                  <a:pt x="730" y="296"/>
                </a:cubicBezTo>
                <a:cubicBezTo>
                  <a:pt x="729" y="295"/>
                  <a:pt x="729" y="295"/>
                  <a:pt x="729" y="294"/>
                </a:cubicBezTo>
                <a:cubicBezTo>
                  <a:pt x="728" y="294"/>
                  <a:pt x="728" y="295"/>
                  <a:pt x="727" y="295"/>
                </a:cubicBezTo>
                <a:cubicBezTo>
                  <a:pt x="725" y="295"/>
                  <a:pt x="726" y="293"/>
                  <a:pt x="725" y="293"/>
                </a:cubicBezTo>
                <a:cubicBezTo>
                  <a:pt x="725" y="293"/>
                  <a:pt x="725" y="293"/>
                  <a:pt x="725" y="293"/>
                </a:cubicBezTo>
                <a:cubicBezTo>
                  <a:pt x="723" y="297"/>
                  <a:pt x="721" y="302"/>
                  <a:pt x="725" y="300"/>
                </a:cubicBezTo>
                <a:cubicBezTo>
                  <a:pt x="723" y="303"/>
                  <a:pt x="726" y="304"/>
                  <a:pt x="728" y="305"/>
                </a:cubicBezTo>
                <a:cubicBezTo>
                  <a:pt x="729" y="306"/>
                  <a:pt x="727" y="304"/>
                  <a:pt x="726" y="305"/>
                </a:cubicBezTo>
                <a:cubicBezTo>
                  <a:pt x="725" y="306"/>
                  <a:pt x="728" y="308"/>
                  <a:pt x="728" y="310"/>
                </a:cubicBezTo>
                <a:cubicBezTo>
                  <a:pt x="728" y="311"/>
                  <a:pt x="727" y="313"/>
                  <a:pt x="727" y="313"/>
                </a:cubicBezTo>
                <a:cubicBezTo>
                  <a:pt x="727" y="315"/>
                  <a:pt x="729" y="314"/>
                  <a:pt x="727" y="315"/>
                </a:cubicBezTo>
                <a:cubicBezTo>
                  <a:pt x="724" y="316"/>
                  <a:pt x="725" y="320"/>
                  <a:pt x="724" y="321"/>
                </a:cubicBezTo>
                <a:cubicBezTo>
                  <a:pt x="723" y="322"/>
                  <a:pt x="720" y="322"/>
                  <a:pt x="720" y="324"/>
                </a:cubicBezTo>
                <a:cubicBezTo>
                  <a:pt x="723" y="320"/>
                  <a:pt x="727" y="325"/>
                  <a:pt x="725" y="326"/>
                </a:cubicBezTo>
                <a:cubicBezTo>
                  <a:pt x="725" y="326"/>
                  <a:pt x="727" y="329"/>
                  <a:pt x="724" y="330"/>
                </a:cubicBezTo>
                <a:cubicBezTo>
                  <a:pt x="722" y="330"/>
                  <a:pt x="723" y="330"/>
                  <a:pt x="721" y="332"/>
                </a:cubicBezTo>
                <a:cubicBezTo>
                  <a:pt x="720" y="334"/>
                  <a:pt x="720" y="325"/>
                  <a:pt x="719" y="324"/>
                </a:cubicBezTo>
                <a:cubicBezTo>
                  <a:pt x="718" y="323"/>
                  <a:pt x="718" y="326"/>
                  <a:pt x="717" y="323"/>
                </a:cubicBezTo>
                <a:cubicBezTo>
                  <a:pt x="715" y="317"/>
                  <a:pt x="709" y="307"/>
                  <a:pt x="717" y="303"/>
                </a:cubicBezTo>
                <a:cubicBezTo>
                  <a:pt x="718" y="302"/>
                  <a:pt x="720" y="302"/>
                  <a:pt x="721" y="301"/>
                </a:cubicBezTo>
                <a:cubicBezTo>
                  <a:pt x="722" y="299"/>
                  <a:pt x="723" y="297"/>
                  <a:pt x="723" y="294"/>
                </a:cubicBezTo>
                <a:cubicBezTo>
                  <a:pt x="723" y="294"/>
                  <a:pt x="723" y="294"/>
                  <a:pt x="723" y="294"/>
                </a:cubicBezTo>
                <a:cubicBezTo>
                  <a:pt x="722" y="294"/>
                  <a:pt x="723" y="292"/>
                  <a:pt x="722" y="292"/>
                </a:cubicBezTo>
                <a:cubicBezTo>
                  <a:pt x="722" y="292"/>
                  <a:pt x="721" y="292"/>
                  <a:pt x="720" y="292"/>
                </a:cubicBezTo>
                <a:cubicBezTo>
                  <a:pt x="720" y="293"/>
                  <a:pt x="719" y="293"/>
                  <a:pt x="719" y="293"/>
                </a:cubicBezTo>
                <a:cubicBezTo>
                  <a:pt x="719" y="293"/>
                  <a:pt x="719" y="293"/>
                  <a:pt x="719" y="292"/>
                </a:cubicBezTo>
                <a:cubicBezTo>
                  <a:pt x="718" y="293"/>
                  <a:pt x="718" y="292"/>
                  <a:pt x="718" y="292"/>
                </a:cubicBezTo>
                <a:cubicBezTo>
                  <a:pt x="717" y="291"/>
                  <a:pt x="718" y="289"/>
                  <a:pt x="716" y="290"/>
                </a:cubicBezTo>
                <a:cubicBezTo>
                  <a:pt x="716" y="289"/>
                  <a:pt x="716" y="287"/>
                  <a:pt x="716" y="286"/>
                </a:cubicBezTo>
                <a:cubicBezTo>
                  <a:pt x="716" y="286"/>
                  <a:pt x="716" y="286"/>
                  <a:pt x="716" y="286"/>
                </a:cubicBezTo>
                <a:cubicBezTo>
                  <a:pt x="715" y="286"/>
                  <a:pt x="713" y="288"/>
                  <a:pt x="713" y="288"/>
                </a:cubicBezTo>
                <a:cubicBezTo>
                  <a:pt x="712" y="288"/>
                  <a:pt x="713" y="285"/>
                  <a:pt x="714" y="283"/>
                </a:cubicBezTo>
                <a:cubicBezTo>
                  <a:pt x="714" y="282"/>
                  <a:pt x="714" y="282"/>
                  <a:pt x="713" y="282"/>
                </a:cubicBezTo>
                <a:cubicBezTo>
                  <a:pt x="714" y="282"/>
                  <a:pt x="711" y="288"/>
                  <a:pt x="709" y="285"/>
                </a:cubicBezTo>
                <a:cubicBezTo>
                  <a:pt x="709" y="286"/>
                  <a:pt x="709" y="286"/>
                  <a:pt x="709" y="286"/>
                </a:cubicBezTo>
                <a:cubicBezTo>
                  <a:pt x="709" y="286"/>
                  <a:pt x="707" y="288"/>
                  <a:pt x="707" y="288"/>
                </a:cubicBezTo>
                <a:cubicBezTo>
                  <a:pt x="705" y="287"/>
                  <a:pt x="707" y="283"/>
                  <a:pt x="707" y="281"/>
                </a:cubicBezTo>
                <a:cubicBezTo>
                  <a:pt x="706" y="281"/>
                  <a:pt x="705" y="280"/>
                  <a:pt x="705" y="279"/>
                </a:cubicBezTo>
                <a:cubicBezTo>
                  <a:pt x="705" y="279"/>
                  <a:pt x="705" y="278"/>
                  <a:pt x="706" y="278"/>
                </a:cubicBezTo>
                <a:cubicBezTo>
                  <a:pt x="705" y="278"/>
                  <a:pt x="705" y="277"/>
                  <a:pt x="706" y="276"/>
                </a:cubicBezTo>
                <a:cubicBezTo>
                  <a:pt x="706" y="276"/>
                  <a:pt x="707" y="275"/>
                  <a:pt x="707" y="276"/>
                </a:cubicBezTo>
                <a:cubicBezTo>
                  <a:pt x="708" y="276"/>
                  <a:pt x="708" y="277"/>
                  <a:pt x="708" y="277"/>
                </a:cubicBezTo>
                <a:cubicBezTo>
                  <a:pt x="708" y="277"/>
                  <a:pt x="708" y="277"/>
                  <a:pt x="708" y="277"/>
                </a:cubicBezTo>
                <a:cubicBezTo>
                  <a:pt x="708" y="275"/>
                  <a:pt x="707" y="273"/>
                  <a:pt x="709" y="271"/>
                </a:cubicBezTo>
                <a:cubicBezTo>
                  <a:pt x="709" y="270"/>
                  <a:pt x="708" y="270"/>
                  <a:pt x="708" y="270"/>
                </a:cubicBezTo>
                <a:cubicBezTo>
                  <a:pt x="708" y="269"/>
                  <a:pt x="708" y="269"/>
                  <a:pt x="707" y="269"/>
                </a:cubicBezTo>
                <a:cubicBezTo>
                  <a:pt x="707" y="271"/>
                  <a:pt x="706" y="272"/>
                  <a:pt x="705" y="273"/>
                </a:cubicBezTo>
                <a:cubicBezTo>
                  <a:pt x="705" y="272"/>
                  <a:pt x="706" y="270"/>
                  <a:pt x="707" y="268"/>
                </a:cubicBezTo>
                <a:cubicBezTo>
                  <a:pt x="707" y="268"/>
                  <a:pt x="707" y="268"/>
                  <a:pt x="707" y="268"/>
                </a:cubicBezTo>
                <a:cubicBezTo>
                  <a:pt x="707" y="268"/>
                  <a:pt x="706" y="269"/>
                  <a:pt x="706" y="269"/>
                </a:cubicBezTo>
                <a:cubicBezTo>
                  <a:pt x="705" y="268"/>
                  <a:pt x="707" y="267"/>
                  <a:pt x="707" y="268"/>
                </a:cubicBezTo>
                <a:cubicBezTo>
                  <a:pt x="708" y="266"/>
                  <a:pt x="710" y="263"/>
                  <a:pt x="711" y="262"/>
                </a:cubicBezTo>
                <a:cubicBezTo>
                  <a:pt x="710" y="262"/>
                  <a:pt x="710" y="262"/>
                  <a:pt x="710" y="262"/>
                </a:cubicBezTo>
                <a:cubicBezTo>
                  <a:pt x="709" y="262"/>
                  <a:pt x="709" y="261"/>
                  <a:pt x="709" y="260"/>
                </a:cubicBezTo>
                <a:cubicBezTo>
                  <a:pt x="708" y="260"/>
                  <a:pt x="708" y="259"/>
                  <a:pt x="708" y="259"/>
                </a:cubicBezTo>
                <a:cubicBezTo>
                  <a:pt x="708" y="258"/>
                  <a:pt x="709" y="256"/>
                  <a:pt x="710" y="255"/>
                </a:cubicBezTo>
                <a:cubicBezTo>
                  <a:pt x="710" y="255"/>
                  <a:pt x="710" y="255"/>
                  <a:pt x="710" y="255"/>
                </a:cubicBezTo>
                <a:cubicBezTo>
                  <a:pt x="710" y="255"/>
                  <a:pt x="710" y="255"/>
                  <a:pt x="710" y="255"/>
                </a:cubicBezTo>
                <a:cubicBezTo>
                  <a:pt x="708" y="256"/>
                  <a:pt x="707" y="254"/>
                  <a:pt x="708" y="253"/>
                </a:cubicBezTo>
                <a:cubicBezTo>
                  <a:pt x="703" y="248"/>
                  <a:pt x="703" y="248"/>
                  <a:pt x="703" y="248"/>
                </a:cubicBezTo>
                <a:cubicBezTo>
                  <a:pt x="702" y="248"/>
                  <a:pt x="702" y="248"/>
                  <a:pt x="702" y="248"/>
                </a:cubicBezTo>
                <a:cubicBezTo>
                  <a:pt x="702" y="248"/>
                  <a:pt x="702" y="248"/>
                  <a:pt x="703" y="248"/>
                </a:cubicBezTo>
                <a:cubicBezTo>
                  <a:pt x="704" y="249"/>
                  <a:pt x="700" y="250"/>
                  <a:pt x="701" y="249"/>
                </a:cubicBezTo>
                <a:cubicBezTo>
                  <a:pt x="700" y="249"/>
                  <a:pt x="700" y="249"/>
                  <a:pt x="700" y="249"/>
                </a:cubicBezTo>
                <a:cubicBezTo>
                  <a:pt x="699" y="249"/>
                  <a:pt x="699" y="249"/>
                  <a:pt x="699" y="248"/>
                </a:cubicBezTo>
                <a:cubicBezTo>
                  <a:pt x="699" y="248"/>
                  <a:pt x="699" y="248"/>
                  <a:pt x="699" y="248"/>
                </a:cubicBezTo>
                <a:cubicBezTo>
                  <a:pt x="699" y="248"/>
                  <a:pt x="698" y="246"/>
                  <a:pt x="696" y="245"/>
                </a:cubicBezTo>
                <a:cubicBezTo>
                  <a:pt x="696" y="246"/>
                  <a:pt x="695" y="246"/>
                  <a:pt x="695" y="245"/>
                </a:cubicBezTo>
                <a:cubicBezTo>
                  <a:pt x="695" y="245"/>
                  <a:pt x="695" y="245"/>
                  <a:pt x="695" y="245"/>
                </a:cubicBezTo>
                <a:cubicBezTo>
                  <a:pt x="695" y="244"/>
                  <a:pt x="694" y="245"/>
                  <a:pt x="694" y="246"/>
                </a:cubicBezTo>
                <a:cubicBezTo>
                  <a:pt x="694" y="246"/>
                  <a:pt x="694" y="246"/>
                  <a:pt x="694" y="247"/>
                </a:cubicBezTo>
                <a:cubicBezTo>
                  <a:pt x="693" y="247"/>
                  <a:pt x="686" y="249"/>
                  <a:pt x="690" y="250"/>
                </a:cubicBezTo>
                <a:cubicBezTo>
                  <a:pt x="691" y="251"/>
                  <a:pt x="690" y="249"/>
                  <a:pt x="690" y="249"/>
                </a:cubicBezTo>
                <a:cubicBezTo>
                  <a:pt x="691" y="249"/>
                  <a:pt x="691" y="250"/>
                  <a:pt x="691" y="250"/>
                </a:cubicBezTo>
                <a:cubicBezTo>
                  <a:pt x="692" y="250"/>
                  <a:pt x="693" y="248"/>
                  <a:pt x="695" y="248"/>
                </a:cubicBezTo>
                <a:cubicBezTo>
                  <a:pt x="692" y="249"/>
                  <a:pt x="695" y="252"/>
                  <a:pt x="694" y="253"/>
                </a:cubicBezTo>
                <a:cubicBezTo>
                  <a:pt x="692" y="254"/>
                  <a:pt x="689" y="251"/>
                  <a:pt x="688" y="251"/>
                </a:cubicBezTo>
                <a:cubicBezTo>
                  <a:pt x="685" y="252"/>
                  <a:pt x="684" y="254"/>
                  <a:pt x="683" y="257"/>
                </a:cubicBezTo>
                <a:cubicBezTo>
                  <a:pt x="684" y="256"/>
                  <a:pt x="686" y="256"/>
                  <a:pt x="688" y="256"/>
                </a:cubicBezTo>
                <a:cubicBezTo>
                  <a:pt x="688" y="255"/>
                  <a:pt x="689" y="254"/>
                  <a:pt x="691" y="256"/>
                </a:cubicBezTo>
                <a:cubicBezTo>
                  <a:pt x="692" y="257"/>
                  <a:pt x="696" y="260"/>
                  <a:pt x="695" y="262"/>
                </a:cubicBezTo>
                <a:cubicBezTo>
                  <a:pt x="692" y="266"/>
                  <a:pt x="687" y="271"/>
                  <a:pt x="687" y="277"/>
                </a:cubicBezTo>
                <a:cubicBezTo>
                  <a:pt x="690" y="271"/>
                  <a:pt x="692" y="278"/>
                  <a:pt x="687" y="279"/>
                </a:cubicBezTo>
                <a:cubicBezTo>
                  <a:pt x="688" y="277"/>
                  <a:pt x="686" y="279"/>
                  <a:pt x="685" y="278"/>
                </a:cubicBezTo>
                <a:cubicBezTo>
                  <a:pt x="685" y="277"/>
                  <a:pt x="685" y="277"/>
                  <a:pt x="685" y="277"/>
                </a:cubicBezTo>
                <a:cubicBezTo>
                  <a:pt x="685" y="277"/>
                  <a:pt x="685" y="277"/>
                  <a:pt x="685" y="277"/>
                </a:cubicBezTo>
                <a:cubicBezTo>
                  <a:pt x="682" y="277"/>
                  <a:pt x="685" y="272"/>
                  <a:pt x="685" y="275"/>
                </a:cubicBezTo>
                <a:cubicBezTo>
                  <a:pt x="685" y="275"/>
                  <a:pt x="685" y="275"/>
                  <a:pt x="685" y="275"/>
                </a:cubicBezTo>
                <a:cubicBezTo>
                  <a:pt x="686" y="275"/>
                  <a:pt x="686" y="274"/>
                  <a:pt x="686" y="273"/>
                </a:cubicBezTo>
                <a:cubicBezTo>
                  <a:pt x="686" y="270"/>
                  <a:pt x="685" y="266"/>
                  <a:pt x="684" y="263"/>
                </a:cubicBezTo>
                <a:cubicBezTo>
                  <a:pt x="683" y="263"/>
                  <a:pt x="682" y="263"/>
                  <a:pt x="682" y="262"/>
                </a:cubicBezTo>
                <a:cubicBezTo>
                  <a:pt x="682" y="262"/>
                  <a:pt x="682" y="262"/>
                  <a:pt x="682" y="261"/>
                </a:cubicBezTo>
                <a:cubicBezTo>
                  <a:pt x="680" y="261"/>
                  <a:pt x="679" y="261"/>
                  <a:pt x="678" y="265"/>
                </a:cubicBezTo>
                <a:cubicBezTo>
                  <a:pt x="676" y="258"/>
                  <a:pt x="673" y="269"/>
                  <a:pt x="674" y="271"/>
                </a:cubicBezTo>
                <a:cubicBezTo>
                  <a:pt x="674" y="271"/>
                  <a:pt x="676" y="271"/>
                  <a:pt x="676" y="271"/>
                </a:cubicBezTo>
                <a:cubicBezTo>
                  <a:pt x="677" y="272"/>
                  <a:pt x="677" y="275"/>
                  <a:pt x="677" y="276"/>
                </a:cubicBezTo>
                <a:cubicBezTo>
                  <a:pt x="676" y="278"/>
                  <a:pt x="673" y="285"/>
                  <a:pt x="674" y="280"/>
                </a:cubicBezTo>
                <a:cubicBezTo>
                  <a:pt x="674" y="278"/>
                  <a:pt x="674" y="276"/>
                  <a:pt x="673" y="275"/>
                </a:cubicBezTo>
                <a:cubicBezTo>
                  <a:pt x="673" y="275"/>
                  <a:pt x="673" y="275"/>
                  <a:pt x="673" y="275"/>
                </a:cubicBezTo>
                <a:cubicBezTo>
                  <a:pt x="673" y="275"/>
                  <a:pt x="673" y="275"/>
                  <a:pt x="673" y="275"/>
                </a:cubicBezTo>
                <a:cubicBezTo>
                  <a:pt x="673" y="273"/>
                  <a:pt x="673" y="272"/>
                  <a:pt x="673" y="270"/>
                </a:cubicBezTo>
                <a:cubicBezTo>
                  <a:pt x="673" y="268"/>
                  <a:pt x="674" y="266"/>
                  <a:pt x="674" y="265"/>
                </a:cubicBezTo>
                <a:cubicBezTo>
                  <a:pt x="674" y="265"/>
                  <a:pt x="673" y="265"/>
                  <a:pt x="672" y="265"/>
                </a:cubicBezTo>
                <a:cubicBezTo>
                  <a:pt x="672" y="264"/>
                  <a:pt x="672" y="264"/>
                  <a:pt x="672" y="264"/>
                </a:cubicBezTo>
                <a:cubicBezTo>
                  <a:pt x="672" y="263"/>
                  <a:pt x="672" y="263"/>
                  <a:pt x="672" y="263"/>
                </a:cubicBezTo>
                <a:cubicBezTo>
                  <a:pt x="672" y="263"/>
                  <a:pt x="671" y="262"/>
                  <a:pt x="671" y="262"/>
                </a:cubicBezTo>
                <a:cubicBezTo>
                  <a:pt x="669" y="263"/>
                  <a:pt x="671" y="271"/>
                  <a:pt x="671" y="274"/>
                </a:cubicBezTo>
                <a:cubicBezTo>
                  <a:pt x="671" y="274"/>
                  <a:pt x="672" y="273"/>
                  <a:pt x="672" y="274"/>
                </a:cubicBezTo>
                <a:cubicBezTo>
                  <a:pt x="673" y="274"/>
                  <a:pt x="672" y="275"/>
                  <a:pt x="671" y="275"/>
                </a:cubicBezTo>
                <a:cubicBezTo>
                  <a:pt x="671" y="275"/>
                  <a:pt x="671" y="275"/>
                  <a:pt x="671" y="275"/>
                </a:cubicBezTo>
                <a:cubicBezTo>
                  <a:pt x="671" y="275"/>
                  <a:pt x="671" y="276"/>
                  <a:pt x="671" y="277"/>
                </a:cubicBezTo>
                <a:cubicBezTo>
                  <a:pt x="671" y="277"/>
                  <a:pt x="671" y="277"/>
                  <a:pt x="671" y="277"/>
                </a:cubicBezTo>
                <a:cubicBezTo>
                  <a:pt x="671" y="277"/>
                  <a:pt x="671" y="277"/>
                  <a:pt x="671" y="277"/>
                </a:cubicBezTo>
                <a:cubicBezTo>
                  <a:pt x="671" y="280"/>
                  <a:pt x="671" y="282"/>
                  <a:pt x="671" y="283"/>
                </a:cubicBezTo>
                <a:cubicBezTo>
                  <a:pt x="668" y="286"/>
                  <a:pt x="671" y="269"/>
                  <a:pt x="666" y="275"/>
                </a:cubicBezTo>
                <a:cubicBezTo>
                  <a:pt x="666" y="275"/>
                  <a:pt x="662" y="280"/>
                  <a:pt x="662" y="281"/>
                </a:cubicBezTo>
                <a:cubicBezTo>
                  <a:pt x="663" y="282"/>
                  <a:pt x="664" y="280"/>
                  <a:pt x="665" y="281"/>
                </a:cubicBezTo>
                <a:cubicBezTo>
                  <a:pt x="667" y="281"/>
                  <a:pt x="666" y="284"/>
                  <a:pt x="665" y="285"/>
                </a:cubicBezTo>
                <a:cubicBezTo>
                  <a:pt x="664" y="286"/>
                  <a:pt x="663" y="284"/>
                  <a:pt x="663" y="284"/>
                </a:cubicBezTo>
                <a:cubicBezTo>
                  <a:pt x="661" y="285"/>
                  <a:pt x="660" y="287"/>
                  <a:pt x="660" y="289"/>
                </a:cubicBezTo>
                <a:cubicBezTo>
                  <a:pt x="660" y="289"/>
                  <a:pt x="660" y="289"/>
                  <a:pt x="661" y="289"/>
                </a:cubicBezTo>
                <a:cubicBezTo>
                  <a:pt x="661" y="289"/>
                  <a:pt x="660" y="290"/>
                  <a:pt x="660" y="290"/>
                </a:cubicBezTo>
                <a:cubicBezTo>
                  <a:pt x="660" y="291"/>
                  <a:pt x="660" y="293"/>
                  <a:pt x="659" y="295"/>
                </a:cubicBezTo>
                <a:cubicBezTo>
                  <a:pt x="657" y="298"/>
                  <a:pt x="657" y="301"/>
                  <a:pt x="656" y="301"/>
                </a:cubicBezTo>
                <a:cubicBezTo>
                  <a:pt x="656" y="302"/>
                  <a:pt x="654" y="300"/>
                  <a:pt x="652" y="300"/>
                </a:cubicBezTo>
                <a:cubicBezTo>
                  <a:pt x="650" y="301"/>
                  <a:pt x="651" y="303"/>
                  <a:pt x="649" y="300"/>
                </a:cubicBezTo>
                <a:cubicBezTo>
                  <a:pt x="649" y="299"/>
                  <a:pt x="649" y="301"/>
                  <a:pt x="648" y="298"/>
                </a:cubicBezTo>
                <a:cubicBezTo>
                  <a:pt x="648" y="297"/>
                  <a:pt x="650" y="291"/>
                  <a:pt x="654" y="292"/>
                </a:cubicBezTo>
                <a:cubicBezTo>
                  <a:pt x="655" y="292"/>
                  <a:pt x="656" y="295"/>
                  <a:pt x="657" y="292"/>
                </a:cubicBezTo>
                <a:cubicBezTo>
                  <a:pt x="657" y="291"/>
                  <a:pt x="656" y="290"/>
                  <a:pt x="656" y="288"/>
                </a:cubicBezTo>
                <a:cubicBezTo>
                  <a:pt x="657" y="285"/>
                  <a:pt x="661" y="281"/>
                  <a:pt x="662" y="278"/>
                </a:cubicBezTo>
                <a:cubicBezTo>
                  <a:pt x="662" y="276"/>
                  <a:pt x="661" y="273"/>
                  <a:pt x="662" y="269"/>
                </a:cubicBezTo>
                <a:cubicBezTo>
                  <a:pt x="663" y="267"/>
                  <a:pt x="668" y="263"/>
                  <a:pt x="667" y="261"/>
                </a:cubicBezTo>
                <a:cubicBezTo>
                  <a:pt x="667" y="261"/>
                  <a:pt x="667" y="260"/>
                  <a:pt x="666" y="260"/>
                </a:cubicBezTo>
                <a:cubicBezTo>
                  <a:pt x="666" y="260"/>
                  <a:pt x="665" y="260"/>
                  <a:pt x="665" y="260"/>
                </a:cubicBezTo>
                <a:cubicBezTo>
                  <a:pt x="665" y="260"/>
                  <a:pt x="665" y="259"/>
                  <a:pt x="665" y="259"/>
                </a:cubicBezTo>
                <a:cubicBezTo>
                  <a:pt x="663" y="258"/>
                  <a:pt x="659" y="257"/>
                  <a:pt x="656" y="259"/>
                </a:cubicBezTo>
                <a:cubicBezTo>
                  <a:pt x="656" y="259"/>
                  <a:pt x="656" y="259"/>
                  <a:pt x="656" y="259"/>
                </a:cubicBezTo>
                <a:cubicBezTo>
                  <a:pt x="656" y="260"/>
                  <a:pt x="656" y="261"/>
                  <a:pt x="656" y="262"/>
                </a:cubicBezTo>
                <a:cubicBezTo>
                  <a:pt x="655" y="266"/>
                  <a:pt x="648" y="271"/>
                  <a:pt x="644" y="269"/>
                </a:cubicBezTo>
                <a:cubicBezTo>
                  <a:pt x="644" y="269"/>
                  <a:pt x="644" y="269"/>
                  <a:pt x="643" y="268"/>
                </a:cubicBezTo>
                <a:cubicBezTo>
                  <a:pt x="643" y="269"/>
                  <a:pt x="643" y="269"/>
                  <a:pt x="643" y="269"/>
                </a:cubicBezTo>
                <a:cubicBezTo>
                  <a:pt x="643" y="270"/>
                  <a:pt x="643" y="269"/>
                  <a:pt x="643" y="268"/>
                </a:cubicBezTo>
                <a:cubicBezTo>
                  <a:pt x="643" y="268"/>
                  <a:pt x="643" y="268"/>
                  <a:pt x="643" y="268"/>
                </a:cubicBezTo>
                <a:cubicBezTo>
                  <a:pt x="642" y="268"/>
                  <a:pt x="641" y="269"/>
                  <a:pt x="641" y="270"/>
                </a:cubicBezTo>
                <a:cubicBezTo>
                  <a:pt x="639" y="269"/>
                  <a:pt x="639" y="272"/>
                  <a:pt x="638" y="272"/>
                </a:cubicBezTo>
                <a:cubicBezTo>
                  <a:pt x="636" y="273"/>
                  <a:pt x="634" y="271"/>
                  <a:pt x="634" y="274"/>
                </a:cubicBezTo>
                <a:cubicBezTo>
                  <a:pt x="633" y="269"/>
                  <a:pt x="626" y="278"/>
                  <a:pt x="626" y="280"/>
                </a:cubicBezTo>
                <a:cubicBezTo>
                  <a:pt x="627" y="279"/>
                  <a:pt x="633" y="279"/>
                  <a:pt x="633" y="279"/>
                </a:cubicBezTo>
                <a:cubicBezTo>
                  <a:pt x="633" y="279"/>
                  <a:pt x="633" y="279"/>
                  <a:pt x="633" y="279"/>
                </a:cubicBezTo>
                <a:cubicBezTo>
                  <a:pt x="633" y="279"/>
                  <a:pt x="633" y="279"/>
                  <a:pt x="633" y="279"/>
                </a:cubicBezTo>
                <a:cubicBezTo>
                  <a:pt x="634" y="278"/>
                  <a:pt x="634" y="277"/>
                  <a:pt x="635" y="278"/>
                </a:cubicBezTo>
                <a:cubicBezTo>
                  <a:pt x="636" y="279"/>
                  <a:pt x="634" y="279"/>
                  <a:pt x="634" y="280"/>
                </a:cubicBezTo>
                <a:cubicBezTo>
                  <a:pt x="634" y="281"/>
                  <a:pt x="634" y="281"/>
                  <a:pt x="634" y="281"/>
                </a:cubicBezTo>
                <a:cubicBezTo>
                  <a:pt x="635" y="281"/>
                  <a:pt x="635" y="281"/>
                  <a:pt x="635" y="283"/>
                </a:cubicBezTo>
                <a:cubicBezTo>
                  <a:pt x="635" y="283"/>
                  <a:pt x="635" y="283"/>
                  <a:pt x="635" y="283"/>
                </a:cubicBezTo>
                <a:cubicBezTo>
                  <a:pt x="636" y="284"/>
                  <a:pt x="636" y="284"/>
                  <a:pt x="636" y="285"/>
                </a:cubicBezTo>
                <a:cubicBezTo>
                  <a:pt x="636" y="285"/>
                  <a:pt x="634" y="289"/>
                  <a:pt x="633" y="289"/>
                </a:cubicBezTo>
                <a:cubicBezTo>
                  <a:pt x="633" y="290"/>
                  <a:pt x="631" y="295"/>
                  <a:pt x="630" y="295"/>
                </a:cubicBezTo>
                <a:cubicBezTo>
                  <a:pt x="628" y="294"/>
                  <a:pt x="631" y="293"/>
                  <a:pt x="630" y="292"/>
                </a:cubicBezTo>
                <a:cubicBezTo>
                  <a:pt x="629" y="291"/>
                  <a:pt x="627" y="292"/>
                  <a:pt x="626" y="292"/>
                </a:cubicBezTo>
                <a:cubicBezTo>
                  <a:pt x="625" y="292"/>
                  <a:pt x="626" y="290"/>
                  <a:pt x="625" y="290"/>
                </a:cubicBezTo>
                <a:cubicBezTo>
                  <a:pt x="625" y="290"/>
                  <a:pt x="622" y="291"/>
                  <a:pt x="622" y="290"/>
                </a:cubicBezTo>
                <a:cubicBezTo>
                  <a:pt x="621" y="288"/>
                  <a:pt x="624" y="289"/>
                  <a:pt x="624" y="287"/>
                </a:cubicBezTo>
                <a:cubicBezTo>
                  <a:pt x="624" y="287"/>
                  <a:pt x="623" y="286"/>
                  <a:pt x="623" y="286"/>
                </a:cubicBezTo>
                <a:cubicBezTo>
                  <a:pt x="622" y="285"/>
                  <a:pt x="624" y="284"/>
                  <a:pt x="624" y="282"/>
                </a:cubicBezTo>
                <a:cubicBezTo>
                  <a:pt x="624" y="282"/>
                  <a:pt x="624" y="281"/>
                  <a:pt x="624" y="281"/>
                </a:cubicBezTo>
                <a:cubicBezTo>
                  <a:pt x="625" y="278"/>
                  <a:pt x="631" y="274"/>
                  <a:pt x="629" y="270"/>
                </a:cubicBezTo>
                <a:cubicBezTo>
                  <a:pt x="628" y="269"/>
                  <a:pt x="627" y="269"/>
                  <a:pt x="627" y="270"/>
                </a:cubicBezTo>
                <a:cubicBezTo>
                  <a:pt x="627" y="267"/>
                  <a:pt x="628" y="258"/>
                  <a:pt x="633" y="256"/>
                </a:cubicBezTo>
                <a:cubicBezTo>
                  <a:pt x="634" y="256"/>
                  <a:pt x="636" y="256"/>
                  <a:pt x="637" y="257"/>
                </a:cubicBezTo>
                <a:cubicBezTo>
                  <a:pt x="638" y="257"/>
                  <a:pt x="639" y="258"/>
                  <a:pt x="640" y="258"/>
                </a:cubicBezTo>
                <a:cubicBezTo>
                  <a:pt x="640" y="258"/>
                  <a:pt x="640" y="259"/>
                  <a:pt x="640" y="259"/>
                </a:cubicBezTo>
                <a:cubicBezTo>
                  <a:pt x="640" y="259"/>
                  <a:pt x="640" y="259"/>
                  <a:pt x="640" y="259"/>
                </a:cubicBezTo>
                <a:cubicBezTo>
                  <a:pt x="641" y="260"/>
                  <a:pt x="641" y="260"/>
                  <a:pt x="642" y="260"/>
                </a:cubicBezTo>
                <a:cubicBezTo>
                  <a:pt x="643" y="259"/>
                  <a:pt x="644" y="257"/>
                  <a:pt x="645" y="256"/>
                </a:cubicBezTo>
                <a:cubicBezTo>
                  <a:pt x="644" y="254"/>
                  <a:pt x="643" y="256"/>
                  <a:pt x="641" y="257"/>
                </a:cubicBezTo>
                <a:cubicBezTo>
                  <a:pt x="642" y="256"/>
                  <a:pt x="642" y="256"/>
                  <a:pt x="642" y="255"/>
                </a:cubicBezTo>
                <a:cubicBezTo>
                  <a:pt x="641" y="255"/>
                  <a:pt x="640" y="255"/>
                  <a:pt x="640" y="255"/>
                </a:cubicBezTo>
                <a:cubicBezTo>
                  <a:pt x="639" y="254"/>
                  <a:pt x="641" y="254"/>
                  <a:pt x="641" y="253"/>
                </a:cubicBezTo>
                <a:cubicBezTo>
                  <a:pt x="642" y="252"/>
                  <a:pt x="640" y="253"/>
                  <a:pt x="641" y="251"/>
                </a:cubicBezTo>
                <a:cubicBezTo>
                  <a:pt x="642" y="249"/>
                  <a:pt x="645" y="249"/>
                  <a:pt x="646" y="248"/>
                </a:cubicBezTo>
                <a:cubicBezTo>
                  <a:pt x="646" y="248"/>
                  <a:pt x="646" y="248"/>
                  <a:pt x="646" y="247"/>
                </a:cubicBezTo>
                <a:cubicBezTo>
                  <a:pt x="645" y="247"/>
                  <a:pt x="644" y="247"/>
                  <a:pt x="644" y="247"/>
                </a:cubicBezTo>
                <a:cubicBezTo>
                  <a:pt x="644" y="246"/>
                  <a:pt x="645" y="245"/>
                  <a:pt x="644" y="243"/>
                </a:cubicBezTo>
                <a:cubicBezTo>
                  <a:pt x="643" y="243"/>
                  <a:pt x="643" y="243"/>
                  <a:pt x="643" y="243"/>
                </a:cubicBezTo>
                <a:cubicBezTo>
                  <a:pt x="642" y="243"/>
                  <a:pt x="641" y="239"/>
                  <a:pt x="641" y="239"/>
                </a:cubicBezTo>
                <a:cubicBezTo>
                  <a:pt x="642" y="237"/>
                  <a:pt x="644" y="239"/>
                  <a:pt x="646" y="237"/>
                </a:cubicBezTo>
                <a:cubicBezTo>
                  <a:pt x="645" y="238"/>
                  <a:pt x="648" y="235"/>
                  <a:pt x="648" y="235"/>
                </a:cubicBezTo>
                <a:cubicBezTo>
                  <a:pt x="648" y="234"/>
                  <a:pt x="647" y="233"/>
                  <a:pt x="647" y="232"/>
                </a:cubicBezTo>
                <a:cubicBezTo>
                  <a:pt x="647" y="230"/>
                  <a:pt x="649" y="230"/>
                  <a:pt x="649" y="228"/>
                </a:cubicBezTo>
                <a:cubicBezTo>
                  <a:pt x="648" y="226"/>
                  <a:pt x="651" y="222"/>
                  <a:pt x="653" y="222"/>
                </a:cubicBezTo>
                <a:cubicBezTo>
                  <a:pt x="657" y="221"/>
                  <a:pt x="656" y="229"/>
                  <a:pt x="662" y="226"/>
                </a:cubicBezTo>
                <a:cubicBezTo>
                  <a:pt x="663" y="232"/>
                  <a:pt x="667" y="220"/>
                  <a:pt x="668" y="220"/>
                </a:cubicBezTo>
                <a:cubicBezTo>
                  <a:pt x="668" y="220"/>
                  <a:pt x="668" y="220"/>
                  <a:pt x="668" y="220"/>
                </a:cubicBezTo>
                <a:cubicBezTo>
                  <a:pt x="668" y="220"/>
                  <a:pt x="668" y="220"/>
                  <a:pt x="669" y="220"/>
                </a:cubicBezTo>
                <a:cubicBezTo>
                  <a:pt x="669" y="220"/>
                  <a:pt x="669" y="220"/>
                  <a:pt x="669" y="220"/>
                </a:cubicBezTo>
                <a:cubicBezTo>
                  <a:pt x="670" y="222"/>
                  <a:pt x="669" y="221"/>
                  <a:pt x="668" y="221"/>
                </a:cubicBezTo>
                <a:cubicBezTo>
                  <a:pt x="669" y="222"/>
                  <a:pt x="665" y="229"/>
                  <a:pt x="670" y="225"/>
                </a:cubicBezTo>
                <a:cubicBezTo>
                  <a:pt x="671" y="224"/>
                  <a:pt x="669" y="222"/>
                  <a:pt x="670" y="221"/>
                </a:cubicBezTo>
                <a:cubicBezTo>
                  <a:pt x="671" y="220"/>
                  <a:pt x="674" y="221"/>
                  <a:pt x="675" y="220"/>
                </a:cubicBezTo>
                <a:cubicBezTo>
                  <a:pt x="664" y="209"/>
                  <a:pt x="664" y="209"/>
                  <a:pt x="664" y="209"/>
                </a:cubicBezTo>
                <a:cubicBezTo>
                  <a:pt x="664" y="209"/>
                  <a:pt x="664" y="209"/>
                  <a:pt x="664" y="209"/>
                </a:cubicBezTo>
                <a:cubicBezTo>
                  <a:pt x="663" y="211"/>
                  <a:pt x="660" y="209"/>
                  <a:pt x="661" y="208"/>
                </a:cubicBezTo>
                <a:cubicBezTo>
                  <a:pt x="659" y="209"/>
                  <a:pt x="658" y="209"/>
                  <a:pt x="658" y="208"/>
                </a:cubicBezTo>
                <a:cubicBezTo>
                  <a:pt x="657" y="209"/>
                  <a:pt x="657" y="209"/>
                  <a:pt x="657" y="209"/>
                </a:cubicBezTo>
                <a:cubicBezTo>
                  <a:pt x="657" y="209"/>
                  <a:pt x="657" y="208"/>
                  <a:pt x="657" y="207"/>
                </a:cubicBezTo>
                <a:cubicBezTo>
                  <a:pt x="656" y="206"/>
                  <a:pt x="656" y="203"/>
                  <a:pt x="656" y="202"/>
                </a:cubicBezTo>
                <a:cubicBezTo>
                  <a:pt x="656" y="202"/>
                  <a:pt x="656" y="202"/>
                  <a:pt x="656" y="202"/>
                </a:cubicBezTo>
                <a:cubicBezTo>
                  <a:pt x="655" y="202"/>
                  <a:pt x="656" y="203"/>
                  <a:pt x="655" y="203"/>
                </a:cubicBezTo>
                <a:cubicBezTo>
                  <a:pt x="655" y="203"/>
                  <a:pt x="654" y="202"/>
                  <a:pt x="654" y="202"/>
                </a:cubicBezTo>
                <a:cubicBezTo>
                  <a:pt x="654" y="205"/>
                  <a:pt x="653" y="207"/>
                  <a:pt x="652" y="208"/>
                </a:cubicBezTo>
                <a:cubicBezTo>
                  <a:pt x="651" y="209"/>
                  <a:pt x="649" y="207"/>
                  <a:pt x="649" y="209"/>
                </a:cubicBezTo>
                <a:cubicBezTo>
                  <a:pt x="649" y="210"/>
                  <a:pt x="651" y="211"/>
                  <a:pt x="652" y="212"/>
                </a:cubicBezTo>
                <a:cubicBezTo>
                  <a:pt x="652" y="212"/>
                  <a:pt x="652" y="214"/>
                  <a:pt x="652" y="214"/>
                </a:cubicBezTo>
                <a:cubicBezTo>
                  <a:pt x="653" y="214"/>
                  <a:pt x="655" y="212"/>
                  <a:pt x="656" y="212"/>
                </a:cubicBezTo>
                <a:cubicBezTo>
                  <a:pt x="657" y="213"/>
                  <a:pt x="655" y="215"/>
                  <a:pt x="655" y="216"/>
                </a:cubicBezTo>
                <a:cubicBezTo>
                  <a:pt x="654" y="213"/>
                  <a:pt x="652" y="217"/>
                  <a:pt x="651" y="218"/>
                </a:cubicBezTo>
                <a:cubicBezTo>
                  <a:pt x="650" y="220"/>
                  <a:pt x="647" y="220"/>
                  <a:pt x="647" y="220"/>
                </a:cubicBezTo>
                <a:cubicBezTo>
                  <a:pt x="646" y="221"/>
                  <a:pt x="649" y="223"/>
                  <a:pt x="646" y="224"/>
                </a:cubicBezTo>
                <a:cubicBezTo>
                  <a:pt x="645" y="224"/>
                  <a:pt x="646" y="223"/>
                  <a:pt x="646" y="222"/>
                </a:cubicBezTo>
                <a:cubicBezTo>
                  <a:pt x="645" y="222"/>
                  <a:pt x="643" y="224"/>
                  <a:pt x="642" y="223"/>
                </a:cubicBezTo>
                <a:cubicBezTo>
                  <a:pt x="641" y="223"/>
                  <a:pt x="642" y="221"/>
                  <a:pt x="641" y="220"/>
                </a:cubicBezTo>
                <a:cubicBezTo>
                  <a:pt x="641" y="219"/>
                  <a:pt x="641" y="218"/>
                  <a:pt x="641" y="217"/>
                </a:cubicBezTo>
                <a:cubicBezTo>
                  <a:pt x="639" y="218"/>
                  <a:pt x="634" y="218"/>
                  <a:pt x="633" y="218"/>
                </a:cubicBezTo>
                <a:cubicBezTo>
                  <a:pt x="632" y="217"/>
                  <a:pt x="633" y="215"/>
                  <a:pt x="630" y="216"/>
                </a:cubicBezTo>
                <a:cubicBezTo>
                  <a:pt x="633" y="213"/>
                  <a:pt x="628" y="213"/>
                  <a:pt x="628" y="212"/>
                </a:cubicBezTo>
                <a:cubicBezTo>
                  <a:pt x="628" y="211"/>
                  <a:pt x="630" y="210"/>
                  <a:pt x="630" y="210"/>
                </a:cubicBezTo>
                <a:cubicBezTo>
                  <a:pt x="630" y="209"/>
                  <a:pt x="629" y="209"/>
                  <a:pt x="629" y="208"/>
                </a:cubicBezTo>
                <a:cubicBezTo>
                  <a:pt x="629" y="208"/>
                  <a:pt x="629" y="208"/>
                  <a:pt x="629" y="207"/>
                </a:cubicBezTo>
                <a:cubicBezTo>
                  <a:pt x="628" y="207"/>
                  <a:pt x="627" y="205"/>
                  <a:pt x="627" y="204"/>
                </a:cubicBezTo>
                <a:cubicBezTo>
                  <a:pt x="627" y="204"/>
                  <a:pt x="626" y="204"/>
                  <a:pt x="626" y="204"/>
                </a:cubicBezTo>
                <a:cubicBezTo>
                  <a:pt x="626" y="205"/>
                  <a:pt x="627" y="205"/>
                  <a:pt x="627" y="206"/>
                </a:cubicBezTo>
                <a:cubicBezTo>
                  <a:pt x="627" y="207"/>
                  <a:pt x="626" y="208"/>
                  <a:pt x="626" y="208"/>
                </a:cubicBezTo>
                <a:cubicBezTo>
                  <a:pt x="626" y="209"/>
                  <a:pt x="625" y="210"/>
                  <a:pt x="625" y="210"/>
                </a:cubicBezTo>
                <a:cubicBezTo>
                  <a:pt x="625" y="210"/>
                  <a:pt x="625" y="210"/>
                  <a:pt x="625" y="211"/>
                </a:cubicBezTo>
                <a:cubicBezTo>
                  <a:pt x="625" y="211"/>
                  <a:pt x="625" y="211"/>
                  <a:pt x="624" y="211"/>
                </a:cubicBezTo>
                <a:cubicBezTo>
                  <a:pt x="623" y="212"/>
                  <a:pt x="622" y="214"/>
                  <a:pt x="621" y="216"/>
                </a:cubicBezTo>
                <a:cubicBezTo>
                  <a:pt x="622" y="213"/>
                  <a:pt x="618" y="214"/>
                  <a:pt x="618" y="214"/>
                </a:cubicBezTo>
                <a:cubicBezTo>
                  <a:pt x="618" y="214"/>
                  <a:pt x="618" y="214"/>
                  <a:pt x="618" y="214"/>
                </a:cubicBezTo>
                <a:cubicBezTo>
                  <a:pt x="618" y="214"/>
                  <a:pt x="618" y="214"/>
                  <a:pt x="618" y="214"/>
                </a:cubicBezTo>
                <a:cubicBezTo>
                  <a:pt x="618" y="214"/>
                  <a:pt x="618" y="214"/>
                  <a:pt x="619" y="214"/>
                </a:cubicBezTo>
                <a:cubicBezTo>
                  <a:pt x="620" y="215"/>
                  <a:pt x="620" y="220"/>
                  <a:pt x="619" y="221"/>
                </a:cubicBezTo>
                <a:cubicBezTo>
                  <a:pt x="619" y="221"/>
                  <a:pt x="619" y="220"/>
                  <a:pt x="618" y="220"/>
                </a:cubicBezTo>
                <a:cubicBezTo>
                  <a:pt x="616" y="221"/>
                  <a:pt x="615" y="224"/>
                  <a:pt x="612" y="224"/>
                </a:cubicBezTo>
                <a:cubicBezTo>
                  <a:pt x="612" y="222"/>
                  <a:pt x="614" y="222"/>
                  <a:pt x="615" y="221"/>
                </a:cubicBezTo>
                <a:cubicBezTo>
                  <a:pt x="615" y="220"/>
                  <a:pt x="613" y="221"/>
                  <a:pt x="613" y="220"/>
                </a:cubicBezTo>
                <a:cubicBezTo>
                  <a:pt x="612" y="219"/>
                  <a:pt x="614" y="214"/>
                  <a:pt x="617" y="214"/>
                </a:cubicBezTo>
                <a:cubicBezTo>
                  <a:pt x="617" y="213"/>
                  <a:pt x="617" y="212"/>
                  <a:pt x="617" y="211"/>
                </a:cubicBezTo>
                <a:cubicBezTo>
                  <a:pt x="617" y="211"/>
                  <a:pt x="616" y="211"/>
                  <a:pt x="616" y="211"/>
                </a:cubicBezTo>
                <a:cubicBezTo>
                  <a:pt x="615" y="212"/>
                  <a:pt x="612" y="214"/>
                  <a:pt x="612" y="216"/>
                </a:cubicBezTo>
                <a:cubicBezTo>
                  <a:pt x="611" y="217"/>
                  <a:pt x="612" y="218"/>
                  <a:pt x="612" y="218"/>
                </a:cubicBezTo>
                <a:cubicBezTo>
                  <a:pt x="612" y="219"/>
                  <a:pt x="610" y="220"/>
                  <a:pt x="611" y="220"/>
                </a:cubicBezTo>
                <a:cubicBezTo>
                  <a:pt x="611" y="222"/>
                  <a:pt x="612" y="221"/>
                  <a:pt x="612" y="222"/>
                </a:cubicBezTo>
                <a:cubicBezTo>
                  <a:pt x="612" y="223"/>
                  <a:pt x="610" y="224"/>
                  <a:pt x="610" y="224"/>
                </a:cubicBezTo>
                <a:cubicBezTo>
                  <a:pt x="609" y="223"/>
                  <a:pt x="610" y="221"/>
                  <a:pt x="609" y="220"/>
                </a:cubicBezTo>
                <a:cubicBezTo>
                  <a:pt x="608" y="219"/>
                  <a:pt x="607" y="220"/>
                  <a:pt x="606" y="219"/>
                </a:cubicBezTo>
                <a:cubicBezTo>
                  <a:pt x="604" y="218"/>
                  <a:pt x="604" y="217"/>
                  <a:pt x="601" y="219"/>
                </a:cubicBezTo>
                <a:cubicBezTo>
                  <a:pt x="604" y="215"/>
                  <a:pt x="600" y="218"/>
                  <a:pt x="599" y="217"/>
                </a:cubicBezTo>
                <a:cubicBezTo>
                  <a:pt x="599" y="217"/>
                  <a:pt x="598" y="211"/>
                  <a:pt x="598" y="210"/>
                </a:cubicBezTo>
                <a:cubicBezTo>
                  <a:pt x="598" y="209"/>
                  <a:pt x="599" y="206"/>
                  <a:pt x="599" y="204"/>
                </a:cubicBezTo>
                <a:cubicBezTo>
                  <a:pt x="599" y="205"/>
                  <a:pt x="599" y="205"/>
                  <a:pt x="598" y="206"/>
                </a:cubicBezTo>
                <a:cubicBezTo>
                  <a:pt x="598" y="205"/>
                  <a:pt x="598" y="204"/>
                  <a:pt x="599" y="203"/>
                </a:cubicBezTo>
                <a:cubicBezTo>
                  <a:pt x="599" y="203"/>
                  <a:pt x="599" y="203"/>
                  <a:pt x="599" y="203"/>
                </a:cubicBezTo>
                <a:cubicBezTo>
                  <a:pt x="598" y="203"/>
                  <a:pt x="598" y="204"/>
                  <a:pt x="598" y="204"/>
                </a:cubicBezTo>
                <a:cubicBezTo>
                  <a:pt x="598" y="204"/>
                  <a:pt x="598" y="204"/>
                  <a:pt x="597" y="204"/>
                </a:cubicBezTo>
                <a:cubicBezTo>
                  <a:pt x="597" y="204"/>
                  <a:pt x="597" y="204"/>
                  <a:pt x="597" y="204"/>
                </a:cubicBezTo>
                <a:cubicBezTo>
                  <a:pt x="597" y="204"/>
                  <a:pt x="597" y="204"/>
                  <a:pt x="597" y="204"/>
                </a:cubicBezTo>
                <a:cubicBezTo>
                  <a:pt x="595" y="206"/>
                  <a:pt x="589" y="207"/>
                  <a:pt x="586" y="207"/>
                </a:cubicBezTo>
                <a:cubicBezTo>
                  <a:pt x="586" y="208"/>
                  <a:pt x="586" y="209"/>
                  <a:pt x="585" y="209"/>
                </a:cubicBezTo>
                <a:cubicBezTo>
                  <a:pt x="584" y="210"/>
                  <a:pt x="584" y="208"/>
                  <a:pt x="584" y="208"/>
                </a:cubicBezTo>
                <a:cubicBezTo>
                  <a:pt x="583" y="207"/>
                  <a:pt x="583" y="207"/>
                  <a:pt x="583" y="207"/>
                </a:cubicBezTo>
                <a:cubicBezTo>
                  <a:pt x="583" y="206"/>
                  <a:pt x="584" y="205"/>
                  <a:pt x="585" y="205"/>
                </a:cubicBezTo>
                <a:cubicBezTo>
                  <a:pt x="584" y="204"/>
                  <a:pt x="584" y="204"/>
                  <a:pt x="584" y="204"/>
                </a:cubicBezTo>
                <a:cubicBezTo>
                  <a:pt x="584" y="203"/>
                  <a:pt x="584" y="202"/>
                  <a:pt x="585" y="201"/>
                </a:cubicBezTo>
                <a:cubicBezTo>
                  <a:pt x="585" y="200"/>
                  <a:pt x="585" y="199"/>
                  <a:pt x="585" y="198"/>
                </a:cubicBezTo>
                <a:cubicBezTo>
                  <a:pt x="586" y="197"/>
                  <a:pt x="587" y="197"/>
                  <a:pt x="588" y="197"/>
                </a:cubicBezTo>
                <a:cubicBezTo>
                  <a:pt x="587" y="197"/>
                  <a:pt x="587" y="197"/>
                  <a:pt x="585" y="198"/>
                </a:cubicBezTo>
                <a:cubicBezTo>
                  <a:pt x="584" y="198"/>
                  <a:pt x="583" y="201"/>
                  <a:pt x="583" y="201"/>
                </a:cubicBezTo>
                <a:cubicBezTo>
                  <a:pt x="582" y="202"/>
                  <a:pt x="582" y="202"/>
                  <a:pt x="583" y="202"/>
                </a:cubicBezTo>
                <a:cubicBezTo>
                  <a:pt x="579" y="203"/>
                  <a:pt x="579" y="195"/>
                  <a:pt x="582" y="196"/>
                </a:cubicBezTo>
                <a:cubicBezTo>
                  <a:pt x="581" y="196"/>
                  <a:pt x="583" y="198"/>
                  <a:pt x="582" y="198"/>
                </a:cubicBezTo>
                <a:cubicBezTo>
                  <a:pt x="583" y="198"/>
                  <a:pt x="587" y="194"/>
                  <a:pt x="588" y="192"/>
                </a:cubicBezTo>
                <a:cubicBezTo>
                  <a:pt x="589" y="192"/>
                  <a:pt x="589" y="192"/>
                  <a:pt x="590" y="191"/>
                </a:cubicBezTo>
                <a:cubicBezTo>
                  <a:pt x="589" y="190"/>
                  <a:pt x="588" y="189"/>
                  <a:pt x="588" y="188"/>
                </a:cubicBezTo>
                <a:cubicBezTo>
                  <a:pt x="588" y="188"/>
                  <a:pt x="589" y="187"/>
                  <a:pt x="589" y="187"/>
                </a:cubicBezTo>
                <a:cubicBezTo>
                  <a:pt x="589" y="186"/>
                  <a:pt x="590" y="183"/>
                  <a:pt x="590" y="183"/>
                </a:cubicBezTo>
                <a:cubicBezTo>
                  <a:pt x="590" y="182"/>
                  <a:pt x="588" y="183"/>
                  <a:pt x="589" y="184"/>
                </a:cubicBezTo>
                <a:cubicBezTo>
                  <a:pt x="589" y="184"/>
                  <a:pt x="587" y="182"/>
                  <a:pt x="588" y="181"/>
                </a:cubicBezTo>
                <a:cubicBezTo>
                  <a:pt x="588" y="180"/>
                  <a:pt x="588" y="180"/>
                  <a:pt x="588" y="180"/>
                </a:cubicBezTo>
                <a:cubicBezTo>
                  <a:pt x="588" y="180"/>
                  <a:pt x="587" y="180"/>
                  <a:pt x="587" y="180"/>
                </a:cubicBezTo>
                <a:cubicBezTo>
                  <a:pt x="587" y="180"/>
                  <a:pt x="586" y="181"/>
                  <a:pt x="586" y="182"/>
                </a:cubicBezTo>
                <a:cubicBezTo>
                  <a:pt x="586" y="182"/>
                  <a:pt x="587" y="182"/>
                  <a:pt x="587" y="182"/>
                </a:cubicBezTo>
                <a:cubicBezTo>
                  <a:pt x="588" y="183"/>
                  <a:pt x="587" y="183"/>
                  <a:pt x="587" y="183"/>
                </a:cubicBezTo>
                <a:cubicBezTo>
                  <a:pt x="587" y="184"/>
                  <a:pt x="587" y="185"/>
                  <a:pt x="586" y="184"/>
                </a:cubicBezTo>
                <a:cubicBezTo>
                  <a:pt x="585" y="184"/>
                  <a:pt x="586" y="184"/>
                  <a:pt x="586" y="183"/>
                </a:cubicBezTo>
                <a:cubicBezTo>
                  <a:pt x="586" y="183"/>
                  <a:pt x="586" y="183"/>
                  <a:pt x="586" y="183"/>
                </a:cubicBezTo>
                <a:cubicBezTo>
                  <a:pt x="586" y="183"/>
                  <a:pt x="586" y="183"/>
                  <a:pt x="586" y="183"/>
                </a:cubicBezTo>
                <a:cubicBezTo>
                  <a:pt x="586" y="183"/>
                  <a:pt x="586" y="183"/>
                  <a:pt x="586" y="183"/>
                </a:cubicBezTo>
                <a:cubicBezTo>
                  <a:pt x="585" y="184"/>
                  <a:pt x="583" y="184"/>
                  <a:pt x="582" y="182"/>
                </a:cubicBezTo>
                <a:cubicBezTo>
                  <a:pt x="581" y="181"/>
                  <a:pt x="582" y="180"/>
                  <a:pt x="582" y="179"/>
                </a:cubicBezTo>
                <a:cubicBezTo>
                  <a:pt x="582" y="179"/>
                  <a:pt x="582" y="179"/>
                  <a:pt x="582" y="179"/>
                </a:cubicBezTo>
                <a:cubicBezTo>
                  <a:pt x="580" y="180"/>
                  <a:pt x="582" y="179"/>
                  <a:pt x="581" y="178"/>
                </a:cubicBezTo>
                <a:cubicBezTo>
                  <a:pt x="581" y="178"/>
                  <a:pt x="580" y="178"/>
                  <a:pt x="580" y="179"/>
                </a:cubicBezTo>
                <a:cubicBezTo>
                  <a:pt x="580" y="179"/>
                  <a:pt x="580" y="179"/>
                  <a:pt x="580" y="179"/>
                </a:cubicBezTo>
                <a:cubicBezTo>
                  <a:pt x="579" y="179"/>
                  <a:pt x="579" y="179"/>
                  <a:pt x="578" y="179"/>
                </a:cubicBezTo>
                <a:cubicBezTo>
                  <a:pt x="575" y="179"/>
                  <a:pt x="578" y="174"/>
                  <a:pt x="576" y="173"/>
                </a:cubicBezTo>
                <a:cubicBezTo>
                  <a:pt x="575" y="173"/>
                  <a:pt x="574" y="173"/>
                  <a:pt x="574" y="174"/>
                </a:cubicBezTo>
                <a:cubicBezTo>
                  <a:pt x="573" y="174"/>
                  <a:pt x="573" y="175"/>
                  <a:pt x="572" y="177"/>
                </a:cubicBezTo>
                <a:cubicBezTo>
                  <a:pt x="574" y="177"/>
                  <a:pt x="575" y="178"/>
                  <a:pt x="574" y="180"/>
                </a:cubicBezTo>
                <a:cubicBezTo>
                  <a:pt x="574" y="184"/>
                  <a:pt x="568" y="184"/>
                  <a:pt x="566" y="181"/>
                </a:cubicBezTo>
                <a:cubicBezTo>
                  <a:pt x="566" y="181"/>
                  <a:pt x="565" y="182"/>
                  <a:pt x="565" y="183"/>
                </a:cubicBezTo>
                <a:cubicBezTo>
                  <a:pt x="565" y="182"/>
                  <a:pt x="565" y="182"/>
                  <a:pt x="565" y="181"/>
                </a:cubicBezTo>
                <a:cubicBezTo>
                  <a:pt x="563" y="183"/>
                  <a:pt x="561" y="184"/>
                  <a:pt x="559" y="184"/>
                </a:cubicBezTo>
                <a:cubicBezTo>
                  <a:pt x="558" y="185"/>
                  <a:pt x="556" y="185"/>
                  <a:pt x="556" y="185"/>
                </a:cubicBezTo>
                <a:cubicBezTo>
                  <a:pt x="555" y="184"/>
                  <a:pt x="557" y="184"/>
                  <a:pt x="558" y="183"/>
                </a:cubicBezTo>
                <a:cubicBezTo>
                  <a:pt x="558" y="183"/>
                  <a:pt x="557" y="183"/>
                  <a:pt x="557" y="183"/>
                </a:cubicBezTo>
                <a:cubicBezTo>
                  <a:pt x="557" y="182"/>
                  <a:pt x="556" y="181"/>
                  <a:pt x="556" y="180"/>
                </a:cubicBezTo>
                <a:cubicBezTo>
                  <a:pt x="555" y="180"/>
                  <a:pt x="553" y="179"/>
                  <a:pt x="554" y="176"/>
                </a:cubicBezTo>
                <a:cubicBezTo>
                  <a:pt x="555" y="175"/>
                  <a:pt x="554" y="173"/>
                  <a:pt x="554" y="172"/>
                </a:cubicBezTo>
                <a:cubicBezTo>
                  <a:pt x="554" y="172"/>
                  <a:pt x="555" y="171"/>
                  <a:pt x="554" y="171"/>
                </a:cubicBezTo>
                <a:cubicBezTo>
                  <a:pt x="553" y="172"/>
                  <a:pt x="551" y="174"/>
                  <a:pt x="550" y="176"/>
                </a:cubicBezTo>
                <a:cubicBezTo>
                  <a:pt x="552" y="178"/>
                  <a:pt x="555" y="180"/>
                  <a:pt x="551" y="183"/>
                </a:cubicBezTo>
                <a:cubicBezTo>
                  <a:pt x="550" y="183"/>
                  <a:pt x="550" y="183"/>
                  <a:pt x="549" y="183"/>
                </a:cubicBezTo>
                <a:cubicBezTo>
                  <a:pt x="550" y="183"/>
                  <a:pt x="550" y="188"/>
                  <a:pt x="548" y="187"/>
                </a:cubicBezTo>
                <a:cubicBezTo>
                  <a:pt x="547" y="186"/>
                  <a:pt x="547" y="185"/>
                  <a:pt x="548" y="184"/>
                </a:cubicBezTo>
                <a:cubicBezTo>
                  <a:pt x="548" y="184"/>
                  <a:pt x="548" y="184"/>
                  <a:pt x="549" y="184"/>
                </a:cubicBezTo>
                <a:cubicBezTo>
                  <a:pt x="547" y="184"/>
                  <a:pt x="544" y="185"/>
                  <a:pt x="543" y="186"/>
                </a:cubicBezTo>
                <a:cubicBezTo>
                  <a:pt x="541" y="188"/>
                  <a:pt x="543" y="189"/>
                  <a:pt x="540" y="187"/>
                </a:cubicBezTo>
                <a:cubicBezTo>
                  <a:pt x="540" y="187"/>
                  <a:pt x="539" y="186"/>
                  <a:pt x="538" y="187"/>
                </a:cubicBezTo>
                <a:cubicBezTo>
                  <a:pt x="538" y="187"/>
                  <a:pt x="535" y="192"/>
                  <a:pt x="535" y="189"/>
                </a:cubicBezTo>
                <a:cubicBezTo>
                  <a:pt x="535" y="188"/>
                  <a:pt x="536" y="188"/>
                  <a:pt x="536" y="188"/>
                </a:cubicBezTo>
                <a:cubicBezTo>
                  <a:pt x="535" y="187"/>
                  <a:pt x="531" y="188"/>
                  <a:pt x="531" y="187"/>
                </a:cubicBezTo>
                <a:cubicBezTo>
                  <a:pt x="530" y="186"/>
                  <a:pt x="535" y="184"/>
                  <a:pt x="532" y="182"/>
                </a:cubicBezTo>
                <a:cubicBezTo>
                  <a:pt x="531" y="182"/>
                  <a:pt x="531" y="182"/>
                  <a:pt x="531" y="182"/>
                </a:cubicBezTo>
                <a:cubicBezTo>
                  <a:pt x="531" y="182"/>
                  <a:pt x="531" y="181"/>
                  <a:pt x="531" y="181"/>
                </a:cubicBezTo>
                <a:cubicBezTo>
                  <a:pt x="532" y="179"/>
                  <a:pt x="532" y="179"/>
                  <a:pt x="531" y="178"/>
                </a:cubicBezTo>
                <a:cubicBezTo>
                  <a:pt x="530" y="179"/>
                  <a:pt x="528" y="180"/>
                  <a:pt x="528" y="178"/>
                </a:cubicBezTo>
                <a:cubicBezTo>
                  <a:pt x="528" y="178"/>
                  <a:pt x="528" y="177"/>
                  <a:pt x="529" y="177"/>
                </a:cubicBezTo>
                <a:cubicBezTo>
                  <a:pt x="529" y="176"/>
                  <a:pt x="530" y="176"/>
                  <a:pt x="529" y="176"/>
                </a:cubicBezTo>
                <a:cubicBezTo>
                  <a:pt x="529" y="175"/>
                  <a:pt x="527" y="176"/>
                  <a:pt x="527" y="175"/>
                </a:cubicBezTo>
                <a:cubicBezTo>
                  <a:pt x="526" y="174"/>
                  <a:pt x="528" y="172"/>
                  <a:pt x="527" y="171"/>
                </a:cubicBezTo>
                <a:cubicBezTo>
                  <a:pt x="526" y="169"/>
                  <a:pt x="524" y="172"/>
                  <a:pt x="521" y="172"/>
                </a:cubicBezTo>
                <a:cubicBezTo>
                  <a:pt x="521" y="172"/>
                  <a:pt x="519" y="170"/>
                  <a:pt x="517" y="172"/>
                </a:cubicBezTo>
                <a:cubicBezTo>
                  <a:pt x="516" y="173"/>
                  <a:pt x="518" y="176"/>
                  <a:pt x="515" y="177"/>
                </a:cubicBezTo>
                <a:cubicBezTo>
                  <a:pt x="514" y="178"/>
                  <a:pt x="509" y="180"/>
                  <a:pt x="508" y="178"/>
                </a:cubicBezTo>
                <a:cubicBezTo>
                  <a:pt x="508" y="177"/>
                  <a:pt x="510" y="177"/>
                  <a:pt x="510" y="177"/>
                </a:cubicBezTo>
                <a:cubicBezTo>
                  <a:pt x="511" y="176"/>
                  <a:pt x="509" y="174"/>
                  <a:pt x="509" y="174"/>
                </a:cubicBezTo>
                <a:cubicBezTo>
                  <a:pt x="510" y="172"/>
                  <a:pt x="512" y="172"/>
                  <a:pt x="512" y="171"/>
                </a:cubicBezTo>
                <a:cubicBezTo>
                  <a:pt x="512" y="171"/>
                  <a:pt x="511" y="171"/>
                  <a:pt x="511" y="170"/>
                </a:cubicBezTo>
                <a:cubicBezTo>
                  <a:pt x="511" y="170"/>
                  <a:pt x="512" y="170"/>
                  <a:pt x="512" y="170"/>
                </a:cubicBezTo>
                <a:cubicBezTo>
                  <a:pt x="511" y="168"/>
                  <a:pt x="511" y="167"/>
                  <a:pt x="512" y="166"/>
                </a:cubicBezTo>
                <a:cubicBezTo>
                  <a:pt x="512" y="166"/>
                  <a:pt x="512" y="166"/>
                  <a:pt x="512" y="165"/>
                </a:cubicBezTo>
                <a:cubicBezTo>
                  <a:pt x="512" y="165"/>
                  <a:pt x="512" y="165"/>
                  <a:pt x="512" y="165"/>
                </a:cubicBezTo>
                <a:cubicBezTo>
                  <a:pt x="511" y="165"/>
                  <a:pt x="511" y="164"/>
                  <a:pt x="513" y="163"/>
                </a:cubicBezTo>
                <a:cubicBezTo>
                  <a:pt x="513" y="163"/>
                  <a:pt x="513" y="162"/>
                  <a:pt x="513" y="162"/>
                </a:cubicBezTo>
                <a:cubicBezTo>
                  <a:pt x="513" y="162"/>
                  <a:pt x="512" y="162"/>
                  <a:pt x="512" y="162"/>
                </a:cubicBezTo>
                <a:cubicBezTo>
                  <a:pt x="511" y="162"/>
                  <a:pt x="510" y="162"/>
                  <a:pt x="510" y="162"/>
                </a:cubicBezTo>
                <a:cubicBezTo>
                  <a:pt x="509" y="162"/>
                  <a:pt x="509" y="162"/>
                  <a:pt x="509" y="161"/>
                </a:cubicBezTo>
                <a:cubicBezTo>
                  <a:pt x="508" y="161"/>
                  <a:pt x="509" y="160"/>
                  <a:pt x="509" y="160"/>
                </a:cubicBezTo>
                <a:cubicBezTo>
                  <a:pt x="509" y="159"/>
                  <a:pt x="509" y="158"/>
                  <a:pt x="509" y="158"/>
                </a:cubicBezTo>
                <a:cubicBezTo>
                  <a:pt x="510" y="158"/>
                  <a:pt x="513" y="158"/>
                  <a:pt x="515" y="156"/>
                </a:cubicBezTo>
                <a:cubicBezTo>
                  <a:pt x="514" y="158"/>
                  <a:pt x="515" y="159"/>
                  <a:pt x="516" y="157"/>
                </a:cubicBezTo>
                <a:cubicBezTo>
                  <a:pt x="518" y="156"/>
                  <a:pt x="516" y="156"/>
                  <a:pt x="516" y="156"/>
                </a:cubicBezTo>
                <a:cubicBezTo>
                  <a:pt x="516" y="156"/>
                  <a:pt x="517" y="155"/>
                  <a:pt x="516" y="154"/>
                </a:cubicBezTo>
                <a:cubicBezTo>
                  <a:pt x="516" y="154"/>
                  <a:pt x="516" y="154"/>
                  <a:pt x="516" y="154"/>
                </a:cubicBezTo>
                <a:cubicBezTo>
                  <a:pt x="514" y="155"/>
                  <a:pt x="512" y="156"/>
                  <a:pt x="510" y="155"/>
                </a:cubicBezTo>
                <a:cubicBezTo>
                  <a:pt x="510" y="156"/>
                  <a:pt x="510" y="156"/>
                  <a:pt x="510" y="156"/>
                </a:cubicBezTo>
                <a:cubicBezTo>
                  <a:pt x="510" y="156"/>
                  <a:pt x="511" y="156"/>
                  <a:pt x="511" y="156"/>
                </a:cubicBezTo>
                <a:cubicBezTo>
                  <a:pt x="510" y="157"/>
                  <a:pt x="510" y="156"/>
                  <a:pt x="510" y="155"/>
                </a:cubicBezTo>
                <a:cubicBezTo>
                  <a:pt x="509" y="155"/>
                  <a:pt x="509" y="154"/>
                  <a:pt x="509" y="154"/>
                </a:cubicBezTo>
                <a:cubicBezTo>
                  <a:pt x="509" y="152"/>
                  <a:pt x="511" y="150"/>
                  <a:pt x="514" y="150"/>
                </a:cubicBezTo>
                <a:cubicBezTo>
                  <a:pt x="514" y="149"/>
                  <a:pt x="512" y="148"/>
                  <a:pt x="513" y="147"/>
                </a:cubicBezTo>
                <a:cubicBezTo>
                  <a:pt x="514" y="145"/>
                  <a:pt x="517" y="144"/>
                  <a:pt x="516" y="143"/>
                </a:cubicBezTo>
                <a:cubicBezTo>
                  <a:pt x="517" y="143"/>
                  <a:pt x="520" y="142"/>
                  <a:pt x="521" y="143"/>
                </a:cubicBezTo>
                <a:cubicBezTo>
                  <a:pt x="524" y="144"/>
                  <a:pt x="523" y="145"/>
                  <a:pt x="527" y="143"/>
                </a:cubicBezTo>
                <a:cubicBezTo>
                  <a:pt x="527" y="143"/>
                  <a:pt x="528" y="143"/>
                  <a:pt x="529" y="143"/>
                </a:cubicBezTo>
                <a:cubicBezTo>
                  <a:pt x="531" y="142"/>
                  <a:pt x="530" y="142"/>
                  <a:pt x="529" y="139"/>
                </a:cubicBezTo>
                <a:cubicBezTo>
                  <a:pt x="532" y="141"/>
                  <a:pt x="531" y="139"/>
                  <a:pt x="529" y="138"/>
                </a:cubicBezTo>
                <a:cubicBezTo>
                  <a:pt x="529" y="139"/>
                  <a:pt x="529" y="139"/>
                  <a:pt x="529" y="139"/>
                </a:cubicBezTo>
                <a:cubicBezTo>
                  <a:pt x="529" y="139"/>
                  <a:pt x="529" y="139"/>
                  <a:pt x="529" y="138"/>
                </a:cubicBezTo>
                <a:cubicBezTo>
                  <a:pt x="528" y="138"/>
                  <a:pt x="528" y="138"/>
                  <a:pt x="528" y="138"/>
                </a:cubicBezTo>
                <a:cubicBezTo>
                  <a:pt x="528" y="138"/>
                  <a:pt x="526" y="141"/>
                  <a:pt x="526" y="139"/>
                </a:cubicBezTo>
                <a:cubicBezTo>
                  <a:pt x="525" y="139"/>
                  <a:pt x="528" y="135"/>
                  <a:pt x="525" y="135"/>
                </a:cubicBezTo>
                <a:cubicBezTo>
                  <a:pt x="531" y="133"/>
                  <a:pt x="523" y="131"/>
                  <a:pt x="520" y="130"/>
                </a:cubicBezTo>
                <a:cubicBezTo>
                  <a:pt x="519" y="129"/>
                  <a:pt x="518" y="127"/>
                  <a:pt x="518" y="126"/>
                </a:cubicBezTo>
                <a:cubicBezTo>
                  <a:pt x="517" y="126"/>
                  <a:pt x="516" y="125"/>
                  <a:pt x="517" y="124"/>
                </a:cubicBezTo>
                <a:cubicBezTo>
                  <a:pt x="517" y="124"/>
                  <a:pt x="517" y="124"/>
                  <a:pt x="517" y="124"/>
                </a:cubicBezTo>
                <a:cubicBezTo>
                  <a:pt x="516" y="123"/>
                  <a:pt x="516" y="123"/>
                  <a:pt x="515" y="123"/>
                </a:cubicBezTo>
                <a:cubicBezTo>
                  <a:pt x="515" y="123"/>
                  <a:pt x="514" y="123"/>
                  <a:pt x="514" y="123"/>
                </a:cubicBezTo>
                <a:cubicBezTo>
                  <a:pt x="514" y="123"/>
                  <a:pt x="513" y="123"/>
                  <a:pt x="513" y="124"/>
                </a:cubicBezTo>
                <a:cubicBezTo>
                  <a:pt x="513" y="124"/>
                  <a:pt x="511" y="125"/>
                  <a:pt x="510" y="125"/>
                </a:cubicBezTo>
                <a:cubicBezTo>
                  <a:pt x="509" y="126"/>
                  <a:pt x="508" y="125"/>
                  <a:pt x="508" y="124"/>
                </a:cubicBezTo>
                <a:cubicBezTo>
                  <a:pt x="507" y="124"/>
                  <a:pt x="506" y="125"/>
                  <a:pt x="505" y="125"/>
                </a:cubicBezTo>
                <a:cubicBezTo>
                  <a:pt x="504" y="124"/>
                  <a:pt x="506" y="124"/>
                  <a:pt x="507" y="123"/>
                </a:cubicBezTo>
                <a:cubicBezTo>
                  <a:pt x="507" y="122"/>
                  <a:pt x="507" y="122"/>
                  <a:pt x="508" y="121"/>
                </a:cubicBezTo>
                <a:cubicBezTo>
                  <a:pt x="506" y="121"/>
                  <a:pt x="504" y="121"/>
                  <a:pt x="504" y="121"/>
                </a:cubicBezTo>
                <a:cubicBezTo>
                  <a:pt x="504" y="121"/>
                  <a:pt x="504" y="121"/>
                  <a:pt x="503" y="121"/>
                </a:cubicBezTo>
                <a:cubicBezTo>
                  <a:pt x="504" y="122"/>
                  <a:pt x="505" y="122"/>
                  <a:pt x="506" y="122"/>
                </a:cubicBezTo>
                <a:cubicBezTo>
                  <a:pt x="505" y="123"/>
                  <a:pt x="504" y="123"/>
                  <a:pt x="502" y="122"/>
                </a:cubicBezTo>
                <a:cubicBezTo>
                  <a:pt x="502" y="123"/>
                  <a:pt x="502" y="123"/>
                  <a:pt x="502" y="123"/>
                </a:cubicBezTo>
                <a:cubicBezTo>
                  <a:pt x="502" y="124"/>
                  <a:pt x="501" y="125"/>
                  <a:pt x="500" y="125"/>
                </a:cubicBezTo>
                <a:cubicBezTo>
                  <a:pt x="500" y="126"/>
                  <a:pt x="499" y="126"/>
                  <a:pt x="498" y="125"/>
                </a:cubicBezTo>
                <a:cubicBezTo>
                  <a:pt x="498" y="125"/>
                  <a:pt x="499" y="124"/>
                  <a:pt x="499" y="124"/>
                </a:cubicBezTo>
                <a:cubicBezTo>
                  <a:pt x="499" y="123"/>
                  <a:pt x="498" y="122"/>
                  <a:pt x="499" y="123"/>
                </a:cubicBezTo>
                <a:cubicBezTo>
                  <a:pt x="499" y="123"/>
                  <a:pt x="499" y="123"/>
                  <a:pt x="500" y="123"/>
                </a:cubicBezTo>
                <a:cubicBezTo>
                  <a:pt x="500" y="123"/>
                  <a:pt x="500" y="123"/>
                  <a:pt x="500" y="123"/>
                </a:cubicBezTo>
                <a:cubicBezTo>
                  <a:pt x="500" y="123"/>
                  <a:pt x="500" y="123"/>
                  <a:pt x="501" y="122"/>
                </a:cubicBezTo>
                <a:cubicBezTo>
                  <a:pt x="500" y="122"/>
                  <a:pt x="499" y="122"/>
                  <a:pt x="499" y="121"/>
                </a:cubicBezTo>
                <a:cubicBezTo>
                  <a:pt x="499" y="121"/>
                  <a:pt x="500" y="121"/>
                  <a:pt x="501" y="121"/>
                </a:cubicBezTo>
                <a:cubicBezTo>
                  <a:pt x="501" y="121"/>
                  <a:pt x="501" y="121"/>
                  <a:pt x="500" y="120"/>
                </a:cubicBezTo>
                <a:cubicBezTo>
                  <a:pt x="499" y="120"/>
                  <a:pt x="499" y="121"/>
                  <a:pt x="498" y="121"/>
                </a:cubicBezTo>
                <a:cubicBezTo>
                  <a:pt x="497" y="121"/>
                  <a:pt x="496" y="117"/>
                  <a:pt x="494" y="120"/>
                </a:cubicBezTo>
                <a:cubicBezTo>
                  <a:pt x="494" y="120"/>
                  <a:pt x="495" y="121"/>
                  <a:pt x="495" y="121"/>
                </a:cubicBezTo>
                <a:cubicBezTo>
                  <a:pt x="495" y="121"/>
                  <a:pt x="495" y="121"/>
                  <a:pt x="495" y="121"/>
                </a:cubicBezTo>
                <a:cubicBezTo>
                  <a:pt x="495" y="121"/>
                  <a:pt x="496" y="121"/>
                  <a:pt x="496" y="121"/>
                </a:cubicBezTo>
                <a:cubicBezTo>
                  <a:pt x="497" y="122"/>
                  <a:pt x="495" y="123"/>
                  <a:pt x="495" y="122"/>
                </a:cubicBezTo>
                <a:cubicBezTo>
                  <a:pt x="495" y="122"/>
                  <a:pt x="495" y="122"/>
                  <a:pt x="495" y="122"/>
                </a:cubicBezTo>
                <a:cubicBezTo>
                  <a:pt x="494" y="123"/>
                  <a:pt x="490" y="122"/>
                  <a:pt x="489" y="122"/>
                </a:cubicBezTo>
                <a:cubicBezTo>
                  <a:pt x="491" y="121"/>
                  <a:pt x="489" y="120"/>
                  <a:pt x="488" y="119"/>
                </a:cubicBezTo>
                <a:cubicBezTo>
                  <a:pt x="486" y="120"/>
                  <a:pt x="484" y="121"/>
                  <a:pt x="482" y="122"/>
                </a:cubicBezTo>
                <a:cubicBezTo>
                  <a:pt x="483" y="121"/>
                  <a:pt x="486" y="120"/>
                  <a:pt x="488" y="119"/>
                </a:cubicBezTo>
                <a:cubicBezTo>
                  <a:pt x="487" y="118"/>
                  <a:pt x="486" y="118"/>
                  <a:pt x="487" y="117"/>
                </a:cubicBezTo>
                <a:cubicBezTo>
                  <a:pt x="488" y="115"/>
                  <a:pt x="492" y="116"/>
                  <a:pt x="493" y="114"/>
                </a:cubicBezTo>
                <a:cubicBezTo>
                  <a:pt x="493" y="113"/>
                  <a:pt x="492" y="114"/>
                  <a:pt x="492" y="114"/>
                </a:cubicBezTo>
                <a:cubicBezTo>
                  <a:pt x="492" y="112"/>
                  <a:pt x="494" y="111"/>
                  <a:pt x="491" y="110"/>
                </a:cubicBezTo>
                <a:cubicBezTo>
                  <a:pt x="491" y="110"/>
                  <a:pt x="486" y="109"/>
                  <a:pt x="484" y="110"/>
                </a:cubicBezTo>
                <a:cubicBezTo>
                  <a:pt x="481" y="110"/>
                  <a:pt x="479" y="110"/>
                  <a:pt x="477" y="109"/>
                </a:cubicBezTo>
                <a:cubicBezTo>
                  <a:pt x="480" y="109"/>
                  <a:pt x="481" y="107"/>
                  <a:pt x="483" y="106"/>
                </a:cubicBezTo>
                <a:cubicBezTo>
                  <a:pt x="484" y="106"/>
                  <a:pt x="484" y="106"/>
                  <a:pt x="484" y="106"/>
                </a:cubicBezTo>
                <a:cubicBezTo>
                  <a:pt x="488" y="105"/>
                  <a:pt x="491" y="108"/>
                  <a:pt x="494" y="107"/>
                </a:cubicBezTo>
                <a:cubicBezTo>
                  <a:pt x="494" y="107"/>
                  <a:pt x="498" y="104"/>
                  <a:pt x="498" y="103"/>
                </a:cubicBezTo>
                <a:cubicBezTo>
                  <a:pt x="499" y="103"/>
                  <a:pt x="500" y="104"/>
                  <a:pt x="501" y="103"/>
                </a:cubicBezTo>
                <a:cubicBezTo>
                  <a:pt x="500" y="103"/>
                  <a:pt x="500" y="103"/>
                  <a:pt x="499" y="103"/>
                </a:cubicBezTo>
                <a:cubicBezTo>
                  <a:pt x="499" y="103"/>
                  <a:pt x="499" y="103"/>
                  <a:pt x="499" y="103"/>
                </a:cubicBezTo>
                <a:cubicBezTo>
                  <a:pt x="498" y="103"/>
                  <a:pt x="497" y="104"/>
                  <a:pt x="496" y="104"/>
                </a:cubicBezTo>
                <a:cubicBezTo>
                  <a:pt x="496" y="104"/>
                  <a:pt x="496" y="104"/>
                  <a:pt x="496" y="104"/>
                </a:cubicBezTo>
                <a:cubicBezTo>
                  <a:pt x="496" y="104"/>
                  <a:pt x="496" y="104"/>
                  <a:pt x="496" y="104"/>
                </a:cubicBezTo>
                <a:cubicBezTo>
                  <a:pt x="494" y="104"/>
                  <a:pt x="493" y="104"/>
                  <a:pt x="493" y="103"/>
                </a:cubicBezTo>
                <a:cubicBezTo>
                  <a:pt x="493" y="103"/>
                  <a:pt x="493" y="102"/>
                  <a:pt x="493" y="102"/>
                </a:cubicBezTo>
                <a:cubicBezTo>
                  <a:pt x="493" y="101"/>
                  <a:pt x="494" y="100"/>
                  <a:pt x="495" y="100"/>
                </a:cubicBezTo>
                <a:cubicBezTo>
                  <a:pt x="496" y="99"/>
                  <a:pt x="499" y="100"/>
                  <a:pt x="499" y="102"/>
                </a:cubicBezTo>
                <a:cubicBezTo>
                  <a:pt x="499" y="102"/>
                  <a:pt x="499" y="102"/>
                  <a:pt x="499" y="102"/>
                </a:cubicBezTo>
                <a:cubicBezTo>
                  <a:pt x="499" y="101"/>
                  <a:pt x="501" y="100"/>
                  <a:pt x="502" y="100"/>
                </a:cubicBezTo>
                <a:cubicBezTo>
                  <a:pt x="502" y="99"/>
                  <a:pt x="502" y="99"/>
                  <a:pt x="501" y="99"/>
                </a:cubicBezTo>
                <a:cubicBezTo>
                  <a:pt x="501" y="99"/>
                  <a:pt x="501" y="99"/>
                  <a:pt x="501" y="99"/>
                </a:cubicBezTo>
                <a:cubicBezTo>
                  <a:pt x="500" y="100"/>
                  <a:pt x="500" y="99"/>
                  <a:pt x="501" y="98"/>
                </a:cubicBezTo>
                <a:cubicBezTo>
                  <a:pt x="499" y="97"/>
                  <a:pt x="497" y="97"/>
                  <a:pt x="495" y="96"/>
                </a:cubicBezTo>
                <a:cubicBezTo>
                  <a:pt x="497" y="95"/>
                  <a:pt x="497" y="95"/>
                  <a:pt x="497" y="94"/>
                </a:cubicBezTo>
                <a:cubicBezTo>
                  <a:pt x="495" y="95"/>
                  <a:pt x="492" y="95"/>
                  <a:pt x="494" y="93"/>
                </a:cubicBezTo>
                <a:cubicBezTo>
                  <a:pt x="494" y="93"/>
                  <a:pt x="495" y="93"/>
                  <a:pt x="495" y="93"/>
                </a:cubicBezTo>
                <a:cubicBezTo>
                  <a:pt x="494" y="92"/>
                  <a:pt x="494" y="92"/>
                  <a:pt x="494" y="92"/>
                </a:cubicBezTo>
                <a:cubicBezTo>
                  <a:pt x="491" y="93"/>
                  <a:pt x="489" y="94"/>
                  <a:pt x="486" y="95"/>
                </a:cubicBezTo>
                <a:cubicBezTo>
                  <a:pt x="483" y="96"/>
                  <a:pt x="487" y="93"/>
                  <a:pt x="489" y="92"/>
                </a:cubicBezTo>
                <a:cubicBezTo>
                  <a:pt x="490" y="91"/>
                  <a:pt x="492" y="91"/>
                  <a:pt x="494" y="90"/>
                </a:cubicBezTo>
                <a:cubicBezTo>
                  <a:pt x="494" y="90"/>
                  <a:pt x="495" y="89"/>
                  <a:pt x="495" y="89"/>
                </a:cubicBezTo>
                <a:cubicBezTo>
                  <a:pt x="495" y="89"/>
                  <a:pt x="496" y="89"/>
                  <a:pt x="497" y="89"/>
                </a:cubicBezTo>
                <a:cubicBezTo>
                  <a:pt x="498" y="88"/>
                  <a:pt x="499" y="87"/>
                  <a:pt x="500" y="86"/>
                </a:cubicBezTo>
                <a:cubicBezTo>
                  <a:pt x="501" y="85"/>
                  <a:pt x="502" y="84"/>
                  <a:pt x="501" y="83"/>
                </a:cubicBezTo>
                <a:cubicBezTo>
                  <a:pt x="501" y="83"/>
                  <a:pt x="500" y="83"/>
                  <a:pt x="500" y="82"/>
                </a:cubicBezTo>
                <a:cubicBezTo>
                  <a:pt x="500" y="82"/>
                  <a:pt x="500" y="83"/>
                  <a:pt x="500" y="83"/>
                </a:cubicBezTo>
                <a:cubicBezTo>
                  <a:pt x="499" y="83"/>
                  <a:pt x="499" y="82"/>
                  <a:pt x="499" y="82"/>
                </a:cubicBezTo>
                <a:cubicBezTo>
                  <a:pt x="498" y="82"/>
                  <a:pt x="496" y="82"/>
                  <a:pt x="497" y="81"/>
                </a:cubicBezTo>
                <a:cubicBezTo>
                  <a:pt x="496" y="81"/>
                  <a:pt x="496" y="81"/>
                  <a:pt x="496" y="81"/>
                </a:cubicBezTo>
                <a:cubicBezTo>
                  <a:pt x="496" y="79"/>
                  <a:pt x="497" y="79"/>
                  <a:pt x="499" y="78"/>
                </a:cubicBezTo>
                <a:cubicBezTo>
                  <a:pt x="499" y="77"/>
                  <a:pt x="499" y="77"/>
                  <a:pt x="499" y="76"/>
                </a:cubicBezTo>
                <a:cubicBezTo>
                  <a:pt x="499" y="76"/>
                  <a:pt x="500" y="76"/>
                  <a:pt x="500" y="76"/>
                </a:cubicBezTo>
                <a:cubicBezTo>
                  <a:pt x="499" y="75"/>
                  <a:pt x="497" y="75"/>
                  <a:pt x="495" y="75"/>
                </a:cubicBezTo>
                <a:cubicBezTo>
                  <a:pt x="494" y="75"/>
                  <a:pt x="492" y="75"/>
                  <a:pt x="492" y="74"/>
                </a:cubicBezTo>
                <a:cubicBezTo>
                  <a:pt x="491" y="74"/>
                  <a:pt x="490" y="73"/>
                  <a:pt x="490" y="72"/>
                </a:cubicBezTo>
                <a:cubicBezTo>
                  <a:pt x="489" y="73"/>
                  <a:pt x="489" y="73"/>
                  <a:pt x="488" y="72"/>
                </a:cubicBezTo>
                <a:cubicBezTo>
                  <a:pt x="487" y="71"/>
                  <a:pt x="486" y="69"/>
                  <a:pt x="488" y="68"/>
                </a:cubicBezTo>
                <a:cubicBezTo>
                  <a:pt x="488" y="68"/>
                  <a:pt x="488" y="68"/>
                  <a:pt x="488" y="68"/>
                </a:cubicBezTo>
                <a:cubicBezTo>
                  <a:pt x="488" y="68"/>
                  <a:pt x="488" y="67"/>
                  <a:pt x="488" y="67"/>
                </a:cubicBezTo>
                <a:cubicBezTo>
                  <a:pt x="487" y="67"/>
                  <a:pt x="486" y="68"/>
                  <a:pt x="485" y="67"/>
                </a:cubicBezTo>
                <a:cubicBezTo>
                  <a:pt x="485" y="68"/>
                  <a:pt x="484" y="69"/>
                  <a:pt x="484" y="69"/>
                </a:cubicBezTo>
                <a:cubicBezTo>
                  <a:pt x="484" y="70"/>
                  <a:pt x="482" y="70"/>
                  <a:pt x="481" y="71"/>
                </a:cubicBezTo>
                <a:cubicBezTo>
                  <a:pt x="480" y="73"/>
                  <a:pt x="479" y="73"/>
                  <a:pt x="478" y="74"/>
                </a:cubicBezTo>
                <a:cubicBezTo>
                  <a:pt x="477" y="74"/>
                  <a:pt x="478" y="75"/>
                  <a:pt x="478" y="75"/>
                </a:cubicBezTo>
                <a:cubicBezTo>
                  <a:pt x="477" y="75"/>
                  <a:pt x="475" y="74"/>
                  <a:pt x="475" y="75"/>
                </a:cubicBezTo>
                <a:cubicBezTo>
                  <a:pt x="475" y="75"/>
                  <a:pt x="475" y="75"/>
                  <a:pt x="474" y="75"/>
                </a:cubicBezTo>
                <a:cubicBezTo>
                  <a:pt x="474" y="75"/>
                  <a:pt x="474" y="75"/>
                  <a:pt x="474" y="75"/>
                </a:cubicBezTo>
                <a:cubicBezTo>
                  <a:pt x="474" y="75"/>
                  <a:pt x="474" y="75"/>
                  <a:pt x="473" y="75"/>
                </a:cubicBezTo>
                <a:cubicBezTo>
                  <a:pt x="472" y="75"/>
                  <a:pt x="472" y="76"/>
                  <a:pt x="471" y="76"/>
                </a:cubicBezTo>
                <a:cubicBezTo>
                  <a:pt x="471" y="76"/>
                  <a:pt x="472" y="75"/>
                  <a:pt x="472" y="75"/>
                </a:cubicBezTo>
                <a:cubicBezTo>
                  <a:pt x="470" y="73"/>
                  <a:pt x="466" y="70"/>
                  <a:pt x="465" y="69"/>
                </a:cubicBezTo>
                <a:cubicBezTo>
                  <a:pt x="465" y="67"/>
                  <a:pt x="470" y="66"/>
                  <a:pt x="471" y="64"/>
                </a:cubicBezTo>
                <a:cubicBezTo>
                  <a:pt x="471" y="63"/>
                  <a:pt x="469" y="62"/>
                  <a:pt x="471" y="61"/>
                </a:cubicBezTo>
                <a:cubicBezTo>
                  <a:pt x="472" y="60"/>
                  <a:pt x="472" y="62"/>
                  <a:pt x="473" y="63"/>
                </a:cubicBezTo>
                <a:cubicBezTo>
                  <a:pt x="474" y="63"/>
                  <a:pt x="478" y="63"/>
                  <a:pt x="481" y="63"/>
                </a:cubicBezTo>
                <a:cubicBezTo>
                  <a:pt x="482" y="64"/>
                  <a:pt x="483" y="64"/>
                  <a:pt x="484" y="64"/>
                </a:cubicBezTo>
                <a:cubicBezTo>
                  <a:pt x="485" y="63"/>
                  <a:pt x="489" y="62"/>
                  <a:pt x="490" y="62"/>
                </a:cubicBezTo>
                <a:cubicBezTo>
                  <a:pt x="490" y="61"/>
                  <a:pt x="488" y="62"/>
                  <a:pt x="488" y="60"/>
                </a:cubicBezTo>
                <a:cubicBezTo>
                  <a:pt x="489" y="60"/>
                  <a:pt x="490" y="61"/>
                  <a:pt x="491" y="61"/>
                </a:cubicBezTo>
                <a:cubicBezTo>
                  <a:pt x="493" y="60"/>
                  <a:pt x="497" y="60"/>
                  <a:pt x="499" y="59"/>
                </a:cubicBezTo>
                <a:cubicBezTo>
                  <a:pt x="499" y="58"/>
                  <a:pt x="499" y="57"/>
                  <a:pt x="498" y="57"/>
                </a:cubicBezTo>
                <a:cubicBezTo>
                  <a:pt x="498" y="57"/>
                  <a:pt x="497" y="58"/>
                  <a:pt x="497" y="58"/>
                </a:cubicBezTo>
                <a:cubicBezTo>
                  <a:pt x="497" y="58"/>
                  <a:pt x="494" y="57"/>
                  <a:pt x="491" y="56"/>
                </a:cubicBezTo>
                <a:cubicBezTo>
                  <a:pt x="490" y="56"/>
                  <a:pt x="490" y="56"/>
                  <a:pt x="490" y="55"/>
                </a:cubicBezTo>
                <a:cubicBezTo>
                  <a:pt x="489" y="55"/>
                  <a:pt x="489" y="55"/>
                  <a:pt x="489" y="55"/>
                </a:cubicBezTo>
                <a:cubicBezTo>
                  <a:pt x="489" y="55"/>
                  <a:pt x="489" y="55"/>
                  <a:pt x="489" y="55"/>
                </a:cubicBezTo>
                <a:cubicBezTo>
                  <a:pt x="489" y="54"/>
                  <a:pt x="489" y="53"/>
                  <a:pt x="489" y="53"/>
                </a:cubicBezTo>
                <a:cubicBezTo>
                  <a:pt x="487" y="51"/>
                  <a:pt x="483" y="53"/>
                  <a:pt x="481" y="52"/>
                </a:cubicBezTo>
                <a:cubicBezTo>
                  <a:pt x="481" y="52"/>
                  <a:pt x="480" y="52"/>
                  <a:pt x="479" y="52"/>
                </a:cubicBezTo>
                <a:cubicBezTo>
                  <a:pt x="479" y="52"/>
                  <a:pt x="479" y="52"/>
                  <a:pt x="479" y="52"/>
                </a:cubicBezTo>
                <a:cubicBezTo>
                  <a:pt x="479" y="54"/>
                  <a:pt x="474" y="56"/>
                  <a:pt x="473" y="54"/>
                </a:cubicBezTo>
                <a:cubicBezTo>
                  <a:pt x="472" y="53"/>
                  <a:pt x="473" y="51"/>
                  <a:pt x="475" y="50"/>
                </a:cubicBezTo>
                <a:cubicBezTo>
                  <a:pt x="475" y="50"/>
                  <a:pt x="475" y="50"/>
                  <a:pt x="475" y="50"/>
                </a:cubicBezTo>
                <a:cubicBezTo>
                  <a:pt x="475" y="50"/>
                  <a:pt x="475" y="49"/>
                  <a:pt x="475" y="49"/>
                </a:cubicBezTo>
                <a:cubicBezTo>
                  <a:pt x="475" y="49"/>
                  <a:pt x="475" y="49"/>
                  <a:pt x="475" y="49"/>
                </a:cubicBezTo>
                <a:cubicBezTo>
                  <a:pt x="475" y="49"/>
                  <a:pt x="475" y="49"/>
                  <a:pt x="475" y="49"/>
                </a:cubicBezTo>
                <a:cubicBezTo>
                  <a:pt x="474" y="49"/>
                  <a:pt x="473" y="49"/>
                  <a:pt x="472" y="49"/>
                </a:cubicBezTo>
                <a:cubicBezTo>
                  <a:pt x="472" y="49"/>
                  <a:pt x="472" y="50"/>
                  <a:pt x="472" y="50"/>
                </a:cubicBezTo>
                <a:cubicBezTo>
                  <a:pt x="471" y="50"/>
                  <a:pt x="471" y="51"/>
                  <a:pt x="471" y="51"/>
                </a:cubicBezTo>
                <a:cubicBezTo>
                  <a:pt x="470" y="53"/>
                  <a:pt x="467" y="53"/>
                  <a:pt x="465" y="55"/>
                </a:cubicBezTo>
                <a:cubicBezTo>
                  <a:pt x="464" y="56"/>
                  <a:pt x="461" y="59"/>
                  <a:pt x="460" y="59"/>
                </a:cubicBezTo>
                <a:cubicBezTo>
                  <a:pt x="459" y="59"/>
                  <a:pt x="458" y="57"/>
                  <a:pt x="458" y="56"/>
                </a:cubicBezTo>
                <a:cubicBezTo>
                  <a:pt x="457" y="56"/>
                  <a:pt x="457" y="57"/>
                  <a:pt x="457" y="57"/>
                </a:cubicBezTo>
                <a:cubicBezTo>
                  <a:pt x="456" y="58"/>
                  <a:pt x="455" y="57"/>
                  <a:pt x="454" y="56"/>
                </a:cubicBezTo>
                <a:cubicBezTo>
                  <a:pt x="453" y="56"/>
                  <a:pt x="452" y="56"/>
                  <a:pt x="452" y="55"/>
                </a:cubicBezTo>
                <a:cubicBezTo>
                  <a:pt x="452" y="55"/>
                  <a:pt x="453" y="54"/>
                  <a:pt x="454" y="53"/>
                </a:cubicBezTo>
                <a:cubicBezTo>
                  <a:pt x="455" y="52"/>
                  <a:pt x="456" y="51"/>
                  <a:pt x="457" y="53"/>
                </a:cubicBezTo>
                <a:cubicBezTo>
                  <a:pt x="458" y="53"/>
                  <a:pt x="458" y="53"/>
                  <a:pt x="458" y="51"/>
                </a:cubicBezTo>
                <a:cubicBezTo>
                  <a:pt x="456" y="51"/>
                  <a:pt x="455" y="51"/>
                  <a:pt x="455" y="50"/>
                </a:cubicBezTo>
                <a:cubicBezTo>
                  <a:pt x="455" y="49"/>
                  <a:pt x="456" y="48"/>
                  <a:pt x="457" y="48"/>
                </a:cubicBezTo>
                <a:cubicBezTo>
                  <a:pt x="456" y="47"/>
                  <a:pt x="454" y="46"/>
                  <a:pt x="454" y="45"/>
                </a:cubicBezTo>
                <a:cubicBezTo>
                  <a:pt x="454" y="45"/>
                  <a:pt x="455" y="42"/>
                  <a:pt x="456" y="41"/>
                </a:cubicBezTo>
                <a:cubicBezTo>
                  <a:pt x="457" y="41"/>
                  <a:pt x="460" y="40"/>
                  <a:pt x="460" y="40"/>
                </a:cubicBezTo>
                <a:cubicBezTo>
                  <a:pt x="460" y="39"/>
                  <a:pt x="459" y="39"/>
                  <a:pt x="458" y="39"/>
                </a:cubicBezTo>
                <a:cubicBezTo>
                  <a:pt x="458" y="39"/>
                  <a:pt x="458" y="40"/>
                  <a:pt x="458" y="40"/>
                </a:cubicBezTo>
                <a:cubicBezTo>
                  <a:pt x="458" y="40"/>
                  <a:pt x="458" y="40"/>
                  <a:pt x="458" y="40"/>
                </a:cubicBezTo>
                <a:cubicBezTo>
                  <a:pt x="458" y="40"/>
                  <a:pt x="458" y="40"/>
                  <a:pt x="458" y="40"/>
                </a:cubicBezTo>
                <a:cubicBezTo>
                  <a:pt x="457" y="40"/>
                  <a:pt x="456" y="41"/>
                  <a:pt x="455" y="40"/>
                </a:cubicBezTo>
                <a:cubicBezTo>
                  <a:pt x="455" y="40"/>
                  <a:pt x="455" y="40"/>
                  <a:pt x="455" y="39"/>
                </a:cubicBezTo>
                <a:cubicBezTo>
                  <a:pt x="455" y="39"/>
                  <a:pt x="455" y="39"/>
                  <a:pt x="454" y="39"/>
                </a:cubicBezTo>
                <a:cubicBezTo>
                  <a:pt x="454" y="39"/>
                  <a:pt x="454" y="39"/>
                  <a:pt x="455" y="38"/>
                </a:cubicBezTo>
                <a:cubicBezTo>
                  <a:pt x="455" y="38"/>
                  <a:pt x="455" y="38"/>
                  <a:pt x="454" y="38"/>
                </a:cubicBezTo>
                <a:cubicBezTo>
                  <a:pt x="455" y="37"/>
                  <a:pt x="458" y="37"/>
                  <a:pt x="458" y="38"/>
                </a:cubicBezTo>
                <a:cubicBezTo>
                  <a:pt x="459" y="38"/>
                  <a:pt x="462" y="38"/>
                  <a:pt x="461" y="39"/>
                </a:cubicBezTo>
                <a:cubicBezTo>
                  <a:pt x="461" y="39"/>
                  <a:pt x="460" y="40"/>
                  <a:pt x="460" y="40"/>
                </a:cubicBezTo>
                <a:cubicBezTo>
                  <a:pt x="461" y="41"/>
                  <a:pt x="462" y="40"/>
                  <a:pt x="462" y="40"/>
                </a:cubicBezTo>
                <a:cubicBezTo>
                  <a:pt x="463" y="40"/>
                  <a:pt x="464" y="41"/>
                  <a:pt x="465" y="42"/>
                </a:cubicBezTo>
                <a:cubicBezTo>
                  <a:pt x="466" y="41"/>
                  <a:pt x="467" y="41"/>
                  <a:pt x="467" y="42"/>
                </a:cubicBezTo>
                <a:cubicBezTo>
                  <a:pt x="468" y="43"/>
                  <a:pt x="467" y="44"/>
                  <a:pt x="466" y="43"/>
                </a:cubicBezTo>
                <a:cubicBezTo>
                  <a:pt x="466" y="44"/>
                  <a:pt x="466" y="44"/>
                  <a:pt x="466" y="44"/>
                </a:cubicBezTo>
                <a:cubicBezTo>
                  <a:pt x="467" y="44"/>
                  <a:pt x="469" y="44"/>
                  <a:pt x="470" y="45"/>
                </a:cubicBezTo>
                <a:cubicBezTo>
                  <a:pt x="470" y="45"/>
                  <a:pt x="469" y="45"/>
                  <a:pt x="470" y="46"/>
                </a:cubicBezTo>
                <a:cubicBezTo>
                  <a:pt x="471" y="45"/>
                  <a:pt x="472" y="45"/>
                  <a:pt x="473" y="44"/>
                </a:cubicBezTo>
                <a:cubicBezTo>
                  <a:pt x="473" y="44"/>
                  <a:pt x="473" y="44"/>
                  <a:pt x="473" y="44"/>
                </a:cubicBezTo>
                <a:cubicBezTo>
                  <a:pt x="473" y="44"/>
                  <a:pt x="473" y="44"/>
                  <a:pt x="473" y="44"/>
                </a:cubicBezTo>
                <a:cubicBezTo>
                  <a:pt x="474" y="44"/>
                  <a:pt x="474" y="44"/>
                  <a:pt x="474" y="44"/>
                </a:cubicBezTo>
                <a:cubicBezTo>
                  <a:pt x="473" y="44"/>
                  <a:pt x="473" y="43"/>
                  <a:pt x="473" y="42"/>
                </a:cubicBezTo>
                <a:cubicBezTo>
                  <a:pt x="472" y="40"/>
                  <a:pt x="478" y="41"/>
                  <a:pt x="475" y="43"/>
                </a:cubicBezTo>
                <a:cubicBezTo>
                  <a:pt x="475" y="43"/>
                  <a:pt x="476" y="43"/>
                  <a:pt x="476" y="43"/>
                </a:cubicBezTo>
                <a:cubicBezTo>
                  <a:pt x="477" y="43"/>
                  <a:pt x="479" y="42"/>
                  <a:pt x="478" y="41"/>
                </a:cubicBezTo>
                <a:cubicBezTo>
                  <a:pt x="478" y="40"/>
                  <a:pt x="475" y="41"/>
                  <a:pt x="475" y="40"/>
                </a:cubicBezTo>
                <a:cubicBezTo>
                  <a:pt x="474" y="39"/>
                  <a:pt x="478" y="37"/>
                  <a:pt x="478" y="37"/>
                </a:cubicBezTo>
                <a:cubicBezTo>
                  <a:pt x="478" y="37"/>
                  <a:pt x="478" y="36"/>
                  <a:pt x="478" y="36"/>
                </a:cubicBezTo>
                <a:cubicBezTo>
                  <a:pt x="476" y="38"/>
                  <a:pt x="473" y="38"/>
                  <a:pt x="470" y="38"/>
                </a:cubicBezTo>
                <a:cubicBezTo>
                  <a:pt x="468" y="37"/>
                  <a:pt x="468" y="34"/>
                  <a:pt x="467" y="34"/>
                </a:cubicBezTo>
                <a:cubicBezTo>
                  <a:pt x="465" y="34"/>
                  <a:pt x="463" y="34"/>
                  <a:pt x="461" y="35"/>
                </a:cubicBezTo>
                <a:cubicBezTo>
                  <a:pt x="462" y="34"/>
                  <a:pt x="463" y="34"/>
                  <a:pt x="464" y="33"/>
                </a:cubicBezTo>
                <a:cubicBezTo>
                  <a:pt x="464" y="32"/>
                  <a:pt x="465" y="33"/>
                  <a:pt x="466" y="33"/>
                </a:cubicBezTo>
                <a:cubicBezTo>
                  <a:pt x="466" y="32"/>
                  <a:pt x="466" y="32"/>
                  <a:pt x="466" y="31"/>
                </a:cubicBezTo>
                <a:cubicBezTo>
                  <a:pt x="466" y="31"/>
                  <a:pt x="465" y="31"/>
                  <a:pt x="465" y="31"/>
                </a:cubicBezTo>
                <a:cubicBezTo>
                  <a:pt x="464" y="30"/>
                  <a:pt x="465" y="30"/>
                  <a:pt x="466" y="30"/>
                </a:cubicBezTo>
                <a:cubicBezTo>
                  <a:pt x="466" y="30"/>
                  <a:pt x="466" y="29"/>
                  <a:pt x="466" y="29"/>
                </a:cubicBezTo>
                <a:cubicBezTo>
                  <a:pt x="466" y="28"/>
                  <a:pt x="466" y="27"/>
                  <a:pt x="466" y="26"/>
                </a:cubicBezTo>
                <a:cubicBezTo>
                  <a:pt x="466" y="26"/>
                  <a:pt x="466" y="26"/>
                  <a:pt x="465" y="25"/>
                </a:cubicBezTo>
                <a:cubicBezTo>
                  <a:pt x="465" y="25"/>
                  <a:pt x="465" y="25"/>
                  <a:pt x="465" y="25"/>
                </a:cubicBezTo>
                <a:cubicBezTo>
                  <a:pt x="465" y="25"/>
                  <a:pt x="465" y="25"/>
                  <a:pt x="465" y="25"/>
                </a:cubicBezTo>
                <a:cubicBezTo>
                  <a:pt x="465" y="24"/>
                  <a:pt x="465" y="24"/>
                  <a:pt x="466" y="24"/>
                </a:cubicBezTo>
                <a:cubicBezTo>
                  <a:pt x="466" y="22"/>
                  <a:pt x="466" y="21"/>
                  <a:pt x="466" y="20"/>
                </a:cubicBezTo>
                <a:cubicBezTo>
                  <a:pt x="466" y="20"/>
                  <a:pt x="466" y="19"/>
                  <a:pt x="466" y="19"/>
                </a:cubicBezTo>
                <a:cubicBezTo>
                  <a:pt x="466" y="19"/>
                  <a:pt x="465" y="19"/>
                  <a:pt x="465" y="19"/>
                </a:cubicBezTo>
                <a:cubicBezTo>
                  <a:pt x="465" y="18"/>
                  <a:pt x="465" y="18"/>
                  <a:pt x="466" y="18"/>
                </a:cubicBezTo>
                <a:cubicBezTo>
                  <a:pt x="466" y="16"/>
                  <a:pt x="467" y="15"/>
                  <a:pt x="467" y="14"/>
                </a:cubicBezTo>
                <a:cubicBezTo>
                  <a:pt x="467" y="14"/>
                  <a:pt x="467" y="14"/>
                  <a:pt x="467" y="14"/>
                </a:cubicBezTo>
                <a:cubicBezTo>
                  <a:pt x="465" y="14"/>
                  <a:pt x="463" y="14"/>
                  <a:pt x="463" y="13"/>
                </a:cubicBezTo>
                <a:cubicBezTo>
                  <a:pt x="463" y="11"/>
                  <a:pt x="464" y="11"/>
                  <a:pt x="465" y="10"/>
                </a:cubicBezTo>
                <a:cubicBezTo>
                  <a:pt x="463" y="8"/>
                  <a:pt x="463" y="8"/>
                  <a:pt x="463" y="8"/>
                </a:cubicBezTo>
                <a:cubicBezTo>
                  <a:pt x="463" y="11"/>
                  <a:pt x="462" y="14"/>
                  <a:pt x="460" y="14"/>
                </a:cubicBezTo>
                <a:cubicBezTo>
                  <a:pt x="459" y="15"/>
                  <a:pt x="455" y="14"/>
                  <a:pt x="455" y="14"/>
                </a:cubicBezTo>
                <a:cubicBezTo>
                  <a:pt x="454" y="14"/>
                  <a:pt x="454" y="12"/>
                  <a:pt x="454" y="12"/>
                </a:cubicBezTo>
                <a:cubicBezTo>
                  <a:pt x="451" y="10"/>
                  <a:pt x="454" y="10"/>
                  <a:pt x="449" y="9"/>
                </a:cubicBezTo>
                <a:cubicBezTo>
                  <a:pt x="450" y="8"/>
                  <a:pt x="452" y="7"/>
                  <a:pt x="453" y="6"/>
                </a:cubicBezTo>
                <a:cubicBezTo>
                  <a:pt x="453" y="6"/>
                  <a:pt x="452" y="4"/>
                  <a:pt x="452" y="5"/>
                </a:cubicBezTo>
                <a:cubicBezTo>
                  <a:pt x="453" y="3"/>
                  <a:pt x="456" y="5"/>
                  <a:pt x="458" y="3"/>
                </a:cubicBezTo>
                <a:cubicBezTo>
                  <a:pt x="458" y="3"/>
                  <a:pt x="458" y="3"/>
                  <a:pt x="458" y="3"/>
                </a:cubicBezTo>
                <a:cubicBezTo>
                  <a:pt x="457" y="3"/>
                  <a:pt x="456" y="3"/>
                  <a:pt x="455" y="2"/>
                </a:cubicBezTo>
                <a:cubicBezTo>
                  <a:pt x="454" y="3"/>
                  <a:pt x="454" y="3"/>
                  <a:pt x="454" y="1"/>
                </a:cubicBezTo>
                <a:cubicBezTo>
                  <a:pt x="452" y="5"/>
                  <a:pt x="443" y="5"/>
                  <a:pt x="442" y="0"/>
                </a:cubicBezTo>
                <a:cubicBezTo>
                  <a:pt x="442" y="0"/>
                  <a:pt x="442" y="0"/>
                  <a:pt x="443" y="0"/>
                </a:cubicBezTo>
                <a:cubicBezTo>
                  <a:pt x="442" y="0"/>
                  <a:pt x="442" y="0"/>
                  <a:pt x="442" y="0"/>
                </a:cubicBezTo>
                <a:cubicBezTo>
                  <a:pt x="440" y="3"/>
                  <a:pt x="437" y="4"/>
                  <a:pt x="434" y="3"/>
                </a:cubicBezTo>
                <a:cubicBezTo>
                  <a:pt x="434" y="3"/>
                  <a:pt x="434" y="3"/>
                  <a:pt x="433" y="3"/>
                </a:cubicBezTo>
                <a:cubicBezTo>
                  <a:pt x="431" y="4"/>
                  <a:pt x="428" y="6"/>
                  <a:pt x="426" y="6"/>
                </a:cubicBezTo>
                <a:cubicBezTo>
                  <a:pt x="425" y="6"/>
                  <a:pt x="424" y="6"/>
                  <a:pt x="423" y="6"/>
                </a:cubicBezTo>
                <a:cubicBezTo>
                  <a:pt x="421" y="6"/>
                  <a:pt x="419" y="9"/>
                  <a:pt x="417" y="9"/>
                </a:cubicBezTo>
                <a:cubicBezTo>
                  <a:pt x="415" y="9"/>
                  <a:pt x="416" y="9"/>
                  <a:pt x="414" y="9"/>
                </a:cubicBezTo>
                <a:cubicBezTo>
                  <a:pt x="413" y="10"/>
                  <a:pt x="411" y="11"/>
                  <a:pt x="410" y="11"/>
                </a:cubicBezTo>
                <a:cubicBezTo>
                  <a:pt x="409" y="12"/>
                  <a:pt x="406" y="13"/>
                  <a:pt x="406" y="13"/>
                </a:cubicBezTo>
                <a:cubicBezTo>
                  <a:pt x="404" y="15"/>
                  <a:pt x="406" y="15"/>
                  <a:pt x="404" y="14"/>
                </a:cubicBezTo>
                <a:cubicBezTo>
                  <a:pt x="403" y="14"/>
                  <a:pt x="403" y="15"/>
                  <a:pt x="402" y="15"/>
                </a:cubicBezTo>
                <a:cubicBezTo>
                  <a:pt x="403" y="15"/>
                  <a:pt x="403" y="15"/>
                  <a:pt x="403" y="15"/>
                </a:cubicBezTo>
                <a:cubicBezTo>
                  <a:pt x="404" y="16"/>
                  <a:pt x="402" y="17"/>
                  <a:pt x="401" y="16"/>
                </a:cubicBezTo>
                <a:cubicBezTo>
                  <a:pt x="401" y="16"/>
                  <a:pt x="400" y="16"/>
                  <a:pt x="400" y="17"/>
                </a:cubicBezTo>
                <a:cubicBezTo>
                  <a:pt x="400" y="17"/>
                  <a:pt x="400" y="18"/>
                  <a:pt x="400" y="18"/>
                </a:cubicBezTo>
                <a:cubicBezTo>
                  <a:pt x="403" y="19"/>
                  <a:pt x="405" y="17"/>
                  <a:pt x="403" y="21"/>
                </a:cubicBezTo>
                <a:cubicBezTo>
                  <a:pt x="403" y="22"/>
                  <a:pt x="404" y="22"/>
                  <a:pt x="404" y="22"/>
                </a:cubicBezTo>
                <a:cubicBezTo>
                  <a:pt x="402" y="24"/>
                  <a:pt x="401" y="21"/>
                  <a:pt x="401" y="21"/>
                </a:cubicBezTo>
                <a:cubicBezTo>
                  <a:pt x="400" y="22"/>
                  <a:pt x="400" y="23"/>
                  <a:pt x="402" y="24"/>
                </a:cubicBezTo>
                <a:cubicBezTo>
                  <a:pt x="402" y="25"/>
                  <a:pt x="399" y="25"/>
                  <a:pt x="398" y="24"/>
                </a:cubicBezTo>
                <a:cubicBezTo>
                  <a:pt x="398" y="24"/>
                  <a:pt x="396" y="21"/>
                  <a:pt x="395" y="20"/>
                </a:cubicBezTo>
                <a:cubicBezTo>
                  <a:pt x="394" y="20"/>
                  <a:pt x="393" y="21"/>
                  <a:pt x="392" y="21"/>
                </a:cubicBezTo>
                <a:cubicBezTo>
                  <a:pt x="390" y="22"/>
                  <a:pt x="387" y="23"/>
                  <a:pt x="385" y="24"/>
                </a:cubicBezTo>
                <a:cubicBezTo>
                  <a:pt x="384" y="25"/>
                  <a:pt x="384" y="25"/>
                  <a:pt x="383" y="25"/>
                </a:cubicBezTo>
                <a:cubicBezTo>
                  <a:pt x="382" y="25"/>
                  <a:pt x="381" y="26"/>
                  <a:pt x="380" y="26"/>
                </a:cubicBezTo>
                <a:cubicBezTo>
                  <a:pt x="378" y="27"/>
                  <a:pt x="375" y="28"/>
                  <a:pt x="373" y="29"/>
                </a:cubicBezTo>
                <a:cubicBezTo>
                  <a:pt x="373" y="29"/>
                  <a:pt x="374" y="29"/>
                  <a:pt x="373" y="29"/>
                </a:cubicBezTo>
                <a:cubicBezTo>
                  <a:pt x="373" y="29"/>
                  <a:pt x="373" y="29"/>
                  <a:pt x="373" y="29"/>
                </a:cubicBezTo>
                <a:cubicBezTo>
                  <a:pt x="372" y="29"/>
                  <a:pt x="372" y="29"/>
                  <a:pt x="371" y="30"/>
                </a:cubicBezTo>
                <a:cubicBezTo>
                  <a:pt x="371" y="30"/>
                  <a:pt x="367" y="30"/>
                  <a:pt x="367" y="31"/>
                </a:cubicBezTo>
                <a:cubicBezTo>
                  <a:pt x="367" y="31"/>
                  <a:pt x="374" y="29"/>
                  <a:pt x="373" y="34"/>
                </a:cubicBezTo>
                <a:cubicBezTo>
                  <a:pt x="372" y="34"/>
                  <a:pt x="372" y="34"/>
                  <a:pt x="372" y="35"/>
                </a:cubicBezTo>
                <a:cubicBezTo>
                  <a:pt x="376" y="34"/>
                  <a:pt x="381" y="34"/>
                  <a:pt x="385" y="36"/>
                </a:cubicBezTo>
                <a:cubicBezTo>
                  <a:pt x="385" y="33"/>
                  <a:pt x="377" y="33"/>
                  <a:pt x="377" y="30"/>
                </a:cubicBezTo>
                <a:cubicBezTo>
                  <a:pt x="377" y="28"/>
                  <a:pt x="384" y="30"/>
                  <a:pt x="385" y="29"/>
                </a:cubicBezTo>
                <a:cubicBezTo>
                  <a:pt x="386" y="28"/>
                  <a:pt x="385" y="27"/>
                  <a:pt x="386" y="27"/>
                </a:cubicBezTo>
                <a:cubicBezTo>
                  <a:pt x="387" y="27"/>
                  <a:pt x="390" y="29"/>
                  <a:pt x="390" y="26"/>
                </a:cubicBezTo>
                <a:cubicBezTo>
                  <a:pt x="389" y="23"/>
                  <a:pt x="401" y="29"/>
                  <a:pt x="402" y="32"/>
                </a:cubicBezTo>
                <a:cubicBezTo>
                  <a:pt x="402" y="34"/>
                  <a:pt x="401" y="37"/>
                  <a:pt x="400" y="38"/>
                </a:cubicBezTo>
                <a:cubicBezTo>
                  <a:pt x="400" y="38"/>
                  <a:pt x="394" y="39"/>
                  <a:pt x="393" y="39"/>
                </a:cubicBezTo>
                <a:cubicBezTo>
                  <a:pt x="392" y="39"/>
                  <a:pt x="391" y="39"/>
                  <a:pt x="390" y="38"/>
                </a:cubicBezTo>
                <a:cubicBezTo>
                  <a:pt x="390" y="39"/>
                  <a:pt x="390" y="39"/>
                  <a:pt x="391" y="39"/>
                </a:cubicBezTo>
                <a:cubicBezTo>
                  <a:pt x="391" y="40"/>
                  <a:pt x="392" y="43"/>
                  <a:pt x="391" y="44"/>
                </a:cubicBezTo>
                <a:cubicBezTo>
                  <a:pt x="388" y="49"/>
                  <a:pt x="377" y="47"/>
                  <a:pt x="372" y="45"/>
                </a:cubicBezTo>
                <a:cubicBezTo>
                  <a:pt x="373" y="46"/>
                  <a:pt x="373" y="47"/>
                  <a:pt x="373" y="48"/>
                </a:cubicBezTo>
                <a:cubicBezTo>
                  <a:pt x="372" y="51"/>
                  <a:pt x="363" y="49"/>
                  <a:pt x="363" y="46"/>
                </a:cubicBezTo>
                <a:cubicBezTo>
                  <a:pt x="363" y="47"/>
                  <a:pt x="361" y="46"/>
                  <a:pt x="361" y="46"/>
                </a:cubicBezTo>
                <a:cubicBezTo>
                  <a:pt x="361" y="45"/>
                  <a:pt x="363" y="45"/>
                  <a:pt x="363" y="46"/>
                </a:cubicBezTo>
                <a:cubicBezTo>
                  <a:pt x="364" y="44"/>
                  <a:pt x="367" y="43"/>
                  <a:pt x="369" y="44"/>
                </a:cubicBezTo>
                <a:cubicBezTo>
                  <a:pt x="370" y="44"/>
                  <a:pt x="372" y="43"/>
                  <a:pt x="373" y="41"/>
                </a:cubicBezTo>
                <a:cubicBezTo>
                  <a:pt x="373" y="41"/>
                  <a:pt x="372" y="39"/>
                  <a:pt x="372" y="39"/>
                </a:cubicBezTo>
                <a:cubicBezTo>
                  <a:pt x="373" y="38"/>
                  <a:pt x="375" y="38"/>
                  <a:pt x="375" y="37"/>
                </a:cubicBezTo>
                <a:cubicBezTo>
                  <a:pt x="375" y="35"/>
                  <a:pt x="372" y="36"/>
                  <a:pt x="370" y="35"/>
                </a:cubicBezTo>
                <a:cubicBezTo>
                  <a:pt x="367" y="35"/>
                  <a:pt x="363" y="35"/>
                  <a:pt x="362" y="33"/>
                </a:cubicBezTo>
                <a:cubicBezTo>
                  <a:pt x="362" y="33"/>
                  <a:pt x="362" y="32"/>
                  <a:pt x="362" y="32"/>
                </a:cubicBezTo>
                <a:cubicBezTo>
                  <a:pt x="362" y="32"/>
                  <a:pt x="361" y="32"/>
                  <a:pt x="360" y="33"/>
                </a:cubicBezTo>
                <a:cubicBezTo>
                  <a:pt x="360" y="33"/>
                  <a:pt x="358" y="35"/>
                  <a:pt x="357" y="35"/>
                </a:cubicBezTo>
                <a:cubicBezTo>
                  <a:pt x="357" y="36"/>
                  <a:pt x="356" y="36"/>
                  <a:pt x="355" y="36"/>
                </a:cubicBezTo>
                <a:cubicBezTo>
                  <a:pt x="358" y="38"/>
                  <a:pt x="356" y="39"/>
                  <a:pt x="354" y="39"/>
                </a:cubicBezTo>
                <a:cubicBezTo>
                  <a:pt x="353" y="40"/>
                  <a:pt x="352" y="40"/>
                  <a:pt x="352" y="39"/>
                </a:cubicBezTo>
                <a:cubicBezTo>
                  <a:pt x="351" y="39"/>
                  <a:pt x="351" y="39"/>
                  <a:pt x="352" y="39"/>
                </a:cubicBezTo>
                <a:cubicBezTo>
                  <a:pt x="351" y="39"/>
                  <a:pt x="350" y="38"/>
                  <a:pt x="350" y="38"/>
                </a:cubicBezTo>
                <a:cubicBezTo>
                  <a:pt x="350" y="38"/>
                  <a:pt x="349" y="38"/>
                  <a:pt x="349" y="38"/>
                </a:cubicBezTo>
                <a:cubicBezTo>
                  <a:pt x="349" y="39"/>
                  <a:pt x="348" y="40"/>
                  <a:pt x="348" y="40"/>
                </a:cubicBezTo>
                <a:cubicBezTo>
                  <a:pt x="348" y="40"/>
                  <a:pt x="346" y="40"/>
                  <a:pt x="346" y="40"/>
                </a:cubicBezTo>
                <a:cubicBezTo>
                  <a:pt x="345" y="41"/>
                  <a:pt x="344" y="42"/>
                  <a:pt x="343" y="42"/>
                </a:cubicBezTo>
                <a:cubicBezTo>
                  <a:pt x="343" y="43"/>
                  <a:pt x="343" y="43"/>
                  <a:pt x="341" y="44"/>
                </a:cubicBezTo>
                <a:cubicBezTo>
                  <a:pt x="340" y="44"/>
                  <a:pt x="340" y="45"/>
                  <a:pt x="339" y="46"/>
                </a:cubicBezTo>
                <a:cubicBezTo>
                  <a:pt x="335" y="48"/>
                  <a:pt x="331" y="49"/>
                  <a:pt x="327" y="50"/>
                </a:cubicBezTo>
                <a:cubicBezTo>
                  <a:pt x="326" y="51"/>
                  <a:pt x="326" y="51"/>
                  <a:pt x="326" y="51"/>
                </a:cubicBezTo>
                <a:cubicBezTo>
                  <a:pt x="326" y="51"/>
                  <a:pt x="326" y="51"/>
                  <a:pt x="326" y="51"/>
                </a:cubicBezTo>
                <a:cubicBezTo>
                  <a:pt x="327" y="51"/>
                  <a:pt x="329" y="52"/>
                  <a:pt x="330" y="53"/>
                </a:cubicBezTo>
                <a:cubicBezTo>
                  <a:pt x="331" y="53"/>
                  <a:pt x="331" y="54"/>
                  <a:pt x="331" y="54"/>
                </a:cubicBezTo>
                <a:cubicBezTo>
                  <a:pt x="331" y="55"/>
                  <a:pt x="332" y="56"/>
                  <a:pt x="332" y="58"/>
                </a:cubicBezTo>
                <a:cubicBezTo>
                  <a:pt x="331" y="63"/>
                  <a:pt x="321" y="64"/>
                  <a:pt x="314" y="63"/>
                </a:cubicBezTo>
                <a:cubicBezTo>
                  <a:pt x="101" y="276"/>
                  <a:pt x="101" y="276"/>
                  <a:pt x="101" y="276"/>
                </a:cubicBezTo>
                <a:cubicBezTo>
                  <a:pt x="101" y="277"/>
                  <a:pt x="101" y="277"/>
                  <a:pt x="100" y="277"/>
                </a:cubicBezTo>
                <a:cubicBezTo>
                  <a:pt x="100" y="278"/>
                  <a:pt x="100" y="278"/>
                  <a:pt x="100" y="277"/>
                </a:cubicBezTo>
                <a:cubicBezTo>
                  <a:pt x="54" y="323"/>
                  <a:pt x="54" y="323"/>
                  <a:pt x="54" y="323"/>
                </a:cubicBezTo>
                <a:cubicBezTo>
                  <a:pt x="55" y="323"/>
                  <a:pt x="56" y="326"/>
                  <a:pt x="56" y="328"/>
                </a:cubicBezTo>
                <a:cubicBezTo>
                  <a:pt x="55" y="331"/>
                  <a:pt x="50" y="332"/>
                  <a:pt x="48" y="329"/>
                </a:cubicBezTo>
                <a:cubicBezTo>
                  <a:pt x="47" y="330"/>
                  <a:pt x="47" y="330"/>
                  <a:pt x="47" y="330"/>
                </a:cubicBezTo>
                <a:cubicBezTo>
                  <a:pt x="48" y="330"/>
                  <a:pt x="47" y="331"/>
                  <a:pt x="47" y="331"/>
                </a:cubicBezTo>
                <a:cubicBezTo>
                  <a:pt x="47" y="332"/>
                  <a:pt x="46" y="331"/>
                  <a:pt x="46" y="331"/>
                </a:cubicBezTo>
                <a:cubicBezTo>
                  <a:pt x="30" y="347"/>
                  <a:pt x="30" y="347"/>
                  <a:pt x="30" y="347"/>
                </a:cubicBezTo>
                <a:cubicBezTo>
                  <a:pt x="30" y="347"/>
                  <a:pt x="30" y="347"/>
                  <a:pt x="30" y="347"/>
                </a:cubicBezTo>
                <a:cubicBezTo>
                  <a:pt x="30" y="347"/>
                  <a:pt x="30" y="347"/>
                  <a:pt x="30" y="347"/>
                </a:cubicBezTo>
                <a:cubicBezTo>
                  <a:pt x="10" y="367"/>
                  <a:pt x="10" y="367"/>
                  <a:pt x="10" y="367"/>
                </a:cubicBezTo>
                <a:cubicBezTo>
                  <a:pt x="11" y="369"/>
                  <a:pt x="11" y="372"/>
                  <a:pt x="12" y="373"/>
                </a:cubicBezTo>
                <a:cubicBezTo>
                  <a:pt x="13" y="373"/>
                  <a:pt x="13" y="372"/>
                  <a:pt x="13" y="372"/>
                </a:cubicBezTo>
                <a:cubicBezTo>
                  <a:pt x="14" y="374"/>
                  <a:pt x="14" y="378"/>
                  <a:pt x="14" y="381"/>
                </a:cubicBezTo>
                <a:cubicBezTo>
                  <a:pt x="14" y="380"/>
                  <a:pt x="14" y="380"/>
                  <a:pt x="13" y="380"/>
                </a:cubicBezTo>
                <a:cubicBezTo>
                  <a:pt x="13" y="380"/>
                  <a:pt x="9" y="382"/>
                  <a:pt x="8" y="382"/>
                </a:cubicBezTo>
                <a:cubicBezTo>
                  <a:pt x="6" y="381"/>
                  <a:pt x="4" y="377"/>
                  <a:pt x="4" y="373"/>
                </a:cubicBezTo>
                <a:cubicBezTo>
                  <a:pt x="0" y="377"/>
                  <a:pt x="0" y="377"/>
                  <a:pt x="0" y="377"/>
                </a:cubicBezTo>
                <a:cubicBezTo>
                  <a:pt x="49" y="426"/>
                  <a:pt x="49" y="426"/>
                  <a:pt x="49" y="426"/>
                </a:cubicBezTo>
                <a:cubicBezTo>
                  <a:pt x="47" y="424"/>
                  <a:pt x="49" y="419"/>
                  <a:pt x="49" y="426"/>
                </a:cubicBezTo>
                <a:close/>
                <a:moveTo>
                  <a:pt x="100" y="466"/>
                </a:moveTo>
                <a:cubicBezTo>
                  <a:pt x="101" y="465"/>
                  <a:pt x="100" y="468"/>
                  <a:pt x="100" y="466"/>
                </a:cubicBezTo>
                <a:close/>
                <a:moveTo>
                  <a:pt x="122" y="458"/>
                </a:moveTo>
                <a:cubicBezTo>
                  <a:pt x="121" y="460"/>
                  <a:pt x="120" y="456"/>
                  <a:pt x="122" y="457"/>
                </a:cubicBezTo>
                <a:cubicBezTo>
                  <a:pt x="123" y="457"/>
                  <a:pt x="122" y="458"/>
                  <a:pt x="122" y="458"/>
                </a:cubicBezTo>
                <a:close/>
                <a:moveTo>
                  <a:pt x="166" y="487"/>
                </a:moveTo>
                <a:cubicBezTo>
                  <a:pt x="167" y="486"/>
                  <a:pt x="167" y="489"/>
                  <a:pt x="167" y="489"/>
                </a:cubicBezTo>
                <a:cubicBezTo>
                  <a:pt x="165" y="490"/>
                  <a:pt x="165" y="487"/>
                  <a:pt x="166" y="487"/>
                </a:cubicBezTo>
                <a:close/>
                <a:moveTo>
                  <a:pt x="212" y="472"/>
                </a:moveTo>
                <a:cubicBezTo>
                  <a:pt x="212" y="472"/>
                  <a:pt x="212" y="473"/>
                  <a:pt x="212" y="473"/>
                </a:cubicBezTo>
                <a:cubicBezTo>
                  <a:pt x="212" y="472"/>
                  <a:pt x="212" y="472"/>
                  <a:pt x="211" y="472"/>
                </a:cubicBezTo>
                <a:cubicBezTo>
                  <a:pt x="211" y="472"/>
                  <a:pt x="211" y="472"/>
                  <a:pt x="212" y="472"/>
                </a:cubicBezTo>
                <a:close/>
                <a:moveTo>
                  <a:pt x="188" y="526"/>
                </a:moveTo>
                <a:cubicBezTo>
                  <a:pt x="189" y="527"/>
                  <a:pt x="187" y="527"/>
                  <a:pt x="188" y="526"/>
                </a:cubicBezTo>
                <a:close/>
                <a:moveTo>
                  <a:pt x="190" y="520"/>
                </a:moveTo>
                <a:cubicBezTo>
                  <a:pt x="190" y="520"/>
                  <a:pt x="187" y="520"/>
                  <a:pt x="186" y="519"/>
                </a:cubicBezTo>
                <a:cubicBezTo>
                  <a:pt x="184" y="517"/>
                  <a:pt x="186" y="512"/>
                  <a:pt x="189" y="513"/>
                </a:cubicBezTo>
                <a:cubicBezTo>
                  <a:pt x="190" y="514"/>
                  <a:pt x="190" y="520"/>
                  <a:pt x="190" y="520"/>
                </a:cubicBezTo>
                <a:close/>
                <a:moveTo>
                  <a:pt x="192" y="538"/>
                </a:moveTo>
                <a:cubicBezTo>
                  <a:pt x="192" y="536"/>
                  <a:pt x="192" y="539"/>
                  <a:pt x="192" y="538"/>
                </a:cubicBezTo>
                <a:close/>
                <a:moveTo>
                  <a:pt x="191" y="529"/>
                </a:moveTo>
                <a:cubicBezTo>
                  <a:pt x="191" y="528"/>
                  <a:pt x="192" y="528"/>
                  <a:pt x="193" y="529"/>
                </a:cubicBezTo>
                <a:cubicBezTo>
                  <a:pt x="193" y="529"/>
                  <a:pt x="192" y="530"/>
                  <a:pt x="191" y="529"/>
                </a:cubicBezTo>
                <a:close/>
                <a:moveTo>
                  <a:pt x="194" y="534"/>
                </a:moveTo>
                <a:cubicBezTo>
                  <a:pt x="193" y="535"/>
                  <a:pt x="193" y="531"/>
                  <a:pt x="194" y="533"/>
                </a:cubicBezTo>
                <a:cubicBezTo>
                  <a:pt x="194" y="533"/>
                  <a:pt x="194" y="533"/>
                  <a:pt x="194" y="534"/>
                </a:cubicBezTo>
                <a:close/>
                <a:moveTo>
                  <a:pt x="194" y="531"/>
                </a:moveTo>
                <a:cubicBezTo>
                  <a:pt x="194" y="531"/>
                  <a:pt x="195" y="531"/>
                  <a:pt x="195" y="531"/>
                </a:cubicBezTo>
                <a:cubicBezTo>
                  <a:pt x="195" y="532"/>
                  <a:pt x="193" y="532"/>
                  <a:pt x="194" y="531"/>
                </a:cubicBezTo>
                <a:close/>
                <a:moveTo>
                  <a:pt x="196" y="526"/>
                </a:moveTo>
                <a:cubicBezTo>
                  <a:pt x="194" y="528"/>
                  <a:pt x="194" y="523"/>
                  <a:pt x="196" y="524"/>
                </a:cubicBezTo>
                <a:cubicBezTo>
                  <a:pt x="197" y="525"/>
                  <a:pt x="197" y="526"/>
                  <a:pt x="196" y="526"/>
                </a:cubicBezTo>
                <a:close/>
                <a:moveTo>
                  <a:pt x="208" y="524"/>
                </a:moveTo>
                <a:cubicBezTo>
                  <a:pt x="204" y="526"/>
                  <a:pt x="205" y="518"/>
                  <a:pt x="208" y="519"/>
                </a:cubicBezTo>
                <a:cubicBezTo>
                  <a:pt x="211" y="520"/>
                  <a:pt x="211" y="523"/>
                  <a:pt x="208" y="524"/>
                </a:cubicBezTo>
                <a:close/>
                <a:moveTo>
                  <a:pt x="211" y="541"/>
                </a:moveTo>
                <a:cubicBezTo>
                  <a:pt x="212" y="542"/>
                  <a:pt x="211" y="542"/>
                  <a:pt x="210" y="542"/>
                </a:cubicBezTo>
                <a:cubicBezTo>
                  <a:pt x="209" y="542"/>
                  <a:pt x="211" y="540"/>
                  <a:pt x="211" y="541"/>
                </a:cubicBezTo>
                <a:close/>
                <a:moveTo>
                  <a:pt x="215" y="522"/>
                </a:moveTo>
                <a:cubicBezTo>
                  <a:pt x="213" y="523"/>
                  <a:pt x="214" y="519"/>
                  <a:pt x="215" y="519"/>
                </a:cubicBezTo>
                <a:cubicBezTo>
                  <a:pt x="216" y="518"/>
                  <a:pt x="217" y="521"/>
                  <a:pt x="215" y="522"/>
                </a:cubicBezTo>
                <a:close/>
                <a:moveTo>
                  <a:pt x="219" y="511"/>
                </a:moveTo>
                <a:cubicBezTo>
                  <a:pt x="219" y="511"/>
                  <a:pt x="219" y="512"/>
                  <a:pt x="218" y="512"/>
                </a:cubicBezTo>
                <a:cubicBezTo>
                  <a:pt x="217" y="513"/>
                  <a:pt x="218" y="509"/>
                  <a:pt x="219" y="511"/>
                </a:cubicBezTo>
                <a:close/>
                <a:moveTo>
                  <a:pt x="218" y="517"/>
                </a:moveTo>
                <a:cubicBezTo>
                  <a:pt x="217" y="517"/>
                  <a:pt x="218" y="514"/>
                  <a:pt x="219" y="515"/>
                </a:cubicBezTo>
                <a:cubicBezTo>
                  <a:pt x="220" y="516"/>
                  <a:pt x="218" y="517"/>
                  <a:pt x="218" y="517"/>
                </a:cubicBezTo>
                <a:close/>
                <a:moveTo>
                  <a:pt x="224" y="522"/>
                </a:moveTo>
                <a:cubicBezTo>
                  <a:pt x="225" y="521"/>
                  <a:pt x="224" y="523"/>
                  <a:pt x="224" y="522"/>
                </a:cubicBezTo>
                <a:close/>
                <a:moveTo>
                  <a:pt x="224" y="505"/>
                </a:moveTo>
                <a:cubicBezTo>
                  <a:pt x="224" y="505"/>
                  <a:pt x="225" y="503"/>
                  <a:pt x="224" y="505"/>
                </a:cubicBezTo>
                <a:close/>
                <a:moveTo>
                  <a:pt x="271" y="511"/>
                </a:moveTo>
                <a:cubicBezTo>
                  <a:pt x="271" y="511"/>
                  <a:pt x="272" y="510"/>
                  <a:pt x="273" y="510"/>
                </a:cubicBezTo>
                <a:cubicBezTo>
                  <a:pt x="273" y="511"/>
                  <a:pt x="272" y="511"/>
                  <a:pt x="271" y="511"/>
                </a:cubicBezTo>
                <a:close/>
                <a:moveTo>
                  <a:pt x="274" y="518"/>
                </a:moveTo>
                <a:cubicBezTo>
                  <a:pt x="274" y="518"/>
                  <a:pt x="274" y="518"/>
                  <a:pt x="274" y="518"/>
                </a:cubicBezTo>
                <a:cubicBezTo>
                  <a:pt x="274" y="518"/>
                  <a:pt x="273" y="519"/>
                  <a:pt x="274" y="518"/>
                </a:cubicBezTo>
                <a:close/>
                <a:moveTo>
                  <a:pt x="277" y="496"/>
                </a:moveTo>
                <a:cubicBezTo>
                  <a:pt x="276" y="496"/>
                  <a:pt x="276" y="496"/>
                  <a:pt x="276" y="496"/>
                </a:cubicBezTo>
                <a:cubicBezTo>
                  <a:pt x="276" y="496"/>
                  <a:pt x="277" y="496"/>
                  <a:pt x="277" y="496"/>
                </a:cubicBezTo>
                <a:cubicBezTo>
                  <a:pt x="277" y="496"/>
                  <a:pt x="277" y="496"/>
                  <a:pt x="277" y="496"/>
                </a:cubicBezTo>
                <a:close/>
                <a:moveTo>
                  <a:pt x="294" y="515"/>
                </a:moveTo>
                <a:cubicBezTo>
                  <a:pt x="294" y="517"/>
                  <a:pt x="292" y="515"/>
                  <a:pt x="294" y="515"/>
                </a:cubicBezTo>
                <a:close/>
                <a:moveTo>
                  <a:pt x="245" y="575"/>
                </a:moveTo>
                <a:cubicBezTo>
                  <a:pt x="245" y="574"/>
                  <a:pt x="246" y="574"/>
                  <a:pt x="246" y="574"/>
                </a:cubicBezTo>
                <a:cubicBezTo>
                  <a:pt x="246" y="574"/>
                  <a:pt x="245" y="575"/>
                  <a:pt x="245" y="575"/>
                </a:cubicBezTo>
                <a:close/>
                <a:moveTo>
                  <a:pt x="250" y="560"/>
                </a:moveTo>
                <a:cubicBezTo>
                  <a:pt x="251" y="558"/>
                  <a:pt x="252" y="558"/>
                  <a:pt x="254" y="557"/>
                </a:cubicBezTo>
                <a:cubicBezTo>
                  <a:pt x="253" y="559"/>
                  <a:pt x="252" y="559"/>
                  <a:pt x="250" y="560"/>
                </a:cubicBezTo>
                <a:close/>
                <a:moveTo>
                  <a:pt x="254" y="561"/>
                </a:moveTo>
                <a:cubicBezTo>
                  <a:pt x="253" y="562"/>
                  <a:pt x="255" y="560"/>
                  <a:pt x="254" y="561"/>
                </a:cubicBezTo>
                <a:close/>
                <a:moveTo>
                  <a:pt x="265" y="566"/>
                </a:moveTo>
                <a:cubicBezTo>
                  <a:pt x="264" y="563"/>
                  <a:pt x="268" y="563"/>
                  <a:pt x="265" y="566"/>
                </a:cubicBezTo>
                <a:close/>
                <a:moveTo>
                  <a:pt x="281" y="541"/>
                </a:moveTo>
                <a:cubicBezTo>
                  <a:pt x="282" y="542"/>
                  <a:pt x="281" y="545"/>
                  <a:pt x="280" y="547"/>
                </a:cubicBezTo>
                <a:cubicBezTo>
                  <a:pt x="280" y="545"/>
                  <a:pt x="281" y="543"/>
                  <a:pt x="281" y="541"/>
                </a:cubicBezTo>
                <a:close/>
                <a:moveTo>
                  <a:pt x="278" y="567"/>
                </a:moveTo>
                <a:cubicBezTo>
                  <a:pt x="276" y="563"/>
                  <a:pt x="282" y="562"/>
                  <a:pt x="283" y="561"/>
                </a:cubicBezTo>
                <a:cubicBezTo>
                  <a:pt x="285" y="564"/>
                  <a:pt x="280" y="570"/>
                  <a:pt x="278" y="567"/>
                </a:cubicBezTo>
                <a:close/>
                <a:moveTo>
                  <a:pt x="319" y="618"/>
                </a:moveTo>
                <a:cubicBezTo>
                  <a:pt x="319" y="618"/>
                  <a:pt x="319" y="617"/>
                  <a:pt x="319" y="617"/>
                </a:cubicBezTo>
                <a:cubicBezTo>
                  <a:pt x="319" y="613"/>
                  <a:pt x="323" y="617"/>
                  <a:pt x="319" y="618"/>
                </a:cubicBezTo>
                <a:close/>
                <a:moveTo>
                  <a:pt x="369" y="679"/>
                </a:moveTo>
                <a:cubicBezTo>
                  <a:pt x="368" y="678"/>
                  <a:pt x="370" y="678"/>
                  <a:pt x="370" y="678"/>
                </a:cubicBezTo>
                <a:cubicBezTo>
                  <a:pt x="370" y="679"/>
                  <a:pt x="369" y="679"/>
                  <a:pt x="369" y="679"/>
                </a:cubicBezTo>
                <a:close/>
                <a:moveTo>
                  <a:pt x="370" y="687"/>
                </a:moveTo>
                <a:cubicBezTo>
                  <a:pt x="370" y="687"/>
                  <a:pt x="370" y="687"/>
                  <a:pt x="370" y="687"/>
                </a:cubicBezTo>
                <a:cubicBezTo>
                  <a:pt x="370" y="685"/>
                  <a:pt x="372" y="689"/>
                  <a:pt x="370" y="687"/>
                </a:cubicBezTo>
                <a:close/>
                <a:moveTo>
                  <a:pt x="375" y="690"/>
                </a:moveTo>
                <a:cubicBezTo>
                  <a:pt x="374" y="689"/>
                  <a:pt x="377" y="690"/>
                  <a:pt x="377" y="691"/>
                </a:cubicBezTo>
                <a:cubicBezTo>
                  <a:pt x="377" y="691"/>
                  <a:pt x="375" y="691"/>
                  <a:pt x="375" y="690"/>
                </a:cubicBezTo>
                <a:close/>
                <a:moveTo>
                  <a:pt x="380" y="682"/>
                </a:moveTo>
                <a:cubicBezTo>
                  <a:pt x="380" y="681"/>
                  <a:pt x="381" y="681"/>
                  <a:pt x="381" y="682"/>
                </a:cubicBezTo>
                <a:cubicBezTo>
                  <a:pt x="381" y="682"/>
                  <a:pt x="381" y="682"/>
                  <a:pt x="380" y="682"/>
                </a:cubicBezTo>
                <a:close/>
                <a:moveTo>
                  <a:pt x="387" y="692"/>
                </a:moveTo>
                <a:cubicBezTo>
                  <a:pt x="387" y="692"/>
                  <a:pt x="386" y="692"/>
                  <a:pt x="386" y="692"/>
                </a:cubicBezTo>
                <a:cubicBezTo>
                  <a:pt x="386" y="689"/>
                  <a:pt x="389" y="694"/>
                  <a:pt x="387" y="692"/>
                </a:cubicBezTo>
                <a:close/>
                <a:moveTo>
                  <a:pt x="388" y="698"/>
                </a:moveTo>
                <a:cubicBezTo>
                  <a:pt x="388" y="697"/>
                  <a:pt x="389" y="696"/>
                  <a:pt x="390" y="697"/>
                </a:cubicBezTo>
                <a:cubicBezTo>
                  <a:pt x="390" y="697"/>
                  <a:pt x="388" y="698"/>
                  <a:pt x="388" y="698"/>
                </a:cubicBezTo>
                <a:close/>
                <a:moveTo>
                  <a:pt x="397" y="712"/>
                </a:moveTo>
                <a:cubicBezTo>
                  <a:pt x="395" y="712"/>
                  <a:pt x="394" y="711"/>
                  <a:pt x="395" y="710"/>
                </a:cubicBezTo>
                <a:cubicBezTo>
                  <a:pt x="395" y="708"/>
                  <a:pt x="399" y="709"/>
                  <a:pt x="400" y="711"/>
                </a:cubicBezTo>
                <a:cubicBezTo>
                  <a:pt x="400" y="711"/>
                  <a:pt x="400" y="711"/>
                  <a:pt x="399" y="712"/>
                </a:cubicBezTo>
                <a:cubicBezTo>
                  <a:pt x="399" y="712"/>
                  <a:pt x="399" y="712"/>
                  <a:pt x="399" y="712"/>
                </a:cubicBezTo>
                <a:cubicBezTo>
                  <a:pt x="399" y="713"/>
                  <a:pt x="397" y="713"/>
                  <a:pt x="397" y="712"/>
                </a:cubicBezTo>
                <a:close/>
                <a:moveTo>
                  <a:pt x="399" y="714"/>
                </a:moveTo>
                <a:cubicBezTo>
                  <a:pt x="399" y="713"/>
                  <a:pt x="401" y="713"/>
                  <a:pt x="402" y="713"/>
                </a:cubicBezTo>
                <a:cubicBezTo>
                  <a:pt x="401" y="714"/>
                  <a:pt x="400" y="714"/>
                  <a:pt x="399" y="714"/>
                </a:cubicBezTo>
                <a:close/>
                <a:moveTo>
                  <a:pt x="379" y="744"/>
                </a:moveTo>
                <a:cubicBezTo>
                  <a:pt x="379" y="744"/>
                  <a:pt x="379" y="744"/>
                  <a:pt x="379" y="744"/>
                </a:cubicBezTo>
                <a:cubicBezTo>
                  <a:pt x="379" y="743"/>
                  <a:pt x="379" y="743"/>
                  <a:pt x="379" y="744"/>
                </a:cubicBezTo>
                <a:close/>
                <a:moveTo>
                  <a:pt x="379" y="744"/>
                </a:moveTo>
                <a:cubicBezTo>
                  <a:pt x="380" y="744"/>
                  <a:pt x="380" y="744"/>
                  <a:pt x="379" y="744"/>
                </a:cubicBezTo>
                <a:close/>
                <a:moveTo>
                  <a:pt x="380" y="742"/>
                </a:moveTo>
                <a:cubicBezTo>
                  <a:pt x="380" y="741"/>
                  <a:pt x="381" y="741"/>
                  <a:pt x="381" y="741"/>
                </a:cubicBezTo>
                <a:cubicBezTo>
                  <a:pt x="381" y="741"/>
                  <a:pt x="380" y="742"/>
                  <a:pt x="380" y="742"/>
                </a:cubicBezTo>
                <a:close/>
                <a:moveTo>
                  <a:pt x="382" y="744"/>
                </a:moveTo>
                <a:cubicBezTo>
                  <a:pt x="382" y="743"/>
                  <a:pt x="383" y="743"/>
                  <a:pt x="384" y="743"/>
                </a:cubicBezTo>
                <a:cubicBezTo>
                  <a:pt x="383" y="743"/>
                  <a:pt x="384" y="745"/>
                  <a:pt x="384" y="745"/>
                </a:cubicBezTo>
                <a:cubicBezTo>
                  <a:pt x="383" y="746"/>
                  <a:pt x="381" y="746"/>
                  <a:pt x="382" y="744"/>
                </a:cubicBezTo>
                <a:close/>
                <a:moveTo>
                  <a:pt x="385" y="740"/>
                </a:moveTo>
                <a:cubicBezTo>
                  <a:pt x="384" y="740"/>
                  <a:pt x="381" y="738"/>
                  <a:pt x="382" y="736"/>
                </a:cubicBezTo>
                <a:cubicBezTo>
                  <a:pt x="383" y="734"/>
                  <a:pt x="388" y="733"/>
                  <a:pt x="390" y="734"/>
                </a:cubicBezTo>
                <a:cubicBezTo>
                  <a:pt x="391" y="734"/>
                  <a:pt x="391" y="735"/>
                  <a:pt x="392" y="735"/>
                </a:cubicBezTo>
                <a:cubicBezTo>
                  <a:pt x="392" y="735"/>
                  <a:pt x="394" y="734"/>
                  <a:pt x="393" y="735"/>
                </a:cubicBezTo>
                <a:cubicBezTo>
                  <a:pt x="393" y="736"/>
                  <a:pt x="391" y="737"/>
                  <a:pt x="391" y="738"/>
                </a:cubicBezTo>
                <a:cubicBezTo>
                  <a:pt x="391" y="738"/>
                  <a:pt x="393" y="737"/>
                  <a:pt x="392" y="738"/>
                </a:cubicBezTo>
                <a:cubicBezTo>
                  <a:pt x="392" y="738"/>
                  <a:pt x="388" y="741"/>
                  <a:pt x="385" y="740"/>
                </a:cubicBezTo>
                <a:close/>
                <a:moveTo>
                  <a:pt x="390" y="741"/>
                </a:moveTo>
                <a:cubicBezTo>
                  <a:pt x="389" y="740"/>
                  <a:pt x="391" y="740"/>
                  <a:pt x="391" y="741"/>
                </a:cubicBezTo>
                <a:cubicBezTo>
                  <a:pt x="391" y="741"/>
                  <a:pt x="390" y="741"/>
                  <a:pt x="390" y="741"/>
                </a:cubicBezTo>
                <a:close/>
                <a:moveTo>
                  <a:pt x="393" y="751"/>
                </a:moveTo>
                <a:cubicBezTo>
                  <a:pt x="389" y="752"/>
                  <a:pt x="393" y="747"/>
                  <a:pt x="395" y="749"/>
                </a:cubicBezTo>
                <a:cubicBezTo>
                  <a:pt x="396" y="750"/>
                  <a:pt x="394" y="751"/>
                  <a:pt x="393" y="751"/>
                </a:cubicBezTo>
                <a:close/>
                <a:moveTo>
                  <a:pt x="396" y="739"/>
                </a:moveTo>
                <a:cubicBezTo>
                  <a:pt x="396" y="739"/>
                  <a:pt x="396" y="739"/>
                  <a:pt x="396" y="739"/>
                </a:cubicBezTo>
                <a:cubicBezTo>
                  <a:pt x="396" y="739"/>
                  <a:pt x="395" y="738"/>
                  <a:pt x="396" y="739"/>
                </a:cubicBezTo>
                <a:close/>
                <a:moveTo>
                  <a:pt x="396" y="740"/>
                </a:moveTo>
                <a:cubicBezTo>
                  <a:pt x="395" y="739"/>
                  <a:pt x="397" y="741"/>
                  <a:pt x="396" y="740"/>
                </a:cubicBezTo>
                <a:close/>
                <a:moveTo>
                  <a:pt x="398" y="725"/>
                </a:moveTo>
                <a:cubicBezTo>
                  <a:pt x="398" y="724"/>
                  <a:pt x="400" y="724"/>
                  <a:pt x="400" y="724"/>
                </a:cubicBezTo>
                <a:cubicBezTo>
                  <a:pt x="401" y="725"/>
                  <a:pt x="399" y="726"/>
                  <a:pt x="398" y="725"/>
                </a:cubicBezTo>
                <a:close/>
                <a:moveTo>
                  <a:pt x="391" y="763"/>
                </a:moveTo>
                <a:cubicBezTo>
                  <a:pt x="391" y="762"/>
                  <a:pt x="393" y="762"/>
                  <a:pt x="393" y="763"/>
                </a:cubicBezTo>
                <a:cubicBezTo>
                  <a:pt x="393" y="763"/>
                  <a:pt x="391" y="763"/>
                  <a:pt x="391" y="763"/>
                </a:cubicBezTo>
                <a:close/>
                <a:moveTo>
                  <a:pt x="394" y="763"/>
                </a:moveTo>
                <a:cubicBezTo>
                  <a:pt x="394" y="762"/>
                  <a:pt x="395" y="763"/>
                  <a:pt x="395" y="764"/>
                </a:cubicBezTo>
                <a:cubicBezTo>
                  <a:pt x="395" y="764"/>
                  <a:pt x="394" y="764"/>
                  <a:pt x="394" y="763"/>
                </a:cubicBezTo>
                <a:close/>
                <a:moveTo>
                  <a:pt x="400" y="767"/>
                </a:moveTo>
                <a:cubicBezTo>
                  <a:pt x="400" y="766"/>
                  <a:pt x="400" y="766"/>
                  <a:pt x="400" y="766"/>
                </a:cubicBezTo>
                <a:cubicBezTo>
                  <a:pt x="401" y="767"/>
                  <a:pt x="399" y="767"/>
                  <a:pt x="400" y="767"/>
                </a:cubicBezTo>
                <a:close/>
                <a:moveTo>
                  <a:pt x="828" y="375"/>
                </a:moveTo>
                <a:cubicBezTo>
                  <a:pt x="827" y="373"/>
                  <a:pt x="830" y="374"/>
                  <a:pt x="828" y="375"/>
                </a:cubicBezTo>
                <a:close/>
                <a:moveTo>
                  <a:pt x="826" y="378"/>
                </a:moveTo>
                <a:cubicBezTo>
                  <a:pt x="826" y="378"/>
                  <a:pt x="826" y="378"/>
                  <a:pt x="827" y="378"/>
                </a:cubicBezTo>
                <a:cubicBezTo>
                  <a:pt x="827" y="379"/>
                  <a:pt x="825" y="380"/>
                  <a:pt x="826" y="378"/>
                </a:cubicBezTo>
                <a:close/>
                <a:moveTo>
                  <a:pt x="815" y="374"/>
                </a:moveTo>
                <a:cubicBezTo>
                  <a:pt x="816" y="372"/>
                  <a:pt x="818" y="376"/>
                  <a:pt x="816" y="376"/>
                </a:cubicBezTo>
                <a:cubicBezTo>
                  <a:pt x="815" y="376"/>
                  <a:pt x="815" y="375"/>
                  <a:pt x="815" y="374"/>
                </a:cubicBezTo>
                <a:close/>
                <a:moveTo>
                  <a:pt x="810" y="380"/>
                </a:moveTo>
                <a:cubicBezTo>
                  <a:pt x="809" y="377"/>
                  <a:pt x="812" y="378"/>
                  <a:pt x="810" y="380"/>
                </a:cubicBezTo>
                <a:close/>
                <a:moveTo>
                  <a:pt x="803" y="357"/>
                </a:moveTo>
                <a:cubicBezTo>
                  <a:pt x="803" y="357"/>
                  <a:pt x="804" y="356"/>
                  <a:pt x="804" y="356"/>
                </a:cubicBezTo>
                <a:cubicBezTo>
                  <a:pt x="805" y="357"/>
                  <a:pt x="803" y="358"/>
                  <a:pt x="803" y="357"/>
                </a:cubicBezTo>
                <a:close/>
                <a:moveTo>
                  <a:pt x="803" y="384"/>
                </a:moveTo>
                <a:cubicBezTo>
                  <a:pt x="802" y="384"/>
                  <a:pt x="802" y="382"/>
                  <a:pt x="802" y="382"/>
                </a:cubicBezTo>
                <a:cubicBezTo>
                  <a:pt x="803" y="381"/>
                  <a:pt x="804" y="383"/>
                  <a:pt x="803" y="384"/>
                </a:cubicBezTo>
                <a:close/>
                <a:moveTo>
                  <a:pt x="801" y="361"/>
                </a:moveTo>
                <a:cubicBezTo>
                  <a:pt x="802" y="359"/>
                  <a:pt x="803" y="363"/>
                  <a:pt x="802" y="363"/>
                </a:cubicBezTo>
                <a:cubicBezTo>
                  <a:pt x="801" y="364"/>
                  <a:pt x="801" y="361"/>
                  <a:pt x="801" y="361"/>
                </a:cubicBezTo>
                <a:close/>
                <a:moveTo>
                  <a:pt x="801" y="371"/>
                </a:moveTo>
                <a:cubicBezTo>
                  <a:pt x="801" y="371"/>
                  <a:pt x="801" y="370"/>
                  <a:pt x="801" y="370"/>
                </a:cubicBezTo>
                <a:cubicBezTo>
                  <a:pt x="801" y="369"/>
                  <a:pt x="802" y="370"/>
                  <a:pt x="801" y="371"/>
                </a:cubicBezTo>
                <a:close/>
                <a:moveTo>
                  <a:pt x="799" y="382"/>
                </a:moveTo>
                <a:cubicBezTo>
                  <a:pt x="799" y="384"/>
                  <a:pt x="804" y="385"/>
                  <a:pt x="802" y="389"/>
                </a:cubicBezTo>
                <a:cubicBezTo>
                  <a:pt x="802" y="389"/>
                  <a:pt x="801" y="389"/>
                  <a:pt x="801" y="389"/>
                </a:cubicBezTo>
                <a:cubicBezTo>
                  <a:pt x="801" y="390"/>
                  <a:pt x="802" y="391"/>
                  <a:pt x="801" y="392"/>
                </a:cubicBezTo>
                <a:cubicBezTo>
                  <a:pt x="798" y="392"/>
                  <a:pt x="799" y="383"/>
                  <a:pt x="799" y="382"/>
                </a:cubicBezTo>
                <a:close/>
                <a:moveTo>
                  <a:pt x="798" y="367"/>
                </a:moveTo>
                <a:cubicBezTo>
                  <a:pt x="799" y="366"/>
                  <a:pt x="799" y="370"/>
                  <a:pt x="798" y="370"/>
                </a:cubicBezTo>
                <a:cubicBezTo>
                  <a:pt x="797" y="370"/>
                  <a:pt x="798" y="368"/>
                  <a:pt x="798" y="367"/>
                </a:cubicBezTo>
                <a:close/>
                <a:moveTo>
                  <a:pt x="796" y="344"/>
                </a:moveTo>
                <a:cubicBezTo>
                  <a:pt x="797" y="343"/>
                  <a:pt x="797" y="346"/>
                  <a:pt x="796" y="345"/>
                </a:cubicBezTo>
                <a:cubicBezTo>
                  <a:pt x="795" y="345"/>
                  <a:pt x="796" y="344"/>
                  <a:pt x="796" y="344"/>
                </a:cubicBezTo>
                <a:close/>
                <a:moveTo>
                  <a:pt x="795" y="373"/>
                </a:moveTo>
                <a:cubicBezTo>
                  <a:pt x="793" y="373"/>
                  <a:pt x="794" y="370"/>
                  <a:pt x="794" y="370"/>
                </a:cubicBezTo>
                <a:cubicBezTo>
                  <a:pt x="795" y="369"/>
                  <a:pt x="796" y="374"/>
                  <a:pt x="795" y="373"/>
                </a:cubicBezTo>
                <a:close/>
                <a:moveTo>
                  <a:pt x="793" y="353"/>
                </a:moveTo>
                <a:cubicBezTo>
                  <a:pt x="795" y="350"/>
                  <a:pt x="796" y="357"/>
                  <a:pt x="793" y="356"/>
                </a:cubicBezTo>
                <a:cubicBezTo>
                  <a:pt x="792" y="355"/>
                  <a:pt x="793" y="353"/>
                  <a:pt x="793" y="353"/>
                </a:cubicBezTo>
                <a:close/>
                <a:moveTo>
                  <a:pt x="790" y="355"/>
                </a:moveTo>
                <a:cubicBezTo>
                  <a:pt x="789" y="351"/>
                  <a:pt x="792" y="353"/>
                  <a:pt x="790" y="355"/>
                </a:cubicBezTo>
                <a:close/>
                <a:moveTo>
                  <a:pt x="789" y="371"/>
                </a:moveTo>
                <a:cubicBezTo>
                  <a:pt x="790" y="371"/>
                  <a:pt x="789" y="373"/>
                  <a:pt x="789" y="371"/>
                </a:cubicBezTo>
                <a:cubicBezTo>
                  <a:pt x="789" y="371"/>
                  <a:pt x="789" y="371"/>
                  <a:pt x="789" y="371"/>
                </a:cubicBezTo>
                <a:close/>
                <a:moveTo>
                  <a:pt x="788" y="403"/>
                </a:moveTo>
                <a:cubicBezTo>
                  <a:pt x="787" y="400"/>
                  <a:pt x="789" y="401"/>
                  <a:pt x="788" y="403"/>
                </a:cubicBezTo>
                <a:close/>
                <a:moveTo>
                  <a:pt x="785" y="361"/>
                </a:moveTo>
                <a:cubicBezTo>
                  <a:pt x="786" y="359"/>
                  <a:pt x="787" y="363"/>
                  <a:pt x="786" y="364"/>
                </a:cubicBezTo>
                <a:cubicBezTo>
                  <a:pt x="784" y="364"/>
                  <a:pt x="784" y="361"/>
                  <a:pt x="785" y="361"/>
                </a:cubicBezTo>
                <a:close/>
                <a:moveTo>
                  <a:pt x="785" y="365"/>
                </a:moveTo>
                <a:cubicBezTo>
                  <a:pt x="787" y="365"/>
                  <a:pt x="787" y="367"/>
                  <a:pt x="785" y="367"/>
                </a:cubicBezTo>
                <a:cubicBezTo>
                  <a:pt x="785" y="367"/>
                  <a:pt x="783" y="366"/>
                  <a:pt x="785" y="365"/>
                </a:cubicBezTo>
                <a:close/>
                <a:moveTo>
                  <a:pt x="783" y="380"/>
                </a:moveTo>
                <a:cubicBezTo>
                  <a:pt x="784" y="380"/>
                  <a:pt x="783" y="382"/>
                  <a:pt x="783" y="383"/>
                </a:cubicBezTo>
                <a:cubicBezTo>
                  <a:pt x="782" y="382"/>
                  <a:pt x="783" y="381"/>
                  <a:pt x="783" y="380"/>
                </a:cubicBezTo>
                <a:close/>
                <a:moveTo>
                  <a:pt x="739" y="294"/>
                </a:moveTo>
                <a:cubicBezTo>
                  <a:pt x="737" y="293"/>
                  <a:pt x="740" y="291"/>
                  <a:pt x="739" y="294"/>
                </a:cubicBezTo>
                <a:close/>
                <a:moveTo>
                  <a:pt x="736" y="437"/>
                </a:moveTo>
                <a:cubicBezTo>
                  <a:pt x="736" y="437"/>
                  <a:pt x="736" y="436"/>
                  <a:pt x="736" y="435"/>
                </a:cubicBezTo>
                <a:cubicBezTo>
                  <a:pt x="737" y="434"/>
                  <a:pt x="737" y="437"/>
                  <a:pt x="736" y="437"/>
                </a:cubicBezTo>
                <a:close/>
                <a:moveTo>
                  <a:pt x="741" y="332"/>
                </a:moveTo>
                <a:cubicBezTo>
                  <a:pt x="741" y="331"/>
                  <a:pt x="741" y="331"/>
                  <a:pt x="741" y="330"/>
                </a:cubicBezTo>
                <a:cubicBezTo>
                  <a:pt x="742" y="330"/>
                  <a:pt x="741" y="332"/>
                  <a:pt x="741" y="332"/>
                </a:cubicBezTo>
                <a:close/>
                <a:moveTo>
                  <a:pt x="746" y="351"/>
                </a:moveTo>
                <a:cubicBezTo>
                  <a:pt x="745" y="351"/>
                  <a:pt x="746" y="350"/>
                  <a:pt x="746" y="350"/>
                </a:cubicBezTo>
                <a:cubicBezTo>
                  <a:pt x="747" y="349"/>
                  <a:pt x="747" y="352"/>
                  <a:pt x="746" y="351"/>
                </a:cubicBezTo>
                <a:close/>
                <a:moveTo>
                  <a:pt x="749" y="369"/>
                </a:moveTo>
                <a:cubicBezTo>
                  <a:pt x="749" y="369"/>
                  <a:pt x="749" y="368"/>
                  <a:pt x="749" y="368"/>
                </a:cubicBezTo>
                <a:cubicBezTo>
                  <a:pt x="750" y="366"/>
                  <a:pt x="750" y="369"/>
                  <a:pt x="749" y="369"/>
                </a:cubicBezTo>
                <a:close/>
                <a:moveTo>
                  <a:pt x="750" y="348"/>
                </a:moveTo>
                <a:cubicBezTo>
                  <a:pt x="750" y="348"/>
                  <a:pt x="750" y="347"/>
                  <a:pt x="750" y="347"/>
                </a:cubicBezTo>
                <a:cubicBezTo>
                  <a:pt x="750" y="346"/>
                  <a:pt x="751" y="349"/>
                  <a:pt x="750" y="348"/>
                </a:cubicBezTo>
                <a:close/>
                <a:moveTo>
                  <a:pt x="751" y="457"/>
                </a:moveTo>
                <a:cubicBezTo>
                  <a:pt x="750" y="457"/>
                  <a:pt x="750" y="454"/>
                  <a:pt x="751" y="454"/>
                </a:cubicBezTo>
                <a:cubicBezTo>
                  <a:pt x="754" y="451"/>
                  <a:pt x="754" y="457"/>
                  <a:pt x="751" y="457"/>
                </a:cubicBezTo>
                <a:close/>
                <a:moveTo>
                  <a:pt x="751" y="364"/>
                </a:moveTo>
                <a:cubicBezTo>
                  <a:pt x="752" y="363"/>
                  <a:pt x="751" y="366"/>
                  <a:pt x="751" y="366"/>
                </a:cubicBezTo>
                <a:cubicBezTo>
                  <a:pt x="750" y="366"/>
                  <a:pt x="750" y="364"/>
                  <a:pt x="751" y="364"/>
                </a:cubicBezTo>
                <a:close/>
                <a:moveTo>
                  <a:pt x="753" y="422"/>
                </a:moveTo>
                <a:cubicBezTo>
                  <a:pt x="753" y="420"/>
                  <a:pt x="755" y="421"/>
                  <a:pt x="753" y="422"/>
                </a:cubicBezTo>
                <a:close/>
                <a:moveTo>
                  <a:pt x="762" y="382"/>
                </a:moveTo>
                <a:cubicBezTo>
                  <a:pt x="762" y="382"/>
                  <a:pt x="762" y="381"/>
                  <a:pt x="762" y="381"/>
                </a:cubicBezTo>
                <a:cubicBezTo>
                  <a:pt x="763" y="380"/>
                  <a:pt x="763" y="383"/>
                  <a:pt x="762" y="382"/>
                </a:cubicBezTo>
                <a:close/>
                <a:moveTo>
                  <a:pt x="767" y="365"/>
                </a:moveTo>
                <a:cubicBezTo>
                  <a:pt x="766" y="365"/>
                  <a:pt x="767" y="364"/>
                  <a:pt x="767" y="363"/>
                </a:cubicBezTo>
                <a:cubicBezTo>
                  <a:pt x="768" y="363"/>
                  <a:pt x="768" y="365"/>
                  <a:pt x="767" y="365"/>
                </a:cubicBezTo>
                <a:close/>
                <a:moveTo>
                  <a:pt x="772" y="382"/>
                </a:moveTo>
                <a:cubicBezTo>
                  <a:pt x="770" y="383"/>
                  <a:pt x="769" y="377"/>
                  <a:pt x="771" y="376"/>
                </a:cubicBezTo>
                <a:cubicBezTo>
                  <a:pt x="775" y="374"/>
                  <a:pt x="775" y="382"/>
                  <a:pt x="772" y="382"/>
                </a:cubicBezTo>
                <a:close/>
                <a:moveTo>
                  <a:pt x="771" y="351"/>
                </a:moveTo>
                <a:cubicBezTo>
                  <a:pt x="772" y="348"/>
                  <a:pt x="775" y="355"/>
                  <a:pt x="772" y="354"/>
                </a:cubicBezTo>
                <a:cubicBezTo>
                  <a:pt x="771" y="353"/>
                  <a:pt x="770" y="352"/>
                  <a:pt x="771" y="351"/>
                </a:cubicBezTo>
                <a:close/>
                <a:moveTo>
                  <a:pt x="776" y="420"/>
                </a:moveTo>
                <a:cubicBezTo>
                  <a:pt x="777" y="422"/>
                  <a:pt x="775" y="421"/>
                  <a:pt x="776" y="420"/>
                </a:cubicBezTo>
                <a:close/>
                <a:moveTo>
                  <a:pt x="779" y="402"/>
                </a:moveTo>
                <a:cubicBezTo>
                  <a:pt x="779" y="401"/>
                  <a:pt x="778" y="403"/>
                  <a:pt x="779" y="402"/>
                </a:cubicBezTo>
                <a:close/>
                <a:moveTo>
                  <a:pt x="782" y="347"/>
                </a:moveTo>
                <a:cubicBezTo>
                  <a:pt x="781" y="347"/>
                  <a:pt x="781" y="346"/>
                  <a:pt x="781" y="346"/>
                </a:cubicBezTo>
                <a:cubicBezTo>
                  <a:pt x="781" y="344"/>
                  <a:pt x="783" y="348"/>
                  <a:pt x="782" y="347"/>
                </a:cubicBezTo>
                <a:close/>
                <a:moveTo>
                  <a:pt x="779" y="364"/>
                </a:moveTo>
                <a:cubicBezTo>
                  <a:pt x="780" y="364"/>
                  <a:pt x="782" y="368"/>
                  <a:pt x="782" y="368"/>
                </a:cubicBezTo>
                <a:cubicBezTo>
                  <a:pt x="782" y="370"/>
                  <a:pt x="779" y="368"/>
                  <a:pt x="778" y="370"/>
                </a:cubicBezTo>
                <a:cubicBezTo>
                  <a:pt x="778" y="370"/>
                  <a:pt x="780" y="371"/>
                  <a:pt x="780" y="372"/>
                </a:cubicBezTo>
                <a:cubicBezTo>
                  <a:pt x="777" y="376"/>
                  <a:pt x="772" y="368"/>
                  <a:pt x="775" y="365"/>
                </a:cubicBezTo>
                <a:cubicBezTo>
                  <a:pt x="776" y="364"/>
                  <a:pt x="778" y="364"/>
                  <a:pt x="779" y="364"/>
                </a:cubicBezTo>
                <a:close/>
                <a:moveTo>
                  <a:pt x="776" y="327"/>
                </a:moveTo>
                <a:cubicBezTo>
                  <a:pt x="776" y="329"/>
                  <a:pt x="776" y="326"/>
                  <a:pt x="776" y="327"/>
                </a:cubicBezTo>
                <a:close/>
                <a:moveTo>
                  <a:pt x="776" y="333"/>
                </a:moveTo>
                <a:cubicBezTo>
                  <a:pt x="778" y="332"/>
                  <a:pt x="780" y="337"/>
                  <a:pt x="777" y="338"/>
                </a:cubicBezTo>
                <a:cubicBezTo>
                  <a:pt x="775" y="338"/>
                  <a:pt x="774" y="334"/>
                  <a:pt x="776" y="333"/>
                </a:cubicBezTo>
                <a:close/>
                <a:moveTo>
                  <a:pt x="775" y="351"/>
                </a:moveTo>
                <a:cubicBezTo>
                  <a:pt x="776" y="350"/>
                  <a:pt x="777" y="352"/>
                  <a:pt x="776" y="352"/>
                </a:cubicBezTo>
                <a:cubicBezTo>
                  <a:pt x="775" y="352"/>
                  <a:pt x="775" y="351"/>
                  <a:pt x="775" y="351"/>
                </a:cubicBezTo>
                <a:close/>
                <a:moveTo>
                  <a:pt x="774" y="342"/>
                </a:moveTo>
                <a:cubicBezTo>
                  <a:pt x="775" y="340"/>
                  <a:pt x="776" y="343"/>
                  <a:pt x="774" y="343"/>
                </a:cubicBezTo>
                <a:cubicBezTo>
                  <a:pt x="774" y="343"/>
                  <a:pt x="774" y="342"/>
                  <a:pt x="774" y="342"/>
                </a:cubicBezTo>
                <a:close/>
                <a:moveTo>
                  <a:pt x="773" y="347"/>
                </a:moveTo>
                <a:cubicBezTo>
                  <a:pt x="772" y="348"/>
                  <a:pt x="770" y="343"/>
                  <a:pt x="772" y="343"/>
                </a:cubicBezTo>
                <a:cubicBezTo>
                  <a:pt x="774" y="341"/>
                  <a:pt x="774" y="347"/>
                  <a:pt x="773" y="347"/>
                </a:cubicBezTo>
                <a:close/>
                <a:moveTo>
                  <a:pt x="770" y="320"/>
                </a:moveTo>
                <a:cubicBezTo>
                  <a:pt x="771" y="318"/>
                  <a:pt x="773" y="323"/>
                  <a:pt x="770" y="322"/>
                </a:cubicBezTo>
                <a:cubicBezTo>
                  <a:pt x="769" y="322"/>
                  <a:pt x="769" y="320"/>
                  <a:pt x="770" y="320"/>
                </a:cubicBezTo>
                <a:close/>
                <a:moveTo>
                  <a:pt x="769" y="332"/>
                </a:moveTo>
                <a:cubicBezTo>
                  <a:pt x="769" y="331"/>
                  <a:pt x="770" y="334"/>
                  <a:pt x="769" y="334"/>
                </a:cubicBezTo>
                <a:cubicBezTo>
                  <a:pt x="768" y="334"/>
                  <a:pt x="768" y="333"/>
                  <a:pt x="769" y="332"/>
                </a:cubicBezTo>
                <a:close/>
                <a:moveTo>
                  <a:pt x="766" y="326"/>
                </a:moveTo>
                <a:cubicBezTo>
                  <a:pt x="768" y="322"/>
                  <a:pt x="770" y="331"/>
                  <a:pt x="766" y="329"/>
                </a:cubicBezTo>
                <a:cubicBezTo>
                  <a:pt x="765" y="328"/>
                  <a:pt x="766" y="327"/>
                  <a:pt x="766" y="326"/>
                </a:cubicBezTo>
                <a:close/>
                <a:moveTo>
                  <a:pt x="767" y="336"/>
                </a:moveTo>
                <a:cubicBezTo>
                  <a:pt x="767" y="335"/>
                  <a:pt x="767" y="335"/>
                  <a:pt x="767" y="334"/>
                </a:cubicBezTo>
                <a:cubicBezTo>
                  <a:pt x="768" y="334"/>
                  <a:pt x="768" y="336"/>
                  <a:pt x="767" y="336"/>
                </a:cubicBezTo>
                <a:close/>
                <a:moveTo>
                  <a:pt x="767" y="332"/>
                </a:moveTo>
                <a:cubicBezTo>
                  <a:pt x="766" y="332"/>
                  <a:pt x="766" y="331"/>
                  <a:pt x="766" y="330"/>
                </a:cubicBezTo>
                <a:cubicBezTo>
                  <a:pt x="767" y="329"/>
                  <a:pt x="767" y="332"/>
                  <a:pt x="767" y="332"/>
                </a:cubicBezTo>
                <a:close/>
                <a:moveTo>
                  <a:pt x="767" y="349"/>
                </a:moveTo>
                <a:cubicBezTo>
                  <a:pt x="767" y="348"/>
                  <a:pt x="769" y="349"/>
                  <a:pt x="769" y="349"/>
                </a:cubicBezTo>
                <a:cubicBezTo>
                  <a:pt x="770" y="351"/>
                  <a:pt x="768" y="355"/>
                  <a:pt x="766" y="355"/>
                </a:cubicBezTo>
                <a:cubicBezTo>
                  <a:pt x="765" y="355"/>
                  <a:pt x="764" y="353"/>
                  <a:pt x="763" y="353"/>
                </a:cubicBezTo>
                <a:cubicBezTo>
                  <a:pt x="761" y="352"/>
                  <a:pt x="761" y="348"/>
                  <a:pt x="763" y="347"/>
                </a:cubicBezTo>
                <a:cubicBezTo>
                  <a:pt x="766" y="345"/>
                  <a:pt x="766" y="347"/>
                  <a:pt x="767" y="349"/>
                </a:cubicBezTo>
                <a:close/>
                <a:moveTo>
                  <a:pt x="762" y="341"/>
                </a:moveTo>
                <a:cubicBezTo>
                  <a:pt x="762" y="341"/>
                  <a:pt x="762" y="341"/>
                  <a:pt x="762" y="341"/>
                </a:cubicBezTo>
                <a:cubicBezTo>
                  <a:pt x="762" y="341"/>
                  <a:pt x="762" y="341"/>
                  <a:pt x="762" y="341"/>
                </a:cubicBezTo>
                <a:cubicBezTo>
                  <a:pt x="762" y="341"/>
                  <a:pt x="762" y="341"/>
                  <a:pt x="762" y="341"/>
                </a:cubicBezTo>
                <a:close/>
                <a:moveTo>
                  <a:pt x="762" y="320"/>
                </a:moveTo>
                <a:cubicBezTo>
                  <a:pt x="764" y="321"/>
                  <a:pt x="761" y="322"/>
                  <a:pt x="762" y="320"/>
                </a:cubicBezTo>
                <a:close/>
                <a:moveTo>
                  <a:pt x="762" y="322"/>
                </a:moveTo>
                <a:cubicBezTo>
                  <a:pt x="763" y="322"/>
                  <a:pt x="762" y="323"/>
                  <a:pt x="762" y="323"/>
                </a:cubicBezTo>
                <a:cubicBezTo>
                  <a:pt x="761" y="323"/>
                  <a:pt x="762" y="322"/>
                  <a:pt x="762" y="322"/>
                </a:cubicBezTo>
                <a:close/>
                <a:moveTo>
                  <a:pt x="762" y="331"/>
                </a:moveTo>
                <a:cubicBezTo>
                  <a:pt x="762" y="330"/>
                  <a:pt x="763" y="333"/>
                  <a:pt x="762" y="332"/>
                </a:cubicBezTo>
                <a:cubicBezTo>
                  <a:pt x="761" y="332"/>
                  <a:pt x="762" y="331"/>
                  <a:pt x="762" y="331"/>
                </a:cubicBezTo>
                <a:close/>
                <a:moveTo>
                  <a:pt x="760" y="362"/>
                </a:moveTo>
                <a:cubicBezTo>
                  <a:pt x="762" y="360"/>
                  <a:pt x="762" y="364"/>
                  <a:pt x="761" y="364"/>
                </a:cubicBezTo>
                <a:cubicBezTo>
                  <a:pt x="760" y="365"/>
                  <a:pt x="759" y="362"/>
                  <a:pt x="760" y="362"/>
                </a:cubicBezTo>
                <a:close/>
                <a:moveTo>
                  <a:pt x="758" y="333"/>
                </a:moveTo>
                <a:cubicBezTo>
                  <a:pt x="757" y="333"/>
                  <a:pt x="757" y="332"/>
                  <a:pt x="757" y="331"/>
                </a:cubicBezTo>
                <a:cubicBezTo>
                  <a:pt x="759" y="330"/>
                  <a:pt x="760" y="334"/>
                  <a:pt x="758" y="333"/>
                </a:cubicBezTo>
                <a:close/>
                <a:moveTo>
                  <a:pt x="757" y="305"/>
                </a:moveTo>
                <a:cubicBezTo>
                  <a:pt x="757" y="307"/>
                  <a:pt x="757" y="308"/>
                  <a:pt x="757" y="309"/>
                </a:cubicBezTo>
                <a:cubicBezTo>
                  <a:pt x="756" y="308"/>
                  <a:pt x="756" y="306"/>
                  <a:pt x="757" y="305"/>
                </a:cubicBezTo>
                <a:close/>
                <a:moveTo>
                  <a:pt x="756" y="312"/>
                </a:moveTo>
                <a:cubicBezTo>
                  <a:pt x="759" y="315"/>
                  <a:pt x="754" y="316"/>
                  <a:pt x="756" y="312"/>
                </a:cubicBezTo>
                <a:close/>
                <a:moveTo>
                  <a:pt x="755" y="427"/>
                </a:moveTo>
                <a:cubicBezTo>
                  <a:pt x="753" y="425"/>
                  <a:pt x="756" y="426"/>
                  <a:pt x="755" y="427"/>
                </a:cubicBezTo>
                <a:close/>
                <a:moveTo>
                  <a:pt x="754" y="387"/>
                </a:moveTo>
                <a:cubicBezTo>
                  <a:pt x="752" y="388"/>
                  <a:pt x="750" y="384"/>
                  <a:pt x="752" y="382"/>
                </a:cubicBezTo>
                <a:cubicBezTo>
                  <a:pt x="754" y="380"/>
                  <a:pt x="755" y="386"/>
                  <a:pt x="754" y="387"/>
                </a:cubicBezTo>
                <a:close/>
                <a:moveTo>
                  <a:pt x="754" y="326"/>
                </a:moveTo>
                <a:cubicBezTo>
                  <a:pt x="754" y="324"/>
                  <a:pt x="754" y="328"/>
                  <a:pt x="754" y="326"/>
                </a:cubicBezTo>
                <a:close/>
                <a:moveTo>
                  <a:pt x="754" y="307"/>
                </a:moveTo>
                <a:cubicBezTo>
                  <a:pt x="755" y="308"/>
                  <a:pt x="753" y="309"/>
                  <a:pt x="754" y="307"/>
                </a:cubicBezTo>
                <a:close/>
                <a:moveTo>
                  <a:pt x="752" y="301"/>
                </a:moveTo>
                <a:cubicBezTo>
                  <a:pt x="751" y="299"/>
                  <a:pt x="754" y="299"/>
                  <a:pt x="752" y="301"/>
                </a:cubicBezTo>
                <a:close/>
                <a:moveTo>
                  <a:pt x="752" y="350"/>
                </a:moveTo>
                <a:cubicBezTo>
                  <a:pt x="753" y="351"/>
                  <a:pt x="753" y="355"/>
                  <a:pt x="752" y="356"/>
                </a:cubicBezTo>
                <a:cubicBezTo>
                  <a:pt x="752" y="354"/>
                  <a:pt x="752" y="352"/>
                  <a:pt x="752" y="350"/>
                </a:cubicBezTo>
                <a:close/>
                <a:moveTo>
                  <a:pt x="751" y="362"/>
                </a:moveTo>
                <a:cubicBezTo>
                  <a:pt x="751" y="361"/>
                  <a:pt x="751" y="361"/>
                  <a:pt x="751" y="360"/>
                </a:cubicBezTo>
                <a:cubicBezTo>
                  <a:pt x="752" y="360"/>
                  <a:pt x="752" y="362"/>
                  <a:pt x="751" y="362"/>
                </a:cubicBezTo>
                <a:close/>
                <a:moveTo>
                  <a:pt x="751" y="307"/>
                </a:moveTo>
                <a:cubicBezTo>
                  <a:pt x="752" y="306"/>
                  <a:pt x="750" y="309"/>
                  <a:pt x="751" y="307"/>
                </a:cubicBezTo>
                <a:close/>
                <a:moveTo>
                  <a:pt x="751" y="340"/>
                </a:moveTo>
                <a:cubicBezTo>
                  <a:pt x="750" y="341"/>
                  <a:pt x="750" y="339"/>
                  <a:pt x="750" y="339"/>
                </a:cubicBezTo>
                <a:cubicBezTo>
                  <a:pt x="751" y="338"/>
                  <a:pt x="751" y="340"/>
                  <a:pt x="751" y="340"/>
                </a:cubicBezTo>
                <a:close/>
                <a:moveTo>
                  <a:pt x="748" y="303"/>
                </a:moveTo>
                <a:cubicBezTo>
                  <a:pt x="750" y="301"/>
                  <a:pt x="752" y="307"/>
                  <a:pt x="750" y="307"/>
                </a:cubicBezTo>
                <a:cubicBezTo>
                  <a:pt x="748" y="307"/>
                  <a:pt x="748" y="304"/>
                  <a:pt x="748" y="303"/>
                </a:cubicBezTo>
                <a:close/>
                <a:moveTo>
                  <a:pt x="747" y="306"/>
                </a:moveTo>
                <a:cubicBezTo>
                  <a:pt x="746" y="307"/>
                  <a:pt x="745" y="306"/>
                  <a:pt x="747" y="306"/>
                </a:cubicBezTo>
                <a:close/>
                <a:moveTo>
                  <a:pt x="745" y="301"/>
                </a:moveTo>
                <a:cubicBezTo>
                  <a:pt x="746" y="300"/>
                  <a:pt x="746" y="303"/>
                  <a:pt x="745" y="303"/>
                </a:cubicBezTo>
                <a:cubicBezTo>
                  <a:pt x="744" y="302"/>
                  <a:pt x="745" y="301"/>
                  <a:pt x="745" y="301"/>
                </a:cubicBezTo>
                <a:close/>
                <a:moveTo>
                  <a:pt x="745" y="332"/>
                </a:moveTo>
                <a:cubicBezTo>
                  <a:pt x="746" y="331"/>
                  <a:pt x="747" y="331"/>
                  <a:pt x="747" y="333"/>
                </a:cubicBezTo>
                <a:cubicBezTo>
                  <a:pt x="747" y="335"/>
                  <a:pt x="744" y="345"/>
                  <a:pt x="744" y="345"/>
                </a:cubicBezTo>
                <a:cubicBezTo>
                  <a:pt x="742" y="345"/>
                  <a:pt x="744" y="341"/>
                  <a:pt x="744" y="340"/>
                </a:cubicBezTo>
                <a:cubicBezTo>
                  <a:pt x="745" y="338"/>
                  <a:pt x="743" y="333"/>
                  <a:pt x="745" y="332"/>
                </a:cubicBezTo>
                <a:close/>
                <a:moveTo>
                  <a:pt x="743" y="354"/>
                </a:moveTo>
                <a:cubicBezTo>
                  <a:pt x="744" y="353"/>
                  <a:pt x="742" y="355"/>
                  <a:pt x="743" y="354"/>
                </a:cubicBezTo>
                <a:close/>
                <a:moveTo>
                  <a:pt x="740" y="293"/>
                </a:moveTo>
                <a:cubicBezTo>
                  <a:pt x="739" y="293"/>
                  <a:pt x="740" y="292"/>
                  <a:pt x="740" y="292"/>
                </a:cubicBezTo>
                <a:cubicBezTo>
                  <a:pt x="741" y="291"/>
                  <a:pt x="741" y="294"/>
                  <a:pt x="740" y="293"/>
                </a:cubicBezTo>
                <a:close/>
                <a:moveTo>
                  <a:pt x="741" y="324"/>
                </a:moveTo>
                <a:cubicBezTo>
                  <a:pt x="742" y="322"/>
                  <a:pt x="742" y="325"/>
                  <a:pt x="741" y="325"/>
                </a:cubicBezTo>
                <a:cubicBezTo>
                  <a:pt x="740" y="325"/>
                  <a:pt x="741" y="324"/>
                  <a:pt x="741" y="324"/>
                </a:cubicBezTo>
                <a:close/>
                <a:moveTo>
                  <a:pt x="740" y="339"/>
                </a:moveTo>
                <a:cubicBezTo>
                  <a:pt x="741" y="338"/>
                  <a:pt x="741" y="340"/>
                  <a:pt x="741" y="340"/>
                </a:cubicBezTo>
                <a:cubicBezTo>
                  <a:pt x="740" y="341"/>
                  <a:pt x="740" y="340"/>
                  <a:pt x="740" y="339"/>
                </a:cubicBezTo>
                <a:close/>
                <a:moveTo>
                  <a:pt x="740" y="360"/>
                </a:moveTo>
                <a:cubicBezTo>
                  <a:pt x="741" y="361"/>
                  <a:pt x="739" y="362"/>
                  <a:pt x="740" y="360"/>
                </a:cubicBezTo>
                <a:close/>
                <a:moveTo>
                  <a:pt x="739" y="374"/>
                </a:moveTo>
                <a:cubicBezTo>
                  <a:pt x="739" y="374"/>
                  <a:pt x="739" y="376"/>
                  <a:pt x="739" y="376"/>
                </a:cubicBezTo>
                <a:cubicBezTo>
                  <a:pt x="739" y="375"/>
                  <a:pt x="739" y="375"/>
                  <a:pt x="739" y="374"/>
                </a:cubicBezTo>
                <a:close/>
                <a:moveTo>
                  <a:pt x="737" y="379"/>
                </a:moveTo>
                <a:cubicBezTo>
                  <a:pt x="739" y="380"/>
                  <a:pt x="737" y="382"/>
                  <a:pt x="737" y="384"/>
                </a:cubicBezTo>
                <a:cubicBezTo>
                  <a:pt x="737" y="382"/>
                  <a:pt x="736" y="383"/>
                  <a:pt x="735" y="382"/>
                </a:cubicBezTo>
                <a:cubicBezTo>
                  <a:pt x="733" y="381"/>
                  <a:pt x="736" y="377"/>
                  <a:pt x="737" y="379"/>
                </a:cubicBezTo>
                <a:close/>
                <a:moveTo>
                  <a:pt x="735" y="354"/>
                </a:moveTo>
                <a:cubicBezTo>
                  <a:pt x="733" y="353"/>
                  <a:pt x="735" y="352"/>
                  <a:pt x="735" y="354"/>
                </a:cubicBezTo>
                <a:close/>
                <a:moveTo>
                  <a:pt x="734" y="314"/>
                </a:moveTo>
                <a:cubicBezTo>
                  <a:pt x="734" y="313"/>
                  <a:pt x="735" y="314"/>
                  <a:pt x="735" y="314"/>
                </a:cubicBezTo>
                <a:cubicBezTo>
                  <a:pt x="735" y="315"/>
                  <a:pt x="734" y="315"/>
                  <a:pt x="734" y="314"/>
                </a:cubicBezTo>
                <a:close/>
                <a:moveTo>
                  <a:pt x="733" y="313"/>
                </a:moveTo>
                <a:cubicBezTo>
                  <a:pt x="734" y="313"/>
                  <a:pt x="733" y="314"/>
                  <a:pt x="733" y="314"/>
                </a:cubicBezTo>
                <a:cubicBezTo>
                  <a:pt x="732" y="314"/>
                  <a:pt x="733" y="313"/>
                  <a:pt x="733" y="313"/>
                </a:cubicBezTo>
                <a:close/>
                <a:moveTo>
                  <a:pt x="734" y="322"/>
                </a:moveTo>
                <a:cubicBezTo>
                  <a:pt x="734" y="323"/>
                  <a:pt x="733" y="322"/>
                  <a:pt x="733" y="321"/>
                </a:cubicBezTo>
                <a:cubicBezTo>
                  <a:pt x="733" y="320"/>
                  <a:pt x="734" y="321"/>
                  <a:pt x="734" y="322"/>
                </a:cubicBezTo>
                <a:close/>
                <a:moveTo>
                  <a:pt x="731" y="420"/>
                </a:moveTo>
                <a:cubicBezTo>
                  <a:pt x="732" y="418"/>
                  <a:pt x="730" y="422"/>
                  <a:pt x="731" y="420"/>
                </a:cubicBezTo>
                <a:close/>
                <a:moveTo>
                  <a:pt x="731" y="303"/>
                </a:moveTo>
                <a:cubicBezTo>
                  <a:pt x="729" y="302"/>
                  <a:pt x="731" y="301"/>
                  <a:pt x="731" y="303"/>
                </a:cubicBezTo>
                <a:close/>
                <a:moveTo>
                  <a:pt x="731" y="305"/>
                </a:moveTo>
                <a:cubicBezTo>
                  <a:pt x="731" y="305"/>
                  <a:pt x="729" y="305"/>
                  <a:pt x="729" y="305"/>
                </a:cubicBezTo>
                <a:cubicBezTo>
                  <a:pt x="729" y="304"/>
                  <a:pt x="732" y="304"/>
                  <a:pt x="731" y="305"/>
                </a:cubicBezTo>
                <a:close/>
                <a:moveTo>
                  <a:pt x="729" y="318"/>
                </a:moveTo>
                <a:cubicBezTo>
                  <a:pt x="729" y="317"/>
                  <a:pt x="730" y="319"/>
                  <a:pt x="730" y="320"/>
                </a:cubicBezTo>
                <a:cubicBezTo>
                  <a:pt x="729" y="320"/>
                  <a:pt x="729" y="319"/>
                  <a:pt x="729" y="318"/>
                </a:cubicBezTo>
                <a:close/>
                <a:moveTo>
                  <a:pt x="724" y="299"/>
                </a:moveTo>
                <a:cubicBezTo>
                  <a:pt x="724" y="299"/>
                  <a:pt x="724" y="299"/>
                  <a:pt x="724" y="299"/>
                </a:cubicBezTo>
                <a:cubicBezTo>
                  <a:pt x="724" y="299"/>
                  <a:pt x="724" y="299"/>
                  <a:pt x="724" y="299"/>
                </a:cubicBezTo>
                <a:cubicBezTo>
                  <a:pt x="724" y="299"/>
                  <a:pt x="724" y="299"/>
                  <a:pt x="724" y="299"/>
                </a:cubicBezTo>
                <a:close/>
                <a:moveTo>
                  <a:pt x="728" y="307"/>
                </a:moveTo>
                <a:cubicBezTo>
                  <a:pt x="728" y="306"/>
                  <a:pt x="728" y="309"/>
                  <a:pt x="728" y="307"/>
                </a:cubicBezTo>
                <a:close/>
                <a:moveTo>
                  <a:pt x="727" y="323"/>
                </a:moveTo>
                <a:cubicBezTo>
                  <a:pt x="727" y="322"/>
                  <a:pt x="726" y="324"/>
                  <a:pt x="727" y="323"/>
                </a:cubicBezTo>
                <a:close/>
                <a:moveTo>
                  <a:pt x="725" y="462"/>
                </a:moveTo>
                <a:cubicBezTo>
                  <a:pt x="725" y="463"/>
                  <a:pt x="723" y="463"/>
                  <a:pt x="724" y="462"/>
                </a:cubicBezTo>
                <a:cubicBezTo>
                  <a:pt x="724" y="461"/>
                  <a:pt x="725" y="462"/>
                  <a:pt x="725" y="462"/>
                </a:cubicBezTo>
                <a:close/>
                <a:moveTo>
                  <a:pt x="725" y="403"/>
                </a:moveTo>
                <a:cubicBezTo>
                  <a:pt x="724" y="405"/>
                  <a:pt x="725" y="402"/>
                  <a:pt x="725" y="403"/>
                </a:cubicBezTo>
                <a:close/>
                <a:moveTo>
                  <a:pt x="724" y="379"/>
                </a:moveTo>
                <a:cubicBezTo>
                  <a:pt x="724" y="380"/>
                  <a:pt x="723" y="379"/>
                  <a:pt x="723" y="379"/>
                </a:cubicBezTo>
                <a:cubicBezTo>
                  <a:pt x="723" y="379"/>
                  <a:pt x="725" y="379"/>
                  <a:pt x="724" y="379"/>
                </a:cubicBezTo>
                <a:close/>
                <a:moveTo>
                  <a:pt x="721" y="336"/>
                </a:moveTo>
                <a:cubicBezTo>
                  <a:pt x="722" y="335"/>
                  <a:pt x="722" y="339"/>
                  <a:pt x="721" y="338"/>
                </a:cubicBezTo>
                <a:cubicBezTo>
                  <a:pt x="720" y="338"/>
                  <a:pt x="721" y="336"/>
                  <a:pt x="721" y="336"/>
                </a:cubicBezTo>
                <a:close/>
                <a:moveTo>
                  <a:pt x="719" y="366"/>
                </a:moveTo>
                <a:cubicBezTo>
                  <a:pt x="721" y="365"/>
                  <a:pt x="718" y="368"/>
                  <a:pt x="719" y="366"/>
                </a:cubicBezTo>
                <a:cubicBezTo>
                  <a:pt x="719" y="366"/>
                  <a:pt x="719" y="366"/>
                  <a:pt x="719" y="366"/>
                </a:cubicBezTo>
                <a:close/>
                <a:moveTo>
                  <a:pt x="708" y="263"/>
                </a:moveTo>
                <a:cubicBezTo>
                  <a:pt x="708" y="261"/>
                  <a:pt x="709" y="265"/>
                  <a:pt x="708" y="264"/>
                </a:cubicBezTo>
                <a:cubicBezTo>
                  <a:pt x="707" y="263"/>
                  <a:pt x="707" y="263"/>
                  <a:pt x="708" y="263"/>
                </a:cubicBezTo>
                <a:close/>
                <a:moveTo>
                  <a:pt x="707" y="258"/>
                </a:moveTo>
                <a:cubicBezTo>
                  <a:pt x="708" y="257"/>
                  <a:pt x="707" y="260"/>
                  <a:pt x="706" y="260"/>
                </a:cubicBezTo>
                <a:cubicBezTo>
                  <a:pt x="705" y="259"/>
                  <a:pt x="707" y="258"/>
                  <a:pt x="707" y="258"/>
                </a:cubicBezTo>
                <a:close/>
                <a:moveTo>
                  <a:pt x="681" y="522"/>
                </a:moveTo>
                <a:cubicBezTo>
                  <a:pt x="680" y="522"/>
                  <a:pt x="680" y="521"/>
                  <a:pt x="681" y="521"/>
                </a:cubicBezTo>
                <a:cubicBezTo>
                  <a:pt x="682" y="519"/>
                  <a:pt x="682" y="523"/>
                  <a:pt x="681" y="522"/>
                </a:cubicBezTo>
                <a:close/>
                <a:moveTo>
                  <a:pt x="682" y="440"/>
                </a:moveTo>
                <a:cubicBezTo>
                  <a:pt x="681" y="440"/>
                  <a:pt x="681" y="439"/>
                  <a:pt x="682" y="438"/>
                </a:cubicBezTo>
                <a:cubicBezTo>
                  <a:pt x="683" y="436"/>
                  <a:pt x="684" y="441"/>
                  <a:pt x="682" y="440"/>
                </a:cubicBezTo>
                <a:close/>
                <a:moveTo>
                  <a:pt x="682" y="375"/>
                </a:moveTo>
                <a:cubicBezTo>
                  <a:pt x="682" y="374"/>
                  <a:pt x="683" y="374"/>
                  <a:pt x="683" y="372"/>
                </a:cubicBezTo>
                <a:cubicBezTo>
                  <a:pt x="684" y="373"/>
                  <a:pt x="683" y="375"/>
                  <a:pt x="682" y="375"/>
                </a:cubicBezTo>
                <a:close/>
                <a:moveTo>
                  <a:pt x="684" y="296"/>
                </a:moveTo>
                <a:cubicBezTo>
                  <a:pt x="685" y="295"/>
                  <a:pt x="685" y="297"/>
                  <a:pt x="684" y="297"/>
                </a:cubicBezTo>
                <a:cubicBezTo>
                  <a:pt x="684" y="297"/>
                  <a:pt x="684" y="296"/>
                  <a:pt x="684" y="296"/>
                </a:cubicBezTo>
                <a:close/>
                <a:moveTo>
                  <a:pt x="685" y="292"/>
                </a:moveTo>
                <a:cubicBezTo>
                  <a:pt x="686" y="292"/>
                  <a:pt x="683" y="293"/>
                  <a:pt x="685" y="292"/>
                </a:cubicBezTo>
                <a:close/>
                <a:moveTo>
                  <a:pt x="683" y="302"/>
                </a:moveTo>
                <a:cubicBezTo>
                  <a:pt x="683" y="302"/>
                  <a:pt x="684" y="301"/>
                  <a:pt x="684" y="301"/>
                </a:cubicBezTo>
                <a:cubicBezTo>
                  <a:pt x="684" y="301"/>
                  <a:pt x="683" y="302"/>
                  <a:pt x="683" y="302"/>
                </a:cubicBezTo>
                <a:close/>
                <a:moveTo>
                  <a:pt x="685" y="376"/>
                </a:moveTo>
                <a:cubicBezTo>
                  <a:pt x="684" y="375"/>
                  <a:pt x="685" y="372"/>
                  <a:pt x="685" y="372"/>
                </a:cubicBezTo>
                <a:cubicBezTo>
                  <a:pt x="688" y="370"/>
                  <a:pt x="688" y="377"/>
                  <a:pt x="685" y="376"/>
                </a:cubicBezTo>
                <a:close/>
                <a:moveTo>
                  <a:pt x="685" y="360"/>
                </a:moveTo>
                <a:cubicBezTo>
                  <a:pt x="685" y="358"/>
                  <a:pt x="686" y="361"/>
                  <a:pt x="685" y="361"/>
                </a:cubicBezTo>
                <a:cubicBezTo>
                  <a:pt x="684" y="360"/>
                  <a:pt x="685" y="360"/>
                  <a:pt x="685" y="360"/>
                </a:cubicBezTo>
                <a:close/>
                <a:moveTo>
                  <a:pt x="689" y="346"/>
                </a:moveTo>
                <a:cubicBezTo>
                  <a:pt x="687" y="346"/>
                  <a:pt x="688" y="344"/>
                  <a:pt x="688" y="344"/>
                </a:cubicBezTo>
                <a:cubicBezTo>
                  <a:pt x="689" y="342"/>
                  <a:pt x="690" y="347"/>
                  <a:pt x="689" y="346"/>
                </a:cubicBezTo>
                <a:close/>
                <a:moveTo>
                  <a:pt x="689" y="333"/>
                </a:moveTo>
                <a:cubicBezTo>
                  <a:pt x="689" y="334"/>
                  <a:pt x="688" y="331"/>
                  <a:pt x="689" y="333"/>
                </a:cubicBezTo>
                <a:close/>
                <a:moveTo>
                  <a:pt x="690" y="370"/>
                </a:moveTo>
                <a:cubicBezTo>
                  <a:pt x="692" y="367"/>
                  <a:pt x="693" y="373"/>
                  <a:pt x="691" y="372"/>
                </a:cubicBezTo>
                <a:cubicBezTo>
                  <a:pt x="690" y="372"/>
                  <a:pt x="690" y="370"/>
                  <a:pt x="690" y="370"/>
                </a:cubicBezTo>
                <a:close/>
                <a:moveTo>
                  <a:pt x="690" y="322"/>
                </a:moveTo>
                <a:cubicBezTo>
                  <a:pt x="689" y="323"/>
                  <a:pt x="692" y="320"/>
                  <a:pt x="690" y="322"/>
                </a:cubicBezTo>
                <a:close/>
                <a:moveTo>
                  <a:pt x="691" y="405"/>
                </a:moveTo>
                <a:cubicBezTo>
                  <a:pt x="690" y="403"/>
                  <a:pt x="693" y="403"/>
                  <a:pt x="693" y="402"/>
                </a:cubicBezTo>
                <a:cubicBezTo>
                  <a:pt x="693" y="403"/>
                  <a:pt x="692" y="404"/>
                  <a:pt x="691" y="405"/>
                </a:cubicBezTo>
                <a:close/>
                <a:moveTo>
                  <a:pt x="694" y="441"/>
                </a:moveTo>
                <a:cubicBezTo>
                  <a:pt x="694" y="440"/>
                  <a:pt x="695" y="439"/>
                  <a:pt x="695" y="438"/>
                </a:cubicBezTo>
                <a:cubicBezTo>
                  <a:pt x="696" y="439"/>
                  <a:pt x="695" y="441"/>
                  <a:pt x="694" y="441"/>
                </a:cubicBezTo>
                <a:close/>
                <a:moveTo>
                  <a:pt x="695" y="391"/>
                </a:moveTo>
                <a:cubicBezTo>
                  <a:pt x="695" y="391"/>
                  <a:pt x="695" y="390"/>
                  <a:pt x="695" y="390"/>
                </a:cubicBezTo>
                <a:cubicBezTo>
                  <a:pt x="696" y="389"/>
                  <a:pt x="696" y="392"/>
                  <a:pt x="695" y="391"/>
                </a:cubicBezTo>
                <a:close/>
                <a:moveTo>
                  <a:pt x="701" y="315"/>
                </a:moveTo>
                <a:cubicBezTo>
                  <a:pt x="701" y="316"/>
                  <a:pt x="700" y="317"/>
                  <a:pt x="699" y="316"/>
                </a:cubicBezTo>
                <a:cubicBezTo>
                  <a:pt x="698" y="316"/>
                  <a:pt x="700" y="313"/>
                  <a:pt x="701" y="315"/>
                </a:cubicBezTo>
                <a:close/>
                <a:moveTo>
                  <a:pt x="699" y="398"/>
                </a:moveTo>
                <a:cubicBezTo>
                  <a:pt x="700" y="397"/>
                  <a:pt x="699" y="399"/>
                  <a:pt x="699" y="398"/>
                </a:cubicBezTo>
                <a:close/>
                <a:moveTo>
                  <a:pt x="701" y="369"/>
                </a:moveTo>
                <a:cubicBezTo>
                  <a:pt x="700" y="369"/>
                  <a:pt x="700" y="367"/>
                  <a:pt x="701" y="367"/>
                </a:cubicBezTo>
                <a:cubicBezTo>
                  <a:pt x="702" y="365"/>
                  <a:pt x="703" y="370"/>
                  <a:pt x="701" y="369"/>
                </a:cubicBezTo>
                <a:close/>
                <a:moveTo>
                  <a:pt x="702" y="351"/>
                </a:moveTo>
                <a:cubicBezTo>
                  <a:pt x="701" y="351"/>
                  <a:pt x="702" y="350"/>
                  <a:pt x="702" y="350"/>
                </a:cubicBezTo>
                <a:cubicBezTo>
                  <a:pt x="703" y="348"/>
                  <a:pt x="703" y="351"/>
                  <a:pt x="702" y="351"/>
                </a:cubicBezTo>
                <a:close/>
                <a:moveTo>
                  <a:pt x="699" y="334"/>
                </a:moveTo>
                <a:cubicBezTo>
                  <a:pt x="700" y="330"/>
                  <a:pt x="702" y="327"/>
                  <a:pt x="704" y="325"/>
                </a:cubicBezTo>
                <a:cubicBezTo>
                  <a:pt x="703" y="328"/>
                  <a:pt x="702" y="331"/>
                  <a:pt x="699" y="334"/>
                </a:cubicBezTo>
                <a:close/>
                <a:moveTo>
                  <a:pt x="704" y="313"/>
                </a:moveTo>
                <a:cubicBezTo>
                  <a:pt x="704" y="315"/>
                  <a:pt x="705" y="312"/>
                  <a:pt x="704" y="313"/>
                </a:cubicBezTo>
                <a:close/>
                <a:moveTo>
                  <a:pt x="711" y="404"/>
                </a:moveTo>
                <a:cubicBezTo>
                  <a:pt x="710" y="404"/>
                  <a:pt x="710" y="402"/>
                  <a:pt x="710" y="402"/>
                </a:cubicBezTo>
                <a:cubicBezTo>
                  <a:pt x="712" y="401"/>
                  <a:pt x="712" y="404"/>
                  <a:pt x="711" y="404"/>
                </a:cubicBezTo>
                <a:close/>
                <a:moveTo>
                  <a:pt x="709" y="371"/>
                </a:moveTo>
                <a:cubicBezTo>
                  <a:pt x="706" y="370"/>
                  <a:pt x="708" y="365"/>
                  <a:pt x="709" y="365"/>
                </a:cubicBezTo>
                <a:cubicBezTo>
                  <a:pt x="713" y="362"/>
                  <a:pt x="713" y="372"/>
                  <a:pt x="709" y="371"/>
                </a:cubicBezTo>
                <a:close/>
                <a:moveTo>
                  <a:pt x="710" y="346"/>
                </a:moveTo>
                <a:cubicBezTo>
                  <a:pt x="711" y="345"/>
                  <a:pt x="712" y="347"/>
                  <a:pt x="710" y="347"/>
                </a:cubicBezTo>
                <a:cubicBezTo>
                  <a:pt x="709" y="347"/>
                  <a:pt x="710" y="346"/>
                  <a:pt x="710" y="346"/>
                </a:cubicBezTo>
                <a:close/>
                <a:moveTo>
                  <a:pt x="715" y="399"/>
                </a:moveTo>
                <a:cubicBezTo>
                  <a:pt x="714" y="399"/>
                  <a:pt x="714" y="397"/>
                  <a:pt x="716" y="397"/>
                </a:cubicBezTo>
                <a:cubicBezTo>
                  <a:pt x="716" y="398"/>
                  <a:pt x="715" y="398"/>
                  <a:pt x="715" y="399"/>
                </a:cubicBezTo>
                <a:close/>
                <a:moveTo>
                  <a:pt x="715" y="361"/>
                </a:moveTo>
                <a:cubicBezTo>
                  <a:pt x="716" y="359"/>
                  <a:pt x="716" y="364"/>
                  <a:pt x="715" y="363"/>
                </a:cubicBezTo>
                <a:cubicBezTo>
                  <a:pt x="714" y="363"/>
                  <a:pt x="715" y="361"/>
                  <a:pt x="715" y="361"/>
                </a:cubicBezTo>
                <a:close/>
                <a:moveTo>
                  <a:pt x="715" y="292"/>
                </a:moveTo>
                <a:cubicBezTo>
                  <a:pt x="715" y="292"/>
                  <a:pt x="714" y="295"/>
                  <a:pt x="714" y="294"/>
                </a:cubicBezTo>
                <a:cubicBezTo>
                  <a:pt x="713" y="292"/>
                  <a:pt x="714" y="291"/>
                  <a:pt x="715" y="292"/>
                </a:cubicBezTo>
                <a:close/>
                <a:moveTo>
                  <a:pt x="713" y="290"/>
                </a:moveTo>
                <a:cubicBezTo>
                  <a:pt x="714" y="289"/>
                  <a:pt x="714" y="291"/>
                  <a:pt x="714" y="291"/>
                </a:cubicBezTo>
                <a:cubicBezTo>
                  <a:pt x="713" y="291"/>
                  <a:pt x="713" y="291"/>
                  <a:pt x="713" y="290"/>
                </a:cubicBezTo>
                <a:close/>
                <a:moveTo>
                  <a:pt x="712" y="297"/>
                </a:moveTo>
                <a:cubicBezTo>
                  <a:pt x="714" y="293"/>
                  <a:pt x="718" y="302"/>
                  <a:pt x="714" y="304"/>
                </a:cubicBezTo>
                <a:cubicBezTo>
                  <a:pt x="715" y="300"/>
                  <a:pt x="712" y="301"/>
                  <a:pt x="711" y="300"/>
                </a:cubicBezTo>
                <a:cubicBezTo>
                  <a:pt x="711" y="300"/>
                  <a:pt x="711" y="297"/>
                  <a:pt x="712" y="297"/>
                </a:cubicBezTo>
                <a:close/>
                <a:moveTo>
                  <a:pt x="710" y="332"/>
                </a:moveTo>
                <a:cubicBezTo>
                  <a:pt x="711" y="330"/>
                  <a:pt x="709" y="333"/>
                  <a:pt x="710" y="332"/>
                </a:cubicBezTo>
                <a:close/>
                <a:moveTo>
                  <a:pt x="710" y="338"/>
                </a:moveTo>
                <a:cubicBezTo>
                  <a:pt x="712" y="338"/>
                  <a:pt x="714" y="337"/>
                  <a:pt x="714" y="340"/>
                </a:cubicBezTo>
                <a:cubicBezTo>
                  <a:pt x="714" y="342"/>
                  <a:pt x="713" y="341"/>
                  <a:pt x="712" y="343"/>
                </a:cubicBezTo>
                <a:cubicBezTo>
                  <a:pt x="711" y="344"/>
                  <a:pt x="712" y="345"/>
                  <a:pt x="710" y="345"/>
                </a:cubicBezTo>
                <a:cubicBezTo>
                  <a:pt x="706" y="346"/>
                  <a:pt x="707" y="339"/>
                  <a:pt x="710" y="338"/>
                </a:cubicBezTo>
                <a:close/>
                <a:moveTo>
                  <a:pt x="707" y="289"/>
                </a:moveTo>
                <a:cubicBezTo>
                  <a:pt x="707" y="291"/>
                  <a:pt x="706" y="289"/>
                  <a:pt x="707" y="289"/>
                </a:cubicBezTo>
                <a:close/>
                <a:moveTo>
                  <a:pt x="706" y="334"/>
                </a:moveTo>
                <a:cubicBezTo>
                  <a:pt x="704" y="334"/>
                  <a:pt x="705" y="332"/>
                  <a:pt x="706" y="331"/>
                </a:cubicBezTo>
                <a:cubicBezTo>
                  <a:pt x="708" y="330"/>
                  <a:pt x="708" y="335"/>
                  <a:pt x="706" y="334"/>
                </a:cubicBezTo>
                <a:close/>
                <a:moveTo>
                  <a:pt x="706" y="318"/>
                </a:moveTo>
                <a:cubicBezTo>
                  <a:pt x="707" y="318"/>
                  <a:pt x="706" y="323"/>
                  <a:pt x="705" y="324"/>
                </a:cubicBezTo>
                <a:cubicBezTo>
                  <a:pt x="704" y="322"/>
                  <a:pt x="705" y="319"/>
                  <a:pt x="706" y="318"/>
                </a:cubicBezTo>
                <a:close/>
                <a:moveTo>
                  <a:pt x="704" y="271"/>
                </a:moveTo>
                <a:cubicBezTo>
                  <a:pt x="704" y="270"/>
                  <a:pt x="703" y="273"/>
                  <a:pt x="704" y="271"/>
                </a:cubicBezTo>
                <a:close/>
                <a:moveTo>
                  <a:pt x="704" y="275"/>
                </a:moveTo>
                <a:cubicBezTo>
                  <a:pt x="704" y="277"/>
                  <a:pt x="702" y="280"/>
                  <a:pt x="700" y="282"/>
                </a:cubicBezTo>
                <a:cubicBezTo>
                  <a:pt x="700" y="279"/>
                  <a:pt x="703" y="278"/>
                  <a:pt x="704" y="275"/>
                </a:cubicBezTo>
                <a:close/>
                <a:moveTo>
                  <a:pt x="702" y="287"/>
                </a:moveTo>
                <a:cubicBezTo>
                  <a:pt x="702" y="287"/>
                  <a:pt x="701" y="288"/>
                  <a:pt x="702" y="287"/>
                </a:cubicBezTo>
                <a:cubicBezTo>
                  <a:pt x="702" y="287"/>
                  <a:pt x="702" y="287"/>
                  <a:pt x="702" y="287"/>
                </a:cubicBezTo>
                <a:close/>
                <a:moveTo>
                  <a:pt x="701" y="289"/>
                </a:moveTo>
                <a:cubicBezTo>
                  <a:pt x="701" y="291"/>
                  <a:pt x="699" y="290"/>
                  <a:pt x="701" y="289"/>
                </a:cubicBezTo>
                <a:close/>
                <a:moveTo>
                  <a:pt x="700" y="254"/>
                </a:moveTo>
                <a:cubicBezTo>
                  <a:pt x="699" y="256"/>
                  <a:pt x="700" y="253"/>
                  <a:pt x="700" y="254"/>
                </a:cubicBezTo>
                <a:close/>
                <a:moveTo>
                  <a:pt x="699" y="257"/>
                </a:moveTo>
                <a:cubicBezTo>
                  <a:pt x="699" y="257"/>
                  <a:pt x="699" y="258"/>
                  <a:pt x="698" y="258"/>
                </a:cubicBezTo>
                <a:cubicBezTo>
                  <a:pt x="698" y="258"/>
                  <a:pt x="698" y="258"/>
                  <a:pt x="698" y="258"/>
                </a:cubicBezTo>
                <a:cubicBezTo>
                  <a:pt x="698" y="258"/>
                  <a:pt x="699" y="258"/>
                  <a:pt x="699" y="257"/>
                </a:cubicBezTo>
                <a:close/>
                <a:moveTo>
                  <a:pt x="698" y="308"/>
                </a:moveTo>
                <a:cubicBezTo>
                  <a:pt x="698" y="308"/>
                  <a:pt x="700" y="305"/>
                  <a:pt x="700" y="304"/>
                </a:cubicBezTo>
                <a:cubicBezTo>
                  <a:pt x="700" y="303"/>
                  <a:pt x="698" y="304"/>
                  <a:pt x="699" y="302"/>
                </a:cubicBezTo>
                <a:cubicBezTo>
                  <a:pt x="698" y="303"/>
                  <a:pt x="702" y="302"/>
                  <a:pt x="701" y="301"/>
                </a:cubicBezTo>
                <a:cubicBezTo>
                  <a:pt x="702" y="302"/>
                  <a:pt x="702" y="303"/>
                  <a:pt x="701" y="304"/>
                </a:cubicBezTo>
                <a:cubicBezTo>
                  <a:pt x="703" y="304"/>
                  <a:pt x="705" y="304"/>
                  <a:pt x="706" y="306"/>
                </a:cubicBezTo>
                <a:cubicBezTo>
                  <a:pt x="707" y="309"/>
                  <a:pt x="705" y="311"/>
                  <a:pt x="702" y="313"/>
                </a:cubicBezTo>
                <a:cubicBezTo>
                  <a:pt x="702" y="313"/>
                  <a:pt x="702" y="314"/>
                  <a:pt x="702" y="314"/>
                </a:cubicBezTo>
                <a:cubicBezTo>
                  <a:pt x="701" y="314"/>
                  <a:pt x="700" y="311"/>
                  <a:pt x="700" y="311"/>
                </a:cubicBezTo>
                <a:cubicBezTo>
                  <a:pt x="697" y="311"/>
                  <a:pt x="699" y="316"/>
                  <a:pt x="698" y="316"/>
                </a:cubicBezTo>
                <a:cubicBezTo>
                  <a:pt x="695" y="316"/>
                  <a:pt x="697" y="313"/>
                  <a:pt x="697" y="312"/>
                </a:cubicBezTo>
                <a:cubicBezTo>
                  <a:pt x="697" y="310"/>
                  <a:pt x="696" y="310"/>
                  <a:pt x="698" y="308"/>
                </a:cubicBezTo>
                <a:close/>
                <a:moveTo>
                  <a:pt x="696" y="361"/>
                </a:moveTo>
                <a:cubicBezTo>
                  <a:pt x="696" y="360"/>
                  <a:pt x="698" y="361"/>
                  <a:pt x="696" y="361"/>
                </a:cubicBezTo>
                <a:close/>
                <a:moveTo>
                  <a:pt x="697" y="362"/>
                </a:moveTo>
                <a:cubicBezTo>
                  <a:pt x="696" y="364"/>
                  <a:pt x="695" y="363"/>
                  <a:pt x="697" y="362"/>
                </a:cubicBezTo>
                <a:close/>
                <a:moveTo>
                  <a:pt x="696" y="318"/>
                </a:moveTo>
                <a:cubicBezTo>
                  <a:pt x="697" y="316"/>
                  <a:pt x="697" y="318"/>
                  <a:pt x="696" y="319"/>
                </a:cubicBezTo>
                <a:cubicBezTo>
                  <a:pt x="696" y="319"/>
                  <a:pt x="696" y="318"/>
                  <a:pt x="696" y="318"/>
                </a:cubicBezTo>
                <a:close/>
                <a:moveTo>
                  <a:pt x="697" y="376"/>
                </a:moveTo>
                <a:cubicBezTo>
                  <a:pt x="697" y="376"/>
                  <a:pt x="698" y="382"/>
                  <a:pt x="696" y="382"/>
                </a:cubicBezTo>
                <a:cubicBezTo>
                  <a:pt x="694" y="382"/>
                  <a:pt x="694" y="376"/>
                  <a:pt x="697" y="376"/>
                </a:cubicBezTo>
                <a:close/>
                <a:moveTo>
                  <a:pt x="691" y="299"/>
                </a:moveTo>
                <a:cubicBezTo>
                  <a:pt x="692" y="297"/>
                  <a:pt x="692" y="294"/>
                  <a:pt x="695" y="294"/>
                </a:cubicBezTo>
                <a:cubicBezTo>
                  <a:pt x="692" y="300"/>
                  <a:pt x="687" y="306"/>
                  <a:pt x="684" y="312"/>
                </a:cubicBezTo>
                <a:cubicBezTo>
                  <a:pt x="682" y="316"/>
                  <a:pt x="685" y="307"/>
                  <a:pt x="686" y="306"/>
                </a:cubicBezTo>
                <a:cubicBezTo>
                  <a:pt x="687" y="303"/>
                  <a:pt x="690" y="300"/>
                  <a:pt x="691" y="299"/>
                </a:cubicBezTo>
                <a:close/>
                <a:moveTo>
                  <a:pt x="688" y="279"/>
                </a:moveTo>
                <a:cubicBezTo>
                  <a:pt x="689" y="278"/>
                  <a:pt x="689" y="281"/>
                  <a:pt x="689" y="281"/>
                </a:cubicBezTo>
                <a:cubicBezTo>
                  <a:pt x="688" y="281"/>
                  <a:pt x="688" y="280"/>
                  <a:pt x="688" y="279"/>
                </a:cubicBezTo>
                <a:close/>
                <a:moveTo>
                  <a:pt x="687" y="283"/>
                </a:moveTo>
                <a:cubicBezTo>
                  <a:pt x="689" y="281"/>
                  <a:pt x="688" y="285"/>
                  <a:pt x="687" y="284"/>
                </a:cubicBezTo>
                <a:cubicBezTo>
                  <a:pt x="687" y="284"/>
                  <a:pt x="687" y="283"/>
                  <a:pt x="687" y="283"/>
                </a:cubicBezTo>
                <a:close/>
                <a:moveTo>
                  <a:pt x="687" y="286"/>
                </a:moveTo>
                <a:cubicBezTo>
                  <a:pt x="687" y="288"/>
                  <a:pt x="683" y="289"/>
                  <a:pt x="683" y="287"/>
                </a:cubicBezTo>
                <a:cubicBezTo>
                  <a:pt x="682" y="284"/>
                  <a:pt x="688" y="282"/>
                  <a:pt x="687" y="286"/>
                </a:cubicBezTo>
                <a:close/>
                <a:moveTo>
                  <a:pt x="681" y="268"/>
                </a:moveTo>
                <a:cubicBezTo>
                  <a:pt x="680" y="268"/>
                  <a:pt x="682" y="267"/>
                  <a:pt x="681" y="268"/>
                </a:cubicBezTo>
                <a:close/>
                <a:moveTo>
                  <a:pt x="681" y="294"/>
                </a:moveTo>
                <a:cubicBezTo>
                  <a:pt x="681" y="293"/>
                  <a:pt x="681" y="292"/>
                  <a:pt x="682" y="293"/>
                </a:cubicBezTo>
                <a:cubicBezTo>
                  <a:pt x="686" y="296"/>
                  <a:pt x="677" y="297"/>
                  <a:pt x="681" y="294"/>
                </a:cubicBezTo>
                <a:close/>
                <a:moveTo>
                  <a:pt x="662" y="447"/>
                </a:moveTo>
                <a:cubicBezTo>
                  <a:pt x="663" y="446"/>
                  <a:pt x="661" y="449"/>
                  <a:pt x="662" y="447"/>
                </a:cubicBezTo>
                <a:close/>
                <a:moveTo>
                  <a:pt x="670" y="503"/>
                </a:moveTo>
                <a:cubicBezTo>
                  <a:pt x="671" y="502"/>
                  <a:pt x="670" y="504"/>
                  <a:pt x="670" y="503"/>
                </a:cubicBezTo>
                <a:close/>
                <a:moveTo>
                  <a:pt x="674" y="402"/>
                </a:moveTo>
                <a:cubicBezTo>
                  <a:pt x="674" y="401"/>
                  <a:pt x="675" y="401"/>
                  <a:pt x="675" y="400"/>
                </a:cubicBezTo>
                <a:cubicBezTo>
                  <a:pt x="676" y="400"/>
                  <a:pt x="675" y="402"/>
                  <a:pt x="674" y="402"/>
                </a:cubicBezTo>
                <a:close/>
                <a:moveTo>
                  <a:pt x="677" y="399"/>
                </a:moveTo>
                <a:cubicBezTo>
                  <a:pt x="675" y="398"/>
                  <a:pt x="677" y="396"/>
                  <a:pt x="678" y="395"/>
                </a:cubicBezTo>
                <a:cubicBezTo>
                  <a:pt x="678" y="396"/>
                  <a:pt x="676" y="398"/>
                  <a:pt x="677" y="399"/>
                </a:cubicBezTo>
                <a:close/>
                <a:moveTo>
                  <a:pt x="678" y="340"/>
                </a:moveTo>
                <a:cubicBezTo>
                  <a:pt x="679" y="340"/>
                  <a:pt x="677" y="341"/>
                  <a:pt x="678" y="340"/>
                </a:cubicBezTo>
                <a:close/>
                <a:moveTo>
                  <a:pt x="679" y="510"/>
                </a:moveTo>
                <a:cubicBezTo>
                  <a:pt x="678" y="510"/>
                  <a:pt x="678" y="509"/>
                  <a:pt x="679" y="508"/>
                </a:cubicBezTo>
                <a:cubicBezTo>
                  <a:pt x="680" y="507"/>
                  <a:pt x="680" y="510"/>
                  <a:pt x="679" y="510"/>
                </a:cubicBezTo>
                <a:close/>
                <a:moveTo>
                  <a:pt x="679" y="393"/>
                </a:moveTo>
                <a:cubicBezTo>
                  <a:pt x="679" y="392"/>
                  <a:pt x="679" y="392"/>
                  <a:pt x="679" y="391"/>
                </a:cubicBezTo>
                <a:cubicBezTo>
                  <a:pt x="680" y="391"/>
                  <a:pt x="679" y="393"/>
                  <a:pt x="679" y="393"/>
                </a:cubicBezTo>
                <a:close/>
                <a:moveTo>
                  <a:pt x="678" y="281"/>
                </a:moveTo>
                <a:cubicBezTo>
                  <a:pt x="679" y="281"/>
                  <a:pt x="679" y="281"/>
                  <a:pt x="679" y="281"/>
                </a:cubicBezTo>
                <a:cubicBezTo>
                  <a:pt x="679" y="283"/>
                  <a:pt x="677" y="279"/>
                  <a:pt x="678" y="281"/>
                </a:cubicBezTo>
                <a:close/>
                <a:moveTo>
                  <a:pt x="677" y="329"/>
                </a:moveTo>
                <a:cubicBezTo>
                  <a:pt x="675" y="328"/>
                  <a:pt x="676" y="327"/>
                  <a:pt x="676" y="326"/>
                </a:cubicBezTo>
                <a:cubicBezTo>
                  <a:pt x="678" y="324"/>
                  <a:pt x="679" y="329"/>
                  <a:pt x="677" y="329"/>
                </a:cubicBezTo>
                <a:close/>
                <a:moveTo>
                  <a:pt x="676" y="297"/>
                </a:moveTo>
                <a:cubicBezTo>
                  <a:pt x="677" y="295"/>
                  <a:pt x="677" y="299"/>
                  <a:pt x="676" y="298"/>
                </a:cubicBezTo>
                <a:cubicBezTo>
                  <a:pt x="675" y="298"/>
                  <a:pt x="675" y="297"/>
                  <a:pt x="676" y="297"/>
                </a:cubicBezTo>
                <a:close/>
                <a:moveTo>
                  <a:pt x="672" y="331"/>
                </a:moveTo>
                <a:cubicBezTo>
                  <a:pt x="673" y="330"/>
                  <a:pt x="672" y="333"/>
                  <a:pt x="672" y="331"/>
                </a:cubicBezTo>
                <a:close/>
                <a:moveTo>
                  <a:pt x="671" y="297"/>
                </a:moveTo>
                <a:cubicBezTo>
                  <a:pt x="671" y="297"/>
                  <a:pt x="671" y="297"/>
                  <a:pt x="671" y="298"/>
                </a:cubicBezTo>
                <a:cubicBezTo>
                  <a:pt x="670" y="299"/>
                  <a:pt x="671" y="298"/>
                  <a:pt x="671" y="297"/>
                </a:cubicBezTo>
                <a:close/>
                <a:moveTo>
                  <a:pt x="671" y="292"/>
                </a:moveTo>
                <a:cubicBezTo>
                  <a:pt x="670" y="294"/>
                  <a:pt x="669" y="295"/>
                  <a:pt x="667" y="297"/>
                </a:cubicBezTo>
                <a:cubicBezTo>
                  <a:pt x="668" y="295"/>
                  <a:pt x="669" y="293"/>
                  <a:pt x="671" y="292"/>
                </a:cubicBezTo>
                <a:close/>
                <a:moveTo>
                  <a:pt x="669" y="376"/>
                </a:moveTo>
                <a:cubicBezTo>
                  <a:pt x="668" y="375"/>
                  <a:pt x="669" y="374"/>
                  <a:pt x="670" y="374"/>
                </a:cubicBezTo>
                <a:cubicBezTo>
                  <a:pt x="671" y="372"/>
                  <a:pt x="670" y="377"/>
                  <a:pt x="669" y="376"/>
                </a:cubicBezTo>
                <a:close/>
                <a:moveTo>
                  <a:pt x="668" y="309"/>
                </a:moveTo>
                <a:cubicBezTo>
                  <a:pt x="669" y="309"/>
                  <a:pt x="666" y="310"/>
                  <a:pt x="668" y="309"/>
                </a:cubicBezTo>
                <a:close/>
                <a:moveTo>
                  <a:pt x="665" y="407"/>
                </a:moveTo>
                <a:cubicBezTo>
                  <a:pt x="666" y="407"/>
                  <a:pt x="667" y="406"/>
                  <a:pt x="667" y="405"/>
                </a:cubicBezTo>
                <a:cubicBezTo>
                  <a:pt x="669" y="402"/>
                  <a:pt x="672" y="396"/>
                  <a:pt x="673" y="391"/>
                </a:cubicBezTo>
                <a:cubicBezTo>
                  <a:pt x="674" y="387"/>
                  <a:pt x="674" y="383"/>
                  <a:pt x="675" y="380"/>
                </a:cubicBezTo>
                <a:cubicBezTo>
                  <a:pt x="675" y="380"/>
                  <a:pt x="676" y="380"/>
                  <a:pt x="676" y="380"/>
                </a:cubicBezTo>
                <a:cubicBezTo>
                  <a:pt x="677" y="380"/>
                  <a:pt x="675" y="387"/>
                  <a:pt x="675" y="389"/>
                </a:cubicBezTo>
                <a:cubicBezTo>
                  <a:pt x="673" y="391"/>
                  <a:pt x="673" y="394"/>
                  <a:pt x="672" y="397"/>
                </a:cubicBezTo>
                <a:cubicBezTo>
                  <a:pt x="671" y="400"/>
                  <a:pt x="668" y="404"/>
                  <a:pt x="668" y="406"/>
                </a:cubicBezTo>
                <a:cubicBezTo>
                  <a:pt x="668" y="406"/>
                  <a:pt x="670" y="407"/>
                  <a:pt x="670" y="408"/>
                </a:cubicBezTo>
                <a:cubicBezTo>
                  <a:pt x="671" y="413"/>
                  <a:pt x="663" y="413"/>
                  <a:pt x="665" y="407"/>
                </a:cubicBezTo>
                <a:close/>
                <a:moveTo>
                  <a:pt x="664" y="303"/>
                </a:moveTo>
                <a:cubicBezTo>
                  <a:pt x="665" y="303"/>
                  <a:pt x="664" y="306"/>
                  <a:pt x="663" y="305"/>
                </a:cubicBezTo>
                <a:cubicBezTo>
                  <a:pt x="662" y="305"/>
                  <a:pt x="663" y="304"/>
                  <a:pt x="664" y="303"/>
                </a:cubicBezTo>
                <a:close/>
                <a:moveTo>
                  <a:pt x="663" y="285"/>
                </a:moveTo>
                <a:cubicBezTo>
                  <a:pt x="663" y="284"/>
                  <a:pt x="662" y="286"/>
                  <a:pt x="663" y="285"/>
                </a:cubicBezTo>
                <a:close/>
                <a:moveTo>
                  <a:pt x="662" y="401"/>
                </a:moveTo>
                <a:cubicBezTo>
                  <a:pt x="663" y="402"/>
                  <a:pt x="661" y="403"/>
                  <a:pt x="662" y="401"/>
                </a:cubicBezTo>
                <a:close/>
                <a:moveTo>
                  <a:pt x="660" y="496"/>
                </a:moveTo>
                <a:cubicBezTo>
                  <a:pt x="661" y="494"/>
                  <a:pt x="662" y="498"/>
                  <a:pt x="660" y="497"/>
                </a:cubicBezTo>
                <a:cubicBezTo>
                  <a:pt x="660" y="497"/>
                  <a:pt x="660" y="496"/>
                  <a:pt x="660" y="496"/>
                </a:cubicBezTo>
                <a:close/>
                <a:moveTo>
                  <a:pt x="657" y="276"/>
                </a:moveTo>
                <a:cubicBezTo>
                  <a:pt x="657" y="276"/>
                  <a:pt x="656" y="278"/>
                  <a:pt x="655" y="278"/>
                </a:cubicBezTo>
                <a:cubicBezTo>
                  <a:pt x="655" y="277"/>
                  <a:pt x="656" y="277"/>
                  <a:pt x="657" y="276"/>
                </a:cubicBezTo>
                <a:close/>
                <a:moveTo>
                  <a:pt x="655" y="292"/>
                </a:moveTo>
                <a:cubicBezTo>
                  <a:pt x="655" y="292"/>
                  <a:pt x="655" y="292"/>
                  <a:pt x="655" y="292"/>
                </a:cubicBezTo>
                <a:cubicBezTo>
                  <a:pt x="655" y="292"/>
                  <a:pt x="655" y="292"/>
                  <a:pt x="655" y="292"/>
                </a:cubicBezTo>
                <a:cubicBezTo>
                  <a:pt x="655" y="292"/>
                  <a:pt x="655" y="292"/>
                  <a:pt x="655" y="292"/>
                </a:cubicBezTo>
                <a:close/>
                <a:moveTo>
                  <a:pt x="652" y="270"/>
                </a:moveTo>
                <a:cubicBezTo>
                  <a:pt x="651" y="272"/>
                  <a:pt x="654" y="269"/>
                  <a:pt x="652" y="270"/>
                </a:cubicBezTo>
                <a:close/>
                <a:moveTo>
                  <a:pt x="634" y="278"/>
                </a:moveTo>
                <a:cubicBezTo>
                  <a:pt x="633" y="276"/>
                  <a:pt x="635" y="277"/>
                  <a:pt x="634" y="278"/>
                </a:cubicBezTo>
                <a:close/>
                <a:moveTo>
                  <a:pt x="635" y="274"/>
                </a:moveTo>
                <a:cubicBezTo>
                  <a:pt x="636" y="274"/>
                  <a:pt x="634" y="275"/>
                  <a:pt x="635" y="274"/>
                </a:cubicBezTo>
                <a:close/>
                <a:moveTo>
                  <a:pt x="642" y="409"/>
                </a:moveTo>
                <a:cubicBezTo>
                  <a:pt x="642" y="409"/>
                  <a:pt x="643" y="409"/>
                  <a:pt x="643" y="410"/>
                </a:cubicBezTo>
                <a:cubicBezTo>
                  <a:pt x="643" y="410"/>
                  <a:pt x="641" y="411"/>
                  <a:pt x="642" y="409"/>
                </a:cubicBezTo>
                <a:close/>
                <a:moveTo>
                  <a:pt x="644" y="345"/>
                </a:moveTo>
                <a:cubicBezTo>
                  <a:pt x="643" y="345"/>
                  <a:pt x="644" y="344"/>
                  <a:pt x="644" y="344"/>
                </a:cubicBezTo>
                <a:cubicBezTo>
                  <a:pt x="645" y="342"/>
                  <a:pt x="645" y="345"/>
                  <a:pt x="644" y="345"/>
                </a:cubicBezTo>
                <a:close/>
                <a:moveTo>
                  <a:pt x="644" y="398"/>
                </a:moveTo>
                <a:cubicBezTo>
                  <a:pt x="644" y="400"/>
                  <a:pt x="645" y="397"/>
                  <a:pt x="644" y="398"/>
                </a:cubicBezTo>
                <a:close/>
                <a:moveTo>
                  <a:pt x="644" y="300"/>
                </a:moveTo>
                <a:cubicBezTo>
                  <a:pt x="643" y="300"/>
                  <a:pt x="644" y="299"/>
                  <a:pt x="644" y="298"/>
                </a:cubicBezTo>
                <a:cubicBezTo>
                  <a:pt x="646" y="297"/>
                  <a:pt x="646" y="301"/>
                  <a:pt x="644" y="300"/>
                </a:cubicBezTo>
                <a:close/>
                <a:moveTo>
                  <a:pt x="646" y="462"/>
                </a:moveTo>
                <a:cubicBezTo>
                  <a:pt x="646" y="462"/>
                  <a:pt x="647" y="462"/>
                  <a:pt x="647" y="462"/>
                </a:cubicBezTo>
                <a:cubicBezTo>
                  <a:pt x="648" y="462"/>
                  <a:pt x="645" y="464"/>
                  <a:pt x="646" y="462"/>
                </a:cubicBezTo>
                <a:close/>
                <a:moveTo>
                  <a:pt x="647" y="333"/>
                </a:moveTo>
                <a:cubicBezTo>
                  <a:pt x="646" y="333"/>
                  <a:pt x="647" y="332"/>
                  <a:pt x="647" y="332"/>
                </a:cubicBezTo>
                <a:cubicBezTo>
                  <a:pt x="648" y="331"/>
                  <a:pt x="648" y="334"/>
                  <a:pt x="647" y="333"/>
                </a:cubicBezTo>
                <a:close/>
                <a:moveTo>
                  <a:pt x="657" y="550"/>
                </a:moveTo>
                <a:cubicBezTo>
                  <a:pt x="656" y="549"/>
                  <a:pt x="657" y="547"/>
                  <a:pt x="657" y="547"/>
                </a:cubicBezTo>
                <a:cubicBezTo>
                  <a:pt x="658" y="545"/>
                  <a:pt x="658" y="550"/>
                  <a:pt x="657" y="550"/>
                </a:cubicBezTo>
                <a:close/>
                <a:moveTo>
                  <a:pt x="660" y="397"/>
                </a:moveTo>
                <a:cubicBezTo>
                  <a:pt x="659" y="398"/>
                  <a:pt x="659" y="398"/>
                  <a:pt x="660" y="397"/>
                </a:cubicBezTo>
                <a:close/>
                <a:moveTo>
                  <a:pt x="659" y="427"/>
                </a:moveTo>
                <a:cubicBezTo>
                  <a:pt x="660" y="429"/>
                  <a:pt x="658" y="432"/>
                  <a:pt x="657" y="434"/>
                </a:cubicBezTo>
                <a:cubicBezTo>
                  <a:pt x="657" y="432"/>
                  <a:pt x="658" y="429"/>
                  <a:pt x="659" y="427"/>
                </a:cubicBezTo>
                <a:close/>
                <a:moveTo>
                  <a:pt x="657" y="435"/>
                </a:moveTo>
                <a:cubicBezTo>
                  <a:pt x="657" y="435"/>
                  <a:pt x="657" y="438"/>
                  <a:pt x="655" y="438"/>
                </a:cubicBezTo>
                <a:cubicBezTo>
                  <a:pt x="655" y="437"/>
                  <a:pt x="656" y="436"/>
                  <a:pt x="657" y="435"/>
                </a:cubicBezTo>
                <a:close/>
                <a:moveTo>
                  <a:pt x="652" y="328"/>
                </a:moveTo>
                <a:cubicBezTo>
                  <a:pt x="652" y="328"/>
                  <a:pt x="653" y="327"/>
                  <a:pt x="653" y="327"/>
                </a:cubicBezTo>
                <a:cubicBezTo>
                  <a:pt x="655" y="329"/>
                  <a:pt x="651" y="331"/>
                  <a:pt x="652" y="328"/>
                </a:cubicBezTo>
                <a:close/>
                <a:moveTo>
                  <a:pt x="648" y="307"/>
                </a:moveTo>
                <a:cubicBezTo>
                  <a:pt x="653" y="304"/>
                  <a:pt x="650" y="313"/>
                  <a:pt x="649" y="313"/>
                </a:cubicBezTo>
                <a:cubicBezTo>
                  <a:pt x="647" y="313"/>
                  <a:pt x="647" y="308"/>
                  <a:pt x="648" y="307"/>
                </a:cubicBezTo>
                <a:close/>
                <a:moveTo>
                  <a:pt x="645" y="296"/>
                </a:moveTo>
                <a:cubicBezTo>
                  <a:pt x="643" y="295"/>
                  <a:pt x="645" y="290"/>
                  <a:pt x="646" y="290"/>
                </a:cubicBezTo>
                <a:cubicBezTo>
                  <a:pt x="651" y="287"/>
                  <a:pt x="648" y="297"/>
                  <a:pt x="645" y="296"/>
                </a:cubicBezTo>
                <a:close/>
                <a:moveTo>
                  <a:pt x="644" y="284"/>
                </a:moveTo>
                <a:cubicBezTo>
                  <a:pt x="644" y="285"/>
                  <a:pt x="645" y="283"/>
                  <a:pt x="644" y="284"/>
                </a:cubicBezTo>
                <a:close/>
                <a:moveTo>
                  <a:pt x="642" y="284"/>
                </a:moveTo>
                <a:cubicBezTo>
                  <a:pt x="642" y="284"/>
                  <a:pt x="643" y="283"/>
                  <a:pt x="644" y="284"/>
                </a:cubicBezTo>
                <a:cubicBezTo>
                  <a:pt x="646" y="285"/>
                  <a:pt x="641" y="287"/>
                  <a:pt x="642" y="284"/>
                </a:cubicBezTo>
                <a:close/>
                <a:moveTo>
                  <a:pt x="642" y="317"/>
                </a:moveTo>
                <a:cubicBezTo>
                  <a:pt x="642" y="318"/>
                  <a:pt x="641" y="317"/>
                  <a:pt x="642" y="317"/>
                </a:cubicBezTo>
                <a:close/>
                <a:moveTo>
                  <a:pt x="642" y="399"/>
                </a:moveTo>
                <a:cubicBezTo>
                  <a:pt x="643" y="399"/>
                  <a:pt x="640" y="402"/>
                  <a:pt x="641" y="400"/>
                </a:cubicBezTo>
                <a:cubicBezTo>
                  <a:pt x="641" y="400"/>
                  <a:pt x="641" y="399"/>
                  <a:pt x="642" y="399"/>
                </a:cubicBezTo>
                <a:close/>
                <a:moveTo>
                  <a:pt x="641" y="283"/>
                </a:moveTo>
                <a:cubicBezTo>
                  <a:pt x="642" y="282"/>
                  <a:pt x="639" y="285"/>
                  <a:pt x="641" y="283"/>
                </a:cubicBezTo>
                <a:close/>
                <a:moveTo>
                  <a:pt x="640" y="331"/>
                </a:moveTo>
                <a:cubicBezTo>
                  <a:pt x="640" y="331"/>
                  <a:pt x="640" y="331"/>
                  <a:pt x="640" y="331"/>
                </a:cubicBezTo>
                <a:cubicBezTo>
                  <a:pt x="640" y="331"/>
                  <a:pt x="640" y="332"/>
                  <a:pt x="640" y="331"/>
                </a:cubicBezTo>
                <a:close/>
                <a:moveTo>
                  <a:pt x="640" y="338"/>
                </a:moveTo>
                <a:cubicBezTo>
                  <a:pt x="641" y="339"/>
                  <a:pt x="639" y="341"/>
                  <a:pt x="639" y="342"/>
                </a:cubicBezTo>
                <a:cubicBezTo>
                  <a:pt x="638" y="341"/>
                  <a:pt x="640" y="339"/>
                  <a:pt x="640" y="338"/>
                </a:cubicBezTo>
                <a:close/>
                <a:moveTo>
                  <a:pt x="638" y="310"/>
                </a:moveTo>
                <a:cubicBezTo>
                  <a:pt x="638" y="309"/>
                  <a:pt x="639" y="312"/>
                  <a:pt x="638" y="310"/>
                </a:cubicBezTo>
                <a:close/>
                <a:moveTo>
                  <a:pt x="638" y="342"/>
                </a:moveTo>
                <a:cubicBezTo>
                  <a:pt x="639" y="343"/>
                  <a:pt x="639" y="344"/>
                  <a:pt x="638" y="344"/>
                </a:cubicBezTo>
                <a:cubicBezTo>
                  <a:pt x="638" y="343"/>
                  <a:pt x="639" y="343"/>
                  <a:pt x="638" y="342"/>
                </a:cubicBezTo>
                <a:close/>
                <a:moveTo>
                  <a:pt x="637" y="288"/>
                </a:moveTo>
                <a:cubicBezTo>
                  <a:pt x="638" y="289"/>
                  <a:pt x="637" y="289"/>
                  <a:pt x="637" y="290"/>
                </a:cubicBezTo>
                <a:cubicBezTo>
                  <a:pt x="636" y="290"/>
                  <a:pt x="637" y="289"/>
                  <a:pt x="637" y="288"/>
                </a:cubicBezTo>
                <a:close/>
                <a:moveTo>
                  <a:pt x="637" y="346"/>
                </a:moveTo>
                <a:cubicBezTo>
                  <a:pt x="638" y="345"/>
                  <a:pt x="637" y="347"/>
                  <a:pt x="637" y="347"/>
                </a:cubicBezTo>
                <a:cubicBezTo>
                  <a:pt x="636" y="346"/>
                  <a:pt x="637" y="346"/>
                  <a:pt x="637" y="346"/>
                </a:cubicBezTo>
                <a:close/>
                <a:moveTo>
                  <a:pt x="665" y="224"/>
                </a:moveTo>
                <a:cubicBezTo>
                  <a:pt x="665" y="225"/>
                  <a:pt x="664" y="226"/>
                  <a:pt x="662" y="227"/>
                </a:cubicBezTo>
                <a:cubicBezTo>
                  <a:pt x="663" y="226"/>
                  <a:pt x="664" y="225"/>
                  <a:pt x="665" y="224"/>
                </a:cubicBezTo>
                <a:close/>
                <a:moveTo>
                  <a:pt x="661" y="224"/>
                </a:moveTo>
                <a:cubicBezTo>
                  <a:pt x="662" y="222"/>
                  <a:pt x="660" y="225"/>
                  <a:pt x="661" y="224"/>
                </a:cubicBezTo>
                <a:close/>
                <a:moveTo>
                  <a:pt x="649" y="222"/>
                </a:moveTo>
                <a:cubicBezTo>
                  <a:pt x="651" y="224"/>
                  <a:pt x="647" y="225"/>
                  <a:pt x="649" y="222"/>
                </a:cubicBezTo>
                <a:close/>
                <a:moveTo>
                  <a:pt x="633" y="251"/>
                </a:moveTo>
                <a:cubicBezTo>
                  <a:pt x="632" y="252"/>
                  <a:pt x="633" y="249"/>
                  <a:pt x="633" y="251"/>
                </a:cubicBezTo>
                <a:close/>
                <a:moveTo>
                  <a:pt x="639" y="244"/>
                </a:moveTo>
                <a:cubicBezTo>
                  <a:pt x="640" y="245"/>
                  <a:pt x="640" y="248"/>
                  <a:pt x="640" y="250"/>
                </a:cubicBezTo>
                <a:cubicBezTo>
                  <a:pt x="638" y="248"/>
                  <a:pt x="639" y="246"/>
                  <a:pt x="639" y="244"/>
                </a:cubicBezTo>
                <a:close/>
                <a:moveTo>
                  <a:pt x="636" y="224"/>
                </a:moveTo>
                <a:cubicBezTo>
                  <a:pt x="639" y="227"/>
                  <a:pt x="634" y="229"/>
                  <a:pt x="633" y="230"/>
                </a:cubicBezTo>
                <a:cubicBezTo>
                  <a:pt x="631" y="228"/>
                  <a:pt x="634" y="221"/>
                  <a:pt x="636" y="224"/>
                </a:cubicBezTo>
                <a:close/>
                <a:moveTo>
                  <a:pt x="584" y="184"/>
                </a:moveTo>
                <a:cubicBezTo>
                  <a:pt x="584" y="184"/>
                  <a:pt x="584" y="185"/>
                  <a:pt x="584" y="185"/>
                </a:cubicBezTo>
                <a:cubicBezTo>
                  <a:pt x="585" y="188"/>
                  <a:pt x="581" y="186"/>
                  <a:pt x="584" y="184"/>
                </a:cubicBezTo>
                <a:close/>
                <a:moveTo>
                  <a:pt x="522" y="137"/>
                </a:moveTo>
                <a:cubicBezTo>
                  <a:pt x="522" y="138"/>
                  <a:pt x="520" y="138"/>
                  <a:pt x="520" y="138"/>
                </a:cubicBezTo>
                <a:cubicBezTo>
                  <a:pt x="520" y="137"/>
                  <a:pt x="521" y="137"/>
                  <a:pt x="522" y="137"/>
                </a:cubicBezTo>
                <a:close/>
                <a:moveTo>
                  <a:pt x="518" y="129"/>
                </a:moveTo>
                <a:cubicBezTo>
                  <a:pt x="518" y="129"/>
                  <a:pt x="518" y="129"/>
                  <a:pt x="518" y="129"/>
                </a:cubicBezTo>
                <a:cubicBezTo>
                  <a:pt x="519" y="131"/>
                  <a:pt x="516" y="128"/>
                  <a:pt x="518" y="129"/>
                </a:cubicBezTo>
                <a:close/>
                <a:moveTo>
                  <a:pt x="513" y="127"/>
                </a:moveTo>
                <a:cubicBezTo>
                  <a:pt x="513" y="128"/>
                  <a:pt x="511" y="128"/>
                  <a:pt x="511" y="127"/>
                </a:cubicBezTo>
                <a:cubicBezTo>
                  <a:pt x="511" y="127"/>
                  <a:pt x="513" y="126"/>
                  <a:pt x="513" y="127"/>
                </a:cubicBezTo>
                <a:close/>
                <a:moveTo>
                  <a:pt x="509" y="137"/>
                </a:moveTo>
                <a:cubicBezTo>
                  <a:pt x="510" y="137"/>
                  <a:pt x="509" y="138"/>
                  <a:pt x="508" y="137"/>
                </a:cubicBezTo>
                <a:cubicBezTo>
                  <a:pt x="508" y="137"/>
                  <a:pt x="509" y="136"/>
                  <a:pt x="509" y="137"/>
                </a:cubicBezTo>
                <a:close/>
                <a:moveTo>
                  <a:pt x="484" y="708"/>
                </a:moveTo>
                <a:cubicBezTo>
                  <a:pt x="483" y="705"/>
                  <a:pt x="489" y="705"/>
                  <a:pt x="490" y="705"/>
                </a:cubicBezTo>
                <a:cubicBezTo>
                  <a:pt x="490" y="705"/>
                  <a:pt x="485" y="709"/>
                  <a:pt x="484" y="708"/>
                </a:cubicBezTo>
                <a:close/>
                <a:moveTo>
                  <a:pt x="486" y="289"/>
                </a:moveTo>
                <a:cubicBezTo>
                  <a:pt x="485" y="290"/>
                  <a:pt x="484" y="289"/>
                  <a:pt x="485" y="289"/>
                </a:cubicBezTo>
                <a:cubicBezTo>
                  <a:pt x="485" y="287"/>
                  <a:pt x="486" y="289"/>
                  <a:pt x="486" y="289"/>
                </a:cubicBezTo>
                <a:close/>
                <a:moveTo>
                  <a:pt x="486" y="592"/>
                </a:moveTo>
                <a:cubicBezTo>
                  <a:pt x="486" y="590"/>
                  <a:pt x="488" y="591"/>
                  <a:pt x="486" y="592"/>
                </a:cubicBezTo>
                <a:close/>
                <a:moveTo>
                  <a:pt x="484" y="157"/>
                </a:moveTo>
                <a:cubicBezTo>
                  <a:pt x="483" y="157"/>
                  <a:pt x="485" y="155"/>
                  <a:pt x="485" y="157"/>
                </a:cubicBezTo>
                <a:cubicBezTo>
                  <a:pt x="485" y="156"/>
                  <a:pt x="485" y="158"/>
                  <a:pt x="484" y="157"/>
                </a:cubicBezTo>
                <a:close/>
                <a:moveTo>
                  <a:pt x="492" y="682"/>
                </a:moveTo>
                <a:cubicBezTo>
                  <a:pt x="489" y="683"/>
                  <a:pt x="487" y="685"/>
                  <a:pt x="485" y="685"/>
                </a:cubicBezTo>
                <a:cubicBezTo>
                  <a:pt x="482" y="685"/>
                  <a:pt x="487" y="682"/>
                  <a:pt x="487" y="682"/>
                </a:cubicBezTo>
                <a:cubicBezTo>
                  <a:pt x="489" y="682"/>
                  <a:pt x="490" y="682"/>
                  <a:pt x="492" y="682"/>
                </a:cubicBezTo>
                <a:cubicBezTo>
                  <a:pt x="492" y="682"/>
                  <a:pt x="493" y="682"/>
                  <a:pt x="494" y="682"/>
                </a:cubicBezTo>
                <a:cubicBezTo>
                  <a:pt x="493" y="682"/>
                  <a:pt x="492" y="682"/>
                  <a:pt x="492" y="682"/>
                </a:cubicBezTo>
                <a:close/>
                <a:moveTo>
                  <a:pt x="488" y="242"/>
                </a:moveTo>
                <a:cubicBezTo>
                  <a:pt x="490" y="244"/>
                  <a:pt x="486" y="242"/>
                  <a:pt x="488" y="242"/>
                </a:cubicBezTo>
                <a:close/>
                <a:moveTo>
                  <a:pt x="491" y="215"/>
                </a:moveTo>
                <a:cubicBezTo>
                  <a:pt x="491" y="215"/>
                  <a:pt x="493" y="214"/>
                  <a:pt x="492" y="215"/>
                </a:cubicBezTo>
                <a:cubicBezTo>
                  <a:pt x="492" y="216"/>
                  <a:pt x="491" y="215"/>
                  <a:pt x="491" y="215"/>
                </a:cubicBezTo>
                <a:close/>
                <a:moveTo>
                  <a:pt x="492" y="262"/>
                </a:moveTo>
                <a:cubicBezTo>
                  <a:pt x="493" y="262"/>
                  <a:pt x="491" y="263"/>
                  <a:pt x="491" y="262"/>
                </a:cubicBezTo>
                <a:cubicBezTo>
                  <a:pt x="491" y="262"/>
                  <a:pt x="492" y="262"/>
                  <a:pt x="492" y="262"/>
                </a:cubicBezTo>
                <a:close/>
                <a:moveTo>
                  <a:pt x="494" y="708"/>
                </a:moveTo>
                <a:cubicBezTo>
                  <a:pt x="494" y="708"/>
                  <a:pt x="494" y="708"/>
                  <a:pt x="495" y="709"/>
                </a:cubicBezTo>
                <a:cubicBezTo>
                  <a:pt x="495" y="709"/>
                  <a:pt x="495" y="709"/>
                  <a:pt x="494" y="708"/>
                </a:cubicBezTo>
                <a:close/>
                <a:moveTo>
                  <a:pt x="492" y="616"/>
                </a:moveTo>
                <a:cubicBezTo>
                  <a:pt x="492" y="614"/>
                  <a:pt x="495" y="615"/>
                  <a:pt x="495" y="616"/>
                </a:cubicBezTo>
                <a:cubicBezTo>
                  <a:pt x="495" y="617"/>
                  <a:pt x="492" y="618"/>
                  <a:pt x="492" y="616"/>
                </a:cubicBezTo>
                <a:close/>
                <a:moveTo>
                  <a:pt x="493" y="299"/>
                </a:moveTo>
                <a:cubicBezTo>
                  <a:pt x="493" y="299"/>
                  <a:pt x="494" y="298"/>
                  <a:pt x="494" y="298"/>
                </a:cubicBezTo>
                <a:cubicBezTo>
                  <a:pt x="494" y="298"/>
                  <a:pt x="493" y="300"/>
                  <a:pt x="493" y="299"/>
                </a:cubicBezTo>
                <a:close/>
                <a:moveTo>
                  <a:pt x="498" y="330"/>
                </a:moveTo>
                <a:cubicBezTo>
                  <a:pt x="498" y="330"/>
                  <a:pt x="498" y="330"/>
                  <a:pt x="498" y="330"/>
                </a:cubicBezTo>
                <a:cubicBezTo>
                  <a:pt x="498" y="330"/>
                  <a:pt x="498" y="330"/>
                  <a:pt x="498" y="330"/>
                </a:cubicBezTo>
                <a:close/>
                <a:moveTo>
                  <a:pt x="493" y="278"/>
                </a:moveTo>
                <a:cubicBezTo>
                  <a:pt x="494" y="274"/>
                  <a:pt x="496" y="270"/>
                  <a:pt x="498" y="267"/>
                </a:cubicBezTo>
                <a:cubicBezTo>
                  <a:pt x="498" y="269"/>
                  <a:pt x="495" y="276"/>
                  <a:pt x="493" y="278"/>
                </a:cubicBezTo>
                <a:close/>
                <a:moveTo>
                  <a:pt x="493" y="238"/>
                </a:moveTo>
                <a:cubicBezTo>
                  <a:pt x="493" y="237"/>
                  <a:pt x="494" y="237"/>
                  <a:pt x="494" y="238"/>
                </a:cubicBezTo>
                <a:cubicBezTo>
                  <a:pt x="494" y="239"/>
                  <a:pt x="493" y="238"/>
                  <a:pt x="493" y="238"/>
                </a:cubicBezTo>
                <a:close/>
                <a:moveTo>
                  <a:pt x="496" y="258"/>
                </a:moveTo>
                <a:cubicBezTo>
                  <a:pt x="499" y="254"/>
                  <a:pt x="498" y="251"/>
                  <a:pt x="501" y="248"/>
                </a:cubicBezTo>
                <a:cubicBezTo>
                  <a:pt x="500" y="251"/>
                  <a:pt x="499" y="257"/>
                  <a:pt x="496" y="258"/>
                </a:cubicBezTo>
                <a:close/>
                <a:moveTo>
                  <a:pt x="500" y="217"/>
                </a:moveTo>
                <a:cubicBezTo>
                  <a:pt x="501" y="216"/>
                  <a:pt x="502" y="217"/>
                  <a:pt x="500" y="217"/>
                </a:cubicBezTo>
                <a:close/>
                <a:moveTo>
                  <a:pt x="506" y="320"/>
                </a:moveTo>
                <a:cubicBezTo>
                  <a:pt x="506" y="322"/>
                  <a:pt x="507" y="319"/>
                  <a:pt x="506" y="320"/>
                </a:cubicBezTo>
                <a:close/>
                <a:moveTo>
                  <a:pt x="511" y="216"/>
                </a:moveTo>
                <a:cubicBezTo>
                  <a:pt x="510" y="216"/>
                  <a:pt x="510" y="214"/>
                  <a:pt x="511" y="215"/>
                </a:cubicBezTo>
                <a:cubicBezTo>
                  <a:pt x="511" y="215"/>
                  <a:pt x="511" y="216"/>
                  <a:pt x="511" y="216"/>
                </a:cubicBezTo>
                <a:close/>
                <a:moveTo>
                  <a:pt x="511" y="278"/>
                </a:moveTo>
                <a:cubicBezTo>
                  <a:pt x="512" y="275"/>
                  <a:pt x="514" y="275"/>
                  <a:pt x="511" y="278"/>
                </a:cubicBezTo>
                <a:close/>
                <a:moveTo>
                  <a:pt x="511" y="668"/>
                </a:moveTo>
                <a:cubicBezTo>
                  <a:pt x="510" y="668"/>
                  <a:pt x="509" y="668"/>
                  <a:pt x="509" y="667"/>
                </a:cubicBezTo>
                <a:cubicBezTo>
                  <a:pt x="509" y="666"/>
                  <a:pt x="511" y="667"/>
                  <a:pt x="511" y="668"/>
                </a:cubicBezTo>
                <a:close/>
                <a:moveTo>
                  <a:pt x="509" y="255"/>
                </a:moveTo>
                <a:cubicBezTo>
                  <a:pt x="509" y="255"/>
                  <a:pt x="509" y="254"/>
                  <a:pt x="509" y="254"/>
                </a:cubicBezTo>
                <a:cubicBezTo>
                  <a:pt x="511" y="255"/>
                  <a:pt x="508" y="256"/>
                  <a:pt x="509" y="255"/>
                </a:cubicBezTo>
                <a:close/>
                <a:moveTo>
                  <a:pt x="507" y="244"/>
                </a:moveTo>
                <a:cubicBezTo>
                  <a:pt x="507" y="244"/>
                  <a:pt x="509" y="242"/>
                  <a:pt x="509" y="243"/>
                </a:cubicBezTo>
                <a:cubicBezTo>
                  <a:pt x="510" y="244"/>
                  <a:pt x="508" y="245"/>
                  <a:pt x="507" y="244"/>
                </a:cubicBezTo>
                <a:close/>
                <a:moveTo>
                  <a:pt x="508" y="683"/>
                </a:moveTo>
                <a:cubicBezTo>
                  <a:pt x="508" y="682"/>
                  <a:pt x="512" y="682"/>
                  <a:pt x="512" y="683"/>
                </a:cubicBezTo>
                <a:cubicBezTo>
                  <a:pt x="511" y="685"/>
                  <a:pt x="509" y="684"/>
                  <a:pt x="508" y="683"/>
                </a:cubicBezTo>
                <a:close/>
                <a:moveTo>
                  <a:pt x="508" y="677"/>
                </a:moveTo>
                <a:cubicBezTo>
                  <a:pt x="509" y="673"/>
                  <a:pt x="516" y="676"/>
                  <a:pt x="516" y="678"/>
                </a:cubicBezTo>
                <a:cubicBezTo>
                  <a:pt x="516" y="681"/>
                  <a:pt x="508" y="681"/>
                  <a:pt x="508" y="677"/>
                </a:cubicBezTo>
                <a:close/>
                <a:moveTo>
                  <a:pt x="512" y="416"/>
                </a:moveTo>
                <a:cubicBezTo>
                  <a:pt x="513" y="414"/>
                  <a:pt x="515" y="411"/>
                  <a:pt x="518" y="409"/>
                </a:cubicBezTo>
                <a:cubicBezTo>
                  <a:pt x="516" y="412"/>
                  <a:pt x="514" y="415"/>
                  <a:pt x="512" y="416"/>
                </a:cubicBezTo>
                <a:close/>
                <a:moveTo>
                  <a:pt x="513" y="311"/>
                </a:moveTo>
                <a:cubicBezTo>
                  <a:pt x="515" y="312"/>
                  <a:pt x="512" y="312"/>
                  <a:pt x="513" y="311"/>
                </a:cubicBezTo>
                <a:close/>
                <a:moveTo>
                  <a:pt x="514" y="217"/>
                </a:moveTo>
                <a:cubicBezTo>
                  <a:pt x="515" y="218"/>
                  <a:pt x="514" y="219"/>
                  <a:pt x="513" y="219"/>
                </a:cubicBezTo>
                <a:cubicBezTo>
                  <a:pt x="513" y="219"/>
                  <a:pt x="514" y="218"/>
                  <a:pt x="514" y="217"/>
                </a:cubicBezTo>
                <a:close/>
                <a:moveTo>
                  <a:pt x="515" y="326"/>
                </a:moveTo>
                <a:cubicBezTo>
                  <a:pt x="516" y="324"/>
                  <a:pt x="516" y="328"/>
                  <a:pt x="515" y="327"/>
                </a:cubicBezTo>
                <a:cubicBezTo>
                  <a:pt x="514" y="327"/>
                  <a:pt x="515" y="326"/>
                  <a:pt x="515" y="326"/>
                </a:cubicBezTo>
                <a:close/>
                <a:moveTo>
                  <a:pt x="518" y="234"/>
                </a:moveTo>
                <a:cubicBezTo>
                  <a:pt x="520" y="232"/>
                  <a:pt x="516" y="235"/>
                  <a:pt x="518" y="234"/>
                </a:cubicBezTo>
                <a:close/>
                <a:moveTo>
                  <a:pt x="518" y="278"/>
                </a:moveTo>
                <a:cubicBezTo>
                  <a:pt x="518" y="277"/>
                  <a:pt x="519" y="277"/>
                  <a:pt x="519" y="278"/>
                </a:cubicBezTo>
                <a:cubicBezTo>
                  <a:pt x="519" y="278"/>
                  <a:pt x="518" y="278"/>
                  <a:pt x="518" y="278"/>
                </a:cubicBezTo>
                <a:close/>
                <a:moveTo>
                  <a:pt x="519" y="387"/>
                </a:moveTo>
                <a:cubicBezTo>
                  <a:pt x="517" y="386"/>
                  <a:pt x="519" y="383"/>
                  <a:pt x="520" y="383"/>
                </a:cubicBezTo>
                <a:cubicBezTo>
                  <a:pt x="524" y="381"/>
                  <a:pt x="521" y="388"/>
                  <a:pt x="519" y="387"/>
                </a:cubicBezTo>
                <a:close/>
                <a:moveTo>
                  <a:pt x="520" y="232"/>
                </a:moveTo>
                <a:cubicBezTo>
                  <a:pt x="522" y="230"/>
                  <a:pt x="519" y="233"/>
                  <a:pt x="520" y="232"/>
                </a:cubicBezTo>
                <a:close/>
                <a:moveTo>
                  <a:pt x="523" y="431"/>
                </a:moveTo>
                <a:cubicBezTo>
                  <a:pt x="522" y="432"/>
                  <a:pt x="524" y="429"/>
                  <a:pt x="523" y="431"/>
                </a:cubicBezTo>
                <a:close/>
                <a:moveTo>
                  <a:pt x="523" y="374"/>
                </a:moveTo>
                <a:cubicBezTo>
                  <a:pt x="522" y="374"/>
                  <a:pt x="524" y="373"/>
                  <a:pt x="523" y="374"/>
                </a:cubicBezTo>
                <a:close/>
                <a:moveTo>
                  <a:pt x="523" y="295"/>
                </a:moveTo>
                <a:cubicBezTo>
                  <a:pt x="523" y="295"/>
                  <a:pt x="523" y="294"/>
                  <a:pt x="523" y="294"/>
                </a:cubicBezTo>
                <a:cubicBezTo>
                  <a:pt x="523" y="294"/>
                  <a:pt x="523" y="294"/>
                  <a:pt x="523" y="294"/>
                </a:cubicBezTo>
                <a:cubicBezTo>
                  <a:pt x="523" y="295"/>
                  <a:pt x="523" y="295"/>
                  <a:pt x="523" y="295"/>
                </a:cubicBezTo>
                <a:close/>
                <a:moveTo>
                  <a:pt x="524" y="296"/>
                </a:moveTo>
                <a:cubicBezTo>
                  <a:pt x="525" y="296"/>
                  <a:pt x="525" y="296"/>
                  <a:pt x="525" y="296"/>
                </a:cubicBezTo>
                <a:cubicBezTo>
                  <a:pt x="526" y="298"/>
                  <a:pt x="523" y="296"/>
                  <a:pt x="524" y="296"/>
                </a:cubicBezTo>
                <a:close/>
                <a:moveTo>
                  <a:pt x="525" y="266"/>
                </a:moveTo>
                <a:cubicBezTo>
                  <a:pt x="525" y="264"/>
                  <a:pt x="531" y="263"/>
                  <a:pt x="530" y="267"/>
                </a:cubicBezTo>
                <a:cubicBezTo>
                  <a:pt x="529" y="269"/>
                  <a:pt x="525" y="268"/>
                  <a:pt x="525" y="266"/>
                </a:cubicBezTo>
                <a:close/>
                <a:moveTo>
                  <a:pt x="527" y="276"/>
                </a:moveTo>
                <a:cubicBezTo>
                  <a:pt x="527" y="275"/>
                  <a:pt x="527" y="275"/>
                  <a:pt x="528" y="275"/>
                </a:cubicBezTo>
                <a:cubicBezTo>
                  <a:pt x="529" y="275"/>
                  <a:pt x="526" y="277"/>
                  <a:pt x="527" y="276"/>
                </a:cubicBezTo>
                <a:close/>
                <a:moveTo>
                  <a:pt x="527" y="671"/>
                </a:moveTo>
                <a:cubicBezTo>
                  <a:pt x="527" y="671"/>
                  <a:pt x="527" y="671"/>
                  <a:pt x="527" y="671"/>
                </a:cubicBezTo>
                <a:cubicBezTo>
                  <a:pt x="527" y="671"/>
                  <a:pt x="527" y="671"/>
                  <a:pt x="527" y="671"/>
                </a:cubicBezTo>
                <a:cubicBezTo>
                  <a:pt x="527" y="671"/>
                  <a:pt x="527" y="671"/>
                  <a:pt x="527" y="671"/>
                </a:cubicBezTo>
                <a:close/>
                <a:moveTo>
                  <a:pt x="527" y="391"/>
                </a:moveTo>
                <a:cubicBezTo>
                  <a:pt x="527" y="390"/>
                  <a:pt x="528" y="389"/>
                  <a:pt x="528" y="388"/>
                </a:cubicBezTo>
                <a:cubicBezTo>
                  <a:pt x="529" y="389"/>
                  <a:pt x="527" y="390"/>
                  <a:pt x="527" y="391"/>
                </a:cubicBezTo>
                <a:close/>
                <a:moveTo>
                  <a:pt x="530" y="630"/>
                </a:moveTo>
                <a:cubicBezTo>
                  <a:pt x="531" y="629"/>
                  <a:pt x="534" y="629"/>
                  <a:pt x="536" y="628"/>
                </a:cubicBezTo>
                <a:cubicBezTo>
                  <a:pt x="535" y="630"/>
                  <a:pt x="532" y="630"/>
                  <a:pt x="530" y="630"/>
                </a:cubicBezTo>
                <a:close/>
                <a:moveTo>
                  <a:pt x="531" y="370"/>
                </a:moveTo>
                <a:cubicBezTo>
                  <a:pt x="531" y="372"/>
                  <a:pt x="529" y="371"/>
                  <a:pt x="531" y="370"/>
                </a:cubicBezTo>
                <a:close/>
                <a:moveTo>
                  <a:pt x="531" y="366"/>
                </a:moveTo>
                <a:cubicBezTo>
                  <a:pt x="531" y="366"/>
                  <a:pt x="531" y="366"/>
                  <a:pt x="531" y="366"/>
                </a:cubicBezTo>
                <a:cubicBezTo>
                  <a:pt x="533" y="366"/>
                  <a:pt x="530" y="368"/>
                  <a:pt x="531" y="366"/>
                </a:cubicBezTo>
                <a:close/>
                <a:moveTo>
                  <a:pt x="534" y="304"/>
                </a:moveTo>
                <a:cubicBezTo>
                  <a:pt x="534" y="305"/>
                  <a:pt x="532" y="305"/>
                  <a:pt x="532" y="305"/>
                </a:cubicBezTo>
                <a:cubicBezTo>
                  <a:pt x="532" y="304"/>
                  <a:pt x="533" y="303"/>
                  <a:pt x="534" y="304"/>
                </a:cubicBezTo>
                <a:close/>
                <a:moveTo>
                  <a:pt x="532" y="287"/>
                </a:moveTo>
                <a:cubicBezTo>
                  <a:pt x="532" y="287"/>
                  <a:pt x="533" y="287"/>
                  <a:pt x="533" y="287"/>
                </a:cubicBezTo>
                <a:cubicBezTo>
                  <a:pt x="534" y="287"/>
                  <a:pt x="532" y="288"/>
                  <a:pt x="532" y="287"/>
                </a:cubicBezTo>
                <a:close/>
                <a:moveTo>
                  <a:pt x="540" y="437"/>
                </a:moveTo>
                <a:cubicBezTo>
                  <a:pt x="539" y="439"/>
                  <a:pt x="538" y="442"/>
                  <a:pt x="536" y="443"/>
                </a:cubicBezTo>
                <a:cubicBezTo>
                  <a:pt x="536" y="442"/>
                  <a:pt x="538" y="439"/>
                  <a:pt x="540" y="437"/>
                </a:cubicBezTo>
                <a:close/>
                <a:moveTo>
                  <a:pt x="538" y="243"/>
                </a:moveTo>
                <a:cubicBezTo>
                  <a:pt x="538" y="243"/>
                  <a:pt x="537" y="243"/>
                  <a:pt x="537" y="243"/>
                </a:cubicBezTo>
                <a:cubicBezTo>
                  <a:pt x="537" y="243"/>
                  <a:pt x="538" y="243"/>
                  <a:pt x="538" y="243"/>
                </a:cubicBezTo>
                <a:cubicBezTo>
                  <a:pt x="538" y="243"/>
                  <a:pt x="538" y="243"/>
                  <a:pt x="538" y="243"/>
                </a:cubicBezTo>
                <a:close/>
                <a:moveTo>
                  <a:pt x="538" y="341"/>
                </a:moveTo>
                <a:cubicBezTo>
                  <a:pt x="539" y="339"/>
                  <a:pt x="537" y="342"/>
                  <a:pt x="538" y="341"/>
                </a:cubicBezTo>
                <a:close/>
                <a:moveTo>
                  <a:pt x="538" y="243"/>
                </a:moveTo>
                <a:cubicBezTo>
                  <a:pt x="539" y="242"/>
                  <a:pt x="539" y="243"/>
                  <a:pt x="538" y="243"/>
                </a:cubicBezTo>
                <a:close/>
                <a:moveTo>
                  <a:pt x="538" y="651"/>
                </a:moveTo>
                <a:cubicBezTo>
                  <a:pt x="537" y="653"/>
                  <a:pt x="537" y="650"/>
                  <a:pt x="538" y="651"/>
                </a:cubicBezTo>
                <a:close/>
                <a:moveTo>
                  <a:pt x="538" y="627"/>
                </a:moveTo>
                <a:cubicBezTo>
                  <a:pt x="541" y="625"/>
                  <a:pt x="541" y="628"/>
                  <a:pt x="538" y="627"/>
                </a:cubicBezTo>
                <a:close/>
                <a:moveTo>
                  <a:pt x="540" y="436"/>
                </a:moveTo>
                <a:cubicBezTo>
                  <a:pt x="540" y="436"/>
                  <a:pt x="540" y="436"/>
                  <a:pt x="540" y="436"/>
                </a:cubicBezTo>
                <a:cubicBezTo>
                  <a:pt x="540" y="436"/>
                  <a:pt x="540" y="435"/>
                  <a:pt x="540" y="435"/>
                </a:cubicBezTo>
                <a:cubicBezTo>
                  <a:pt x="540" y="435"/>
                  <a:pt x="540" y="435"/>
                  <a:pt x="540" y="436"/>
                </a:cubicBezTo>
                <a:close/>
                <a:moveTo>
                  <a:pt x="541" y="360"/>
                </a:moveTo>
                <a:cubicBezTo>
                  <a:pt x="541" y="359"/>
                  <a:pt x="541" y="358"/>
                  <a:pt x="542" y="359"/>
                </a:cubicBezTo>
                <a:cubicBezTo>
                  <a:pt x="544" y="359"/>
                  <a:pt x="539" y="361"/>
                  <a:pt x="541" y="360"/>
                </a:cubicBezTo>
                <a:close/>
                <a:moveTo>
                  <a:pt x="542" y="374"/>
                </a:moveTo>
                <a:cubicBezTo>
                  <a:pt x="542" y="375"/>
                  <a:pt x="542" y="376"/>
                  <a:pt x="540" y="376"/>
                </a:cubicBezTo>
                <a:cubicBezTo>
                  <a:pt x="541" y="375"/>
                  <a:pt x="541" y="375"/>
                  <a:pt x="542" y="374"/>
                </a:cubicBezTo>
                <a:close/>
                <a:moveTo>
                  <a:pt x="541" y="481"/>
                </a:moveTo>
                <a:cubicBezTo>
                  <a:pt x="541" y="481"/>
                  <a:pt x="542" y="479"/>
                  <a:pt x="542" y="478"/>
                </a:cubicBezTo>
                <a:cubicBezTo>
                  <a:pt x="543" y="480"/>
                  <a:pt x="541" y="480"/>
                  <a:pt x="541" y="481"/>
                </a:cubicBezTo>
                <a:close/>
                <a:moveTo>
                  <a:pt x="545" y="428"/>
                </a:moveTo>
                <a:cubicBezTo>
                  <a:pt x="545" y="429"/>
                  <a:pt x="543" y="432"/>
                  <a:pt x="541" y="434"/>
                </a:cubicBezTo>
                <a:cubicBezTo>
                  <a:pt x="542" y="431"/>
                  <a:pt x="547" y="424"/>
                  <a:pt x="545" y="428"/>
                </a:cubicBezTo>
                <a:close/>
                <a:moveTo>
                  <a:pt x="543" y="373"/>
                </a:moveTo>
                <a:cubicBezTo>
                  <a:pt x="544" y="374"/>
                  <a:pt x="542" y="374"/>
                  <a:pt x="543" y="373"/>
                </a:cubicBezTo>
                <a:close/>
                <a:moveTo>
                  <a:pt x="554" y="422"/>
                </a:moveTo>
                <a:cubicBezTo>
                  <a:pt x="555" y="421"/>
                  <a:pt x="555" y="420"/>
                  <a:pt x="555" y="420"/>
                </a:cubicBezTo>
                <a:cubicBezTo>
                  <a:pt x="555" y="421"/>
                  <a:pt x="555" y="421"/>
                  <a:pt x="554" y="422"/>
                </a:cubicBezTo>
                <a:close/>
                <a:moveTo>
                  <a:pt x="556" y="397"/>
                </a:moveTo>
                <a:cubicBezTo>
                  <a:pt x="556" y="396"/>
                  <a:pt x="557" y="395"/>
                  <a:pt x="558" y="394"/>
                </a:cubicBezTo>
                <a:cubicBezTo>
                  <a:pt x="558" y="395"/>
                  <a:pt x="557" y="397"/>
                  <a:pt x="556" y="397"/>
                </a:cubicBezTo>
                <a:close/>
                <a:moveTo>
                  <a:pt x="559" y="393"/>
                </a:moveTo>
                <a:cubicBezTo>
                  <a:pt x="558" y="392"/>
                  <a:pt x="560" y="391"/>
                  <a:pt x="559" y="393"/>
                </a:cubicBezTo>
                <a:close/>
                <a:moveTo>
                  <a:pt x="556" y="329"/>
                </a:moveTo>
                <a:cubicBezTo>
                  <a:pt x="557" y="327"/>
                  <a:pt x="559" y="327"/>
                  <a:pt x="561" y="325"/>
                </a:cubicBezTo>
                <a:cubicBezTo>
                  <a:pt x="564" y="321"/>
                  <a:pt x="566" y="316"/>
                  <a:pt x="570" y="314"/>
                </a:cubicBezTo>
                <a:cubicBezTo>
                  <a:pt x="570" y="318"/>
                  <a:pt x="564" y="320"/>
                  <a:pt x="563" y="323"/>
                </a:cubicBezTo>
                <a:cubicBezTo>
                  <a:pt x="562" y="325"/>
                  <a:pt x="558" y="330"/>
                  <a:pt x="556" y="332"/>
                </a:cubicBezTo>
                <a:cubicBezTo>
                  <a:pt x="556" y="332"/>
                  <a:pt x="556" y="334"/>
                  <a:pt x="554" y="333"/>
                </a:cubicBezTo>
                <a:cubicBezTo>
                  <a:pt x="553" y="332"/>
                  <a:pt x="556" y="329"/>
                  <a:pt x="556" y="329"/>
                </a:cubicBezTo>
                <a:close/>
                <a:moveTo>
                  <a:pt x="553" y="269"/>
                </a:moveTo>
                <a:cubicBezTo>
                  <a:pt x="552" y="268"/>
                  <a:pt x="553" y="267"/>
                  <a:pt x="554" y="267"/>
                </a:cubicBezTo>
                <a:cubicBezTo>
                  <a:pt x="556" y="265"/>
                  <a:pt x="555" y="270"/>
                  <a:pt x="553" y="269"/>
                </a:cubicBezTo>
                <a:close/>
                <a:moveTo>
                  <a:pt x="559" y="305"/>
                </a:moveTo>
                <a:cubicBezTo>
                  <a:pt x="559" y="306"/>
                  <a:pt x="560" y="304"/>
                  <a:pt x="559" y="305"/>
                </a:cubicBezTo>
                <a:close/>
                <a:moveTo>
                  <a:pt x="557" y="240"/>
                </a:moveTo>
                <a:cubicBezTo>
                  <a:pt x="557" y="239"/>
                  <a:pt x="559" y="238"/>
                  <a:pt x="560" y="239"/>
                </a:cubicBezTo>
                <a:cubicBezTo>
                  <a:pt x="560" y="241"/>
                  <a:pt x="558" y="240"/>
                  <a:pt x="557" y="240"/>
                </a:cubicBezTo>
                <a:close/>
                <a:moveTo>
                  <a:pt x="562" y="297"/>
                </a:moveTo>
                <a:cubicBezTo>
                  <a:pt x="562" y="297"/>
                  <a:pt x="562" y="297"/>
                  <a:pt x="562" y="297"/>
                </a:cubicBezTo>
                <a:cubicBezTo>
                  <a:pt x="563" y="294"/>
                  <a:pt x="562" y="300"/>
                  <a:pt x="562" y="297"/>
                </a:cubicBezTo>
                <a:close/>
                <a:moveTo>
                  <a:pt x="566" y="259"/>
                </a:moveTo>
                <a:cubicBezTo>
                  <a:pt x="566" y="259"/>
                  <a:pt x="565" y="260"/>
                  <a:pt x="564" y="260"/>
                </a:cubicBezTo>
                <a:cubicBezTo>
                  <a:pt x="564" y="259"/>
                  <a:pt x="565" y="259"/>
                  <a:pt x="566" y="259"/>
                </a:cubicBezTo>
                <a:close/>
                <a:moveTo>
                  <a:pt x="565" y="234"/>
                </a:moveTo>
                <a:cubicBezTo>
                  <a:pt x="565" y="234"/>
                  <a:pt x="565" y="235"/>
                  <a:pt x="565" y="235"/>
                </a:cubicBezTo>
                <a:cubicBezTo>
                  <a:pt x="564" y="235"/>
                  <a:pt x="565" y="234"/>
                  <a:pt x="565" y="234"/>
                </a:cubicBezTo>
                <a:close/>
                <a:moveTo>
                  <a:pt x="567" y="309"/>
                </a:moveTo>
                <a:cubicBezTo>
                  <a:pt x="567" y="309"/>
                  <a:pt x="567" y="308"/>
                  <a:pt x="567" y="308"/>
                </a:cubicBezTo>
                <a:cubicBezTo>
                  <a:pt x="568" y="306"/>
                  <a:pt x="567" y="311"/>
                  <a:pt x="567" y="309"/>
                </a:cubicBezTo>
                <a:close/>
                <a:moveTo>
                  <a:pt x="567" y="294"/>
                </a:moveTo>
                <a:cubicBezTo>
                  <a:pt x="568" y="293"/>
                  <a:pt x="567" y="295"/>
                  <a:pt x="567" y="294"/>
                </a:cubicBezTo>
                <a:close/>
                <a:moveTo>
                  <a:pt x="569" y="229"/>
                </a:moveTo>
                <a:cubicBezTo>
                  <a:pt x="568" y="228"/>
                  <a:pt x="573" y="224"/>
                  <a:pt x="573" y="224"/>
                </a:cubicBezTo>
                <a:cubicBezTo>
                  <a:pt x="578" y="222"/>
                  <a:pt x="570" y="230"/>
                  <a:pt x="569" y="229"/>
                </a:cubicBezTo>
                <a:close/>
                <a:moveTo>
                  <a:pt x="572" y="359"/>
                </a:moveTo>
                <a:cubicBezTo>
                  <a:pt x="572" y="359"/>
                  <a:pt x="571" y="359"/>
                  <a:pt x="571" y="360"/>
                </a:cubicBezTo>
                <a:cubicBezTo>
                  <a:pt x="571" y="360"/>
                  <a:pt x="571" y="360"/>
                  <a:pt x="571" y="360"/>
                </a:cubicBezTo>
                <a:cubicBezTo>
                  <a:pt x="571" y="360"/>
                  <a:pt x="572" y="359"/>
                  <a:pt x="572" y="359"/>
                </a:cubicBezTo>
                <a:close/>
                <a:moveTo>
                  <a:pt x="569" y="301"/>
                </a:moveTo>
                <a:cubicBezTo>
                  <a:pt x="569" y="302"/>
                  <a:pt x="570" y="299"/>
                  <a:pt x="569" y="301"/>
                </a:cubicBezTo>
                <a:close/>
                <a:moveTo>
                  <a:pt x="570" y="335"/>
                </a:moveTo>
                <a:cubicBezTo>
                  <a:pt x="569" y="336"/>
                  <a:pt x="568" y="337"/>
                  <a:pt x="567" y="339"/>
                </a:cubicBezTo>
                <a:cubicBezTo>
                  <a:pt x="567" y="337"/>
                  <a:pt x="568" y="336"/>
                  <a:pt x="570" y="335"/>
                </a:cubicBezTo>
                <a:close/>
                <a:moveTo>
                  <a:pt x="560" y="391"/>
                </a:moveTo>
                <a:cubicBezTo>
                  <a:pt x="560" y="390"/>
                  <a:pt x="560" y="390"/>
                  <a:pt x="561" y="389"/>
                </a:cubicBezTo>
                <a:cubicBezTo>
                  <a:pt x="561" y="390"/>
                  <a:pt x="561" y="391"/>
                  <a:pt x="560" y="391"/>
                </a:cubicBezTo>
                <a:close/>
                <a:moveTo>
                  <a:pt x="559" y="346"/>
                </a:moveTo>
                <a:cubicBezTo>
                  <a:pt x="560" y="344"/>
                  <a:pt x="562" y="343"/>
                  <a:pt x="564" y="341"/>
                </a:cubicBezTo>
                <a:cubicBezTo>
                  <a:pt x="563" y="343"/>
                  <a:pt x="561" y="345"/>
                  <a:pt x="559" y="346"/>
                </a:cubicBezTo>
                <a:close/>
                <a:moveTo>
                  <a:pt x="565" y="358"/>
                </a:moveTo>
                <a:cubicBezTo>
                  <a:pt x="565" y="359"/>
                  <a:pt x="564" y="360"/>
                  <a:pt x="563" y="360"/>
                </a:cubicBezTo>
                <a:cubicBezTo>
                  <a:pt x="564" y="360"/>
                  <a:pt x="565" y="359"/>
                  <a:pt x="565" y="358"/>
                </a:cubicBezTo>
                <a:close/>
                <a:moveTo>
                  <a:pt x="564" y="552"/>
                </a:moveTo>
                <a:cubicBezTo>
                  <a:pt x="563" y="551"/>
                  <a:pt x="565" y="550"/>
                  <a:pt x="565" y="549"/>
                </a:cubicBezTo>
                <a:cubicBezTo>
                  <a:pt x="565" y="550"/>
                  <a:pt x="565" y="551"/>
                  <a:pt x="564" y="552"/>
                </a:cubicBezTo>
                <a:close/>
                <a:moveTo>
                  <a:pt x="566" y="450"/>
                </a:moveTo>
                <a:cubicBezTo>
                  <a:pt x="568" y="448"/>
                  <a:pt x="567" y="453"/>
                  <a:pt x="566" y="453"/>
                </a:cubicBezTo>
                <a:cubicBezTo>
                  <a:pt x="565" y="452"/>
                  <a:pt x="566" y="450"/>
                  <a:pt x="566" y="450"/>
                </a:cubicBezTo>
                <a:close/>
                <a:moveTo>
                  <a:pt x="566" y="570"/>
                </a:moveTo>
                <a:cubicBezTo>
                  <a:pt x="566" y="570"/>
                  <a:pt x="567" y="570"/>
                  <a:pt x="567" y="570"/>
                </a:cubicBezTo>
                <a:cubicBezTo>
                  <a:pt x="568" y="570"/>
                  <a:pt x="566" y="571"/>
                  <a:pt x="566" y="570"/>
                </a:cubicBezTo>
                <a:close/>
                <a:moveTo>
                  <a:pt x="569" y="442"/>
                </a:moveTo>
                <a:cubicBezTo>
                  <a:pt x="570" y="441"/>
                  <a:pt x="567" y="444"/>
                  <a:pt x="569" y="442"/>
                </a:cubicBezTo>
                <a:close/>
                <a:moveTo>
                  <a:pt x="567" y="349"/>
                </a:moveTo>
                <a:cubicBezTo>
                  <a:pt x="567" y="349"/>
                  <a:pt x="567" y="347"/>
                  <a:pt x="568" y="347"/>
                </a:cubicBezTo>
                <a:cubicBezTo>
                  <a:pt x="570" y="344"/>
                  <a:pt x="569" y="350"/>
                  <a:pt x="567" y="349"/>
                </a:cubicBezTo>
                <a:close/>
                <a:moveTo>
                  <a:pt x="571" y="537"/>
                </a:moveTo>
                <a:cubicBezTo>
                  <a:pt x="572" y="538"/>
                  <a:pt x="570" y="540"/>
                  <a:pt x="569" y="542"/>
                </a:cubicBezTo>
                <a:cubicBezTo>
                  <a:pt x="569" y="541"/>
                  <a:pt x="571" y="539"/>
                  <a:pt x="571" y="537"/>
                </a:cubicBezTo>
                <a:close/>
                <a:moveTo>
                  <a:pt x="570" y="574"/>
                </a:moveTo>
                <a:cubicBezTo>
                  <a:pt x="569" y="574"/>
                  <a:pt x="570" y="571"/>
                  <a:pt x="570" y="571"/>
                </a:cubicBezTo>
                <a:cubicBezTo>
                  <a:pt x="573" y="569"/>
                  <a:pt x="572" y="575"/>
                  <a:pt x="570" y="574"/>
                </a:cubicBezTo>
                <a:close/>
                <a:moveTo>
                  <a:pt x="572" y="501"/>
                </a:moveTo>
                <a:cubicBezTo>
                  <a:pt x="573" y="500"/>
                  <a:pt x="571" y="503"/>
                  <a:pt x="572" y="501"/>
                </a:cubicBezTo>
                <a:close/>
                <a:moveTo>
                  <a:pt x="572" y="232"/>
                </a:moveTo>
                <a:cubicBezTo>
                  <a:pt x="572" y="231"/>
                  <a:pt x="574" y="230"/>
                  <a:pt x="574" y="231"/>
                </a:cubicBezTo>
                <a:cubicBezTo>
                  <a:pt x="575" y="232"/>
                  <a:pt x="573" y="233"/>
                  <a:pt x="572" y="232"/>
                </a:cubicBezTo>
                <a:close/>
                <a:moveTo>
                  <a:pt x="574" y="385"/>
                </a:moveTo>
                <a:cubicBezTo>
                  <a:pt x="574" y="385"/>
                  <a:pt x="573" y="385"/>
                  <a:pt x="573" y="384"/>
                </a:cubicBezTo>
                <a:cubicBezTo>
                  <a:pt x="573" y="383"/>
                  <a:pt x="575" y="385"/>
                  <a:pt x="574" y="385"/>
                </a:cubicBezTo>
                <a:close/>
                <a:moveTo>
                  <a:pt x="574" y="252"/>
                </a:moveTo>
                <a:cubicBezTo>
                  <a:pt x="573" y="251"/>
                  <a:pt x="574" y="250"/>
                  <a:pt x="574" y="250"/>
                </a:cubicBezTo>
                <a:cubicBezTo>
                  <a:pt x="576" y="249"/>
                  <a:pt x="575" y="252"/>
                  <a:pt x="574" y="252"/>
                </a:cubicBezTo>
                <a:close/>
                <a:moveTo>
                  <a:pt x="576" y="495"/>
                </a:moveTo>
                <a:cubicBezTo>
                  <a:pt x="576" y="496"/>
                  <a:pt x="575" y="496"/>
                  <a:pt x="575" y="497"/>
                </a:cubicBezTo>
                <a:cubicBezTo>
                  <a:pt x="574" y="497"/>
                  <a:pt x="575" y="496"/>
                  <a:pt x="576" y="495"/>
                </a:cubicBezTo>
                <a:close/>
                <a:moveTo>
                  <a:pt x="576" y="533"/>
                </a:moveTo>
                <a:cubicBezTo>
                  <a:pt x="575" y="533"/>
                  <a:pt x="577" y="532"/>
                  <a:pt x="576" y="533"/>
                </a:cubicBezTo>
                <a:close/>
                <a:moveTo>
                  <a:pt x="577" y="315"/>
                </a:moveTo>
                <a:cubicBezTo>
                  <a:pt x="578" y="316"/>
                  <a:pt x="576" y="316"/>
                  <a:pt x="576" y="315"/>
                </a:cubicBezTo>
                <a:cubicBezTo>
                  <a:pt x="576" y="315"/>
                  <a:pt x="577" y="314"/>
                  <a:pt x="577" y="315"/>
                </a:cubicBezTo>
                <a:close/>
                <a:moveTo>
                  <a:pt x="577" y="253"/>
                </a:moveTo>
                <a:cubicBezTo>
                  <a:pt x="578" y="252"/>
                  <a:pt x="577" y="254"/>
                  <a:pt x="577" y="253"/>
                </a:cubicBezTo>
                <a:close/>
                <a:moveTo>
                  <a:pt x="581" y="538"/>
                </a:moveTo>
                <a:cubicBezTo>
                  <a:pt x="582" y="540"/>
                  <a:pt x="579" y="540"/>
                  <a:pt x="581" y="538"/>
                </a:cubicBezTo>
                <a:close/>
                <a:moveTo>
                  <a:pt x="576" y="423"/>
                </a:moveTo>
                <a:cubicBezTo>
                  <a:pt x="579" y="421"/>
                  <a:pt x="580" y="415"/>
                  <a:pt x="583" y="415"/>
                </a:cubicBezTo>
                <a:cubicBezTo>
                  <a:pt x="582" y="415"/>
                  <a:pt x="580" y="422"/>
                  <a:pt x="576" y="423"/>
                </a:cubicBezTo>
                <a:close/>
                <a:moveTo>
                  <a:pt x="581" y="348"/>
                </a:moveTo>
                <a:cubicBezTo>
                  <a:pt x="582" y="347"/>
                  <a:pt x="581" y="351"/>
                  <a:pt x="582" y="349"/>
                </a:cubicBezTo>
                <a:cubicBezTo>
                  <a:pt x="582" y="349"/>
                  <a:pt x="581" y="349"/>
                  <a:pt x="581" y="348"/>
                </a:cubicBezTo>
                <a:close/>
                <a:moveTo>
                  <a:pt x="583" y="310"/>
                </a:moveTo>
                <a:cubicBezTo>
                  <a:pt x="581" y="309"/>
                  <a:pt x="583" y="305"/>
                  <a:pt x="584" y="305"/>
                </a:cubicBezTo>
                <a:cubicBezTo>
                  <a:pt x="588" y="302"/>
                  <a:pt x="586" y="312"/>
                  <a:pt x="583" y="310"/>
                </a:cubicBezTo>
                <a:close/>
                <a:moveTo>
                  <a:pt x="585" y="506"/>
                </a:moveTo>
                <a:cubicBezTo>
                  <a:pt x="585" y="507"/>
                  <a:pt x="585" y="506"/>
                  <a:pt x="586" y="506"/>
                </a:cubicBezTo>
                <a:cubicBezTo>
                  <a:pt x="586" y="506"/>
                  <a:pt x="586" y="506"/>
                  <a:pt x="585" y="506"/>
                </a:cubicBezTo>
                <a:close/>
                <a:moveTo>
                  <a:pt x="586" y="505"/>
                </a:moveTo>
                <a:cubicBezTo>
                  <a:pt x="584" y="505"/>
                  <a:pt x="586" y="500"/>
                  <a:pt x="587" y="500"/>
                </a:cubicBezTo>
                <a:cubicBezTo>
                  <a:pt x="589" y="499"/>
                  <a:pt x="588" y="506"/>
                  <a:pt x="586" y="505"/>
                </a:cubicBezTo>
                <a:close/>
                <a:moveTo>
                  <a:pt x="587" y="431"/>
                </a:moveTo>
                <a:cubicBezTo>
                  <a:pt x="587" y="431"/>
                  <a:pt x="587" y="431"/>
                  <a:pt x="587" y="430"/>
                </a:cubicBezTo>
                <a:cubicBezTo>
                  <a:pt x="588" y="429"/>
                  <a:pt x="587" y="430"/>
                  <a:pt x="587" y="431"/>
                </a:cubicBezTo>
                <a:close/>
                <a:moveTo>
                  <a:pt x="584" y="371"/>
                </a:moveTo>
                <a:cubicBezTo>
                  <a:pt x="587" y="368"/>
                  <a:pt x="589" y="364"/>
                  <a:pt x="593" y="361"/>
                </a:cubicBezTo>
                <a:cubicBezTo>
                  <a:pt x="591" y="365"/>
                  <a:pt x="588" y="368"/>
                  <a:pt x="584" y="371"/>
                </a:cubicBezTo>
                <a:close/>
                <a:moveTo>
                  <a:pt x="587" y="302"/>
                </a:moveTo>
                <a:cubicBezTo>
                  <a:pt x="587" y="302"/>
                  <a:pt x="587" y="302"/>
                  <a:pt x="587" y="302"/>
                </a:cubicBezTo>
                <a:cubicBezTo>
                  <a:pt x="587" y="302"/>
                  <a:pt x="587" y="302"/>
                  <a:pt x="587" y="302"/>
                </a:cubicBezTo>
                <a:cubicBezTo>
                  <a:pt x="587" y="302"/>
                  <a:pt x="587" y="302"/>
                  <a:pt x="587" y="302"/>
                </a:cubicBezTo>
                <a:close/>
                <a:moveTo>
                  <a:pt x="588" y="262"/>
                </a:moveTo>
                <a:cubicBezTo>
                  <a:pt x="589" y="262"/>
                  <a:pt x="589" y="264"/>
                  <a:pt x="588" y="264"/>
                </a:cubicBezTo>
                <a:cubicBezTo>
                  <a:pt x="588" y="264"/>
                  <a:pt x="589" y="263"/>
                  <a:pt x="588" y="262"/>
                </a:cubicBezTo>
                <a:close/>
                <a:moveTo>
                  <a:pt x="608" y="272"/>
                </a:moveTo>
                <a:cubicBezTo>
                  <a:pt x="604" y="277"/>
                  <a:pt x="599" y="281"/>
                  <a:pt x="593" y="285"/>
                </a:cubicBezTo>
                <a:cubicBezTo>
                  <a:pt x="598" y="280"/>
                  <a:pt x="602" y="276"/>
                  <a:pt x="608" y="272"/>
                </a:cubicBezTo>
                <a:close/>
                <a:moveTo>
                  <a:pt x="602" y="270"/>
                </a:moveTo>
                <a:cubicBezTo>
                  <a:pt x="602" y="269"/>
                  <a:pt x="603" y="268"/>
                  <a:pt x="603" y="270"/>
                </a:cubicBezTo>
                <a:cubicBezTo>
                  <a:pt x="604" y="271"/>
                  <a:pt x="602" y="270"/>
                  <a:pt x="602" y="270"/>
                </a:cubicBezTo>
                <a:close/>
                <a:moveTo>
                  <a:pt x="595" y="289"/>
                </a:moveTo>
                <a:cubicBezTo>
                  <a:pt x="596" y="288"/>
                  <a:pt x="597" y="288"/>
                  <a:pt x="597" y="288"/>
                </a:cubicBezTo>
                <a:cubicBezTo>
                  <a:pt x="598" y="288"/>
                  <a:pt x="591" y="297"/>
                  <a:pt x="589" y="296"/>
                </a:cubicBezTo>
                <a:cubicBezTo>
                  <a:pt x="588" y="296"/>
                  <a:pt x="595" y="289"/>
                  <a:pt x="595" y="289"/>
                </a:cubicBezTo>
                <a:close/>
                <a:moveTo>
                  <a:pt x="595" y="391"/>
                </a:moveTo>
                <a:cubicBezTo>
                  <a:pt x="595" y="393"/>
                  <a:pt x="593" y="392"/>
                  <a:pt x="595" y="391"/>
                </a:cubicBezTo>
                <a:close/>
                <a:moveTo>
                  <a:pt x="594" y="394"/>
                </a:moveTo>
                <a:cubicBezTo>
                  <a:pt x="595" y="393"/>
                  <a:pt x="594" y="395"/>
                  <a:pt x="594" y="394"/>
                </a:cubicBezTo>
                <a:close/>
                <a:moveTo>
                  <a:pt x="591" y="396"/>
                </a:moveTo>
                <a:cubicBezTo>
                  <a:pt x="592" y="396"/>
                  <a:pt x="592" y="394"/>
                  <a:pt x="593" y="394"/>
                </a:cubicBezTo>
                <a:cubicBezTo>
                  <a:pt x="593" y="395"/>
                  <a:pt x="592" y="396"/>
                  <a:pt x="591" y="396"/>
                </a:cubicBezTo>
                <a:close/>
                <a:moveTo>
                  <a:pt x="592" y="398"/>
                </a:moveTo>
                <a:cubicBezTo>
                  <a:pt x="593" y="398"/>
                  <a:pt x="590" y="400"/>
                  <a:pt x="592" y="398"/>
                </a:cubicBezTo>
                <a:close/>
                <a:moveTo>
                  <a:pt x="593" y="300"/>
                </a:moveTo>
                <a:cubicBezTo>
                  <a:pt x="592" y="300"/>
                  <a:pt x="593" y="299"/>
                  <a:pt x="593" y="299"/>
                </a:cubicBezTo>
                <a:cubicBezTo>
                  <a:pt x="594" y="297"/>
                  <a:pt x="595" y="301"/>
                  <a:pt x="593" y="300"/>
                </a:cubicBezTo>
                <a:close/>
                <a:moveTo>
                  <a:pt x="593" y="297"/>
                </a:moveTo>
                <a:cubicBezTo>
                  <a:pt x="593" y="296"/>
                  <a:pt x="594" y="296"/>
                  <a:pt x="595" y="295"/>
                </a:cubicBezTo>
                <a:cubicBezTo>
                  <a:pt x="595" y="296"/>
                  <a:pt x="594" y="297"/>
                  <a:pt x="593" y="297"/>
                </a:cubicBezTo>
                <a:close/>
                <a:moveTo>
                  <a:pt x="592" y="298"/>
                </a:moveTo>
                <a:cubicBezTo>
                  <a:pt x="591" y="300"/>
                  <a:pt x="589" y="299"/>
                  <a:pt x="592" y="298"/>
                </a:cubicBezTo>
                <a:close/>
                <a:moveTo>
                  <a:pt x="589" y="303"/>
                </a:moveTo>
                <a:cubicBezTo>
                  <a:pt x="589" y="303"/>
                  <a:pt x="589" y="302"/>
                  <a:pt x="589" y="302"/>
                </a:cubicBezTo>
                <a:cubicBezTo>
                  <a:pt x="591" y="300"/>
                  <a:pt x="590" y="304"/>
                  <a:pt x="589" y="303"/>
                </a:cubicBezTo>
                <a:close/>
                <a:moveTo>
                  <a:pt x="590" y="320"/>
                </a:moveTo>
                <a:cubicBezTo>
                  <a:pt x="590" y="321"/>
                  <a:pt x="589" y="321"/>
                  <a:pt x="589" y="322"/>
                </a:cubicBezTo>
                <a:cubicBezTo>
                  <a:pt x="588" y="322"/>
                  <a:pt x="589" y="321"/>
                  <a:pt x="590" y="320"/>
                </a:cubicBezTo>
                <a:close/>
                <a:moveTo>
                  <a:pt x="589" y="289"/>
                </a:moveTo>
                <a:cubicBezTo>
                  <a:pt x="588" y="287"/>
                  <a:pt x="591" y="287"/>
                  <a:pt x="592" y="285"/>
                </a:cubicBezTo>
                <a:cubicBezTo>
                  <a:pt x="593" y="286"/>
                  <a:pt x="590" y="288"/>
                  <a:pt x="589" y="289"/>
                </a:cubicBezTo>
                <a:close/>
                <a:moveTo>
                  <a:pt x="588" y="267"/>
                </a:moveTo>
                <a:cubicBezTo>
                  <a:pt x="588" y="267"/>
                  <a:pt x="588" y="267"/>
                  <a:pt x="588" y="267"/>
                </a:cubicBezTo>
                <a:cubicBezTo>
                  <a:pt x="588" y="267"/>
                  <a:pt x="588" y="267"/>
                  <a:pt x="588" y="268"/>
                </a:cubicBezTo>
                <a:cubicBezTo>
                  <a:pt x="588" y="268"/>
                  <a:pt x="588" y="267"/>
                  <a:pt x="588" y="267"/>
                </a:cubicBezTo>
                <a:close/>
                <a:moveTo>
                  <a:pt x="590" y="400"/>
                </a:moveTo>
                <a:cubicBezTo>
                  <a:pt x="590" y="401"/>
                  <a:pt x="591" y="398"/>
                  <a:pt x="590" y="400"/>
                </a:cubicBezTo>
                <a:close/>
                <a:moveTo>
                  <a:pt x="590" y="437"/>
                </a:moveTo>
                <a:cubicBezTo>
                  <a:pt x="590" y="436"/>
                  <a:pt x="590" y="435"/>
                  <a:pt x="592" y="434"/>
                </a:cubicBezTo>
                <a:cubicBezTo>
                  <a:pt x="593" y="434"/>
                  <a:pt x="594" y="433"/>
                  <a:pt x="595" y="434"/>
                </a:cubicBezTo>
                <a:cubicBezTo>
                  <a:pt x="597" y="438"/>
                  <a:pt x="590" y="441"/>
                  <a:pt x="590" y="437"/>
                </a:cubicBezTo>
                <a:close/>
                <a:moveTo>
                  <a:pt x="595" y="391"/>
                </a:moveTo>
                <a:cubicBezTo>
                  <a:pt x="595" y="390"/>
                  <a:pt x="595" y="390"/>
                  <a:pt x="596" y="389"/>
                </a:cubicBezTo>
                <a:cubicBezTo>
                  <a:pt x="596" y="390"/>
                  <a:pt x="596" y="391"/>
                  <a:pt x="595" y="391"/>
                </a:cubicBezTo>
                <a:close/>
                <a:moveTo>
                  <a:pt x="596" y="565"/>
                </a:moveTo>
                <a:cubicBezTo>
                  <a:pt x="596" y="565"/>
                  <a:pt x="596" y="565"/>
                  <a:pt x="596" y="565"/>
                </a:cubicBezTo>
                <a:cubicBezTo>
                  <a:pt x="596" y="565"/>
                  <a:pt x="596" y="565"/>
                  <a:pt x="596" y="565"/>
                </a:cubicBezTo>
                <a:cubicBezTo>
                  <a:pt x="596" y="565"/>
                  <a:pt x="596" y="565"/>
                  <a:pt x="596" y="565"/>
                </a:cubicBezTo>
                <a:close/>
                <a:moveTo>
                  <a:pt x="596" y="436"/>
                </a:moveTo>
                <a:cubicBezTo>
                  <a:pt x="598" y="435"/>
                  <a:pt x="595" y="438"/>
                  <a:pt x="596" y="436"/>
                </a:cubicBezTo>
                <a:close/>
                <a:moveTo>
                  <a:pt x="596" y="392"/>
                </a:moveTo>
                <a:cubicBezTo>
                  <a:pt x="596" y="391"/>
                  <a:pt x="597" y="390"/>
                  <a:pt x="597" y="390"/>
                </a:cubicBezTo>
                <a:cubicBezTo>
                  <a:pt x="597" y="391"/>
                  <a:pt x="597" y="392"/>
                  <a:pt x="596" y="392"/>
                </a:cubicBezTo>
                <a:close/>
                <a:moveTo>
                  <a:pt x="596" y="389"/>
                </a:moveTo>
                <a:cubicBezTo>
                  <a:pt x="597" y="388"/>
                  <a:pt x="597" y="388"/>
                  <a:pt x="598" y="387"/>
                </a:cubicBezTo>
                <a:cubicBezTo>
                  <a:pt x="598" y="388"/>
                  <a:pt x="597" y="389"/>
                  <a:pt x="596" y="389"/>
                </a:cubicBezTo>
                <a:close/>
                <a:moveTo>
                  <a:pt x="597" y="541"/>
                </a:moveTo>
                <a:cubicBezTo>
                  <a:pt x="596" y="541"/>
                  <a:pt x="598" y="540"/>
                  <a:pt x="597" y="539"/>
                </a:cubicBezTo>
                <a:cubicBezTo>
                  <a:pt x="598" y="539"/>
                  <a:pt x="597" y="541"/>
                  <a:pt x="597" y="541"/>
                </a:cubicBezTo>
                <a:close/>
                <a:moveTo>
                  <a:pt x="597" y="347"/>
                </a:moveTo>
                <a:cubicBezTo>
                  <a:pt x="597" y="347"/>
                  <a:pt x="597" y="346"/>
                  <a:pt x="597" y="346"/>
                </a:cubicBezTo>
                <a:cubicBezTo>
                  <a:pt x="598" y="344"/>
                  <a:pt x="598" y="348"/>
                  <a:pt x="597" y="347"/>
                </a:cubicBezTo>
                <a:close/>
                <a:moveTo>
                  <a:pt x="598" y="386"/>
                </a:moveTo>
                <a:cubicBezTo>
                  <a:pt x="599" y="385"/>
                  <a:pt x="597" y="388"/>
                  <a:pt x="598" y="386"/>
                </a:cubicBezTo>
                <a:close/>
                <a:moveTo>
                  <a:pt x="600" y="336"/>
                </a:moveTo>
                <a:cubicBezTo>
                  <a:pt x="598" y="339"/>
                  <a:pt x="603" y="335"/>
                  <a:pt x="600" y="336"/>
                </a:cubicBezTo>
                <a:close/>
                <a:moveTo>
                  <a:pt x="601" y="360"/>
                </a:moveTo>
                <a:cubicBezTo>
                  <a:pt x="602" y="358"/>
                  <a:pt x="600" y="361"/>
                  <a:pt x="601" y="360"/>
                </a:cubicBezTo>
                <a:close/>
                <a:moveTo>
                  <a:pt x="601" y="299"/>
                </a:moveTo>
                <a:cubicBezTo>
                  <a:pt x="600" y="298"/>
                  <a:pt x="602" y="296"/>
                  <a:pt x="602" y="298"/>
                </a:cubicBezTo>
                <a:cubicBezTo>
                  <a:pt x="603" y="298"/>
                  <a:pt x="602" y="299"/>
                  <a:pt x="601" y="299"/>
                </a:cubicBezTo>
                <a:close/>
                <a:moveTo>
                  <a:pt x="602" y="291"/>
                </a:moveTo>
                <a:cubicBezTo>
                  <a:pt x="601" y="290"/>
                  <a:pt x="603" y="290"/>
                  <a:pt x="603" y="291"/>
                </a:cubicBezTo>
                <a:cubicBezTo>
                  <a:pt x="602" y="291"/>
                  <a:pt x="602" y="291"/>
                  <a:pt x="602" y="291"/>
                </a:cubicBezTo>
                <a:close/>
                <a:moveTo>
                  <a:pt x="603" y="334"/>
                </a:moveTo>
                <a:cubicBezTo>
                  <a:pt x="603" y="333"/>
                  <a:pt x="604" y="332"/>
                  <a:pt x="605" y="331"/>
                </a:cubicBezTo>
                <a:cubicBezTo>
                  <a:pt x="605" y="333"/>
                  <a:pt x="604" y="333"/>
                  <a:pt x="603" y="334"/>
                </a:cubicBezTo>
                <a:close/>
                <a:moveTo>
                  <a:pt x="605" y="302"/>
                </a:moveTo>
                <a:cubicBezTo>
                  <a:pt x="605" y="302"/>
                  <a:pt x="605" y="302"/>
                  <a:pt x="605" y="302"/>
                </a:cubicBezTo>
                <a:cubicBezTo>
                  <a:pt x="606" y="304"/>
                  <a:pt x="603" y="302"/>
                  <a:pt x="605" y="302"/>
                </a:cubicBezTo>
                <a:close/>
                <a:moveTo>
                  <a:pt x="605" y="373"/>
                </a:moveTo>
                <a:cubicBezTo>
                  <a:pt x="605" y="373"/>
                  <a:pt x="606" y="373"/>
                  <a:pt x="606" y="373"/>
                </a:cubicBezTo>
                <a:cubicBezTo>
                  <a:pt x="606" y="374"/>
                  <a:pt x="605" y="373"/>
                  <a:pt x="605" y="373"/>
                </a:cubicBezTo>
                <a:close/>
                <a:moveTo>
                  <a:pt x="606" y="568"/>
                </a:moveTo>
                <a:cubicBezTo>
                  <a:pt x="607" y="567"/>
                  <a:pt x="605" y="570"/>
                  <a:pt x="606" y="568"/>
                </a:cubicBezTo>
                <a:close/>
                <a:moveTo>
                  <a:pt x="608" y="285"/>
                </a:moveTo>
                <a:cubicBezTo>
                  <a:pt x="608" y="285"/>
                  <a:pt x="609" y="284"/>
                  <a:pt x="609" y="284"/>
                </a:cubicBezTo>
                <a:cubicBezTo>
                  <a:pt x="610" y="286"/>
                  <a:pt x="607" y="286"/>
                  <a:pt x="608" y="285"/>
                </a:cubicBezTo>
                <a:close/>
                <a:moveTo>
                  <a:pt x="609" y="319"/>
                </a:moveTo>
                <a:cubicBezTo>
                  <a:pt x="610" y="317"/>
                  <a:pt x="608" y="320"/>
                  <a:pt x="609" y="319"/>
                </a:cubicBezTo>
                <a:close/>
                <a:moveTo>
                  <a:pt x="609" y="350"/>
                </a:moveTo>
                <a:cubicBezTo>
                  <a:pt x="610" y="349"/>
                  <a:pt x="607" y="351"/>
                  <a:pt x="609" y="350"/>
                </a:cubicBezTo>
                <a:close/>
                <a:moveTo>
                  <a:pt x="609" y="376"/>
                </a:moveTo>
                <a:cubicBezTo>
                  <a:pt x="611" y="374"/>
                  <a:pt x="611" y="380"/>
                  <a:pt x="609" y="380"/>
                </a:cubicBezTo>
                <a:cubicBezTo>
                  <a:pt x="608" y="379"/>
                  <a:pt x="609" y="377"/>
                  <a:pt x="609" y="376"/>
                </a:cubicBezTo>
                <a:close/>
                <a:moveTo>
                  <a:pt x="609" y="486"/>
                </a:moveTo>
                <a:cubicBezTo>
                  <a:pt x="608" y="486"/>
                  <a:pt x="608" y="485"/>
                  <a:pt x="609" y="485"/>
                </a:cubicBezTo>
                <a:cubicBezTo>
                  <a:pt x="609" y="483"/>
                  <a:pt x="610" y="487"/>
                  <a:pt x="609" y="486"/>
                </a:cubicBezTo>
                <a:close/>
                <a:moveTo>
                  <a:pt x="610" y="419"/>
                </a:moveTo>
                <a:cubicBezTo>
                  <a:pt x="611" y="417"/>
                  <a:pt x="612" y="418"/>
                  <a:pt x="610" y="419"/>
                </a:cubicBezTo>
                <a:close/>
                <a:moveTo>
                  <a:pt x="609" y="349"/>
                </a:moveTo>
                <a:cubicBezTo>
                  <a:pt x="610" y="347"/>
                  <a:pt x="611" y="345"/>
                  <a:pt x="613" y="344"/>
                </a:cubicBezTo>
                <a:cubicBezTo>
                  <a:pt x="613" y="344"/>
                  <a:pt x="611" y="348"/>
                  <a:pt x="609" y="349"/>
                </a:cubicBezTo>
                <a:close/>
                <a:moveTo>
                  <a:pt x="614" y="312"/>
                </a:moveTo>
                <a:cubicBezTo>
                  <a:pt x="615" y="313"/>
                  <a:pt x="615" y="314"/>
                  <a:pt x="614" y="314"/>
                </a:cubicBezTo>
                <a:cubicBezTo>
                  <a:pt x="613" y="314"/>
                  <a:pt x="612" y="313"/>
                  <a:pt x="613" y="312"/>
                </a:cubicBezTo>
                <a:cubicBezTo>
                  <a:pt x="613" y="312"/>
                  <a:pt x="613" y="312"/>
                  <a:pt x="613" y="312"/>
                </a:cubicBezTo>
                <a:cubicBezTo>
                  <a:pt x="613" y="312"/>
                  <a:pt x="613" y="312"/>
                  <a:pt x="613" y="312"/>
                </a:cubicBezTo>
                <a:cubicBezTo>
                  <a:pt x="611" y="310"/>
                  <a:pt x="615" y="308"/>
                  <a:pt x="616" y="311"/>
                </a:cubicBezTo>
                <a:cubicBezTo>
                  <a:pt x="616" y="311"/>
                  <a:pt x="615" y="312"/>
                  <a:pt x="614" y="312"/>
                </a:cubicBezTo>
                <a:close/>
                <a:moveTo>
                  <a:pt x="613" y="276"/>
                </a:moveTo>
                <a:cubicBezTo>
                  <a:pt x="613" y="277"/>
                  <a:pt x="614" y="275"/>
                  <a:pt x="613" y="276"/>
                </a:cubicBezTo>
                <a:close/>
                <a:moveTo>
                  <a:pt x="613" y="259"/>
                </a:moveTo>
                <a:cubicBezTo>
                  <a:pt x="613" y="259"/>
                  <a:pt x="613" y="259"/>
                  <a:pt x="613" y="259"/>
                </a:cubicBezTo>
                <a:cubicBezTo>
                  <a:pt x="613" y="259"/>
                  <a:pt x="613" y="259"/>
                  <a:pt x="613" y="259"/>
                </a:cubicBezTo>
                <a:cubicBezTo>
                  <a:pt x="614" y="258"/>
                  <a:pt x="614" y="259"/>
                  <a:pt x="613" y="259"/>
                </a:cubicBezTo>
                <a:cubicBezTo>
                  <a:pt x="613" y="259"/>
                  <a:pt x="613" y="259"/>
                  <a:pt x="613" y="259"/>
                </a:cubicBezTo>
                <a:close/>
                <a:moveTo>
                  <a:pt x="615" y="309"/>
                </a:moveTo>
                <a:cubicBezTo>
                  <a:pt x="614" y="309"/>
                  <a:pt x="615" y="308"/>
                  <a:pt x="615" y="308"/>
                </a:cubicBezTo>
                <a:cubicBezTo>
                  <a:pt x="616" y="307"/>
                  <a:pt x="616" y="309"/>
                  <a:pt x="615" y="309"/>
                </a:cubicBezTo>
                <a:close/>
                <a:moveTo>
                  <a:pt x="616" y="256"/>
                </a:moveTo>
                <a:cubicBezTo>
                  <a:pt x="616" y="258"/>
                  <a:pt x="614" y="257"/>
                  <a:pt x="616" y="256"/>
                </a:cubicBezTo>
                <a:close/>
                <a:moveTo>
                  <a:pt x="616" y="260"/>
                </a:moveTo>
                <a:cubicBezTo>
                  <a:pt x="615" y="261"/>
                  <a:pt x="618" y="258"/>
                  <a:pt x="616" y="260"/>
                </a:cubicBezTo>
                <a:close/>
                <a:moveTo>
                  <a:pt x="616" y="343"/>
                </a:moveTo>
                <a:cubicBezTo>
                  <a:pt x="616" y="342"/>
                  <a:pt x="618" y="340"/>
                  <a:pt x="619" y="339"/>
                </a:cubicBezTo>
                <a:cubicBezTo>
                  <a:pt x="619" y="341"/>
                  <a:pt x="618" y="342"/>
                  <a:pt x="616" y="343"/>
                </a:cubicBezTo>
                <a:close/>
                <a:moveTo>
                  <a:pt x="617" y="301"/>
                </a:moveTo>
                <a:cubicBezTo>
                  <a:pt x="618" y="300"/>
                  <a:pt x="619" y="302"/>
                  <a:pt x="618" y="302"/>
                </a:cubicBezTo>
                <a:cubicBezTo>
                  <a:pt x="618" y="302"/>
                  <a:pt x="617" y="301"/>
                  <a:pt x="617" y="301"/>
                </a:cubicBezTo>
                <a:close/>
                <a:moveTo>
                  <a:pt x="618" y="491"/>
                </a:moveTo>
                <a:cubicBezTo>
                  <a:pt x="618" y="490"/>
                  <a:pt x="619" y="490"/>
                  <a:pt x="619" y="490"/>
                </a:cubicBezTo>
                <a:cubicBezTo>
                  <a:pt x="620" y="490"/>
                  <a:pt x="618" y="492"/>
                  <a:pt x="618" y="491"/>
                </a:cubicBezTo>
                <a:close/>
                <a:moveTo>
                  <a:pt x="622" y="396"/>
                </a:moveTo>
                <a:cubicBezTo>
                  <a:pt x="622" y="395"/>
                  <a:pt x="623" y="394"/>
                  <a:pt x="623" y="393"/>
                </a:cubicBezTo>
                <a:cubicBezTo>
                  <a:pt x="624" y="393"/>
                  <a:pt x="623" y="395"/>
                  <a:pt x="622" y="396"/>
                </a:cubicBezTo>
                <a:close/>
                <a:moveTo>
                  <a:pt x="630" y="439"/>
                </a:moveTo>
                <a:cubicBezTo>
                  <a:pt x="630" y="441"/>
                  <a:pt x="627" y="440"/>
                  <a:pt x="630" y="439"/>
                </a:cubicBezTo>
                <a:close/>
                <a:moveTo>
                  <a:pt x="631" y="548"/>
                </a:moveTo>
                <a:cubicBezTo>
                  <a:pt x="631" y="548"/>
                  <a:pt x="632" y="547"/>
                  <a:pt x="633" y="548"/>
                </a:cubicBezTo>
                <a:cubicBezTo>
                  <a:pt x="636" y="551"/>
                  <a:pt x="628" y="552"/>
                  <a:pt x="631" y="548"/>
                </a:cubicBezTo>
                <a:close/>
                <a:moveTo>
                  <a:pt x="634" y="433"/>
                </a:moveTo>
                <a:cubicBezTo>
                  <a:pt x="632" y="433"/>
                  <a:pt x="633" y="431"/>
                  <a:pt x="633" y="431"/>
                </a:cubicBezTo>
                <a:cubicBezTo>
                  <a:pt x="635" y="429"/>
                  <a:pt x="635" y="433"/>
                  <a:pt x="634" y="433"/>
                </a:cubicBezTo>
                <a:close/>
                <a:moveTo>
                  <a:pt x="635" y="495"/>
                </a:moveTo>
                <a:cubicBezTo>
                  <a:pt x="636" y="496"/>
                  <a:pt x="634" y="497"/>
                  <a:pt x="635" y="495"/>
                </a:cubicBezTo>
                <a:close/>
                <a:moveTo>
                  <a:pt x="635" y="459"/>
                </a:moveTo>
                <a:cubicBezTo>
                  <a:pt x="634" y="458"/>
                  <a:pt x="636" y="459"/>
                  <a:pt x="635" y="459"/>
                </a:cubicBezTo>
                <a:close/>
                <a:moveTo>
                  <a:pt x="631" y="298"/>
                </a:moveTo>
                <a:cubicBezTo>
                  <a:pt x="634" y="297"/>
                  <a:pt x="630" y="302"/>
                  <a:pt x="630" y="299"/>
                </a:cubicBezTo>
                <a:cubicBezTo>
                  <a:pt x="630" y="299"/>
                  <a:pt x="631" y="298"/>
                  <a:pt x="631" y="298"/>
                </a:cubicBezTo>
                <a:close/>
                <a:moveTo>
                  <a:pt x="629" y="296"/>
                </a:moveTo>
                <a:cubicBezTo>
                  <a:pt x="629" y="295"/>
                  <a:pt x="628" y="297"/>
                  <a:pt x="629" y="296"/>
                </a:cubicBezTo>
                <a:close/>
                <a:moveTo>
                  <a:pt x="635" y="314"/>
                </a:moveTo>
                <a:cubicBezTo>
                  <a:pt x="633" y="319"/>
                  <a:pt x="630" y="323"/>
                  <a:pt x="628" y="327"/>
                </a:cubicBezTo>
                <a:cubicBezTo>
                  <a:pt x="630" y="323"/>
                  <a:pt x="631" y="318"/>
                  <a:pt x="635" y="314"/>
                </a:cubicBezTo>
                <a:close/>
                <a:moveTo>
                  <a:pt x="625" y="391"/>
                </a:moveTo>
                <a:cubicBezTo>
                  <a:pt x="624" y="390"/>
                  <a:pt x="626" y="387"/>
                  <a:pt x="627" y="386"/>
                </a:cubicBezTo>
                <a:cubicBezTo>
                  <a:pt x="627" y="387"/>
                  <a:pt x="625" y="389"/>
                  <a:pt x="625" y="391"/>
                </a:cubicBezTo>
                <a:close/>
                <a:moveTo>
                  <a:pt x="623" y="307"/>
                </a:moveTo>
                <a:cubicBezTo>
                  <a:pt x="623" y="307"/>
                  <a:pt x="623" y="309"/>
                  <a:pt x="622" y="309"/>
                </a:cubicBezTo>
                <a:cubicBezTo>
                  <a:pt x="622" y="309"/>
                  <a:pt x="622" y="307"/>
                  <a:pt x="623" y="307"/>
                </a:cubicBezTo>
                <a:close/>
                <a:moveTo>
                  <a:pt x="624" y="333"/>
                </a:moveTo>
                <a:cubicBezTo>
                  <a:pt x="624" y="333"/>
                  <a:pt x="627" y="328"/>
                  <a:pt x="627" y="330"/>
                </a:cubicBezTo>
                <a:cubicBezTo>
                  <a:pt x="626" y="332"/>
                  <a:pt x="622" y="336"/>
                  <a:pt x="620" y="338"/>
                </a:cubicBezTo>
                <a:cubicBezTo>
                  <a:pt x="621" y="337"/>
                  <a:pt x="623" y="335"/>
                  <a:pt x="624" y="333"/>
                </a:cubicBezTo>
                <a:close/>
                <a:moveTo>
                  <a:pt x="620" y="269"/>
                </a:moveTo>
                <a:cubicBezTo>
                  <a:pt x="620" y="268"/>
                  <a:pt x="622" y="262"/>
                  <a:pt x="624" y="264"/>
                </a:cubicBezTo>
                <a:cubicBezTo>
                  <a:pt x="626" y="265"/>
                  <a:pt x="622" y="268"/>
                  <a:pt x="620" y="269"/>
                </a:cubicBezTo>
                <a:close/>
                <a:moveTo>
                  <a:pt x="626" y="231"/>
                </a:moveTo>
                <a:cubicBezTo>
                  <a:pt x="626" y="232"/>
                  <a:pt x="627" y="230"/>
                  <a:pt x="626" y="231"/>
                </a:cubicBezTo>
                <a:close/>
                <a:moveTo>
                  <a:pt x="628" y="249"/>
                </a:moveTo>
                <a:cubicBezTo>
                  <a:pt x="628" y="247"/>
                  <a:pt x="630" y="248"/>
                  <a:pt x="628" y="249"/>
                </a:cubicBezTo>
                <a:close/>
                <a:moveTo>
                  <a:pt x="625" y="218"/>
                </a:moveTo>
                <a:cubicBezTo>
                  <a:pt x="627" y="217"/>
                  <a:pt x="628" y="217"/>
                  <a:pt x="629" y="218"/>
                </a:cubicBezTo>
                <a:cubicBezTo>
                  <a:pt x="631" y="221"/>
                  <a:pt x="626" y="226"/>
                  <a:pt x="624" y="225"/>
                </a:cubicBezTo>
                <a:cubicBezTo>
                  <a:pt x="621" y="223"/>
                  <a:pt x="624" y="219"/>
                  <a:pt x="625" y="218"/>
                </a:cubicBezTo>
                <a:close/>
                <a:moveTo>
                  <a:pt x="621" y="229"/>
                </a:moveTo>
                <a:cubicBezTo>
                  <a:pt x="621" y="228"/>
                  <a:pt x="622" y="227"/>
                  <a:pt x="622" y="227"/>
                </a:cubicBezTo>
                <a:cubicBezTo>
                  <a:pt x="621" y="227"/>
                  <a:pt x="621" y="226"/>
                  <a:pt x="622" y="226"/>
                </a:cubicBezTo>
                <a:cubicBezTo>
                  <a:pt x="622" y="225"/>
                  <a:pt x="622" y="225"/>
                  <a:pt x="622" y="225"/>
                </a:cubicBezTo>
                <a:cubicBezTo>
                  <a:pt x="622" y="225"/>
                  <a:pt x="622" y="225"/>
                  <a:pt x="622" y="225"/>
                </a:cubicBezTo>
                <a:cubicBezTo>
                  <a:pt x="622" y="225"/>
                  <a:pt x="622" y="225"/>
                  <a:pt x="623" y="225"/>
                </a:cubicBezTo>
                <a:cubicBezTo>
                  <a:pt x="623" y="226"/>
                  <a:pt x="622" y="226"/>
                  <a:pt x="622" y="226"/>
                </a:cubicBezTo>
                <a:cubicBezTo>
                  <a:pt x="622" y="229"/>
                  <a:pt x="621" y="233"/>
                  <a:pt x="620" y="235"/>
                </a:cubicBezTo>
                <a:cubicBezTo>
                  <a:pt x="620" y="233"/>
                  <a:pt x="620" y="232"/>
                  <a:pt x="621" y="230"/>
                </a:cubicBezTo>
                <a:cubicBezTo>
                  <a:pt x="621" y="230"/>
                  <a:pt x="621" y="230"/>
                  <a:pt x="621" y="230"/>
                </a:cubicBezTo>
                <a:cubicBezTo>
                  <a:pt x="621" y="229"/>
                  <a:pt x="621" y="229"/>
                  <a:pt x="621" y="229"/>
                </a:cubicBezTo>
                <a:close/>
                <a:moveTo>
                  <a:pt x="620" y="227"/>
                </a:moveTo>
                <a:cubicBezTo>
                  <a:pt x="620" y="229"/>
                  <a:pt x="618" y="228"/>
                  <a:pt x="620" y="227"/>
                </a:cubicBezTo>
                <a:close/>
                <a:moveTo>
                  <a:pt x="623" y="246"/>
                </a:moveTo>
                <a:cubicBezTo>
                  <a:pt x="622" y="248"/>
                  <a:pt x="620" y="249"/>
                  <a:pt x="618" y="249"/>
                </a:cubicBezTo>
                <a:cubicBezTo>
                  <a:pt x="619" y="248"/>
                  <a:pt x="621" y="247"/>
                  <a:pt x="623" y="246"/>
                </a:cubicBezTo>
                <a:close/>
                <a:moveTo>
                  <a:pt x="619" y="255"/>
                </a:moveTo>
                <a:cubicBezTo>
                  <a:pt x="619" y="256"/>
                  <a:pt x="618" y="258"/>
                  <a:pt x="617" y="259"/>
                </a:cubicBezTo>
                <a:cubicBezTo>
                  <a:pt x="617" y="257"/>
                  <a:pt x="619" y="256"/>
                  <a:pt x="619" y="255"/>
                </a:cubicBezTo>
                <a:close/>
                <a:moveTo>
                  <a:pt x="615" y="229"/>
                </a:moveTo>
                <a:cubicBezTo>
                  <a:pt x="613" y="228"/>
                  <a:pt x="614" y="225"/>
                  <a:pt x="616" y="226"/>
                </a:cubicBezTo>
                <a:cubicBezTo>
                  <a:pt x="618" y="226"/>
                  <a:pt x="617" y="230"/>
                  <a:pt x="615" y="229"/>
                </a:cubicBezTo>
                <a:cubicBezTo>
                  <a:pt x="617" y="230"/>
                  <a:pt x="615" y="236"/>
                  <a:pt x="612" y="236"/>
                </a:cubicBezTo>
                <a:cubicBezTo>
                  <a:pt x="608" y="235"/>
                  <a:pt x="610" y="226"/>
                  <a:pt x="615" y="229"/>
                </a:cubicBezTo>
                <a:close/>
                <a:moveTo>
                  <a:pt x="609" y="276"/>
                </a:moveTo>
                <a:cubicBezTo>
                  <a:pt x="608" y="280"/>
                  <a:pt x="603" y="284"/>
                  <a:pt x="599" y="286"/>
                </a:cubicBezTo>
                <a:cubicBezTo>
                  <a:pt x="602" y="283"/>
                  <a:pt x="604" y="279"/>
                  <a:pt x="609" y="276"/>
                </a:cubicBezTo>
                <a:close/>
                <a:moveTo>
                  <a:pt x="608" y="229"/>
                </a:moveTo>
                <a:cubicBezTo>
                  <a:pt x="608" y="229"/>
                  <a:pt x="608" y="229"/>
                  <a:pt x="608" y="230"/>
                </a:cubicBezTo>
                <a:cubicBezTo>
                  <a:pt x="609" y="232"/>
                  <a:pt x="606" y="229"/>
                  <a:pt x="608" y="229"/>
                </a:cubicBezTo>
                <a:close/>
                <a:moveTo>
                  <a:pt x="607" y="228"/>
                </a:moveTo>
                <a:cubicBezTo>
                  <a:pt x="608" y="228"/>
                  <a:pt x="607" y="230"/>
                  <a:pt x="606" y="230"/>
                </a:cubicBezTo>
                <a:cubicBezTo>
                  <a:pt x="605" y="229"/>
                  <a:pt x="606" y="229"/>
                  <a:pt x="607" y="228"/>
                </a:cubicBezTo>
                <a:close/>
                <a:moveTo>
                  <a:pt x="606" y="253"/>
                </a:moveTo>
                <a:cubicBezTo>
                  <a:pt x="608" y="251"/>
                  <a:pt x="609" y="257"/>
                  <a:pt x="606" y="256"/>
                </a:cubicBezTo>
                <a:cubicBezTo>
                  <a:pt x="605" y="256"/>
                  <a:pt x="605" y="254"/>
                  <a:pt x="606" y="253"/>
                </a:cubicBezTo>
                <a:close/>
                <a:moveTo>
                  <a:pt x="602" y="228"/>
                </a:moveTo>
                <a:cubicBezTo>
                  <a:pt x="602" y="227"/>
                  <a:pt x="603" y="227"/>
                  <a:pt x="604" y="227"/>
                </a:cubicBezTo>
                <a:cubicBezTo>
                  <a:pt x="605" y="229"/>
                  <a:pt x="601" y="230"/>
                  <a:pt x="602" y="228"/>
                </a:cubicBezTo>
                <a:close/>
                <a:moveTo>
                  <a:pt x="602" y="225"/>
                </a:moveTo>
                <a:cubicBezTo>
                  <a:pt x="602" y="224"/>
                  <a:pt x="601" y="227"/>
                  <a:pt x="602" y="225"/>
                </a:cubicBezTo>
                <a:close/>
                <a:moveTo>
                  <a:pt x="598" y="235"/>
                </a:moveTo>
                <a:cubicBezTo>
                  <a:pt x="599" y="233"/>
                  <a:pt x="601" y="238"/>
                  <a:pt x="598" y="237"/>
                </a:cubicBezTo>
                <a:cubicBezTo>
                  <a:pt x="597" y="237"/>
                  <a:pt x="597" y="236"/>
                  <a:pt x="598" y="235"/>
                </a:cubicBezTo>
                <a:close/>
                <a:moveTo>
                  <a:pt x="600" y="263"/>
                </a:moveTo>
                <a:cubicBezTo>
                  <a:pt x="601" y="262"/>
                  <a:pt x="602" y="258"/>
                  <a:pt x="604" y="257"/>
                </a:cubicBezTo>
                <a:cubicBezTo>
                  <a:pt x="608" y="255"/>
                  <a:pt x="600" y="265"/>
                  <a:pt x="599" y="266"/>
                </a:cubicBezTo>
                <a:cubicBezTo>
                  <a:pt x="601" y="264"/>
                  <a:pt x="598" y="268"/>
                  <a:pt x="597" y="268"/>
                </a:cubicBezTo>
                <a:cubicBezTo>
                  <a:pt x="596" y="267"/>
                  <a:pt x="599" y="264"/>
                  <a:pt x="600" y="263"/>
                </a:cubicBezTo>
                <a:close/>
                <a:moveTo>
                  <a:pt x="594" y="230"/>
                </a:moveTo>
                <a:cubicBezTo>
                  <a:pt x="594" y="232"/>
                  <a:pt x="593" y="230"/>
                  <a:pt x="594" y="230"/>
                </a:cubicBezTo>
                <a:close/>
                <a:moveTo>
                  <a:pt x="593" y="249"/>
                </a:moveTo>
                <a:cubicBezTo>
                  <a:pt x="594" y="249"/>
                  <a:pt x="593" y="250"/>
                  <a:pt x="593" y="250"/>
                </a:cubicBezTo>
                <a:cubicBezTo>
                  <a:pt x="592" y="250"/>
                  <a:pt x="593" y="248"/>
                  <a:pt x="593" y="249"/>
                </a:cubicBezTo>
                <a:close/>
                <a:moveTo>
                  <a:pt x="595" y="252"/>
                </a:moveTo>
                <a:cubicBezTo>
                  <a:pt x="594" y="254"/>
                  <a:pt x="591" y="256"/>
                  <a:pt x="589" y="258"/>
                </a:cubicBezTo>
                <a:cubicBezTo>
                  <a:pt x="590" y="256"/>
                  <a:pt x="592" y="253"/>
                  <a:pt x="595" y="252"/>
                </a:cubicBezTo>
                <a:close/>
                <a:moveTo>
                  <a:pt x="590" y="221"/>
                </a:moveTo>
                <a:cubicBezTo>
                  <a:pt x="590" y="221"/>
                  <a:pt x="590" y="221"/>
                  <a:pt x="591" y="221"/>
                </a:cubicBezTo>
                <a:cubicBezTo>
                  <a:pt x="590" y="221"/>
                  <a:pt x="590" y="222"/>
                  <a:pt x="590" y="221"/>
                </a:cubicBezTo>
                <a:close/>
                <a:moveTo>
                  <a:pt x="591" y="238"/>
                </a:moveTo>
                <a:cubicBezTo>
                  <a:pt x="591" y="239"/>
                  <a:pt x="588" y="240"/>
                  <a:pt x="588" y="239"/>
                </a:cubicBezTo>
                <a:cubicBezTo>
                  <a:pt x="588" y="238"/>
                  <a:pt x="591" y="236"/>
                  <a:pt x="591" y="238"/>
                </a:cubicBezTo>
                <a:close/>
                <a:moveTo>
                  <a:pt x="588" y="289"/>
                </a:moveTo>
                <a:cubicBezTo>
                  <a:pt x="589" y="290"/>
                  <a:pt x="585" y="291"/>
                  <a:pt x="586" y="289"/>
                </a:cubicBezTo>
                <a:cubicBezTo>
                  <a:pt x="587" y="289"/>
                  <a:pt x="587" y="288"/>
                  <a:pt x="588" y="289"/>
                </a:cubicBezTo>
                <a:close/>
                <a:moveTo>
                  <a:pt x="587" y="214"/>
                </a:moveTo>
                <a:cubicBezTo>
                  <a:pt x="588" y="216"/>
                  <a:pt x="584" y="216"/>
                  <a:pt x="584" y="215"/>
                </a:cubicBezTo>
                <a:cubicBezTo>
                  <a:pt x="584" y="213"/>
                  <a:pt x="586" y="213"/>
                  <a:pt x="587" y="214"/>
                </a:cubicBezTo>
                <a:close/>
                <a:moveTo>
                  <a:pt x="583" y="217"/>
                </a:moveTo>
                <a:cubicBezTo>
                  <a:pt x="583" y="217"/>
                  <a:pt x="585" y="217"/>
                  <a:pt x="584" y="218"/>
                </a:cubicBezTo>
                <a:cubicBezTo>
                  <a:pt x="584" y="218"/>
                  <a:pt x="582" y="218"/>
                  <a:pt x="583" y="217"/>
                </a:cubicBezTo>
                <a:close/>
                <a:moveTo>
                  <a:pt x="586" y="259"/>
                </a:moveTo>
                <a:cubicBezTo>
                  <a:pt x="586" y="259"/>
                  <a:pt x="584" y="263"/>
                  <a:pt x="582" y="263"/>
                </a:cubicBezTo>
                <a:cubicBezTo>
                  <a:pt x="583" y="262"/>
                  <a:pt x="585" y="260"/>
                  <a:pt x="586" y="259"/>
                </a:cubicBezTo>
                <a:close/>
                <a:moveTo>
                  <a:pt x="583" y="250"/>
                </a:moveTo>
                <a:cubicBezTo>
                  <a:pt x="583" y="251"/>
                  <a:pt x="582" y="251"/>
                  <a:pt x="581" y="251"/>
                </a:cubicBezTo>
                <a:cubicBezTo>
                  <a:pt x="581" y="250"/>
                  <a:pt x="582" y="249"/>
                  <a:pt x="583" y="250"/>
                </a:cubicBezTo>
                <a:close/>
                <a:moveTo>
                  <a:pt x="580" y="258"/>
                </a:moveTo>
                <a:cubicBezTo>
                  <a:pt x="580" y="258"/>
                  <a:pt x="580" y="258"/>
                  <a:pt x="580" y="258"/>
                </a:cubicBezTo>
                <a:cubicBezTo>
                  <a:pt x="580" y="258"/>
                  <a:pt x="580" y="258"/>
                  <a:pt x="580" y="258"/>
                </a:cubicBezTo>
                <a:cubicBezTo>
                  <a:pt x="580" y="258"/>
                  <a:pt x="580" y="258"/>
                  <a:pt x="580" y="258"/>
                </a:cubicBezTo>
                <a:close/>
                <a:moveTo>
                  <a:pt x="582" y="276"/>
                </a:moveTo>
                <a:cubicBezTo>
                  <a:pt x="584" y="278"/>
                  <a:pt x="581" y="280"/>
                  <a:pt x="579" y="280"/>
                </a:cubicBezTo>
                <a:cubicBezTo>
                  <a:pt x="579" y="279"/>
                  <a:pt x="581" y="275"/>
                  <a:pt x="582" y="276"/>
                </a:cubicBezTo>
                <a:close/>
                <a:moveTo>
                  <a:pt x="579" y="294"/>
                </a:moveTo>
                <a:cubicBezTo>
                  <a:pt x="580" y="294"/>
                  <a:pt x="578" y="295"/>
                  <a:pt x="578" y="294"/>
                </a:cubicBezTo>
                <a:cubicBezTo>
                  <a:pt x="578" y="294"/>
                  <a:pt x="579" y="294"/>
                  <a:pt x="579" y="294"/>
                </a:cubicBezTo>
                <a:close/>
                <a:moveTo>
                  <a:pt x="575" y="180"/>
                </a:moveTo>
                <a:cubicBezTo>
                  <a:pt x="575" y="180"/>
                  <a:pt x="576" y="180"/>
                  <a:pt x="576" y="180"/>
                </a:cubicBezTo>
                <a:cubicBezTo>
                  <a:pt x="577" y="181"/>
                  <a:pt x="574" y="182"/>
                  <a:pt x="575" y="180"/>
                </a:cubicBezTo>
                <a:close/>
                <a:moveTo>
                  <a:pt x="576" y="192"/>
                </a:moveTo>
                <a:cubicBezTo>
                  <a:pt x="579" y="190"/>
                  <a:pt x="578" y="196"/>
                  <a:pt x="576" y="195"/>
                </a:cubicBezTo>
                <a:cubicBezTo>
                  <a:pt x="574" y="195"/>
                  <a:pt x="575" y="193"/>
                  <a:pt x="576" y="192"/>
                </a:cubicBezTo>
                <a:close/>
                <a:moveTo>
                  <a:pt x="571" y="222"/>
                </a:moveTo>
                <a:cubicBezTo>
                  <a:pt x="567" y="221"/>
                  <a:pt x="569" y="214"/>
                  <a:pt x="571" y="212"/>
                </a:cubicBezTo>
                <a:cubicBezTo>
                  <a:pt x="579" y="207"/>
                  <a:pt x="578" y="222"/>
                  <a:pt x="571" y="222"/>
                </a:cubicBezTo>
                <a:close/>
                <a:moveTo>
                  <a:pt x="571" y="188"/>
                </a:moveTo>
                <a:cubicBezTo>
                  <a:pt x="571" y="188"/>
                  <a:pt x="572" y="186"/>
                  <a:pt x="573" y="188"/>
                </a:cubicBezTo>
                <a:cubicBezTo>
                  <a:pt x="573" y="188"/>
                  <a:pt x="572" y="189"/>
                  <a:pt x="571" y="188"/>
                </a:cubicBezTo>
                <a:close/>
                <a:moveTo>
                  <a:pt x="569" y="186"/>
                </a:moveTo>
                <a:cubicBezTo>
                  <a:pt x="569" y="186"/>
                  <a:pt x="569" y="186"/>
                  <a:pt x="570" y="185"/>
                </a:cubicBezTo>
                <a:cubicBezTo>
                  <a:pt x="570" y="185"/>
                  <a:pt x="570" y="185"/>
                  <a:pt x="570" y="185"/>
                </a:cubicBezTo>
                <a:cubicBezTo>
                  <a:pt x="570" y="185"/>
                  <a:pt x="572" y="184"/>
                  <a:pt x="573" y="183"/>
                </a:cubicBezTo>
                <a:cubicBezTo>
                  <a:pt x="572" y="186"/>
                  <a:pt x="569" y="187"/>
                  <a:pt x="567" y="188"/>
                </a:cubicBezTo>
                <a:cubicBezTo>
                  <a:pt x="567" y="187"/>
                  <a:pt x="568" y="187"/>
                  <a:pt x="569" y="186"/>
                </a:cubicBezTo>
                <a:close/>
                <a:moveTo>
                  <a:pt x="565" y="188"/>
                </a:moveTo>
                <a:cubicBezTo>
                  <a:pt x="565" y="188"/>
                  <a:pt x="566" y="187"/>
                  <a:pt x="567" y="188"/>
                </a:cubicBezTo>
                <a:cubicBezTo>
                  <a:pt x="567" y="189"/>
                  <a:pt x="563" y="190"/>
                  <a:pt x="565" y="188"/>
                </a:cubicBezTo>
                <a:close/>
                <a:moveTo>
                  <a:pt x="562" y="209"/>
                </a:moveTo>
                <a:cubicBezTo>
                  <a:pt x="562" y="210"/>
                  <a:pt x="561" y="210"/>
                  <a:pt x="560" y="209"/>
                </a:cubicBezTo>
                <a:cubicBezTo>
                  <a:pt x="560" y="209"/>
                  <a:pt x="561" y="208"/>
                  <a:pt x="562" y="209"/>
                </a:cubicBezTo>
                <a:close/>
                <a:moveTo>
                  <a:pt x="558" y="198"/>
                </a:moveTo>
                <a:cubicBezTo>
                  <a:pt x="560" y="196"/>
                  <a:pt x="560" y="199"/>
                  <a:pt x="558" y="199"/>
                </a:cubicBezTo>
                <a:cubicBezTo>
                  <a:pt x="558" y="199"/>
                  <a:pt x="558" y="198"/>
                  <a:pt x="558" y="198"/>
                </a:cubicBezTo>
                <a:close/>
                <a:moveTo>
                  <a:pt x="558" y="215"/>
                </a:moveTo>
                <a:cubicBezTo>
                  <a:pt x="561" y="213"/>
                  <a:pt x="565" y="210"/>
                  <a:pt x="569" y="209"/>
                </a:cubicBezTo>
                <a:cubicBezTo>
                  <a:pt x="567" y="211"/>
                  <a:pt x="560" y="215"/>
                  <a:pt x="557" y="217"/>
                </a:cubicBezTo>
                <a:cubicBezTo>
                  <a:pt x="558" y="216"/>
                  <a:pt x="556" y="217"/>
                  <a:pt x="556" y="217"/>
                </a:cubicBezTo>
                <a:cubicBezTo>
                  <a:pt x="555" y="215"/>
                  <a:pt x="557" y="215"/>
                  <a:pt x="558" y="215"/>
                </a:cubicBezTo>
                <a:close/>
                <a:moveTo>
                  <a:pt x="559" y="250"/>
                </a:moveTo>
                <a:cubicBezTo>
                  <a:pt x="559" y="252"/>
                  <a:pt x="554" y="254"/>
                  <a:pt x="553" y="252"/>
                </a:cubicBezTo>
                <a:cubicBezTo>
                  <a:pt x="552" y="249"/>
                  <a:pt x="559" y="246"/>
                  <a:pt x="559" y="250"/>
                </a:cubicBezTo>
                <a:close/>
                <a:moveTo>
                  <a:pt x="551" y="188"/>
                </a:moveTo>
                <a:cubicBezTo>
                  <a:pt x="551" y="188"/>
                  <a:pt x="552" y="188"/>
                  <a:pt x="552" y="188"/>
                </a:cubicBezTo>
                <a:cubicBezTo>
                  <a:pt x="552" y="190"/>
                  <a:pt x="550" y="190"/>
                  <a:pt x="551" y="188"/>
                </a:cubicBezTo>
                <a:close/>
                <a:moveTo>
                  <a:pt x="552" y="253"/>
                </a:moveTo>
                <a:cubicBezTo>
                  <a:pt x="552" y="254"/>
                  <a:pt x="554" y="255"/>
                  <a:pt x="554" y="256"/>
                </a:cubicBezTo>
                <a:cubicBezTo>
                  <a:pt x="554" y="258"/>
                  <a:pt x="552" y="256"/>
                  <a:pt x="552" y="258"/>
                </a:cubicBezTo>
                <a:cubicBezTo>
                  <a:pt x="549" y="260"/>
                  <a:pt x="550" y="265"/>
                  <a:pt x="548" y="267"/>
                </a:cubicBezTo>
                <a:cubicBezTo>
                  <a:pt x="548" y="263"/>
                  <a:pt x="550" y="258"/>
                  <a:pt x="552" y="253"/>
                </a:cubicBezTo>
                <a:close/>
                <a:moveTo>
                  <a:pt x="549" y="270"/>
                </a:moveTo>
                <a:cubicBezTo>
                  <a:pt x="548" y="269"/>
                  <a:pt x="550" y="267"/>
                  <a:pt x="551" y="269"/>
                </a:cubicBezTo>
                <a:cubicBezTo>
                  <a:pt x="552" y="271"/>
                  <a:pt x="549" y="271"/>
                  <a:pt x="549" y="270"/>
                </a:cubicBezTo>
                <a:close/>
                <a:moveTo>
                  <a:pt x="549" y="310"/>
                </a:moveTo>
                <a:cubicBezTo>
                  <a:pt x="548" y="310"/>
                  <a:pt x="549" y="310"/>
                  <a:pt x="549" y="310"/>
                </a:cubicBezTo>
                <a:cubicBezTo>
                  <a:pt x="550" y="310"/>
                  <a:pt x="549" y="310"/>
                  <a:pt x="549" y="310"/>
                </a:cubicBezTo>
                <a:close/>
                <a:moveTo>
                  <a:pt x="550" y="302"/>
                </a:moveTo>
                <a:cubicBezTo>
                  <a:pt x="551" y="302"/>
                  <a:pt x="551" y="301"/>
                  <a:pt x="551" y="302"/>
                </a:cubicBezTo>
                <a:cubicBezTo>
                  <a:pt x="552" y="302"/>
                  <a:pt x="550" y="303"/>
                  <a:pt x="550" y="302"/>
                </a:cubicBezTo>
                <a:close/>
                <a:moveTo>
                  <a:pt x="558" y="345"/>
                </a:moveTo>
                <a:cubicBezTo>
                  <a:pt x="556" y="349"/>
                  <a:pt x="551" y="352"/>
                  <a:pt x="547" y="356"/>
                </a:cubicBezTo>
                <a:cubicBezTo>
                  <a:pt x="549" y="352"/>
                  <a:pt x="555" y="349"/>
                  <a:pt x="558" y="345"/>
                </a:cubicBezTo>
                <a:close/>
                <a:moveTo>
                  <a:pt x="546" y="192"/>
                </a:moveTo>
                <a:cubicBezTo>
                  <a:pt x="547" y="193"/>
                  <a:pt x="545" y="194"/>
                  <a:pt x="545" y="193"/>
                </a:cubicBezTo>
                <a:cubicBezTo>
                  <a:pt x="545" y="192"/>
                  <a:pt x="546" y="192"/>
                  <a:pt x="546" y="192"/>
                </a:cubicBezTo>
                <a:close/>
                <a:moveTo>
                  <a:pt x="545" y="198"/>
                </a:moveTo>
                <a:cubicBezTo>
                  <a:pt x="546" y="197"/>
                  <a:pt x="546" y="200"/>
                  <a:pt x="545" y="199"/>
                </a:cubicBezTo>
                <a:cubicBezTo>
                  <a:pt x="544" y="199"/>
                  <a:pt x="545" y="198"/>
                  <a:pt x="545" y="198"/>
                </a:cubicBezTo>
                <a:close/>
                <a:moveTo>
                  <a:pt x="544" y="232"/>
                </a:moveTo>
                <a:cubicBezTo>
                  <a:pt x="545" y="231"/>
                  <a:pt x="546" y="230"/>
                  <a:pt x="546" y="231"/>
                </a:cubicBezTo>
                <a:cubicBezTo>
                  <a:pt x="549" y="233"/>
                  <a:pt x="542" y="235"/>
                  <a:pt x="544" y="232"/>
                </a:cubicBezTo>
                <a:close/>
                <a:moveTo>
                  <a:pt x="547" y="281"/>
                </a:moveTo>
                <a:cubicBezTo>
                  <a:pt x="546" y="282"/>
                  <a:pt x="545" y="281"/>
                  <a:pt x="547" y="281"/>
                </a:cubicBezTo>
                <a:close/>
                <a:moveTo>
                  <a:pt x="547" y="355"/>
                </a:moveTo>
                <a:cubicBezTo>
                  <a:pt x="546" y="357"/>
                  <a:pt x="544" y="358"/>
                  <a:pt x="543" y="359"/>
                </a:cubicBezTo>
                <a:cubicBezTo>
                  <a:pt x="543" y="357"/>
                  <a:pt x="545" y="356"/>
                  <a:pt x="547" y="355"/>
                </a:cubicBezTo>
                <a:close/>
                <a:moveTo>
                  <a:pt x="542" y="323"/>
                </a:moveTo>
                <a:cubicBezTo>
                  <a:pt x="542" y="323"/>
                  <a:pt x="542" y="322"/>
                  <a:pt x="543" y="323"/>
                </a:cubicBezTo>
                <a:cubicBezTo>
                  <a:pt x="545" y="323"/>
                  <a:pt x="541" y="326"/>
                  <a:pt x="542" y="323"/>
                </a:cubicBezTo>
                <a:close/>
                <a:moveTo>
                  <a:pt x="542" y="261"/>
                </a:moveTo>
                <a:cubicBezTo>
                  <a:pt x="543" y="259"/>
                  <a:pt x="544" y="261"/>
                  <a:pt x="542" y="261"/>
                </a:cubicBezTo>
                <a:close/>
                <a:moveTo>
                  <a:pt x="541" y="250"/>
                </a:moveTo>
                <a:cubicBezTo>
                  <a:pt x="541" y="250"/>
                  <a:pt x="541" y="249"/>
                  <a:pt x="542" y="248"/>
                </a:cubicBezTo>
                <a:cubicBezTo>
                  <a:pt x="544" y="247"/>
                  <a:pt x="543" y="252"/>
                  <a:pt x="541" y="250"/>
                </a:cubicBezTo>
                <a:close/>
                <a:moveTo>
                  <a:pt x="543" y="227"/>
                </a:moveTo>
                <a:cubicBezTo>
                  <a:pt x="543" y="227"/>
                  <a:pt x="542" y="228"/>
                  <a:pt x="542" y="227"/>
                </a:cubicBezTo>
                <a:cubicBezTo>
                  <a:pt x="542" y="227"/>
                  <a:pt x="542" y="227"/>
                  <a:pt x="543" y="227"/>
                </a:cubicBezTo>
                <a:close/>
                <a:moveTo>
                  <a:pt x="541" y="192"/>
                </a:moveTo>
                <a:cubicBezTo>
                  <a:pt x="542" y="190"/>
                  <a:pt x="542" y="193"/>
                  <a:pt x="541" y="192"/>
                </a:cubicBezTo>
                <a:close/>
                <a:moveTo>
                  <a:pt x="542" y="240"/>
                </a:moveTo>
                <a:cubicBezTo>
                  <a:pt x="542" y="241"/>
                  <a:pt x="540" y="242"/>
                  <a:pt x="539" y="242"/>
                </a:cubicBezTo>
                <a:cubicBezTo>
                  <a:pt x="539" y="241"/>
                  <a:pt x="541" y="241"/>
                  <a:pt x="542" y="240"/>
                </a:cubicBezTo>
                <a:close/>
                <a:moveTo>
                  <a:pt x="537" y="195"/>
                </a:moveTo>
                <a:cubicBezTo>
                  <a:pt x="538" y="195"/>
                  <a:pt x="536" y="196"/>
                  <a:pt x="536" y="197"/>
                </a:cubicBezTo>
                <a:cubicBezTo>
                  <a:pt x="535" y="196"/>
                  <a:pt x="537" y="195"/>
                  <a:pt x="537" y="195"/>
                </a:cubicBezTo>
                <a:close/>
                <a:moveTo>
                  <a:pt x="539" y="194"/>
                </a:moveTo>
                <a:cubicBezTo>
                  <a:pt x="538" y="197"/>
                  <a:pt x="536" y="201"/>
                  <a:pt x="534" y="203"/>
                </a:cubicBezTo>
                <a:cubicBezTo>
                  <a:pt x="536" y="200"/>
                  <a:pt x="537" y="197"/>
                  <a:pt x="539" y="194"/>
                </a:cubicBezTo>
                <a:close/>
                <a:moveTo>
                  <a:pt x="534" y="200"/>
                </a:moveTo>
                <a:cubicBezTo>
                  <a:pt x="534" y="200"/>
                  <a:pt x="534" y="200"/>
                  <a:pt x="534" y="200"/>
                </a:cubicBezTo>
                <a:cubicBezTo>
                  <a:pt x="535" y="198"/>
                  <a:pt x="534" y="202"/>
                  <a:pt x="534" y="200"/>
                </a:cubicBezTo>
                <a:close/>
                <a:moveTo>
                  <a:pt x="537" y="244"/>
                </a:moveTo>
                <a:cubicBezTo>
                  <a:pt x="536" y="245"/>
                  <a:pt x="534" y="246"/>
                  <a:pt x="532" y="246"/>
                </a:cubicBezTo>
                <a:cubicBezTo>
                  <a:pt x="533" y="245"/>
                  <a:pt x="535" y="244"/>
                  <a:pt x="537" y="244"/>
                </a:cubicBezTo>
                <a:close/>
                <a:moveTo>
                  <a:pt x="534" y="205"/>
                </a:moveTo>
                <a:cubicBezTo>
                  <a:pt x="534" y="205"/>
                  <a:pt x="533" y="207"/>
                  <a:pt x="533" y="208"/>
                </a:cubicBezTo>
                <a:cubicBezTo>
                  <a:pt x="532" y="207"/>
                  <a:pt x="533" y="205"/>
                  <a:pt x="534" y="205"/>
                </a:cubicBezTo>
                <a:close/>
                <a:moveTo>
                  <a:pt x="533" y="224"/>
                </a:moveTo>
                <a:cubicBezTo>
                  <a:pt x="534" y="223"/>
                  <a:pt x="533" y="226"/>
                  <a:pt x="532" y="226"/>
                </a:cubicBezTo>
                <a:cubicBezTo>
                  <a:pt x="532" y="225"/>
                  <a:pt x="532" y="225"/>
                  <a:pt x="533" y="224"/>
                </a:cubicBezTo>
                <a:close/>
                <a:moveTo>
                  <a:pt x="531" y="209"/>
                </a:moveTo>
                <a:cubicBezTo>
                  <a:pt x="532" y="207"/>
                  <a:pt x="533" y="209"/>
                  <a:pt x="531" y="209"/>
                </a:cubicBezTo>
                <a:close/>
                <a:moveTo>
                  <a:pt x="529" y="302"/>
                </a:moveTo>
                <a:cubicBezTo>
                  <a:pt x="529" y="301"/>
                  <a:pt x="529" y="301"/>
                  <a:pt x="530" y="300"/>
                </a:cubicBezTo>
                <a:cubicBezTo>
                  <a:pt x="532" y="299"/>
                  <a:pt x="531" y="303"/>
                  <a:pt x="529" y="302"/>
                </a:cubicBezTo>
                <a:close/>
                <a:moveTo>
                  <a:pt x="530" y="248"/>
                </a:moveTo>
                <a:cubicBezTo>
                  <a:pt x="529" y="248"/>
                  <a:pt x="529" y="248"/>
                  <a:pt x="529" y="248"/>
                </a:cubicBezTo>
                <a:cubicBezTo>
                  <a:pt x="529" y="248"/>
                  <a:pt x="533" y="246"/>
                  <a:pt x="530" y="248"/>
                </a:cubicBezTo>
                <a:close/>
                <a:moveTo>
                  <a:pt x="527" y="222"/>
                </a:moveTo>
                <a:cubicBezTo>
                  <a:pt x="520" y="225"/>
                  <a:pt x="519" y="215"/>
                  <a:pt x="525" y="213"/>
                </a:cubicBezTo>
                <a:cubicBezTo>
                  <a:pt x="530" y="211"/>
                  <a:pt x="532" y="219"/>
                  <a:pt x="527" y="222"/>
                </a:cubicBezTo>
                <a:close/>
                <a:moveTo>
                  <a:pt x="526" y="189"/>
                </a:moveTo>
                <a:cubicBezTo>
                  <a:pt x="526" y="187"/>
                  <a:pt x="528" y="189"/>
                  <a:pt x="526" y="189"/>
                </a:cubicBezTo>
                <a:close/>
                <a:moveTo>
                  <a:pt x="526" y="180"/>
                </a:moveTo>
                <a:cubicBezTo>
                  <a:pt x="526" y="181"/>
                  <a:pt x="520" y="184"/>
                  <a:pt x="519" y="181"/>
                </a:cubicBezTo>
                <a:cubicBezTo>
                  <a:pt x="518" y="177"/>
                  <a:pt x="527" y="175"/>
                  <a:pt x="526" y="180"/>
                </a:cubicBezTo>
                <a:close/>
                <a:moveTo>
                  <a:pt x="523" y="190"/>
                </a:moveTo>
                <a:cubicBezTo>
                  <a:pt x="524" y="190"/>
                  <a:pt x="524" y="190"/>
                  <a:pt x="524" y="190"/>
                </a:cubicBezTo>
                <a:cubicBezTo>
                  <a:pt x="524" y="192"/>
                  <a:pt x="521" y="189"/>
                  <a:pt x="523" y="190"/>
                </a:cubicBezTo>
                <a:close/>
                <a:moveTo>
                  <a:pt x="520" y="185"/>
                </a:moveTo>
                <a:cubicBezTo>
                  <a:pt x="519" y="184"/>
                  <a:pt x="518" y="186"/>
                  <a:pt x="517" y="186"/>
                </a:cubicBezTo>
                <a:cubicBezTo>
                  <a:pt x="517" y="185"/>
                  <a:pt x="520" y="184"/>
                  <a:pt x="520" y="185"/>
                </a:cubicBezTo>
                <a:close/>
                <a:moveTo>
                  <a:pt x="523" y="197"/>
                </a:moveTo>
                <a:cubicBezTo>
                  <a:pt x="526" y="200"/>
                  <a:pt x="524" y="205"/>
                  <a:pt x="522" y="207"/>
                </a:cubicBezTo>
                <a:cubicBezTo>
                  <a:pt x="520" y="208"/>
                  <a:pt x="517" y="208"/>
                  <a:pt x="515" y="208"/>
                </a:cubicBezTo>
                <a:cubicBezTo>
                  <a:pt x="512" y="209"/>
                  <a:pt x="514" y="209"/>
                  <a:pt x="512" y="207"/>
                </a:cubicBezTo>
                <a:cubicBezTo>
                  <a:pt x="509" y="204"/>
                  <a:pt x="509" y="200"/>
                  <a:pt x="513" y="200"/>
                </a:cubicBezTo>
                <a:cubicBezTo>
                  <a:pt x="512" y="206"/>
                  <a:pt x="514" y="198"/>
                  <a:pt x="515" y="197"/>
                </a:cubicBezTo>
                <a:cubicBezTo>
                  <a:pt x="516" y="197"/>
                  <a:pt x="521" y="196"/>
                  <a:pt x="523" y="197"/>
                </a:cubicBezTo>
                <a:close/>
                <a:moveTo>
                  <a:pt x="511" y="195"/>
                </a:moveTo>
                <a:cubicBezTo>
                  <a:pt x="512" y="196"/>
                  <a:pt x="509" y="196"/>
                  <a:pt x="509" y="195"/>
                </a:cubicBezTo>
                <a:cubicBezTo>
                  <a:pt x="510" y="194"/>
                  <a:pt x="511" y="194"/>
                  <a:pt x="511" y="195"/>
                </a:cubicBezTo>
                <a:close/>
                <a:moveTo>
                  <a:pt x="516" y="196"/>
                </a:moveTo>
                <a:cubicBezTo>
                  <a:pt x="515" y="196"/>
                  <a:pt x="509" y="201"/>
                  <a:pt x="508" y="199"/>
                </a:cubicBezTo>
                <a:cubicBezTo>
                  <a:pt x="508" y="198"/>
                  <a:pt x="514" y="195"/>
                  <a:pt x="516" y="196"/>
                </a:cubicBezTo>
                <a:close/>
                <a:moveTo>
                  <a:pt x="509" y="183"/>
                </a:moveTo>
                <a:cubicBezTo>
                  <a:pt x="510" y="184"/>
                  <a:pt x="507" y="185"/>
                  <a:pt x="507" y="184"/>
                </a:cubicBezTo>
                <a:cubicBezTo>
                  <a:pt x="506" y="183"/>
                  <a:pt x="509" y="183"/>
                  <a:pt x="509" y="183"/>
                </a:cubicBezTo>
                <a:close/>
                <a:moveTo>
                  <a:pt x="506" y="199"/>
                </a:moveTo>
                <a:cubicBezTo>
                  <a:pt x="509" y="197"/>
                  <a:pt x="509" y="203"/>
                  <a:pt x="506" y="202"/>
                </a:cubicBezTo>
                <a:cubicBezTo>
                  <a:pt x="505" y="201"/>
                  <a:pt x="506" y="199"/>
                  <a:pt x="506" y="199"/>
                </a:cubicBezTo>
                <a:close/>
                <a:moveTo>
                  <a:pt x="506" y="261"/>
                </a:moveTo>
                <a:cubicBezTo>
                  <a:pt x="508" y="260"/>
                  <a:pt x="505" y="263"/>
                  <a:pt x="506" y="262"/>
                </a:cubicBezTo>
                <a:cubicBezTo>
                  <a:pt x="506" y="261"/>
                  <a:pt x="506" y="261"/>
                  <a:pt x="506" y="261"/>
                </a:cubicBezTo>
                <a:close/>
                <a:moveTo>
                  <a:pt x="508" y="279"/>
                </a:moveTo>
                <a:cubicBezTo>
                  <a:pt x="508" y="281"/>
                  <a:pt x="504" y="283"/>
                  <a:pt x="503" y="281"/>
                </a:cubicBezTo>
                <a:cubicBezTo>
                  <a:pt x="502" y="280"/>
                  <a:pt x="507" y="277"/>
                  <a:pt x="508" y="279"/>
                </a:cubicBezTo>
                <a:close/>
                <a:moveTo>
                  <a:pt x="502" y="609"/>
                </a:moveTo>
                <a:cubicBezTo>
                  <a:pt x="502" y="607"/>
                  <a:pt x="504" y="608"/>
                  <a:pt x="502" y="609"/>
                </a:cubicBezTo>
                <a:close/>
                <a:moveTo>
                  <a:pt x="503" y="283"/>
                </a:moveTo>
                <a:cubicBezTo>
                  <a:pt x="503" y="282"/>
                  <a:pt x="502" y="284"/>
                  <a:pt x="503" y="283"/>
                </a:cubicBezTo>
                <a:close/>
                <a:moveTo>
                  <a:pt x="502" y="173"/>
                </a:moveTo>
                <a:cubicBezTo>
                  <a:pt x="503" y="174"/>
                  <a:pt x="502" y="175"/>
                  <a:pt x="501" y="174"/>
                </a:cubicBezTo>
                <a:cubicBezTo>
                  <a:pt x="501" y="174"/>
                  <a:pt x="502" y="174"/>
                  <a:pt x="502" y="173"/>
                </a:cubicBezTo>
                <a:close/>
                <a:moveTo>
                  <a:pt x="501" y="129"/>
                </a:moveTo>
                <a:cubicBezTo>
                  <a:pt x="501" y="129"/>
                  <a:pt x="501" y="129"/>
                  <a:pt x="501" y="129"/>
                </a:cubicBezTo>
                <a:cubicBezTo>
                  <a:pt x="502" y="131"/>
                  <a:pt x="499" y="127"/>
                  <a:pt x="501" y="129"/>
                </a:cubicBezTo>
                <a:close/>
                <a:moveTo>
                  <a:pt x="503" y="177"/>
                </a:moveTo>
                <a:cubicBezTo>
                  <a:pt x="503" y="178"/>
                  <a:pt x="500" y="178"/>
                  <a:pt x="500" y="177"/>
                </a:cubicBezTo>
                <a:cubicBezTo>
                  <a:pt x="500" y="176"/>
                  <a:pt x="503" y="175"/>
                  <a:pt x="503" y="177"/>
                </a:cubicBezTo>
                <a:close/>
                <a:moveTo>
                  <a:pt x="501" y="214"/>
                </a:moveTo>
                <a:cubicBezTo>
                  <a:pt x="502" y="214"/>
                  <a:pt x="500" y="216"/>
                  <a:pt x="500" y="216"/>
                </a:cubicBezTo>
                <a:cubicBezTo>
                  <a:pt x="499" y="215"/>
                  <a:pt x="500" y="213"/>
                  <a:pt x="501" y="214"/>
                </a:cubicBezTo>
                <a:close/>
                <a:moveTo>
                  <a:pt x="499" y="175"/>
                </a:moveTo>
                <a:cubicBezTo>
                  <a:pt x="499" y="175"/>
                  <a:pt x="499" y="175"/>
                  <a:pt x="498" y="175"/>
                </a:cubicBezTo>
                <a:cubicBezTo>
                  <a:pt x="498" y="175"/>
                  <a:pt x="498" y="175"/>
                  <a:pt x="498" y="175"/>
                </a:cubicBezTo>
                <a:cubicBezTo>
                  <a:pt x="498" y="175"/>
                  <a:pt x="499" y="175"/>
                  <a:pt x="499" y="175"/>
                </a:cubicBezTo>
                <a:close/>
                <a:moveTo>
                  <a:pt x="499" y="241"/>
                </a:moveTo>
                <a:cubicBezTo>
                  <a:pt x="500" y="241"/>
                  <a:pt x="498" y="242"/>
                  <a:pt x="498" y="241"/>
                </a:cubicBezTo>
                <a:cubicBezTo>
                  <a:pt x="498" y="240"/>
                  <a:pt x="499" y="241"/>
                  <a:pt x="499" y="241"/>
                </a:cubicBezTo>
                <a:close/>
                <a:moveTo>
                  <a:pt x="498" y="123"/>
                </a:moveTo>
                <a:cubicBezTo>
                  <a:pt x="499" y="123"/>
                  <a:pt x="497" y="125"/>
                  <a:pt x="497" y="124"/>
                </a:cubicBezTo>
                <a:cubicBezTo>
                  <a:pt x="497" y="124"/>
                  <a:pt x="498" y="123"/>
                  <a:pt x="498" y="123"/>
                </a:cubicBezTo>
                <a:close/>
                <a:moveTo>
                  <a:pt x="498" y="150"/>
                </a:moveTo>
                <a:cubicBezTo>
                  <a:pt x="498" y="151"/>
                  <a:pt x="497" y="152"/>
                  <a:pt x="496" y="151"/>
                </a:cubicBezTo>
                <a:cubicBezTo>
                  <a:pt x="496" y="150"/>
                  <a:pt x="498" y="150"/>
                  <a:pt x="498" y="150"/>
                </a:cubicBezTo>
                <a:close/>
                <a:moveTo>
                  <a:pt x="498" y="170"/>
                </a:moveTo>
                <a:cubicBezTo>
                  <a:pt x="498" y="172"/>
                  <a:pt x="494" y="171"/>
                  <a:pt x="494" y="170"/>
                </a:cubicBezTo>
                <a:cubicBezTo>
                  <a:pt x="494" y="168"/>
                  <a:pt x="497" y="168"/>
                  <a:pt x="498" y="170"/>
                </a:cubicBezTo>
                <a:close/>
                <a:moveTo>
                  <a:pt x="494" y="124"/>
                </a:moveTo>
                <a:cubicBezTo>
                  <a:pt x="494" y="124"/>
                  <a:pt x="493" y="125"/>
                  <a:pt x="492" y="125"/>
                </a:cubicBezTo>
                <a:cubicBezTo>
                  <a:pt x="492" y="124"/>
                  <a:pt x="493" y="124"/>
                  <a:pt x="494" y="124"/>
                </a:cubicBezTo>
                <a:close/>
                <a:moveTo>
                  <a:pt x="493" y="162"/>
                </a:moveTo>
                <a:cubicBezTo>
                  <a:pt x="494" y="163"/>
                  <a:pt x="493" y="164"/>
                  <a:pt x="492" y="163"/>
                </a:cubicBezTo>
                <a:cubicBezTo>
                  <a:pt x="492" y="163"/>
                  <a:pt x="493" y="162"/>
                  <a:pt x="493" y="162"/>
                </a:cubicBezTo>
                <a:close/>
                <a:moveTo>
                  <a:pt x="493" y="158"/>
                </a:moveTo>
                <a:cubicBezTo>
                  <a:pt x="494" y="160"/>
                  <a:pt x="493" y="157"/>
                  <a:pt x="493" y="158"/>
                </a:cubicBezTo>
                <a:close/>
                <a:moveTo>
                  <a:pt x="493" y="168"/>
                </a:moveTo>
                <a:cubicBezTo>
                  <a:pt x="493" y="170"/>
                  <a:pt x="491" y="169"/>
                  <a:pt x="493" y="168"/>
                </a:cubicBezTo>
                <a:close/>
                <a:moveTo>
                  <a:pt x="491" y="160"/>
                </a:moveTo>
                <a:cubicBezTo>
                  <a:pt x="492" y="161"/>
                  <a:pt x="490" y="162"/>
                  <a:pt x="490" y="161"/>
                </a:cubicBezTo>
                <a:cubicBezTo>
                  <a:pt x="491" y="160"/>
                  <a:pt x="491" y="160"/>
                  <a:pt x="491" y="160"/>
                </a:cubicBezTo>
                <a:close/>
                <a:moveTo>
                  <a:pt x="491" y="132"/>
                </a:moveTo>
                <a:cubicBezTo>
                  <a:pt x="492" y="134"/>
                  <a:pt x="488" y="133"/>
                  <a:pt x="488" y="132"/>
                </a:cubicBezTo>
                <a:cubicBezTo>
                  <a:pt x="488" y="131"/>
                  <a:pt x="491" y="131"/>
                  <a:pt x="491" y="132"/>
                </a:cubicBezTo>
                <a:close/>
                <a:moveTo>
                  <a:pt x="486" y="205"/>
                </a:moveTo>
                <a:cubicBezTo>
                  <a:pt x="487" y="204"/>
                  <a:pt x="488" y="204"/>
                  <a:pt x="488" y="205"/>
                </a:cubicBezTo>
                <a:cubicBezTo>
                  <a:pt x="488" y="205"/>
                  <a:pt x="489" y="205"/>
                  <a:pt x="490" y="205"/>
                </a:cubicBezTo>
                <a:cubicBezTo>
                  <a:pt x="491" y="204"/>
                  <a:pt x="496" y="198"/>
                  <a:pt x="497" y="199"/>
                </a:cubicBezTo>
                <a:cubicBezTo>
                  <a:pt x="499" y="201"/>
                  <a:pt x="490" y="206"/>
                  <a:pt x="489" y="206"/>
                </a:cubicBezTo>
                <a:cubicBezTo>
                  <a:pt x="488" y="207"/>
                  <a:pt x="487" y="208"/>
                  <a:pt x="486" y="207"/>
                </a:cubicBezTo>
                <a:cubicBezTo>
                  <a:pt x="486" y="207"/>
                  <a:pt x="486" y="207"/>
                  <a:pt x="486" y="207"/>
                </a:cubicBezTo>
                <a:cubicBezTo>
                  <a:pt x="486" y="207"/>
                  <a:pt x="486" y="207"/>
                  <a:pt x="486" y="207"/>
                </a:cubicBezTo>
                <a:cubicBezTo>
                  <a:pt x="485" y="206"/>
                  <a:pt x="486" y="205"/>
                  <a:pt x="486" y="205"/>
                </a:cubicBezTo>
                <a:close/>
                <a:moveTo>
                  <a:pt x="486" y="209"/>
                </a:moveTo>
                <a:cubicBezTo>
                  <a:pt x="487" y="210"/>
                  <a:pt x="485" y="210"/>
                  <a:pt x="485" y="210"/>
                </a:cubicBezTo>
                <a:cubicBezTo>
                  <a:pt x="485" y="209"/>
                  <a:pt x="486" y="209"/>
                  <a:pt x="486" y="209"/>
                </a:cubicBezTo>
                <a:close/>
                <a:moveTo>
                  <a:pt x="486" y="141"/>
                </a:moveTo>
                <a:cubicBezTo>
                  <a:pt x="486" y="142"/>
                  <a:pt x="483" y="142"/>
                  <a:pt x="483" y="141"/>
                </a:cubicBezTo>
                <a:cubicBezTo>
                  <a:pt x="483" y="141"/>
                  <a:pt x="485" y="140"/>
                  <a:pt x="486" y="141"/>
                </a:cubicBezTo>
                <a:close/>
                <a:moveTo>
                  <a:pt x="484" y="149"/>
                </a:moveTo>
                <a:cubicBezTo>
                  <a:pt x="485" y="149"/>
                  <a:pt x="483" y="151"/>
                  <a:pt x="483" y="149"/>
                </a:cubicBezTo>
                <a:cubicBezTo>
                  <a:pt x="483" y="149"/>
                  <a:pt x="483" y="149"/>
                  <a:pt x="484" y="149"/>
                </a:cubicBezTo>
                <a:close/>
                <a:moveTo>
                  <a:pt x="496" y="76"/>
                </a:moveTo>
                <a:cubicBezTo>
                  <a:pt x="496" y="76"/>
                  <a:pt x="496" y="76"/>
                  <a:pt x="496" y="76"/>
                </a:cubicBezTo>
                <a:cubicBezTo>
                  <a:pt x="496" y="77"/>
                  <a:pt x="496" y="77"/>
                  <a:pt x="496" y="76"/>
                </a:cubicBezTo>
                <a:close/>
                <a:moveTo>
                  <a:pt x="496" y="76"/>
                </a:moveTo>
                <a:cubicBezTo>
                  <a:pt x="495" y="76"/>
                  <a:pt x="495" y="76"/>
                  <a:pt x="496" y="76"/>
                </a:cubicBezTo>
                <a:close/>
                <a:moveTo>
                  <a:pt x="496" y="79"/>
                </a:moveTo>
                <a:cubicBezTo>
                  <a:pt x="496" y="79"/>
                  <a:pt x="495" y="79"/>
                  <a:pt x="494" y="79"/>
                </a:cubicBezTo>
                <a:cubicBezTo>
                  <a:pt x="494" y="79"/>
                  <a:pt x="495" y="78"/>
                  <a:pt x="496" y="79"/>
                </a:cubicBezTo>
                <a:close/>
                <a:moveTo>
                  <a:pt x="493" y="77"/>
                </a:moveTo>
                <a:cubicBezTo>
                  <a:pt x="493" y="78"/>
                  <a:pt x="492" y="78"/>
                  <a:pt x="492" y="78"/>
                </a:cubicBezTo>
                <a:cubicBezTo>
                  <a:pt x="492" y="78"/>
                  <a:pt x="491" y="76"/>
                  <a:pt x="491" y="76"/>
                </a:cubicBezTo>
                <a:cubicBezTo>
                  <a:pt x="491" y="75"/>
                  <a:pt x="493" y="75"/>
                  <a:pt x="493" y="77"/>
                </a:cubicBezTo>
                <a:close/>
                <a:moveTo>
                  <a:pt x="486" y="82"/>
                </a:moveTo>
                <a:cubicBezTo>
                  <a:pt x="487" y="83"/>
                  <a:pt x="485" y="83"/>
                  <a:pt x="485" y="82"/>
                </a:cubicBezTo>
                <a:cubicBezTo>
                  <a:pt x="485" y="82"/>
                  <a:pt x="486" y="82"/>
                  <a:pt x="486" y="82"/>
                </a:cubicBezTo>
                <a:close/>
                <a:moveTo>
                  <a:pt x="486" y="85"/>
                </a:moveTo>
                <a:cubicBezTo>
                  <a:pt x="485" y="85"/>
                  <a:pt x="484" y="86"/>
                  <a:pt x="484" y="85"/>
                </a:cubicBezTo>
                <a:cubicBezTo>
                  <a:pt x="485" y="85"/>
                  <a:pt x="488" y="81"/>
                  <a:pt x="491" y="81"/>
                </a:cubicBezTo>
                <a:cubicBezTo>
                  <a:pt x="492" y="81"/>
                  <a:pt x="495" y="82"/>
                  <a:pt x="495" y="85"/>
                </a:cubicBezTo>
                <a:cubicBezTo>
                  <a:pt x="494" y="87"/>
                  <a:pt x="490" y="89"/>
                  <a:pt x="488" y="89"/>
                </a:cubicBezTo>
                <a:cubicBezTo>
                  <a:pt x="487" y="89"/>
                  <a:pt x="486" y="88"/>
                  <a:pt x="485" y="88"/>
                </a:cubicBezTo>
                <a:cubicBezTo>
                  <a:pt x="485" y="88"/>
                  <a:pt x="484" y="89"/>
                  <a:pt x="484" y="88"/>
                </a:cubicBezTo>
                <a:cubicBezTo>
                  <a:pt x="484" y="87"/>
                  <a:pt x="486" y="86"/>
                  <a:pt x="486" y="85"/>
                </a:cubicBezTo>
                <a:close/>
                <a:moveTo>
                  <a:pt x="480" y="84"/>
                </a:moveTo>
                <a:cubicBezTo>
                  <a:pt x="481" y="85"/>
                  <a:pt x="479" y="83"/>
                  <a:pt x="480" y="84"/>
                </a:cubicBezTo>
                <a:close/>
                <a:moveTo>
                  <a:pt x="481" y="85"/>
                </a:moveTo>
                <a:cubicBezTo>
                  <a:pt x="481" y="85"/>
                  <a:pt x="481" y="85"/>
                  <a:pt x="481" y="85"/>
                </a:cubicBezTo>
                <a:cubicBezTo>
                  <a:pt x="481" y="85"/>
                  <a:pt x="480" y="85"/>
                  <a:pt x="480" y="85"/>
                </a:cubicBezTo>
                <a:cubicBezTo>
                  <a:pt x="481" y="85"/>
                  <a:pt x="481" y="85"/>
                  <a:pt x="481" y="85"/>
                </a:cubicBezTo>
                <a:close/>
                <a:moveTo>
                  <a:pt x="480" y="100"/>
                </a:moveTo>
                <a:cubicBezTo>
                  <a:pt x="479" y="100"/>
                  <a:pt x="481" y="99"/>
                  <a:pt x="482" y="99"/>
                </a:cubicBezTo>
                <a:cubicBezTo>
                  <a:pt x="482" y="100"/>
                  <a:pt x="480" y="100"/>
                  <a:pt x="480" y="100"/>
                </a:cubicBezTo>
                <a:close/>
                <a:moveTo>
                  <a:pt x="481" y="72"/>
                </a:moveTo>
                <a:cubicBezTo>
                  <a:pt x="484" y="71"/>
                  <a:pt x="482" y="77"/>
                  <a:pt x="479" y="75"/>
                </a:cubicBezTo>
                <a:cubicBezTo>
                  <a:pt x="478" y="74"/>
                  <a:pt x="480" y="73"/>
                  <a:pt x="481" y="72"/>
                </a:cubicBezTo>
                <a:close/>
                <a:moveTo>
                  <a:pt x="492" y="60"/>
                </a:moveTo>
                <a:cubicBezTo>
                  <a:pt x="491" y="62"/>
                  <a:pt x="490" y="60"/>
                  <a:pt x="492" y="60"/>
                </a:cubicBezTo>
                <a:close/>
                <a:moveTo>
                  <a:pt x="487" y="59"/>
                </a:moveTo>
                <a:cubicBezTo>
                  <a:pt x="486" y="60"/>
                  <a:pt x="485" y="60"/>
                  <a:pt x="483" y="60"/>
                </a:cubicBezTo>
                <a:cubicBezTo>
                  <a:pt x="485" y="60"/>
                  <a:pt x="485" y="58"/>
                  <a:pt x="487" y="59"/>
                </a:cubicBezTo>
                <a:close/>
                <a:moveTo>
                  <a:pt x="479" y="61"/>
                </a:moveTo>
                <a:cubicBezTo>
                  <a:pt x="480" y="61"/>
                  <a:pt x="478" y="62"/>
                  <a:pt x="477" y="61"/>
                </a:cubicBezTo>
                <a:cubicBezTo>
                  <a:pt x="477" y="61"/>
                  <a:pt x="479" y="61"/>
                  <a:pt x="479" y="61"/>
                </a:cubicBezTo>
                <a:close/>
                <a:moveTo>
                  <a:pt x="477" y="61"/>
                </a:moveTo>
                <a:cubicBezTo>
                  <a:pt x="477" y="62"/>
                  <a:pt x="475" y="61"/>
                  <a:pt x="475" y="61"/>
                </a:cubicBezTo>
                <a:cubicBezTo>
                  <a:pt x="475" y="61"/>
                  <a:pt x="476" y="60"/>
                  <a:pt x="477" y="61"/>
                </a:cubicBezTo>
                <a:close/>
                <a:moveTo>
                  <a:pt x="465" y="20"/>
                </a:moveTo>
                <a:cubicBezTo>
                  <a:pt x="465" y="20"/>
                  <a:pt x="464" y="21"/>
                  <a:pt x="463" y="20"/>
                </a:cubicBezTo>
                <a:cubicBezTo>
                  <a:pt x="463" y="20"/>
                  <a:pt x="464" y="19"/>
                  <a:pt x="465" y="20"/>
                </a:cubicBezTo>
                <a:close/>
                <a:moveTo>
                  <a:pt x="465" y="23"/>
                </a:moveTo>
                <a:cubicBezTo>
                  <a:pt x="465" y="24"/>
                  <a:pt x="463" y="23"/>
                  <a:pt x="463" y="23"/>
                </a:cubicBezTo>
                <a:cubicBezTo>
                  <a:pt x="463" y="22"/>
                  <a:pt x="464" y="21"/>
                  <a:pt x="465" y="23"/>
                </a:cubicBezTo>
                <a:close/>
                <a:moveTo>
                  <a:pt x="399" y="26"/>
                </a:moveTo>
                <a:cubicBezTo>
                  <a:pt x="399" y="26"/>
                  <a:pt x="399" y="26"/>
                  <a:pt x="399" y="27"/>
                </a:cubicBezTo>
                <a:cubicBezTo>
                  <a:pt x="399" y="27"/>
                  <a:pt x="399" y="27"/>
                  <a:pt x="399" y="27"/>
                </a:cubicBezTo>
                <a:cubicBezTo>
                  <a:pt x="399" y="27"/>
                  <a:pt x="399" y="26"/>
                  <a:pt x="399" y="26"/>
                </a:cubicBezTo>
                <a:close/>
                <a:moveTo>
                  <a:pt x="257" y="435"/>
                </a:moveTo>
                <a:cubicBezTo>
                  <a:pt x="258" y="436"/>
                  <a:pt x="257" y="438"/>
                  <a:pt x="257" y="438"/>
                </a:cubicBezTo>
                <a:cubicBezTo>
                  <a:pt x="255" y="439"/>
                  <a:pt x="255" y="434"/>
                  <a:pt x="257" y="435"/>
                </a:cubicBezTo>
                <a:close/>
                <a:moveTo>
                  <a:pt x="258" y="487"/>
                </a:moveTo>
                <a:cubicBezTo>
                  <a:pt x="256" y="488"/>
                  <a:pt x="257" y="484"/>
                  <a:pt x="258" y="485"/>
                </a:cubicBezTo>
                <a:cubicBezTo>
                  <a:pt x="259" y="485"/>
                  <a:pt x="258" y="486"/>
                  <a:pt x="258" y="487"/>
                </a:cubicBezTo>
                <a:close/>
                <a:moveTo>
                  <a:pt x="256" y="404"/>
                </a:moveTo>
                <a:cubicBezTo>
                  <a:pt x="256" y="404"/>
                  <a:pt x="256" y="398"/>
                  <a:pt x="259" y="399"/>
                </a:cubicBezTo>
                <a:cubicBezTo>
                  <a:pt x="260" y="399"/>
                  <a:pt x="259" y="405"/>
                  <a:pt x="256" y="404"/>
                </a:cubicBezTo>
                <a:close/>
                <a:moveTo>
                  <a:pt x="259" y="383"/>
                </a:moveTo>
                <a:cubicBezTo>
                  <a:pt x="258" y="384"/>
                  <a:pt x="260" y="381"/>
                  <a:pt x="259" y="383"/>
                </a:cubicBezTo>
                <a:close/>
                <a:moveTo>
                  <a:pt x="261" y="493"/>
                </a:moveTo>
                <a:cubicBezTo>
                  <a:pt x="262" y="491"/>
                  <a:pt x="264" y="489"/>
                  <a:pt x="266" y="488"/>
                </a:cubicBezTo>
                <a:cubicBezTo>
                  <a:pt x="265" y="490"/>
                  <a:pt x="263" y="491"/>
                  <a:pt x="261" y="493"/>
                </a:cubicBezTo>
                <a:close/>
                <a:moveTo>
                  <a:pt x="266" y="444"/>
                </a:moveTo>
                <a:cubicBezTo>
                  <a:pt x="265" y="443"/>
                  <a:pt x="267" y="443"/>
                  <a:pt x="266" y="444"/>
                </a:cubicBezTo>
                <a:close/>
                <a:moveTo>
                  <a:pt x="267" y="501"/>
                </a:moveTo>
                <a:cubicBezTo>
                  <a:pt x="267" y="502"/>
                  <a:pt x="269" y="500"/>
                  <a:pt x="267" y="501"/>
                </a:cubicBezTo>
                <a:close/>
                <a:moveTo>
                  <a:pt x="268" y="477"/>
                </a:moveTo>
                <a:cubicBezTo>
                  <a:pt x="267" y="476"/>
                  <a:pt x="270" y="476"/>
                  <a:pt x="268" y="477"/>
                </a:cubicBezTo>
                <a:close/>
                <a:moveTo>
                  <a:pt x="269" y="453"/>
                </a:moveTo>
                <a:cubicBezTo>
                  <a:pt x="269" y="454"/>
                  <a:pt x="269" y="454"/>
                  <a:pt x="269" y="454"/>
                </a:cubicBezTo>
                <a:cubicBezTo>
                  <a:pt x="269" y="454"/>
                  <a:pt x="269" y="453"/>
                  <a:pt x="269" y="453"/>
                </a:cubicBezTo>
                <a:cubicBezTo>
                  <a:pt x="269" y="453"/>
                  <a:pt x="269" y="453"/>
                  <a:pt x="269" y="453"/>
                </a:cubicBezTo>
                <a:close/>
                <a:moveTo>
                  <a:pt x="282" y="413"/>
                </a:moveTo>
                <a:cubicBezTo>
                  <a:pt x="281" y="414"/>
                  <a:pt x="282" y="410"/>
                  <a:pt x="283" y="411"/>
                </a:cubicBezTo>
                <a:cubicBezTo>
                  <a:pt x="284" y="412"/>
                  <a:pt x="283" y="413"/>
                  <a:pt x="282" y="413"/>
                </a:cubicBezTo>
                <a:close/>
                <a:moveTo>
                  <a:pt x="287" y="477"/>
                </a:moveTo>
                <a:cubicBezTo>
                  <a:pt x="289" y="477"/>
                  <a:pt x="288" y="482"/>
                  <a:pt x="287" y="483"/>
                </a:cubicBezTo>
                <a:cubicBezTo>
                  <a:pt x="282" y="485"/>
                  <a:pt x="287" y="477"/>
                  <a:pt x="287" y="477"/>
                </a:cubicBezTo>
                <a:close/>
                <a:moveTo>
                  <a:pt x="288" y="462"/>
                </a:moveTo>
                <a:cubicBezTo>
                  <a:pt x="288" y="462"/>
                  <a:pt x="287" y="462"/>
                  <a:pt x="287" y="462"/>
                </a:cubicBezTo>
                <a:cubicBezTo>
                  <a:pt x="285" y="460"/>
                  <a:pt x="290" y="460"/>
                  <a:pt x="288" y="462"/>
                </a:cubicBezTo>
                <a:close/>
                <a:moveTo>
                  <a:pt x="285" y="506"/>
                </a:moveTo>
                <a:cubicBezTo>
                  <a:pt x="286" y="505"/>
                  <a:pt x="284" y="507"/>
                  <a:pt x="285" y="506"/>
                </a:cubicBezTo>
                <a:close/>
                <a:moveTo>
                  <a:pt x="287" y="507"/>
                </a:moveTo>
                <a:cubicBezTo>
                  <a:pt x="287" y="507"/>
                  <a:pt x="286" y="507"/>
                  <a:pt x="286" y="507"/>
                </a:cubicBezTo>
                <a:cubicBezTo>
                  <a:pt x="284" y="505"/>
                  <a:pt x="289" y="504"/>
                  <a:pt x="287" y="507"/>
                </a:cubicBezTo>
                <a:close/>
                <a:moveTo>
                  <a:pt x="285" y="500"/>
                </a:moveTo>
                <a:cubicBezTo>
                  <a:pt x="280" y="502"/>
                  <a:pt x="285" y="493"/>
                  <a:pt x="288" y="495"/>
                </a:cubicBezTo>
                <a:cubicBezTo>
                  <a:pt x="289" y="496"/>
                  <a:pt x="286" y="500"/>
                  <a:pt x="285" y="500"/>
                </a:cubicBezTo>
                <a:close/>
                <a:moveTo>
                  <a:pt x="288" y="508"/>
                </a:moveTo>
                <a:cubicBezTo>
                  <a:pt x="287" y="509"/>
                  <a:pt x="291" y="507"/>
                  <a:pt x="288" y="508"/>
                </a:cubicBezTo>
                <a:close/>
                <a:moveTo>
                  <a:pt x="288" y="493"/>
                </a:moveTo>
                <a:cubicBezTo>
                  <a:pt x="287" y="493"/>
                  <a:pt x="287" y="490"/>
                  <a:pt x="289" y="490"/>
                </a:cubicBezTo>
                <a:cubicBezTo>
                  <a:pt x="290" y="491"/>
                  <a:pt x="289" y="492"/>
                  <a:pt x="288" y="493"/>
                </a:cubicBezTo>
                <a:close/>
                <a:moveTo>
                  <a:pt x="292" y="519"/>
                </a:moveTo>
                <a:cubicBezTo>
                  <a:pt x="291" y="518"/>
                  <a:pt x="293" y="517"/>
                  <a:pt x="292" y="519"/>
                </a:cubicBezTo>
                <a:close/>
                <a:moveTo>
                  <a:pt x="293" y="504"/>
                </a:moveTo>
                <a:cubicBezTo>
                  <a:pt x="292" y="503"/>
                  <a:pt x="294" y="503"/>
                  <a:pt x="294" y="502"/>
                </a:cubicBezTo>
                <a:cubicBezTo>
                  <a:pt x="294" y="503"/>
                  <a:pt x="293" y="503"/>
                  <a:pt x="293" y="504"/>
                </a:cubicBezTo>
                <a:close/>
                <a:moveTo>
                  <a:pt x="294" y="459"/>
                </a:moveTo>
                <a:cubicBezTo>
                  <a:pt x="293" y="460"/>
                  <a:pt x="294" y="457"/>
                  <a:pt x="295" y="458"/>
                </a:cubicBezTo>
                <a:cubicBezTo>
                  <a:pt x="295" y="459"/>
                  <a:pt x="294" y="459"/>
                  <a:pt x="294" y="459"/>
                </a:cubicBezTo>
                <a:close/>
                <a:moveTo>
                  <a:pt x="295" y="475"/>
                </a:moveTo>
                <a:cubicBezTo>
                  <a:pt x="295" y="474"/>
                  <a:pt x="297" y="475"/>
                  <a:pt x="295" y="475"/>
                </a:cubicBezTo>
                <a:close/>
                <a:moveTo>
                  <a:pt x="296" y="389"/>
                </a:moveTo>
                <a:cubicBezTo>
                  <a:pt x="295" y="387"/>
                  <a:pt x="298" y="387"/>
                  <a:pt x="296" y="389"/>
                </a:cubicBezTo>
                <a:close/>
                <a:moveTo>
                  <a:pt x="297" y="482"/>
                </a:moveTo>
                <a:cubicBezTo>
                  <a:pt x="297" y="483"/>
                  <a:pt x="297" y="480"/>
                  <a:pt x="297" y="482"/>
                </a:cubicBezTo>
                <a:close/>
                <a:moveTo>
                  <a:pt x="298" y="393"/>
                </a:moveTo>
                <a:cubicBezTo>
                  <a:pt x="298" y="393"/>
                  <a:pt x="298" y="392"/>
                  <a:pt x="298" y="393"/>
                </a:cubicBezTo>
                <a:close/>
                <a:moveTo>
                  <a:pt x="300" y="448"/>
                </a:moveTo>
                <a:cubicBezTo>
                  <a:pt x="301" y="448"/>
                  <a:pt x="300" y="449"/>
                  <a:pt x="300" y="449"/>
                </a:cubicBezTo>
                <a:cubicBezTo>
                  <a:pt x="299" y="450"/>
                  <a:pt x="299" y="447"/>
                  <a:pt x="300" y="448"/>
                </a:cubicBezTo>
                <a:close/>
                <a:moveTo>
                  <a:pt x="301" y="127"/>
                </a:moveTo>
                <a:cubicBezTo>
                  <a:pt x="300" y="127"/>
                  <a:pt x="300" y="127"/>
                  <a:pt x="300" y="127"/>
                </a:cubicBezTo>
                <a:cubicBezTo>
                  <a:pt x="299" y="127"/>
                  <a:pt x="301" y="126"/>
                  <a:pt x="301" y="127"/>
                </a:cubicBezTo>
                <a:close/>
                <a:moveTo>
                  <a:pt x="300" y="462"/>
                </a:moveTo>
                <a:cubicBezTo>
                  <a:pt x="301" y="462"/>
                  <a:pt x="301" y="461"/>
                  <a:pt x="301" y="462"/>
                </a:cubicBezTo>
                <a:cubicBezTo>
                  <a:pt x="300" y="462"/>
                  <a:pt x="300" y="462"/>
                  <a:pt x="300" y="462"/>
                </a:cubicBezTo>
                <a:close/>
                <a:moveTo>
                  <a:pt x="303" y="496"/>
                </a:moveTo>
                <a:cubicBezTo>
                  <a:pt x="303" y="496"/>
                  <a:pt x="302" y="496"/>
                  <a:pt x="302" y="496"/>
                </a:cubicBezTo>
                <a:cubicBezTo>
                  <a:pt x="298" y="496"/>
                  <a:pt x="304" y="492"/>
                  <a:pt x="303" y="496"/>
                </a:cubicBezTo>
                <a:close/>
                <a:moveTo>
                  <a:pt x="303" y="498"/>
                </a:moveTo>
                <a:cubicBezTo>
                  <a:pt x="302" y="499"/>
                  <a:pt x="304" y="497"/>
                  <a:pt x="303" y="498"/>
                </a:cubicBezTo>
                <a:close/>
                <a:moveTo>
                  <a:pt x="301" y="479"/>
                </a:moveTo>
                <a:cubicBezTo>
                  <a:pt x="304" y="475"/>
                  <a:pt x="308" y="472"/>
                  <a:pt x="312" y="469"/>
                </a:cubicBezTo>
                <a:cubicBezTo>
                  <a:pt x="309" y="472"/>
                  <a:pt x="306" y="477"/>
                  <a:pt x="301" y="479"/>
                </a:cubicBezTo>
                <a:close/>
                <a:moveTo>
                  <a:pt x="313" y="159"/>
                </a:moveTo>
                <a:cubicBezTo>
                  <a:pt x="314" y="159"/>
                  <a:pt x="310" y="162"/>
                  <a:pt x="308" y="162"/>
                </a:cubicBezTo>
                <a:cubicBezTo>
                  <a:pt x="308" y="162"/>
                  <a:pt x="304" y="161"/>
                  <a:pt x="304" y="160"/>
                </a:cubicBezTo>
                <a:cubicBezTo>
                  <a:pt x="304" y="159"/>
                  <a:pt x="308" y="157"/>
                  <a:pt x="310" y="159"/>
                </a:cubicBezTo>
                <a:cubicBezTo>
                  <a:pt x="310" y="159"/>
                  <a:pt x="310" y="160"/>
                  <a:pt x="310" y="160"/>
                </a:cubicBezTo>
                <a:cubicBezTo>
                  <a:pt x="311" y="161"/>
                  <a:pt x="312" y="159"/>
                  <a:pt x="313" y="159"/>
                </a:cubicBezTo>
                <a:close/>
                <a:moveTo>
                  <a:pt x="312" y="488"/>
                </a:moveTo>
                <a:cubicBezTo>
                  <a:pt x="313" y="487"/>
                  <a:pt x="312" y="489"/>
                  <a:pt x="311" y="489"/>
                </a:cubicBezTo>
                <a:cubicBezTo>
                  <a:pt x="311" y="489"/>
                  <a:pt x="311" y="488"/>
                  <a:pt x="312" y="488"/>
                </a:cubicBezTo>
                <a:close/>
                <a:moveTo>
                  <a:pt x="312" y="354"/>
                </a:moveTo>
                <a:cubicBezTo>
                  <a:pt x="311" y="356"/>
                  <a:pt x="310" y="356"/>
                  <a:pt x="310" y="357"/>
                </a:cubicBezTo>
                <a:cubicBezTo>
                  <a:pt x="309" y="356"/>
                  <a:pt x="310" y="354"/>
                  <a:pt x="312" y="354"/>
                </a:cubicBezTo>
                <a:close/>
                <a:moveTo>
                  <a:pt x="305" y="364"/>
                </a:moveTo>
                <a:cubicBezTo>
                  <a:pt x="305" y="362"/>
                  <a:pt x="307" y="359"/>
                  <a:pt x="309" y="358"/>
                </a:cubicBezTo>
                <a:cubicBezTo>
                  <a:pt x="308" y="360"/>
                  <a:pt x="307" y="362"/>
                  <a:pt x="305" y="364"/>
                </a:cubicBezTo>
                <a:close/>
                <a:moveTo>
                  <a:pt x="307" y="448"/>
                </a:moveTo>
                <a:cubicBezTo>
                  <a:pt x="306" y="449"/>
                  <a:pt x="307" y="447"/>
                  <a:pt x="308" y="447"/>
                </a:cubicBezTo>
                <a:cubicBezTo>
                  <a:pt x="308" y="448"/>
                  <a:pt x="307" y="448"/>
                  <a:pt x="307" y="448"/>
                </a:cubicBezTo>
                <a:close/>
                <a:moveTo>
                  <a:pt x="306" y="449"/>
                </a:moveTo>
                <a:cubicBezTo>
                  <a:pt x="306" y="450"/>
                  <a:pt x="305" y="450"/>
                  <a:pt x="305" y="451"/>
                </a:cubicBezTo>
                <a:cubicBezTo>
                  <a:pt x="304" y="451"/>
                  <a:pt x="305" y="449"/>
                  <a:pt x="306" y="449"/>
                </a:cubicBezTo>
                <a:close/>
                <a:moveTo>
                  <a:pt x="304" y="204"/>
                </a:moveTo>
                <a:cubicBezTo>
                  <a:pt x="304" y="204"/>
                  <a:pt x="304" y="202"/>
                  <a:pt x="305" y="203"/>
                </a:cubicBezTo>
                <a:cubicBezTo>
                  <a:pt x="305" y="204"/>
                  <a:pt x="304" y="204"/>
                  <a:pt x="304" y="204"/>
                </a:cubicBezTo>
                <a:close/>
                <a:moveTo>
                  <a:pt x="307" y="268"/>
                </a:moveTo>
                <a:cubicBezTo>
                  <a:pt x="305" y="270"/>
                  <a:pt x="306" y="265"/>
                  <a:pt x="307" y="266"/>
                </a:cubicBezTo>
                <a:cubicBezTo>
                  <a:pt x="307" y="267"/>
                  <a:pt x="307" y="267"/>
                  <a:pt x="307" y="268"/>
                </a:cubicBezTo>
                <a:close/>
                <a:moveTo>
                  <a:pt x="307" y="343"/>
                </a:moveTo>
                <a:cubicBezTo>
                  <a:pt x="306" y="345"/>
                  <a:pt x="308" y="342"/>
                  <a:pt x="307" y="343"/>
                </a:cubicBezTo>
                <a:close/>
                <a:moveTo>
                  <a:pt x="306" y="280"/>
                </a:moveTo>
                <a:cubicBezTo>
                  <a:pt x="305" y="282"/>
                  <a:pt x="305" y="279"/>
                  <a:pt x="306" y="279"/>
                </a:cubicBezTo>
                <a:cubicBezTo>
                  <a:pt x="307" y="279"/>
                  <a:pt x="306" y="280"/>
                  <a:pt x="306" y="280"/>
                </a:cubicBezTo>
                <a:close/>
                <a:moveTo>
                  <a:pt x="302" y="455"/>
                </a:moveTo>
                <a:cubicBezTo>
                  <a:pt x="302" y="454"/>
                  <a:pt x="303" y="453"/>
                  <a:pt x="304" y="452"/>
                </a:cubicBezTo>
                <a:cubicBezTo>
                  <a:pt x="305" y="453"/>
                  <a:pt x="303" y="454"/>
                  <a:pt x="302" y="455"/>
                </a:cubicBezTo>
                <a:close/>
                <a:moveTo>
                  <a:pt x="309" y="538"/>
                </a:moveTo>
                <a:cubicBezTo>
                  <a:pt x="309" y="538"/>
                  <a:pt x="309" y="538"/>
                  <a:pt x="309" y="538"/>
                </a:cubicBezTo>
                <a:cubicBezTo>
                  <a:pt x="309" y="538"/>
                  <a:pt x="309" y="538"/>
                  <a:pt x="309" y="538"/>
                </a:cubicBezTo>
                <a:cubicBezTo>
                  <a:pt x="308" y="539"/>
                  <a:pt x="309" y="538"/>
                  <a:pt x="309" y="538"/>
                </a:cubicBezTo>
                <a:cubicBezTo>
                  <a:pt x="309" y="538"/>
                  <a:pt x="309" y="538"/>
                  <a:pt x="309" y="538"/>
                </a:cubicBezTo>
                <a:close/>
                <a:moveTo>
                  <a:pt x="306" y="537"/>
                </a:moveTo>
                <a:cubicBezTo>
                  <a:pt x="308" y="536"/>
                  <a:pt x="305" y="538"/>
                  <a:pt x="306" y="537"/>
                </a:cubicBezTo>
                <a:close/>
                <a:moveTo>
                  <a:pt x="306" y="537"/>
                </a:moveTo>
                <a:cubicBezTo>
                  <a:pt x="305" y="539"/>
                  <a:pt x="303" y="539"/>
                  <a:pt x="303" y="541"/>
                </a:cubicBezTo>
                <a:cubicBezTo>
                  <a:pt x="303" y="540"/>
                  <a:pt x="304" y="538"/>
                  <a:pt x="306" y="537"/>
                </a:cubicBezTo>
                <a:close/>
                <a:moveTo>
                  <a:pt x="305" y="527"/>
                </a:moveTo>
                <a:cubicBezTo>
                  <a:pt x="305" y="528"/>
                  <a:pt x="301" y="533"/>
                  <a:pt x="300" y="531"/>
                </a:cubicBezTo>
                <a:cubicBezTo>
                  <a:pt x="298" y="529"/>
                  <a:pt x="303" y="527"/>
                  <a:pt x="305" y="527"/>
                </a:cubicBezTo>
                <a:close/>
                <a:moveTo>
                  <a:pt x="290" y="562"/>
                </a:moveTo>
                <a:cubicBezTo>
                  <a:pt x="290" y="562"/>
                  <a:pt x="290" y="562"/>
                  <a:pt x="290" y="562"/>
                </a:cubicBezTo>
                <a:cubicBezTo>
                  <a:pt x="290" y="562"/>
                  <a:pt x="289" y="563"/>
                  <a:pt x="290" y="562"/>
                </a:cubicBezTo>
                <a:close/>
                <a:moveTo>
                  <a:pt x="289" y="541"/>
                </a:moveTo>
                <a:cubicBezTo>
                  <a:pt x="289" y="540"/>
                  <a:pt x="287" y="543"/>
                  <a:pt x="289" y="541"/>
                </a:cubicBezTo>
                <a:close/>
                <a:moveTo>
                  <a:pt x="288" y="575"/>
                </a:moveTo>
                <a:cubicBezTo>
                  <a:pt x="286" y="576"/>
                  <a:pt x="285" y="575"/>
                  <a:pt x="284" y="574"/>
                </a:cubicBezTo>
                <a:cubicBezTo>
                  <a:pt x="283" y="570"/>
                  <a:pt x="289" y="567"/>
                  <a:pt x="290" y="569"/>
                </a:cubicBezTo>
                <a:cubicBezTo>
                  <a:pt x="293" y="571"/>
                  <a:pt x="289" y="575"/>
                  <a:pt x="288" y="575"/>
                </a:cubicBezTo>
                <a:close/>
                <a:moveTo>
                  <a:pt x="292" y="544"/>
                </a:moveTo>
                <a:cubicBezTo>
                  <a:pt x="292" y="546"/>
                  <a:pt x="290" y="545"/>
                  <a:pt x="292" y="544"/>
                </a:cubicBezTo>
                <a:close/>
                <a:moveTo>
                  <a:pt x="295" y="567"/>
                </a:moveTo>
                <a:cubicBezTo>
                  <a:pt x="295" y="565"/>
                  <a:pt x="297" y="567"/>
                  <a:pt x="295" y="567"/>
                </a:cubicBezTo>
                <a:close/>
                <a:moveTo>
                  <a:pt x="295" y="565"/>
                </a:moveTo>
                <a:cubicBezTo>
                  <a:pt x="295" y="565"/>
                  <a:pt x="295" y="565"/>
                  <a:pt x="295" y="565"/>
                </a:cubicBezTo>
                <a:cubicBezTo>
                  <a:pt x="295" y="565"/>
                  <a:pt x="294" y="565"/>
                  <a:pt x="294" y="565"/>
                </a:cubicBezTo>
                <a:cubicBezTo>
                  <a:pt x="294" y="566"/>
                  <a:pt x="293" y="567"/>
                  <a:pt x="293" y="568"/>
                </a:cubicBezTo>
                <a:cubicBezTo>
                  <a:pt x="293" y="568"/>
                  <a:pt x="294" y="568"/>
                  <a:pt x="292" y="568"/>
                </a:cubicBezTo>
                <a:cubicBezTo>
                  <a:pt x="292" y="569"/>
                  <a:pt x="292" y="569"/>
                  <a:pt x="292" y="569"/>
                </a:cubicBezTo>
                <a:cubicBezTo>
                  <a:pt x="292" y="569"/>
                  <a:pt x="292" y="569"/>
                  <a:pt x="292" y="568"/>
                </a:cubicBezTo>
                <a:cubicBezTo>
                  <a:pt x="292" y="569"/>
                  <a:pt x="292" y="569"/>
                  <a:pt x="292" y="569"/>
                </a:cubicBezTo>
                <a:cubicBezTo>
                  <a:pt x="292" y="568"/>
                  <a:pt x="292" y="568"/>
                  <a:pt x="293" y="568"/>
                </a:cubicBezTo>
                <a:cubicBezTo>
                  <a:pt x="293" y="565"/>
                  <a:pt x="295" y="562"/>
                  <a:pt x="297" y="560"/>
                </a:cubicBezTo>
                <a:cubicBezTo>
                  <a:pt x="296" y="561"/>
                  <a:pt x="296" y="563"/>
                  <a:pt x="295" y="565"/>
                </a:cubicBezTo>
                <a:close/>
                <a:moveTo>
                  <a:pt x="302" y="546"/>
                </a:moveTo>
                <a:cubicBezTo>
                  <a:pt x="301" y="548"/>
                  <a:pt x="298" y="547"/>
                  <a:pt x="297" y="548"/>
                </a:cubicBezTo>
                <a:cubicBezTo>
                  <a:pt x="298" y="547"/>
                  <a:pt x="300" y="547"/>
                  <a:pt x="302" y="546"/>
                </a:cubicBezTo>
                <a:close/>
                <a:moveTo>
                  <a:pt x="301" y="567"/>
                </a:moveTo>
                <a:cubicBezTo>
                  <a:pt x="302" y="568"/>
                  <a:pt x="300" y="571"/>
                  <a:pt x="299" y="570"/>
                </a:cubicBezTo>
                <a:cubicBezTo>
                  <a:pt x="297" y="569"/>
                  <a:pt x="299" y="565"/>
                  <a:pt x="301" y="567"/>
                </a:cubicBezTo>
                <a:cubicBezTo>
                  <a:pt x="299" y="565"/>
                  <a:pt x="302" y="560"/>
                  <a:pt x="305" y="561"/>
                </a:cubicBezTo>
                <a:cubicBezTo>
                  <a:pt x="308" y="562"/>
                  <a:pt x="304" y="570"/>
                  <a:pt x="301" y="567"/>
                </a:cubicBezTo>
                <a:close/>
                <a:moveTo>
                  <a:pt x="306" y="540"/>
                </a:moveTo>
                <a:cubicBezTo>
                  <a:pt x="306" y="538"/>
                  <a:pt x="308" y="540"/>
                  <a:pt x="306" y="540"/>
                </a:cubicBezTo>
                <a:close/>
                <a:moveTo>
                  <a:pt x="307" y="568"/>
                </a:moveTo>
                <a:cubicBezTo>
                  <a:pt x="307" y="568"/>
                  <a:pt x="307" y="568"/>
                  <a:pt x="307" y="568"/>
                </a:cubicBezTo>
                <a:cubicBezTo>
                  <a:pt x="307" y="566"/>
                  <a:pt x="309" y="569"/>
                  <a:pt x="307" y="568"/>
                </a:cubicBezTo>
                <a:close/>
                <a:moveTo>
                  <a:pt x="308" y="569"/>
                </a:moveTo>
                <a:cubicBezTo>
                  <a:pt x="307" y="570"/>
                  <a:pt x="308" y="567"/>
                  <a:pt x="309" y="568"/>
                </a:cubicBezTo>
                <a:cubicBezTo>
                  <a:pt x="310" y="569"/>
                  <a:pt x="309" y="569"/>
                  <a:pt x="308" y="569"/>
                </a:cubicBezTo>
                <a:close/>
                <a:moveTo>
                  <a:pt x="312" y="574"/>
                </a:moveTo>
                <a:cubicBezTo>
                  <a:pt x="311" y="575"/>
                  <a:pt x="313" y="572"/>
                  <a:pt x="312" y="574"/>
                </a:cubicBezTo>
                <a:close/>
                <a:moveTo>
                  <a:pt x="312" y="571"/>
                </a:moveTo>
                <a:cubicBezTo>
                  <a:pt x="312" y="572"/>
                  <a:pt x="311" y="572"/>
                  <a:pt x="311" y="571"/>
                </a:cubicBezTo>
                <a:cubicBezTo>
                  <a:pt x="310" y="570"/>
                  <a:pt x="314" y="569"/>
                  <a:pt x="312" y="571"/>
                </a:cubicBezTo>
                <a:close/>
                <a:moveTo>
                  <a:pt x="313" y="395"/>
                </a:moveTo>
                <a:cubicBezTo>
                  <a:pt x="314" y="394"/>
                  <a:pt x="312" y="396"/>
                  <a:pt x="313" y="395"/>
                </a:cubicBezTo>
                <a:close/>
                <a:moveTo>
                  <a:pt x="313" y="287"/>
                </a:moveTo>
                <a:cubicBezTo>
                  <a:pt x="312" y="289"/>
                  <a:pt x="314" y="286"/>
                  <a:pt x="313" y="287"/>
                </a:cubicBezTo>
                <a:close/>
                <a:moveTo>
                  <a:pt x="315" y="545"/>
                </a:moveTo>
                <a:cubicBezTo>
                  <a:pt x="312" y="547"/>
                  <a:pt x="313" y="541"/>
                  <a:pt x="316" y="543"/>
                </a:cubicBezTo>
                <a:cubicBezTo>
                  <a:pt x="317" y="543"/>
                  <a:pt x="316" y="545"/>
                  <a:pt x="315" y="545"/>
                </a:cubicBezTo>
                <a:close/>
                <a:moveTo>
                  <a:pt x="313" y="521"/>
                </a:moveTo>
                <a:cubicBezTo>
                  <a:pt x="314" y="520"/>
                  <a:pt x="312" y="522"/>
                  <a:pt x="313" y="521"/>
                </a:cubicBezTo>
                <a:close/>
                <a:moveTo>
                  <a:pt x="315" y="495"/>
                </a:moveTo>
                <a:cubicBezTo>
                  <a:pt x="315" y="495"/>
                  <a:pt x="315" y="496"/>
                  <a:pt x="315" y="496"/>
                </a:cubicBezTo>
                <a:cubicBezTo>
                  <a:pt x="315" y="498"/>
                  <a:pt x="314" y="495"/>
                  <a:pt x="315" y="495"/>
                </a:cubicBezTo>
                <a:close/>
                <a:moveTo>
                  <a:pt x="313" y="466"/>
                </a:moveTo>
                <a:cubicBezTo>
                  <a:pt x="314" y="464"/>
                  <a:pt x="319" y="461"/>
                  <a:pt x="322" y="459"/>
                </a:cubicBezTo>
                <a:cubicBezTo>
                  <a:pt x="321" y="461"/>
                  <a:pt x="318" y="462"/>
                  <a:pt x="317" y="464"/>
                </a:cubicBezTo>
                <a:cubicBezTo>
                  <a:pt x="316" y="464"/>
                  <a:pt x="313" y="468"/>
                  <a:pt x="313" y="466"/>
                </a:cubicBezTo>
                <a:close/>
                <a:moveTo>
                  <a:pt x="316" y="176"/>
                </a:moveTo>
                <a:cubicBezTo>
                  <a:pt x="316" y="176"/>
                  <a:pt x="317" y="175"/>
                  <a:pt x="317" y="175"/>
                </a:cubicBezTo>
                <a:cubicBezTo>
                  <a:pt x="317" y="176"/>
                  <a:pt x="316" y="176"/>
                  <a:pt x="316" y="176"/>
                </a:cubicBezTo>
                <a:close/>
                <a:moveTo>
                  <a:pt x="318" y="385"/>
                </a:moveTo>
                <a:cubicBezTo>
                  <a:pt x="317" y="386"/>
                  <a:pt x="316" y="385"/>
                  <a:pt x="316" y="385"/>
                </a:cubicBezTo>
                <a:cubicBezTo>
                  <a:pt x="317" y="384"/>
                  <a:pt x="318" y="384"/>
                  <a:pt x="318" y="385"/>
                </a:cubicBezTo>
                <a:close/>
                <a:moveTo>
                  <a:pt x="316" y="395"/>
                </a:moveTo>
                <a:cubicBezTo>
                  <a:pt x="316" y="395"/>
                  <a:pt x="316" y="396"/>
                  <a:pt x="315" y="395"/>
                </a:cubicBezTo>
                <a:cubicBezTo>
                  <a:pt x="315" y="395"/>
                  <a:pt x="318" y="393"/>
                  <a:pt x="316" y="395"/>
                </a:cubicBezTo>
                <a:close/>
                <a:moveTo>
                  <a:pt x="321" y="296"/>
                </a:moveTo>
                <a:cubicBezTo>
                  <a:pt x="321" y="296"/>
                  <a:pt x="321" y="297"/>
                  <a:pt x="321" y="297"/>
                </a:cubicBezTo>
                <a:cubicBezTo>
                  <a:pt x="319" y="299"/>
                  <a:pt x="320" y="295"/>
                  <a:pt x="321" y="296"/>
                </a:cubicBezTo>
                <a:close/>
                <a:moveTo>
                  <a:pt x="344" y="429"/>
                </a:moveTo>
                <a:cubicBezTo>
                  <a:pt x="344" y="429"/>
                  <a:pt x="345" y="429"/>
                  <a:pt x="345" y="429"/>
                </a:cubicBezTo>
                <a:cubicBezTo>
                  <a:pt x="345" y="430"/>
                  <a:pt x="343" y="430"/>
                  <a:pt x="344" y="429"/>
                </a:cubicBezTo>
                <a:close/>
                <a:moveTo>
                  <a:pt x="345" y="186"/>
                </a:moveTo>
                <a:cubicBezTo>
                  <a:pt x="345" y="188"/>
                  <a:pt x="343" y="188"/>
                  <a:pt x="345" y="186"/>
                </a:cubicBezTo>
                <a:close/>
                <a:moveTo>
                  <a:pt x="345" y="303"/>
                </a:moveTo>
                <a:cubicBezTo>
                  <a:pt x="344" y="303"/>
                  <a:pt x="347" y="302"/>
                  <a:pt x="345" y="303"/>
                </a:cubicBezTo>
                <a:close/>
                <a:moveTo>
                  <a:pt x="346" y="185"/>
                </a:moveTo>
                <a:cubicBezTo>
                  <a:pt x="344" y="187"/>
                  <a:pt x="347" y="183"/>
                  <a:pt x="346" y="185"/>
                </a:cubicBezTo>
                <a:close/>
                <a:moveTo>
                  <a:pt x="345" y="443"/>
                </a:moveTo>
                <a:cubicBezTo>
                  <a:pt x="344" y="445"/>
                  <a:pt x="346" y="442"/>
                  <a:pt x="345" y="443"/>
                </a:cubicBezTo>
                <a:close/>
                <a:moveTo>
                  <a:pt x="346" y="457"/>
                </a:moveTo>
                <a:cubicBezTo>
                  <a:pt x="346" y="457"/>
                  <a:pt x="346" y="458"/>
                  <a:pt x="346" y="458"/>
                </a:cubicBezTo>
                <a:cubicBezTo>
                  <a:pt x="345" y="459"/>
                  <a:pt x="345" y="456"/>
                  <a:pt x="346" y="457"/>
                </a:cubicBezTo>
                <a:close/>
                <a:moveTo>
                  <a:pt x="345" y="503"/>
                </a:moveTo>
                <a:cubicBezTo>
                  <a:pt x="345" y="503"/>
                  <a:pt x="345" y="503"/>
                  <a:pt x="345" y="503"/>
                </a:cubicBezTo>
                <a:cubicBezTo>
                  <a:pt x="345" y="503"/>
                  <a:pt x="345" y="503"/>
                  <a:pt x="345" y="503"/>
                </a:cubicBezTo>
                <a:cubicBezTo>
                  <a:pt x="345" y="503"/>
                  <a:pt x="345" y="503"/>
                  <a:pt x="345" y="503"/>
                </a:cubicBezTo>
                <a:close/>
                <a:moveTo>
                  <a:pt x="348" y="526"/>
                </a:moveTo>
                <a:cubicBezTo>
                  <a:pt x="348" y="527"/>
                  <a:pt x="344" y="530"/>
                  <a:pt x="343" y="529"/>
                </a:cubicBezTo>
                <a:cubicBezTo>
                  <a:pt x="342" y="527"/>
                  <a:pt x="346" y="526"/>
                  <a:pt x="348" y="526"/>
                </a:cubicBezTo>
                <a:close/>
                <a:moveTo>
                  <a:pt x="351" y="496"/>
                </a:moveTo>
                <a:cubicBezTo>
                  <a:pt x="352" y="497"/>
                  <a:pt x="349" y="500"/>
                  <a:pt x="349" y="500"/>
                </a:cubicBezTo>
                <a:cubicBezTo>
                  <a:pt x="344" y="502"/>
                  <a:pt x="348" y="494"/>
                  <a:pt x="351" y="496"/>
                </a:cubicBezTo>
                <a:close/>
                <a:moveTo>
                  <a:pt x="351" y="384"/>
                </a:moveTo>
                <a:cubicBezTo>
                  <a:pt x="350" y="385"/>
                  <a:pt x="349" y="384"/>
                  <a:pt x="351" y="384"/>
                </a:cubicBezTo>
                <a:close/>
                <a:moveTo>
                  <a:pt x="351" y="513"/>
                </a:moveTo>
                <a:cubicBezTo>
                  <a:pt x="350" y="512"/>
                  <a:pt x="352" y="512"/>
                  <a:pt x="351" y="512"/>
                </a:cubicBezTo>
                <a:cubicBezTo>
                  <a:pt x="351" y="512"/>
                  <a:pt x="351" y="513"/>
                  <a:pt x="351" y="513"/>
                </a:cubicBezTo>
                <a:close/>
                <a:moveTo>
                  <a:pt x="350" y="574"/>
                </a:moveTo>
                <a:cubicBezTo>
                  <a:pt x="350" y="574"/>
                  <a:pt x="350" y="573"/>
                  <a:pt x="351" y="573"/>
                </a:cubicBezTo>
                <a:cubicBezTo>
                  <a:pt x="351" y="573"/>
                  <a:pt x="350" y="574"/>
                  <a:pt x="350" y="574"/>
                </a:cubicBezTo>
                <a:close/>
                <a:moveTo>
                  <a:pt x="347" y="484"/>
                </a:moveTo>
                <a:cubicBezTo>
                  <a:pt x="347" y="483"/>
                  <a:pt x="348" y="483"/>
                  <a:pt x="348" y="483"/>
                </a:cubicBezTo>
                <a:cubicBezTo>
                  <a:pt x="349" y="483"/>
                  <a:pt x="348" y="484"/>
                  <a:pt x="347" y="484"/>
                </a:cubicBezTo>
                <a:close/>
                <a:moveTo>
                  <a:pt x="325" y="549"/>
                </a:moveTo>
                <a:cubicBezTo>
                  <a:pt x="327" y="547"/>
                  <a:pt x="330" y="546"/>
                  <a:pt x="333" y="545"/>
                </a:cubicBezTo>
                <a:cubicBezTo>
                  <a:pt x="330" y="547"/>
                  <a:pt x="328" y="549"/>
                  <a:pt x="325" y="549"/>
                </a:cubicBezTo>
                <a:close/>
                <a:moveTo>
                  <a:pt x="331" y="617"/>
                </a:moveTo>
                <a:cubicBezTo>
                  <a:pt x="331" y="616"/>
                  <a:pt x="332" y="616"/>
                  <a:pt x="333" y="617"/>
                </a:cubicBezTo>
                <a:cubicBezTo>
                  <a:pt x="333" y="617"/>
                  <a:pt x="331" y="619"/>
                  <a:pt x="331" y="617"/>
                </a:cubicBezTo>
                <a:close/>
                <a:moveTo>
                  <a:pt x="326" y="553"/>
                </a:moveTo>
                <a:cubicBezTo>
                  <a:pt x="326" y="553"/>
                  <a:pt x="327" y="552"/>
                  <a:pt x="327" y="552"/>
                </a:cubicBezTo>
                <a:cubicBezTo>
                  <a:pt x="327" y="552"/>
                  <a:pt x="327" y="553"/>
                  <a:pt x="326" y="553"/>
                </a:cubicBezTo>
                <a:close/>
                <a:moveTo>
                  <a:pt x="318" y="527"/>
                </a:moveTo>
                <a:cubicBezTo>
                  <a:pt x="323" y="523"/>
                  <a:pt x="328" y="520"/>
                  <a:pt x="335" y="518"/>
                </a:cubicBezTo>
                <a:cubicBezTo>
                  <a:pt x="329" y="521"/>
                  <a:pt x="324" y="524"/>
                  <a:pt x="318" y="527"/>
                </a:cubicBezTo>
                <a:close/>
                <a:moveTo>
                  <a:pt x="323" y="530"/>
                </a:moveTo>
                <a:cubicBezTo>
                  <a:pt x="323" y="531"/>
                  <a:pt x="321" y="531"/>
                  <a:pt x="321" y="530"/>
                </a:cubicBezTo>
                <a:cubicBezTo>
                  <a:pt x="321" y="529"/>
                  <a:pt x="323" y="530"/>
                  <a:pt x="323" y="530"/>
                </a:cubicBezTo>
                <a:close/>
                <a:moveTo>
                  <a:pt x="329" y="503"/>
                </a:moveTo>
                <a:cubicBezTo>
                  <a:pt x="329" y="503"/>
                  <a:pt x="330" y="502"/>
                  <a:pt x="330" y="502"/>
                </a:cubicBezTo>
                <a:cubicBezTo>
                  <a:pt x="332" y="503"/>
                  <a:pt x="329" y="505"/>
                  <a:pt x="329" y="503"/>
                </a:cubicBezTo>
                <a:close/>
                <a:moveTo>
                  <a:pt x="334" y="541"/>
                </a:moveTo>
                <a:cubicBezTo>
                  <a:pt x="333" y="541"/>
                  <a:pt x="334" y="539"/>
                  <a:pt x="335" y="539"/>
                </a:cubicBezTo>
                <a:cubicBezTo>
                  <a:pt x="335" y="540"/>
                  <a:pt x="334" y="540"/>
                  <a:pt x="334" y="541"/>
                </a:cubicBezTo>
                <a:close/>
                <a:moveTo>
                  <a:pt x="341" y="584"/>
                </a:moveTo>
                <a:cubicBezTo>
                  <a:pt x="345" y="586"/>
                  <a:pt x="341" y="593"/>
                  <a:pt x="339" y="594"/>
                </a:cubicBezTo>
                <a:cubicBezTo>
                  <a:pt x="330" y="597"/>
                  <a:pt x="335" y="582"/>
                  <a:pt x="341" y="584"/>
                </a:cubicBezTo>
                <a:close/>
                <a:moveTo>
                  <a:pt x="341" y="541"/>
                </a:moveTo>
                <a:cubicBezTo>
                  <a:pt x="339" y="543"/>
                  <a:pt x="336" y="544"/>
                  <a:pt x="335" y="544"/>
                </a:cubicBezTo>
                <a:cubicBezTo>
                  <a:pt x="335" y="544"/>
                  <a:pt x="339" y="541"/>
                  <a:pt x="341" y="541"/>
                </a:cubicBezTo>
                <a:close/>
                <a:moveTo>
                  <a:pt x="336" y="518"/>
                </a:moveTo>
                <a:cubicBezTo>
                  <a:pt x="336" y="516"/>
                  <a:pt x="339" y="516"/>
                  <a:pt x="340" y="515"/>
                </a:cubicBezTo>
                <a:cubicBezTo>
                  <a:pt x="340" y="517"/>
                  <a:pt x="337" y="516"/>
                  <a:pt x="336" y="518"/>
                </a:cubicBezTo>
                <a:close/>
                <a:moveTo>
                  <a:pt x="343" y="515"/>
                </a:moveTo>
                <a:cubicBezTo>
                  <a:pt x="342" y="516"/>
                  <a:pt x="341" y="516"/>
                  <a:pt x="341" y="515"/>
                </a:cubicBezTo>
                <a:cubicBezTo>
                  <a:pt x="340" y="514"/>
                  <a:pt x="344" y="514"/>
                  <a:pt x="343" y="515"/>
                </a:cubicBezTo>
                <a:close/>
                <a:moveTo>
                  <a:pt x="343" y="553"/>
                </a:moveTo>
                <a:cubicBezTo>
                  <a:pt x="341" y="554"/>
                  <a:pt x="343" y="552"/>
                  <a:pt x="343" y="553"/>
                </a:cubicBezTo>
                <a:close/>
                <a:moveTo>
                  <a:pt x="341" y="547"/>
                </a:moveTo>
                <a:cubicBezTo>
                  <a:pt x="341" y="547"/>
                  <a:pt x="341" y="547"/>
                  <a:pt x="341" y="547"/>
                </a:cubicBezTo>
                <a:cubicBezTo>
                  <a:pt x="341" y="547"/>
                  <a:pt x="341" y="547"/>
                  <a:pt x="341" y="547"/>
                </a:cubicBezTo>
                <a:cubicBezTo>
                  <a:pt x="341" y="547"/>
                  <a:pt x="341" y="547"/>
                  <a:pt x="341" y="547"/>
                </a:cubicBezTo>
                <a:close/>
                <a:moveTo>
                  <a:pt x="342" y="574"/>
                </a:moveTo>
                <a:cubicBezTo>
                  <a:pt x="343" y="575"/>
                  <a:pt x="340" y="576"/>
                  <a:pt x="340" y="574"/>
                </a:cubicBezTo>
                <a:cubicBezTo>
                  <a:pt x="340" y="573"/>
                  <a:pt x="342" y="573"/>
                  <a:pt x="342" y="574"/>
                </a:cubicBezTo>
                <a:close/>
                <a:moveTo>
                  <a:pt x="338" y="554"/>
                </a:moveTo>
                <a:cubicBezTo>
                  <a:pt x="339" y="554"/>
                  <a:pt x="337" y="556"/>
                  <a:pt x="337" y="554"/>
                </a:cubicBezTo>
                <a:cubicBezTo>
                  <a:pt x="337" y="553"/>
                  <a:pt x="338" y="553"/>
                  <a:pt x="338" y="554"/>
                </a:cubicBezTo>
                <a:close/>
                <a:moveTo>
                  <a:pt x="335" y="537"/>
                </a:moveTo>
                <a:cubicBezTo>
                  <a:pt x="335" y="537"/>
                  <a:pt x="335" y="537"/>
                  <a:pt x="336" y="536"/>
                </a:cubicBezTo>
                <a:cubicBezTo>
                  <a:pt x="336" y="536"/>
                  <a:pt x="336" y="536"/>
                  <a:pt x="336" y="536"/>
                </a:cubicBezTo>
                <a:cubicBezTo>
                  <a:pt x="336" y="536"/>
                  <a:pt x="335" y="537"/>
                  <a:pt x="335" y="537"/>
                </a:cubicBezTo>
                <a:close/>
                <a:moveTo>
                  <a:pt x="339" y="582"/>
                </a:moveTo>
                <a:cubicBezTo>
                  <a:pt x="334" y="582"/>
                  <a:pt x="344" y="577"/>
                  <a:pt x="345" y="578"/>
                </a:cubicBezTo>
                <a:cubicBezTo>
                  <a:pt x="346" y="579"/>
                  <a:pt x="340" y="582"/>
                  <a:pt x="339" y="582"/>
                </a:cubicBezTo>
                <a:close/>
                <a:moveTo>
                  <a:pt x="345" y="556"/>
                </a:moveTo>
                <a:cubicBezTo>
                  <a:pt x="343" y="557"/>
                  <a:pt x="345" y="554"/>
                  <a:pt x="345" y="555"/>
                </a:cubicBezTo>
                <a:cubicBezTo>
                  <a:pt x="346" y="555"/>
                  <a:pt x="345" y="556"/>
                  <a:pt x="345" y="556"/>
                </a:cubicBezTo>
                <a:close/>
                <a:moveTo>
                  <a:pt x="343" y="503"/>
                </a:moveTo>
                <a:cubicBezTo>
                  <a:pt x="341" y="504"/>
                  <a:pt x="342" y="500"/>
                  <a:pt x="344" y="502"/>
                </a:cubicBezTo>
                <a:cubicBezTo>
                  <a:pt x="344" y="502"/>
                  <a:pt x="343" y="502"/>
                  <a:pt x="343" y="503"/>
                </a:cubicBezTo>
                <a:close/>
                <a:moveTo>
                  <a:pt x="342" y="425"/>
                </a:moveTo>
                <a:cubicBezTo>
                  <a:pt x="339" y="426"/>
                  <a:pt x="340" y="421"/>
                  <a:pt x="342" y="422"/>
                </a:cubicBezTo>
                <a:cubicBezTo>
                  <a:pt x="343" y="423"/>
                  <a:pt x="342" y="425"/>
                  <a:pt x="342" y="425"/>
                </a:cubicBezTo>
                <a:close/>
                <a:moveTo>
                  <a:pt x="340" y="466"/>
                </a:moveTo>
                <a:cubicBezTo>
                  <a:pt x="344" y="464"/>
                  <a:pt x="338" y="467"/>
                  <a:pt x="340" y="466"/>
                </a:cubicBezTo>
                <a:close/>
                <a:moveTo>
                  <a:pt x="339" y="506"/>
                </a:moveTo>
                <a:cubicBezTo>
                  <a:pt x="340" y="504"/>
                  <a:pt x="343" y="506"/>
                  <a:pt x="339" y="506"/>
                </a:cubicBezTo>
                <a:close/>
                <a:moveTo>
                  <a:pt x="341" y="508"/>
                </a:moveTo>
                <a:cubicBezTo>
                  <a:pt x="342" y="508"/>
                  <a:pt x="334" y="513"/>
                  <a:pt x="334" y="513"/>
                </a:cubicBezTo>
                <a:cubicBezTo>
                  <a:pt x="333" y="514"/>
                  <a:pt x="332" y="514"/>
                  <a:pt x="332" y="514"/>
                </a:cubicBezTo>
                <a:cubicBezTo>
                  <a:pt x="331" y="513"/>
                  <a:pt x="340" y="507"/>
                  <a:pt x="341" y="508"/>
                </a:cubicBezTo>
                <a:close/>
                <a:moveTo>
                  <a:pt x="336" y="508"/>
                </a:moveTo>
                <a:cubicBezTo>
                  <a:pt x="336" y="507"/>
                  <a:pt x="337" y="506"/>
                  <a:pt x="338" y="506"/>
                </a:cubicBezTo>
                <a:cubicBezTo>
                  <a:pt x="338" y="507"/>
                  <a:pt x="337" y="507"/>
                  <a:pt x="336" y="508"/>
                </a:cubicBezTo>
                <a:close/>
                <a:moveTo>
                  <a:pt x="339" y="504"/>
                </a:moveTo>
                <a:cubicBezTo>
                  <a:pt x="337" y="506"/>
                  <a:pt x="337" y="502"/>
                  <a:pt x="339" y="503"/>
                </a:cubicBezTo>
                <a:cubicBezTo>
                  <a:pt x="339" y="503"/>
                  <a:pt x="339" y="504"/>
                  <a:pt x="339" y="504"/>
                </a:cubicBezTo>
                <a:close/>
                <a:moveTo>
                  <a:pt x="337" y="360"/>
                </a:moveTo>
                <a:cubicBezTo>
                  <a:pt x="337" y="357"/>
                  <a:pt x="339" y="359"/>
                  <a:pt x="337" y="360"/>
                </a:cubicBezTo>
                <a:close/>
                <a:moveTo>
                  <a:pt x="337" y="339"/>
                </a:moveTo>
                <a:cubicBezTo>
                  <a:pt x="337" y="340"/>
                  <a:pt x="335" y="339"/>
                  <a:pt x="337" y="339"/>
                </a:cubicBezTo>
                <a:close/>
                <a:moveTo>
                  <a:pt x="337" y="248"/>
                </a:moveTo>
                <a:cubicBezTo>
                  <a:pt x="335" y="250"/>
                  <a:pt x="336" y="245"/>
                  <a:pt x="337" y="246"/>
                </a:cubicBezTo>
                <a:cubicBezTo>
                  <a:pt x="338" y="246"/>
                  <a:pt x="337" y="248"/>
                  <a:pt x="337" y="248"/>
                </a:cubicBezTo>
                <a:close/>
                <a:moveTo>
                  <a:pt x="336" y="451"/>
                </a:moveTo>
                <a:cubicBezTo>
                  <a:pt x="335" y="452"/>
                  <a:pt x="338" y="450"/>
                  <a:pt x="336" y="451"/>
                </a:cubicBezTo>
                <a:close/>
                <a:moveTo>
                  <a:pt x="337" y="467"/>
                </a:moveTo>
                <a:cubicBezTo>
                  <a:pt x="337" y="469"/>
                  <a:pt x="336" y="469"/>
                  <a:pt x="334" y="470"/>
                </a:cubicBezTo>
                <a:cubicBezTo>
                  <a:pt x="335" y="469"/>
                  <a:pt x="336" y="468"/>
                  <a:pt x="337" y="467"/>
                </a:cubicBezTo>
                <a:close/>
                <a:moveTo>
                  <a:pt x="330" y="456"/>
                </a:moveTo>
                <a:cubicBezTo>
                  <a:pt x="330" y="456"/>
                  <a:pt x="333" y="452"/>
                  <a:pt x="335" y="451"/>
                </a:cubicBezTo>
                <a:cubicBezTo>
                  <a:pt x="334" y="453"/>
                  <a:pt x="332" y="455"/>
                  <a:pt x="330" y="456"/>
                </a:cubicBezTo>
                <a:close/>
                <a:moveTo>
                  <a:pt x="332" y="406"/>
                </a:moveTo>
                <a:cubicBezTo>
                  <a:pt x="331" y="405"/>
                  <a:pt x="332" y="403"/>
                  <a:pt x="334" y="403"/>
                </a:cubicBezTo>
                <a:cubicBezTo>
                  <a:pt x="333" y="404"/>
                  <a:pt x="332" y="405"/>
                  <a:pt x="332" y="406"/>
                </a:cubicBezTo>
                <a:close/>
                <a:moveTo>
                  <a:pt x="331" y="366"/>
                </a:moveTo>
                <a:cubicBezTo>
                  <a:pt x="329" y="368"/>
                  <a:pt x="330" y="364"/>
                  <a:pt x="331" y="364"/>
                </a:cubicBezTo>
                <a:cubicBezTo>
                  <a:pt x="333" y="365"/>
                  <a:pt x="331" y="366"/>
                  <a:pt x="331" y="366"/>
                </a:cubicBezTo>
                <a:close/>
                <a:moveTo>
                  <a:pt x="330" y="407"/>
                </a:moveTo>
                <a:cubicBezTo>
                  <a:pt x="330" y="409"/>
                  <a:pt x="328" y="410"/>
                  <a:pt x="326" y="412"/>
                </a:cubicBezTo>
                <a:cubicBezTo>
                  <a:pt x="327" y="411"/>
                  <a:pt x="329" y="409"/>
                  <a:pt x="330" y="407"/>
                </a:cubicBezTo>
                <a:close/>
                <a:moveTo>
                  <a:pt x="327" y="499"/>
                </a:moveTo>
                <a:cubicBezTo>
                  <a:pt x="327" y="498"/>
                  <a:pt x="327" y="498"/>
                  <a:pt x="327" y="498"/>
                </a:cubicBezTo>
                <a:cubicBezTo>
                  <a:pt x="327" y="496"/>
                  <a:pt x="329" y="499"/>
                  <a:pt x="327" y="499"/>
                </a:cubicBezTo>
                <a:close/>
                <a:moveTo>
                  <a:pt x="328" y="510"/>
                </a:moveTo>
                <a:cubicBezTo>
                  <a:pt x="328" y="511"/>
                  <a:pt x="327" y="511"/>
                  <a:pt x="327" y="510"/>
                </a:cubicBezTo>
                <a:cubicBezTo>
                  <a:pt x="327" y="510"/>
                  <a:pt x="328" y="510"/>
                  <a:pt x="328" y="510"/>
                </a:cubicBezTo>
                <a:close/>
                <a:moveTo>
                  <a:pt x="328" y="481"/>
                </a:moveTo>
                <a:cubicBezTo>
                  <a:pt x="327" y="482"/>
                  <a:pt x="329" y="480"/>
                  <a:pt x="328" y="481"/>
                </a:cubicBezTo>
                <a:close/>
                <a:moveTo>
                  <a:pt x="326" y="333"/>
                </a:moveTo>
                <a:cubicBezTo>
                  <a:pt x="326" y="333"/>
                  <a:pt x="326" y="333"/>
                  <a:pt x="325" y="333"/>
                </a:cubicBezTo>
                <a:cubicBezTo>
                  <a:pt x="325" y="332"/>
                  <a:pt x="327" y="332"/>
                  <a:pt x="326" y="333"/>
                </a:cubicBezTo>
                <a:close/>
                <a:moveTo>
                  <a:pt x="326" y="456"/>
                </a:moveTo>
                <a:cubicBezTo>
                  <a:pt x="326" y="457"/>
                  <a:pt x="324" y="458"/>
                  <a:pt x="323" y="459"/>
                </a:cubicBezTo>
                <a:cubicBezTo>
                  <a:pt x="324" y="458"/>
                  <a:pt x="325" y="457"/>
                  <a:pt x="326" y="456"/>
                </a:cubicBezTo>
                <a:close/>
                <a:moveTo>
                  <a:pt x="330" y="515"/>
                </a:moveTo>
                <a:cubicBezTo>
                  <a:pt x="326" y="518"/>
                  <a:pt x="323" y="521"/>
                  <a:pt x="317" y="522"/>
                </a:cubicBezTo>
                <a:cubicBezTo>
                  <a:pt x="320" y="519"/>
                  <a:pt x="325" y="516"/>
                  <a:pt x="330" y="515"/>
                </a:cubicBezTo>
                <a:close/>
                <a:moveTo>
                  <a:pt x="319" y="490"/>
                </a:moveTo>
                <a:cubicBezTo>
                  <a:pt x="318" y="491"/>
                  <a:pt x="318" y="489"/>
                  <a:pt x="319" y="489"/>
                </a:cubicBezTo>
                <a:cubicBezTo>
                  <a:pt x="320" y="489"/>
                  <a:pt x="320" y="490"/>
                  <a:pt x="319" y="490"/>
                </a:cubicBezTo>
                <a:close/>
                <a:moveTo>
                  <a:pt x="320" y="514"/>
                </a:moveTo>
                <a:cubicBezTo>
                  <a:pt x="320" y="514"/>
                  <a:pt x="319" y="515"/>
                  <a:pt x="319" y="514"/>
                </a:cubicBezTo>
                <a:cubicBezTo>
                  <a:pt x="319" y="513"/>
                  <a:pt x="322" y="513"/>
                  <a:pt x="320" y="514"/>
                </a:cubicBezTo>
                <a:close/>
                <a:moveTo>
                  <a:pt x="322" y="487"/>
                </a:moveTo>
                <a:cubicBezTo>
                  <a:pt x="324" y="489"/>
                  <a:pt x="319" y="490"/>
                  <a:pt x="319" y="488"/>
                </a:cubicBezTo>
                <a:cubicBezTo>
                  <a:pt x="319" y="487"/>
                  <a:pt x="320" y="486"/>
                  <a:pt x="321" y="486"/>
                </a:cubicBezTo>
                <a:cubicBezTo>
                  <a:pt x="321" y="486"/>
                  <a:pt x="321" y="485"/>
                  <a:pt x="321" y="485"/>
                </a:cubicBezTo>
                <a:cubicBezTo>
                  <a:pt x="323" y="484"/>
                  <a:pt x="323" y="486"/>
                  <a:pt x="322" y="487"/>
                </a:cubicBezTo>
                <a:cubicBezTo>
                  <a:pt x="322" y="487"/>
                  <a:pt x="322" y="487"/>
                  <a:pt x="322" y="487"/>
                </a:cubicBezTo>
                <a:cubicBezTo>
                  <a:pt x="322" y="487"/>
                  <a:pt x="322" y="487"/>
                  <a:pt x="322" y="487"/>
                </a:cubicBezTo>
                <a:close/>
                <a:moveTo>
                  <a:pt x="319" y="565"/>
                </a:moveTo>
                <a:cubicBezTo>
                  <a:pt x="316" y="567"/>
                  <a:pt x="316" y="562"/>
                  <a:pt x="319" y="563"/>
                </a:cubicBezTo>
                <a:cubicBezTo>
                  <a:pt x="319" y="563"/>
                  <a:pt x="319" y="564"/>
                  <a:pt x="319" y="565"/>
                </a:cubicBezTo>
                <a:close/>
                <a:moveTo>
                  <a:pt x="320" y="570"/>
                </a:moveTo>
                <a:cubicBezTo>
                  <a:pt x="321" y="569"/>
                  <a:pt x="322" y="571"/>
                  <a:pt x="320" y="570"/>
                </a:cubicBezTo>
                <a:close/>
                <a:moveTo>
                  <a:pt x="322" y="580"/>
                </a:moveTo>
                <a:cubicBezTo>
                  <a:pt x="322" y="580"/>
                  <a:pt x="322" y="581"/>
                  <a:pt x="322" y="581"/>
                </a:cubicBezTo>
                <a:cubicBezTo>
                  <a:pt x="322" y="580"/>
                  <a:pt x="323" y="579"/>
                  <a:pt x="322" y="580"/>
                </a:cubicBezTo>
                <a:close/>
                <a:moveTo>
                  <a:pt x="323" y="537"/>
                </a:moveTo>
                <a:cubicBezTo>
                  <a:pt x="322" y="538"/>
                  <a:pt x="320" y="542"/>
                  <a:pt x="318" y="542"/>
                </a:cubicBezTo>
                <a:cubicBezTo>
                  <a:pt x="313" y="543"/>
                  <a:pt x="324" y="535"/>
                  <a:pt x="325" y="534"/>
                </a:cubicBezTo>
                <a:cubicBezTo>
                  <a:pt x="322" y="537"/>
                  <a:pt x="326" y="533"/>
                  <a:pt x="327" y="534"/>
                </a:cubicBezTo>
                <a:cubicBezTo>
                  <a:pt x="328" y="535"/>
                  <a:pt x="324" y="537"/>
                  <a:pt x="323" y="537"/>
                </a:cubicBezTo>
                <a:close/>
                <a:moveTo>
                  <a:pt x="327" y="588"/>
                </a:moveTo>
                <a:cubicBezTo>
                  <a:pt x="326" y="589"/>
                  <a:pt x="324" y="589"/>
                  <a:pt x="324" y="588"/>
                </a:cubicBezTo>
                <a:cubicBezTo>
                  <a:pt x="324" y="586"/>
                  <a:pt x="327" y="587"/>
                  <a:pt x="327" y="588"/>
                </a:cubicBezTo>
                <a:close/>
                <a:moveTo>
                  <a:pt x="326" y="564"/>
                </a:moveTo>
                <a:cubicBezTo>
                  <a:pt x="326" y="563"/>
                  <a:pt x="329" y="562"/>
                  <a:pt x="329" y="564"/>
                </a:cubicBezTo>
                <a:cubicBezTo>
                  <a:pt x="329" y="565"/>
                  <a:pt x="325" y="566"/>
                  <a:pt x="326" y="564"/>
                </a:cubicBezTo>
                <a:close/>
                <a:moveTo>
                  <a:pt x="327" y="585"/>
                </a:moveTo>
                <a:cubicBezTo>
                  <a:pt x="328" y="585"/>
                  <a:pt x="329" y="586"/>
                  <a:pt x="328" y="586"/>
                </a:cubicBezTo>
                <a:cubicBezTo>
                  <a:pt x="328" y="586"/>
                  <a:pt x="326" y="586"/>
                  <a:pt x="327" y="585"/>
                </a:cubicBezTo>
                <a:close/>
                <a:moveTo>
                  <a:pt x="327" y="624"/>
                </a:moveTo>
                <a:cubicBezTo>
                  <a:pt x="327" y="624"/>
                  <a:pt x="326" y="624"/>
                  <a:pt x="326" y="624"/>
                </a:cubicBezTo>
                <a:cubicBezTo>
                  <a:pt x="326" y="623"/>
                  <a:pt x="328" y="622"/>
                  <a:pt x="327" y="624"/>
                </a:cubicBezTo>
                <a:close/>
                <a:moveTo>
                  <a:pt x="329" y="612"/>
                </a:moveTo>
                <a:cubicBezTo>
                  <a:pt x="326" y="613"/>
                  <a:pt x="328" y="608"/>
                  <a:pt x="330" y="609"/>
                </a:cubicBezTo>
                <a:cubicBezTo>
                  <a:pt x="332" y="610"/>
                  <a:pt x="330" y="612"/>
                  <a:pt x="329" y="612"/>
                </a:cubicBezTo>
                <a:close/>
                <a:moveTo>
                  <a:pt x="335" y="620"/>
                </a:moveTo>
                <a:cubicBezTo>
                  <a:pt x="335" y="620"/>
                  <a:pt x="335" y="620"/>
                  <a:pt x="334" y="620"/>
                </a:cubicBezTo>
                <a:cubicBezTo>
                  <a:pt x="334" y="620"/>
                  <a:pt x="334" y="620"/>
                  <a:pt x="334" y="620"/>
                </a:cubicBezTo>
                <a:cubicBezTo>
                  <a:pt x="333" y="620"/>
                  <a:pt x="332" y="621"/>
                  <a:pt x="330" y="621"/>
                </a:cubicBezTo>
                <a:cubicBezTo>
                  <a:pt x="332" y="619"/>
                  <a:pt x="334" y="619"/>
                  <a:pt x="337" y="618"/>
                </a:cubicBezTo>
                <a:cubicBezTo>
                  <a:pt x="336" y="619"/>
                  <a:pt x="336" y="619"/>
                  <a:pt x="335" y="620"/>
                </a:cubicBezTo>
                <a:close/>
                <a:moveTo>
                  <a:pt x="339" y="618"/>
                </a:moveTo>
                <a:cubicBezTo>
                  <a:pt x="338" y="618"/>
                  <a:pt x="338" y="619"/>
                  <a:pt x="337" y="618"/>
                </a:cubicBezTo>
                <a:cubicBezTo>
                  <a:pt x="337" y="617"/>
                  <a:pt x="342" y="617"/>
                  <a:pt x="339" y="618"/>
                </a:cubicBezTo>
                <a:close/>
                <a:moveTo>
                  <a:pt x="348" y="611"/>
                </a:moveTo>
                <a:cubicBezTo>
                  <a:pt x="346" y="612"/>
                  <a:pt x="346" y="609"/>
                  <a:pt x="348" y="609"/>
                </a:cubicBezTo>
                <a:cubicBezTo>
                  <a:pt x="349" y="610"/>
                  <a:pt x="348" y="611"/>
                  <a:pt x="348" y="611"/>
                </a:cubicBezTo>
                <a:close/>
                <a:moveTo>
                  <a:pt x="347" y="599"/>
                </a:moveTo>
                <a:cubicBezTo>
                  <a:pt x="347" y="598"/>
                  <a:pt x="348" y="599"/>
                  <a:pt x="348" y="599"/>
                </a:cubicBezTo>
                <a:cubicBezTo>
                  <a:pt x="348" y="600"/>
                  <a:pt x="347" y="600"/>
                  <a:pt x="347" y="599"/>
                </a:cubicBezTo>
                <a:close/>
                <a:moveTo>
                  <a:pt x="353" y="622"/>
                </a:moveTo>
                <a:cubicBezTo>
                  <a:pt x="352" y="622"/>
                  <a:pt x="352" y="622"/>
                  <a:pt x="352" y="622"/>
                </a:cubicBezTo>
                <a:cubicBezTo>
                  <a:pt x="351" y="620"/>
                  <a:pt x="354" y="621"/>
                  <a:pt x="353" y="622"/>
                </a:cubicBezTo>
                <a:close/>
                <a:moveTo>
                  <a:pt x="352" y="594"/>
                </a:moveTo>
                <a:cubicBezTo>
                  <a:pt x="349" y="595"/>
                  <a:pt x="344" y="598"/>
                  <a:pt x="340" y="598"/>
                </a:cubicBezTo>
                <a:cubicBezTo>
                  <a:pt x="343" y="596"/>
                  <a:pt x="350" y="593"/>
                  <a:pt x="353" y="593"/>
                </a:cubicBezTo>
                <a:cubicBezTo>
                  <a:pt x="352" y="593"/>
                  <a:pt x="355" y="593"/>
                  <a:pt x="355" y="593"/>
                </a:cubicBezTo>
                <a:cubicBezTo>
                  <a:pt x="355" y="595"/>
                  <a:pt x="353" y="594"/>
                  <a:pt x="352" y="594"/>
                </a:cubicBezTo>
                <a:close/>
                <a:moveTo>
                  <a:pt x="355" y="550"/>
                </a:moveTo>
                <a:cubicBezTo>
                  <a:pt x="355" y="549"/>
                  <a:pt x="356" y="549"/>
                  <a:pt x="358" y="549"/>
                </a:cubicBezTo>
                <a:cubicBezTo>
                  <a:pt x="357" y="550"/>
                  <a:pt x="356" y="550"/>
                  <a:pt x="355" y="550"/>
                </a:cubicBezTo>
                <a:close/>
                <a:moveTo>
                  <a:pt x="358" y="493"/>
                </a:moveTo>
                <a:cubicBezTo>
                  <a:pt x="358" y="493"/>
                  <a:pt x="358" y="493"/>
                  <a:pt x="357" y="493"/>
                </a:cubicBezTo>
                <a:cubicBezTo>
                  <a:pt x="357" y="492"/>
                  <a:pt x="359" y="492"/>
                  <a:pt x="358" y="493"/>
                </a:cubicBezTo>
                <a:close/>
                <a:moveTo>
                  <a:pt x="356" y="570"/>
                </a:moveTo>
                <a:cubicBezTo>
                  <a:pt x="357" y="569"/>
                  <a:pt x="359" y="570"/>
                  <a:pt x="359" y="570"/>
                </a:cubicBezTo>
                <a:cubicBezTo>
                  <a:pt x="359" y="571"/>
                  <a:pt x="356" y="572"/>
                  <a:pt x="356" y="570"/>
                </a:cubicBezTo>
                <a:close/>
                <a:moveTo>
                  <a:pt x="358" y="619"/>
                </a:moveTo>
                <a:cubicBezTo>
                  <a:pt x="357" y="618"/>
                  <a:pt x="359" y="618"/>
                  <a:pt x="359" y="619"/>
                </a:cubicBezTo>
                <a:cubicBezTo>
                  <a:pt x="360" y="620"/>
                  <a:pt x="358" y="619"/>
                  <a:pt x="358" y="619"/>
                </a:cubicBezTo>
                <a:close/>
                <a:moveTo>
                  <a:pt x="361" y="614"/>
                </a:moveTo>
                <a:cubicBezTo>
                  <a:pt x="359" y="615"/>
                  <a:pt x="360" y="612"/>
                  <a:pt x="361" y="613"/>
                </a:cubicBezTo>
                <a:cubicBezTo>
                  <a:pt x="362" y="613"/>
                  <a:pt x="361" y="614"/>
                  <a:pt x="361" y="614"/>
                </a:cubicBezTo>
                <a:close/>
                <a:moveTo>
                  <a:pt x="363" y="621"/>
                </a:moveTo>
                <a:cubicBezTo>
                  <a:pt x="361" y="622"/>
                  <a:pt x="362" y="619"/>
                  <a:pt x="363" y="621"/>
                </a:cubicBezTo>
                <a:close/>
                <a:moveTo>
                  <a:pt x="360" y="560"/>
                </a:moveTo>
                <a:cubicBezTo>
                  <a:pt x="360" y="558"/>
                  <a:pt x="365" y="557"/>
                  <a:pt x="366" y="560"/>
                </a:cubicBezTo>
                <a:cubicBezTo>
                  <a:pt x="366" y="563"/>
                  <a:pt x="359" y="564"/>
                  <a:pt x="360" y="560"/>
                </a:cubicBezTo>
                <a:close/>
                <a:moveTo>
                  <a:pt x="362" y="459"/>
                </a:moveTo>
                <a:cubicBezTo>
                  <a:pt x="360" y="461"/>
                  <a:pt x="362" y="457"/>
                  <a:pt x="362" y="459"/>
                </a:cubicBezTo>
                <a:cubicBezTo>
                  <a:pt x="362" y="459"/>
                  <a:pt x="362" y="459"/>
                  <a:pt x="362" y="459"/>
                </a:cubicBezTo>
                <a:close/>
                <a:moveTo>
                  <a:pt x="362" y="508"/>
                </a:moveTo>
                <a:cubicBezTo>
                  <a:pt x="363" y="507"/>
                  <a:pt x="361" y="510"/>
                  <a:pt x="362" y="508"/>
                </a:cubicBezTo>
                <a:close/>
                <a:moveTo>
                  <a:pt x="362" y="515"/>
                </a:moveTo>
                <a:cubicBezTo>
                  <a:pt x="361" y="516"/>
                  <a:pt x="363" y="514"/>
                  <a:pt x="362" y="515"/>
                </a:cubicBezTo>
                <a:close/>
                <a:moveTo>
                  <a:pt x="366" y="501"/>
                </a:moveTo>
                <a:cubicBezTo>
                  <a:pt x="366" y="501"/>
                  <a:pt x="366" y="501"/>
                  <a:pt x="366" y="501"/>
                </a:cubicBezTo>
                <a:cubicBezTo>
                  <a:pt x="365" y="503"/>
                  <a:pt x="367" y="499"/>
                  <a:pt x="366" y="501"/>
                </a:cubicBezTo>
                <a:close/>
                <a:moveTo>
                  <a:pt x="368" y="619"/>
                </a:moveTo>
                <a:cubicBezTo>
                  <a:pt x="367" y="618"/>
                  <a:pt x="369" y="618"/>
                  <a:pt x="369" y="617"/>
                </a:cubicBezTo>
                <a:cubicBezTo>
                  <a:pt x="369" y="618"/>
                  <a:pt x="368" y="618"/>
                  <a:pt x="368" y="619"/>
                </a:cubicBezTo>
                <a:close/>
                <a:moveTo>
                  <a:pt x="371" y="614"/>
                </a:moveTo>
                <a:cubicBezTo>
                  <a:pt x="371" y="614"/>
                  <a:pt x="372" y="615"/>
                  <a:pt x="372" y="615"/>
                </a:cubicBezTo>
                <a:cubicBezTo>
                  <a:pt x="370" y="616"/>
                  <a:pt x="372" y="612"/>
                  <a:pt x="371" y="614"/>
                </a:cubicBezTo>
                <a:close/>
                <a:moveTo>
                  <a:pt x="366" y="619"/>
                </a:moveTo>
                <a:cubicBezTo>
                  <a:pt x="367" y="616"/>
                  <a:pt x="370" y="613"/>
                  <a:pt x="372" y="611"/>
                </a:cubicBezTo>
                <a:cubicBezTo>
                  <a:pt x="370" y="614"/>
                  <a:pt x="368" y="617"/>
                  <a:pt x="366" y="619"/>
                </a:cubicBezTo>
                <a:close/>
                <a:moveTo>
                  <a:pt x="369" y="581"/>
                </a:moveTo>
                <a:cubicBezTo>
                  <a:pt x="369" y="582"/>
                  <a:pt x="368" y="582"/>
                  <a:pt x="367" y="582"/>
                </a:cubicBezTo>
                <a:cubicBezTo>
                  <a:pt x="365" y="579"/>
                  <a:pt x="372" y="579"/>
                  <a:pt x="369" y="581"/>
                </a:cubicBezTo>
                <a:close/>
                <a:moveTo>
                  <a:pt x="371" y="586"/>
                </a:moveTo>
                <a:cubicBezTo>
                  <a:pt x="371" y="586"/>
                  <a:pt x="370" y="587"/>
                  <a:pt x="370" y="587"/>
                </a:cubicBezTo>
                <a:cubicBezTo>
                  <a:pt x="369" y="586"/>
                  <a:pt x="371" y="585"/>
                  <a:pt x="371" y="586"/>
                </a:cubicBezTo>
                <a:close/>
                <a:moveTo>
                  <a:pt x="367" y="558"/>
                </a:moveTo>
                <a:cubicBezTo>
                  <a:pt x="368" y="557"/>
                  <a:pt x="365" y="556"/>
                  <a:pt x="366" y="555"/>
                </a:cubicBezTo>
                <a:cubicBezTo>
                  <a:pt x="367" y="553"/>
                  <a:pt x="368" y="555"/>
                  <a:pt x="369" y="554"/>
                </a:cubicBezTo>
                <a:cubicBezTo>
                  <a:pt x="371" y="552"/>
                  <a:pt x="372" y="548"/>
                  <a:pt x="375" y="546"/>
                </a:cubicBezTo>
                <a:cubicBezTo>
                  <a:pt x="373" y="550"/>
                  <a:pt x="370" y="554"/>
                  <a:pt x="367" y="558"/>
                </a:cubicBezTo>
                <a:close/>
                <a:moveTo>
                  <a:pt x="369" y="514"/>
                </a:moveTo>
                <a:cubicBezTo>
                  <a:pt x="369" y="514"/>
                  <a:pt x="368" y="514"/>
                  <a:pt x="368" y="514"/>
                </a:cubicBezTo>
                <a:cubicBezTo>
                  <a:pt x="366" y="516"/>
                  <a:pt x="369" y="511"/>
                  <a:pt x="369" y="514"/>
                </a:cubicBezTo>
                <a:close/>
                <a:moveTo>
                  <a:pt x="370" y="543"/>
                </a:moveTo>
                <a:cubicBezTo>
                  <a:pt x="371" y="544"/>
                  <a:pt x="369" y="545"/>
                  <a:pt x="369" y="545"/>
                </a:cubicBezTo>
                <a:cubicBezTo>
                  <a:pt x="366" y="546"/>
                  <a:pt x="368" y="541"/>
                  <a:pt x="370" y="543"/>
                </a:cubicBezTo>
                <a:close/>
                <a:moveTo>
                  <a:pt x="375" y="543"/>
                </a:moveTo>
                <a:cubicBezTo>
                  <a:pt x="375" y="544"/>
                  <a:pt x="372" y="545"/>
                  <a:pt x="372" y="543"/>
                </a:cubicBezTo>
                <a:cubicBezTo>
                  <a:pt x="372" y="542"/>
                  <a:pt x="374" y="542"/>
                  <a:pt x="375" y="543"/>
                </a:cubicBezTo>
                <a:close/>
                <a:moveTo>
                  <a:pt x="373" y="506"/>
                </a:moveTo>
                <a:cubicBezTo>
                  <a:pt x="373" y="505"/>
                  <a:pt x="372" y="507"/>
                  <a:pt x="373" y="506"/>
                </a:cubicBezTo>
                <a:close/>
                <a:moveTo>
                  <a:pt x="377" y="627"/>
                </a:moveTo>
                <a:cubicBezTo>
                  <a:pt x="377" y="629"/>
                  <a:pt x="375" y="627"/>
                  <a:pt x="377" y="627"/>
                </a:cubicBezTo>
                <a:close/>
                <a:moveTo>
                  <a:pt x="376" y="607"/>
                </a:moveTo>
                <a:cubicBezTo>
                  <a:pt x="376" y="608"/>
                  <a:pt x="375" y="606"/>
                  <a:pt x="376" y="607"/>
                </a:cubicBezTo>
                <a:close/>
                <a:moveTo>
                  <a:pt x="373" y="574"/>
                </a:moveTo>
                <a:cubicBezTo>
                  <a:pt x="374" y="573"/>
                  <a:pt x="376" y="572"/>
                  <a:pt x="377" y="572"/>
                </a:cubicBezTo>
                <a:cubicBezTo>
                  <a:pt x="376" y="573"/>
                  <a:pt x="375" y="573"/>
                  <a:pt x="373" y="574"/>
                </a:cubicBezTo>
                <a:close/>
                <a:moveTo>
                  <a:pt x="376" y="566"/>
                </a:moveTo>
                <a:cubicBezTo>
                  <a:pt x="373" y="566"/>
                  <a:pt x="376" y="562"/>
                  <a:pt x="377" y="564"/>
                </a:cubicBezTo>
                <a:cubicBezTo>
                  <a:pt x="377" y="565"/>
                  <a:pt x="376" y="565"/>
                  <a:pt x="376" y="566"/>
                </a:cubicBezTo>
                <a:close/>
                <a:moveTo>
                  <a:pt x="373" y="610"/>
                </a:moveTo>
                <a:cubicBezTo>
                  <a:pt x="373" y="609"/>
                  <a:pt x="374" y="608"/>
                  <a:pt x="375" y="607"/>
                </a:cubicBezTo>
                <a:cubicBezTo>
                  <a:pt x="376" y="608"/>
                  <a:pt x="374" y="610"/>
                  <a:pt x="373" y="610"/>
                </a:cubicBezTo>
                <a:close/>
                <a:moveTo>
                  <a:pt x="375" y="636"/>
                </a:moveTo>
                <a:cubicBezTo>
                  <a:pt x="375" y="635"/>
                  <a:pt x="382" y="634"/>
                  <a:pt x="382" y="637"/>
                </a:cubicBezTo>
                <a:cubicBezTo>
                  <a:pt x="382" y="641"/>
                  <a:pt x="373" y="640"/>
                  <a:pt x="375" y="636"/>
                </a:cubicBezTo>
                <a:close/>
                <a:moveTo>
                  <a:pt x="378" y="554"/>
                </a:moveTo>
                <a:cubicBezTo>
                  <a:pt x="378" y="555"/>
                  <a:pt x="377" y="553"/>
                  <a:pt x="378" y="554"/>
                </a:cubicBezTo>
                <a:close/>
                <a:moveTo>
                  <a:pt x="378" y="572"/>
                </a:moveTo>
                <a:cubicBezTo>
                  <a:pt x="378" y="572"/>
                  <a:pt x="377" y="572"/>
                  <a:pt x="378" y="572"/>
                </a:cubicBezTo>
                <a:close/>
                <a:moveTo>
                  <a:pt x="385" y="570"/>
                </a:moveTo>
                <a:cubicBezTo>
                  <a:pt x="384" y="571"/>
                  <a:pt x="382" y="571"/>
                  <a:pt x="380" y="571"/>
                </a:cubicBezTo>
                <a:cubicBezTo>
                  <a:pt x="381" y="570"/>
                  <a:pt x="383" y="570"/>
                  <a:pt x="385" y="570"/>
                </a:cubicBezTo>
                <a:close/>
                <a:moveTo>
                  <a:pt x="384" y="504"/>
                </a:moveTo>
                <a:cubicBezTo>
                  <a:pt x="385" y="504"/>
                  <a:pt x="384" y="505"/>
                  <a:pt x="384" y="504"/>
                </a:cubicBezTo>
                <a:cubicBezTo>
                  <a:pt x="383" y="504"/>
                  <a:pt x="384" y="504"/>
                  <a:pt x="384" y="504"/>
                </a:cubicBezTo>
                <a:close/>
                <a:moveTo>
                  <a:pt x="383" y="466"/>
                </a:moveTo>
                <a:cubicBezTo>
                  <a:pt x="381" y="468"/>
                  <a:pt x="379" y="469"/>
                  <a:pt x="377" y="470"/>
                </a:cubicBezTo>
                <a:cubicBezTo>
                  <a:pt x="378" y="469"/>
                  <a:pt x="380" y="467"/>
                  <a:pt x="383" y="466"/>
                </a:cubicBezTo>
                <a:close/>
                <a:moveTo>
                  <a:pt x="378" y="425"/>
                </a:moveTo>
                <a:cubicBezTo>
                  <a:pt x="378" y="425"/>
                  <a:pt x="378" y="426"/>
                  <a:pt x="378" y="426"/>
                </a:cubicBezTo>
                <a:cubicBezTo>
                  <a:pt x="378" y="427"/>
                  <a:pt x="377" y="425"/>
                  <a:pt x="378" y="425"/>
                </a:cubicBezTo>
                <a:close/>
                <a:moveTo>
                  <a:pt x="380" y="453"/>
                </a:moveTo>
                <a:cubicBezTo>
                  <a:pt x="381" y="452"/>
                  <a:pt x="381" y="452"/>
                  <a:pt x="382" y="452"/>
                </a:cubicBezTo>
                <a:cubicBezTo>
                  <a:pt x="381" y="452"/>
                  <a:pt x="380" y="453"/>
                  <a:pt x="380" y="453"/>
                </a:cubicBezTo>
                <a:close/>
                <a:moveTo>
                  <a:pt x="376" y="394"/>
                </a:moveTo>
                <a:cubicBezTo>
                  <a:pt x="377" y="394"/>
                  <a:pt x="381" y="388"/>
                  <a:pt x="384" y="388"/>
                </a:cubicBezTo>
                <a:cubicBezTo>
                  <a:pt x="381" y="389"/>
                  <a:pt x="379" y="394"/>
                  <a:pt x="376" y="394"/>
                </a:cubicBezTo>
                <a:close/>
                <a:moveTo>
                  <a:pt x="397" y="460"/>
                </a:moveTo>
                <a:cubicBezTo>
                  <a:pt x="394" y="463"/>
                  <a:pt x="387" y="465"/>
                  <a:pt x="383" y="468"/>
                </a:cubicBezTo>
                <a:cubicBezTo>
                  <a:pt x="387" y="464"/>
                  <a:pt x="392" y="463"/>
                  <a:pt x="397" y="460"/>
                </a:cubicBezTo>
                <a:close/>
                <a:moveTo>
                  <a:pt x="386" y="182"/>
                </a:moveTo>
                <a:cubicBezTo>
                  <a:pt x="386" y="181"/>
                  <a:pt x="388" y="181"/>
                  <a:pt x="388" y="182"/>
                </a:cubicBezTo>
                <a:cubicBezTo>
                  <a:pt x="389" y="183"/>
                  <a:pt x="386" y="183"/>
                  <a:pt x="386" y="182"/>
                </a:cubicBezTo>
                <a:close/>
                <a:moveTo>
                  <a:pt x="398" y="418"/>
                </a:moveTo>
                <a:cubicBezTo>
                  <a:pt x="398" y="419"/>
                  <a:pt x="396" y="420"/>
                  <a:pt x="396" y="421"/>
                </a:cubicBezTo>
                <a:cubicBezTo>
                  <a:pt x="395" y="420"/>
                  <a:pt x="397" y="418"/>
                  <a:pt x="398" y="418"/>
                </a:cubicBezTo>
                <a:close/>
                <a:moveTo>
                  <a:pt x="397" y="371"/>
                </a:moveTo>
                <a:cubicBezTo>
                  <a:pt x="395" y="372"/>
                  <a:pt x="398" y="370"/>
                  <a:pt x="397" y="371"/>
                </a:cubicBezTo>
                <a:close/>
                <a:moveTo>
                  <a:pt x="403" y="137"/>
                </a:moveTo>
                <a:cubicBezTo>
                  <a:pt x="405" y="139"/>
                  <a:pt x="398" y="141"/>
                  <a:pt x="398" y="140"/>
                </a:cubicBezTo>
                <a:cubicBezTo>
                  <a:pt x="397" y="140"/>
                  <a:pt x="401" y="135"/>
                  <a:pt x="403" y="137"/>
                </a:cubicBezTo>
                <a:close/>
                <a:moveTo>
                  <a:pt x="401" y="86"/>
                </a:moveTo>
                <a:cubicBezTo>
                  <a:pt x="402" y="84"/>
                  <a:pt x="404" y="89"/>
                  <a:pt x="401" y="88"/>
                </a:cubicBezTo>
                <a:cubicBezTo>
                  <a:pt x="400" y="88"/>
                  <a:pt x="400" y="87"/>
                  <a:pt x="401" y="86"/>
                </a:cubicBezTo>
                <a:close/>
                <a:moveTo>
                  <a:pt x="440" y="59"/>
                </a:moveTo>
                <a:cubicBezTo>
                  <a:pt x="440" y="60"/>
                  <a:pt x="438" y="61"/>
                  <a:pt x="438" y="60"/>
                </a:cubicBezTo>
                <a:cubicBezTo>
                  <a:pt x="437" y="60"/>
                  <a:pt x="440" y="58"/>
                  <a:pt x="440" y="59"/>
                </a:cubicBezTo>
                <a:close/>
                <a:moveTo>
                  <a:pt x="438" y="29"/>
                </a:moveTo>
                <a:cubicBezTo>
                  <a:pt x="438" y="28"/>
                  <a:pt x="440" y="29"/>
                  <a:pt x="440" y="29"/>
                </a:cubicBezTo>
                <a:cubicBezTo>
                  <a:pt x="441" y="30"/>
                  <a:pt x="438" y="30"/>
                  <a:pt x="438" y="29"/>
                </a:cubicBezTo>
                <a:close/>
                <a:moveTo>
                  <a:pt x="437" y="51"/>
                </a:moveTo>
                <a:cubicBezTo>
                  <a:pt x="437" y="51"/>
                  <a:pt x="438" y="50"/>
                  <a:pt x="438" y="51"/>
                </a:cubicBezTo>
                <a:cubicBezTo>
                  <a:pt x="439" y="52"/>
                  <a:pt x="437" y="51"/>
                  <a:pt x="437" y="51"/>
                </a:cubicBezTo>
                <a:close/>
                <a:moveTo>
                  <a:pt x="443" y="75"/>
                </a:moveTo>
                <a:cubicBezTo>
                  <a:pt x="442" y="77"/>
                  <a:pt x="431" y="76"/>
                  <a:pt x="432" y="75"/>
                </a:cubicBezTo>
                <a:cubicBezTo>
                  <a:pt x="432" y="74"/>
                  <a:pt x="440" y="76"/>
                  <a:pt x="443" y="75"/>
                </a:cubicBezTo>
                <a:close/>
                <a:moveTo>
                  <a:pt x="450" y="40"/>
                </a:moveTo>
                <a:cubicBezTo>
                  <a:pt x="450" y="40"/>
                  <a:pt x="448" y="39"/>
                  <a:pt x="448" y="39"/>
                </a:cubicBezTo>
                <a:cubicBezTo>
                  <a:pt x="448" y="39"/>
                  <a:pt x="450" y="39"/>
                  <a:pt x="450" y="40"/>
                </a:cubicBezTo>
                <a:close/>
                <a:moveTo>
                  <a:pt x="453" y="36"/>
                </a:moveTo>
                <a:cubicBezTo>
                  <a:pt x="449" y="39"/>
                  <a:pt x="447" y="36"/>
                  <a:pt x="453" y="36"/>
                </a:cubicBezTo>
                <a:close/>
                <a:moveTo>
                  <a:pt x="446" y="83"/>
                </a:moveTo>
                <a:cubicBezTo>
                  <a:pt x="448" y="81"/>
                  <a:pt x="448" y="83"/>
                  <a:pt x="446" y="83"/>
                </a:cubicBezTo>
                <a:close/>
                <a:moveTo>
                  <a:pt x="445" y="112"/>
                </a:moveTo>
                <a:cubicBezTo>
                  <a:pt x="446" y="111"/>
                  <a:pt x="446" y="112"/>
                  <a:pt x="447" y="111"/>
                </a:cubicBezTo>
                <a:cubicBezTo>
                  <a:pt x="447" y="111"/>
                  <a:pt x="446" y="112"/>
                  <a:pt x="445" y="112"/>
                </a:cubicBezTo>
                <a:close/>
                <a:moveTo>
                  <a:pt x="449" y="53"/>
                </a:moveTo>
                <a:cubicBezTo>
                  <a:pt x="449" y="54"/>
                  <a:pt x="449" y="55"/>
                  <a:pt x="448" y="55"/>
                </a:cubicBezTo>
                <a:cubicBezTo>
                  <a:pt x="446" y="55"/>
                  <a:pt x="448" y="51"/>
                  <a:pt x="449" y="53"/>
                </a:cubicBezTo>
                <a:close/>
                <a:moveTo>
                  <a:pt x="448" y="50"/>
                </a:moveTo>
                <a:cubicBezTo>
                  <a:pt x="447" y="51"/>
                  <a:pt x="446" y="51"/>
                  <a:pt x="445" y="52"/>
                </a:cubicBezTo>
                <a:cubicBezTo>
                  <a:pt x="445" y="51"/>
                  <a:pt x="447" y="50"/>
                  <a:pt x="448" y="50"/>
                </a:cubicBezTo>
                <a:close/>
                <a:moveTo>
                  <a:pt x="444" y="51"/>
                </a:moveTo>
                <a:cubicBezTo>
                  <a:pt x="444" y="51"/>
                  <a:pt x="445" y="50"/>
                  <a:pt x="445" y="51"/>
                </a:cubicBezTo>
                <a:cubicBezTo>
                  <a:pt x="445" y="51"/>
                  <a:pt x="444" y="52"/>
                  <a:pt x="444" y="51"/>
                </a:cubicBezTo>
                <a:close/>
                <a:moveTo>
                  <a:pt x="444" y="112"/>
                </a:moveTo>
                <a:cubicBezTo>
                  <a:pt x="444" y="112"/>
                  <a:pt x="445" y="112"/>
                  <a:pt x="445" y="112"/>
                </a:cubicBezTo>
                <a:cubicBezTo>
                  <a:pt x="445" y="114"/>
                  <a:pt x="442" y="111"/>
                  <a:pt x="444" y="112"/>
                </a:cubicBezTo>
                <a:close/>
                <a:moveTo>
                  <a:pt x="443" y="52"/>
                </a:moveTo>
                <a:cubicBezTo>
                  <a:pt x="445" y="51"/>
                  <a:pt x="441" y="52"/>
                  <a:pt x="443" y="52"/>
                </a:cubicBezTo>
                <a:close/>
                <a:moveTo>
                  <a:pt x="445" y="115"/>
                </a:moveTo>
                <a:cubicBezTo>
                  <a:pt x="453" y="112"/>
                  <a:pt x="454" y="123"/>
                  <a:pt x="446" y="122"/>
                </a:cubicBezTo>
                <a:cubicBezTo>
                  <a:pt x="445" y="122"/>
                  <a:pt x="442" y="121"/>
                  <a:pt x="442" y="118"/>
                </a:cubicBezTo>
                <a:cubicBezTo>
                  <a:pt x="443" y="119"/>
                  <a:pt x="444" y="116"/>
                  <a:pt x="445" y="115"/>
                </a:cubicBezTo>
                <a:close/>
                <a:moveTo>
                  <a:pt x="450" y="112"/>
                </a:moveTo>
                <a:cubicBezTo>
                  <a:pt x="451" y="113"/>
                  <a:pt x="449" y="113"/>
                  <a:pt x="449" y="113"/>
                </a:cubicBezTo>
                <a:cubicBezTo>
                  <a:pt x="449" y="113"/>
                  <a:pt x="449" y="112"/>
                  <a:pt x="450" y="112"/>
                </a:cubicBezTo>
                <a:close/>
                <a:moveTo>
                  <a:pt x="456" y="102"/>
                </a:moveTo>
                <a:cubicBezTo>
                  <a:pt x="456" y="104"/>
                  <a:pt x="453" y="105"/>
                  <a:pt x="452" y="103"/>
                </a:cubicBezTo>
                <a:cubicBezTo>
                  <a:pt x="450" y="102"/>
                  <a:pt x="456" y="100"/>
                  <a:pt x="456" y="102"/>
                </a:cubicBezTo>
                <a:close/>
                <a:moveTo>
                  <a:pt x="452" y="90"/>
                </a:moveTo>
                <a:cubicBezTo>
                  <a:pt x="452" y="89"/>
                  <a:pt x="454" y="89"/>
                  <a:pt x="454" y="89"/>
                </a:cubicBezTo>
                <a:cubicBezTo>
                  <a:pt x="455" y="90"/>
                  <a:pt x="453" y="91"/>
                  <a:pt x="452" y="90"/>
                </a:cubicBezTo>
                <a:close/>
                <a:moveTo>
                  <a:pt x="454" y="91"/>
                </a:moveTo>
                <a:cubicBezTo>
                  <a:pt x="455" y="89"/>
                  <a:pt x="456" y="92"/>
                  <a:pt x="454" y="91"/>
                </a:cubicBezTo>
                <a:close/>
                <a:moveTo>
                  <a:pt x="456" y="169"/>
                </a:moveTo>
                <a:cubicBezTo>
                  <a:pt x="461" y="172"/>
                  <a:pt x="453" y="179"/>
                  <a:pt x="448" y="175"/>
                </a:cubicBezTo>
                <a:cubicBezTo>
                  <a:pt x="450" y="175"/>
                  <a:pt x="449" y="174"/>
                  <a:pt x="447" y="173"/>
                </a:cubicBezTo>
                <a:cubicBezTo>
                  <a:pt x="448" y="170"/>
                  <a:pt x="452" y="167"/>
                  <a:pt x="456" y="169"/>
                </a:cubicBezTo>
                <a:close/>
                <a:moveTo>
                  <a:pt x="461" y="136"/>
                </a:moveTo>
                <a:cubicBezTo>
                  <a:pt x="465" y="134"/>
                  <a:pt x="460" y="140"/>
                  <a:pt x="457" y="139"/>
                </a:cubicBezTo>
                <a:cubicBezTo>
                  <a:pt x="458" y="138"/>
                  <a:pt x="460" y="136"/>
                  <a:pt x="461" y="136"/>
                </a:cubicBezTo>
                <a:close/>
                <a:moveTo>
                  <a:pt x="459" y="124"/>
                </a:moveTo>
                <a:cubicBezTo>
                  <a:pt x="458" y="124"/>
                  <a:pt x="460" y="124"/>
                  <a:pt x="459" y="124"/>
                </a:cubicBezTo>
                <a:close/>
                <a:moveTo>
                  <a:pt x="463" y="74"/>
                </a:moveTo>
                <a:cubicBezTo>
                  <a:pt x="462" y="74"/>
                  <a:pt x="463" y="73"/>
                  <a:pt x="464" y="74"/>
                </a:cubicBezTo>
                <a:cubicBezTo>
                  <a:pt x="464" y="74"/>
                  <a:pt x="463" y="75"/>
                  <a:pt x="463" y="74"/>
                </a:cubicBezTo>
                <a:close/>
                <a:moveTo>
                  <a:pt x="463" y="76"/>
                </a:moveTo>
                <a:cubicBezTo>
                  <a:pt x="464" y="74"/>
                  <a:pt x="465" y="76"/>
                  <a:pt x="463" y="76"/>
                </a:cubicBezTo>
                <a:close/>
                <a:moveTo>
                  <a:pt x="464" y="82"/>
                </a:moveTo>
                <a:cubicBezTo>
                  <a:pt x="464" y="84"/>
                  <a:pt x="459" y="84"/>
                  <a:pt x="460" y="81"/>
                </a:cubicBezTo>
                <a:cubicBezTo>
                  <a:pt x="460" y="80"/>
                  <a:pt x="464" y="81"/>
                  <a:pt x="464" y="82"/>
                </a:cubicBezTo>
                <a:close/>
                <a:moveTo>
                  <a:pt x="462" y="133"/>
                </a:moveTo>
                <a:cubicBezTo>
                  <a:pt x="463" y="134"/>
                  <a:pt x="461" y="135"/>
                  <a:pt x="461" y="135"/>
                </a:cubicBezTo>
                <a:cubicBezTo>
                  <a:pt x="460" y="134"/>
                  <a:pt x="462" y="133"/>
                  <a:pt x="462" y="133"/>
                </a:cubicBezTo>
                <a:close/>
                <a:moveTo>
                  <a:pt x="460" y="102"/>
                </a:moveTo>
                <a:cubicBezTo>
                  <a:pt x="460" y="102"/>
                  <a:pt x="461" y="102"/>
                  <a:pt x="461" y="102"/>
                </a:cubicBezTo>
                <a:cubicBezTo>
                  <a:pt x="463" y="99"/>
                  <a:pt x="462" y="103"/>
                  <a:pt x="460" y="102"/>
                </a:cubicBezTo>
                <a:close/>
                <a:moveTo>
                  <a:pt x="460" y="130"/>
                </a:moveTo>
                <a:cubicBezTo>
                  <a:pt x="460" y="130"/>
                  <a:pt x="460" y="131"/>
                  <a:pt x="460" y="131"/>
                </a:cubicBezTo>
                <a:cubicBezTo>
                  <a:pt x="459" y="131"/>
                  <a:pt x="460" y="130"/>
                  <a:pt x="460" y="130"/>
                </a:cubicBezTo>
                <a:close/>
                <a:moveTo>
                  <a:pt x="466" y="137"/>
                </a:moveTo>
                <a:cubicBezTo>
                  <a:pt x="466" y="138"/>
                  <a:pt x="464" y="138"/>
                  <a:pt x="464" y="138"/>
                </a:cubicBezTo>
                <a:cubicBezTo>
                  <a:pt x="464" y="137"/>
                  <a:pt x="466" y="136"/>
                  <a:pt x="466" y="137"/>
                </a:cubicBezTo>
                <a:close/>
                <a:moveTo>
                  <a:pt x="465" y="123"/>
                </a:moveTo>
                <a:cubicBezTo>
                  <a:pt x="467" y="122"/>
                  <a:pt x="467" y="123"/>
                  <a:pt x="465" y="123"/>
                </a:cubicBezTo>
                <a:close/>
                <a:moveTo>
                  <a:pt x="469" y="145"/>
                </a:moveTo>
                <a:cubicBezTo>
                  <a:pt x="469" y="145"/>
                  <a:pt x="468" y="147"/>
                  <a:pt x="468" y="147"/>
                </a:cubicBezTo>
                <a:cubicBezTo>
                  <a:pt x="467" y="148"/>
                  <a:pt x="467" y="149"/>
                  <a:pt x="465" y="148"/>
                </a:cubicBezTo>
                <a:cubicBezTo>
                  <a:pt x="465" y="148"/>
                  <a:pt x="465" y="147"/>
                  <a:pt x="465" y="147"/>
                </a:cubicBezTo>
                <a:cubicBezTo>
                  <a:pt x="465" y="147"/>
                  <a:pt x="462" y="146"/>
                  <a:pt x="462" y="145"/>
                </a:cubicBezTo>
                <a:cubicBezTo>
                  <a:pt x="462" y="142"/>
                  <a:pt x="469" y="144"/>
                  <a:pt x="469" y="145"/>
                </a:cubicBezTo>
                <a:close/>
                <a:moveTo>
                  <a:pt x="476" y="189"/>
                </a:moveTo>
                <a:cubicBezTo>
                  <a:pt x="475" y="192"/>
                  <a:pt x="472" y="193"/>
                  <a:pt x="470" y="195"/>
                </a:cubicBezTo>
                <a:cubicBezTo>
                  <a:pt x="471" y="193"/>
                  <a:pt x="474" y="191"/>
                  <a:pt x="476" y="189"/>
                </a:cubicBezTo>
                <a:close/>
                <a:moveTo>
                  <a:pt x="474" y="164"/>
                </a:moveTo>
                <a:cubicBezTo>
                  <a:pt x="476" y="162"/>
                  <a:pt x="475" y="166"/>
                  <a:pt x="473" y="165"/>
                </a:cubicBezTo>
                <a:cubicBezTo>
                  <a:pt x="473" y="165"/>
                  <a:pt x="474" y="164"/>
                  <a:pt x="474" y="164"/>
                </a:cubicBezTo>
                <a:close/>
                <a:moveTo>
                  <a:pt x="478" y="618"/>
                </a:moveTo>
                <a:cubicBezTo>
                  <a:pt x="478" y="617"/>
                  <a:pt x="481" y="616"/>
                  <a:pt x="482" y="618"/>
                </a:cubicBezTo>
                <a:cubicBezTo>
                  <a:pt x="483" y="621"/>
                  <a:pt x="477" y="622"/>
                  <a:pt x="478" y="618"/>
                </a:cubicBezTo>
                <a:close/>
                <a:moveTo>
                  <a:pt x="479" y="669"/>
                </a:moveTo>
                <a:cubicBezTo>
                  <a:pt x="479" y="669"/>
                  <a:pt x="477" y="670"/>
                  <a:pt x="477" y="669"/>
                </a:cubicBezTo>
                <a:cubicBezTo>
                  <a:pt x="476" y="667"/>
                  <a:pt x="479" y="668"/>
                  <a:pt x="479" y="669"/>
                </a:cubicBezTo>
                <a:close/>
                <a:moveTo>
                  <a:pt x="477" y="598"/>
                </a:moveTo>
                <a:cubicBezTo>
                  <a:pt x="477" y="597"/>
                  <a:pt x="480" y="596"/>
                  <a:pt x="481" y="594"/>
                </a:cubicBezTo>
                <a:cubicBezTo>
                  <a:pt x="481" y="596"/>
                  <a:pt x="478" y="597"/>
                  <a:pt x="477" y="598"/>
                </a:cubicBezTo>
                <a:close/>
                <a:moveTo>
                  <a:pt x="478" y="310"/>
                </a:moveTo>
                <a:cubicBezTo>
                  <a:pt x="480" y="308"/>
                  <a:pt x="480" y="313"/>
                  <a:pt x="478" y="312"/>
                </a:cubicBezTo>
                <a:cubicBezTo>
                  <a:pt x="477" y="311"/>
                  <a:pt x="478" y="310"/>
                  <a:pt x="478" y="310"/>
                </a:cubicBezTo>
                <a:close/>
                <a:moveTo>
                  <a:pt x="478" y="226"/>
                </a:moveTo>
                <a:cubicBezTo>
                  <a:pt x="479" y="224"/>
                  <a:pt x="480" y="227"/>
                  <a:pt x="478" y="227"/>
                </a:cubicBezTo>
                <a:cubicBezTo>
                  <a:pt x="478" y="226"/>
                  <a:pt x="478" y="226"/>
                  <a:pt x="478" y="226"/>
                </a:cubicBezTo>
                <a:close/>
                <a:moveTo>
                  <a:pt x="476" y="210"/>
                </a:moveTo>
                <a:cubicBezTo>
                  <a:pt x="475" y="208"/>
                  <a:pt x="480" y="205"/>
                  <a:pt x="480" y="209"/>
                </a:cubicBezTo>
                <a:cubicBezTo>
                  <a:pt x="481" y="210"/>
                  <a:pt x="476" y="211"/>
                  <a:pt x="476" y="210"/>
                </a:cubicBezTo>
                <a:close/>
                <a:moveTo>
                  <a:pt x="473" y="217"/>
                </a:moveTo>
                <a:cubicBezTo>
                  <a:pt x="472" y="219"/>
                  <a:pt x="467" y="225"/>
                  <a:pt x="465" y="226"/>
                </a:cubicBezTo>
                <a:cubicBezTo>
                  <a:pt x="462" y="227"/>
                  <a:pt x="466" y="224"/>
                  <a:pt x="467" y="223"/>
                </a:cubicBezTo>
                <a:cubicBezTo>
                  <a:pt x="469" y="222"/>
                  <a:pt x="471" y="218"/>
                  <a:pt x="472" y="215"/>
                </a:cubicBezTo>
                <a:cubicBezTo>
                  <a:pt x="472" y="216"/>
                  <a:pt x="472" y="216"/>
                  <a:pt x="472" y="215"/>
                </a:cubicBezTo>
                <a:cubicBezTo>
                  <a:pt x="472" y="215"/>
                  <a:pt x="472" y="215"/>
                  <a:pt x="473" y="215"/>
                </a:cubicBezTo>
                <a:cubicBezTo>
                  <a:pt x="473" y="215"/>
                  <a:pt x="473" y="215"/>
                  <a:pt x="473" y="215"/>
                </a:cubicBezTo>
                <a:cubicBezTo>
                  <a:pt x="474" y="214"/>
                  <a:pt x="474" y="213"/>
                  <a:pt x="475" y="212"/>
                </a:cubicBezTo>
                <a:cubicBezTo>
                  <a:pt x="475" y="212"/>
                  <a:pt x="476" y="213"/>
                  <a:pt x="476" y="213"/>
                </a:cubicBezTo>
                <a:cubicBezTo>
                  <a:pt x="476" y="213"/>
                  <a:pt x="474" y="215"/>
                  <a:pt x="473" y="217"/>
                </a:cubicBezTo>
                <a:close/>
                <a:moveTo>
                  <a:pt x="475" y="228"/>
                </a:moveTo>
                <a:cubicBezTo>
                  <a:pt x="474" y="227"/>
                  <a:pt x="475" y="227"/>
                  <a:pt x="475" y="227"/>
                </a:cubicBezTo>
                <a:cubicBezTo>
                  <a:pt x="476" y="227"/>
                  <a:pt x="475" y="229"/>
                  <a:pt x="475" y="228"/>
                </a:cubicBezTo>
                <a:close/>
                <a:moveTo>
                  <a:pt x="473" y="638"/>
                </a:moveTo>
                <a:cubicBezTo>
                  <a:pt x="473" y="638"/>
                  <a:pt x="474" y="637"/>
                  <a:pt x="474" y="638"/>
                </a:cubicBezTo>
                <a:cubicBezTo>
                  <a:pt x="475" y="639"/>
                  <a:pt x="472" y="640"/>
                  <a:pt x="473" y="638"/>
                </a:cubicBezTo>
                <a:close/>
                <a:moveTo>
                  <a:pt x="471" y="623"/>
                </a:moveTo>
                <a:cubicBezTo>
                  <a:pt x="471" y="622"/>
                  <a:pt x="473" y="622"/>
                  <a:pt x="473" y="623"/>
                </a:cubicBezTo>
                <a:cubicBezTo>
                  <a:pt x="473" y="624"/>
                  <a:pt x="471" y="624"/>
                  <a:pt x="471" y="623"/>
                </a:cubicBezTo>
                <a:close/>
                <a:moveTo>
                  <a:pt x="469" y="613"/>
                </a:moveTo>
                <a:cubicBezTo>
                  <a:pt x="465" y="614"/>
                  <a:pt x="462" y="616"/>
                  <a:pt x="459" y="615"/>
                </a:cubicBezTo>
                <a:cubicBezTo>
                  <a:pt x="460" y="612"/>
                  <a:pt x="468" y="613"/>
                  <a:pt x="470" y="613"/>
                </a:cubicBezTo>
                <a:cubicBezTo>
                  <a:pt x="471" y="613"/>
                  <a:pt x="476" y="611"/>
                  <a:pt x="475" y="613"/>
                </a:cubicBezTo>
                <a:cubicBezTo>
                  <a:pt x="474" y="614"/>
                  <a:pt x="469" y="613"/>
                  <a:pt x="469" y="613"/>
                </a:cubicBezTo>
                <a:close/>
                <a:moveTo>
                  <a:pt x="470" y="623"/>
                </a:moveTo>
                <a:cubicBezTo>
                  <a:pt x="470" y="623"/>
                  <a:pt x="469" y="623"/>
                  <a:pt x="469" y="623"/>
                </a:cubicBezTo>
                <a:cubicBezTo>
                  <a:pt x="469" y="623"/>
                  <a:pt x="470" y="622"/>
                  <a:pt x="470" y="623"/>
                </a:cubicBezTo>
                <a:close/>
                <a:moveTo>
                  <a:pt x="467" y="625"/>
                </a:moveTo>
                <a:cubicBezTo>
                  <a:pt x="467" y="625"/>
                  <a:pt x="467" y="624"/>
                  <a:pt x="468" y="624"/>
                </a:cubicBezTo>
                <a:cubicBezTo>
                  <a:pt x="468" y="624"/>
                  <a:pt x="467" y="625"/>
                  <a:pt x="467" y="625"/>
                </a:cubicBezTo>
                <a:close/>
                <a:moveTo>
                  <a:pt x="465" y="683"/>
                </a:moveTo>
                <a:cubicBezTo>
                  <a:pt x="465" y="682"/>
                  <a:pt x="469" y="682"/>
                  <a:pt x="469" y="684"/>
                </a:cubicBezTo>
                <a:cubicBezTo>
                  <a:pt x="469" y="686"/>
                  <a:pt x="464" y="686"/>
                  <a:pt x="465" y="683"/>
                </a:cubicBezTo>
                <a:close/>
                <a:moveTo>
                  <a:pt x="468" y="686"/>
                </a:moveTo>
                <a:cubicBezTo>
                  <a:pt x="467" y="688"/>
                  <a:pt x="465" y="686"/>
                  <a:pt x="468" y="686"/>
                </a:cubicBezTo>
                <a:close/>
                <a:moveTo>
                  <a:pt x="465" y="727"/>
                </a:moveTo>
                <a:cubicBezTo>
                  <a:pt x="464" y="728"/>
                  <a:pt x="464" y="727"/>
                  <a:pt x="464" y="727"/>
                </a:cubicBezTo>
                <a:cubicBezTo>
                  <a:pt x="464" y="727"/>
                  <a:pt x="466" y="727"/>
                  <a:pt x="465" y="727"/>
                </a:cubicBezTo>
                <a:close/>
                <a:moveTo>
                  <a:pt x="459" y="730"/>
                </a:moveTo>
                <a:cubicBezTo>
                  <a:pt x="460" y="729"/>
                  <a:pt x="461" y="729"/>
                  <a:pt x="463" y="729"/>
                </a:cubicBezTo>
                <a:cubicBezTo>
                  <a:pt x="461" y="729"/>
                  <a:pt x="460" y="730"/>
                  <a:pt x="459" y="730"/>
                </a:cubicBezTo>
                <a:close/>
                <a:moveTo>
                  <a:pt x="462" y="732"/>
                </a:moveTo>
                <a:cubicBezTo>
                  <a:pt x="461" y="733"/>
                  <a:pt x="460" y="733"/>
                  <a:pt x="459" y="733"/>
                </a:cubicBezTo>
                <a:cubicBezTo>
                  <a:pt x="459" y="732"/>
                  <a:pt x="461" y="732"/>
                  <a:pt x="462" y="732"/>
                </a:cubicBezTo>
                <a:close/>
                <a:moveTo>
                  <a:pt x="459" y="679"/>
                </a:moveTo>
                <a:cubicBezTo>
                  <a:pt x="459" y="679"/>
                  <a:pt x="462" y="677"/>
                  <a:pt x="463" y="678"/>
                </a:cubicBezTo>
                <a:cubicBezTo>
                  <a:pt x="462" y="679"/>
                  <a:pt x="460" y="679"/>
                  <a:pt x="459" y="679"/>
                </a:cubicBezTo>
                <a:close/>
                <a:moveTo>
                  <a:pt x="457" y="618"/>
                </a:moveTo>
                <a:cubicBezTo>
                  <a:pt x="457" y="618"/>
                  <a:pt x="456" y="618"/>
                  <a:pt x="456" y="618"/>
                </a:cubicBezTo>
                <a:cubicBezTo>
                  <a:pt x="454" y="616"/>
                  <a:pt x="460" y="616"/>
                  <a:pt x="457" y="618"/>
                </a:cubicBezTo>
                <a:close/>
                <a:moveTo>
                  <a:pt x="457" y="670"/>
                </a:moveTo>
                <a:cubicBezTo>
                  <a:pt x="457" y="670"/>
                  <a:pt x="457" y="670"/>
                  <a:pt x="456" y="670"/>
                </a:cubicBezTo>
                <a:cubicBezTo>
                  <a:pt x="456" y="669"/>
                  <a:pt x="458" y="670"/>
                  <a:pt x="457" y="670"/>
                </a:cubicBezTo>
                <a:close/>
                <a:moveTo>
                  <a:pt x="440" y="664"/>
                </a:moveTo>
                <a:cubicBezTo>
                  <a:pt x="436" y="659"/>
                  <a:pt x="445" y="655"/>
                  <a:pt x="449" y="659"/>
                </a:cubicBezTo>
                <a:cubicBezTo>
                  <a:pt x="448" y="660"/>
                  <a:pt x="448" y="661"/>
                  <a:pt x="449" y="661"/>
                </a:cubicBezTo>
                <a:cubicBezTo>
                  <a:pt x="448" y="664"/>
                  <a:pt x="443" y="666"/>
                  <a:pt x="440" y="664"/>
                </a:cubicBezTo>
                <a:close/>
                <a:moveTo>
                  <a:pt x="447" y="703"/>
                </a:moveTo>
                <a:cubicBezTo>
                  <a:pt x="447" y="703"/>
                  <a:pt x="445" y="703"/>
                  <a:pt x="445" y="703"/>
                </a:cubicBezTo>
                <a:cubicBezTo>
                  <a:pt x="444" y="702"/>
                  <a:pt x="447" y="702"/>
                  <a:pt x="447" y="703"/>
                </a:cubicBezTo>
                <a:close/>
                <a:moveTo>
                  <a:pt x="435" y="744"/>
                </a:moveTo>
                <a:cubicBezTo>
                  <a:pt x="435" y="743"/>
                  <a:pt x="435" y="743"/>
                  <a:pt x="436" y="742"/>
                </a:cubicBezTo>
                <a:cubicBezTo>
                  <a:pt x="436" y="739"/>
                  <a:pt x="440" y="739"/>
                  <a:pt x="441" y="741"/>
                </a:cubicBezTo>
                <a:cubicBezTo>
                  <a:pt x="441" y="741"/>
                  <a:pt x="441" y="741"/>
                  <a:pt x="441" y="741"/>
                </a:cubicBezTo>
                <a:cubicBezTo>
                  <a:pt x="441" y="741"/>
                  <a:pt x="441" y="741"/>
                  <a:pt x="442" y="741"/>
                </a:cubicBezTo>
                <a:cubicBezTo>
                  <a:pt x="445" y="742"/>
                  <a:pt x="439" y="750"/>
                  <a:pt x="435" y="744"/>
                </a:cubicBezTo>
                <a:close/>
                <a:moveTo>
                  <a:pt x="437" y="748"/>
                </a:moveTo>
                <a:cubicBezTo>
                  <a:pt x="436" y="747"/>
                  <a:pt x="438" y="748"/>
                  <a:pt x="437" y="748"/>
                </a:cubicBezTo>
                <a:close/>
                <a:moveTo>
                  <a:pt x="415" y="747"/>
                </a:moveTo>
                <a:cubicBezTo>
                  <a:pt x="415" y="748"/>
                  <a:pt x="411" y="747"/>
                  <a:pt x="411" y="746"/>
                </a:cubicBezTo>
                <a:cubicBezTo>
                  <a:pt x="412" y="744"/>
                  <a:pt x="417" y="745"/>
                  <a:pt x="415" y="747"/>
                </a:cubicBezTo>
                <a:close/>
                <a:moveTo>
                  <a:pt x="412" y="734"/>
                </a:moveTo>
                <a:cubicBezTo>
                  <a:pt x="413" y="733"/>
                  <a:pt x="413" y="735"/>
                  <a:pt x="412" y="734"/>
                </a:cubicBezTo>
                <a:close/>
                <a:moveTo>
                  <a:pt x="409" y="732"/>
                </a:moveTo>
                <a:cubicBezTo>
                  <a:pt x="407" y="731"/>
                  <a:pt x="406" y="729"/>
                  <a:pt x="409" y="727"/>
                </a:cubicBezTo>
                <a:cubicBezTo>
                  <a:pt x="410" y="726"/>
                  <a:pt x="412" y="726"/>
                  <a:pt x="413" y="727"/>
                </a:cubicBezTo>
                <a:cubicBezTo>
                  <a:pt x="415" y="727"/>
                  <a:pt x="417" y="727"/>
                  <a:pt x="417" y="727"/>
                </a:cubicBezTo>
                <a:cubicBezTo>
                  <a:pt x="417" y="727"/>
                  <a:pt x="416" y="728"/>
                  <a:pt x="416" y="728"/>
                </a:cubicBezTo>
                <a:cubicBezTo>
                  <a:pt x="416" y="728"/>
                  <a:pt x="417" y="728"/>
                  <a:pt x="417" y="728"/>
                </a:cubicBezTo>
                <a:cubicBezTo>
                  <a:pt x="417" y="728"/>
                  <a:pt x="417" y="728"/>
                  <a:pt x="417" y="728"/>
                </a:cubicBezTo>
                <a:cubicBezTo>
                  <a:pt x="418" y="730"/>
                  <a:pt x="411" y="733"/>
                  <a:pt x="409" y="732"/>
                </a:cubicBezTo>
                <a:close/>
                <a:moveTo>
                  <a:pt x="411" y="754"/>
                </a:moveTo>
                <a:cubicBezTo>
                  <a:pt x="411" y="755"/>
                  <a:pt x="410" y="754"/>
                  <a:pt x="409" y="754"/>
                </a:cubicBezTo>
                <a:cubicBezTo>
                  <a:pt x="409" y="753"/>
                  <a:pt x="411" y="753"/>
                  <a:pt x="411" y="754"/>
                </a:cubicBezTo>
                <a:close/>
                <a:moveTo>
                  <a:pt x="411" y="752"/>
                </a:moveTo>
                <a:cubicBezTo>
                  <a:pt x="409" y="753"/>
                  <a:pt x="409" y="751"/>
                  <a:pt x="411" y="752"/>
                </a:cubicBezTo>
                <a:close/>
                <a:moveTo>
                  <a:pt x="408" y="748"/>
                </a:moveTo>
                <a:cubicBezTo>
                  <a:pt x="408" y="749"/>
                  <a:pt x="407" y="748"/>
                  <a:pt x="407" y="747"/>
                </a:cubicBezTo>
                <a:cubicBezTo>
                  <a:pt x="407" y="746"/>
                  <a:pt x="409" y="747"/>
                  <a:pt x="408" y="748"/>
                </a:cubicBezTo>
                <a:close/>
                <a:moveTo>
                  <a:pt x="408" y="709"/>
                </a:moveTo>
                <a:cubicBezTo>
                  <a:pt x="409" y="709"/>
                  <a:pt x="408" y="710"/>
                  <a:pt x="408" y="710"/>
                </a:cubicBezTo>
                <a:cubicBezTo>
                  <a:pt x="407" y="709"/>
                  <a:pt x="408" y="709"/>
                  <a:pt x="408" y="709"/>
                </a:cubicBezTo>
                <a:close/>
                <a:moveTo>
                  <a:pt x="412" y="720"/>
                </a:moveTo>
                <a:cubicBezTo>
                  <a:pt x="413" y="721"/>
                  <a:pt x="412" y="722"/>
                  <a:pt x="411" y="721"/>
                </a:cubicBezTo>
                <a:cubicBezTo>
                  <a:pt x="411" y="721"/>
                  <a:pt x="412" y="720"/>
                  <a:pt x="412" y="720"/>
                </a:cubicBezTo>
                <a:close/>
                <a:moveTo>
                  <a:pt x="412" y="701"/>
                </a:moveTo>
                <a:cubicBezTo>
                  <a:pt x="413" y="700"/>
                  <a:pt x="415" y="699"/>
                  <a:pt x="417" y="700"/>
                </a:cubicBezTo>
                <a:cubicBezTo>
                  <a:pt x="417" y="699"/>
                  <a:pt x="416" y="699"/>
                  <a:pt x="417" y="698"/>
                </a:cubicBezTo>
                <a:cubicBezTo>
                  <a:pt x="417" y="697"/>
                  <a:pt x="420" y="698"/>
                  <a:pt x="420" y="698"/>
                </a:cubicBezTo>
                <a:cubicBezTo>
                  <a:pt x="420" y="699"/>
                  <a:pt x="419" y="700"/>
                  <a:pt x="418" y="700"/>
                </a:cubicBezTo>
                <a:cubicBezTo>
                  <a:pt x="418" y="700"/>
                  <a:pt x="418" y="700"/>
                  <a:pt x="418" y="700"/>
                </a:cubicBezTo>
                <a:cubicBezTo>
                  <a:pt x="416" y="701"/>
                  <a:pt x="414" y="700"/>
                  <a:pt x="412" y="701"/>
                </a:cubicBezTo>
                <a:close/>
                <a:moveTo>
                  <a:pt x="419" y="727"/>
                </a:moveTo>
                <a:cubicBezTo>
                  <a:pt x="420" y="728"/>
                  <a:pt x="419" y="728"/>
                  <a:pt x="419" y="728"/>
                </a:cubicBezTo>
                <a:cubicBezTo>
                  <a:pt x="416" y="729"/>
                  <a:pt x="418" y="726"/>
                  <a:pt x="419" y="727"/>
                </a:cubicBezTo>
                <a:close/>
                <a:moveTo>
                  <a:pt x="420" y="706"/>
                </a:moveTo>
                <a:cubicBezTo>
                  <a:pt x="418" y="707"/>
                  <a:pt x="419" y="705"/>
                  <a:pt x="420" y="706"/>
                </a:cubicBezTo>
                <a:close/>
                <a:moveTo>
                  <a:pt x="415" y="681"/>
                </a:moveTo>
                <a:cubicBezTo>
                  <a:pt x="418" y="679"/>
                  <a:pt x="422" y="679"/>
                  <a:pt x="425" y="679"/>
                </a:cubicBezTo>
                <a:cubicBezTo>
                  <a:pt x="422" y="681"/>
                  <a:pt x="419" y="680"/>
                  <a:pt x="415" y="681"/>
                </a:cubicBezTo>
                <a:close/>
                <a:moveTo>
                  <a:pt x="414" y="562"/>
                </a:moveTo>
                <a:cubicBezTo>
                  <a:pt x="412" y="562"/>
                  <a:pt x="415" y="560"/>
                  <a:pt x="414" y="562"/>
                </a:cubicBezTo>
                <a:cubicBezTo>
                  <a:pt x="414" y="562"/>
                  <a:pt x="414" y="562"/>
                  <a:pt x="414" y="562"/>
                </a:cubicBezTo>
                <a:close/>
                <a:moveTo>
                  <a:pt x="413" y="170"/>
                </a:moveTo>
                <a:cubicBezTo>
                  <a:pt x="413" y="168"/>
                  <a:pt x="418" y="167"/>
                  <a:pt x="419" y="169"/>
                </a:cubicBezTo>
                <a:cubicBezTo>
                  <a:pt x="420" y="173"/>
                  <a:pt x="413" y="172"/>
                  <a:pt x="413" y="170"/>
                </a:cubicBezTo>
                <a:close/>
                <a:moveTo>
                  <a:pt x="416" y="113"/>
                </a:moveTo>
                <a:cubicBezTo>
                  <a:pt x="417" y="112"/>
                  <a:pt x="418" y="113"/>
                  <a:pt x="417" y="113"/>
                </a:cubicBezTo>
                <a:cubicBezTo>
                  <a:pt x="417" y="114"/>
                  <a:pt x="416" y="114"/>
                  <a:pt x="416" y="113"/>
                </a:cubicBezTo>
                <a:close/>
                <a:moveTo>
                  <a:pt x="414" y="113"/>
                </a:moveTo>
                <a:cubicBezTo>
                  <a:pt x="414" y="112"/>
                  <a:pt x="416" y="111"/>
                  <a:pt x="417" y="111"/>
                </a:cubicBezTo>
                <a:cubicBezTo>
                  <a:pt x="416" y="112"/>
                  <a:pt x="415" y="112"/>
                  <a:pt x="414" y="113"/>
                </a:cubicBezTo>
                <a:close/>
                <a:moveTo>
                  <a:pt x="420" y="274"/>
                </a:moveTo>
                <a:cubicBezTo>
                  <a:pt x="421" y="276"/>
                  <a:pt x="418" y="277"/>
                  <a:pt x="417" y="278"/>
                </a:cubicBezTo>
                <a:cubicBezTo>
                  <a:pt x="417" y="277"/>
                  <a:pt x="419" y="276"/>
                  <a:pt x="420" y="274"/>
                </a:cubicBezTo>
                <a:close/>
                <a:moveTo>
                  <a:pt x="420" y="122"/>
                </a:moveTo>
                <a:cubicBezTo>
                  <a:pt x="419" y="122"/>
                  <a:pt x="420" y="122"/>
                  <a:pt x="420" y="122"/>
                </a:cubicBezTo>
                <a:close/>
                <a:moveTo>
                  <a:pt x="421" y="543"/>
                </a:moveTo>
                <a:cubicBezTo>
                  <a:pt x="422" y="545"/>
                  <a:pt x="417" y="547"/>
                  <a:pt x="417" y="544"/>
                </a:cubicBezTo>
                <a:cubicBezTo>
                  <a:pt x="416" y="542"/>
                  <a:pt x="421" y="541"/>
                  <a:pt x="421" y="543"/>
                </a:cubicBezTo>
                <a:close/>
                <a:moveTo>
                  <a:pt x="416" y="450"/>
                </a:moveTo>
                <a:cubicBezTo>
                  <a:pt x="416" y="449"/>
                  <a:pt x="418" y="450"/>
                  <a:pt x="416" y="450"/>
                </a:cubicBezTo>
                <a:close/>
                <a:moveTo>
                  <a:pt x="419" y="512"/>
                </a:moveTo>
                <a:cubicBezTo>
                  <a:pt x="418" y="511"/>
                  <a:pt x="420" y="511"/>
                  <a:pt x="419" y="512"/>
                </a:cubicBezTo>
                <a:close/>
                <a:moveTo>
                  <a:pt x="421" y="496"/>
                </a:moveTo>
                <a:cubicBezTo>
                  <a:pt x="422" y="496"/>
                  <a:pt x="421" y="497"/>
                  <a:pt x="420" y="497"/>
                </a:cubicBezTo>
                <a:cubicBezTo>
                  <a:pt x="419" y="498"/>
                  <a:pt x="420" y="495"/>
                  <a:pt x="421" y="496"/>
                </a:cubicBezTo>
                <a:close/>
                <a:moveTo>
                  <a:pt x="416" y="391"/>
                </a:moveTo>
                <a:cubicBezTo>
                  <a:pt x="416" y="390"/>
                  <a:pt x="419" y="387"/>
                  <a:pt x="421" y="386"/>
                </a:cubicBezTo>
                <a:cubicBezTo>
                  <a:pt x="420" y="388"/>
                  <a:pt x="414" y="394"/>
                  <a:pt x="416" y="391"/>
                </a:cubicBezTo>
                <a:close/>
                <a:moveTo>
                  <a:pt x="414" y="228"/>
                </a:moveTo>
                <a:cubicBezTo>
                  <a:pt x="414" y="227"/>
                  <a:pt x="417" y="226"/>
                  <a:pt x="417" y="228"/>
                </a:cubicBezTo>
                <a:cubicBezTo>
                  <a:pt x="417" y="229"/>
                  <a:pt x="414" y="229"/>
                  <a:pt x="414" y="228"/>
                </a:cubicBezTo>
                <a:close/>
                <a:moveTo>
                  <a:pt x="417" y="173"/>
                </a:moveTo>
                <a:cubicBezTo>
                  <a:pt x="417" y="173"/>
                  <a:pt x="418" y="172"/>
                  <a:pt x="419" y="173"/>
                </a:cubicBezTo>
                <a:cubicBezTo>
                  <a:pt x="420" y="174"/>
                  <a:pt x="417" y="174"/>
                  <a:pt x="417" y="173"/>
                </a:cubicBezTo>
                <a:close/>
                <a:moveTo>
                  <a:pt x="417" y="151"/>
                </a:moveTo>
                <a:cubicBezTo>
                  <a:pt x="418" y="150"/>
                  <a:pt x="418" y="150"/>
                  <a:pt x="419" y="149"/>
                </a:cubicBezTo>
                <a:cubicBezTo>
                  <a:pt x="419" y="150"/>
                  <a:pt x="418" y="151"/>
                  <a:pt x="417" y="151"/>
                </a:cubicBezTo>
                <a:close/>
                <a:moveTo>
                  <a:pt x="415" y="454"/>
                </a:moveTo>
                <a:cubicBezTo>
                  <a:pt x="415" y="454"/>
                  <a:pt x="415" y="455"/>
                  <a:pt x="414" y="454"/>
                </a:cubicBezTo>
                <a:cubicBezTo>
                  <a:pt x="413" y="453"/>
                  <a:pt x="417" y="452"/>
                  <a:pt x="415" y="454"/>
                </a:cubicBezTo>
                <a:close/>
                <a:moveTo>
                  <a:pt x="417" y="583"/>
                </a:moveTo>
                <a:cubicBezTo>
                  <a:pt x="416" y="584"/>
                  <a:pt x="416" y="583"/>
                  <a:pt x="415" y="583"/>
                </a:cubicBezTo>
                <a:cubicBezTo>
                  <a:pt x="415" y="583"/>
                  <a:pt x="417" y="582"/>
                  <a:pt x="417" y="583"/>
                </a:cubicBezTo>
                <a:close/>
                <a:moveTo>
                  <a:pt x="416" y="610"/>
                </a:moveTo>
                <a:cubicBezTo>
                  <a:pt x="416" y="610"/>
                  <a:pt x="417" y="610"/>
                  <a:pt x="417" y="610"/>
                </a:cubicBezTo>
                <a:cubicBezTo>
                  <a:pt x="417" y="611"/>
                  <a:pt x="415" y="610"/>
                  <a:pt x="416" y="610"/>
                </a:cubicBezTo>
                <a:close/>
                <a:moveTo>
                  <a:pt x="416" y="575"/>
                </a:moveTo>
                <a:cubicBezTo>
                  <a:pt x="417" y="573"/>
                  <a:pt x="419" y="568"/>
                  <a:pt x="422" y="567"/>
                </a:cubicBezTo>
                <a:cubicBezTo>
                  <a:pt x="419" y="570"/>
                  <a:pt x="419" y="573"/>
                  <a:pt x="416" y="575"/>
                </a:cubicBezTo>
                <a:close/>
                <a:moveTo>
                  <a:pt x="423" y="167"/>
                </a:moveTo>
                <a:cubicBezTo>
                  <a:pt x="423" y="167"/>
                  <a:pt x="422" y="168"/>
                  <a:pt x="422" y="167"/>
                </a:cubicBezTo>
                <a:cubicBezTo>
                  <a:pt x="421" y="166"/>
                  <a:pt x="423" y="165"/>
                  <a:pt x="423" y="167"/>
                </a:cubicBezTo>
                <a:close/>
                <a:moveTo>
                  <a:pt x="422" y="155"/>
                </a:moveTo>
                <a:cubicBezTo>
                  <a:pt x="421" y="154"/>
                  <a:pt x="424" y="155"/>
                  <a:pt x="422" y="155"/>
                </a:cubicBezTo>
                <a:close/>
                <a:moveTo>
                  <a:pt x="427" y="156"/>
                </a:moveTo>
                <a:cubicBezTo>
                  <a:pt x="427" y="157"/>
                  <a:pt x="423" y="158"/>
                  <a:pt x="423" y="156"/>
                </a:cubicBezTo>
                <a:cubicBezTo>
                  <a:pt x="422" y="154"/>
                  <a:pt x="427" y="153"/>
                  <a:pt x="427" y="156"/>
                </a:cubicBezTo>
                <a:close/>
                <a:moveTo>
                  <a:pt x="424" y="154"/>
                </a:moveTo>
                <a:cubicBezTo>
                  <a:pt x="424" y="152"/>
                  <a:pt x="426" y="153"/>
                  <a:pt x="424" y="154"/>
                </a:cubicBezTo>
                <a:close/>
                <a:moveTo>
                  <a:pt x="441" y="90"/>
                </a:moveTo>
                <a:cubicBezTo>
                  <a:pt x="442" y="90"/>
                  <a:pt x="441" y="91"/>
                  <a:pt x="441" y="92"/>
                </a:cubicBezTo>
                <a:cubicBezTo>
                  <a:pt x="441" y="95"/>
                  <a:pt x="437" y="95"/>
                  <a:pt x="436" y="94"/>
                </a:cubicBezTo>
                <a:cubicBezTo>
                  <a:pt x="436" y="94"/>
                  <a:pt x="436" y="94"/>
                  <a:pt x="436" y="94"/>
                </a:cubicBezTo>
                <a:cubicBezTo>
                  <a:pt x="436" y="94"/>
                  <a:pt x="436" y="94"/>
                  <a:pt x="436" y="94"/>
                </a:cubicBezTo>
                <a:cubicBezTo>
                  <a:pt x="432" y="94"/>
                  <a:pt x="437" y="85"/>
                  <a:pt x="441" y="90"/>
                </a:cubicBezTo>
                <a:close/>
                <a:moveTo>
                  <a:pt x="439" y="86"/>
                </a:moveTo>
                <a:cubicBezTo>
                  <a:pt x="439" y="87"/>
                  <a:pt x="438" y="86"/>
                  <a:pt x="439" y="86"/>
                </a:cubicBezTo>
                <a:close/>
                <a:moveTo>
                  <a:pt x="443" y="128"/>
                </a:moveTo>
                <a:cubicBezTo>
                  <a:pt x="443" y="127"/>
                  <a:pt x="445" y="126"/>
                  <a:pt x="446" y="128"/>
                </a:cubicBezTo>
                <a:cubicBezTo>
                  <a:pt x="447" y="130"/>
                  <a:pt x="443" y="129"/>
                  <a:pt x="443" y="128"/>
                </a:cubicBezTo>
                <a:close/>
                <a:moveTo>
                  <a:pt x="447" y="192"/>
                </a:moveTo>
                <a:cubicBezTo>
                  <a:pt x="448" y="193"/>
                  <a:pt x="447" y="194"/>
                  <a:pt x="447" y="194"/>
                </a:cubicBezTo>
                <a:cubicBezTo>
                  <a:pt x="444" y="194"/>
                  <a:pt x="446" y="191"/>
                  <a:pt x="447" y="192"/>
                </a:cubicBezTo>
                <a:close/>
                <a:moveTo>
                  <a:pt x="449" y="220"/>
                </a:moveTo>
                <a:cubicBezTo>
                  <a:pt x="449" y="223"/>
                  <a:pt x="441" y="225"/>
                  <a:pt x="439" y="225"/>
                </a:cubicBezTo>
                <a:cubicBezTo>
                  <a:pt x="438" y="225"/>
                  <a:pt x="434" y="228"/>
                  <a:pt x="434" y="226"/>
                </a:cubicBezTo>
                <a:cubicBezTo>
                  <a:pt x="434" y="225"/>
                  <a:pt x="440" y="225"/>
                  <a:pt x="440" y="225"/>
                </a:cubicBezTo>
                <a:cubicBezTo>
                  <a:pt x="443" y="223"/>
                  <a:pt x="446" y="220"/>
                  <a:pt x="449" y="220"/>
                </a:cubicBezTo>
                <a:close/>
                <a:moveTo>
                  <a:pt x="448" y="177"/>
                </a:moveTo>
                <a:cubicBezTo>
                  <a:pt x="449" y="177"/>
                  <a:pt x="449" y="177"/>
                  <a:pt x="449" y="177"/>
                </a:cubicBezTo>
                <a:cubicBezTo>
                  <a:pt x="449" y="179"/>
                  <a:pt x="446" y="175"/>
                  <a:pt x="448" y="177"/>
                </a:cubicBezTo>
                <a:close/>
                <a:moveTo>
                  <a:pt x="451" y="187"/>
                </a:moveTo>
                <a:cubicBezTo>
                  <a:pt x="452" y="188"/>
                  <a:pt x="450" y="189"/>
                  <a:pt x="449" y="188"/>
                </a:cubicBezTo>
                <a:cubicBezTo>
                  <a:pt x="448" y="187"/>
                  <a:pt x="451" y="185"/>
                  <a:pt x="451" y="187"/>
                </a:cubicBezTo>
                <a:close/>
                <a:moveTo>
                  <a:pt x="442" y="608"/>
                </a:moveTo>
                <a:cubicBezTo>
                  <a:pt x="441" y="609"/>
                  <a:pt x="438" y="612"/>
                  <a:pt x="435" y="614"/>
                </a:cubicBezTo>
                <a:cubicBezTo>
                  <a:pt x="436" y="614"/>
                  <a:pt x="436" y="614"/>
                  <a:pt x="436" y="615"/>
                </a:cubicBezTo>
                <a:cubicBezTo>
                  <a:pt x="436" y="615"/>
                  <a:pt x="435" y="615"/>
                  <a:pt x="435" y="615"/>
                </a:cubicBezTo>
                <a:cubicBezTo>
                  <a:pt x="435" y="615"/>
                  <a:pt x="435" y="615"/>
                  <a:pt x="435" y="615"/>
                </a:cubicBezTo>
                <a:cubicBezTo>
                  <a:pt x="434" y="616"/>
                  <a:pt x="433" y="617"/>
                  <a:pt x="432" y="617"/>
                </a:cubicBezTo>
                <a:cubicBezTo>
                  <a:pt x="432" y="617"/>
                  <a:pt x="431" y="616"/>
                  <a:pt x="431" y="616"/>
                </a:cubicBezTo>
                <a:cubicBezTo>
                  <a:pt x="431" y="615"/>
                  <a:pt x="434" y="614"/>
                  <a:pt x="435" y="613"/>
                </a:cubicBezTo>
                <a:cubicBezTo>
                  <a:pt x="437" y="612"/>
                  <a:pt x="443" y="606"/>
                  <a:pt x="445" y="606"/>
                </a:cubicBezTo>
                <a:cubicBezTo>
                  <a:pt x="448" y="605"/>
                  <a:pt x="443" y="608"/>
                  <a:pt x="442" y="608"/>
                </a:cubicBezTo>
                <a:close/>
                <a:moveTo>
                  <a:pt x="444" y="648"/>
                </a:moveTo>
                <a:cubicBezTo>
                  <a:pt x="444" y="648"/>
                  <a:pt x="442" y="648"/>
                  <a:pt x="442" y="648"/>
                </a:cubicBezTo>
                <a:cubicBezTo>
                  <a:pt x="442" y="647"/>
                  <a:pt x="444" y="647"/>
                  <a:pt x="444" y="648"/>
                </a:cubicBezTo>
                <a:close/>
                <a:moveTo>
                  <a:pt x="442" y="648"/>
                </a:moveTo>
                <a:cubicBezTo>
                  <a:pt x="440" y="649"/>
                  <a:pt x="440" y="646"/>
                  <a:pt x="442" y="648"/>
                </a:cubicBezTo>
                <a:close/>
                <a:moveTo>
                  <a:pt x="429" y="656"/>
                </a:moveTo>
                <a:cubicBezTo>
                  <a:pt x="429" y="655"/>
                  <a:pt x="431" y="655"/>
                  <a:pt x="431" y="656"/>
                </a:cubicBezTo>
                <a:cubicBezTo>
                  <a:pt x="431" y="657"/>
                  <a:pt x="430" y="657"/>
                  <a:pt x="429" y="656"/>
                </a:cubicBezTo>
                <a:close/>
                <a:moveTo>
                  <a:pt x="430" y="686"/>
                </a:moveTo>
                <a:cubicBezTo>
                  <a:pt x="429" y="689"/>
                  <a:pt x="427" y="687"/>
                  <a:pt x="430" y="686"/>
                </a:cubicBezTo>
                <a:close/>
                <a:moveTo>
                  <a:pt x="436" y="241"/>
                </a:moveTo>
                <a:cubicBezTo>
                  <a:pt x="436" y="242"/>
                  <a:pt x="434" y="244"/>
                  <a:pt x="432" y="246"/>
                </a:cubicBezTo>
                <a:cubicBezTo>
                  <a:pt x="433" y="244"/>
                  <a:pt x="435" y="242"/>
                  <a:pt x="436" y="241"/>
                </a:cubicBezTo>
                <a:close/>
                <a:moveTo>
                  <a:pt x="434" y="216"/>
                </a:moveTo>
                <a:cubicBezTo>
                  <a:pt x="434" y="215"/>
                  <a:pt x="435" y="215"/>
                  <a:pt x="436" y="216"/>
                </a:cubicBezTo>
                <a:cubicBezTo>
                  <a:pt x="436" y="217"/>
                  <a:pt x="434" y="217"/>
                  <a:pt x="434" y="216"/>
                </a:cubicBezTo>
                <a:close/>
                <a:moveTo>
                  <a:pt x="436" y="602"/>
                </a:moveTo>
                <a:cubicBezTo>
                  <a:pt x="436" y="602"/>
                  <a:pt x="436" y="602"/>
                  <a:pt x="435" y="602"/>
                </a:cubicBezTo>
                <a:cubicBezTo>
                  <a:pt x="435" y="602"/>
                  <a:pt x="436" y="601"/>
                  <a:pt x="436" y="602"/>
                </a:cubicBezTo>
                <a:close/>
                <a:moveTo>
                  <a:pt x="435" y="529"/>
                </a:moveTo>
                <a:cubicBezTo>
                  <a:pt x="434" y="529"/>
                  <a:pt x="435" y="527"/>
                  <a:pt x="436" y="528"/>
                </a:cubicBezTo>
                <a:cubicBezTo>
                  <a:pt x="436" y="529"/>
                  <a:pt x="435" y="529"/>
                  <a:pt x="435" y="529"/>
                </a:cubicBezTo>
                <a:close/>
                <a:moveTo>
                  <a:pt x="433" y="340"/>
                </a:moveTo>
                <a:cubicBezTo>
                  <a:pt x="433" y="341"/>
                  <a:pt x="432" y="342"/>
                  <a:pt x="431" y="342"/>
                </a:cubicBezTo>
                <a:cubicBezTo>
                  <a:pt x="431" y="341"/>
                  <a:pt x="432" y="341"/>
                  <a:pt x="433" y="340"/>
                </a:cubicBezTo>
                <a:close/>
                <a:moveTo>
                  <a:pt x="432" y="603"/>
                </a:moveTo>
                <a:cubicBezTo>
                  <a:pt x="431" y="604"/>
                  <a:pt x="431" y="601"/>
                  <a:pt x="432" y="602"/>
                </a:cubicBezTo>
                <a:cubicBezTo>
                  <a:pt x="433" y="602"/>
                  <a:pt x="432" y="603"/>
                  <a:pt x="432" y="603"/>
                </a:cubicBezTo>
                <a:close/>
                <a:moveTo>
                  <a:pt x="431" y="437"/>
                </a:moveTo>
                <a:cubicBezTo>
                  <a:pt x="433" y="438"/>
                  <a:pt x="430" y="440"/>
                  <a:pt x="429" y="441"/>
                </a:cubicBezTo>
                <a:cubicBezTo>
                  <a:pt x="426" y="442"/>
                  <a:pt x="430" y="435"/>
                  <a:pt x="431" y="437"/>
                </a:cubicBezTo>
                <a:close/>
                <a:moveTo>
                  <a:pt x="428" y="504"/>
                </a:moveTo>
                <a:cubicBezTo>
                  <a:pt x="429" y="503"/>
                  <a:pt x="427" y="506"/>
                  <a:pt x="428" y="504"/>
                </a:cubicBezTo>
                <a:close/>
                <a:moveTo>
                  <a:pt x="429" y="250"/>
                </a:moveTo>
                <a:cubicBezTo>
                  <a:pt x="429" y="252"/>
                  <a:pt x="427" y="251"/>
                  <a:pt x="429" y="250"/>
                </a:cubicBezTo>
                <a:close/>
                <a:moveTo>
                  <a:pt x="430" y="247"/>
                </a:moveTo>
                <a:cubicBezTo>
                  <a:pt x="430" y="247"/>
                  <a:pt x="429" y="248"/>
                  <a:pt x="429" y="248"/>
                </a:cubicBezTo>
                <a:cubicBezTo>
                  <a:pt x="428" y="247"/>
                  <a:pt x="430" y="246"/>
                  <a:pt x="430" y="247"/>
                </a:cubicBezTo>
                <a:close/>
                <a:moveTo>
                  <a:pt x="429" y="202"/>
                </a:moveTo>
                <a:cubicBezTo>
                  <a:pt x="428" y="201"/>
                  <a:pt x="430" y="200"/>
                  <a:pt x="431" y="202"/>
                </a:cubicBezTo>
                <a:cubicBezTo>
                  <a:pt x="431" y="202"/>
                  <a:pt x="430" y="203"/>
                  <a:pt x="429" y="202"/>
                </a:cubicBezTo>
                <a:close/>
                <a:moveTo>
                  <a:pt x="430" y="222"/>
                </a:moveTo>
                <a:cubicBezTo>
                  <a:pt x="430" y="223"/>
                  <a:pt x="428" y="225"/>
                  <a:pt x="426" y="223"/>
                </a:cubicBezTo>
                <a:cubicBezTo>
                  <a:pt x="425" y="221"/>
                  <a:pt x="430" y="218"/>
                  <a:pt x="430" y="222"/>
                </a:cubicBezTo>
                <a:close/>
                <a:moveTo>
                  <a:pt x="426" y="246"/>
                </a:moveTo>
                <a:cubicBezTo>
                  <a:pt x="423" y="248"/>
                  <a:pt x="426" y="241"/>
                  <a:pt x="427" y="243"/>
                </a:cubicBezTo>
                <a:cubicBezTo>
                  <a:pt x="428" y="243"/>
                  <a:pt x="426" y="246"/>
                  <a:pt x="426" y="246"/>
                </a:cubicBezTo>
                <a:close/>
                <a:moveTo>
                  <a:pt x="426" y="268"/>
                </a:moveTo>
                <a:cubicBezTo>
                  <a:pt x="426" y="267"/>
                  <a:pt x="427" y="267"/>
                  <a:pt x="427" y="266"/>
                </a:cubicBezTo>
                <a:cubicBezTo>
                  <a:pt x="428" y="266"/>
                  <a:pt x="427" y="268"/>
                  <a:pt x="426" y="268"/>
                </a:cubicBezTo>
                <a:close/>
                <a:moveTo>
                  <a:pt x="424" y="181"/>
                </a:moveTo>
                <a:cubicBezTo>
                  <a:pt x="424" y="180"/>
                  <a:pt x="426" y="180"/>
                  <a:pt x="426" y="180"/>
                </a:cubicBezTo>
                <a:cubicBezTo>
                  <a:pt x="426" y="180"/>
                  <a:pt x="425" y="182"/>
                  <a:pt x="424" y="181"/>
                </a:cubicBezTo>
                <a:close/>
                <a:moveTo>
                  <a:pt x="428" y="378"/>
                </a:moveTo>
                <a:cubicBezTo>
                  <a:pt x="428" y="380"/>
                  <a:pt x="425" y="382"/>
                  <a:pt x="424" y="383"/>
                </a:cubicBezTo>
                <a:cubicBezTo>
                  <a:pt x="425" y="381"/>
                  <a:pt x="426" y="379"/>
                  <a:pt x="428" y="378"/>
                </a:cubicBezTo>
                <a:close/>
                <a:moveTo>
                  <a:pt x="425" y="431"/>
                </a:moveTo>
                <a:cubicBezTo>
                  <a:pt x="425" y="432"/>
                  <a:pt x="423" y="432"/>
                  <a:pt x="423" y="433"/>
                </a:cubicBezTo>
                <a:cubicBezTo>
                  <a:pt x="422" y="432"/>
                  <a:pt x="424" y="432"/>
                  <a:pt x="425" y="431"/>
                </a:cubicBezTo>
                <a:close/>
                <a:moveTo>
                  <a:pt x="424" y="448"/>
                </a:moveTo>
                <a:cubicBezTo>
                  <a:pt x="425" y="449"/>
                  <a:pt x="423" y="449"/>
                  <a:pt x="424" y="448"/>
                </a:cubicBezTo>
                <a:close/>
                <a:moveTo>
                  <a:pt x="431" y="549"/>
                </a:moveTo>
                <a:cubicBezTo>
                  <a:pt x="428" y="552"/>
                  <a:pt x="425" y="556"/>
                  <a:pt x="423" y="558"/>
                </a:cubicBezTo>
                <a:cubicBezTo>
                  <a:pt x="424" y="556"/>
                  <a:pt x="428" y="550"/>
                  <a:pt x="431" y="549"/>
                </a:cubicBezTo>
                <a:close/>
                <a:moveTo>
                  <a:pt x="426" y="585"/>
                </a:moveTo>
                <a:cubicBezTo>
                  <a:pt x="425" y="583"/>
                  <a:pt x="429" y="585"/>
                  <a:pt x="426" y="585"/>
                </a:cubicBezTo>
                <a:close/>
                <a:moveTo>
                  <a:pt x="427" y="565"/>
                </a:moveTo>
                <a:cubicBezTo>
                  <a:pt x="427" y="564"/>
                  <a:pt x="428" y="564"/>
                  <a:pt x="428" y="564"/>
                </a:cubicBezTo>
                <a:cubicBezTo>
                  <a:pt x="428" y="564"/>
                  <a:pt x="427" y="565"/>
                  <a:pt x="427" y="565"/>
                </a:cubicBezTo>
                <a:close/>
                <a:moveTo>
                  <a:pt x="431" y="619"/>
                </a:moveTo>
                <a:cubicBezTo>
                  <a:pt x="431" y="621"/>
                  <a:pt x="425" y="622"/>
                  <a:pt x="426" y="619"/>
                </a:cubicBezTo>
                <a:cubicBezTo>
                  <a:pt x="426" y="618"/>
                  <a:pt x="431" y="617"/>
                  <a:pt x="431" y="619"/>
                </a:cubicBezTo>
                <a:close/>
                <a:moveTo>
                  <a:pt x="433" y="635"/>
                </a:moveTo>
                <a:cubicBezTo>
                  <a:pt x="431" y="637"/>
                  <a:pt x="428" y="638"/>
                  <a:pt x="425" y="639"/>
                </a:cubicBezTo>
                <a:cubicBezTo>
                  <a:pt x="427" y="637"/>
                  <a:pt x="431" y="636"/>
                  <a:pt x="433" y="635"/>
                </a:cubicBezTo>
                <a:close/>
                <a:moveTo>
                  <a:pt x="432" y="642"/>
                </a:moveTo>
                <a:cubicBezTo>
                  <a:pt x="432" y="643"/>
                  <a:pt x="431" y="642"/>
                  <a:pt x="431" y="642"/>
                </a:cubicBezTo>
                <a:cubicBezTo>
                  <a:pt x="430" y="641"/>
                  <a:pt x="432" y="641"/>
                  <a:pt x="432" y="642"/>
                </a:cubicBezTo>
                <a:close/>
                <a:moveTo>
                  <a:pt x="431" y="686"/>
                </a:moveTo>
                <a:cubicBezTo>
                  <a:pt x="431" y="686"/>
                  <a:pt x="431" y="686"/>
                  <a:pt x="431" y="686"/>
                </a:cubicBezTo>
                <a:cubicBezTo>
                  <a:pt x="430" y="686"/>
                  <a:pt x="431" y="685"/>
                  <a:pt x="431" y="686"/>
                </a:cubicBezTo>
                <a:close/>
                <a:moveTo>
                  <a:pt x="431" y="678"/>
                </a:moveTo>
                <a:cubicBezTo>
                  <a:pt x="431" y="677"/>
                  <a:pt x="435" y="677"/>
                  <a:pt x="436" y="678"/>
                </a:cubicBezTo>
                <a:cubicBezTo>
                  <a:pt x="436" y="679"/>
                  <a:pt x="431" y="680"/>
                  <a:pt x="431" y="678"/>
                </a:cubicBezTo>
                <a:close/>
                <a:moveTo>
                  <a:pt x="433" y="675"/>
                </a:moveTo>
                <a:cubicBezTo>
                  <a:pt x="432" y="677"/>
                  <a:pt x="434" y="674"/>
                  <a:pt x="433" y="675"/>
                </a:cubicBezTo>
                <a:close/>
                <a:moveTo>
                  <a:pt x="431" y="649"/>
                </a:moveTo>
                <a:cubicBezTo>
                  <a:pt x="431" y="646"/>
                  <a:pt x="437" y="647"/>
                  <a:pt x="437" y="650"/>
                </a:cubicBezTo>
                <a:cubicBezTo>
                  <a:pt x="437" y="652"/>
                  <a:pt x="430" y="652"/>
                  <a:pt x="431" y="649"/>
                </a:cubicBezTo>
                <a:close/>
                <a:moveTo>
                  <a:pt x="436" y="638"/>
                </a:moveTo>
                <a:cubicBezTo>
                  <a:pt x="437" y="639"/>
                  <a:pt x="436" y="640"/>
                  <a:pt x="435" y="640"/>
                </a:cubicBezTo>
                <a:cubicBezTo>
                  <a:pt x="433" y="642"/>
                  <a:pt x="435" y="636"/>
                  <a:pt x="436" y="638"/>
                </a:cubicBezTo>
                <a:close/>
                <a:moveTo>
                  <a:pt x="433" y="635"/>
                </a:moveTo>
                <a:cubicBezTo>
                  <a:pt x="435" y="635"/>
                  <a:pt x="436" y="633"/>
                  <a:pt x="437" y="634"/>
                </a:cubicBezTo>
                <a:cubicBezTo>
                  <a:pt x="436" y="635"/>
                  <a:pt x="435" y="635"/>
                  <a:pt x="433" y="635"/>
                </a:cubicBezTo>
                <a:close/>
                <a:moveTo>
                  <a:pt x="438" y="700"/>
                </a:moveTo>
                <a:cubicBezTo>
                  <a:pt x="438" y="701"/>
                  <a:pt x="437" y="700"/>
                  <a:pt x="437" y="700"/>
                </a:cubicBezTo>
                <a:cubicBezTo>
                  <a:pt x="437" y="699"/>
                  <a:pt x="438" y="700"/>
                  <a:pt x="438" y="700"/>
                </a:cubicBezTo>
                <a:close/>
                <a:moveTo>
                  <a:pt x="446" y="410"/>
                </a:moveTo>
                <a:cubicBezTo>
                  <a:pt x="444" y="411"/>
                  <a:pt x="441" y="414"/>
                  <a:pt x="438" y="415"/>
                </a:cubicBezTo>
                <a:cubicBezTo>
                  <a:pt x="440" y="413"/>
                  <a:pt x="443" y="411"/>
                  <a:pt x="446" y="410"/>
                </a:cubicBezTo>
                <a:close/>
                <a:moveTo>
                  <a:pt x="442" y="225"/>
                </a:moveTo>
                <a:cubicBezTo>
                  <a:pt x="442" y="225"/>
                  <a:pt x="444" y="224"/>
                  <a:pt x="445" y="224"/>
                </a:cubicBezTo>
                <a:cubicBezTo>
                  <a:pt x="445" y="225"/>
                  <a:pt x="443" y="226"/>
                  <a:pt x="442" y="225"/>
                </a:cubicBezTo>
                <a:close/>
                <a:moveTo>
                  <a:pt x="446" y="565"/>
                </a:moveTo>
                <a:cubicBezTo>
                  <a:pt x="445" y="565"/>
                  <a:pt x="445" y="565"/>
                  <a:pt x="445" y="565"/>
                </a:cubicBezTo>
                <a:cubicBezTo>
                  <a:pt x="445" y="565"/>
                  <a:pt x="445" y="565"/>
                  <a:pt x="445" y="565"/>
                </a:cubicBezTo>
                <a:cubicBezTo>
                  <a:pt x="445" y="565"/>
                  <a:pt x="445" y="565"/>
                  <a:pt x="446" y="565"/>
                </a:cubicBezTo>
                <a:close/>
                <a:moveTo>
                  <a:pt x="442" y="577"/>
                </a:moveTo>
                <a:cubicBezTo>
                  <a:pt x="442" y="578"/>
                  <a:pt x="441" y="578"/>
                  <a:pt x="441" y="577"/>
                </a:cubicBezTo>
                <a:cubicBezTo>
                  <a:pt x="440" y="575"/>
                  <a:pt x="443" y="576"/>
                  <a:pt x="442" y="577"/>
                </a:cubicBezTo>
                <a:close/>
                <a:moveTo>
                  <a:pt x="440" y="539"/>
                </a:moveTo>
                <a:cubicBezTo>
                  <a:pt x="441" y="539"/>
                  <a:pt x="442" y="540"/>
                  <a:pt x="441" y="540"/>
                </a:cubicBezTo>
                <a:cubicBezTo>
                  <a:pt x="440" y="541"/>
                  <a:pt x="440" y="540"/>
                  <a:pt x="440" y="539"/>
                </a:cubicBezTo>
                <a:close/>
                <a:moveTo>
                  <a:pt x="438" y="393"/>
                </a:moveTo>
                <a:cubicBezTo>
                  <a:pt x="439" y="392"/>
                  <a:pt x="437" y="395"/>
                  <a:pt x="438" y="393"/>
                </a:cubicBezTo>
                <a:close/>
                <a:moveTo>
                  <a:pt x="438" y="497"/>
                </a:moveTo>
                <a:cubicBezTo>
                  <a:pt x="438" y="497"/>
                  <a:pt x="438" y="497"/>
                  <a:pt x="438" y="497"/>
                </a:cubicBezTo>
                <a:cubicBezTo>
                  <a:pt x="438" y="497"/>
                  <a:pt x="438" y="497"/>
                  <a:pt x="438" y="497"/>
                </a:cubicBezTo>
                <a:close/>
                <a:moveTo>
                  <a:pt x="437" y="241"/>
                </a:moveTo>
                <a:cubicBezTo>
                  <a:pt x="437" y="241"/>
                  <a:pt x="437" y="239"/>
                  <a:pt x="438" y="239"/>
                </a:cubicBezTo>
                <a:cubicBezTo>
                  <a:pt x="439" y="239"/>
                  <a:pt x="437" y="241"/>
                  <a:pt x="437" y="241"/>
                </a:cubicBezTo>
                <a:close/>
                <a:moveTo>
                  <a:pt x="438" y="174"/>
                </a:moveTo>
                <a:cubicBezTo>
                  <a:pt x="439" y="175"/>
                  <a:pt x="437" y="175"/>
                  <a:pt x="437" y="175"/>
                </a:cubicBezTo>
                <a:cubicBezTo>
                  <a:pt x="436" y="174"/>
                  <a:pt x="438" y="174"/>
                  <a:pt x="438" y="174"/>
                </a:cubicBezTo>
                <a:close/>
                <a:moveTo>
                  <a:pt x="435" y="167"/>
                </a:moveTo>
                <a:cubicBezTo>
                  <a:pt x="435" y="166"/>
                  <a:pt x="437" y="165"/>
                  <a:pt x="437" y="167"/>
                </a:cubicBezTo>
                <a:cubicBezTo>
                  <a:pt x="437" y="168"/>
                  <a:pt x="435" y="168"/>
                  <a:pt x="435" y="167"/>
                </a:cubicBezTo>
                <a:close/>
                <a:moveTo>
                  <a:pt x="441" y="117"/>
                </a:moveTo>
                <a:cubicBezTo>
                  <a:pt x="441" y="118"/>
                  <a:pt x="437" y="119"/>
                  <a:pt x="437" y="117"/>
                </a:cubicBezTo>
                <a:cubicBezTo>
                  <a:pt x="437" y="117"/>
                  <a:pt x="441" y="115"/>
                  <a:pt x="441" y="117"/>
                </a:cubicBezTo>
                <a:close/>
                <a:moveTo>
                  <a:pt x="439" y="97"/>
                </a:moveTo>
                <a:cubicBezTo>
                  <a:pt x="439" y="97"/>
                  <a:pt x="438" y="98"/>
                  <a:pt x="437" y="97"/>
                </a:cubicBezTo>
                <a:cubicBezTo>
                  <a:pt x="437" y="96"/>
                  <a:pt x="438" y="96"/>
                  <a:pt x="439" y="97"/>
                </a:cubicBezTo>
                <a:close/>
                <a:moveTo>
                  <a:pt x="442" y="132"/>
                </a:moveTo>
                <a:cubicBezTo>
                  <a:pt x="442" y="132"/>
                  <a:pt x="440" y="133"/>
                  <a:pt x="440" y="133"/>
                </a:cubicBezTo>
                <a:cubicBezTo>
                  <a:pt x="440" y="132"/>
                  <a:pt x="442" y="132"/>
                  <a:pt x="442" y="132"/>
                </a:cubicBezTo>
                <a:close/>
                <a:moveTo>
                  <a:pt x="439" y="214"/>
                </a:moveTo>
                <a:cubicBezTo>
                  <a:pt x="438" y="214"/>
                  <a:pt x="439" y="213"/>
                  <a:pt x="439" y="213"/>
                </a:cubicBezTo>
                <a:cubicBezTo>
                  <a:pt x="440" y="213"/>
                  <a:pt x="439" y="214"/>
                  <a:pt x="439" y="214"/>
                </a:cubicBezTo>
                <a:close/>
                <a:moveTo>
                  <a:pt x="439" y="166"/>
                </a:moveTo>
                <a:cubicBezTo>
                  <a:pt x="439" y="167"/>
                  <a:pt x="437" y="167"/>
                  <a:pt x="438" y="166"/>
                </a:cubicBezTo>
                <a:cubicBezTo>
                  <a:pt x="438" y="166"/>
                  <a:pt x="438" y="166"/>
                  <a:pt x="439" y="166"/>
                </a:cubicBezTo>
                <a:close/>
                <a:moveTo>
                  <a:pt x="437" y="216"/>
                </a:moveTo>
                <a:cubicBezTo>
                  <a:pt x="437" y="216"/>
                  <a:pt x="438" y="215"/>
                  <a:pt x="438" y="215"/>
                </a:cubicBezTo>
                <a:cubicBezTo>
                  <a:pt x="438" y="215"/>
                  <a:pt x="437" y="217"/>
                  <a:pt x="437" y="216"/>
                </a:cubicBezTo>
                <a:close/>
                <a:moveTo>
                  <a:pt x="441" y="121"/>
                </a:moveTo>
                <a:cubicBezTo>
                  <a:pt x="441" y="121"/>
                  <a:pt x="442" y="121"/>
                  <a:pt x="442" y="121"/>
                </a:cubicBezTo>
                <a:cubicBezTo>
                  <a:pt x="443" y="122"/>
                  <a:pt x="441" y="122"/>
                  <a:pt x="441" y="121"/>
                </a:cubicBezTo>
                <a:close/>
                <a:moveTo>
                  <a:pt x="442" y="79"/>
                </a:moveTo>
                <a:cubicBezTo>
                  <a:pt x="441" y="80"/>
                  <a:pt x="441" y="79"/>
                  <a:pt x="442" y="79"/>
                </a:cubicBezTo>
                <a:close/>
                <a:moveTo>
                  <a:pt x="435" y="194"/>
                </a:moveTo>
                <a:cubicBezTo>
                  <a:pt x="435" y="194"/>
                  <a:pt x="437" y="193"/>
                  <a:pt x="436" y="194"/>
                </a:cubicBezTo>
                <a:cubicBezTo>
                  <a:pt x="434" y="197"/>
                  <a:pt x="430" y="199"/>
                  <a:pt x="426" y="200"/>
                </a:cubicBezTo>
                <a:cubicBezTo>
                  <a:pt x="429" y="198"/>
                  <a:pt x="433" y="195"/>
                  <a:pt x="435" y="194"/>
                </a:cubicBezTo>
                <a:close/>
                <a:moveTo>
                  <a:pt x="430" y="161"/>
                </a:moveTo>
                <a:cubicBezTo>
                  <a:pt x="431" y="159"/>
                  <a:pt x="433" y="159"/>
                  <a:pt x="434" y="158"/>
                </a:cubicBezTo>
                <a:cubicBezTo>
                  <a:pt x="434" y="159"/>
                  <a:pt x="432" y="161"/>
                  <a:pt x="430" y="161"/>
                </a:cubicBezTo>
                <a:close/>
                <a:moveTo>
                  <a:pt x="429" y="81"/>
                </a:moveTo>
                <a:cubicBezTo>
                  <a:pt x="431" y="80"/>
                  <a:pt x="432" y="79"/>
                  <a:pt x="434" y="78"/>
                </a:cubicBezTo>
                <a:cubicBezTo>
                  <a:pt x="434" y="80"/>
                  <a:pt x="431" y="81"/>
                  <a:pt x="429" y="81"/>
                </a:cubicBezTo>
                <a:close/>
                <a:moveTo>
                  <a:pt x="428" y="135"/>
                </a:moveTo>
                <a:cubicBezTo>
                  <a:pt x="431" y="133"/>
                  <a:pt x="432" y="135"/>
                  <a:pt x="428" y="135"/>
                </a:cubicBezTo>
                <a:close/>
                <a:moveTo>
                  <a:pt x="430" y="177"/>
                </a:moveTo>
                <a:cubicBezTo>
                  <a:pt x="430" y="178"/>
                  <a:pt x="428" y="179"/>
                  <a:pt x="427" y="179"/>
                </a:cubicBezTo>
                <a:cubicBezTo>
                  <a:pt x="428" y="178"/>
                  <a:pt x="429" y="178"/>
                  <a:pt x="430" y="177"/>
                </a:cubicBezTo>
                <a:close/>
                <a:moveTo>
                  <a:pt x="422" y="541"/>
                </a:moveTo>
                <a:cubicBezTo>
                  <a:pt x="421" y="543"/>
                  <a:pt x="423" y="540"/>
                  <a:pt x="422" y="541"/>
                </a:cubicBezTo>
                <a:close/>
                <a:moveTo>
                  <a:pt x="422" y="384"/>
                </a:moveTo>
                <a:cubicBezTo>
                  <a:pt x="422" y="384"/>
                  <a:pt x="422" y="384"/>
                  <a:pt x="422" y="384"/>
                </a:cubicBezTo>
                <a:cubicBezTo>
                  <a:pt x="422" y="384"/>
                  <a:pt x="423" y="384"/>
                  <a:pt x="423" y="384"/>
                </a:cubicBezTo>
                <a:cubicBezTo>
                  <a:pt x="422" y="384"/>
                  <a:pt x="422" y="384"/>
                  <a:pt x="422" y="384"/>
                </a:cubicBezTo>
                <a:close/>
                <a:moveTo>
                  <a:pt x="422" y="617"/>
                </a:moveTo>
                <a:cubicBezTo>
                  <a:pt x="422" y="618"/>
                  <a:pt x="421" y="617"/>
                  <a:pt x="421" y="617"/>
                </a:cubicBezTo>
                <a:cubicBezTo>
                  <a:pt x="420" y="617"/>
                  <a:pt x="422" y="616"/>
                  <a:pt x="422" y="617"/>
                </a:cubicBezTo>
                <a:close/>
                <a:moveTo>
                  <a:pt x="421" y="588"/>
                </a:moveTo>
                <a:cubicBezTo>
                  <a:pt x="420" y="588"/>
                  <a:pt x="419" y="589"/>
                  <a:pt x="420" y="587"/>
                </a:cubicBezTo>
                <a:cubicBezTo>
                  <a:pt x="420" y="587"/>
                  <a:pt x="421" y="587"/>
                  <a:pt x="421" y="588"/>
                </a:cubicBezTo>
                <a:close/>
                <a:moveTo>
                  <a:pt x="422" y="663"/>
                </a:moveTo>
                <a:cubicBezTo>
                  <a:pt x="423" y="663"/>
                  <a:pt x="422" y="664"/>
                  <a:pt x="421" y="664"/>
                </a:cubicBezTo>
                <a:cubicBezTo>
                  <a:pt x="419" y="665"/>
                  <a:pt x="421" y="662"/>
                  <a:pt x="422" y="663"/>
                </a:cubicBezTo>
                <a:close/>
                <a:moveTo>
                  <a:pt x="424" y="741"/>
                </a:moveTo>
                <a:cubicBezTo>
                  <a:pt x="424" y="742"/>
                  <a:pt x="423" y="742"/>
                  <a:pt x="423" y="741"/>
                </a:cubicBezTo>
                <a:cubicBezTo>
                  <a:pt x="422" y="740"/>
                  <a:pt x="424" y="740"/>
                  <a:pt x="424" y="741"/>
                </a:cubicBezTo>
                <a:close/>
                <a:moveTo>
                  <a:pt x="423" y="739"/>
                </a:moveTo>
                <a:cubicBezTo>
                  <a:pt x="422" y="741"/>
                  <a:pt x="421" y="738"/>
                  <a:pt x="423" y="739"/>
                </a:cubicBezTo>
                <a:close/>
                <a:moveTo>
                  <a:pt x="423" y="692"/>
                </a:moveTo>
                <a:cubicBezTo>
                  <a:pt x="422" y="691"/>
                  <a:pt x="425" y="691"/>
                  <a:pt x="425" y="692"/>
                </a:cubicBezTo>
                <a:cubicBezTo>
                  <a:pt x="425" y="692"/>
                  <a:pt x="423" y="693"/>
                  <a:pt x="423" y="692"/>
                </a:cubicBezTo>
                <a:close/>
                <a:moveTo>
                  <a:pt x="422" y="683"/>
                </a:moveTo>
                <a:cubicBezTo>
                  <a:pt x="422" y="683"/>
                  <a:pt x="423" y="682"/>
                  <a:pt x="423" y="682"/>
                </a:cubicBezTo>
                <a:cubicBezTo>
                  <a:pt x="424" y="681"/>
                  <a:pt x="425" y="680"/>
                  <a:pt x="426" y="682"/>
                </a:cubicBezTo>
                <a:cubicBezTo>
                  <a:pt x="426" y="682"/>
                  <a:pt x="426" y="682"/>
                  <a:pt x="425" y="683"/>
                </a:cubicBezTo>
                <a:cubicBezTo>
                  <a:pt x="426" y="683"/>
                  <a:pt x="428" y="684"/>
                  <a:pt x="428" y="685"/>
                </a:cubicBezTo>
                <a:cubicBezTo>
                  <a:pt x="428" y="688"/>
                  <a:pt x="422" y="684"/>
                  <a:pt x="422" y="683"/>
                </a:cubicBezTo>
                <a:close/>
                <a:moveTo>
                  <a:pt x="427" y="688"/>
                </a:moveTo>
                <a:cubicBezTo>
                  <a:pt x="428" y="689"/>
                  <a:pt x="426" y="688"/>
                  <a:pt x="426" y="689"/>
                </a:cubicBezTo>
                <a:cubicBezTo>
                  <a:pt x="425" y="688"/>
                  <a:pt x="427" y="688"/>
                  <a:pt x="427" y="688"/>
                </a:cubicBezTo>
                <a:close/>
                <a:moveTo>
                  <a:pt x="427" y="696"/>
                </a:moveTo>
                <a:cubicBezTo>
                  <a:pt x="427" y="696"/>
                  <a:pt x="426" y="697"/>
                  <a:pt x="425" y="696"/>
                </a:cubicBezTo>
                <a:cubicBezTo>
                  <a:pt x="425" y="696"/>
                  <a:pt x="427" y="695"/>
                  <a:pt x="427" y="696"/>
                </a:cubicBezTo>
                <a:close/>
                <a:moveTo>
                  <a:pt x="427" y="699"/>
                </a:moveTo>
                <a:cubicBezTo>
                  <a:pt x="428" y="700"/>
                  <a:pt x="427" y="700"/>
                  <a:pt x="427" y="700"/>
                </a:cubicBezTo>
                <a:cubicBezTo>
                  <a:pt x="426" y="700"/>
                  <a:pt x="427" y="699"/>
                  <a:pt x="427" y="699"/>
                </a:cubicBezTo>
                <a:close/>
                <a:moveTo>
                  <a:pt x="426" y="706"/>
                </a:moveTo>
                <a:cubicBezTo>
                  <a:pt x="427" y="707"/>
                  <a:pt x="425" y="707"/>
                  <a:pt x="426" y="706"/>
                </a:cubicBezTo>
                <a:close/>
                <a:moveTo>
                  <a:pt x="427" y="706"/>
                </a:moveTo>
                <a:cubicBezTo>
                  <a:pt x="430" y="703"/>
                  <a:pt x="428" y="709"/>
                  <a:pt x="426" y="708"/>
                </a:cubicBezTo>
                <a:cubicBezTo>
                  <a:pt x="426" y="708"/>
                  <a:pt x="427" y="707"/>
                  <a:pt x="427" y="706"/>
                </a:cubicBezTo>
                <a:close/>
                <a:moveTo>
                  <a:pt x="427" y="695"/>
                </a:moveTo>
                <a:cubicBezTo>
                  <a:pt x="423" y="695"/>
                  <a:pt x="429" y="691"/>
                  <a:pt x="432" y="692"/>
                </a:cubicBezTo>
                <a:cubicBezTo>
                  <a:pt x="430" y="693"/>
                  <a:pt x="428" y="694"/>
                  <a:pt x="427" y="695"/>
                </a:cubicBezTo>
                <a:close/>
                <a:moveTo>
                  <a:pt x="432" y="754"/>
                </a:moveTo>
                <a:cubicBezTo>
                  <a:pt x="433" y="753"/>
                  <a:pt x="433" y="755"/>
                  <a:pt x="432" y="754"/>
                </a:cubicBezTo>
                <a:close/>
                <a:moveTo>
                  <a:pt x="432" y="720"/>
                </a:moveTo>
                <a:cubicBezTo>
                  <a:pt x="431" y="719"/>
                  <a:pt x="433" y="719"/>
                  <a:pt x="433" y="719"/>
                </a:cubicBezTo>
                <a:cubicBezTo>
                  <a:pt x="434" y="719"/>
                  <a:pt x="433" y="720"/>
                  <a:pt x="432" y="720"/>
                </a:cubicBezTo>
                <a:close/>
                <a:moveTo>
                  <a:pt x="438" y="712"/>
                </a:moveTo>
                <a:cubicBezTo>
                  <a:pt x="440" y="712"/>
                  <a:pt x="442" y="714"/>
                  <a:pt x="442" y="717"/>
                </a:cubicBezTo>
                <a:cubicBezTo>
                  <a:pt x="441" y="715"/>
                  <a:pt x="439" y="718"/>
                  <a:pt x="438" y="718"/>
                </a:cubicBezTo>
                <a:cubicBezTo>
                  <a:pt x="429" y="720"/>
                  <a:pt x="431" y="709"/>
                  <a:pt x="438" y="712"/>
                </a:cubicBezTo>
                <a:close/>
                <a:moveTo>
                  <a:pt x="441" y="738"/>
                </a:moveTo>
                <a:cubicBezTo>
                  <a:pt x="441" y="738"/>
                  <a:pt x="439" y="738"/>
                  <a:pt x="439" y="738"/>
                </a:cubicBezTo>
                <a:cubicBezTo>
                  <a:pt x="439" y="737"/>
                  <a:pt x="440" y="737"/>
                  <a:pt x="441" y="738"/>
                </a:cubicBezTo>
                <a:close/>
                <a:moveTo>
                  <a:pt x="438" y="721"/>
                </a:moveTo>
                <a:cubicBezTo>
                  <a:pt x="438" y="721"/>
                  <a:pt x="437" y="721"/>
                  <a:pt x="437" y="721"/>
                </a:cubicBezTo>
                <a:cubicBezTo>
                  <a:pt x="437" y="719"/>
                  <a:pt x="439" y="723"/>
                  <a:pt x="438" y="721"/>
                </a:cubicBezTo>
                <a:close/>
                <a:moveTo>
                  <a:pt x="437" y="722"/>
                </a:moveTo>
                <a:cubicBezTo>
                  <a:pt x="436" y="722"/>
                  <a:pt x="436" y="721"/>
                  <a:pt x="435" y="722"/>
                </a:cubicBezTo>
                <a:cubicBezTo>
                  <a:pt x="434" y="722"/>
                  <a:pt x="436" y="721"/>
                  <a:pt x="437" y="722"/>
                </a:cubicBezTo>
                <a:close/>
                <a:moveTo>
                  <a:pt x="440" y="706"/>
                </a:moveTo>
                <a:cubicBezTo>
                  <a:pt x="440" y="704"/>
                  <a:pt x="443" y="705"/>
                  <a:pt x="443" y="706"/>
                </a:cubicBezTo>
                <a:cubicBezTo>
                  <a:pt x="443" y="708"/>
                  <a:pt x="440" y="707"/>
                  <a:pt x="440" y="706"/>
                </a:cubicBezTo>
                <a:close/>
                <a:moveTo>
                  <a:pt x="443" y="713"/>
                </a:moveTo>
                <a:cubicBezTo>
                  <a:pt x="443" y="713"/>
                  <a:pt x="442" y="713"/>
                  <a:pt x="442" y="713"/>
                </a:cubicBezTo>
                <a:cubicBezTo>
                  <a:pt x="442" y="712"/>
                  <a:pt x="443" y="713"/>
                  <a:pt x="443" y="713"/>
                </a:cubicBezTo>
                <a:close/>
                <a:moveTo>
                  <a:pt x="449" y="658"/>
                </a:moveTo>
                <a:cubicBezTo>
                  <a:pt x="449" y="658"/>
                  <a:pt x="449" y="658"/>
                  <a:pt x="449" y="658"/>
                </a:cubicBezTo>
                <a:cubicBezTo>
                  <a:pt x="449" y="655"/>
                  <a:pt x="451" y="660"/>
                  <a:pt x="449" y="658"/>
                </a:cubicBezTo>
                <a:close/>
                <a:moveTo>
                  <a:pt x="446" y="653"/>
                </a:moveTo>
                <a:cubicBezTo>
                  <a:pt x="447" y="652"/>
                  <a:pt x="449" y="651"/>
                  <a:pt x="450" y="651"/>
                </a:cubicBezTo>
                <a:cubicBezTo>
                  <a:pt x="449" y="652"/>
                  <a:pt x="448" y="653"/>
                  <a:pt x="446" y="653"/>
                </a:cubicBezTo>
                <a:close/>
                <a:moveTo>
                  <a:pt x="449" y="647"/>
                </a:moveTo>
                <a:cubicBezTo>
                  <a:pt x="449" y="646"/>
                  <a:pt x="451" y="645"/>
                  <a:pt x="451" y="646"/>
                </a:cubicBezTo>
                <a:cubicBezTo>
                  <a:pt x="452" y="647"/>
                  <a:pt x="449" y="649"/>
                  <a:pt x="449" y="647"/>
                </a:cubicBezTo>
                <a:close/>
                <a:moveTo>
                  <a:pt x="451" y="217"/>
                </a:moveTo>
                <a:cubicBezTo>
                  <a:pt x="451" y="217"/>
                  <a:pt x="451" y="217"/>
                  <a:pt x="451" y="217"/>
                </a:cubicBezTo>
                <a:cubicBezTo>
                  <a:pt x="454" y="218"/>
                  <a:pt x="448" y="220"/>
                  <a:pt x="451" y="217"/>
                </a:cubicBezTo>
                <a:close/>
                <a:moveTo>
                  <a:pt x="449" y="184"/>
                </a:moveTo>
                <a:cubicBezTo>
                  <a:pt x="450" y="182"/>
                  <a:pt x="451" y="181"/>
                  <a:pt x="453" y="181"/>
                </a:cubicBezTo>
                <a:cubicBezTo>
                  <a:pt x="452" y="182"/>
                  <a:pt x="451" y="183"/>
                  <a:pt x="449" y="184"/>
                </a:cubicBezTo>
                <a:close/>
                <a:moveTo>
                  <a:pt x="459" y="243"/>
                </a:moveTo>
                <a:cubicBezTo>
                  <a:pt x="458" y="244"/>
                  <a:pt x="455" y="246"/>
                  <a:pt x="452" y="247"/>
                </a:cubicBezTo>
                <a:cubicBezTo>
                  <a:pt x="454" y="245"/>
                  <a:pt x="457" y="244"/>
                  <a:pt x="459" y="243"/>
                </a:cubicBezTo>
                <a:close/>
                <a:moveTo>
                  <a:pt x="456" y="185"/>
                </a:moveTo>
                <a:cubicBezTo>
                  <a:pt x="456" y="185"/>
                  <a:pt x="458" y="184"/>
                  <a:pt x="458" y="185"/>
                </a:cubicBezTo>
                <a:cubicBezTo>
                  <a:pt x="458" y="185"/>
                  <a:pt x="456" y="186"/>
                  <a:pt x="456" y="185"/>
                </a:cubicBezTo>
                <a:close/>
                <a:moveTo>
                  <a:pt x="457" y="243"/>
                </a:moveTo>
                <a:cubicBezTo>
                  <a:pt x="457" y="245"/>
                  <a:pt x="457" y="241"/>
                  <a:pt x="457" y="243"/>
                </a:cubicBezTo>
                <a:close/>
                <a:moveTo>
                  <a:pt x="458" y="185"/>
                </a:moveTo>
                <a:cubicBezTo>
                  <a:pt x="459" y="183"/>
                  <a:pt x="460" y="185"/>
                  <a:pt x="458" y="185"/>
                </a:cubicBezTo>
                <a:close/>
                <a:moveTo>
                  <a:pt x="460" y="254"/>
                </a:moveTo>
                <a:cubicBezTo>
                  <a:pt x="460" y="255"/>
                  <a:pt x="456" y="257"/>
                  <a:pt x="456" y="255"/>
                </a:cubicBezTo>
                <a:cubicBezTo>
                  <a:pt x="455" y="252"/>
                  <a:pt x="460" y="252"/>
                  <a:pt x="460" y="254"/>
                </a:cubicBezTo>
                <a:close/>
                <a:moveTo>
                  <a:pt x="460" y="156"/>
                </a:moveTo>
                <a:cubicBezTo>
                  <a:pt x="461" y="154"/>
                  <a:pt x="459" y="157"/>
                  <a:pt x="460" y="156"/>
                </a:cubicBezTo>
                <a:close/>
                <a:moveTo>
                  <a:pt x="461" y="243"/>
                </a:moveTo>
                <a:cubicBezTo>
                  <a:pt x="462" y="243"/>
                  <a:pt x="461" y="244"/>
                  <a:pt x="461" y="244"/>
                </a:cubicBezTo>
                <a:cubicBezTo>
                  <a:pt x="461" y="244"/>
                  <a:pt x="461" y="243"/>
                  <a:pt x="461" y="243"/>
                </a:cubicBezTo>
                <a:close/>
                <a:moveTo>
                  <a:pt x="461" y="144"/>
                </a:moveTo>
                <a:cubicBezTo>
                  <a:pt x="461" y="142"/>
                  <a:pt x="463" y="143"/>
                  <a:pt x="461" y="144"/>
                </a:cubicBezTo>
                <a:close/>
                <a:moveTo>
                  <a:pt x="460" y="266"/>
                </a:moveTo>
                <a:cubicBezTo>
                  <a:pt x="459" y="267"/>
                  <a:pt x="463" y="264"/>
                  <a:pt x="460" y="266"/>
                </a:cubicBezTo>
                <a:close/>
                <a:moveTo>
                  <a:pt x="458" y="550"/>
                </a:moveTo>
                <a:cubicBezTo>
                  <a:pt x="457" y="550"/>
                  <a:pt x="459" y="549"/>
                  <a:pt x="458" y="550"/>
                </a:cubicBezTo>
                <a:cubicBezTo>
                  <a:pt x="458" y="550"/>
                  <a:pt x="458" y="550"/>
                  <a:pt x="458" y="550"/>
                </a:cubicBezTo>
                <a:close/>
                <a:moveTo>
                  <a:pt x="459" y="569"/>
                </a:moveTo>
                <a:cubicBezTo>
                  <a:pt x="460" y="568"/>
                  <a:pt x="456" y="570"/>
                  <a:pt x="459" y="569"/>
                </a:cubicBezTo>
                <a:close/>
                <a:moveTo>
                  <a:pt x="461" y="580"/>
                </a:moveTo>
                <a:cubicBezTo>
                  <a:pt x="461" y="583"/>
                  <a:pt x="456" y="582"/>
                  <a:pt x="456" y="580"/>
                </a:cubicBezTo>
                <a:cubicBezTo>
                  <a:pt x="456" y="579"/>
                  <a:pt x="461" y="578"/>
                  <a:pt x="461" y="580"/>
                </a:cubicBezTo>
                <a:close/>
                <a:moveTo>
                  <a:pt x="462" y="589"/>
                </a:moveTo>
                <a:cubicBezTo>
                  <a:pt x="460" y="590"/>
                  <a:pt x="457" y="590"/>
                  <a:pt x="454" y="591"/>
                </a:cubicBezTo>
                <a:cubicBezTo>
                  <a:pt x="456" y="590"/>
                  <a:pt x="460" y="589"/>
                  <a:pt x="462" y="589"/>
                </a:cubicBezTo>
                <a:close/>
                <a:moveTo>
                  <a:pt x="457" y="591"/>
                </a:moveTo>
                <a:cubicBezTo>
                  <a:pt x="457" y="590"/>
                  <a:pt x="456" y="593"/>
                  <a:pt x="457" y="591"/>
                </a:cubicBezTo>
                <a:close/>
                <a:moveTo>
                  <a:pt x="460" y="671"/>
                </a:moveTo>
                <a:cubicBezTo>
                  <a:pt x="460" y="671"/>
                  <a:pt x="457" y="672"/>
                  <a:pt x="458" y="670"/>
                </a:cubicBezTo>
                <a:cubicBezTo>
                  <a:pt x="458" y="669"/>
                  <a:pt x="460" y="669"/>
                  <a:pt x="460" y="671"/>
                </a:cubicBezTo>
                <a:close/>
                <a:moveTo>
                  <a:pt x="460" y="662"/>
                </a:moveTo>
                <a:cubicBezTo>
                  <a:pt x="460" y="663"/>
                  <a:pt x="459" y="663"/>
                  <a:pt x="459" y="663"/>
                </a:cubicBezTo>
                <a:cubicBezTo>
                  <a:pt x="458" y="662"/>
                  <a:pt x="460" y="662"/>
                  <a:pt x="460" y="662"/>
                </a:cubicBezTo>
                <a:close/>
                <a:moveTo>
                  <a:pt x="467" y="612"/>
                </a:moveTo>
                <a:cubicBezTo>
                  <a:pt x="467" y="613"/>
                  <a:pt x="465" y="613"/>
                  <a:pt x="465" y="613"/>
                </a:cubicBezTo>
                <a:cubicBezTo>
                  <a:pt x="464" y="612"/>
                  <a:pt x="467" y="612"/>
                  <a:pt x="467" y="612"/>
                </a:cubicBezTo>
                <a:close/>
                <a:moveTo>
                  <a:pt x="466" y="284"/>
                </a:moveTo>
                <a:cubicBezTo>
                  <a:pt x="466" y="284"/>
                  <a:pt x="466" y="283"/>
                  <a:pt x="466" y="283"/>
                </a:cubicBezTo>
                <a:cubicBezTo>
                  <a:pt x="467" y="284"/>
                  <a:pt x="466" y="285"/>
                  <a:pt x="466" y="284"/>
                </a:cubicBezTo>
                <a:close/>
                <a:moveTo>
                  <a:pt x="474" y="600"/>
                </a:moveTo>
                <a:cubicBezTo>
                  <a:pt x="474" y="599"/>
                  <a:pt x="476" y="598"/>
                  <a:pt x="476" y="598"/>
                </a:cubicBezTo>
                <a:cubicBezTo>
                  <a:pt x="476" y="599"/>
                  <a:pt x="475" y="600"/>
                  <a:pt x="474" y="600"/>
                </a:cubicBezTo>
                <a:close/>
                <a:moveTo>
                  <a:pt x="475" y="266"/>
                </a:moveTo>
                <a:cubicBezTo>
                  <a:pt x="475" y="266"/>
                  <a:pt x="474" y="266"/>
                  <a:pt x="474" y="266"/>
                </a:cubicBezTo>
                <a:cubicBezTo>
                  <a:pt x="475" y="266"/>
                  <a:pt x="475" y="265"/>
                  <a:pt x="475" y="265"/>
                </a:cubicBezTo>
                <a:cubicBezTo>
                  <a:pt x="475" y="265"/>
                  <a:pt x="475" y="265"/>
                  <a:pt x="475" y="266"/>
                </a:cubicBezTo>
                <a:close/>
                <a:moveTo>
                  <a:pt x="466" y="190"/>
                </a:moveTo>
                <a:cubicBezTo>
                  <a:pt x="469" y="188"/>
                  <a:pt x="468" y="194"/>
                  <a:pt x="466" y="192"/>
                </a:cubicBezTo>
                <a:cubicBezTo>
                  <a:pt x="465" y="192"/>
                  <a:pt x="466" y="191"/>
                  <a:pt x="466" y="190"/>
                </a:cubicBezTo>
                <a:close/>
                <a:moveTo>
                  <a:pt x="469" y="188"/>
                </a:moveTo>
                <a:cubicBezTo>
                  <a:pt x="468" y="187"/>
                  <a:pt x="470" y="187"/>
                  <a:pt x="470" y="188"/>
                </a:cubicBezTo>
                <a:cubicBezTo>
                  <a:pt x="471" y="188"/>
                  <a:pt x="469" y="189"/>
                  <a:pt x="469" y="188"/>
                </a:cubicBezTo>
                <a:close/>
                <a:moveTo>
                  <a:pt x="469" y="195"/>
                </a:moveTo>
                <a:cubicBezTo>
                  <a:pt x="468" y="196"/>
                  <a:pt x="467" y="197"/>
                  <a:pt x="466" y="197"/>
                </a:cubicBezTo>
                <a:cubicBezTo>
                  <a:pt x="467" y="196"/>
                  <a:pt x="468" y="195"/>
                  <a:pt x="469" y="195"/>
                </a:cubicBezTo>
                <a:close/>
                <a:moveTo>
                  <a:pt x="463" y="182"/>
                </a:moveTo>
                <a:cubicBezTo>
                  <a:pt x="462" y="180"/>
                  <a:pt x="468" y="178"/>
                  <a:pt x="469" y="181"/>
                </a:cubicBezTo>
                <a:cubicBezTo>
                  <a:pt x="469" y="184"/>
                  <a:pt x="463" y="184"/>
                  <a:pt x="463" y="182"/>
                </a:cubicBezTo>
                <a:close/>
                <a:moveTo>
                  <a:pt x="466" y="174"/>
                </a:moveTo>
                <a:cubicBezTo>
                  <a:pt x="466" y="174"/>
                  <a:pt x="468" y="173"/>
                  <a:pt x="468" y="174"/>
                </a:cubicBezTo>
                <a:cubicBezTo>
                  <a:pt x="469" y="174"/>
                  <a:pt x="466" y="175"/>
                  <a:pt x="466" y="174"/>
                </a:cubicBezTo>
                <a:close/>
                <a:moveTo>
                  <a:pt x="462" y="142"/>
                </a:moveTo>
                <a:cubicBezTo>
                  <a:pt x="462" y="141"/>
                  <a:pt x="464" y="141"/>
                  <a:pt x="464" y="141"/>
                </a:cubicBezTo>
                <a:cubicBezTo>
                  <a:pt x="464" y="141"/>
                  <a:pt x="463" y="142"/>
                  <a:pt x="462" y="142"/>
                </a:cubicBezTo>
                <a:close/>
                <a:moveTo>
                  <a:pt x="459" y="145"/>
                </a:moveTo>
                <a:cubicBezTo>
                  <a:pt x="459" y="145"/>
                  <a:pt x="460" y="145"/>
                  <a:pt x="460" y="145"/>
                </a:cubicBezTo>
                <a:cubicBezTo>
                  <a:pt x="460" y="145"/>
                  <a:pt x="459" y="146"/>
                  <a:pt x="459" y="145"/>
                </a:cubicBezTo>
                <a:close/>
                <a:moveTo>
                  <a:pt x="458" y="124"/>
                </a:moveTo>
                <a:cubicBezTo>
                  <a:pt x="456" y="128"/>
                  <a:pt x="457" y="122"/>
                  <a:pt x="459" y="122"/>
                </a:cubicBezTo>
                <a:cubicBezTo>
                  <a:pt x="459" y="123"/>
                  <a:pt x="459" y="124"/>
                  <a:pt x="458" y="124"/>
                </a:cubicBezTo>
                <a:close/>
                <a:moveTo>
                  <a:pt x="461" y="153"/>
                </a:moveTo>
                <a:cubicBezTo>
                  <a:pt x="461" y="154"/>
                  <a:pt x="457" y="155"/>
                  <a:pt x="457" y="154"/>
                </a:cubicBezTo>
                <a:cubicBezTo>
                  <a:pt x="456" y="153"/>
                  <a:pt x="460" y="151"/>
                  <a:pt x="461" y="153"/>
                </a:cubicBezTo>
                <a:close/>
                <a:moveTo>
                  <a:pt x="449" y="133"/>
                </a:moveTo>
                <a:cubicBezTo>
                  <a:pt x="448" y="132"/>
                  <a:pt x="450" y="133"/>
                  <a:pt x="450" y="133"/>
                </a:cubicBezTo>
                <a:cubicBezTo>
                  <a:pt x="451" y="133"/>
                  <a:pt x="449" y="133"/>
                  <a:pt x="449" y="133"/>
                </a:cubicBezTo>
                <a:close/>
                <a:moveTo>
                  <a:pt x="434" y="47"/>
                </a:moveTo>
                <a:cubicBezTo>
                  <a:pt x="435" y="47"/>
                  <a:pt x="436" y="47"/>
                  <a:pt x="436" y="47"/>
                </a:cubicBezTo>
                <a:cubicBezTo>
                  <a:pt x="436" y="47"/>
                  <a:pt x="435" y="48"/>
                  <a:pt x="434" y="47"/>
                </a:cubicBezTo>
                <a:close/>
                <a:moveTo>
                  <a:pt x="433" y="61"/>
                </a:moveTo>
                <a:cubicBezTo>
                  <a:pt x="434" y="60"/>
                  <a:pt x="435" y="62"/>
                  <a:pt x="433" y="61"/>
                </a:cubicBezTo>
                <a:close/>
                <a:moveTo>
                  <a:pt x="432" y="54"/>
                </a:moveTo>
                <a:cubicBezTo>
                  <a:pt x="432" y="53"/>
                  <a:pt x="433" y="53"/>
                  <a:pt x="433" y="53"/>
                </a:cubicBezTo>
                <a:cubicBezTo>
                  <a:pt x="434" y="54"/>
                  <a:pt x="432" y="54"/>
                  <a:pt x="432" y="54"/>
                </a:cubicBezTo>
                <a:close/>
                <a:moveTo>
                  <a:pt x="432" y="47"/>
                </a:moveTo>
                <a:cubicBezTo>
                  <a:pt x="431" y="47"/>
                  <a:pt x="432" y="46"/>
                  <a:pt x="432" y="46"/>
                </a:cubicBezTo>
                <a:cubicBezTo>
                  <a:pt x="433" y="47"/>
                  <a:pt x="432" y="47"/>
                  <a:pt x="432" y="47"/>
                </a:cubicBezTo>
                <a:close/>
                <a:moveTo>
                  <a:pt x="435" y="69"/>
                </a:moveTo>
                <a:cubicBezTo>
                  <a:pt x="435" y="72"/>
                  <a:pt x="431" y="71"/>
                  <a:pt x="431" y="69"/>
                </a:cubicBezTo>
                <a:cubicBezTo>
                  <a:pt x="431" y="67"/>
                  <a:pt x="435" y="66"/>
                  <a:pt x="435" y="69"/>
                </a:cubicBezTo>
                <a:close/>
                <a:moveTo>
                  <a:pt x="426" y="60"/>
                </a:moveTo>
                <a:cubicBezTo>
                  <a:pt x="425" y="58"/>
                  <a:pt x="430" y="57"/>
                  <a:pt x="431" y="59"/>
                </a:cubicBezTo>
                <a:cubicBezTo>
                  <a:pt x="432" y="62"/>
                  <a:pt x="427" y="61"/>
                  <a:pt x="426" y="60"/>
                </a:cubicBezTo>
                <a:close/>
                <a:moveTo>
                  <a:pt x="426" y="47"/>
                </a:moveTo>
                <a:cubicBezTo>
                  <a:pt x="426" y="47"/>
                  <a:pt x="426" y="47"/>
                  <a:pt x="426" y="47"/>
                </a:cubicBezTo>
                <a:cubicBezTo>
                  <a:pt x="427" y="48"/>
                  <a:pt x="424" y="45"/>
                  <a:pt x="426" y="47"/>
                </a:cubicBezTo>
                <a:close/>
                <a:moveTo>
                  <a:pt x="426" y="48"/>
                </a:moveTo>
                <a:cubicBezTo>
                  <a:pt x="426" y="50"/>
                  <a:pt x="424" y="49"/>
                  <a:pt x="424" y="49"/>
                </a:cubicBezTo>
                <a:cubicBezTo>
                  <a:pt x="424" y="48"/>
                  <a:pt x="425" y="48"/>
                  <a:pt x="426" y="48"/>
                </a:cubicBezTo>
                <a:close/>
                <a:moveTo>
                  <a:pt x="428" y="81"/>
                </a:moveTo>
                <a:cubicBezTo>
                  <a:pt x="426" y="82"/>
                  <a:pt x="425" y="83"/>
                  <a:pt x="423" y="83"/>
                </a:cubicBezTo>
                <a:cubicBezTo>
                  <a:pt x="424" y="83"/>
                  <a:pt x="426" y="81"/>
                  <a:pt x="428" y="81"/>
                </a:cubicBezTo>
                <a:close/>
                <a:moveTo>
                  <a:pt x="425" y="98"/>
                </a:moveTo>
                <a:cubicBezTo>
                  <a:pt x="424" y="101"/>
                  <a:pt x="421" y="99"/>
                  <a:pt x="425" y="98"/>
                </a:cubicBezTo>
                <a:close/>
                <a:moveTo>
                  <a:pt x="424" y="146"/>
                </a:moveTo>
                <a:cubicBezTo>
                  <a:pt x="424" y="148"/>
                  <a:pt x="422" y="148"/>
                  <a:pt x="421" y="149"/>
                </a:cubicBezTo>
                <a:cubicBezTo>
                  <a:pt x="421" y="147"/>
                  <a:pt x="423" y="147"/>
                  <a:pt x="424" y="146"/>
                </a:cubicBezTo>
                <a:close/>
                <a:moveTo>
                  <a:pt x="418" y="110"/>
                </a:moveTo>
                <a:cubicBezTo>
                  <a:pt x="419" y="110"/>
                  <a:pt x="420" y="109"/>
                  <a:pt x="422" y="109"/>
                </a:cubicBezTo>
                <a:cubicBezTo>
                  <a:pt x="421" y="110"/>
                  <a:pt x="419" y="111"/>
                  <a:pt x="418" y="110"/>
                </a:cubicBezTo>
                <a:close/>
                <a:moveTo>
                  <a:pt x="418" y="108"/>
                </a:moveTo>
                <a:cubicBezTo>
                  <a:pt x="419" y="106"/>
                  <a:pt x="420" y="106"/>
                  <a:pt x="421" y="106"/>
                </a:cubicBezTo>
                <a:cubicBezTo>
                  <a:pt x="421" y="107"/>
                  <a:pt x="419" y="108"/>
                  <a:pt x="418" y="108"/>
                </a:cubicBezTo>
                <a:close/>
                <a:moveTo>
                  <a:pt x="420" y="89"/>
                </a:moveTo>
                <a:cubicBezTo>
                  <a:pt x="420" y="89"/>
                  <a:pt x="420" y="89"/>
                  <a:pt x="420" y="89"/>
                </a:cubicBezTo>
                <a:cubicBezTo>
                  <a:pt x="420" y="89"/>
                  <a:pt x="420" y="89"/>
                  <a:pt x="420" y="89"/>
                </a:cubicBezTo>
                <a:cubicBezTo>
                  <a:pt x="420" y="89"/>
                  <a:pt x="420" y="89"/>
                  <a:pt x="420" y="89"/>
                </a:cubicBezTo>
                <a:close/>
                <a:moveTo>
                  <a:pt x="421" y="89"/>
                </a:moveTo>
                <a:cubicBezTo>
                  <a:pt x="421" y="89"/>
                  <a:pt x="421" y="88"/>
                  <a:pt x="421" y="89"/>
                </a:cubicBezTo>
                <a:close/>
                <a:moveTo>
                  <a:pt x="418" y="85"/>
                </a:moveTo>
                <a:cubicBezTo>
                  <a:pt x="418" y="84"/>
                  <a:pt x="420" y="84"/>
                  <a:pt x="421" y="84"/>
                </a:cubicBezTo>
                <a:cubicBezTo>
                  <a:pt x="421" y="85"/>
                  <a:pt x="418" y="86"/>
                  <a:pt x="418" y="85"/>
                </a:cubicBezTo>
                <a:close/>
                <a:moveTo>
                  <a:pt x="416" y="78"/>
                </a:moveTo>
                <a:cubicBezTo>
                  <a:pt x="416" y="78"/>
                  <a:pt x="418" y="77"/>
                  <a:pt x="419" y="78"/>
                </a:cubicBezTo>
                <a:cubicBezTo>
                  <a:pt x="420" y="80"/>
                  <a:pt x="416" y="80"/>
                  <a:pt x="416" y="78"/>
                </a:cubicBezTo>
                <a:close/>
                <a:moveTo>
                  <a:pt x="420" y="96"/>
                </a:moveTo>
                <a:cubicBezTo>
                  <a:pt x="420" y="98"/>
                  <a:pt x="417" y="99"/>
                  <a:pt x="415" y="98"/>
                </a:cubicBezTo>
                <a:cubicBezTo>
                  <a:pt x="411" y="95"/>
                  <a:pt x="420" y="92"/>
                  <a:pt x="420" y="96"/>
                </a:cubicBezTo>
                <a:close/>
                <a:moveTo>
                  <a:pt x="415" y="101"/>
                </a:moveTo>
                <a:cubicBezTo>
                  <a:pt x="417" y="103"/>
                  <a:pt x="410" y="105"/>
                  <a:pt x="413" y="102"/>
                </a:cubicBezTo>
                <a:cubicBezTo>
                  <a:pt x="413" y="101"/>
                  <a:pt x="414" y="101"/>
                  <a:pt x="415" y="101"/>
                </a:cubicBezTo>
                <a:close/>
                <a:moveTo>
                  <a:pt x="414" y="157"/>
                </a:moveTo>
                <a:cubicBezTo>
                  <a:pt x="414" y="158"/>
                  <a:pt x="412" y="159"/>
                  <a:pt x="410" y="159"/>
                </a:cubicBezTo>
                <a:cubicBezTo>
                  <a:pt x="411" y="158"/>
                  <a:pt x="413" y="158"/>
                  <a:pt x="414" y="157"/>
                </a:cubicBezTo>
                <a:close/>
                <a:moveTo>
                  <a:pt x="413" y="544"/>
                </a:moveTo>
                <a:cubicBezTo>
                  <a:pt x="412" y="547"/>
                  <a:pt x="410" y="546"/>
                  <a:pt x="413" y="544"/>
                </a:cubicBezTo>
                <a:close/>
                <a:moveTo>
                  <a:pt x="411" y="281"/>
                </a:moveTo>
                <a:cubicBezTo>
                  <a:pt x="413" y="282"/>
                  <a:pt x="410" y="282"/>
                  <a:pt x="411" y="281"/>
                </a:cubicBezTo>
                <a:close/>
                <a:moveTo>
                  <a:pt x="417" y="620"/>
                </a:moveTo>
                <a:cubicBezTo>
                  <a:pt x="418" y="619"/>
                  <a:pt x="419" y="618"/>
                  <a:pt x="420" y="619"/>
                </a:cubicBezTo>
                <a:cubicBezTo>
                  <a:pt x="420" y="620"/>
                  <a:pt x="420" y="620"/>
                  <a:pt x="420" y="620"/>
                </a:cubicBezTo>
                <a:cubicBezTo>
                  <a:pt x="420" y="620"/>
                  <a:pt x="420" y="620"/>
                  <a:pt x="420" y="620"/>
                </a:cubicBezTo>
                <a:cubicBezTo>
                  <a:pt x="421" y="620"/>
                  <a:pt x="420" y="621"/>
                  <a:pt x="420" y="621"/>
                </a:cubicBezTo>
                <a:cubicBezTo>
                  <a:pt x="418" y="622"/>
                  <a:pt x="418" y="621"/>
                  <a:pt x="418" y="620"/>
                </a:cubicBezTo>
                <a:cubicBezTo>
                  <a:pt x="417" y="620"/>
                  <a:pt x="416" y="620"/>
                  <a:pt x="416" y="620"/>
                </a:cubicBezTo>
                <a:cubicBezTo>
                  <a:pt x="415" y="621"/>
                  <a:pt x="408" y="625"/>
                  <a:pt x="407" y="624"/>
                </a:cubicBezTo>
                <a:cubicBezTo>
                  <a:pt x="406" y="622"/>
                  <a:pt x="416" y="620"/>
                  <a:pt x="417" y="620"/>
                </a:cubicBezTo>
                <a:close/>
                <a:moveTo>
                  <a:pt x="408" y="668"/>
                </a:moveTo>
                <a:cubicBezTo>
                  <a:pt x="408" y="669"/>
                  <a:pt x="410" y="667"/>
                  <a:pt x="410" y="668"/>
                </a:cubicBezTo>
                <a:cubicBezTo>
                  <a:pt x="410" y="669"/>
                  <a:pt x="408" y="670"/>
                  <a:pt x="408" y="668"/>
                </a:cubicBezTo>
                <a:close/>
                <a:moveTo>
                  <a:pt x="409" y="676"/>
                </a:moveTo>
                <a:cubicBezTo>
                  <a:pt x="409" y="676"/>
                  <a:pt x="409" y="677"/>
                  <a:pt x="408" y="676"/>
                </a:cubicBezTo>
                <a:cubicBezTo>
                  <a:pt x="407" y="676"/>
                  <a:pt x="410" y="675"/>
                  <a:pt x="409" y="676"/>
                </a:cubicBezTo>
                <a:close/>
                <a:moveTo>
                  <a:pt x="400" y="518"/>
                </a:moveTo>
                <a:cubicBezTo>
                  <a:pt x="397" y="519"/>
                  <a:pt x="400" y="515"/>
                  <a:pt x="401" y="517"/>
                </a:cubicBezTo>
                <a:cubicBezTo>
                  <a:pt x="401" y="518"/>
                  <a:pt x="401" y="518"/>
                  <a:pt x="400" y="518"/>
                </a:cubicBezTo>
                <a:close/>
                <a:moveTo>
                  <a:pt x="400" y="648"/>
                </a:moveTo>
                <a:cubicBezTo>
                  <a:pt x="400" y="647"/>
                  <a:pt x="400" y="647"/>
                  <a:pt x="400" y="647"/>
                </a:cubicBezTo>
                <a:cubicBezTo>
                  <a:pt x="400" y="647"/>
                  <a:pt x="400" y="647"/>
                  <a:pt x="400" y="647"/>
                </a:cubicBezTo>
                <a:cubicBezTo>
                  <a:pt x="400" y="647"/>
                  <a:pt x="400" y="647"/>
                  <a:pt x="400" y="648"/>
                </a:cubicBezTo>
                <a:close/>
                <a:moveTo>
                  <a:pt x="392" y="551"/>
                </a:moveTo>
                <a:cubicBezTo>
                  <a:pt x="393" y="549"/>
                  <a:pt x="397" y="551"/>
                  <a:pt x="396" y="553"/>
                </a:cubicBezTo>
                <a:cubicBezTo>
                  <a:pt x="395" y="555"/>
                  <a:pt x="390" y="554"/>
                  <a:pt x="392" y="551"/>
                </a:cubicBezTo>
                <a:close/>
                <a:moveTo>
                  <a:pt x="393" y="587"/>
                </a:moveTo>
                <a:cubicBezTo>
                  <a:pt x="390" y="588"/>
                  <a:pt x="394" y="586"/>
                  <a:pt x="393" y="587"/>
                </a:cubicBezTo>
                <a:close/>
                <a:moveTo>
                  <a:pt x="394" y="493"/>
                </a:moveTo>
                <a:cubicBezTo>
                  <a:pt x="394" y="493"/>
                  <a:pt x="393" y="494"/>
                  <a:pt x="393" y="493"/>
                </a:cubicBezTo>
                <a:cubicBezTo>
                  <a:pt x="391" y="492"/>
                  <a:pt x="396" y="491"/>
                  <a:pt x="394" y="493"/>
                </a:cubicBezTo>
                <a:close/>
                <a:moveTo>
                  <a:pt x="394" y="530"/>
                </a:moveTo>
                <a:cubicBezTo>
                  <a:pt x="394" y="530"/>
                  <a:pt x="394" y="531"/>
                  <a:pt x="394" y="530"/>
                </a:cubicBezTo>
                <a:cubicBezTo>
                  <a:pt x="393" y="530"/>
                  <a:pt x="395" y="529"/>
                  <a:pt x="394" y="530"/>
                </a:cubicBezTo>
                <a:close/>
                <a:moveTo>
                  <a:pt x="397" y="543"/>
                </a:moveTo>
                <a:cubicBezTo>
                  <a:pt x="397" y="543"/>
                  <a:pt x="396" y="544"/>
                  <a:pt x="396" y="543"/>
                </a:cubicBezTo>
                <a:cubicBezTo>
                  <a:pt x="395" y="543"/>
                  <a:pt x="398" y="542"/>
                  <a:pt x="397" y="543"/>
                </a:cubicBezTo>
                <a:close/>
                <a:moveTo>
                  <a:pt x="396" y="585"/>
                </a:moveTo>
                <a:cubicBezTo>
                  <a:pt x="396" y="586"/>
                  <a:pt x="396" y="586"/>
                  <a:pt x="396" y="586"/>
                </a:cubicBezTo>
                <a:cubicBezTo>
                  <a:pt x="394" y="587"/>
                  <a:pt x="396" y="586"/>
                  <a:pt x="396" y="585"/>
                </a:cubicBezTo>
                <a:close/>
                <a:moveTo>
                  <a:pt x="396" y="601"/>
                </a:moveTo>
                <a:cubicBezTo>
                  <a:pt x="397" y="601"/>
                  <a:pt x="396" y="602"/>
                  <a:pt x="395" y="603"/>
                </a:cubicBezTo>
                <a:cubicBezTo>
                  <a:pt x="395" y="602"/>
                  <a:pt x="396" y="601"/>
                  <a:pt x="396" y="601"/>
                </a:cubicBezTo>
                <a:close/>
                <a:moveTo>
                  <a:pt x="399" y="645"/>
                </a:moveTo>
                <a:cubicBezTo>
                  <a:pt x="399" y="646"/>
                  <a:pt x="396" y="647"/>
                  <a:pt x="397" y="645"/>
                </a:cubicBezTo>
                <a:cubicBezTo>
                  <a:pt x="397" y="643"/>
                  <a:pt x="399" y="644"/>
                  <a:pt x="399" y="645"/>
                </a:cubicBezTo>
                <a:close/>
                <a:moveTo>
                  <a:pt x="398" y="622"/>
                </a:moveTo>
                <a:cubicBezTo>
                  <a:pt x="395" y="624"/>
                  <a:pt x="397" y="618"/>
                  <a:pt x="399" y="619"/>
                </a:cubicBezTo>
                <a:cubicBezTo>
                  <a:pt x="401" y="620"/>
                  <a:pt x="399" y="622"/>
                  <a:pt x="398" y="622"/>
                </a:cubicBezTo>
                <a:close/>
                <a:moveTo>
                  <a:pt x="397" y="513"/>
                </a:moveTo>
                <a:cubicBezTo>
                  <a:pt x="397" y="513"/>
                  <a:pt x="399" y="513"/>
                  <a:pt x="399" y="513"/>
                </a:cubicBezTo>
                <a:cubicBezTo>
                  <a:pt x="399" y="514"/>
                  <a:pt x="397" y="514"/>
                  <a:pt x="397" y="513"/>
                </a:cubicBezTo>
                <a:close/>
                <a:moveTo>
                  <a:pt x="397" y="606"/>
                </a:moveTo>
                <a:cubicBezTo>
                  <a:pt x="397" y="605"/>
                  <a:pt x="397" y="605"/>
                  <a:pt x="398" y="605"/>
                </a:cubicBezTo>
                <a:cubicBezTo>
                  <a:pt x="399" y="605"/>
                  <a:pt x="398" y="607"/>
                  <a:pt x="397" y="606"/>
                </a:cubicBezTo>
                <a:close/>
                <a:moveTo>
                  <a:pt x="397" y="461"/>
                </a:moveTo>
                <a:cubicBezTo>
                  <a:pt x="398" y="459"/>
                  <a:pt x="400" y="459"/>
                  <a:pt x="402" y="458"/>
                </a:cubicBezTo>
                <a:cubicBezTo>
                  <a:pt x="401" y="460"/>
                  <a:pt x="399" y="460"/>
                  <a:pt x="397" y="461"/>
                </a:cubicBezTo>
                <a:close/>
                <a:moveTo>
                  <a:pt x="401" y="364"/>
                </a:moveTo>
                <a:cubicBezTo>
                  <a:pt x="399" y="366"/>
                  <a:pt x="401" y="361"/>
                  <a:pt x="402" y="362"/>
                </a:cubicBezTo>
                <a:cubicBezTo>
                  <a:pt x="403" y="362"/>
                  <a:pt x="401" y="364"/>
                  <a:pt x="401" y="364"/>
                </a:cubicBezTo>
                <a:close/>
                <a:moveTo>
                  <a:pt x="400" y="245"/>
                </a:moveTo>
                <a:cubicBezTo>
                  <a:pt x="401" y="244"/>
                  <a:pt x="399" y="246"/>
                  <a:pt x="400" y="245"/>
                </a:cubicBezTo>
                <a:close/>
                <a:moveTo>
                  <a:pt x="402" y="477"/>
                </a:moveTo>
                <a:cubicBezTo>
                  <a:pt x="401" y="478"/>
                  <a:pt x="403" y="476"/>
                  <a:pt x="402" y="477"/>
                </a:cubicBezTo>
                <a:close/>
                <a:moveTo>
                  <a:pt x="402" y="458"/>
                </a:moveTo>
                <a:cubicBezTo>
                  <a:pt x="401" y="457"/>
                  <a:pt x="406" y="457"/>
                  <a:pt x="404" y="458"/>
                </a:cubicBezTo>
                <a:cubicBezTo>
                  <a:pt x="403" y="458"/>
                  <a:pt x="403" y="459"/>
                  <a:pt x="402" y="458"/>
                </a:cubicBezTo>
                <a:close/>
                <a:moveTo>
                  <a:pt x="406" y="578"/>
                </a:moveTo>
                <a:cubicBezTo>
                  <a:pt x="406" y="578"/>
                  <a:pt x="408" y="577"/>
                  <a:pt x="409" y="578"/>
                </a:cubicBezTo>
                <a:cubicBezTo>
                  <a:pt x="409" y="579"/>
                  <a:pt x="406" y="580"/>
                  <a:pt x="406" y="578"/>
                </a:cubicBezTo>
                <a:close/>
                <a:moveTo>
                  <a:pt x="409" y="606"/>
                </a:moveTo>
                <a:cubicBezTo>
                  <a:pt x="408" y="607"/>
                  <a:pt x="407" y="606"/>
                  <a:pt x="409" y="606"/>
                </a:cubicBezTo>
                <a:close/>
                <a:moveTo>
                  <a:pt x="408" y="313"/>
                </a:moveTo>
                <a:cubicBezTo>
                  <a:pt x="407" y="314"/>
                  <a:pt x="409" y="312"/>
                  <a:pt x="408" y="313"/>
                </a:cubicBezTo>
                <a:close/>
                <a:moveTo>
                  <a:pt x="407" y="275"/>
                </a:moveTo>
                <a:cubicBezTo>
                  <a:pt x="407" y="273"/>
                  <a:pt x="410" y="273"/>
                  <a:pt x="407" y="275"/>
                </a:cubicBezTo>
                <a:close/>
                <a:moveTo>
                  <a:pt x="408" y="442"/>
                </a:moveTo>
                <a:cubicBezTo>
                  <a:pt x="408" y="443"/>
                  <a:pt x="407" y="443"/>
                  <a:pt x="406" y="443"/>
                </a:cubicBezTo>
                <a:cubicBezTo>
                  <a:pt x="406" y="443"/>
                  <a:pt x="407" y="442"/>
                  <a:pt x="408" y="442"/>
                </a:cubicBezTo>
                <a:close/>
                <a:moveTo>
                  <a:pt x="406" y="543"/>
                </a:moveTo>
                <a:cubicBezTo>
                  <a:pt x="406" y="544"/>
                  <a:pt x="405" y="543"/>
                  <a:pt x="405" y="543"/>
                </a:cubicBezTo>
                <a:cubicBezTo>
                  <a:pt x="406" y="542"/>
                  <a:pt x="406" y="543"/>
                  <a:pt x="406" y="543"/>
                </a:cubicBezTo>
                <a:close/>
                <a:moveTo>
                  <a:pt x="405" y="445"/>
                </a:moveTo>
                <a:cubicBezTo>
                  <a:pt x="404" y="444"/>
                  <a:pt x="406" y="443"/>
                  <a:pt x="405" y="445"/>
                </a:cubicBezTo>
                <a:close/>
                <a:moveTo>
                  <a:pt x="404" y="396"/>
                </a:moveTo>
                <a:cubicBezTo>
                  <a:pt x="404" y="395"/>
                  <a:pt x="405" y="395"/>
                  <a:pt x="406" y="395"/>
                </a:cubicBezTo>
                <a:cubicBezTo>
                  <a:pt x="405" y="395"/>
                  <a:pt x="405" y="396"/>
                  <a:pt x="404" y="396"/>
                </a:cubicBezTo>
                <a:close/>
                <a:moveTo>
                  <a:pt x="403" y="318"/>
                </a:moveTo>
                <a:cubicBezTo>
                  <a:pt x="403" y="317"/>
                  <a:pt x="404" y="317"/>
                  <a:pt x="404" y="316"/>
                </a:cubicBezTo>
                <a:cubicBezTo>
                  <a:pt x="405" y="316"/>
                  <a:pt x="403" y="318"/>
                  <a:pt x="403" y="318"/>
                </a:cubicBezTo>
                <a:close/>
                <a:moveTo>
                  <a:pt x="404" y="524"/>
                </a:moveTo>
                <a:cubicBezTo>
                  <a:pt x="404" y="524"/>
                  <a:pt x="404" y="523"/>
                  <a:pt x="404" y="523"/>
                </a:cubicBezTo>
                <a:cubicBezTo>
                  <a:pt x="404" y="521"/>
                  <a:pt x="406" y="524"/>
                  <a:pt x="404" y="524"/>
                </a:cubicBezTo>
                <a:close/>
                <a:moveTo>
                  <a:pt x="405" y="525"/>
                </a:moveTo>
                <a:cubicBezTo>
                  <a:pt x="405" y="525"/>
                  <a:pt x="405" y="525"/>
                  <a:pt x="405" y="525"/>
                </a:cubicBezTo>
                <a:cubicBezTo>
                  <a:pt x="405" y="525"/>
                  <a:pt x="405" y="525"/>
                  <a:pt x="405" y="525"/>
                </a:cubicBezTo>
                <a:close/>
                <a:moveTo>
                  <a:pt x="404" y="655"/>
                </a:moveTo>
                <a:cubicBezTo>
                  <a:pt x="405" y="653"/>
                  <a:pt x="407" y="655"/>
                  <a:pt x="404" y="655"/>
                </a:cubicBezTo>
                <a:close/>
                <a:moveTo>
                  <a:pt x="407" y="684"/>
                </a:moveTo>
                <a:cubicBezTo>
                  <a:pt x="407" y="684"/>
                  <a:pt x="405" y="685"/>
                  <a:pt x="405" y="683"/>
                </a:cubicBezTo>
                <a:cubicBezTo>
                  <a:pt x="405" y="683"/>
                  <a:pt x="407" y="683"/>
                  <a:pt x="407" y="684"/>
                </a:cubicBezTo>
                <a:close/>
                <a:moveTo>
                  <a:pt x="409" y="608"/>
                </a:moveTo>
                <a:cubicBezTo>
                  <a:pt x="410" y="608"/>
                  <a:pt x="408" y="610"/>
                  <a:pt x="407" y="609"/>
                </a:cubicBezTo>
                <a:cubicBezTo>
                  <a:pt x="407" y="609"/>
                  <a:pt x="409" y="608"/>
                  <a:pt x="409" y="608"/>
                </a:cubicBezTo>
                <a:close/>
                <a:moveTo>
                  <a:pt x="410" y="568"/>
                </a:moveTo>
                <a:cubicBezTo>
                  <a:pt x="410" y="568"/>
                  <a:pt x="409" y="568"/>
                  <a:pt x="409" y="568"/>
                </a:cubicBezTo>
                <a:cubicBezTo>
                  <a:pt x="408" y="567"/>
                  <a:pt x="411" y="566"/>
                  <a:pt x="410" y="568"/>
                </a:cubicBezTo>
                <a:close/>
                <a:moveTo>
                  <a:pt x="409" y="52"/>
                </a:moveTo>
                <a:cubicBezTo>
                  <a:pt x="410" y="51"/>
                  <a:pt x="412" y="49"/>
                  <a:pt x="414" y="50"/>
                </a:cubicBezTo>
                <a:cubicBezTo>
                  <a:pt x="416" y="51"/>
                  <a:pt x="411" y="53"/>
                  <a:pt x="409" y="52"/>
                </a:cubicBezTo>
                <a:close/>
                <a:moveTo>
                  <a:pt x="409" y="237"/>
                </a:moveTo>
                <a:cubicBezTo>
                  <a:pt x="409" y="239"/>
                  <a:pt x="407" y="238"/>
                  <a:pt x="409" y="237"/>
                </a:cubicBezTo>
                <a:close/>
                <a:moveTo>
                  <a:pt x="408" y="55"/>
                </a:moveTo>
                <a:cubicBezTo>
                  <a:pt x="408" y="55"/>
                  <a:pt x="408" y="55"/>
                  <a:pt x="409" y="55"/>
                </a:cubicBezTo>
                <a:cubicBezTo>
                  <a:pt x="409" y="57"/>
                  <a:pt x="406" y="53"/>
                  <a:pt x="408" y="55"/>
                </a:cubicBezTo>
                <a:close/>
                <a:moveTo>
                  <a:pt x="406" y="162"/>
                </a:moveTo>
                <a:cubicBezTo>
                  <a:pt x="404" y="163"/>
                  <a:pt x="403" y="163"/>
                  <a:pt x="401" y="163"/>
                </a:cubicBezTo>
                <a:cubicBezTo>
                  <a:pt x="401" y="164"/>
                  <a:pt x="400" y="164"/>
                  <a:pt x="400" y="164"/>
                </a:cubicBezTo>
                <a:cubicBezTo>
                  <a:pt x="400" y="164"/>
                  <a:pt x="401" y="164"/>
                  <a:pt x="401" y="163"/>
                </a:cubicBezTo>
                <a:cubicBezTo>
                  <a:pt x="403" y="162"/>
                  <a:pt x="406" y="160"/>
                  <a:pt x="407" y="159"/>
                </a:cubicBezTo>
                <a:cubicBezTo>
                  <a:pt x="410" y="159"/>
                  <a:pt x="406" y="162"/>
                  <a:pt x="406" y="162"/>
                </a:cubicBezTo>
                <a:close/>
                <a:moveTo>
                  <a:pt x="393" y="311"/>
                </a:moveTo>
                <a:cubicBezTo>
                  <a:pt x="391" y="311"/>
                  <a:pt x="394" y="305"/>
                  <a:pt x="395" y="306"/>
                </a:cubicBezTo>
                <a:cubicBezTo>
                  <a:pt x="397" y="307"/>
                  <a:pt x="394" y="311"/>
                  <a:pt x="393" y="311"/>
                </a:cubicBezTo>
                <a:close/>
                <a:moveTo>
                  <a:pt x="396" y="305"/>
                </a:moveTo>
                <a:cubicBezTo>
                  <a:pt x="397" y="304"/>
                  <a:pt x="395" y="306"/>
                  <a:pt x="396" y="305"/>
                </a:cubicBezTo>
                <a:close/>
                <a:moveTo>
                  <a:pt x="394" y="421"/>
                </a:moveTo>
                <a:cubicBezTo>
                  <a:pt x="395" y="422"/>
                  <a:pt x="393" y="423"/>
                  <a:pt x="394" y="421"/>
                </a:cubicBezTo>
                <a:close/>
                <a:moveTo>
                  <a:pt x="393" y="423"/>
                </a:moveTo>
                <a:cubicBezTo>
                  <a:pt x="393" y="424"/>
                  <a:pt x="392" y="424"/>
                  <a:pt x="391" y="424"/>
                </a:cubicBezTo>
                <a:cubicBezTo>
                  <a:pt x="391" y="423"/>
                  <a:pt x="392" y="423"/>
                  <a:pt x="393" y="423"/>
                </a:cubicBezTo>
                <a:close/>
                <a:moveTo>
                  <a:pt x="391" y="240"/>
                </a:moveTo>
                <a:cubicBezTo>
                  <a:pt x="390" y="240"/>
                  <a:pt x="392" y="238"/>
                  <a:pt x="391" y="240"/>
                </a:cubicBezTo>
                <a:close/>
                <a:moveTo>
                  <a:pt x="392" y="270"/>
                </a:moveTo>
                <a:cubicBezTo>
                  <a:pt x="391" y="270"/>
                  <a:pt x="393" y="269"/>
                  <a:pt x="393" y="268"/>
                </a:cubicBezTo>
                <a:cubicBezTo>
                  <a:pt x="394" y="269"/>
                  <a:pt x="392" y="269"/>
                  <a:pt x="392" y="270"/>
                </a:cubicBezTo>
                <a:close/>
                <a:moveTo>
                  <a:pt x="392" y="138"/>
                </a:moveTo>
                <a:cubicBezTo>
                  <a:pt x="394" y="139"/>
                  <a:pt x="391" y="137"/>
                  <a:pt x="392" y="138"/>
                </a:cubicBezTo>
                <a:close/>
                <a:moveTo>
                  <a:pt x="390" y="132"/>
                </a:moveTo>
                <a:cubicBezTo>
                  <a:pt x="391" y="132"/>
                  <a:pt x="392" y="132"/>
                  <a:pt x="392" y="132"/>
                </a:cubicBezTo>
                <a:cubicBezTo>
                  <a:pt x="392" y="132"/>
                  <a:pt x="391" y="133"/>
                  <a:pt x="390" y="132"/>
                </a:cubicBezTo>
                <a:close/>
                <a:moveTo>
                  <a:pt x="384" y="595"/>
                </a:moveTo>
                <a:cubicBezTo>
                  <a:pt x="392" y="593"/>
                  <a:pt x="390" y="603"/>
                  <a:pt x="384" y="604"/>
                </a:cubicBezTo>
                <a:cubicBezTo>
                  <a:pt x="378" y="604"/>
                  <a:pt x="379" y="597"/>
                  <a:pt x="384" y="595"/>
                </a:cubicBezTo>
                <a:close/>
                <a:moveTo>
                  <a:pt x="380" y="627"/>
                </a:moveTo>
                <a:cubicBezTo>
                  <a:pt x="380" y="627"/>
                  <a:pt x="379" y="627"/>
                  <a:pt x="379" y="627"/>
                </a:cubicBezTo>
                <a:cubicBezTo>
                  <a:pt x="379" y="624"/>
                  <a:pt x="381" y="628"/>
                  <a:pt x="380" y="627"/>
                </a:cubicBezTo>
                <a:close/>
                <a:moveTo>
                  <a:pt x="387" y="569"/>
                </a:moveTo>
                <a:cubicBezTo>
                  <a:pt x="387" y="569"/>
                  <a:pt x="387" y="569"/>
                  <a:pt x="387" y="569"/>
                </a:cubicBezTo>
                <a:cubicBezTo>
                  <a:pt x="388" y="569"/>
                  <a:pt x="388" y="569"/>
                  <a:pt x="388" y="569"/>
                </a:cubicBezTo>
                <a:cubicBezTo>
                  <a:pt x="388" y="569"/>
                  <a:pt x="388" y="569"/>
                  <a:pt x="389" y="569"/>
                </a:cubicBezTo>
                <a:cubicBezTo>
                  <a:pt x="388" y="569"/>
                  <a:pt x="388" y="569"/>
                  <a:pt x="388" y="569"/>
                </a:cubicBezTo>
                <a:cubicBezTo>
                  <a:pt x="388" y="569"/>
                  <a:pt x="387" y="569"/>
                  <a:pt x="387" y="569"/>
                </a:cubicBezTo>
                <a:close/>
                <a:moveTo>
                  <a:pt x="380" y="511"/>
                </a:moveTo>
                <a:cubicBezTo>
                  <a:pt x="380" y="511"/>
                  <a:pt x="380" y="512"/>
                  <a:pt x="380" y="512"/>
                </a:cubicBezTo>
                <a:cubicBezTo>
                  <a:pt x="379" y="511"/>
                  <a:pt x="381" y="510"/>
                  <a:pt x="380" y="511"/>
                </a:cubicBezTo>
                <a:close/>
                <a:moveTo>
                  <a:pt x="379" y="533"/>
                </a:moveTo>
                <a:cubicBezTo>
                  <a:pt x="380" y="532"/>
                  <a:pt x="381" y="533"/>
                  <a:pt x="379" y="533"/>
                </a:cubicBezTo>
                <a:close/>
                <a:moveTo>
                  <a:pt x="379" y="572"/>
                </a:moveTo>
                <a:cubicBezTo>
                  <a:pt x="379" y="572"/>
                  <a:pt x="379" y="572"/>
                  <a:pt x="379" y="572"/>
                </a:cubicBezTo>
                <a:cubicBezTo>
                  <a:pt x="379" y="572"/>
                  <a:pt x="379" y="572"/>
                  <a:pt x="379" y="572"/>
                </a:cubicBezTo>
                <a:cubicBezTo>
                  <a:pt x="379" y="572"/>
                  <a:pt x="379" y="572"/>
                  <a:pt x="379" y="572"/>
                </a:cubicBezTo>
                <a:close/>
                <a:moveTo>
                  <a:pt x="380" y="590"/>
                </a:moveTo>
                <a:cubicBezTo>
                  <a:pt x="380" y="590"/>
                  <a:pt x="379" y="591"/>
                  <a:pt x="379" y="591"/>
                </a:cubicBezTo>
                <a:cubicBezTo>
                  <a:pt x="378" y="592"/>
                  <a:pt x="379" y="589"/>
                  <a:pt x="380" y="590"/>
                </a:cubicBezTo>
                <a:close/>
                <a:moveTo>
                  <a:pt x="381" y="633"/>
                </a:moveTo>
                <a:cubicBezTo>
                  <a:pt x="382" y="633"/>
                  <a:pt x="384" y="632"/>
                  <a:pt x="384" y="632"/>
                </a:cubicBezTo>
                <a:cubicBezTo>
                  <a:pt x="385" y="633"/>
                  <a:pt x="381" y="634"/>
                  <a:pt x="381" y="633"/>
                </a:cubicBezTo>
                <a:close/>
                <a:moveTo>
                  <a:pt x="382" y="620"/>
                </a:moveTo>
                <a:cubicBezTo>
                  <a:pt x="379" y="617"/>
                  <a:pt x="382" y="612"/>
                  <a:pt x="386" y="611"/>
                </a:cubicBezTo>
                <a:cubicBezTo>
                  <a:pt x="387" y="610"/>
                  <a:pt x="390" y="611"/>
                  <a:pt x="392" y="611"/>
                </a:cubicBezTo>
                <a:cubicBezTo>
                  <a:pt x="395" y="611"/>
                  <a:pt x="393" y="611"/>
                  <a:pt x="395" y="613"/>
                </a:cubicBezTo>
                <a:cubicBezTo>
                  <a:pt x="397" y="616"/>
                  <a:pt x="396" y="621"/>
                  <a:pt x="392" y="620"/>
                </a:cubicBezTo>
                <a:cubicBezTo>
                  <a:pt x="394" y="614"/>
                  <a:pt x="391" y="621"/>
                  <a:pt x="389" y="622"/>
                </a:cubicBezTo>
                <a:cubicBezTo>
                  <a:pt x="388" y="622"/>
                  <a:pt x="383" y="621"/>
                  <a:pt x="382" y="620"/>
                </a:cubicBezTo>
                <a:close/>
                <a:moveTo>
                  <a:pt x="388" y="623"/>
                </a:moveTo>
                <a:cubicBezTo>
                  <a:pt x="389" y="623"/>
                  <a:pt x="397" y="619"/>
                  <a:pt x="396" y="622"/>
                </a:cubicBezTo>
                <a:cubicBezTo>
                  <a:pt x="396" y="623"/>
                  <a:pt x="390" y="624"/>
                  <a:pt x="388" y="623"/>
                </a:cubicBezTo>
                <a:close/>
                <a:moveTo>
                  <a:pt x="394" y="625"/>
                </a:moveTo>
                <a:cubicBezTo>
                  <a:pt x="394" y="626"/>
                  <a:pt x="393" y="626"/>
                  <a:pt x="392" y="625"/>
                </a:cubicBezTo>
                <a:cubicBezTo>
                  <a:pt x="392" y="624"/>
                  <a:pt x="395" y="625"/>
                  <a:pt x="394" y="625"/>
                </a:cubicBezTo>
                <a:close/>
                <a:moveTo>
                  <a:pt x="392" y="698"/>
                </a:moveTo>
                <a:cubicBezTo>
                  <a:pt x="392" y="698"/>
                  <a:pt x="394" y="697"/>
                  <a:pt x="394" y="698"/>
                </a:cubicBezTo>
                <a:cubicBezTo>
                  <a:pt x="394" y="699"/>
                  <a:pt x="393" y="698"/>
                  <a:pt x="392" y="698"/>
                </a:cubicBezTo>
                <a:close/>
                <a:moveTo>
                  <a:pt x="392" y="637"/>
                </a:moveTo>
                <a:cubicBezTo>
                  <a:pt x="392" y="636"/>
                  <a:pt x="394" y="636"/>
                  <a:pt x="394" y="637"/>
                </a:cubicBezTo>
                <a:cubicBezTo>
                  <a:pt x="395" y="638"/>
                  <a:pt x="392" y="637"/>
                  <a:pt x="392" y="637"/>
                </a:cubicBezTo>
                <a:close/>
                <a:moveTo>
                  <a:pt x="395" y="671"/>
                </a:moveTo>
                <a:cubicBezTo>
                  <a:pt x="394" y="671"/>
                  <a:pt x="396" y="670"/>
                  <a:pt x="397" y="671"/>
                </a:cubicBezTo>
                <a:cubicBezTo>
                  <a:pt x="397" y="672"/>
                  <a:pt x="395" y="672"/>
                  <a:pt x="395" y="671"/>
                </a:cubicBezTo>
                <a:close/>
                <a:moveTo>
                  <a:pt x="396" y="648"/>
                </a:moveTo>
                <a:cubicBezTo>
                  <a:pt x="396" y="647"/>
                  <a:pt x="397" y="647"/>
                  <a:pt x="398" y="648"/>
                </a:cubicBezTo>
                <a:cubicBezTo>
                  <a:pt x="397" y="648"/>
                  <a:pt x="397" y="648"/>
                  <a:pt x="396" y="648"/>
                </a:cubicBezTo>
                <a:close/>
                <a:moveTo>
                  <a:pt x="400" y="692"/>
                </a:moveTo>
                <a:cubicBezTo>
                  <a:pt x="399" y="692"/>
                  <a:pt x="397" y="692"/>
                  <a:pt x="397" y="691"/>
                </a:cubicBezTo>
                <a:cubicBezTo>
                  <a:pt x="397" y="689"/>
                  <a:pt x="400" y="691"/>
                  <a:pt x="400" y="692"/>
                </a:cubicBezTo>
                <a:close/>
                <a:moveTo>
                  <a:pt x="401" y="665"/>
                </a:moveTo>
                <a:cubicBezTo>
                  <a:pt x="401" y="663"/>
                  <a:pt x="401" y="666"/>
                  <a:pt x="401" y="665"/>
                </a:cubicBezTo>
                <a:close/>
                <a:moveTo>
                  <a:pt x="400" y="653"/>
                </a:moveTo>
                <a:cubicBezTo>
                  <a:pt x="400" y="650"/>
                  <a:pt x="404" y="652"/>
                  <a:pt x="403" y="653"/>
                </a:cubicBezTo>
                <a:cubicBezTo>
                  <a:pt x="403" y="655"/>
                  <a:pt x="400" y="654"/>
                  <a:pt x="400" y="653"/>
                </a:cubicBezTo>
                <a:close/>
                <a:moveTo>
                  <a:pt x="402" y="661"/>
                </a:moveTo>
                <a:cubicBezTo>
                  <a:pt x="401" y="660"/>
                  <a:pt x="403" y="660"/>
                  <a:pt x="403" y="660"/>
                </a:cubicBezTo>
                <a:cubicBezTo>
                  <a:pt x="403" y="661"/>
                  <a:pt x="402" y="661"/>
                  <a:pt x="402" y="661"/>
                </a:cubicBezTo>
                <a:close/>
                <a:moveTo>
                  <a:pt x="405" y="663"/>
                </a:moveTo>
                <a:cubicBezTo>
                  <a:pt x="404" y="664"/>
                  <a:pt x="404" y="664"/>
                  <a:pt x="403" y="663"/>
                </a:cubicBezTo>
                <a:cubicBezTo>
                  <a:pt x="403" y="662"/>
                  <a:pt x="406" y="662"/>
                  <a:pt x="405" y="663"/>
                </a:cubicBezTo>
                <a:close/>
                <a:moveTo>
                  <a:pt x="404" y="703"/>
                </a:moveTo>
                <a:cubicBezTo>
                  <a:pt x="405" y="701"/>
                  <a:pt x="409" y="701"/>
                  <a:pt x="411" y="701"/>
                </a:cubicBezTo>
                <a:cubicBezTo>
                  <a:pt x="409" y="702"/>
                  <a:pt x="406" y="702"/>
                  <a:pt x="404" y="703"/>
                </a:cubicBezTo>
                <a:close/>
                <a:moveTo>
                  <a:pt x="407" y="752"/>
                </a:moveTo>
                <a:cubicBezTo>
                  <a:pt x="407" y="753"/>
                  <a:pt x="406" y="751"/>
                  <a:pt x="406" y="751"/>
                </a:cubicBezTo>
                <a:cubicBezTo>
                  <a:pt x="406" y="750"/>
                  <a:pt x="409" y="751"/>
                  <a:pt x="407" y="752"/>
                </a:cubicBezTo>
                <a:close/>
                <a:moveTo>
                  <a:pt x="404" y="753"/>
                </a:moveTo>
                <a:cubicBezTo>
                  <a:pt x="405" y="752"/>
                  <a:pt x="406" y="753"/>
                  <a:pt x="407" y="753"/>
                </a:cubicBezTo>
                <a:cubicBezTo>
                  <a:pt x="406" y="754"/>
                  <a:pt x="405" y="753"/>
                  <a:pt x="404" y="753"/>
                </a:cubicBezTo>
                <a:close/>
                <a:moveTo>
                  <a:pt x="413" y="782"/>
                </a:moveTo>
                <a:cubicBezTo>
                  <a:pt x="412" y="781"/>
                  <a:pt x="415" y="781"/>
                  <a:pt x="415" y="782"/>
                </a:cubicBezTo>
                <a:cubicBezTo>
                  <a:pt x="415" y="782"/>
                  <a:pt x="413" y="783"/>
                  <a:pt x="413" y="782"/>
                </a:cubicBezTo>
                <a:close/>
                <a:moveTo>
                  <a:pt x="415" y="790"/>
                </a:moveTo>
                <a:cubicBezTo>
                  <a:pt x="415" y="790"/>
                  <a:pt x="416" y="791"/>
                  <a:pt x="416" y="791"/>
                </a:cubicBezTo>
                <a:cubicBezTo>
                  <a:pt x="416" y="792"/>
                  <a:pt x="414" y="791"/>
                  <a:pt x="415" y="790"/>
                </a:cubicBezTo>
                <a:close/>
                <a:moveTo>
                  <a:pt x="416" y="769"/>
                </a:moveTo>
                <a:cubicBezTo>
                  <a:pt x="415" y="771"/>
                  <a:pt x="412" y="767"/>
                  <a:pt x="409" y="767"/>
                </a:cubicBezTo>
                <a:cubicBezTo>
                  <a:pt x="408" y="767"/>
                  <a:pt x="403" y="768"/>
                  <a:pt x="402" y="766"/>
                </a:cubicBezTo>
                <a:cubicBezTo>
                  <a:pt x="402" y="764"/>
                  <a:pt x="408" y="766"/>
                  <a:pt x="409" y="765"/>
                </a:cubicBezTo>
                <a:cubicBezTo>
                  <a:pt x="409" y="765"/>
                  <a:pt x="407" y="761"/>
                  <a:pt x="407" y="760"/>
                </a:cubicBezTo>
                <a:cubicBezTo>
                  <a:pt x="407" y="752"/>
                  <a:pt x="419" y="758"/>
                  <a:pt x="422" y="761"/>
                </a:cubicBezTo>
                <a:cubicBezTo>
                  <a:pt x="426" y="765"/>
                  <a:pt x="417" y="761"/>
                  <a:pt x="419" y="766"/>
                </a:cubicBezTo>
                <a:cubicBezTo>
                  <a:pt x="416" y="764"/>
                  <a:pt x="417" y="769"/>
                  <a:pt x="416" y="769"/>
                </a:cubicBezTo>
                <a:close/>
                <a:moveTo>
                  <a:pt x="420" y="776"/>
                </a:moveTo>
                <a:cubicBezTo>
                  <a:pt x="422" y="777"/>
                  <a:pt x="419" y="780"/>
                  <a:pt x="419" y="777"/>
                </a:cubicBezTo>
                <a:cubicBezTo>
                  <a:pt x="419" y="777"/>
                  <a:pt x="419" y="776"/>
                  <a:pt x="420" y="776"/>
                </a:cubicBezTo>
                <a:close/>
                <a:moveTo>
                  <a:pt x="419" y="781"/>
                </a:moveTo>
                <a:cubicBezTo>
                  <a:pt x="420" y="780"/>
                  <a:pt x="421" y="780"/>
                  <a:pt x="423" y="780"/>
                </a:cubicBezTo>
                <a:cubicBezTo>
                  <a:pt x="422" y="781"/>
                  <a:pt x="420" y="781"/>
                  <a:pt x="419" y="781"/>
                </a:cubicBezTo>
                <a:close/>
                <a:moveTo>
                  <a:pt x="422" y="781"/>
                </a:moveTo>
                <a:cubicBezTo>
                  <a:pt x="422" y="780"/>
                  <a:pt x="423" y="780"/>
                  <a:pt x="423" y="781"/>
                </a:cubicBezTo>
                <a:cubicBezTo>
                  <a:pt x="423" y="781"/>
                  <a:pt x="422" y="782"/>
                  <a:pt x="422" y="781"/>
                </a:cubicBezTo>
                <a:close/>
                <a:moveTo>
                  <a:pt x="424" y="780"/>
                </a:moveTo>
                <a:cubicBezTo>
                  <a:pt x="423" y="780"/>
                  <a:pt x="426" y="781"/>
                  <a:pt x="424" y="780"/>
                </a:cubicBezTo>
                <a:close/>
                <a:moveTo>
                  <a:pt x="428" y="750"/>
                </a:moveTo>
                <a:cubicBezTo>
                  <a:pt x="427" y="750"/>
                  <a:pt x="427" y="749"/>
                  <a:pt x="428" y="750"/>
                </a:cubicBezTo>
                <a:close/>
                <a:moveTo>
                  <a:pt x="424" y="728"/>
                </a:moveTo>
                <a:cubicBezTo>
                  <a:pt x="424" y="727"/>
                  <a:pt x="428" y="726"/>
                  <a:pt x="428" y="728"/>
                </a:cubicBezTo>
                <a:cubicBezTo>
                  <a:pt x="429" y="730"/>
                  <a:pt x="424" y="731"/>
                  <a:pt x="424" y="728"/>
                </a:cubicBezTo>
                <a:close/>
                <a:moveTo>
                  <a:pt x="429" y="774"/>
                </a:moveTo>
                <a:cubicBezTo>
                  <a:pt x="429" y="773"/>
                  <a:pt x="431" y="773"/>
                  <a:pt x="431" y="773"/>
                </a:cubicBezTo>
                <a:cubicBezTo>
                  <a:pt x="432" y="774"/>
                  <a:pt x="429" y="775"/>
                  <a:pt x="429" y="774"/>
                </a:cubicBezTo>
                <a:close/>
                <a:moveTo>
                  <a:pt x="436" y="765"/>
                </a:moveTo>
                <a:cubicBezTo>
                  <a:pt x="437" y="763"/>
                  <a:pt x="441" y="765"/>
                  <a:pt x="441" y="767"/>
                </a:cubicBezTo>
                <a:cubicBezTo>
                  <a:pt x="440" y="769"/>
                  <a:pt x="435" y="768"/>
                  <a:pt x="436" y="765"/>
                </a:cubicBezTo>
                <a:close/>
                <a:moveTo>
                  <a:pt x="430" y="758"/>
                </a:moveTo>
                <a:cubicBezTo>
                  <a:pt x="432" y="757"/>
                  <a:pt x="442" y="760"/>
                  <a:pt x="441" y="760"/>
                </a:cubicBezTo>
                <a:cubicBezTo>
                  <a:pt x="440" y="761"/>
                  <a:pt x="433" y="758"/>
                  <a:pt x="430" y="758"/>
                </a:cubicBezTo>
                <a:close/>
                <a:moveTo>
                  <a:pt x="439" y="757"/>
                </a:moveTo>
                <a:cubicBezTo>
                  <a:pt x="440" y="755"/>
                  <a:pt x="443" y="755"/>
                  <a:pt x="445" y="756"/>
                </a:cubicBezTo>
                <a:cubicBezTo>
                  <a:pt x="443" y="756"/>
                  <a:pt x="441" y="757"/>
                  <a:pt x="439" y="757"/>
                </a:cubicBezTo>
                <a:close/>
                <a:moveTo>
                  <a:pt x="442" y="718"/>
                </a:moveTo>
                <a:cubicBezTo>
                  <a:pt x="442" y="716"/>
                  <a:pt x="446" y="716"/>
                  <a:pt x="446" y="718"/>
                </a:cubicBezTo>
                <a:cubicBezTo>
                  <a:pt x="446" y="718"/>
                  <a:pt x="442" y="720"/>
                  <a:pt x="442" y="718"/>
                </a:cubicBezTo>
                <a:close/>
                <a:moveTo>
                  <a:pt x="446" y="755"/>
                </a:moveTo>
                <a:cubicBezTo>
                  <a:pt x="448" y="755"/>
                  <a:pt x="450" y="754"/>
                  <a:pt x="452" y="755"/>
                </a:cubicBezTo>
                <a:cubicBezTo>
                  <a:pt x="450" y="755"/>
                  <a:pt x="448" y="756"/>
                  <a:pt x="446" y="755"/>
                </a:cubicBezTo>
                <a:close/>
                <a:moveTo>
                  <a:pt x="453" y="520"/>
                </a:moveTo>
                <a:cubicBezTo>
                  <a:pt x="454" y="520"/>
                  <a:pt x="453" y="521"/>
                  <a:pt x="453" y="521"/>
                </a:cubicBezTo>
                <a:cubicBezTo>
                  <a:pt x="450" y="523"/>
                  <a:pt x="452" y="518"/>
                  <a:pt x="453" y="520"/>
                </a:cubicBezTo>
                <a:close/>
                <a:moveTo>
                  <a:pt x="453" y="590"/>
                </a:moveTo>
                <a:cubicBezTo>
                  <a:pt x="452" y="590"/>
                  <a:pt x="453" y="590"/>
                  <a:pt x="453" y="590"/>
                </a:cubicBezTo>
                <a:cubicBezTo>
                  <a:pt x="454" y="590"/>
                  <a:pt x="453" y="590"/>
                  <a:pt x="453" y="590"/>
                </a:cubicBezTo>
                <a:close/>
                <a:moveTo>
                  <a:pt x="455" y="750"/>
                </a:moveTo>
                <a:cubicBezTo>
                  <a:pt x="455" y="750"/>
                  <a:pt x="454" y="750"/>
                  <a:pt x="455" y="750"/>
                </a:cubicBezTo>
                <a:close/>
                <a:moveTo>
                  <a:pt x="455" y="750"/>
                </a:moveTo>
                <a:cubicBezTo>
                  <a:pt x="455" y="750"/>
                  <a:pt x="455" y="750"/>
                  <a:pt x="455" y="750"/>
                </a:cubicBezTo>
                <a:cubicBezTo>
                  <a:pt x="455" y="750"/>
                  <a:pt x="455" y="750"/>
                  <a:pt x="455" y="750"/>
                </a:cubicBezTo>
                <a:cubicBezTo>
                  <a:pt x="455" y="750"/>
                  <a:pt x="455" y="750"/>
                  <a:pt x="455" y="750"/>
                </a:cubicBezTo>
                <a:close/>
                <a:moveTo>
                  <a:pt x="453" y="740"/>
                </a:moveTo>
                <a:cubicBezTo>
                  <a:pt x="455" y="737"/>
                  <a:pt x="457" y="739"/>
                  <a:pt x="453" y="740"/>
                </a:cubicBezTo>
                <a:close/>
                <a:moveTo>
                  <a:pt x="454" y="643"/>
                </a:moveTo>
                <a:cubicBezTo>
                  <a:pt x="454" y="642"/>
                  <a:pt x="455" y="641"/>
                  <a:pt x="455" y="641"/>
                </a:cubicBezTo>
                <a:cubicBezTo>
                  <a:pt x="458" y="642"/>
                  <a:pt x="455" y="645"/>
                  <a:pt x="454" y="643"/>
                </a:cubicBezTo>
                <a:close/>
                <a:moveTo>
                  <a:pt x="459" y="703"/>
                </a:moveTo>
                <a:cubicBezTo>
                  <a:pt x="456" y="704"/>
                  <a:pt x="455" y="702"/>
                  <a:pt x="459" y="703"/>
                </a:cubicBezTo>
                <a:close/>
                <a:moveTo>
                  <a:pt x="457" y="743"/>
                </a:moveTo>
                <a:cubicBezTo>
                  <a:pt x="458" y="741"/>
                  <a:pt x="461" y="740"/>
                  <a:pt x="462" y="742"/>
                </a:cubicBezTo>
                <a:cubicBezTo>
                  <a:pt x="465" y="746"/>
                  <a:pt x="457" y="747"/>
                  <a:pt x="457" y="743"/>
                </a:cubicBezTo>
                <a:close/>
                <a:moveTo>
                  <a:pt x="464" y="717"/>
                </a:moveTo>
                <a:cubicBezTo>
                  <a:pt x="463" y="717"/>
                  <a:pt x="463" y="717"/>
                  <a:pt x="464" y="717"/>
                </a:cubicBezTo>
                <a:close/>
                <a:moveTo>
                  <a:pt x="466" y="739"/>
                </a:moveTo>
                <a:cubicBezTo>
                  <a:pt x="465" y="739"/>
                  <a:pt x="464" y="740"/>
                  <a:pt x="464" y="739"/>
                </a:cubicBezTo>
                <a:cubicBezTo>
                  <a:pt x="462" y="736"/>
                  <a:pt x="469" y="737"/>
                  <a:pt x="466" y="739"/>
                </a:cubicBezTo>
                <a:close/>
                <a:moveTo>
                  <a:pt x="464" y="729"/>
                </a:moveTo>
                <a:cubicBezTo>
                  <a:pt x="465" y="728"/>
                  <a:pt x="466" y="728"/>
                  <a:pt x="467" y="728"/>
                </a:cubicBezTo>
                <a:cubicBezTo>
                  <a:pt x="467" y="729"/>
                  <a:pt x="465" y="729"/>
                  <a:pt x="464" y="729"/>
                </a:cubicBezTo>
                <a:close/>
                <a:moveTo>
                  <a:pt x="465" y="693"/>
                </a:moveTo>
                <a:cubicBezTo>
                  <a:pt x="466" y="692"/>
                  <a:pt x="468" y="692"/>
                  <a:pt x="469" y="692"/>
                </a:cubicBezTo>
                <a:cubicBezTo>
                  <a:pt x="469" y="693"/>
                  <a:pt x="466" y="692"/>
                  <a:pt x="465" y="693"/>
                </a:cubicBezTo>
                <a:close/>
                <a:moveTo>
                  <a:pt x="470" y="685"/>
                </a:moveTo>
                <a:cubicBezTo>
                  <a:pt x="470" y="686"/>
                  <a:pt x="468" y="685"/>
                  <a:pt x="470" y="685"/>
                </a:cubicBezTo>
                <a:close/>
                <a:moveTo>
                  <a:pt x="467" y="662"/>
                </a:moveTo>
                <a:cubicBezTo>
                  <a:pt x="468" y="661"/>
                  <a:pt x="470" y="660"/>
                  <a:pt x="471" y="661"/>
                </a:cubicBezTo>
                <a:cubicBezTo>
                  <a:pt x="470" y="661"/>
                  <a:pt x="468" y="662"/>
                  <a:pt x="467" y="662"/>
                </a:cubicBezTo>
                <a:close/>
                <a:moveTo>
                  <a:pt x="471" y="692"/>
                </a:moveTo>
                <a:cubicBezTo>
                  <a:pt x="471" y="691"/>
                  <a:pt x="473" y="690"/>
                  <a:pt x="473" y="691"/>
                </a:cubicBezTo>
                <a:cubicBezTo>
                  <a:pt x="473" y="691"/>
                  <a:pt x="472" y="691"/>
                  <a:pt x="471" y="692"/>
                </a:cubicBezTo>
                <a:close/>
                <a:moveTo>
                  <a:pt x="472" y="674"/>
                </a:moveTo>
                <a:cubicBezTo>
                  <a:pt x="472" y="673"/>
                  <a:pt x="472" y="673"/>
                  <a:pt x="473" y="674"/>
                </a:cubicBezTo>
                <a:cubicBezTo>
                  <a:pt x="474" y="674"/>
                  <a:pt x="471" y="676"/>
                  <a:pt x="472" y="674"/>
                </a:cubicBezTo>
                <a:close/>
                <a:moveTo>
                  <a:pt x="472" y="660"/>
                </a:moveTo>
                <a:cubicBezTo>
                  <a:pt x="472" y="660"/>
                  <a:pt x="473" y="659"/>
                  <a:pt x="474" y="660"/>
                </a:cubicBezTo>
                <a:cubicBezTo>
                  <a:pt x="474" y="660"/>
                  <a:pt x="472" y="660"/>
                  <a:pt x="472" y="660"/>
                </a:cubicBezTo>
                <a:close/>
                <a:moveTo>
                  <a:pt x="466" y="644"/>
                </a:moveTo>
                <a:cubicBezTo>
                  <a:pt x="466" y="644"/>
                  <a:pt x="464" y="645"/>
                  <a:pt x="465" y="644"/>
                </a:cubicBezTo>
                <a:cubicBezTo>
                  <a:pt x="468" y="641"/>
                  <a:pt x="473" y="641"/>
                  <a:pt x="476" y="640"/>
                </a:cubicBezTo>
                <a:cubicBezTo>
                  <a:pt x="473" y="642"/>
                  <a:pt x="468" y="644"/>
                  <a:pt x="466" y="644"/>
                </a:cubicBezTo>
                <a:close/>
                <a:moveTo>
                  <a:pt x="475" y="253"/>
                </a:moveTo>
                <a:cubicBezTo>
                  <a:pt x="475" y="253"/>
                  <a:pt x="476" y="252"/>
                  <a:pt x="476" y="253"/>
                </a:cubicBezTo>
                <a:cubicBezTo>
                  <a:pt x="477" y="255"/>
                  <a:pt x="474" y="255"/>
                  <a:pt x="475" y="253"/>
                </a:cubicBezTo>
                <a:close/>
                <a:moveTo>
                  <a:pt x="478" y="685"/>
                </a:moveTo>
                <a:cubicBezTo>
                  <a:pt x="478" y="684"/>
                  <a:pt x="481" y="684"/>
                  <a:pt x="482" y="684"/>
                </a:cubicBezTo>
                <a:cubicBezTo>
                  <a:pt x="482" y="685"/>
                  <a:pt x="479" y="685"/>
                  <a:pt x="478" y="685"/>
                </a:cubicBezTo>
                <a:close/>
                <a:moveTo>
                  <a:pt x="476" y="672"/>
                </a:moveTo>
                <a:cubicBezTo>
                  <a:pt x="476" y="668"/>
                  <a:pt x="483" y="671"/>
                  <a:pt x="482" y="673"/>
                </a:cubicBezTo>
                <a:cubicBezTo>
                  <a:pt x="482" y="675"/>
                  <a:pt x="476" y="675"/>
                  <a:pt x="476" y="672"/>
                </a:cubicBezTo>
                <a:close/>
                <a:moveTo>
                  <a:pt x="484" y="112"/>
                </a:moveTo>
                <a:cubicBezTo>
                  <a:pt x="484" y="111"/>
                  <a:pt x="486" y="111"/>
                  <a:pt x="486" y="111"/>
                </a:cubicBezTo>
                <a:cubicBezTo>
                  <a:pt x="488" y="111"/>
                  <a:pt x="489" y="111"/>
                  <a:pt x="489" y="113"/>
                </a:cubicBezTo>
                <a:cubicBezTo>
                  <a:pt x="489" y="114"/>
                  <a:pt x="484" y="115"/>
                  <a:pt x="483" y="114"/>
                </a:cubicBezTo>
                <a:cubicBezTo>
                  <a:pt x="483" y="113"/>
                  <a:pt x="484" y="113"/>
                  <a:pt x="484" y="112"/>
                </a:cubicBezTo>
                <a:cubicBezTo>
                  <a:pt x="484" y="112"/>
                  <a:pt x="484" y="112"/>
                  <a:pt x="484" y="112"/>
                </a:cubicBezTo>
                <a:close/>
                <a:moveTo>
                  <a:pt x="483" y="110"/>
                </a:moveTo>
                <a:cubicBezTo>
                  <a:pt x="483" y="111"/>
                  <a:pt x="482" y="111"/>
                  <a:pt x="481" y="111"/>
                </a:cubicBezTo>
                <a:cubicBezTo>
                  <a:pt x="481" y="110"/>
                  <a:pt x="483" y="111"/>
                  <a:pt x="483" y="110"/>
                </a:cubicBezTo>
                <a:close/>
                <a:moveTo>
                  <a:pt x="476" y="116"/>
                </a:moveTo>
                <a:cubicBezTo>
                  <a:pt x="477" y="116"/>
                  <a:pt x="476" y="117"/>
                  <a:pt x="476" y="117"/>
                </a:cubicBezTo>
                <a:cubicBezTo>
                  <a:pt x="475" y="117"/>
                  <a:pt x="476" y="116"/>
                  <a:pt x="476" y="116"/>
                </a:cubicBezTo>
                <a:close/>
                <a:moveTo>
                  <a:pt x="482" y="122"/>
                </a:moveTo>
                <a:cubicBezTo>
                  <a:pt x="481" y="124"/>
                  <a:pt x="477" y="125"/>
                  <a:pt x="475" y="126"/>
                </a:cubicBezTo>
                <a:cubicBezTo>
                  <a:pt x="477" y="124"/>
                  <a:pt x="479" y="123"/>
                  <a:pt x="482" y="122"/>
                </a:cubicBezTo>
                <a:close/>
                <a:moveTo>
                  <a:pt x="476" y="146"/>
                </a:moveTo>
                <a:cubicBezTo>
                  <a:pt x="474" y="149"/>
                  <a:pt x="470" y="149"/>
                  <a:pt x="467" y="150"/>
                </a:cubicBezTo>
                <a:cubicBezTo>
                  <a:pt x="469" y="148"/>
                  <a:pt x="473" y="148"/>
                  <a:pt x="476" y="146"/>
                </a:cubicBezTo>
                <a:close/>
                <a:moveTo>
                  <a:pt x="474" y="126"/>
                </a:moveTo>
                <a:cubicBezTo>
                  <a:pt x="473" y="127"/>
                  <a:pt x="471" y="128"/>
                  <a:pt x="469" y="128"/>
                </a:cubicBezTo>
                <a:cubicBezTo>
                  <a:pt x="470" y="128"/>
                  <a:pt x="471" y="129"/>
                  <a:pt x="470" y="130"/>
                </a:cubicBezTo>
                <a:cubicBezTo>
                  <a:pt x="470" y="131"/>
                  <a:pt x="467" y="131"/>
                  <a:pt x="467" y="130"/>
                </a:cubicBezTo>
                <a:cubicBezTo>
                  <a:pt x="467" y="129"/>
                  <a:pt x="468" y="129"/>
                  <a:pt x="469" y="128"/>
                </a:cubicBezTo>
                <a:cubicBezTo>
                  <a:pt x="469" y="128"/>
                  <a:pt x="468" y="128"/>
                  <a:pt x="468" y="128"/>
                </a:cubicBezTo>
                <a:cubicBezTo>
                  <a:pt x="470" y="127"/>
                  <a:pt x="472" y="127"/>
                  <a:pt x="474" y="126"/>
                </a:cubicBezTo>
                <a:close/>
                <a:moveTo>
                  <a:pt x="470" y="106"/>
                </a:moveTo>
                <a:cubicBezTo>
                  <a:pt x="470" y="106"/>
                  <a:pt x="470" y="107"/>
                  <a:pt x="469" y="107"/>
                </a:cubicBezTo>
                <a:cubicBezTo>
                  <a:pt x="469" y="107"/>
                  <a:pt x="469" y="106"/>
                  <a:pt x="470" y="106"/>
                </a:cubicBezTo>
                <a:close/>
                <a:moveTo>
                  <a:pt x="469" y="74"/>
                </a:moveTo>
                <a:cubicBezTo>
                  <a:pt x="468" y="74"/>
                  <a:pt x="467" y="74"/>
                  <a:pt x="466" y="74"/>
                </a:cubicBezTo>
                <a:cubicBezTo>
                  <a:pt x="467" y="73"/>
                  <a:pt x="468" y="73"/>
                  <a:pt x="469" y="74"/>
                </a:cubicBezTo>
                <a:close/>
                <a:moveTo>
                  <a:pt x="466" y="75"/>
                </a:moveTo>
                <a:cubicBezTo>
                  <a:pt x="466" y="75"/>
                  <a:pt x="468" y="76"/>
                  <a:pt x="468" y="75"/>
                </a:cubicBezTo>
                <a:cubicBezTo>
                  <a:pt x="468" y="77"/>
                  <a:pt x="465" y="76"/>
                  <a:pt x="466" y="75"/>
                </a:cubicBezTo>
                <a:close/>
                <a:moveTo>
                  <a:pt x="468" y="80"/>
                </a:moveTo>
                <a:cubicBezTo>
                  <a:pt x="468" y="81"/>
                  <a:pt x="466" y="81"/>
                  <a:pt x="466" y="79"/>
                </a:cubicBezTo>
                <a:cubicBezTo>
                  <a:pt x="467" y="79"/>
                  <a:pt x="468" y="79"/>
                  <a:pt x="468" y="80"/>
                </a:cubicBezTo>
                <a:close/>
                <a:moveTo>
                  <a:pt x="466" y="93"/>
                </a:moveTo>
                <a:cubicBezTo>
                  <a:pt x="466" y="95"/>
                  <a:pt x="465" y="93"/>
                  <a:pt x="466" y="93"/>
                </a:cubicBezTo>
                <a:close/>
                <a:moveTo>
                  <a:pt x="470" y="95"/>
                </a:moveTo>
                <a:cubicBezTo>
                  <a:pt x="472" y="95"/>
                  <a:pt x="473" y="98"/>
                  <a:pt x="471" y="100"/>
                </a:cubicBezTo>
                <a:cubicBezTo>
                  <a:pt x="470" y="101"/>
                  <a:pt x="468" y="101"/>
                  <a:pt x="467" y="101"/>
                </a:cubicBezTo>
                <a:cubicBezTo>
                  <a:pt x="465" y="101"/>
                  <a:pt x="463" y="102"/>
                  <a:pt x="463" y="101"/>
                </a:cubicBezTo>
                <a:cubicBezTo>
                  <a:pt x="463" y="101"/>
                  <a:pt x="463" y="101"/>
                  <a:pt x="464" y="101"/>
                </a:cubicBezTo>
                <a:cubicBezTo>
                  <a:pt x="463" y="101"/>
                  <a:pt x="463" y="101"/>
                  <a:pt x="463" y="101"/>
                </a:cubicBezTo>
                <a:cubicBezTo>
                  <a:pt x="463" y="101"/>
                  <a:pt x="462" y="100"/>
                  <a:pt x="462" y="101"/>
                </a:cubicBezTo>
                <a:cubicBezTo>
                  <a:pt x="461" y="99"/>
                  <a:pt x="467" y="94"/>
                  <a:pt x="470" y="95"/>
                </a:cubicBezTo>
                <a:close/>
                <a:moveTo>
                  <a:pt x="470" y="59"/>
                </a:moveTo>
                <a:cubicBezTo>
                  <a:pt x="470" y="59"/>
                  <a:pt x="470" y="60"/>
                  <a:pt x="470" y="59"/>
                </a:cubicBezTo>
                <a:cubicBezTo>
                  <a:pt x="469" y="59"/>
                  <a:pt x="470" y="58"/>
                  <a:pt x="470" y="59"/>
                </a:cubicBezTo>
                <a:close/>
                <a:moveTo>
                  <a:pt x="453" y="60"/>
                </a:moveTo>
                <a:cubicBezTo>
                  <a:pt x="455" y="59"/>
                  <a:pt x="458" y="61"/>
                  <a:pt x="461" y="61"/>
                </a:cubicBezTo>
                <a:cubicBezTo>
                  <a:pt x="462" y="61"/>
                  <a:pt x="467" y="59"/>
                  <a:pt x="468" y="61"/>
                </a:cubicBezTo>
                <a:cubicBezTo>
                  <a:pt x="468" y="62"/>
                  <a:pt x="462" y="62"/>
                  <a:pt x="462" y="62"/>
                </a:cubicBezTo>
                <a:cubicBezTo>
                  <a:pt x="462" y="63"/>
                  <a:pt x="465" y="66"/>
                  <a:pt x="465" y="67"/>
                </a:cubicBezTo>
                <a:cubicBezTo>
                  <a:pt x="467" y="75"/>
                  <a:pt x="454" y="72"/>
                  <a:pt x="450" y="70"/>
                </a:cubicBezTo>
                <a:cubicBezTo>
                  <a:pt x="445" y="67"/>
                  <a:pt x="455" y="69"/>
                  <a:pt x="451" y="64"/>
                </a:cubicBezTo>
                <a:cubicBezTo>
                  <a:pt x="455" y="66"/>
                  <a:pt x="453" y="61"/>
                  <a:pt x="453" y="60"/>
                </a:cubicBezTo>
                <a:close/>
                <a:moveTo>
                  <a:pt x="454" y="47"/>
                </a:moveTo>
                <a:cubicBezTo>
                  <a:pt x="455" y="48"/>
                  <a:pt x="452" y="49"/>
                  <a:pt x="452" y="48"/>
                </a:cubicBezTo>
                <a:cubicBezTo>
                  <a:pt x="452" y="47"/>
                  <a:pt x="454" y="47"/>
                  <a:pt x="454" y="47"/>
                </a:cubicBezTo>
                <a:close/>
                <a:moveTo>
                  <a:pt x="455" y="21"/>
                </a:moveTo>
                <a:cubicBezTo>
                  <a:pt x="456" y="22"/>
                  <a:pt x="453" y="22"/>
                  <a:pt x="453" y="21"/>
                </a:cubicBezTo>
                <a:cubicBezTo>
                  <a:pt x="453" y="20"/>
                  <a:pt x="455" y="20"/>
                  <a:pt x="455" y="21"/>
                </a:cubicBezTo>
                <a:close/>
                <a:moveTo>
                  <a:pt x="454" y="23"/>
                </a:moveTo>
                <a:cubicBezTo>
                  <a:pt x="454" y="25"/>
                  <a:pt x="450" y="24"/>
                  <a:pt x="450" y="23"/>
                </a:cubicBezTo>
                <a:cubicBezTo>
                  <a:pt x="450" y="22"/>
                  <a:pt x="454" y="21"/>
                  <a:pt x="454" y="23"/>
                </a:cubicBezTo>
                <a:close/>
                <a:moveTo>
                  <a:pt x="447" y="8"/>
                </a:moveTo>
                <a:cubicBezTo>
                  <a:pt x="448" y="9"/>
                  <a:pt x="446" y="9"/>
                  <a:pt x="446" y="9"/>
                </a:cubicBezTo>
                <a:cubicBezTo>
                  <a:pt x="446" y="8"/>
                  <a:pt x="447" y="8"/>
                  <a:pt x="447" y="8"/>
                </a:cubicBezTo>
                <a:close/>
                <a:moveTo>
                  <a:pt x="446" y="11"/>
                </a:moveTo>
                <a:cubicBezTo>
                  <a:pt x="447" y="11"/>
                  <a:pt x="450" y="8"/>
                  <a:pt x="451" y="10"/>
                </a:cubicBezTo>
                <a:cubicBezTo>
                  <a:pt x="453" y="14"/>
                  <a:pt x="448" y="13"/>
                  <a:pt x="447" y="13"/>
                </a:cubicBezTo>
                <a:cubicBezTo>
                  <a:pt x="447" y="13"/>
                  <a:pt x="447" y="13"/>
                  <a:pt x="446" y="13"/>
                </a:cubicBezTo>
                <a:cubicBezTo>
                  <a:pt x="446" y="14"/>
                  <a:pt x="444" y="14"/>
                  <a:pt x="444" y="13"/>
                </a:cubicBezTo>
                <a:cubicBezTo>
                  <a:pt x="444" y="13"/>
                  <a:pt x="444" y="13"/>
                  <a:pt x="444" y="13"/>
                </a:cubicBezTo>
                <a:cubicBezTo>
                  <a:pt x="444" y="12"/>
                  <a:pt x="444" y="12"/>
                  <a:pt x="444" y="12"/>
                </a:cubicBezTo>
                <a:cubicBezTo>
                  <a:pt x="444" y="12"/>
                  <a:pt x="444" y="11"/>
                  <a:pt x="444" y="12"/>
                </a:cubicBezTo>
                <a:cubicBezTo>
                  <a:pt x="444" y="11"/>
                  <a:pt x="445" y="11"/>
                  <a:pt x="445" y="11"/>
                </a:cubicBezTo>
                <a:cubicBezTo>
                  <a:pt x="446" y="11"/>
                  <a:pt x="446" y="11"/>
                  <a:pt x="446" y="11"/>
                </a:cubicBezTo>
                <a:close/>
                <a:moveTo>
                  <a:pt x="442" y="4"/>
                </a:moveTo>
                <a:cubicBezTo>
                  <a:pt x="444" y="3"/>
                  <a:pt x="444" y="5"/>
                  <a:pt x="442" y="4"/>
                </a:cubicBezTo>
                <a:close/>
                <a:moveTo>
                  <a:pt x="442" y="6"/>
                </a:moveTo>
                <a:cubicBezTo>
                  <a:pt x="442" y="6"/>
                  <a:pt x="443" y="7"/>
                  <a:pt x="443" y="7"/>
                </a:cubicBezTo>
                <a:cubicBezTo>
                  <a:pt x="444" y="9"/>
                  <a:pt x="440" y="7"/>
                  <a:pt x="442" y="6"/>
                </a:cubicBezTo>
                <a:close/>
                <a:moveTo>
                  <a:pt x="442" y="12"/>
                </a:moveTo>
                <a:cubicBezTo>
                  <a:pt x="441" y="12"/>
                  <a:pt x="442" y="11"/>
                  <a:pt x="442" y="12"/>
                </a:cubicBezTo>
                <a:cubicBezTo>
                  <a:pt x="443" y="12"/>
                  <a:pt x="442" y="12"/>
                  <a:pt x="442" y="12"/>
                </a:cubicBezTo>
                <a:close/>
                <a:moveTo>
                  <a:pt x="442" y="23"/>
                </a:moveTo>
                <a:cubicBezTo>
                  <a:pt x="442" y="23"/>
                  <a:pt x="441" y="24"/>
                  <a:pt x="441" y="23"/>
                </a:cubicBezTo>
                <a:cubicBezTo>
                  <a:pt x="441" y="23"/>
                  <a:pt x="442" y="23"/>
                  <a:pt x="442" y="23"/>
                </a:cubicBezTo>
                <a:close/>
                <a:moveTo>
                  <a:pt x="440" y="7"/>
                </a:moveTo>
                <a:cubicBezTo>
                  <a:pt x="441" y="7"/>
                  <a:pt x="439" y="7"/>
                  <a:pt x="439" y="7"/>
                </a:cubicBezTo>
                <a:cubicBezTo>
                  <a:pt x="439" y="6"/>
                  <a:pt x="440" y="6"/>
                  <a:pt x="440" y="7"/>
                </a:cubicBezTo>
                <a:close/>
                <a:moveTo>
                  <a:pt x="441" y="16"/>
                </a:moveTo>
                <a:cubicBezTo>
                  <a:pt x="441" y="17"/>
                  <a:pt x="438" y="17"/>
                  <a:pt x="439" y="16"/>
                </a:cubicBezTo>
                <a:cubicBezTo>
                  <a:pt x="439" y="15"/>
                  <a:pt x="440" y="16"/>
                  <a:pt x="441" y="16"/>
                </a:cubicBezTo>
                <a:close/>
                <a:moveTo>
                  <a:pt x="439" y="25"/>
                </a:moveTo>
                <a:cubicBezTo>
                  <a:pt x="440" y="26"/>
                  <a:pt x="437" y="27"/>
                  <a:pt x="437" y="26"/>
                </a:cubicBezTo>
                <a:cubicBezTo>
                  <a:pt x="436" y="25"/>
                  <a:pt x="439" y="25"/>
                  <a:pt x="439" y="25"/>
                </a:cubicBezTo>
                <a:close/>
                <a:moveTo>
                  <a:pt x="436" y="30"/>
                </a:moveTo>
                <a:cubicBezTo>
                  <a:pt x="437" y="29"/>
                  <a:pt x="438" y="31"/>
                  <a:pt x="436" y="30"/>
                </a:cubicBezTo>
                <a:close/>
                <a:moveTo>
                  <a:pt x="434" y="10"/>
                </a:moveTo>
                <a:cubicBezTo>
                  <a:pt x="435" y="11"/>
                  <a:pt x="433" y="11"/>
                  <a:pt x="433" y="11"/>
                </a:cubicBezTo>
                <a:cubicBezTo>
                  <a:pt x="432" y="11"/>
                  <a:pt x="434" y="10"/>
                  <a:pt x="434" y="10"/>
                </a:cubicBezTo>
                <a:close/>
                <a:moveTo>
                  <a:pt x="432" y="13"/>
                </a:moveTo>
                <a:cubicBezTo>
                  <a:pt x="433" y="14"/>
                  <a:pt x="429" y="15"/>
                  <a:pt x="430" y="13"/>
                </a:cubicBezTo>
                <a:cubicBezTo>
                  <a:pt x="430" y="13"/>
                  <a:pt x="431" y="12"/>
                  <a:pt x="432" y="13"/>
                </a:cubicBezTo>
                <a:close/>
                <a:moveTo>
                  <a:pt x="430" y="16"/>
                </a:moveTo>
                <a:cubicBezTo>
                  <a:pt x="430" y="16"/>
                  <a:pt x="431" y="15"/>
                  <a:pt x="432" y="16"/>
                </a:cubicBezTo>
                <a:cubicBezTo>
                  <a:pt x="432" y="17"/>
                  <a:pt x="430" y="17"/>
                  <a:pt x="430" y="16"/>
                </a:cubicBezTo>
                <a:close/>
                <a:moveTo>
                  <a:pt x="432" y="26"/>
                </a:moveTo>
                <a:cubicBezTo>
                  <a:pt x="431" y="26"/>
                  <a:pt x="430" y="27"/>
                  <a:pt x="429" y="26"/>
                </a:cubicBezTo>
                <a:cubicBezTo>
                  <a:pt x="430" y="25"/>
                  <a:pt x="431" y="25"/>
                  <a:pt x="432" y="26"/>
                </a:cubicBezTo>
                <a:close/>
                <a:moveTo>
                  <a:pt x="428" y="27"/>
                </a:moveTo>
                <a:cubicBezTo>
                  <a:pt x="428" y="27"/>
                  <a:pt x="427" y="28"/>
                  <a:pt x="426" y="27"/>
                </a:cubicBezTo>
                <a:cubicBezTo>
                  <a:pt x="426" y="26"/>
                  <a:pt x="427" y="26"/>
                  <a:pt x="428" y="27"/>
                </a:cubicBezTo>
                <a:close/>
                <a:moveTo>
                  <a:pt x="426" y="23"/>
                </a:moveTo>
                <a:cubicBezTo>
                  <a:pt x="425" y="22"/>
                  <a:pt x="428" y="23"/>
                  <a:pt x="426" y="23"/>
                </a:cubicBezTo>
                <a:close/>
                <a:moveTo>
                  <a:pt x="426" y="37"/>
                </a:moveTo>
                <a:cubicBezTo>
                  <a:pt x="428" y="33"/>
                  <a:pt x="436" y="29"/>
                  <a:pt x="439" y="33"/>
                </a:cubicBezTo>
                <a:cubicBezTo>
                  <a:pt x="440" y="35"/>
                  <a:pt x="438" y="39"/>
                  <a:pt x="437" y="39"/>
                </a:cubicBezTo>
                <a:cubicBezTo>
                  <a:pt x="436" y="39"/>
                  <a:pt x="435" y="39"/>
                  <a:pt x="434" y="39"/>
                </a:cubicBezTo>
                <a:cubicBezTo>
                  <a:pt x="433" y="39"/>
                  <a:pt x="433" y="40"/>
                  <a:pt x="433" y="40"/>
                </a:cubicBezTo>
                <a:cubicBezTo>
                  <a:pt x="431" y="41"/>
                  <a:pt x="429" y="40"/>
                  <a:pt x="427" y="40"/>
                </a:cubicBezTo>
                <a:cubicBezTo>
                  <a:pt x="426" y="39"/>
                  <a:pt x="426" y="40"/>
                  <a:pt x="425" y="40"/>
                </a:cubicBezTo>
                <a:cubicBezTo>
                  <a:pt x="425" y="39"/>
                  <a:pt x="426" y="37"/>
                  <a:pt x="426" y="37"/>
                </a:cubicBezTo>
                <a:close/>
                <a:moveTo>
                  <a:pt x="426" y="42"/>
                </a:moveTo>
                <a:cubicBezTo>
                  <a:pt x="426" y="43"/>
                  <a:pt x="423" y="43"/>
                  <a:pt x="423" y="43"/>
                </a:cubicBezTo>
                <a:cubicBezTo>
                  <a:pt x="422" y="41"/>
                  <a:pt x="425" y="41"/>
                  <a:pt x="426" y="42"/>
                </a:cubicBezTo>
                <a:close/>
                <a:moveTo>
                  <a:pt x="421" y="63"/>
                </a:moveTo>
                <a:cubicBezTo>
                  <a:pt x="418" y="65"/>
                  <a:pt x="413" y="66"/>
                  <a:pt x="411" y="64"/>
                </a:cubicBezTo>
                <a:cubicBezTo>
                  <a:pt x="410" y="64"/>
                  <a:pt x="410" y="61"/>
                  <a:pt x="412" y="62"/>
                </a:cubicBezTo>
                <a:cubicBezTo>
                  <a:pt x="413" y="62"/>
                  <a:pt x="413" y="64"/>
                  <a:pt x="413" y="64"/>
                </a:cubicBezTo>
                <a:cubicBezTo>
                  <a:pt x="414" y="64"/>
                  <a:pt x="415" y="62"/>
                  <a:pt x="415" y="62"/>
                </a:cubicBezTo>
                <a:cubicBezTo>
                  <a:pt x="415" y="61"/>
                  <a:pt x="413" y="61"/>
                  <a:pt x="414" y="60"/>
                </a:cubicBezTo>
                <a:cubicBezTo>
                  <a:pt x="413" y="61"/>
                  <a:pt x="412" y="60"/>
                  <a:pt x="414" y="60"/>
                </a:cubicBezTo>
                <a:cubicBezTo>
                  <a:pt x="414" y="59"/>
                  <a:pt x="415" y="60"/>
                  <a:pt x="416" y="60"/>
                </a:cubicBezTo>
                <a:cubicBezTo>
                  <a:pt x="417" y="59"/>
                  <a:pt x="417" y="59"/>
                  <a:pt x="419" y="59"/>
                </a:cubicBezTo>
                <a:cubicBezTo>
                  <a:pt x="420" y="59"/>
                  <a:pt x="424" y="62"/>
                  <a:pt x="421" y="63"/>
                </a:cubicBezTo>
                <a:close/>
                <a:moveTo>
                  <a:pt x="422" y="29"/>
                </a:moveTo>
                <a:cubicBezTo>
                  <a:pt x="422" y="31"/>
                  <a:pt x="418" y="31"/>
                  <a:pt x="417" y="30"/>
                </a:cubicBezTo>
                <a:cubicBezTo>
                  <a:pt x="416" y="29"/>
                  <a:pt x="421" y="27"/>
                  <a:pt x="422" y="29"/>
                </a:cubicBezTo>
                <a:close/>
                <a:moveTo>
                  <a:pt x="416" y="12"/>
                </a:moveTo>
                <a:cubicBezTo>
                  <a:pt x="415" y="12"/>
                  <a:pt x="417" y="13"/>
                  <a:pt x="416" y="12"/>
                </a:cubicBezTo>
                <a:close/>
                <a:moveTo>
                  <a:pt x="414" y="18"/>
                </a:moveTo>
                <a:cubicBezTo>
                  <a:pt x="414" y="19"/>
                  <a:pt x="413" y="19"/>
                  <a:pt x="412" y="18"/>
                </a:cubicBezTo>
                <a:cubicBezTo>
                  <a:pt x="411" y="18"/>
                  <a:pt x="414" y="17"/>
                  <a:pt x="414" y="18"/>
                </a:cubicBezTo>
                <a:close/>
                <a:moveTo>
                  <a:pt x="410" y="17"/>
                </a:moveTo>
                <a:cubicBezTo>
                  <a:pt x="412" y="16"/>
                  <a:pt x="413" y="18"/>
                  <a:pt x="410" y="17"/>
                </a:cubicBezTo>
                <a:close/>
                <a:moveTo>
                  <a:pt x="409" y="31"/>
                </a:moveTo>
                <a:cubicBezTo>
                  <a:pt x="411" y="29"/>
                  <a:pt x="412" y="33"/>
                  <a:pt x="409" y="31"/>
                </a:cubicBezTo>
                <a:close/>
                <a:moveTo>
                  <a:pt x="410" y="38"/>
                </a:moveTo>
                <a:cubicBezTo>
                  <a:pt x="409" y="37"/>
                  <a:pt x="411" y="38"/>
                  <a:pt x="410" y="38"/>
                </a:cubicBezTo>
                <a:close/>
                <a:moveTo>
                  <a:pt x="410" y="14"/>
                </a:moveTo>
                <a:cubicBezTo>
                  <a:pt x="410" y="15"/>
                  <a:pt x="410" y="15"/>
                  <a:pt x="409" y="15"/>
                </a:cubicBezTo>
                <a:cubicBezTo>
                  <a:pt x="407" y="16"/>
                  <a:pt x="409" y="12"/>
                  <a:pt x="410" y="14"/>
                </a:cubicBezTo>
                <a:close/>
                <a:moveTo>
                  <a:pt x="410" y="23"/>
                </a:moveTo>
                <a:cubicBezTo>
                  <a:pt x="411" y="24"/>
                  <a:pt x="408" y="25"/>
                  <a:pt x="408" y="24"/>
                </a:cubicBezTo>
                <a:cubicBezTo>
                  <a:pt x="407" y="23"/>
                  <a:pt x="410" y="22"/>
                  <a:pt x="410" y="23"/>
                </a:cubicBezTo>
                <a:close/>
                <a:moveTo>
                  <a:pt x="406" y="35"/>
                </a:moveTo>
                <a:cubicBezTo>
                  <a:pt x="405" y="35"/>
                  <a:pt x="404" y="34"/>
                  <a:pt x="404" y="34"/>
                </a:cubicBezTo>
                <a:cubicBezTo>
                  <a:pt x="402" y="31"/>
                  <a:pt x="411" y="34"/>
                  <a:pt x="406" y="35"/>
                </a:cubicBezTo>
                <a:close/>
                <a:moveTo>
                  <a:pt x="406" y="37"/>
                </a:moveTo>
                <a:cubicBezTo>
                  <a:pt x="405" y="36"/>
                  <a:pt x="406" y="37"/>
                  <a:pt x="407" y="36"/>
                </a:cubicBezTo>
                <a:cubicBezTo>
                  <a:pt x="407" y="37"/>
                  <a:pt x="406" y="37"/>
                  <a:pt x="406" y="37"/>
                </a:cubicBezTo>
                <a:close/>
                <a:moveTo>
                  <a:pt x="394" y="46"/>
                </a:moveTo>
                <a:cubicBezTo>
                  <a:pt x="400" y="45"/>
                  <a:pt x="404" y="44"/>
                  <a:pt x="409" y="43"/>
                </a:cubicBezTo>
                <a:cubicBezTo>
                  <a:pt x="411" y="43"/>
                  <a:pt x="417" y="42"/>
                  <a:pt x="418" y="43"/>
                </a:cubicBezTo>
                <a:cubicBezTo>
                  <a:pt x="419" y="44"/>
                  <a:pt x="410" y="45"/>
                  <a:pt x="407" y="45"/>
                </a:cubicBezTo>
                <a:cubicBezTo>
                  <a:pt x="403" y="46"/>
                  <a:pt x="401" y="46"/>
                  <a:pt x="398" y="47"/>
                </a:cubicBezTo>
                <a:cubicBezTo>
                  <a:pt x="400" y="47"/>
                  <a:pt x="403" y="48"/>
                  <a:pt x="402" y="51"/>
                </a:cubicBezTo>
                <a:cubicBezTo>
                  <a:pt x="402" y="56"/>
                  <a:pt x="394" y="55"/>
                  <a:pt x="390" y="53"/>
                </a:cubicBezTo>
                <a:cubicBezTo>
                  <a:pt x="390" y="53"/>
                  <a:pt x="390" y="52"/>
                  <a:pt x="390" y="52"/>
                </a:cubicBezTo>
                <a:cubicBezTo>
                  <a:pt x="389" y="51"/>
                  <a:pt x="392" y="48"/>
                  <a:pt x="394" y="47"/>
                </a:cubicBezTo>
                <a:cubicBezTo>
                  <a:pt x="393" y="48"/>
                  <a:pt x="391" y="48"/>
                  <a:pt x="390" y="48"/>
                </a:cubicBezTo>
                <a:cubicBezTo>
                  <a:pt x="385" y="48"/>
                  <a:pt x="394" y="46"/>
                  <a:pt x="394" y="46"/>
                </a:cubicBezTo>
                <a:close/>
                <a:moveTo>
                  <a:pt x="393" y="64"/>
                </a:moveTo>
                <a:cubicBezTo>
                  <a:pt x="392" y="65"/>
                  <a:pt x="389" y="66"/>
                  <a:pt x="387" y="66"/>
                </a:cubicBezTo>
                <a:cubicBezTo>
                  <a:pt x="389" y="64"/>
                  <a:pt x="391" y="65"/>
                  <a:pt x="393" y="64"/>
                </a:cubicBezTo>
                <a:close/>
                <a:moveTo>
                  <a:pt x="388" y="66"/>
                </a:moveTo>
                <a:cubicBezTo>
                  <a:pt x="389" y="66"/>
                  <a:pt x="387" y="68"/>
                  <a:pt x="387" y="67"/>
                </a:cubicBezTo>
                <a:cubicBezTo>
                  <a:pt x="387" y="66"/>
                  <a:pt x="388" y="66"/>
                  <a:pt x="388" y="66"/>
                </a:cubicBezTo>
                <a:close/>
                <a:moveTo>
                  <a:pt x="387" y="116"/>
                </a:moveTo>
                <a:cubicBezTo>
                  <a:pt x="387" y="116"/>
                  <a:pt x="387" y="116"/>
                  <a:pt x="387" y="116"/>
                </a:cubicBezTo>
                <a:cubicBezTo>
                  <a:pt x="388" y="116"/>
                  <a:pt x="387" y="116"/>
                  <a:pt x="387" y="116"/>
                </a:cubicBezTo>
                <a:close/>
                <a:moveTo>
                  <a:pt x="388" y="136"/>
                </a:moveTo>
                <a:cubicBezTo>
                  <a:pt x="387" y="137"/>
                  <a:pt x="386" y="135"/>
                  <a:pt x="388" y="136"/>
                </a:cubicBezTo>
                <a:close/>
                <a:moveTo>
                  <a:pt x="386" y="125"/>
                </a:moveTo>
                <a:cubicBezTo>
                  <a:pt x="385" y="126"/>
                  <a:pt x="381" y="127"/>
                  <a:pt x="381" y="126"/>
                </a:cubicBezTo>
                <a:cubicBezTo>
                  <a:pt x="383" y="126"/>
                  <a:pt x="384" y="124"/>
                  <a:pt x="386" y="125"/>
                </a:cubicBezTo>
                <a:close/>
                <a:moveTo>
                  <a:pt x="382" y="167"/>
                </a:moveTo>
                <a:cubicBezTo>
                  <a:pt x="382" y="165"/>
                  <a:pt x="384" y="165"/>
                  <a:pt x="385" y="166"/>
                </a:cubicBezTo>
                <a:cubicBezTo>
                  <a:pt x="385" y="168"/>
                  <a:pt x="382" y="168"/>
                  <a:pt x="382" y="167"/>
                </a:cubicBezTo>
                <a:close/>
                <a:moveTo>
                  <a:pt x="384" y="66"/>
                </a:moveTo>
                <a:cubicBezTo>
                  <a:pt x="385" y="65"/>
                  <a:pt x="386" y="67"/>
                  <a:pt x="384" y="66"/>
                </a:cubicBezTo>
                <a:close/>
                <a:moveTo>
                  <a:pt x="383" y="67"/>
                </a:moveTo>
                <a:cubicBezTo>
                  <a:pt x="382" y="67"/>
                  <a:pt x="381" y="68"/>
                  <a:pt x="380" y="68"/>
                </a:cubicBezTo>
                <a:cubicBezTo>
                  <a:pt x="380" y="66"/>
                  <a:pt x="382" y="67"/>
                  <a:pt x="383" y="67"/>
                </a:cubicBezTo>
                <a:close/>
                <a:moveTo>
                  <a:pt x="386" y="172"/>
                </a:moveTo>
                <a:cubicBezTo>
                  <a:pt x="387" y="176"/>
                  <a:pt x="379" y="176"/>
                  <a:pt x="379" y="173"/>
                </a:cubicBezTo>
                <a:cubicBezTo>
                  <a:pt x="378" y="170"/>
                  <a:pt x="386" y="168"/>
                  <a:pt x="386" y="172"/>
                </a:cubicBezTo>
                <a:close/>
                <a:moveTo>
                  <a:pt x="379" y="127"/>
                </a:moveTo>
                <a:cubicBezTo>
                  <a:pt x="380" y="127"/>
                  <a:pt x="377" y="128"/>
                  <a:pt x="377" y="128"/>
                </a:cubicBezTo>
                <a:cubicBezTo>
                  <a:pt x="377" y="128"/>
                  <a:pt x="378" y="127"/>
                  <a:pt x="379" y="127"/>
                </a:cubicBezTo>
                <a:close/>
                <a:moveTo>
                  <a:pt x="377" y="223"/>
                </a:moveTo>
                <a:cubicBezTo>
                  <a:pt x="376" y="224"/>
                  <a:pt x="373" y="225"/>
                  <a:pt x="372" y="227"/>
                </a:cubicBezTo>
                <a:cubicBezTo>
                  <a:pt x="372" y="225"/>
                  <a:pt x="375" y="224"/>
                  <a:pt x="377" y="223"/>
                </a:cubicBezTo>
                <a:close/>
                <a:moveTo>
                  <a:pt x="376" y="378"/>
                </a:moveTo>
                <a:cubicBezTo>
                  <a:pt x="376" y="378"/>
                  <a:pt x="375" y="379"/>
                  <a:pt x="376" y="378"/>
                </a:cubicBezTo>
                <a:cubicBezTo>
                  <a:pt x="376" y="378"/>
                  <a:pt x="376" y="378"/>
                  <a:pt x="376" y="378"/>
                </a:cubicBezTo>
                <a:close/>
                <a:moveTo>
                  <a:pt x="375" y="462"/>
                </a:moveTo>
                <a:cubicBezTo>
                  <a:pt x="376" y="462"/>
                  <a:pt x="375" y="464"/>
                  <a:pt x="375" y="464"/>
                </a:cubicBezTo>
                <a:cubicBezTo>
                  <a:pt x="372" y="466"/>
                  <a:pt x="374" y="460"/>
                  <a:pt x="375" y="462"/>
                </a:cubicBezTo>
                <a:close/>
                <a:moveTo>
                  <a:pt x="374" y="451"/>
                </a:moveTo>
                <a:cubicBezTo>
                  <a:pt x="374" y="451"/>
                  <a:pt x="374" y="451"/>
                  <a:pt x="374" y="451"/>
                </a:cubicBezTo>
                <a:cubicBezTo>
                  <a:pt x="373" y="451"/>
                  <a:pt x="374" y="451"/>
                  <a:pt x="374" y="451"/>
                </a:cubicBezTo>
                <a:close/>
                <a:moveTo>
                  <a:pt x="369" y="182"/>
                </a:moveTo>
                <a:cubicBezTo>
                  <a:pt x="369" y="182"/>
                  <a:pt x="369" y="182"/>
                  <a:pt x="369" y="182"/>
                </a:cubicBezTo>
                <a:cubicBezTo>
                  <a:pt x="369" y="182"/>
                  <a:pt x="369" y="182"/>
                  <a:pt x="369" y="182"/>
                </a:cubicBezTo>
                <a:cubicBezTo>
                  <a:pt x="369" y="182"/>
                  <a:pt x="369" y="182"/>
                  <a:pt x="369" y="182"/>
                </a:cubicBezTo>
                <a:close/>
                <a:moveTo>
                  <a:pt x="375" y="371"/>
                </a:moveTo>
                <a:cubicBezTo>
                  <a:pt x="375" y="372"/>
                  <a:pt x="374" y="373"/>
                  <a:pt x="372" y="373"/>
                </a:cubicBezTo>
                <a:cubicBezTo>
                  <a:pt x="371" y="374"/>
                  <a:pt x="370" y="374"/>
                  <a:pt x="370" y="372"/>
                </a:cubicBezTo>
                <a:cubicBezTo>
                  <a:pt x="368" y="368"/>
                  <a:pt x="375" y="367"/>
                  <a:pt x="375" y="371"/>
                </a:cubicBezTo>
                <a:close/>
                <a:moveTo>
                  <a:pt x="374" y="472"/>
                </a:moveTo>
                <a:cubicBezTo>
                  <a:pt x="373" y="473"/>
                  <a:pt x="371" y="475"/>
                  <a:pt x="369" y="475"/>
                </a:cubicBezTo>
                <a:cubicBezTo>
                  <a:pt x="370" y="474"/>
                  <a:pt x="372" y="473"/>
                  <a:pt x="374" y="472"/>
                </a:cubicBezTo>
                <a:close/>
                <a:moveTo>
                  <a:pt x="369" y="228"/>
                </a:moveTo>
                <a:cubicBezTo>
                  <a:pt x="367" y="231"/>
                  <a:pt x="366" y="228"/>
                  <a:pt x="369" y="228"/>
                </a:cubicBezTo>
                <a:close/>
                <a:moveTo>
                  <a:pt x="368" y="370"/>
                </a:moveTo>
                <a:cubicBezTo>
                  <a:pt x="367" y="371"/>
                  <a:pt x="370" y="369"/>
                  <a:pt x="368" y="370"/>
                </a:cubicBezTo>
                <a:close/>
                <a:moveTo>
                  <a:pt x="368" y="319"/>
                </a:moveTo>
                <a:cubicBezTo>
                  <a:pt x="369" y="319"/>
                  <a:pt x="368" y="320"/>
                  <a:pt x="368" y="320"/>
                </a:cubicBezTo>
                <a:cubicBezTo>
                  <a:pt x="367" y="322"/>
                  <a:pt x="367" y="318"/>
                  <a:pt x="368" y="319"/>
                </a:cubicBezTo>
                <a:close/>
                <a:moveTo>
                  <a:pt x="367" y="94"/>
                </a:moveTo>
                <a:cubicBezTo>
                  <a:pt x="366" y="92"/>
                  <a:pt x="368" y="94"/>
                  <a:pt x="367" y="94"/>
                </a:cubicBezTo>
                <a:close/>
                <a:moveTo>
                  <a:pt x="374" y="488"/>
                </a:moveTo>
                <a:cubicBezTo>
                  <a:pt x="375" y="486"/>
                  <a:pt x="380" y="483"/>
                  <a:pt x="383" y="481"/>
                </a:cubicBezTo>
                <a:cubicBezTo>
                  <a:pt x="383" y="481"/>
                  <a:pt x="383" y="479"/>
                  <a:pt x="384" y="480"/>
                </a:cubicBezTo>
                <a:cubicBezTo>
                  <a:pt x="385" y="481"/>
                  <a:pt x="382" y="484"/>
                  <a:pt x="382" y="484"/>
                </a:cubicBezTo>
                <a:cubicBezTo>
                  <a:pt x="380" y="485"/>
                  <a:pt x="378" y="486"/>
                  <a:pt x="376" y="487"/>
                </a:cubicBezTo>
                <a:cubicBezTo>
                  <a:pt x="372" y="489"/>
                  <a:pt x="369" y="494"/>
                  <a:pt x="365" y="496"/>
                </a:cubicBezTo>
                <a:cubicBezTo>
                  <a:pt x="365" y="492"/>
                  <a:pt x="372" y="491"/>
                  <a:pt x="374" y="488"/>
                </a:cubicBezTo>
                <a:close/>
                <a:moveTo>
                  <a:pt x="365" y="407"/>
                </a:moveTo>
                <a:cubicBezTo>
                  <a:pt x="366" y="406"/>
                  <a:pt x="364" y="408"/>
                  <a:pt x="365" y="407"/>
                </a:cubicBezTo>
                <a:close/>
                <a:moveTo>
                  <a:pt x="354" y="444"/>
                </a:moveTo>
                <a:cubicBezTo>
                  <a:pt x="356" y="441"/>
                  <a:pt x="360" y="438"/>
                  <a:pt x="365" y="437"/>
                </a:cubicBezTo>
                <a:cubicBezTo>
                  <a:pt x="361" y="439"/>
                  <a:pt x="358" y="442"/>
                  <a:pt x="354" y="444"/>
                </a:cubicBezTo>
                <a:close/>
                <a:moveTo>
                  <a:pt x="354" y="419"/>
                </a:moveTo>
                <a:cubicBezTo>
                  <a:pt x="353" y="419"/>
                  <a:pt x="356" y="417"/>
                  <a:pt x="354" y="419"/>
                </a:cubicBezTo>
                <a:close/>
                <a:moveTo>
                  <a:pt x="358" y="413"/>
                </a:moveTo>
                <a:cubicBezTo>
                  <a:pt x="358" y="414"/>
                  <a:pt x="357" y="415"/>
                  <a:pt x="356" y="415"/>
                </a:cubicBezTo>
                <a:cubicBezTo>
                  <a:pt x="356" y="414"/>
                  <a:pt x="357" y="414"/>
                  <a:pt x="358" y="413"/>
                </a:cubicBezTo>
                <a:close/>
                <a:moveTo>
                  <a:pt x="358" y="130"/>
                </a:moveTo>
                <a:cubicBezTo>
                  <a:pt x="357" y="129"/>
                  <a:pt x="358" y="132"/>
                  <a:pt x="358" y="130"/>
                </a:cubicBezTo>
                <a:close/>
                <a:moveTo>
                  <a:pt x="359" y="414"/>
                </a:moveTo>
                <a:cubicBezTo>
                  <a:pt x="358" y="415"/>
                  <a:pt x="358" y="416"/>
                  <a:pt x="357" y="416"/>
                </a:cubicBezTo>
                <a:cubicBezTo>
                  <a:pt x="358" y="415"/>
                  <a:pt x="358" y="414"/>
                  <a:pt x="359" y="414"/>
                </a:cubicBezTo>
                <a:close/>
                <a:moveTo>
                  <a:pt x="357" y="416"/>
                </a:moveTo>
                <a:cubicBezTo>
                  <a:pt x="357" y="417"/>
                  <a:pt x="356" y="417"/>
                  <a:pt x="355" y="418"/>
                </a:cubicBezTo>
                <a:cubicBezTo>
                  <a:pt x="355" y="417"/>
                  <a:pt x="356" y="416"/>
                  <a:pt x="357" y="416"/>
                </a:cubicBezTo>
                <a:close/>
                <a:moveTo>
                  <a:pt x="360" y="312"/>
                </a:moveTo>
                <a:cubicBezTo>
                  <a:pt x="360" y="312"/>
                  <a:pt x="360" y="313"/>
                  <a:pt x="359" y="313"/>
                </a:cubicBezTo>
                <a:cubicBezTo>
                  <a:pt x="359" y="312"/>
                  <a:pt x="361" y="311"/>
                  <a:pt x="360" y="312"/>
                </a:cubicBezTo>
                <a:close/>
                <a:moveTo>
                  <a:pt x="360" y="411"/>
                </a:moveTo>
                <a:cubicBezTo>
                  <a:pt x="359" y="413"/>
                  <a:pt x="361" y="411"/>
                  <a:pt x="360" y="411"/>
                </a:cubicBezTo>
                <a:close/>
                <a:moveTo>
                  <a:pt x="359" y="414"/>
                </a:moveTo>
                <a:cubicBezTo>
                  <a:pt x="360" y="412"/>
                  <a:pt x="361" y="414"/>
                  <a:pt x="359" y="414"/>
                </a:cubicBezTo>
                <a:close/>
                <a:moveTo>
                  <a:pt x="361" y="412"/>
                </a:moveTo>
                <a:cubicBezTo>
                  <a:pt x="362" y="411"/>
                  <a:pt x="362" y="410"/>
                  <a:pt x="364" y="410"/>
                </a:cubicBezTo>
                <a:cubicBezTo>
                  <a:pt x="363" y="411"/>
                  <a:pt x="363" y="412"/>
                  <a:pt x="361" y="412"/>
                </a:cubicBezTo>
                <a:close/>
                <a:moveTo>
                  <a:pt x="364" y="204"/>
                </a:moveTo>
                <a:cubicBezTo>
                  <a:pt x="364" y="203"/>
                  <a:pt x="365" y="205"/>
                  <a:pt x="364" y="204"/>
                </a:cubicBezTo>
                <a:close/>
                <a:moveTo>
                  <a:pt x="363" y="409"/>
                </a:moveTo>
                <a:cubicBezTo>
                  <a:pt x="362" y="409"/>
                  <a:pt x="366" y="407"/>
                  <a:pt x="363" y="409"/>
                </a:cubicBezTo>
                <a:close/>
                <a:moveTo>
                  <a:pt x="362" y="253"/>
                </a:moveTo>
                <a:cubicBezTo>
                  <a:pt x="361" y="253"/>
                  <a:pt x="361" y="254"/>
                  <a:pt x="360" y="253"/>
                </a:cubicBezTo>
                <a:cubicBezTo>
                  <a:pt x="358" y="249"/>
                  <a:pt x="366" y="251"/>
                  <a:pt x="362" y="253"/>
                </a:cubicBezTo>
                <a:close/>
                <a:moveTo>
                  <a:pt x="362" y="67"/>
                </a:moveTo>
                <a:cubicBezTo>
                  <a:pt x="362" y="68"/>
                  <a:pt x="361" y="68"/>
                  <a:pt x="360" y="68"/>
                </a:cubicBezTo>
                <a:cubicBezTo>
                  <a:pt x="360" y="67"/>
                  <a:pt x="362" y="67"/>
                  <a:pt x="362" y="67"/>
                </a:cubicBezTo>
                <a:close/>
                <a:moveTo>
                  <a:pt x="363" y="73"/>
                </a:moveTo>
                <a:cubicBezTo>
                  <a:pt x="363" y="73"/>
                  <a:pt x="360" y="73"/>
                  <a:pt x="359" y="73"/>
                </a:cubicBezTo>
                <a:cubicBezTo>
                  <a:pt x="359" y="72"/>
                  <a:pt x="363" y="70"/>
                  <a:pt x="363" y="73"/>
                </a:cubicBezTo>
                <a:close/>
                <a:moveTo>
                  <a:pt x="359" y="40"/>
                </a:moveTo>
                <a:cubicBezTo>
                  <a:pt x="360" y="40"/>
                  <a:pt x="359" y="41"/>
                  <a:pt x="358" y="40"/>
                </a:cubicBezTo>
                <a:cubicBezTo>
                  <a:pt x="358" y="40"/>
                  <a:pt x="358" y="39"/>
                  <a:pt x="359" y="40"/>
                </a:cubicBezTo>
                <a:close/>
                <a:moveTo>
                  <a:pt x="359" y="47"/>
                </a:moveTo>
                <a:cubicBezTo>
                  <a:pt x="359" y="47"/>
                  <a:pt x="357" y="47"/>
                  <a:pt x="357" y="46"/>
                </a:cubicBezTo>
                <a:cubicBezTo>
                  <a:pt x="357" y="46"/>
                  <a:pt x="358" y="46"/>
                  <a:pt x="359" y="47"/>
                </a:cubicBezTo>
                <a:close/>
                <a:moveTo>
                  <a:pt x="350" y="49"/>
                </a:moveTo>
                <a:cubicBezTo>
                  <a:pt x="350" y="49"/>
                  <a:pt x="350" y="50"/>
                  <a:pt x="349" y="50"/>
                </a:cubicBezTo>
                <a:cubicBezTo>
                  <a:pt x="348" y="49"/>
                  <a:pt x="350" y="48"/>
                  <a:pt x="350" y="49"/>
                </a:cubicBezTo>
                <a:close/>
                <a:moveTo>
                  <a:pt x="347" y="81"/>
                </a:moveTo>
                <a:cubicBezTo>
                  <a:pt x="347" y="82"/>
                  <a:pt x="346" y="82"/>
                  <a:pt x="346" y="82"/>
                </a:cubicBezTo>
                <a:cubicBezTo>
                  <a:pt x="345" y="81"/>
                  <a:pt x="347" y="80"/>
                  <a:pt x="347" y="81"/>
                </a:cubicBezTo>
                <a:close/>
                <a:moveTo>
                  <a:pt x="346" y="127"/>
                </a:moveTo>
                <a:cubicBezTo>
                  <a:pt x="348" y="124"/>
                  <a:pt x="357" y="125"/>
                  <a:pt x="357" y="129"/>
                </a:cubicBezTo>
                <a:cubicBezTo>
                  <a:pt x="356" y="136"/>
                  <a:pt x="342" y="134"/>
                  <a:pt x="346" y="127"/>
                </a:cubicBezTo>
                <a:close/>
                <a:moveTo>
                  <a:pt x="353" y="149"/>
                </a:moveTo>
                <a:cubicBezTo>
                  <a:pt x="354" y="147"/>
                  <a:pt x="357" y="148"/>
                  <a:pt x="353" y="149"/>
                </a:cubicBezTo>
                <a:close/>
                <a:moveTo>
                  <a:pt x="345" y="114"/>
                </a:moveTo>
                <a:cubicBezTo>
                  <a:pt x="345" y="115"/>
                  <a:pt x="343" y="114"/>
                  <a:pt x="345" y="114"/>
                </a:cubicBezTo>
                <a:close/>
                <a:moveTo>
                  <a:pt x="344" y="85"/>
                </a:moveTo>
                <a:cubicBezTo>
                  <a:pt x="343" y="85"/>
                  <a:pt x="343" y="84"/>
                  <a:pt x="343" y="84"/>
                </a:cubicBezTo>
                <a:cubicBezTo>
                  <a:pt x="342" y="82"/>
                  <a:pt x="345" y="84"/>
                  <a:pt x="344" y="85"/>
                </a:cubicBezTo>
                <a:close/>
                <a:moveTo>
                  <a:pt x="347" y="145"/>
                </a:moveTo>
                <a:cubicBezTo>
                  <a:pt x="345" y="147"/>
                  <a:pt x="341" y="149"/>
                  <a:pt x="338" y="149"/>
                </a:cubicBezTo>
                <a:cubicBezTo>
                  <a:pt x="340" y="148"/>
                  <a:pt x="344" y="147"/>
                  <a:pt x="347" y="145"/>
                </a:cubicBezTo>
                <a:close/>
                <a:moveTo>
                  <a:pt x="339" y="111"/>
                </a:moveTo>
                <a:cubicBezTo>
                  <a:pt x="339" y="111"/>
                  <a:pt x="338" y="112"/>
                  <a:pt x="338" y="112"/>
                </a:cubicBezTo>
                <a:cubicBezTo>
                  <a:pt x="337" y="111"/>
                  <a:pt x="338" y="111"/>
                  <a:pt x="339" y="111"/>
                </a:cubicBezTo>
                <a:close/>
                <a:moveTo>
                  <a:pt x="340" y="58"/>
                </a:moveTo>
                <a:cubicBezTo>
                  <a:pt x="340" y="58"/>
                  <a:pt x="338" y="59"/>
                  <a:pt x="338" y="58"/>
                </a:cubicBezTo>
                <a:cubicBezTo>
                  <a:pt x="338" y="58"/>
                  <a:pt x="340" y="57"/>
                  <a:pt x="340" y="58"/>
                </a:cubicBezTo>
                <a:close/>
                <a:moveTo>
                  <a:pt x="338" y="85"/>
                </a:moveTo>
                <a:cubicBezTo>
                  <a:pt x="337" y="85"/>
                  <a:pt x="337" y="86"/>
                  <a:pt x="336" y="85"/>
                </a:cubicBezTo>
                <a:cubicBezTo>
                  <a:pt x="336" y="85"/>
                  <a:pt x="337" y="85"/>
                  <a:pt x="338" y="85"/>
                </a:cubicBezTo>
                <a:close/>
                <a:moveTo>
                  <a:pt x="336" y="151"/>
                </a:moveTo>
                <a:cubicBezTo>
                  <a:pt x="336" y="151"/>
                  <a:pt x="336" y="150"/>
                  <a:pt x="337" y="150"/>
                </a:cubicBezTo>
                <a:cubicBezTo>
                  <a:pt x="337" y="150"/>
                  <a:pt x="336" y="151"/>
                  <a:pt x="336" y="151"/>
                </a:cubicBezTo>
                <a:close/>
                <a:moveTo>
                  <a:pt x="337" y="161"/>
                </a:moveTo>
                <a:cubicBezTo>
                  <a:pt x="337" y="162"/>
                  <a:pt x="335" y="163"/>
                  <a:pt x="335" y="161"/>
                </a:cubicBezTo>
                <a:cubicBezTo>
                  <a:pt x="335" y="160"/>
                  <a:pt x="337" y="161"/>
                  <a:pt x="337" y="161"/>
                </a:cubicBezTo>
                <a:close/>
                <a:moveTo>
                  <a:pt x="335" y="151"/>
                </a:moveTo>
                <a:cubicBezTo>
                  <a:pt x="336" y="151"/>
                  <a:pt x="333" y="153"/>
                  <a:pt x="333" y="152"/>
                </a:cubicBezTo>
                <a:cubicBezTo>
                  <a:pt x="333" y="151"/>
                  <a:pt x="335" y="151"/>
                  <a:pt x="335" y="151"/>
                </a:cubicBezTo>
                <a:close/>
                <a:moveTo>
                  <a:pt x="334" y="65"/>
                </a:moveTo>
                <a:cubicBezTo>
                  <a:pt x="333" y="65"/>
                  <a:pt x="333" y="65"/>
                  <a:pt x="332" y="65"/>
                </a:cubicBezTo>
                <a:cubicBezTo>
                  <a:pt x="332" y="65"/>
                  <a:pt x="333" y="64"/>
                  <a:pt x="334" y="65"/>
                </a:cubicBezTo>
                <a:close/>
                <a:moveTo>
                  <a:pt x="356" y="172"/>
                </a:moveTo>
                <a:cubicBezTo>
                  <a:pt x="348" y="177"/>
                  <a:pt x="339" y="182"/>
                  <a:pt x="329" y="187"/>
                </a:cubicBezTo>
                <a:cubicBezTo>
                  <a:pt x="329" y="187"/>
                  <a:pt x="327" y="189"/>
                  <a:pt x="326" y="188"/>
                </a:cubicBezTo>
                <a:cubicBezTo>
                  <a:pt x="325" y="187"/>
                  <a:pt x="329" y="186"/>
                  <a:pt x="327" y="187"/>
                </a:cubicBezTo>
                <a:cubicBezTo>
                  <a:pt x="336" y="181"/>
                  <a:pt x="347" y="175"/>
                  <a:pt x="356" y="172"/>
                </a:cubicBezTo>
                <a:close/>
                <a:moveTo>
                  <a:pt x="331" y="92"/>
                </a:moveTo>
                <a:cubicBezTo>
                  <a:pt x="331" y="94"/>
                  <a:pt x="328" y="93"/>
                  <a:pt x="328" y="92"/>
                </a:cubicBezTo>
                <a:cubicBezTo>
                  <a:pt x="329" y="91"/>
                  <a:pt x="330" y="91"/>
                  <a:pt x="331" y="92"/>
                </a:cubicBezTo>
                <a:close/>
                <a:moveTo>
                  <a:pt x="326" y="66"/>
                </a:moveTo>
                <a:cubicBezTo>
                  <a:pt x="325" y="67"/>
                  <a:pt x="324" y="66"/>
                  <a:pt x="323" y="66"/>
                </a:cubicBezTo>
                <a:cubicBezTo>
                  <a:pt x="323" y="65"/>
                  <a:pt x="325" y="66"/>
                  <a:pt x="326" y="66"/>
                </a:cubicBezTo>
                <a:close/>
                <a:moveTo>
                  <a:pt x="323" y="101"/>
                </a:moveTo>
                <a:cubicBezTo>
                  <a:pt x="323" y="101"/>
                  <a:pt x="325" y="99"/>
                  <a:pt x="325" y="101"/>
                </a:cubicBezTo>
                <a:cubicBezTo>
                  <a:pt x="326" y="102"/>
                  <a:pt x="322" y="103"/>
                  <a:pt x="323" y="101"/>
                </a:cubicBezTo>
                <a:close/>
                <a:moveTo>
                  <a:pt x="320" y="102"/>
                </a:moveTo>
                <a:cubicBezTo>
                  <a:pt x="321" y="100"/>
                  <a:pt x="323" y="102"/>
                  <a:pt x="320" y="102"/>
                </a:cubicBezTo>
                <a:close/>
                <a:moveTo>
                  <a:pt x="313" y="98"/>
                </a:moveTo>
                <a:cubicBezTo>
                  <a:pt x="313" y="98"/>
                  <a:pt x="316" y="96"/>
                  <a:pt x="317" y="98"/>
                </a:cubicBezTo>
                <a:cubicBezTo>
                  <a:pt x="317" y="99"/>
                  <a:pt x="313" y="99"/>
                  <a:pt x="313" y="98"/>
                </a:cubicBezTo>
                <a:close/>
                <a:moveTo>
                  <a:pt x="316" y="67"/>
                </a:moveTo>
                <a:cubicBezTo>
                  <a:pt x="317" y="67"/>
                  <a:pt x="315" y="68"/>
                  <a:pt x="314" y="68"/>
                </a:cubicBezTo>
                <a:cubicBezTo>
                  <a:pt x="315" y="67"/>
                  <a:pt x="315" y="67"/>
                  <a:pt x="316" y="67"/>
                </a:cubicBezTo>
                <a:close/>
                <a:moveTo>
                  <a:pt x="313" y="68"/>
                </a:moveTo>
                <a:cubicBezTo>
                  <a:pt x="313" y="68"/>
                  <a:pt x="312" y="68"/>
                  <a:pt x="311" y="68"/>
                </a:cubicBezTo>
                <a:cubicBezTo>
                  <a:pt x="311" y="68"/>
                  <a:pt x="313" y="67"/>
                  <a:pt x="313" y="68"/>
                </a:cubicBezTo>
                <a:close/>
                <a:moveTo>
                  <a:pt x="300" y="82"/>
                </a:moveTo>
                <a:cubicBezTo>
                  <a:pt x="298" y="83"/>
                  <a:pt x="298" y="82"/>
                  <a:pt x="300" y="82"/>
                </a:cubicBezTo>
                <a:close/>
                <a:moveTo>
                  <a:pt x="299" y="99"/>
                </a:moveTo>
                <a:cubicBezTo>
                  <a:pt x="298" y="100"/>
                  <a:pt x="294" y="100"/>
                  <a:pt x="294" y="100"/>
                </a:cubicBezTo>
                <a:cubicBezTo>
                  <a:pt x="293" y="100"/>
                  <a:pt x="293" y="99"/>
                  <a:pt x="293" y="99"/>
                </a:cubicBezTo>
                <a:cubicBezTo>
                  <a:pt x="293" y="99"/>
                  <a:pt x="291" y="101"/>
                  <a:pt x="291" y="99"/>
                </a:cubicBezTo>
                <a:cubicBezTo>
                  <a:pt x="290" y="98"/>
                  <a:pt x="300" y="95"/>
                  <a:pt x="299" y="99"/>
                </a:cubicBezTo>
                <a:close/>
                <a:moveTo>
                  <a:pt x="293" y="116"/>
                </a:moveTo>
                <a:cubicBezTo>
                  <a:pt x="299" y="113"/>
                  <a:pt x="305" y="113"/>
                  <a:pt x="311" y="110"/>
                </a:cubicBezTo>
                <a:cubicBezTo>
                  <a:pt x="316" y="108"/>
                  <a:pt x="321" y="105"/>
                  <a:pt x="327" y="105"/>
                </a:cubicBezTo>
                <a:cubicBezTo>
                  <a:pt x="327" y="105"/>
                  <a:pt x="328" y="105"/>
                  <a:pt x="328" y="106"/>
                </a:cubicBezTo>
                <a:cubicBezTo>
                  <a:pt x="328" y="107"/>
                  <a:pt x="318" y="110"/>
                  <a:pt x="315" y="111"/>
                </a:cubicBezTo>
                <a:cubicBezTo>
                  <a:pt x="310" y="112"/>
                  <a:pt x="306" y="113"/>
                  <a:pt x="301" y="114"/>
                </a:cubicBezTo>
                <a:cubicBezTo>
                  <a:pt x="299" y="115"/>
                  <a:pt x="294" y="118"/>
                  <a:pt x="292" y="118"/>
                </a:cubicBezTo>
                <a:cubicBezTo>
                  <a:pt x="288" y="118"/>
                  <a:pt x="293" y="116"/>
                  <a:pt x="293" y="116"/>
                </a:cubicBezTo>
                <a:close/>
                <a:moveTo>
                  <a:pt x="294" y="382"/>
                </a:moveTo>
                <a:cubicBezTo>
                  <a:pt x="294" y="382"/>
                  <a:pt x="293" y="382"/>
                  <a:pt x="292" y="384"/>
                </a:cubicBezTo>
                <a:cubicBezTo>
                  <a:pt x="289" y="386"/>
                  <a:pt x="286" y="391"/>
                  <a:pt x="283" y="396"/>
                </a:cubicBezTo>
                <a:cubicBezTo>
                  <a:pt x="281" y="399"/>
                  <a:pt x="280" y="403"/>
                  <a:pt x="278" y="405"/>
                </a:cubicBezTo>
                <a:cubicBezTo>
                  <a:pt x="278" y="406"/>
                  <a:pt x="277" y="406"/>
                  <a:pt x="277" y="406"/>
                </a:cubicBezTo>
                <a:cubicBezTo>
                  <a:pt x="276" y="406"/>
                  <a:pt x="280" y="399"/>
                  <a:pt x="281" y="398"/>
                </a:cubicBezTo>
                <a:cubicBezTo>
                  <a:pt x="283" y="395"/>
                  <a:pt x="284" y="392"/>
                  <a:pt x="286" y="390"/>
                </a:cubicBezTo>
                <a:cubicBezTo>
                  <a:pt x="287" y="388"/>
                  <a:pt x="291" y="385"/>
                  <a:pt x="291" y="382"/>
                </a:cubicBezTo>
                <a:cubicBezTo>
                  <a:pt x="291" y="382"/>
                  <a:pt x="290" y="380"/>
                  <a:pt x="290" y="379"/>
                </a:cubicBezTo>
                <a:cubicBezTo>
                  <a:pt x="290" y="375"/>
                  <a:pt x="298" y="376"/>
                  <a:pt x="294" y="382"/>
                </a:cubicBezTo>
                <a:close/>
                <a:moveTo>
                  <a:pt x="286" y="197"/>
                </a:moveTo>
                <a:cubicBezTo>
                  <a:pt x="286" y="197"/>
                  <a:pt x="286" y="198"/>
                  <a:pt x="286" y="198"/>
                </a:cubicBezTo>
                <a:cubicBezTo>
                  <a:pt x="285" y="198"/>
                  <a:pt x="285" y="196"/>
                  <a:pt x="286" y="197"/>
                </a:cubicBezTo>
                <a:close/>
                <a:moveTo>
                  <a:pt x="286" y="346"/>
                </a:moveTo>
                <a:cubicBezTo>
                  <a:pt x="287" y="346"/>
                  <a:pt x="286" y="347"/>
                  <a:pt x="286" y="348"/>
                </a:cubicBezTo>
                <a:cubicBezTo>
                  <a:pt x="284" y="350"/>
                  <a:pt x="284" y="344"/>
                  <a:pt x="286" y="346"/>
                </a:cubicBezTo>
                <a:close/>
                <a:moveTo>
                  <a:pt x="284" y="385"/>
                </a:moveTo>
                <a:cubicBezTo>
                  <a:pt x="284" y="386"/>
                  <a:pt x="283" y="386"/>
                  <a:pt x="283" y="386"/>
                </a:cubicBezTo>
                <a:cubicBezTo>
                  <a:pt x="282" y="386"/>
                  <a:pt x="284" y="385"/>
                  <a:pt x="284" y="385"/>
                </a:cubicBezTo>
                <a:close/>
                <a:moveTo>
                  <a:pt x="281" y="387"/>
                </a:moveTo>
                <a:cubicBezTo>
                  <a:pt x="283" y="388"/>
                  <a:pt x="280" y="390"/>
                  <a:pt x="279" y="391"/>
                </a:cubicBezTo>
                <a:cubicBezTo>
                  <a:pt x="280" y="389"/>
                  <a:pt x="281" y="388"/>
                  <a:pt x="281" y="387"/>
                </a:cubicBezTo>
                <a:close/>
                <a:moveTo>
                  <a:pt x="278" y="392"/>
                </a:moveTo>
                <a:cubicBezTo>
                  <a:pt x="278" y="393"/>
                  <a:pt x="277" y="393"/>
                  <a:pt x="277" y="394"/>
                </a:cubicBezTo>
                <a:cubicBezTo>
                  <a:pt x="276" y="394"/>
                  <a:pt x="277" y="392"/>
                  <a:pt x="278" y="392"/>
                </a:cubicBezTo>
                <a:close/>
                <a:moveTo>
                  <a:pt x="275" y="342"/>
                </a:moveTo>
                <a:cubicBezTo>
                  <a:pt x="274" y="343"/>
                  <a:pt x="274" y="343"/>
                  <a:pt x="273" y="344"/>
                </a:cubicBezTo>
                <a:cubicBezTo>
                  <a:pt x="273" y="344"/>
                  <a:pt x="274" y="342"/>
                  <a:pt x="275" y="342"/>
                </a:cubicBezTo>
                <a:close/>
                <a:moveTo>
                  <a:pt x="273" y="119"/>
                </a:moveTo>
                <a:cubicBezTo>
                  <a:pt x="273" y="120"/>
                  <a:pt x="272" y="119"/>
                  <a:pt x="271" y="120"/>
                </a:cubicBezTo>
                <a:cubicBezTo>
                  <a:pt x="271" y="119"/>
                  <a:pt x="273" y="119"/>
                  <a:pt x="273" y="119"/>
                </a:cubicBezTo>
                <a:close/>
                <a:moveTo>
                  <a:pt x="272" y="481"/>
                </a:moveTo>
                <a:cubicBezTo>
                  <a:pt x="273" y="482"/>
                  <a:pt x="271" y="483"/>
                  <a:pt x="271" y="483"/>
                </a:cubicBezTo>
                <a:cubicBezTo>
                  <a:pt x="269" y="483"/>
                  <a:pt x="271" y="480"/>
                  <a:pt x="272" y="481"/>
                </a:cubicBezTo>
                <a:close/>
                <a:moveTo>
                  <a:pt x="270" y="120"/>
                </a:moveTo>
                <a:cubicBezTo>
                  <a:pt x="269" y="119"/>
                  <a:pt x="271" y="121"/>
                  <a:pt x="270" y="120"/>
                </a:cubicBezTo>
                <a:close/>
                <a:moveTo>
                  <a:pt x="270" y="409"/>
                </a:moveTo>
                <a:cubicBezTo>
                  <a:pt x="270" y="410"/>
                  <a:pt x="269" y="410"/>
                  <a:pt x="269" y="411"/>
                </a:cubicBezTo>
                <a:cubicBezTo>
                  <a:pt x="268" y="410"/>
                  <a:pt x="270" y="409"/>
                  <a:pt x="270" y="409"/>
                </a:cubicBezTo>
                <a:close/>
                <a:moveTo>
                  <a:pt x="269" y="378"/>
                </a:moveTo>
                <a:cubicBezTo>
                  <a:pt x="269" y="380"/>
                  <a:pt x="267" y="379"/>
                  <a:pt x="266" y="380"/>
                </a:cubicBezTo>
                <a:cubicBezTo>
                  <a:pt x="266" y="379"/>
                  <a:pt x="268" y="379"/>
                  <a:pt x="269" y="378"/>
                </a:cubicBezTo>
                <a:close/>
                <a:moveTo>
                  <a:pt x="267" y="407"/>
                </a:moveTo>
                <a:cubicBezTo>
                  <a:pt x="269" y="408"/>
                  <a:pt x="267" y="411"/>
                  <a:pt x="266" y="411"/>
                </a:cubicBezTo>
                <a:cubicBezTo>
                  <a:pt x="263" y="412"/>
                  <a:pt x="265" y="406"/>
                  <a:pt x="267" y="407"/>
                </a:cubicBezTo>
                <a:close/>
                <a:moveTo>
                  <a:pt x="264" y="422"/>
                </a:moveTo>
                <a:cubicBezTo>
                  <a:pt x="265" y="423"/>
                  <a:pt x="264" y="423"/>
                  <a:pt x="264" y="423"/>
                </a:cubicBezTo>
                <a:cubicBezTo>
                  <a:pt x="263" y="424"/>
                  <a:pt x="264" y="422"/>
                  <a:pt x="264" y="422"/>
                </a:cubicBezTo>
                <a:close/>
                <a:moveTo>
                  <a:pt x="264" y="455"/>
                </a:moveTo>
                <a:cubicBezTo>
                  <a:pt x="266" y="456"/>
                  <a:pt x="265" y="457"/>
                  <a:pt x="264" y="458"/>
                </a:cubicBezTo>
                <a:cubicBezTo>
                  <a:pt x="262" y="459"/>
                  <a:pt x="262" y="454"/>
                  <a:pt x="264" y="455"/>
                </a:cubicBezTo>
                <a:close/>
                <a:moveTo>
                  <a:pt x="262" y="487"/>
                </a:moveTo>
                <a:cubicBezTo>
                  <a:pt x="263" y="486"/>
                  <a:pt x="262" y="487"/>
                  <a:pt x="262" y="487"/>
                </a:cubicBezTo>
                <a:cubicBezTo>
                  <a:pt x="262" y="487"/>
                  <a:pt x="262" y="487"/>
                  <a:pt x="262" y="487"/>
                </a:cubicBezTo>
                <a:close/>
                <a:moveTo>
                  <a:pt x="262" y="390"/>
                </a:moveTo>
                <a:cubicBezTo>
                  <a:pt x="262" y="390"/>
                  <a:pt x="261" y="391"/>
                  <a:pt x="261" y="391"/>
                </a:cubicBezTo>
                <a:cubicBezTo>
                  <a:pt x="260" y="392"/>
                  <a:pt x="261" y="389"/>
                  <a:pt x="262" y="390"/>
                </a:cubicBezTo>
                <a:close/>
                <a:moveTo>
                  <a:pt x="261" y="409"/>
                </a:moveTo>
                <a:cubicBezTo>
                  <a:pt x="262" y="410"/>
                  <a:pt x="261" y="412"/>
                  <a:pt x="261" y="412"/>
                </a:cubicBezTo>
                <a:cubicBezTo>
                  <a:pt x="258" y="415"/>
                  <a:pt x="259" y="408"/>
                  <a:pt x="261" y="409"/>
                </a:cubicBezTo>
                <a:close/>
                <a:moveTo>
                  <a:pt x="260" y="161"/>
                </a:moveTo>
                <a:cubicBezTo>
                  <a:pt x="259" y="162"/>
                  <a:pt x="258" y="162"/>
                  <a:pt x="257" y="162"/>
                </a:cubicBezTo>
                <a:cubicBezTo>
                  <a:pt x="258" y="161"/>
                  <a:pt x="259" y="161"/>
                  <a:pt x="260" y="161"/>
                </a:cubicBezTo>
                <a:close/>
                <a:moveTo>
                  <a:pt x="256" y="236"/>
                </a:moveTo>
                <a:cubicBezTo>
                  <a:pt x="257" y="236"/>
                  <a:pt x="257" y="237"/>
                  <a:pt x="257" y="237"/>
                </a:cubicBezTo>
                <a:cubicBezTo>
                  <a:pt x="255" y="239"/>
                  <a:pt x="255" y="235"/>
                  <a:pt x="256" y="236"/>
                </a:cubicBezTo>
                <a:close/>
                <a:moveTo>
                  <a:pt x="220" y="484"/>
                </a:moveTo>
                <a:cubicBezTo>
                  <a:pt x="219" y="485"/>
                  <a:pt x="219" y="482"/>
                  <a:pt x="220" y="482"/>
                </a:cubicBezTo>
                <a:cubicBezTo>
                  <a:pt x="220" y="483"/>
                  <a:pt x="220" y="483"/>
                  <a:pt x="220" y="484"/>
                </a:cubicBezTo>
                <a:close/>
                <a:moveTo>
                  <a:pt x="219" y="482"/>
                </a:moveTo>
                <a:cubicBezTo>
                  <a:pt x="218" y="481"/>
                  <a:pt x="220" y="479"/>
                  <a:pt x="220" y="480"/>
                </a:cubicBezTo>
                <a:cubicBezTo>
                  <a:pt x="221" y="482"/>
                  <a:pt x="219" y="483"/>
                  <a:pt x="219" y="482"/>
                </a:cubicBezTo>
                <a:close/>
                <a:moveTo>
                  <a:pt x="223" y="478"/>
                </a:moveTo>
                <a:cubicBezTo>
                  <a:pt x="219" y="481"/>
                  <a:pt x="218" y="471"/>
                  <a:pt x="222" y="470"/>
                </a:cubicBezTo>
                <a:cubicBezTo>
                  <a:pt x="220" y="474"/>
                  <a:pt x="224" y="473"/>
                  <a:pt x="224" y="475"/>
                </a:cubicBezTo>
                <a:cubicBezTo>
                  <a:pt x="224" y="475"/>
                  <a:pt x="223" y="477"/>
                  <a:pt x="223" y="478"/>
                </a:cubicBezTo>
                <a:close/>
                <a:moveTo>
                  <a:pt x="226" y="519"/>
                </a:moveTo>
                <a:cubicBezTo>
                  <a:pt x="226" y="519"/>
                  <a:pt x="226" y="519"/>
                  <a:pt x="226" y="519"/>
                </a:cubicBezTo>
                <a:cubicBezTo>
                  <a:pt x="226" y="518"/>
                  <a:pt x="227" y="518"/>
                  <a:pt x="227" y="518"/>
                </a:cubicBezTo>
                <a:cubicBezTo>
                  <a:pt x="226" y="518"/>
                  <a:pt x="226" y="519"/>
                  <a:pt x="226" y="519"/>
                </a:cubicBezTo>
                <a:close/>
                <a:moveTo>
                  <a:pt x="231" y="488"/>
                </a:moveTo>
                <a:cubicBezTo>
                  <a:pt x="232" y="486"/>
                  <a:pt x="234" y="487"/>
                  <a:pt x="231" y="488"/>
                </a:cubicBezTo>
                <a:close/>
                <a:moveTo>
                  <a:pt x="236" y="473"/>
                </a:moveTo>
                <a:cubicBezTo>
                  <a:pt x="236" y="474"/>
                  <a:pt x="238" y="474"/>
                  <a:pt x="236" y="476"/>
                </a:cubicBezTo>
                <a:cubicBezTo>
                  <a:pt x="237" y="475"/>
                  <a:pt x="234" y="476"/>
                  <a:pt x="234" y="476"/>
                </a:cubicBezTo>
                <a:cubicBezTo>
                  <a:pt x="233" y="475"/>
                  <a:pt x="233" y="474"/>
                  <a:pt x="235" y="473"/>
                </a:cubicBezTo>
                <a:cubicBezTo>
                  <a:pt x="233" y="473"/>
                  <a:pt x="231" y="472"/>
                  <a:pt x="231" y="470"/>
                </a:cubicBezTo>
                <a:cubicBezTo>
                  <a:pt x="231" y="467"/>
                  <a:pt x="233" y="465"/>
                  <a:pt x="236" y="464"/>
                </a:cubicBezTo>
                <a:cubicBezTo>
                  <a:pt x="236" y="464"/>
                  <a:pt x="236" y="464"/>
                  <a:pt x="236" y="464"/>
                </a:cubicBezTo>
                <a:cubicBezTo>
                  <a:pt x="237" y="464"/>
                  <a:pt x="238" y="466"/>
                  <a:pt x="238" y="466"/>
                </a:cubicBezTo>
                <a:cubicBezTo>
                  <a:pt x="240" y="467"/>
                  <a:pt x="239" y="462"/>
                  <a:pt x="241" y="463"/>
                </a:cubicBezTo>
                <a:cubicBezTo>
                  <a:pt x="244" y="463"/>
                  <a:pt x="241" y="465"/>
                  <a:pt x="241" y="466"/>
                </a:cubicBezTo>
                <a:cubicBezTo>
                  <a:pt x="240" y="468"/>
                  <a:pt x="242" y="468"/>
                  <a:pt x="239" y="470"/>
                </a:cubicBezTo>
                <a:cubicBezTo>
                  <a:pt x="238" y="470"/>
                  <a:pt x="236" y="473"/>
                  <a:pt x="236" y="473"/>
                </a:cubicBezTo>
                <a:close/>
                <a:moveTo>
                  <a:pt x="232" y="444"/>
                </a:moveTo>
                <a:cubicBezTo>
                  <a:pt x="233" y="444"/>
                  <a:pt x="233" y="443"/>
                  <a:pt x="233" y="444"/>
                </a:cubicBezTo>
                <a:cubicBezTo>
                  <a:pt x="232" y="444"/>
                  <a:pt x="232" y="444"/>
                  <a:pt x="232" y="444"/>
                </a:cubicBezTo>
                <a:close/>
                <a:moveTo>
                  <a:pt x="237" y="453"/>
                </a:moveTo>
                <a:cubicBezTo>
                  <a:pt x="239" y="450"/>
                  <a:pt x="241" y="447"/>
                  <a:pt x="243" y="445"/>
                </a:cubicBezTo>
                <a:cubicBezTo>
                  <a:pt x="242" y="448"/>
                  <a:pt x="240" y="450"/>
                  <a:pt x="237" y="453"/>
                </a:cubicBezTo>
                <a:close/>
                <a:moveTo>
                  <a:pt x="243" y="461"/>
                </a:moveTo>
                <a:cubicBezTo>
                  <a:pt x="242" y="462"/>
                  <a:pt x="243" y="460"/>
                  <a:pt x="243" y="460"/>
                </a:cubicBezTo>
                <a:cubicBezTo>
                  <a:pt x="244" y="460"/>
                  <a:pt x="244" y="461"/>
                  <a:pt x="243" y="461"/>
                </a:cubicBezTo>
                <a:close/>
                <a:moveTo>
                  <a:pt x="238" y="463"/>
                </a:moveTo>
                <a:cubicBezTo>
                  <a:pt x="237" y="462"/>
                  <a:pt x="239" y="461"/>
                  <a:pt x="239" y="462"/>
                </a:cubicBezTo>
                <a:cubicBezTo>
                  <a:pt x="241" y="463"/>
                  <a:pt x="238" y="465"/>
                  <a:pt x="238" y="463"/>
                </a:cubicBezTo>
                <a:close/>
                <a:moveTo>
                  <a:pt x="237" y="446"/>
                </a:moveTo>
                <a:cubicBezTo>
                  <a:pt x="234" y="447"/>
                  <a:pt x="235" y="441"/>
                  <a:pt x="238" y="443"/>
                </a:cubicBezTo>
                <a:cubicBezTo>
                  <a:pt x="239" y="443"/>
                  <a:pt x="237" y="445"/>
                  <a:pt x="237" y="446"/>
                </a:cubicBezTo>
                <a:close/>
                <a:moveTo>
                  <a:pt x="236" y="453"/>
                </a:moveTo>
                <a:cubicBezTo>
                  <a:pt x="236" y="455"/>
                  <a:pt x="234" y="458"/>
                  <a:pt x="233" y="458"/>
                </a:cubicBezTo>
                <a:cubicBezTo>
                  <a:pt x="233" y="458"/>
                  <a:pt x="235" y="454"/>
                  <a:pt x="236" y="453"/>
                </a:cubicBezTo>
                <a:close/>
                <a:moveTo>
                  <a:pt x="234" y="464"/>
                </a:moveTo>
                <a:cubicBezTo>
                  <a:pt x="235" y="462"/>
                  <a:pt x="233" y="465"/>
                  <a:pt x="234" y="464"/>
                </a:cubicBezTo>
                <a:close/>
                <a:moveTo>
                  <a:pt x="241" y="500"/>
                </a:moveTo>
                <a:cubicBezTo>
                  <a:pt x="240" y="501"/>
                  <a:pt x="241" y="499"/>
                  <a:pt x="241" y="499"/>
                </a:cubicBezTo>
                <a:cubicBezTo>
                  <a:pt x="242" y="499"/>
                  <a:pt x="242" y="500"/>
                  <a:pt x="241" y="500"/>
                </a:cubicBezTo>
                <a:close/>
                <a:moveTo>
                  <a:pt x="243" y="497"/>
                </a:moveTo>
                <a:cubicBezTo>
                  <a:pt x="241" y="498"/>
                  <a:pt x="243" y="494"/>
                  <a:pt x="244" y="496"/>
                </a:cubicBezTo>
                <a:cubicBezTo>
                  <a:pt x="244" y="496"/>
                  <a:pt x="243" y="497"/>
                  <a:pt x="243" y="497"/>
                </a:cubicBezTo>
                <a:close/>
                <a:moveTo>
                  <a:pt x="245" y="513"/>
                </a:moveTo>
                <a:cubicBezTo>
                  <a:pt x="246" y="513"/>
                  <a:pt x="244" y="514"/>
                  <a:pt x="245" y="513"/>
                </a:cubicBezTo>
                <a:close/>
                <a:moveTo>
                  <a:pt x="244" y="494"/>
                </a:moveTo>
                <a:cubicBezTo>
                  <a:pt x="245" y="492"/>
                  <a:pt x="249" y="492"/>
                  <a:pt x="248" y="495"/>
                </a:cubicBezTo>
                <a:cubicBezTo>
                  <a:pt x="248" y="497"/>
                  <a:pt x="242" y="497"/>
                  <a:pt x="244" y="494"/>
                </a:cubicBezTo>
                <a:close/>
                <a:moveTo>
                  <a:pt x="248" y="489"/>
                </a:moveTo>
                <a:cubicBezTo>
                  <a:pt x="247" y="488"/>
                  <a:pt x="249" y="488"/>
                  <a:pt x="248" y="489"/>
                </a:cubicBezTo>
                <a:close/>
                <a:moveTo>
                  <a:pt x="249" y="485"/>
                </a:moveTo>
                <a:cubicBezTo>
                  <a:pt x="248" y="486"/>
                  <a:pt x="249" y="483"/>
                  <a:pt x="249" y="484"/>
                </a:cubicBezTo>
                <a:cubicBezTo>
                  <a:pt x="250" y="484"/>
                  <a:pt x="249" y="485"/>
                  <a:pt x="249" y="485"/>
                </a:cubicBezTo>
                <a:close/>
                <a:moveTo>
                  <a:pt x="251" y="501"/>
                </a:moveTo>
                <a:cubicBezTo>
                  <a:pt x="251" y="501"/>
                  <a:pt x="251" y="501"/>
                  <a:pt x="251" y="501"/>
                </a:cubicBezTo>
                <a:cubicBezTo>
                  <a:pt x="251" y="499"/>
                  <a:pt x="252" y="503"/>
                  <a:pt x="251" y="501"/>
                </a:cubicBezTo>
                <a:close/>
                <a:moveTo>
                  <a:pt x="252" y="488"/>
                </a:moveTo>
                <a:cubicBezTo>
                  <a:pt x="252" y="488"/>
                  <a:pt x="251" y="489"/>
                  <a:pt x="251" y="488"/>
                </a:cubicBezTo>
                <a:cubicBezTo>
                  <a:pt x="248" y="485"/>
                  <a:pt x="256" y="486"/>
                  <a:pt x="252" y="488"/>
                </a:cubicBezTo>
                <a:close/>
                <a:moveTo>
                  <a:pt x="252" y="480"/>
                </a:moveTo>
                <a:cubicBezTo>
                  <a:pt x="251" y="480"/>
                  <a:pt x="251" y="480"/>
                  <a:pt x="251" y="480"/>
                </a:cubicBezTo>
                <a:cubicBezTo>
                  <a:pt x="250" y="480"/>
                  <a:pt x="252" y="479"/>
                  <a:pt x="252" y="480"/>
                </a:cubicBezTo>
                <a:close/>
                <a:moveTo>
                  <a:pt x="250" y="475"/>
                </a:moveTo>
                <a:cubicBezTo>
                  <a:pt x="248" y="477"/>
                  <a:pt x="245" y="480"/>
                  <a:pt x="244" y="481"/>
                </a:cubicBezTo>
                <a:cubicBezTo>
                  <a:pt x="242" y="482"/>
                  <a:pt x="241" y="485"/>
                  <a:pt x="239" y="485"/>
                </a:cubicBezTo>
                <a:cubicBezTo>
                  <a:pt x="243" y="480"/>
                  <a:pt x="249" y="474"/>
                  <a:pt x="253" y="470"/>
                </a:cubicBezTo>
                <a:cubicBezTo>
                  <a:pt x="256" y="466"/>
                  <a:pt x="251" y="474"/>
                  <a:pt x="250" y="475"/>
                </a:cubicBezTo>
                <a:close/>
                <a:moveTo>
                  <a:pt x="251" y="410"/>
                </a:moveTo>
                <a:cubicBezTo>
                  <a:pt x="252" y="411"/>
                  <a:pt x="251" y="412"/>
                  <a:pt x="250" y="412"/>
                </a:cubicBezTo>
                <a:cubicBezTo>
                  <a:pt x="248" y="414"/>
                  <a:pt x="248" y="409"/>
                  <a:pt x="251" y="410"/>
                </a:cubicBezTo>
                <a:close/>
                <a:moveTo>
                  <a:pt x="249" y="314"/>
                </a:moveTo>
                <a:cubicBezTo>
                  <a:pt x="250" y="313"/>
                  <a:pt x="251" y="314"/>
                  <a:pt x="251" y="314"/>
                </a:cubicBezTo>
                <a:cubicBezTo>
                  <a:pt x="250" y="315"/>
                  <a:pt x="249" y="314"/>
                  <a:pt x="249" y="314"/>
                </a:cubicBezTo>
                <a:close/>
                <a:moveTo>
                  <a:pt x="250" y="459"/>
                </a:moveTo>
                <a:cubicBezTo>
                  <a:pt x="251" y="458"/>
                  <a:pt x="248" y="460"/>
                  <a:pt x="250" y="459"/>
                </a:cubicBezTo>
                <a:close/>
                <a:moveTo>
                  <a:pt x="254" y="448"/>
                </a:moveTo>
                <a:cubicBezTo>
                  <a:pt x="254" y="447"/>
                  <a:pt x="254" y="450"/>
                  <a:pt x="254" y="448"/>
                </a:cubicBezTo>
                <a:close/>
                <a:moveTo>
                  <a:pt x="254" y="252"/>
                </a:moveTo>
                <a:cubicBezTo>
                  <a:pt x="255" y="252"/>
                  <a:pt x="254" y="253"/>
                  <a:pt x="254" y="254"/>
                </a:cubicBezTo>
                <a:cubicBezTo>
                  <a:pt x="253" y="255"/>
                  <a:pt x="253" y="252"/>
                  <a:pt x="254" y="252"/>
                </a:cubicBezTo>
                <a:close/>
                <a:moveTo>
                  <a:pt x="253" y="418"/>
                </a:moveTo>
                <a:cubicBezTo>
                  <a:pt x="254" y="416"/>
                  <a:pt x="255" y="417"/>
                  <a:pt x="253" y="418"/>
                </a:cubicBezTo>
                <a:close/>
                <a:moveTo>
                  <a:pt x="253" y="419"/>
                </a:moveTo>
                <a:cubicBezTo>
                  <a:pt x="253" y="421"/>
                  <a:pt x="252" y="419"/>
                  <a:pt x="253" y="419"/>
                </a:cubicBezTo>
                <a:close/>
                <a:moveTo>
                  <a:pt x="251" y="212"/>
                </a:moveTo>
                <a:cubicBezTo>
                  <a:pt x="252" y="213"/>
                  <a:pt x="251" y="213"/>
                  <a:pt x="251" y="214"/>
                </a:cubicBezTo>
                <a:cubicBezTo>
                  <a:pt x="250" y="214"/>
                  <a:pt x="251" y="213"/>
                  <a:pt x="251" y="212"/>
                </a:cubicBezTo>
                <a:close/>
                <a:moveTo>
                  <a:pt x="250" y="272"/>
                </a:moveTo>
                <a:cubicBezTo>
                  <a:pt x="250" y="273"/>
                  <a:pt x="250" y="273"/>
                  <a:pt x="249" y="274"/>
                </a:cubicBezTo>
                <a:cubicBezTo>
                  <a:pt x="248" y="275"/>
                  <a:pt x="250" y="272"/>
                  <a:pt x="250" y="272"/>
                </a:cubicBezTo>
                <a:close/>
                <a:moveTo>
                  <a:pt x="249" y="219"/>
                </a:moveTo>
                <a:cubicBezTo>
                  <a:pt x="248" y="218"/>
                  <a:pt x="250" y="217"/>
                  <a:pt x="249" y="219"/>
                </a:cubicBezTo>
                <a:close/>
                <a:moveTo>
                  <a:pt x="250" y="374"/>
                </a:moveTo>
                <a:cubicBezTo>
                  <a:pt x="250" y="374"/>
                  <a:pt x="250" y="376"/>
                  <a:pt x="249" y="376"/>
                </a:cubicBezTo>
                <a:cubicBezTo>
                  <a:pt x="248" y="377"/>
                  <a:pt x="248" y="374"/>
                  <a:pt x="250" y="374"/>
                </a:cubicBezTo>
                <a:close/>
                <a:moveTo>
                  <a:pt x="245" y="428"/>
                </a:moveTo>
                <a:cubicBezTo>
                  <a:pt x="246" y="428"/>
                  <a:pt x="245" y="428"/>
                  <a:pt x="245" y="429"/>
                </a:cubicBezTo>
                <a:cubicBezTo>
                  <a:pt x="244" y="430"/>
                  <a:pt x="244" y="427"/>
                  <a:pt x="245" y="428"/>
                </a:cubicBezTo>
                <a:close/>
                <a:moveTo>
                  <a:pt x="244" y="378"/>
                </a:moveTo>
                <a:cubicBezTo>
                  <a:pt x="245" y="378"/>
                  <a:pt x="244" y="379"/>
                  <a:pt x="243" y="379"/>
                </a:cubicBezTo>
                <a:cubicBezTo>
                  <a:pt x="243" y="378"/>
                  <a:pt x="244" y="378"/>
                  <a:pt x="244" y="378"/>
                </a:cubicBezTo>
                <a:close/>
                <a:moveTo>
                  <a:pt x="243" y="406"/>
                </a:moveTo>
                <a:cubicBezTo>
                  <a:pt x="246" y="408"/>
                  <a:pt x="243" y="412"/>
                  <a:pt x="242" y="413"/>
                </a:cubicBezTo>
                <a:cubicBezTo>
                  <a:pt x="237" y="414"/>
                  <a:pt x="239" y="404"/>
                  <a:pt x="243" y="406"/>
                </a:cubicBezTo>
                <a:close/>
                <a:moveTo>
                  <a:pt x="236" y="275"/>
                </a:moveTo>
                <a:cubicBezTo>
                  <a:pt x="237" y="275"/>
                  <a:pt x="237" y="277"/>
                  <a:pt x="236" y="278"/>
                </a:cubicBezTo>
                <a:cubicBezTo>
                  <a:pt x="235" y="279"/>
                  <a:pt x="235" y="275"/>
                  <a:pt x="236" y="275"/>
                </a:cubicBezTo>
                <a:close/>
                <a:moveTo>
                  <a:pt x="236" y="430"/>
                </a:moveTo>
                <a:cubicBezTo>
                  <a:pt x="235" y="431"/>
                  <a:pt x="235" y="429"/>
                  <a:pt x="236" y="429"/>
                </a:cubicBezTo>
                <a:cubicBezTo>
                  <a:pt x="237" y="429"/>
                  <a:pt x="236" y="430"/>
                  <a:pt x="236" y="430"/>
                </a:cubicBezTo>
                <a:close/>
                <a:moveTo>
                  <a:pt x="236" y="371"/>
                </a:moveTo>
                <a:cubicBezTo>
                  <a:pt x="237" y="370"/>
                  <a:pt x="235" y="372"/>
                  <a:pt x="236" y="371"/>
                </a:cubicBezTo>
                <a:close/>
                <a:moveTo>
                  <a:pt x="236" y="412"/>
                </a:moveTo>
                <a:cubicBezTo>
                  <a:pt x="237" y="413"/>
                  <a:pt x="235" y="414"/>
                  <a:pt x="235" y="415"/>
                </a:cubicBezTo>
                <a:cubicBezTo>
                  <a:pt x="234" y="416"/>
                  <a:pt x="235" y="411"/>
                  <a:pt x="236" y="412"/>
                </a:cubicBezTo>
                <a:close/>
                <a:moveTo>
                  <a:pt x="236" y="431"/>
                </a:moveTo>
                <a:cubicBezTo>
                  <a:pt x="240" y="431"/>
                  <a:pt x="238" y="437"/>
                  <a:pt x="234" y="438"/>
                </a:cubicBezTo>
                <a:cubicBezTo>
                  <a:pt x="233" y="438"/>
                  <a:pt x="230" y="438"/>
                  <a:pt x="231" y="435"/>
                </a:cubicBezTo>
                <a:cubicBezTo>
                  <a:pt x="231" y="433"/>
                  <a:pt x="232" y="434"/>
                  <a:pt x="234" y="433"/>
                </a:cubicBezTo>
                <a:cubicBezTo>
                  <a:pt x="234" y="432"/>
                  <a:pt x="234" y="431"/>
                  <a:pt x="236" y="431"/>
                </a:cubicBezTo>
                <a:close/>
                <a:moveTo>
                  <a:pt x="234" y="353"/>
                </a:moveTo>
                <a:cubicBezTo>
                  <a:pt x="232" y="355"/>
                  <a:pt x="235" y="352"/>
                  <a:pt x="234" y="353"/>
                </a:cubicBezTo>
                <a:close/>
                <a:moveTo>
                  <a:pt x="233" y="336"/>
                </a:moveTo>
                <a:cubicBezTo>
                  <a:pt x="233" y="336"/>
                  <a:pt x="233" y="337"/>
                  <a:pt x="232" y="337"/>
                </a:cubicBezTo>
                <a:cubicBezTo>
                  <a:pt x="231" y="338"/>
                  <a:pt x="232" y="335"/>
                  <a:pt x="233" y="336"/>
                </a:cubicBezTo>
                <a:close/>
                <a:moveTo>
                  <a:pt x="232" y="409"/>
                </a:moveTo>
                <a:cubicBezTo>
                  <a:pt x="232" y="409"/>
                  <a:pt x="232" y="409"/>
                  <a:pt x="232" y="409"/>
                </a:cubicBezTo>
                <a:cubicBezTo>
                  <a:pt x="230" y="410"/>
                  <a:pt x="233" y="407"/>
                  <a:pt x="232" y="409"/>
                </a:cubicBezTo>
                <a:close/>
                <a:moveTo>
                  <a:pt x="230" y="395"/>
                </a:moveTo>
                <a:cubicBezTo>
                  <a:pt x="231" y="394"/>
                  <a:pt x="231" y="395"/>
                  <a:pt x="231" y="395"/>
                </a:cubicBezTo>
                <a:cubicBezTo>
                  <a:pt x="231" y="395"/>
                  <a:pt x="230" y="395"/>
                  <a:pt x="230" y="395"/>
                </a:cubicBezTo>
                <a:close/>
                <a:moveTo>
                  <a:pt x="230" y="490"/>
                </a:moveTo>
                <a:cubicBezTo>
                  <a:pt x="230" y="490"/>
                  <a:pt x="230" y="490"/>
                  <a:pt x="230" y="490"/>
                </a:cubicBezTo>
                <a:cubicBezTo>
                  <a:pt x="230" y="490"/>
                  <a:pt x="231" y="489"/>
                  <a:pt x="230" y="490"/>
                </a:cubicBezTo>
                <a:close/>
                <a:moveTo>
                  <a:pt x="230" y="495"/>
                </a:moveTo>
                <a:cubicBezTo>
                  <a:pt x="230" y="498"/>
                  <a:pt x="226" y="498"/>
                  <a:pt x="225" y="501"/>
                </a:cubicBezTo>
                <a:cubicBezTo>
                  <a:pt x="225" y="498"/>
                  <a:pt x="228" y="496"/>
                  <a:pt x="230" y="495"/>
                </a:cubicBezTo>
                <a:close/>
                <a:moveTo>
                  <a:pt x="225" y="486"/>
                </a:moveTo>
                <a:cubicBezTo>
                  <a:pt x="226" y="485"/>
                  <a:pt x="227" y="487"/>
                  <a:pt x="225" y="486"/>
                </a:cubicBezTo>
                <a:close/>
                <a:moveTo>
                  <a:pt x="223" y="437"/>
                </a:moveTo>
                <a:cubicBezTo>
                  <a:pt x="222" y="438"/>
                  <a:pt x="223" y="435"/>
                  <a:pt x="223" y="435"/>
                </a:cubicBezTo>
                <a:cubicBezTo>
                  <a:pt x="224" y="436"/>
                  <a:pt x="223" y="437"/>
                  <a:pt x="223" y="437"/>
                </a:cubicBezTo>
                <a:close/>
                <a:moveTo>
                  <a:pt x="223" y="313"/>
                </a:moveTo>
                <a:cubicBezTo>
                  <a:pt x="224" y="313"/>
                  <a:pt x="223" y="315"/>
                  <a:pt x="223" y="316"/>
                </a:cubicBezTo>
                <a:cubicBezTo>
                  <a:pt x="219" y="317"/>
                  <a:pt x="220" y="312"/>
                  <a:pt x="223" y="313"/>
                </a:cubicBezTo>
                <a:close/>
                <a:moveTo>
                  <a:pt x="219" y="387"/>
                </a:moveTo>
                <a:cubicBezTo>
                  <a:pt x="219" y="389"/>
                  <a:pt x="220" y="388"/>
                  <a:pt x="220" y="389"/>
                </a:cubicBezTo>
                <a:cubicBezTo>
                  <a:pt x="222" y="391"/>
                  <a:pt x="219" y="394"/>
                  <a:pt x="218" y="392"/>
                </a:cubicBezTo>
                <a:cubicBezTo>
                  <a:pt x="216" y="391"/>
                  <a:pt x="218" y="389"/>
                  <a:pt x="219" y="387"/>
                </a:cubicBezTo>
                <a:close/>
                <a:moveTo>
                  <a:pt x="213" y="346"/>
                </a:moveTo>
                <a:cubicBezTo>
                  <a:pt x="213" y="348"/>
                  <a:pt x="211" y="346"/>
                  <a:pt x="213" y="346"/>
                </a:cubicBezTo>
                <a:close/>
                <a:moveTo>
                  <a:pt x="216" y="395"/>
                </a:moveTo>
                <a:cubicBezTo>
                  <a:pt x="215" y="395"/>
                  <a:pt x="215" y="396"/>
                  <a:pt x="215" y="396"/>
                </a:cubicBezTo>
                <a:cubicBezTo>
                  <a:pt x="214" y="396"/>
                  <a:pt x="215" y="394"/>
                  <a:pt x="216" y="395"/>
                </a:cubicBezTo>
                <a:close/>
                <a:moveTo>
                  <a:pt x="214" y="449"/>
                </a:moveTo>
                <a:cubicBezTo>
                  <a:pt x="214" y="450"/>
                  <a:pt x="215" y="447"/>
                  <a:pt x="214" y="449"/>
                </a:cubicBezTo>
                <a:close/>
                <a:moveTo>
                  <a:pt x="214" y="417"/>
                </a:moveTo>
                <a:cubicBezTo>
                  <a:pt x="215" y="418"/>
                  <a:pt x="213" y="419"/>
                  <a:pt x="214" y="417"/>
                </a:cubicBezTo>
                <a:close/>
                <a:moveTo>
                  <a:pt x="213" y="341"/>
                </a:moveTo>
                <a:cubicBezTo>
                  <a:pt x="213" y="343"/>
                  <a:pt x="211" y="341"/>
                  <a:pt x="213" y="341"/>
                </a:cubicBezTo>
                <a:close/>
                <a:moveTo>
                  <a:pt x="211" y="453"/>
                </a:moveTo>
                <a:cubicBezTo>
                  <a:pt x="211" y="454"/>
                  <a:pt x="210" y="451"/>
                  <a:pt x="211" y="451"/>
                </a:cubicBezTo>
                <a:cubicBezTo>
                  <a:pt x="211" y="451"/>
                  <a:pt x="212" y="452"/>
                  <a:pt x="211" y="453"/>
                </a:cubicBezTo>
                <a:close/>
                <a:moveTo>
                  <a:pt x="211" y="238"/>
                </a:moveTo>
                <a:cubicBezTo>
                  <a:pt x="211" y="238"/>
                  <a:pt x="211" y="238"/>
                  <a:pt x="211" y="238"/>
                </a:cubicBezTo>
                <a:cubicBezTo>
                  <a:pt x="211" y="238"/>
                  <a:pt x="212" y="237"/>
                  <a:pt x="211" y="238"/>
                </a:cubicBezTo>
                <a:close/>
                <a:moveTo>
                  <a:pt x="211" y="409"/>
                </a:moveTo>
                <a:cubicBezTo>
                  <a:pt x="210" y="408"/>
                  <a:pt x="212" y="408"/>
                  <a:pt x="211" y="409"/>
                </a:cubicBezTo>
                <a:close/>
                <a:moveTo>
                  <a:pt x="210" y="299"/>
                </a:moveTo>
                <a:cubicBezTo>
                  <a:pt x="210" y="299"/>
                  <a:pt x="210" y="299"/>
                  <a:pt x="210" y="298"/>
                </a:cubicBezTo>
                <a:cubicBezTo>
                  <a:pt x="210" y="299"/>
                  <a:pt x="209" y="299"/>
                  <a:pt x="209" y="299"/>
                </a:cubicBezTo>
                <a:cubicBezTo>
                  <a:pt x="209" y="299"/>
                  <a:pt x="210" y="299"/>
                  <a:pt x="210" y="299"/>
                </a:cubicBezTo>
                <a:close/>
                <a:moveTo>
                  <a:pt x="209" y="464"/>
                </a:moveTo>
                <a:cubicBezTo>
                  <a:pt x="209" y="465"/>
                  <a:pt x="209" y="462"/>
                  <a:pt x="209" y="464"/>
                </a:cubicBezTo>
                <a:close/>
                <a:moveTo>
                  <a:pt x="201" y="445"/>
                </a:moveTo>
                <a:cubicBezTo>
                  <a:pt x="200" y="446"/>
                  <a:pt x="200" y="443"/>
                  <a:pt x="201" y="443"/>
                </a:cubicBezTo>
                <a:cubicBezTo>
                  <a:pt x="202" y="443"/>
                  <a:pt x="201" y="444"/>
                  <a:pt x="201" y="445"/>
                </a:cubicBezTo>
                <a:close/>
                <a:moveTo>
                  <a:pt x="202" y="438"/>
                </a:moveTo>
                <a:cubicBezTo>
                  <a:pt x="201" y="438"/>
                  <a:pt x="202" y="437"/>
                  <a:pt x="203" y="437"/>
                </a:cubicBezTo>
                <a:cubicBezTo>
                  <a:pt x="203" y="437"/>
                  <a:pt x="203" y="438"/>
                  <a:pt x="202" y="438"/>
                </a:cubicBezTo>
                <a:close/>
                <a:moveTo>
                  <a:pt x="201" y="428"/>
                </a:moveTo>
                <a:cubicBezTo>
                  <a:pt x="201" y="430"/>
                  <a:pt x="201" y="435"/>
                  <a:pt x="199" y="435"/>
                </a:cubicBezTo>
                <a:cubicBezTo>
                  <a:pt x="198" y="436"/>
                  <a:pt x="197" y="436"/>
                  <a:pt x="197" y="434"/>
                </a:cubicBezTo>
                <a:cubicBezTo>
                  <a:pt x="198" y="432"/>
                  <a:pt x="203" y="423"/>
                  <a:pt x="203" y="423"/>
                </a:cubicBezTo>
                <a:cubicBezTo>
                  <a:pt x="205" y="424"/>
                  <a:pt x="202" y="427"/>
                  <a:pt x="201" y="428"/>
                </a:cubicBezTo>
                <a:close/>
                <a:moveTo>
                  <a:pt x="204" y="400"/>
                </a:moveTo>
                <a:cubicBezTo>
                  <a:pt x="202" y="401"/>
                  <a:pt x="203" y="398"/>
                  <a:pt x="204" y="399"/>
                </a:cubicBezTo>
                <a:cubicBezTo>
                  <a:pt x="204" y="399"/>
                  <a:pt x="204" y="400"/>
                  <a:pt x="204" y="400"/>
                </a:cubicBezTo>
                <a:close/>
                <a:moveTo>
                  <a:pt x="204" y="455"/>
                </a:moveTo>
                <a:cubicBezTo>
                  <a:pt x="204" y="455"/>
                  <a:pt x="206" y="455"/>
                  <a:pt x="205" y="456"/>
                </a:cubicBezTo>
                <a:cubicBezTo>
                  <a:pt x="205" y="457"/>
                  <a:pt x="204" y="456"/>
                  <a:pt x="204" y="455"/>
                </a:cubicBezTo>
                <a:close/>
                <a:moveTo>
                  <a:pt x="205" y="428"/>
                </a:moveTo>
                <a:cubicBezTo>
                  <a:pt x="206" y="428"/>
                  <a:pt x="206" y="429"/>
                  <a:pt x="205" y="430"/>
                </a:cubicBezTo>
                <a:cubicBezTo>
                  <a:pt x="204" y="430"/>
                  <a:pt x="205" y="428"/>
                  <a:pt x="205" y="428"/>
                </a:cubicBezTo>
                <a:close/>
                <a:moveTo>
                  <a:pt x="206" y="456"/>
                </a:moveTo>
                <a:cubicBezTo>
                  <a:pt x="207" y="456"/>
                  <a:pt x="206" y="457"/>
                  <a:pt x="206" y="457"/>
                </a:cubicBezTo>
                <a:cubicBezTo>
                  <a:pt x="205" y="457"/>
                  <a:pt x="206" y="456"/>
                  <a:pt x="206" y="456"/>
                </a:cubicBezTo>
                <a:close/>
                <a:moveTo>
                  <a:pt x="206" y="467"/>
                </a:moveTo>
                <a:cubicBezTo>
                  <a:pt x="207" y="468"/>
                  <a:pt x="205" y="469"/>
                  <a:pt x="206" y="467"/>
                </a:cubicBezTo>
                <a:close/>
                <a:moveTo>
                  <a:pt x="206" y="465"/>
                </a:moveTo>
                <a:cubicBezTo>
                  <a:pt x="206" y="465"/>
                  <a:pt x="208" y="465"/>
                  <a:pt x="208" y="465"/>
                </a:cubicBezTo>
                <a:cubicBezTo>
                  <a:pt x="208" y="466"/>
                  <a:pt x="205" y="466"/>
                  <a:pt x="206" y="465"/>
                </a:cubicBezTo>
                <a:close/>
                <a:moveTo>
                  <a:pt x="207" y="448"/>
                </a:moveTo>
                <a:cubicBezTo>
                  <a:pt x="208" y="447"/>
                  <a:pt x="208" y="448"/>
                  <a:pt x="208" y="449"/>
                </a:cubicBezTo>
                <a:cubicBezTo>
                  <a:pt x="208" y="450"/>
                  <a:pt x="207" y="448"/>
                  <a:pt x="207" y="448"/>
                </a:cubicBezTo>
                <a:close/>
                <a:moveTo>
                  <a:pt x="206" y="415"/>
                </a:moveTo>
                <a:cubicBezTo>
                  <a:pt x="205" y="416"/>
                  <a:pt x="207" y="413"/>
                  <a:pt x="206" y="415"/>
                </a:cubicBezTo>
                <a:close/>
                <a:moveTo>
                  <a:pt x="204" y="380"/>
                </a:moveTo>
                <a:cubicBezTo>
                  <a:pt x="206" y="379"/>
                  <a:pt x="207" y="384"/>
                  <a:pt x="205" y="385"/>
                </a:cubicBezTo>
                <a:cubicBezTo>
                  <a:pt x="202" y="386"/>
                  <a:pt x="202" y="381"/>
                  <a:pt x="204" y="380"/>
                </a:cubicBezTo>
                <a:close/>
                <a:moveTo>
                  <a:pt x="203" y="416"/>
                </a:moveTo>
                <a:cubicBezTo>
                  <a:pt x="203" y="417"/>
                  <a:pt x="203" y="417"/>
                  <a:pt x="202" y="418"/>
                </a:cubicBezTo>
                <a:cubicBezTo>
                  <a:pt x="201" y="419"/>
                  <a:pt x="202" y="416"/>
                  <a:pt x="203" y="416"/>
                </a:cubicBezTo>
                <a:close/>
                <a:moveTo>
                  <a:pt x="202" y="401"/>
                </a:moveTo>
                <a:cubicBezTo>
                  <a:pt x="202" y="402"/>
                  <a:pt x="201" y="403"/>
                  <a:pt x="201" y="403"/>
                </a:cubicBezTo>
                <a:cubicBezTo>
                  <a:pt x="200" y="404"/>
                  <a:pt x="201" y="401"/>
                  <a:pt x="202" y="401"/>
                </a:cubicBezTo>
                <a:close/>
                <a:moveTo>
                  <a:pt x="200" y="405"/>
                </a:moveTo>
                <a:cubicBezTo>
                  <a:pt x="200" y="406"/>
                  <a:pt x="200" y="406"/>
                  <a:pt x="199" y="407"/>
                </a:cubicBezTo>
                <a:cubicBezTo>
                  <a:pt x="199" y="407"/>
                  <a:pt x="199" y="405"/>
                  <a:pt x="200" y="405"/>
                </a:cubicBezTo>
                <a:close/>
                <a:moveTo>
                  <a:pt x="198" y="419"/>
                </a:moveTo>
                <a:cubicBezTo>
                  <a:pt x="197" y="421"/>
                  <a:pt x="198" y="418"/>
                  <a:pt x="198" y="418"/>
                </a:cubicBezTo>
                <a:cubicBezTo>
                  <a:pt x="198" y="418"/>
                  <a:pt x="198" y="419"/>
                  <a:pt x="198" y="419"/>
                </a:cubicBezTo>
                <a:close/>
                <a:moveTo>
                  <a:pt x="198" y="411"/>
                </a:moveTo>
                <a:cubicBezTo>
                  <a:pt x="198" y="413"/>
                  <a:pt x="197" y="415"/>
                  <a:pt x="196" y="416"/>
                </a:cubicBezTo>
                <a:cubicBezTo>
                  <a:pt x="195" y="415"/>
                  <a:pt x="197" y="412"/>
                  <a:pt x="198" y="411"/>
                </a:cubicBezTo>
                <a:close/>
                <a:moveTo>
                  <a:pt x="196" y="426"/>
                </a:moveTo>
                <a:cubicBezTo>
                  <a:pt x="196" y="426"/>
                  <a:pt x="196" y="427"/>
                  <a:pt x="195" y="427"/>
                </a:cubicBezTo>
                <a:cubicBezTo>
                  <a:pt x="194" y="428"/>
                  <a:pt x="195" y="426"/>
                  <a:pt x="196" y="426"/>
                </a:cubicBezTo>
                <a:close/>
                <a:moveTo>
                  <a:pt x="75" y="451"/>
                </a:moveTo>
                <a:cubicBezTo>
                  <a:pt x="74" y="451"/>
                  <a:pt x="74" y="449"/>
                  <a:pt x="75" y="449"/>
                </a:cubicBezTo>
                <a:cubicBezTo>
                  <a:pt x="75" y="450"/>
                  <a:pt x="75" y="450"/>
                  <a:pt x="75" y="451"/>
                </a:cubicBezTo>
                <a:close/>
                <a:moveTo>
                  <a:pt x="84" y="417"/>
                </a:moveTo>
                <a:cubicBezTo>
                  <a:pt x="86" y="416"/>
                  <a:pt x="89" y="422"/>
                  <a:pt x="86" y="423"/>
                </a:cubicBezTo>
                <a:cubicBezTo>
                  <a:pt x="82" y="425"/>
                  <a:pt x="82" y="417"/>
                  <a:pt x="84" y="417"/>
                </a:cubicBezTo>
                <a:close/>
                <a:moveTo>
                  <a:pt x="82" y="401"/>
                </a:moveTo>
                <a:cubicBezTo>
                  <a:pt x="82" y="402"/>
                  <a:pt x="83" y="398"/>
                  <a:pt x="82" y="401"/>
                </a:cubicBezTo>
                <a:close/>
                <a:moveTo>
                  <a:pt x="88" y="429"/>
                </a:moveTo>
                <a:cubicBezTo>
                  <a:pt x="88" y="428"/>
                  <a:pt x="88" y="428"/>
                  <a:pt x="88" y="427"/>
                </a:cubicBezTo>
                <a:cubicBezTo>
                  <a:pt x="87" y="427"/>
                  <a:pt x="86" y="427"/>
                  <a:pt x="87" y="426"/>
                </a:cubicBezTo>
                <a:cubicBezTo>
                  <a:pt x="87" y="426"/>
                  <a:pt x="87" y="426"/>
                  <a:pt x="88" y="426"/>
                </a:cubicBezTo>
                <a:cubicBezTo>
                  <a:pt x="88" y="423"/>
                  <a:pt x="90" y="418"/>
                  <a:pt x="90" y="418"/>
                </a:cubicBezTo>
                <a:cubicBezTo>
                  <a:pt x="91" y="419"/>
                  <a:pt x="88" y="426"/>
                  <a:pt x="88" y="429"/>
                </a:cubicBezTo>
                <a:close/>
                <a:moveTo>
                  <a:pt x="88" y="449"/>
                </a:moveTo>
                <a:cubicBezTo>
                  <a:pt x="87" y="449"/>
                  <a:pt x="89" y="448"/>
                  <a:pt x="88" y="449"/>
                </a:cubicBezTo>
                <a:close/>
                <a:moveTo>
                  <a:pt x="85" y="448"/>
                </a:moveTo>
                <a:cubicBezTo>
                  <a:pt x="84" y="450"/>
                  <a:pt x="84" y="446"/>
                  <a:pt x="85" y="446"/>
                </a:cubicBezTo>
                <a:cubicBezTo>
                  <a:pt x="86" y="447"/>
                  <a:pt x="86" y="448"/>
                  <a:pt x="85" y="448"/>
                </a:cubicBezTo>
                <a:close/>
                <a:moveTo>
                  <a:pt x="86" y="437"/>
                </a:moveTo>
                <a:cubicBezTo>
                  <a:pt x="83" y="434"/>
                  <a:pt x="90" y="436"/>
                  <a:pt x="86" y="437"/>
                </a:cubicBezTo>
                <a:cubicBezTo>
                  <a:pt x="86" y="437"/>
                  <a:pt x="86" y="438"/>
                  <a:pt x="86" y="437"/>
                </a:cubicBezTo>
                <a:close/>
                <a:moveTo>
                  <a:pt x="88" y="451"/>
                </a:moveTo>
                <a:cubicBezTo>
                  <a:pt x="88" y="451"/>
                  <a:pt x="88" y="452"/>
                  <a:pt x="88" y="452"/>
                </a:cubicBezTo>
                <a:cubicBezTo>
                  <a:pt x="87" y="453"/>
                  <a:pt x="87" y="451"/>
                  <a:pt x="88" y="451"/>
                </a:cubicBezTo>
                <a:close/>
                <a:moveTo>
                  <a:pt x="88" y="462"/>
                </a:moveTo>
                <a:cubicBezTo>
                  <a:pt x="88" y="460"/>
                  <a:pt x="86" y="457"/>
                  <a:pt x="89" y="457"/>
                </a:cubicBezTo>
                <a:cubicBezTo>
                  <a:pt x="93" y="456"/>
                  <a:pt x="88" y="463"/>
                  <a:pt x="88" y="462"/>
                </a:cubicBezTo>
                <a:close/>
                <a:moveTo>
                  <a:pt x="91" y="450"/>
                </a:moveTo>
                <a:cubicBezTo>
                  <a:pt x="90" y="451"/>
                  <a:pt x="90" y="450"/>
                  <a:pt x="90" y="449"/>
                </a:cubicBezTo>
                <a:cubicBezTo>
                  <a:pt x="90" y="449"/>
                  <a:pt x="91" y="450"/>
                  <a:pt x="91" y="450"/>
                </a:cubicBezTo>
                <a:close/>
                <a:moveTo>
                  <a:pt x="92" y="442"/>
                </a:moveTo>
                <a:cubicBezTo>
                  <a:pt x="91" y="443"/>
                  <a:pt x="89" y="440"/>
                  <a:pt x="90" y="440"/>
                </a:cubicBezTo>
                <a:cubicBezTo>
                  <a:pt x="91" y="439"/>
                  <a:pt x="93" y="441"/>
                  <a:pt x="92" y="442"/>
                </a:cubicBezTo>
                <a:close/>
                <a:moveTo>
                  <a:pt x="92" y="428"/>
                </a:moveTo>
                <a:cubicBezTo>
                  <a:pt x="93" y="429"/>
                  <a:pt x="93" y="430"/>
                  <a:pt x="93" y="431"/>
                </a:cubicBezTo>
                <a:cubicBezTo>
                  <a:pt x="91" y="432"/>
                  <a:pt x="91" y="428"/>
                  <a:pt x="92" y="428"/>
                </a:cubicBezTo>
                <a:close/>
                <a:moveTo>
                  <a:pt x="92" y="416"/>
                </a:moveTo>
                <a:cubicBezTo>
                  <a:pt x="93" y="416"/>
                  <a:pt x="93" y="417"/>
                  <a:pt x="93" y="417"/>
                </a:cubicBezTo>
                <a:cubicBezTo>
                  <a:pt x="92" y="418"/>
                  <a:pt x="92" y="416"/>
                  <a:pt x="92" y="416"/>
                </a:cubicBezTo>
                <a:close/>
                <a:moveTo>
                  <a:pt x="97" y="465"/>
                </a:moveTo>
                <a:cubicBezTo>
                  <a:pt x="96" y="466"/>
                  <a:pt x="96" y="463"/>
                  <a:pt x="97" y="463"/>
                </a:cubicBezTo>
                <a:cubicBezTo>
                  <a:pt x="98" y="463"/>
                  <a:pt x="98" y="465"/>
                  <a:pt x="97" y="465"/>
                </a:cubicBezTo>
                <a:close/>
                <a:moveTo>
                  <a:pt x="95" y="461"/>
                </a:moveTo>
                <a:cubicBezTo>
                  <a:pt x="96" y="462"/>
                  <a:pt x="99" y="462"/>
                  <a:pt x="96" y="463"/>
                </a:cubicBezTo>
                <a:cubicBezTo>
                  <a:pt x="95" y="463"/>
                  <a:pt x="94" y="463"/>
                  <a:pt x="93" y="462"/>
                </a:cubicBezTo>
                <a:cubicBezTo>
                  <a:pt x="93" y="462"/>
                  <a:pt x="94" y="459"/>
                  <a:pt x="94" y="460"/>
                </a:cubicBezTo>
                <a:cubicBezTo>
                  <a:pt x="96" y="458"/>
                  <a:pt x="95" y="461"/>
                  <a:pt x="95" y="461"/>
                </a:cubicBezTo>
                <a:close/>
                <a:moveTo>
                  <a:pt x="103" y="430"/>
                </a:moveTo>
                <a:cubicBezTo>
                  <a:pt x="104" y="431"/>
                  <a:pt x="101" y="432"/>
                  <a:pt x="103" y="430"/>
                </a:cubicBezTo>
                <a:close/>
                <a:moveTo>
                  <a:pt x="107" y="428"/>
                </a:moveTo>
                <a:cubicBezTo>
                  <a:pt x="106" y="429"/>
                  <a:pt x="105" y="426"/>
                  <a:pt x="107" y="427"/>
                </a:cubicBezTo>
                <a:cubicBezTo>
                  <a:pt x="108" y="427"/>
                  <a:pt x="107" y="428"/>
                  <a:pt x="107" y="428"/>
                </a:cubicBezTo>
                <a:close/>
                <a:moveTo>
                  <a:pt x="112" y="444"/>
                </a:moveTo>
                <a:cubicBezTo>
                  <a:pt x="111" y="442"/>
                  <a:pt x="112" y="441"/>
                  <a:pt x="112" y="444"/>
                </a:cubicBezTo>
                <a:close/>
                <a:moveTo>
                  <a:pt x="113" y="428"/>
                </a:moveTo>
                <a:cubicBezTo>
                  <a:pt x="112" y="429"/>
                  <a:pt x="112" y="426"/>
                  <a:pt x="113" y="427"/>
                </a:cubicBezTo>
                <a:cubicBezTo>
                  <a:pt x="113" y="427"/>
                  <a:pt x="113" y="428"/>
                  <a:pt x="113" y="428"/>
                </a:cubicBezTo>
                <a:close/>
                <a:moveTo>
                  <a:pt x="114" y="420"/>
                </a:moveTo>
                <a:cubicBezTo>
                  <a:pt x="112" y="420"/>
                  <a:pt x="113" y="419"/>
                  <a:pt x="112" y="418"/>
                </a:cubicBezTo>
                <a:cubicBezTo>
                  <a:pt x="111" y="418"/>
                  <a:pt x="111" y="419"/>
                  <a:pt x="110" y="419"/>
                </a:cubicBezTo>
                <a:cubicBezTo>
                  <a:pt x="109" y="417"/>
                  <a:pt x="108" y="407"/>
                  <a:pt x="111" y="406"/>
                </a:cubicBezTo>
                <a:cubicBezTo>
                  <a:pt x="111" y="406"/>
                  <a:pt x="113" y="408"/>
                  <a:pt x="114" y="406"/>
                </a:cubicBezTo>
                <a:cubicBezTo>
                  <a:pt x="114" y="404"/>
                  <a:pt x="117" y="415"/>
                  <a:pt x="117" y="418"/>
                </a:cubicBezTo>
                <a:cubicBezTo>
                  <a:pt x="115" y="416"/>
                  <a:pt x="114" y="420"/>
                  <a:pt x="114" y="420"/>
                </a:cubicBezTo>
                <a:close/>
                <a:moveTo>
                  <a:pt x="108" y="393"/>
                </a:moveTo>
                <a:cubicBezTo>
                  <a:pt x="110" y="393"/>
                  <a:pt x="112" y="398"/>
                  <a:pt x="109" y="399"/>
                </a:cubicBezTo>
                <a:cubicBezTo>
                  <a:pt x="106" y="401"/>
                  <a:pt x="106" y="394"/>
                  <a:pt x="108" y="393"/>
                </a:cubicBezTo>
                <a:close/>
                <a:moveTo>
                  <a:pt x="113" y="402"/>
                </a:moveTo>
                <a:cubicBezTo>
                  <a:pt x="112" y="403"/>
                  <a:pt x="112" y="405"/>
                  <a:pt x="111" y="406"/>
                </a:cubicBezTo>
                <a:cubicBezTo>
                  <a:pt x="110" y="405"/>
                  <a:pt x="111" y="402"/>
                  <a:pt x="113" y="402"/>
                </a:cubicBezTo>
                <a:close/>
                <a:moveTo>
                  <a:pt x="112" y="359"/>
                </a:moveTo>
                <a:cubicBezTo>
                  <a:pt x="110" y="359"/>
                  <a:pt x="113" y="358"/>
                  <a:pt x="112" y="359"/>
                </a:cubicBezTo>
                <a:close/>
                <a:moveTo>
                  <a:pt x="115" y="382"/>
                </a:moveTo>
                <a:cubicBezTo>
                  <a:pt x="115" y="382"/>
                  <a:pt x="117" y="385"/>
                  <a:pt x="116" y="386"/>
                </a:cubicBezTo>
                <a:cubicBezTo>
                  <a:pt x="116" y="389"/>
                  <a:pt x="113" y="387"/>
                  <a:pt x="114" y="390"/>
                </a:cubicBezTo>
                <a:cubicBezTo>
                  <a:pt x="113" y="390"/>
                  <a:pt x="113" y="390"/>
                  <a:pt x="113" y="390"/>
                </a:cubicBezTo>
                <a:cubicBezTo>
                  <a:pt x="113" y="387"/>
                  <a:pt x="111" y="381"/>
                  <a:pt x="115" y="382"/>
                </a:cubicBezTo>
                <a:close/>
                <a:moveTo>
                  <a:pt x="113" y="361"/>
                </a:moveTo>
                <a:cubicBezTo>
                  <a:pt x="114" y="362"/>
                  <a:pt x="112" y="363"/>
                  <a:pt x="113" y="361"/>
                </a:cubicBezTo>
                <a:close/>
                <a:moveTo>
                  <a:pt x="117" y="394"/>
                </a:moveTo>
                <a:cubicBezTo>
                  <a:pt x="116" y="395"/>
                  <a:pt x="116" y="393"/>
                  <a:pt x="116" y="393"/>
                </a:cubicBezTo>
                <a:cubicBezTo>
                  <a:pt x="117" y="392"/>
                  <a:pt x="117" y="394"/>
                  <a:pt x="117" y="394"/>
                </a:cubicBezTo>
                <a:close/>
                <a:moveTo>
                  <a:pt x="115" y="440"/>
                </a:moveTo>
                <a:cubicBezTo>
                  <a:pt x="114" y="439"/>
                  <a:pt x="116" y="439"/>
                  <a:pt x="115" y="440"/>
                </a:cubicBezTo>
                <a:close/>
                <a:moveTo>
                  <a:pt x="117" y="429"/>
                </a:moveTo>
                <a:cubicBezTo>
                  <a:pt x="116" y="430"/>
                  <a:pt x="115" y="424"/>
                  <a:pt x="116" y="423"/>
                </a:cubicBezTo>
                <a:cubicBezTo>
                  <a:pt x="117" y="424"/>
                  <a:pt x="118" y="429"/>
                  <a:pt x="117" y="429"/>
                </a:cubicBezTo>
                <a:close/>
                <a:moveTo>
                  <a:pt x="122" y="437"/>
                </a:moveTo>
                <a:cubicBezTo>
                  <a:pt x="121" y="438"/>
                  <a:pt x="123" y="435"/>
                  <a:pt x="122" y="437"/>
                </a:cubicBezTo>
                <a:close/>
                <a:moveTo>
                  <a:pt x="121" y="400"/>
                </a:moveTo>
                <a:cubicBezTo>
                  <a:pt x="122" y="400"/>
                  <a:pt x="123" y="405"/>
                  <a:pt x="122" y="406"/>
                </a:cubicBezTo>
                <a:cubicBezTo>
                  <a:pt x="119" y="407"/>
                  <a:pt x="121" y="400"/>
                  <a:pt x="121" y="400"/>
                </a:cubicBezTo>
                <a:close/>
                <a:moveTo>
                  <a:pt x="124" y="434"/>
                </a:moveTo>
                <a:cubicBezTo>
                  <a:pt x="124" y="432"/>
                  <a:pt x="124" y="436"/>
                  <a:pt x="124" y="434"/>
                </a:cubicBezTo>
                <a:close/>
                <a:moveTo>
                  <a:pt x="124" y="420"/>
                </a:moveTo>
                <a:cubicBezTo>
                  <a:pt x="123" y="418"/>
                  <a:pt x="124" y="417"/>
                  <a:pt x="122" y="417"/>
                </a:cubicBezTo>
                <a:cubicBezTo>
                  <a:pt x="124" y="417"/>
                  <a:pt x="124" y="408"/>
                  <a:pt x="127" y="412"/>
                </a:cubicBezTo>
                <a:cubicBezTo>
                  <a:pt x="128" y="413"/>
                  <a:pt x="128" y="416"/>
                  <a:pt x="127" y="416"/>
                </a:cubicBezTo>
                <a:cubicBezTo>
                  <a:pt x="125" y="417"/>
                  <a:pt x="124" y="415"/>
                  <a:pt x="124" y="420"/>
                </a:cubicBezTo>
                <a:close/>
                <a:moveTo>
                  <a:pt x="125" y="428"/>
                </a:moveTo>
                <a:cubicBezTo>
                  <a:pt x="125" y="430"/>
                  <a:pt x="124" y="426"/>
                  <a:pt x="125" y="427"/>
                </a:cubicBezTo>
                <a:cubicBezTo>
                  <a:pt x="125" y="427"/>
                  <a:pt x="125" y="428"/>
                  <a:pt x="125" y="428"/>
                </a:cubicBezTo>
                <a:close/>
                <a:moveTo>
                  <a:pt x="128" y="431"/>
                </a:moveTo>
                <a:cubicBezTo>
                  <a:pt x="127" y="433"/>
                  <a:pt x="128" y="440"/>
                  <a:pt x="126" y="440"/>
                </a:cubicBezTo>
                <a:cubicBezTo>
                  <a:pt x="127" y="437"/>
                  <a:pt x="126" y="433"/>
                  <a:pt x="127" y="429"/>
                </a:cubicBezTo>
                <a:cubicBezTo>
                  <a:pt x="128" y="425"/>
                  <a:pt x="128" y="429"/>
                  <a:pt x="128" y="431"/>
                </a:cubicBezTo>
                <a:close/>
                <a:moveTo>
                  <a:pt x="128" y="426"/>
                </a:moveTo>
                <a:cubicBezTo>
                  <a:pt x="129" y="425"/>
                  <a:pt x="128" y="422"/>
                  <a:pt x="129" y="421"/>
                </a:cubicBezTo>
                <a:cubicBezTo>
                  <a:pt x="129" y="423"/>
                  <a:pt x="129" y="425"/>
                  <a:pt x="128" y="426"/>
                </a:cubicBezTo>
                <a:close/>
                <a:moveTo>
                  <a:pt x="129" y="421"/>
                </a:moveTo>
                <a:cubicBezTo>
                  <a:pt x="128" y="420"/>
                  <a:pt x="129" y="418"/>
                  <a:pt x="130" y="417"/>
                </a:cubicBezTo>
                <a:cubicBezTo>
                  <a:pt x="130" y="418"/>
                  <a:pt x="129" y="420"/>
                  <a:pt x="129" y="421"/>
                </a:cubicBezTo>
                <a:close/>
                <a:moveTo>
                  <a:pt x="130" y="416"/>
                </a:moveTo>
                <a:cubicBezTo>
                  <a:pt x="130" y="417"/>
                  <a:pt x="129" y="415"/>
                  <a:pt x="130" y="415"/>
                </a:cubicBezTo>
                <a:cubicBezTo>
                  <a:pt x="130" y="414"/>
                  <a:pt x="131" y="415"/>
                  <a:pt x="130" y="416"/>
                </a:cubicBezTo>
                <a:close/>
                <a:moveTo>
                  <a:pt x="129" y="392"/>
                </a:moveTo>
                <a:cubicBezTo>
                  <a:pt x="127" y="393"/>
                  <a:pt x="127" y="398"/>
                  <a:pt x="126" y="400"/>
                </a:cubicBezTo>
                <a:cubicBezTo>
                  <a:pt x="125" y="404"/>
                  <a:pt x="124" y="407"/>
                  <a:pt x="122" y="410"/>
                </a:cubicBezTo>
                <a:cubicBezTo>
                  <a:pt x="121" y="405"/>
                  <a:pt x="128" y="396"/>
                  <a:pt x="128" y="391"/>
                </a:cubicBezTo>
                <a:cubicBezTo>
                  <a:pt x="128" y="387"/>
                  <a:pt x="126" y="384"/>
                  <a:pt x="132" y="383"/>
                </a:cubicBezTo>
                <a:cubicBezTo>
                  <a:pt x="131" y="386"/>
                  <a:pt x="135" y="390"/>
                  <a:pt x="131" y="392"/>
                </a:cubicBezTo>
                <a:cubicBezTo>
                  <a:pt x="131" y="392"/>
                  <a:pt x="129" y="391"/>
                  <a:pt x="129" y="392"/>
                </a:cubicBezTo>
                <a:close/>
                <a:moveTo>
                  <a:pt x="124" y="396"/>
                </a:moveTo>
                <a:cubicBezTo>
                  <a:pt x="125" y="396"/>
                  <a:pt x="124" y="398"/>
                  <a:pt x="124" y="398"/>
                </a:cubicBezTo>
                <a:cubicBezTo>
                  <a:pt x="124" y="398"/>
                  <a:pt x="124" y="397"/>
                  <a:pt x="124" y="396"/>
                </a:cubicBezTo>
                <a:close/>
                <a:moveTo>
                  <a:pt x="125" y="394"/>
                </a:moveTo>
                <a:cubicBezTo>
                  <a:pt x="125" y="395"/>
                  <a:pt x="125" y="395"/>
                  <a:pt x="125" y="395"/>
                </a:cubicBezTo>
                <a:cubicBezTo>
                  <a:pt x="125" y="396"/>
                  <a:pt x="125" y="395"/>
                  <a:pt x="125" y="394"/>
                </a:cubicBezTo>
                <a:close/>
                <a:moveTo>
                  <a:pt x="132" y="409"/>
                </a:moveTo>
                <a:cubicBezTo>
                  <a:pt x="133" y="408"/>
                  <a:pt x="136" y="412"/>
                  <a:pt x="133" y="412"/>
                </a:cubicBezTo>
                <a:cubicBezTo>
                  <a:pt x="132" y="413"/>
                  <a:pt x="130" y="410"/>
                  <a:pt x="132" y="409"/>
                </a:cubicBezTo>
                <a:close/>
                <a:moveTo>
                  <a:pt x="133" y="420"/>
                </a:moveTo>
                <a:cubicBezTo>
                  <a:pt x="134" y="422"/>
                  <a:pt x="131" y="422"/>
                  <a:pt x="133" y="420"/>
                </a:cubicBezTo>
                <a:close/>
                <a:moveTo>
                  <a:pt x="133" y="456"/>
                </a:moveTo>
                <a:cubicBezTo>
                  <a:pt x="134" y="455"/>
                  <a:pt x="135" y="459"/>
                  <a:pt x="135" y="460"/>
                </a:cubicBezTo>
                <a:cubicBezTo>
                  <a:pt x="134" y="461"/>
                  <a:pt x="132" y="456"/>
                  <a:pt x="133" y="456"/>
                </a:cubicBezTo>
                <a:close/>
                <a:moveTo>
                  <a:pt x="135" y="433"/>
                </a:moveTo>
                <a:cubicBezTo>
                  <a:pt x="135" y="433"/>
                  <a:pt x="136" y="433"/>
                  <a:pt x="135" y="433"/>
                </a:cubicBezTo>
                <a:cubicBezTo>
                  <a:pt x="133" y="433"/>
                  <a:pt x="137" y="431"/>
                  <a:pt x="135" y="433"/>
                </a:cubicBezTo>
                <a:close/>
                <a:moveTo>
                  <a:pt x="136" y="461"/>
                </a:moveTo>
                <a:cubicBezTo>
                  <a:pt x="134" y="461"/>
                  <a:pt x="137" y="460"/>
                  <a:pt x="136" y="461"/>
                </a:cubicBezTo>
                <a:close/>
                <a:moveTo>
                  <a:pt x="140" y="485"/>
                </a:moveTo>
                <a:cubicBezTo>
                  <a:pt x="138" y="486"/>
                  <a:pt x="139" y="481"/>
                  <a:pt x="141" y="482"/>
                </a:cubicBezTo>
                <a:cubicBezTo>
                  <a:pt x="141" y="483"/>
                  <a:pt x="141" y="484"/>
                  <a:pt x="140" y="485"/>
                </a:cubicBezTo>
                <a:close/>
                <a:moveTo>
                  <a:pt x="139" y="447"/>
                </a:moveTo>
                <a:cubicBezTo>
                  <a:pt x="140" y="447"/>
                  <a:pt x="140" y="447"/>
                  <a:pt x="140" y="447"/>
                </a:cubicBezTo>
                <a:cubicBezTo>
                  <a:pt x="141" y="448"/>
                  <a:pt x="139" y="448"/>
                  <a:pt x="139" y="447"/>
                </a:cubicBezTo>
                <a:close/>
                <a:moveTo>
                  <a:pt x="143" y="469"/>
                </a:moveTo>
                <a:cubicBezTo>
                  <a:pt x="143" y="469"/>
                  <a:pt x="142" y="470"/>
                  <a:pt x="142" y="470"/>
                </a:cubicBezTo>
                <a:cubicBezTo>
                  <a:pt x="141" y="469"/>
                  <a:pt x="143" y="469"/>
                  <a:pt x="143" y="469"/>
                </a:cubicBezTo>
                <a:close/>
                <a:moveTo>
                  <a:pt x="143" y="464"/>
                </a:moveTo>
                <a:cubicBezTo>
                  <a:pt x="141" y="466"/>
                  <a:pt x="140" y="460"/>
                  <a:pt x="142" y="461"/>
                </a:cubicBezTo>
                <a:cubicBezTo>
                  <a:pt x="144" y="461"/>
                  <a:pt x="143" y="464"/>
                  <a:pt x="143" y="464"/>
                </a:cubicBezTo>
                <a:close/>
                <a:moveTo>
                  <a:pt x="145" y="481"/>
                </a:moveTo>
                <a:cubicBezTo>
                  <a:pt x="144" y="483"/>
                  <a:pt x="143" y="479"/>
                  <a:pt x="144" y="479"/>
                </a:cubicBezTo>
                <a:cubicBezTo>
                  <a:pt x="144" y="479"/>
                  <a:pt x="145" y="479"/>
                  <a:pt x="145" y="481"/>
                </a:cubicBezTo>
                <a:close/>
                <a:moveTo>
                  <a:pt x="147" y="486"/>
                </a:moveTo>
                <a:cubicBezTo>
                  <a:pt x="147" y="486"/>
                  <a:pt x="147" y="486"/>
                  <a:pt x="147" y="486"/>
                </a:cubicBezTo>
                <a:cubicBezTo>
                  <a:pt x="147" y="486"/>
                  <a:pt x="147" y="486"/>
                  <a:pt x="147" y="486"/>
                </a:cubicBezTo>
                <a:cubicBezTo>
                  <a:pt x="147" y="486"/>
                  <a:pt x="147" y="486"/>
                  <a:pt x="147" y="486"/>
                </a:cubicBezTo>
                <a:close/>
                <a:moveTo>
                  <a:pt x="147" y="483"/>
                </a:moveTo>
                <a:cubicBezTo>
                  <a:pt x="145" y="484"/>
                  <a:pt x="145" y="480"/>
                  <a:pt x="147" y="481"/>
                </a:cubicBezTo>
                <a:cubicBezTo>
                  <a:pt x="148" y="481"/>
                  <a:pt x="147" y="483"/>
                  <a:pt x="147" y="483"/>
                </a:cubicBezTo>
                <a:close/>
                <a:moveTo>
                  <a:pt x="148" y="479"/>
                </a:moveTo>
                <a:cubicBezTo>
                  <a:pt x="147" y="480"/>
                  <a:pt x="146" y="478"/>
                  <a:pt x="147" y="478"/>
                </a:cubicBezTo>
                <a:cubicBezTo>
                  <a:pt x="147" y="478"/>
                  <a:pt x="148" y="479"/>
                  <a:pt x="148" y="479"/>
                </a:cubicBezTo>
                <a:close/>
                <a:moveTo>
                  <a:pt x="151" y="479"/>
                </a:moveTo>
                <a:cubicBezTo>
                  <a:pt x="151" y="479"/>
                  <a:pt x="148" y="478"/>
                  <a:pt x="147" y="478"/>
                </a:cubicBezTo>
                <a:cubicBezTo>
                  <a:pt x="146" y="473"/>
                  <a:pt x="153" y="476"/>
                  <a:pt x="151" y="479"/>
                </a:cubicBezTo>
                <a:close/>
                <a:moveTo>
                  <a:pt x="149" y="487"/>
                </a:moveTo>
                <a:cubicBezTo>
                  <a:pt x="148" y="486"/>
                  <a:pt x="147" y="482"/>
                  <a:pt x="150" y="484"/>
                </a:cubicBezTo>
                <a:cubicBezTo>
                  <a:pt x="148" y="481"/>
                  <a:pt x="152" y="481"/>
                  <a:pt x="151" y="484"/>
                </a:cubicBezTo>
                <a:cubicBezTo>
                  <a:pt x="151" y="484"/>
                  <a:pt x="149" y="487"/>
                  <a:pt x="149" y="487"/>
                </a:cubicBezTo>
                <a:close/>
                <a:moveTo>
                  <a:pt x="151" y="488"/>
                </a:moveTo>
                <a:cubicBezTo>
                  <a:pt x="151" y="488"/>
                  <a:pt x="151" y="488"/>
                  <a:pt x="151" y="488"/>
                </a:cubicBezTo>
                <a:cubicBezTo>
                  <a:pt x="151" y="488"/>
                  <a:pt x="151" y="488"/>
                  <a:pt x="152" y="487"/>
                </a:cubicBezTo>
                <a:cubicBezTo>
                  <a:pt x="152" y="487"/>
                  <a:pt x="152" y="487"/>
                  <a:pt x="151" y="488"/>
                </a:cubicBezTo>
                <a:close/>
                <a:moveTo>
                  <a:pt x="153" y="489"/>
                </a:moveTo>
                <a:cubicBezTo>
                  <a:pt x="153" y="489"/>
                  <a:pt x="153" y="488"/>
                  <a:pt x="153" y="488"/>
                </a:cubicBezTo>
                <a:cubicBezTo>
                  <a:pt x="153" y="489"/>
                  <a:pt x="152" y="489"/>
                  <a:pt x="153" y="489"/>
                </a:cubicBezTo>
                <a:close/>
                <a:moveTo>
                  <a:pt x="153" y="459"/>
                </a:moveTo>
                <a:cubicBezTo>
                  <a:pt x="152" y="459"/>
                  <a:pt x="144" y="455"/>
                  <a:pt x="145" y="452"/>
                </a:cubicBezTo>
                <a:cubicBezTo>
                  <a:pt x="145" y="451"/>
                  <a:pt x="146" y="452"/>
                  <a:pt x="146" y="451"/>
                </a:cubicBezTo>
                <a:cubicBezTo>
                  <a:pt x="147" y="449"/>
                  <a:pt x="145" y="449"/>
                  <a:pt x="145" y="447"/>
                </a:cubicBezTo>
                <a:cubicBezTo>
                  <a:pt x="149" y="452"/>
                  <a:pt x="148" y="440"/>
                  <a:pt x="152" y="443"/>
                </a:cubicBezTo>
                <a:cubicBezTo>
                  <a:pt x="154" y="444"/>
                  <a:pt x="152" y="448"/>
                  <a:pt x="155" y="446"/>
                </a:cubicBezTo>
                <a:cubicBezTo>
                  <a:pt x="152" y="448"/>
                  <a:pt x="158" y="450"/>
                  <a:pt x="157" y="454"/>
                </a:cubicBezTo>
                <a:cubicBezTo>
                  <a:pt x="157" y="457"/>
                  <a:pt x="155" y="459"/>
                  <a:pt x="153" y="459"/>
                </a:cubicBezTo>
                <a:close/>
                <a:moveTo>
                  <a:pt x="152" y="394"/>
                </a:moveTo>
                <a:cubicBezTo>
                  <a:pt x="150" y="396"/>
                  <a:pt x="150" y="391"/>
                  <a:pt x="151" y="391"/>
                </a:cubicBezTo>
                <a:cubicBezTo>
                  <a:pt x="152" y="391"/>
                  <a:pt x="152" y="394"/>
                  <a:pt x="152" y="394"/>
                </a:cubicBezTo>
                <a:close/>
                <a:moveTo>
                  <a:pt x="153" y="410"/>
                </a:moveTo>
                <a:cubicBezTo>
                  <a:pt x="153" y="411"/>
                  <a:pt x="153" y="411"/>
                  <a:pt x="153" y="411"/>
                </a:cubicBezTo>
                <a:cubicBezTo>
                  <a:pt x="151" y="412"/>
                  <a:pt x="152" y="410"/>
                  <a:pt x="153" y="410"/>
                </a:cubicBezTo>
                <a:close/>
                <a:moveTo>
                  <a:pt x="151" y="434"/>
                </a:moveTo>
                <a:cubicBezTo>
                  <a:pt x="150" y="435"/>
                  <a:pt x="148" y="434"/>
                  <a:pt x="149" y="432"/>
                </a:cubicBezTo>
                <a:cubicBezTo>
                  <a:pt x="150" y="432"/>
                  <a:pt x="153" y="433"/>
                  <a:pt x="151" y="434"/>
                </a:cubicBezTo>
                <a:close/>
                <a:moveTo>
                  <a:pt x="149" y="411"/>
                </a:moveTo>
                <a:cubicBezTo>
                  <a:pt x="148" y="413"/>
                  <a:pt x="148" y="428"/>
                  <a:pt x="146" y="429"/>
                </a:cubicBezTo>
                <a:cubicBezTo>
                  <a:pt x="144" y="430"/>
                  <a:pt x="145" y="425"/>
                  <a:pt x="145" y="424"/>
                </a:cubicBezTo>
                <a:cubicBezTo>
                  <a:pt x="146" y="422"/>
                  <a:pt x="148" y="407"/>
                  <a:pt x="149" y="406"/>
                </a:cubicBezTo>
                <a:cubicBezTo>
                  <a:pt x="151" y="405"/>
                  <a:pt x="149" y="411"/>
                  <a:pt x="149" y="411"/>
                </a:cubicBezTo>
                <a:close/>
                <a:moveTo>
                  <a:pt x="154" y="385"/>
                </a:moveTo>
                <a:cubicBezTo>
                  <a:pt x="153" y="386"/>
                  <a:pt x="153" y="385"/>
                  <a:pt x="154" y="384"/>
                </a:cubicBezTo>
                <a:cubicBezTo>
                  <a:pt x="154" y="384"/>
                  <a:pt x="154" y="385"/>
                  <a:pt x="154" y="385"/>
                </a:cubicBezTo>
                <a:close/>
                <a:moveTo>
                  <a:pt x="155" y="440"/>
                </a:moveTo>
                <a:cubicBezTo>
                  <a:pt x="156" y="441"/>
                  <a:pt x="155" y="441"/>
                  <a:pt x="155" y="442"/>
                </a:cubicBezTo>
                <a:cubicBezTo>
                  <a:pt x="153" y="443"/>
                  <a:pt x="154" y="439"/>
                  <a:pt x="155" y="440"/>
                </a:cubicBezTo>
                <a:close/>
                <a:moveTo>
                  <a:pt x="160" y="417"/>
                </a:moveTo>
                <a:cubicBezTo>
                  <a:pt x="160" y="417"/>
                  <a:pt x="158" y="417"/>
                  <a:pt x="159" y="415"/>
                </a:cubicBezTo>
                <a:cubicBezTo>
                  <a:pt x="161" y="419"/>
                  <a:pt x="164" y="409"/>
                  <a:pt x="165" y="414"/>
                </a:cubicBezTo>
                <a:cubicBezTo>
                  <a:pt x="166" y="416"/>
                  <a:pt x="168" y="419"/>
                  <a:pt x="167" y="421"/>
                </a:cubicBezTo>
                <a:cubicBezTo>
                  <a:pt x="166" y="422"/>
                  <a:pt x="163" y="423"/>
                  <a:pt x="163" y="423"/>
                </a:cubicBezTo>
                <a:cubicBezTo>
                  <a:pt x="163" y="425"/>
                  <a:pt x="165" y="427"/>
                  <a:pt x="163" y="428"/>
                </a:cubicBezTo>
                <a:cubicBezTo>
                  <a:pt x="160" y="430"/>
                  <a:pt x="158" y="427"/>
                  <a:pt x="158" y="427"/>
                </a:cubicBezTo>
                <a:cubicBezTo>
                  <a:pt x="157" y="424"/>
                  <a:pt x="162" y="421"/>
                  <a:pt x="160" y="417"/>
                </a:cubicBezTo>
                <a:close/>
                <a:moveTo>
                  <a:pt x="160" y="402"/>
                </a:moveTo>
                <a:cubicBezTo>
                  <a:pt x="161" y="406"/>
                  <a:pt x="158" y="404"/>
                  <a:pt x="160" y="402"/>
                </a:cubicBezTo>
                <a:close/>
                <a:moveTo>
                  <a:pt x="161" y="383"/>
                </a:moveTo>
                <a:cubicBezTo>
                  <a:pt x="162" y="384"/>
                  <a:pt x="161" y="387"/>
                  <a:pt x="160" y="387"/>
                </a:cubicBezTo>
                <a:cubicBezTo>
                  <a:pt x="159" y="388"/>
                  <a:pt x="160" y="383"/>
                  <a:pt x="161" y="383"/>
                </a:cubicBezTo>
                <a:close/>
                <a:moveTo>
                  <a:pt x="166" y="387"/>
                </a:moveTo>
                <a:cubicBezTo>
                  <a:pt x="166" y="387"/>
                  <a:pt x="165" y="387"/>
                  <a:pt x="165" y="387"/>
                </a:cubicBezTo>
                <a:cubicBezTo>
                  <a:pt x="164" y="386"/>
                  <a:pt x="166" y="386"/>
                  <a:pt x="166" y="387"/>
                </a:cubicBezTo>
                <a:close/>
                <a:moveTo>
                  <a:pt x="167" y="395"/>
                </a:moveTo>
                <a:cubicBezTo>
                  <a:pt x="169" y="395"/>
                  <a:pt x="168" y="398"/>
                  <a:pt x="167" y="398"/>
                </a:cubicBezTo>
                <a:cubicBezTo>
                  <a:pt x="166" y="399"/>
                  <a:pt x="166" y="395"/>
                  <a:pt x="167" y="395"/>
                </a:cubicBezTo>
                <a:close/>
                <a:moveTo>
                  <a:pt x="168" y="392"/>
                </a:moveTo>
                <a:cubicBezTo>
                  <a:pt x="169" y="392"/>
                  <a:pt x="170" y="393"/>
                  <a:pt x="168" y="393"/>
                </a:cubicBezTo>
                <a:cubicBezTo>
                  <a:pt x="166" y="394"/>
                  <a:pt x="166" y="392"/>
                  <a:pt x="168" y="392"/>
                </a:cubicBezTo>
                <a:close/>
                <a:moveTo>
                  <a:pt x="167" y="413"/>
                </a:moveTo>
                <a:cubicBezTo>
                  <a:pt x="167" y="415"/>
                  <a:pt x="166" y="411"/>
                  <a:pt x="167" y="412"/>
                </a:cubicBezTo>
                <a:cubicBezTo>
                  <a:pt x="167" y="412"/>
                  <a:pt x="167" y="413"/>
                  <a:pt x="167" y="413"/>
                </a:cubicBezTo>
                <a:close/>
                <a:moveTo>
                  <a:pt x="163" y="443"/>
                </a:moveTo>
                <a:cubicBezTo>
                  <a:pt x="162" y="444"/>
                  <a:pt x="161" y="442"/>
                  <a:pt x="162" y="441"/>
                </a:cubicBezTo>
                <a:cubicBezTo>
                  <a:pt x="162" y="442"/>
                  <a:pt x="163" y="442"/>
                  <a:pt x="163" y="443"/>
                </a:cubicBezTo>
                <a:close/>
                <a:moveTo>
                  <a:pt x="160" y="459"/>
                </a:moveTo>
                <a:cubicBezTo>
                  <a:pt x="159" y="460"/>
                  <a:pt x="159" y="458"/>
                  <a:pt x="160" y="457"/>
                </a:cubicBezTo>
                <a:cubicBezTo>
                  <a:pt x="160" y="457"/>
                  <a:pt x="161" y="458"/>
                  <a:pt x="160" y="459"/>
                </a:cubicBezTo>
                <a:close/>
                <a:moveTo>
                  <a:pt x="157" y="404"/>
                </a:moveTo>
                <a:cubicBezTo>
                  <a:pt x="155" y="406"/>
                  <a:pt x="156" y="399"/>
                  <a:pt x="158" y="401"/>
                </a:cubicBezTo>
                <a:cubicBezTo>
                  <a:pt x="159" y="402"/>
                  <a:pt x="157" y="404"/>
                  <a:pt x="157" y="404"/>
                </a:cubicBezTo>
                <a:close/>
                <a:moveTo>
                  <a:pt x="154" y="466"/>
                </a:moveTo>
                <a:cubicBezTo>
                  <a:pt x="155" y="466"/>
                  <a:pt x="156" y="467"/>
                  <a:pt x="155" y="468"/>
                </a:cubicBezTo>
                <a:cubicBezTo>
                  <a:pt x="154" y="468"/>
                  <a:pt x="154" y="467"/>
                  <a:pt x="154" y="466"/>
                </a:cubicBezTo>
                <a:close/>
                <a:moveTo>
                  <a:pt x="155" y="476"/>
                </a:moveTo>
                <a:cubicBezTo>
                  <a:pt x="154" y="476"/>
                  <a:pt x="158" y="472"/>
                  <a:pt x="157" y="471"/>
                </a:cubicBezTo>
                <a:cubicBezTo>
                  <a:pt x="159" y="473"/>
                  <a:pt x="156" y="477"/>
                  <a:pt x="155" y="476"/>
                </a:cubicBezTo>
                <a:close/>
                <a:moveTo>
                  <a:pt x="158" y="470"/>
                </a:moveTo>
                <a:cubicBezTo>
                  <a:pt x="156" y="466"/>
                  <a:pt x="160" y="467"/>
                  <a:pt x="158" y="470"/>
                </a:cubicBezTo>
                <a:close/>
                <a:moveTo>
                  <a:pt x="159" y="461"/>
                </a:moveTo>
                <a:cubicBezTo>
                  <a:pt x="159" y="461"/>
                  <a:pt x="159" y="462"/>
                  <a:pt x="159" y="462"/>
                </a:cubicBezTo>
                <a:cubicBezTo>
                  <a:pt x="157" y="464"/>
                  <a:pt x="158" y="460"/>
                  <a:pt x="159" y="461"/>
                </a:cubicBezTo>
                <a:close/>
                <a:moveTo>
                  <a:pt x="159" y="490"/>
                </a:moveTo>
                <a:cubicBezTo>
                  <a:pt x="159" y="489"/>
                  <a:pt x="160" y="488"/>
                  <a:pt x="160" y="488"/>
                </a:cubicBezTo>
                <a:cubicBezTo>
                  <a:pt x="160" y="489"/>
                  <a:pt x="160" y="489"/>
                  <a:pt x="159" y="490"/>
                </a:cubicBezTo>
                <a:close/>
                <a:moveTo>
                  <a:pt x="160" y="486"/>
                </a:moveTo>
                <a:cubicBezTo>
                  <a:pt x="160" y="487"/>
                  <a:pt x="159" y="484"/>
                  <a:pt x="160" y="484"/>
                </a:cubicBezTo>
                <a:cubicBezTo>
                  <a:pt x="160" y="484"/>
                  <a:pt x="161" y="485"/>
                  <a:pt x="160" y="486"/>
                </a:cubicBezTo>
                <a:close/>
                <a:moveTo>
                  <a:pt x="161" y="468"/>
                </a:moveTo>
                <a:cubicBezTo>
                  <a:pt x="162" y="470"/>
                  <a:pt x="159" y="470"/>
                  <a:pt x="161" y="468"/>
                </a:cubicBezTo>
                <a:close/>
                <a:moveTo>
                  <a:pt x="162" y="461"/>
                </a:moveTo>
                <a:cubicBezTo>
                  <a:pt x="163" y="462"/>
                  <a:pt x="163" y="462"/>
                  <a:pt x="162" y="463"/>
                </a:cubicBezTo>
                <a:cubicBezTo>
                  <a:pt x="161" y="465"/>
                  <a:pt x="161" y="460"/>
                  <a:pt x="162" y="461"/>
                </a:cubicBezTo>
                <a:close/>
                <a:moveTo>
                  <a:pt x="162" y="497"/>
                </a:moveTo>
                <a:cubicBezTo>
                  <a:pt x="164" y="497"/>
                  <a:pt x="161" y="499"/>
                  <a:pt x="162" y="497"/>
                </a:cubicBezTo>
                <a:close/>
                <a:moveTo>
                  <a:pt x="163" y="483"/>
                </a:moveTo>
                <a:cubicBezTo>
                  <a:pt x="162" y="485"/>
                  <a:pt x="162" y="481"/>
                  <a:pt x="163" y="483"/>
                </a:cubicBezTo>
                <a:cubicBezTo>
                  <a:pt x="163" y="483"/>
                  <a:pt x="164" y="483"/>
                  <a:pt x="163" y="483"/>
                </a:cubicBezTo>
                <a:close/>
                <a:moveTo>
                  <a:pt x="164" y="472"/>
                </a:moveTo>
                <a:cubicBezTo>
                  <a:pt x="163" y="474"/>
                  <a:pt x="163" y="471"/>
                  <a:pt x="164" y="472"/>
                </a:cubicBezTo>
                <a:cubicBezTo>
                  <a:pt x="164" y="472"/>
                  <a:pt x="164" y="472"/>
                  <a:pt x="164" y="472"/>
                </a:cubicBezTo>
                <a:close/>
                <a:moveTo>
                  <a:pt x="166" y="461"/>
                </a:moveTo>
                <a:cubicBezTo>
                  <a:pt x="160" y="465"/>
                  <a:pt x="163" y="449"/>
                  <a:pt x="168" y="453"/>
                </a:cubicBezTo>
                <a:cubicBezTo>
                  <a:pt x="167" y="452"/>
                  <a:pt x="168" y="456"/>
                  <a:pt x="168" y="455"/>
                </a:cubicBezTo>
                <a:cubicBezTo>
                  <a:pt x="168" y="456"/>
                  <a:pt x="166" y="461"/>
                  <a:pt x="166" y="461"/>
                </a:cubicBezTo>
                <a:close/>
                <a:moveTo>
                  <a:pt x="168" y="450"/>
                </a:moveTo>
                <a:cubicBezTo>
                  <a:pt x="167" y="450"/>
                  <a:pt x="167" y="448"/>
                  <a:pt x="168" y="448"/>
                </a:cubicBezTo>
                <a:cubicBezTo>
                  <a:pt x="168" y="448"/>
                  <a:pt x="169" y="449"/>
                  <a:pt x="168" y="450"/>
                </a:cubicBezTo>
                <a:close/>
                <a:moveTo>
                  <a:pt x="168" y="433"/>
                </a:moveTo>
                <a:cubicBezTo>
                  <a:pt x="168" y="431"/>
                  <a:pt x="168" y="434"/>
                  <a:pt x="168" y="433"/>
                </a:cubicBezTo>
                <a:close/>
                <a:moveTo>
                  <a:pt x="169" y="454"/>
                </a:moveTo>
                <a:cubicBezTo>
                  <a:pt x="169" y="455"/>
                  <a:pt x="169" y="452"/>
                  <a:pt x="169" y="454"/>
                </a:cubicBezTo>
                <a:close/>
                <a:moveTo>
                  <a:pt x="171" y="467"/>
                </a:moveTo>
                <a:cubicBezTo>
                  <a:pt x="170" y="463"/>
                  <a:pt x="174" y="463"/>
                  <a:pt x="171" y="467"/>
                </a:cubicBezTo>
                <a:close/>
                <a:moveTo>
                  <a:pt x="173" y="473"/>
                </a:moveTo>
                <a:cubicBezTo>
                  <a:pt x="172" y="474"/>
                  <a:pt x="172" y="469"/>
                  <a:pt x="173" y="470"/>
                </a:cubicBezTo>
                <a:cubicBezTo>
                  <a:pt x="174" y="471"/>
                  <a:pt x="173" y="472"/>
                  <a:pt x="173" y="473"/>
                </a:cubicBezTo>
                <a:close/>
                <a:moveTo>
                  <a:pt x="173" y="462"/>
                </a:moveTo>
                <a:cubicBezTo>
                  <a:pt x="172" y="463"/>
                  <a:pt x="173" y="461"/>
                  <a:pt x="173" y="460"/>
                </a:cubicBezTo>
                <a:cubicBezTo>
                  <a:pt x="174" y="460"/>
                  <a:pt x="174" y="462"/>
                  <a:pt x="173" y="462"/>
                </a:cubicBezTo>
                <a:close/>
                <a:moveTo>
                  <a:pt x="173" y="460"/>
                </a:moveTo>
                <a:cubicBezTo>
                  <a:pt x="172" y="460"/>
                  <a:pt x="170" y="460"/>
                  <a:pt x="170" y="458"/>
                </a:cubicBezTo>
                <a:cubicBezTo>
                  <a:pt x="171" y="457"/>
                  <a:pt x="176" y="458"/>
                  <a:pt x="173" y="460"/>
                </a:cubicBezTo>
                <a:close/>
                <a:moveTo>
                  <a:pt x="173" y="418"/>
                </a:moveTo>
                <a:cubicBezTo>
                  <a:pt x="174" y="418"/>
                  <a:pt x="174" y="418"/>
                  <a:pt x="173" y="419"/>
                </a:cubicBezTo>
                <a:cubicBezTo>
                  <a:pt x="172" y="420"/>
                  <a:pt x="172" y="417"/>
                  <a:pt x="173" y="418"/>
                </a:cubicBezTo>
                <a:close/>
                <a:moveTo>
                  <a:pt x="174" y="409"/>
                </a:moveTo>
                <a:cubicBezTo>
                  <a:pt x="175" y="409"/>
                  <a:pt x="174" y="409"/>
                  <a:pt x="174" y="410"/>
                </a:cubicBezTo>
                <a:cubicBezTo>
                  <a:pt x="173" y="410"/>
                  <a:pt x="173" y="408"/>
                  <a:pt x="174" y="409"/>
                </a:cubicBezTo>
                <a:close/>
                <a:moveTo>
                  <a:pt x="175" y="414"/>
                </a:moveTo>
                <a:cubicBezTo>
                  <a:pt x="177" y="414"/>
                  <a:pt x="177" y="418"/>
                  <a:pt x="176" y="419"/>
                </a:cubicBezTo>
                <a:cubicBezTo>
                  <a:pt x="173" y="420"/>
                  <a:pt x="175" y="414"/>
                  <a:pt x="175" y="414"/>
                </a:cubicBezTo>
                <a:close/>
                <a:moveTo>
                  <a:pt x="176" y="430"/>
                </a:moveTo>
                <a:cubicBezTo>
                  <a:pt x="175" y="431"/>
                  <a:pt x="175" y="428"/>
                  <a:pt x="176" y="428"/>
                </a:cubicBezTo>
                <a:cubicBezTo>
                  <a:pt x="177" y="428"/>
                  <a:pt x="177" y="429"/>
                  <a:pt x="176" y="430"/>
                </a:cubicBezTo>
                <a:close/>
                <a:moveTo>
                  <a:pt x="177" y="433"/>
                </a:moveTo>
                <a:cubicBezTo>
                  <a:pt x="178" y="434"/>
                  <a:pt x="178" y="436"/>
                  <a:pt x="177" y="436"/>
                </a:cubicBezTo>
                <a:cubicBezTo>
                  <a:pt x="175" y="439"/>
                  <a:pt x="175" y="431"/>
                  <a:pt x="177" y="433"/>
                </a:cubicBezTo>
                <a:close/>
                <a:moveTo>
                  <a:pt x="178" y="429"/>
                </a:moveTo>
                <a:cubicBezTo>
                  <a:pt x="177" y="428"/>
                  <a:pt x="178" y="426"/>
                  <a:pt x="179" y="426"/>
                </a:cubicBezTo>
                <a:cubicBezTo>
                  <a:pt x="178" y="427"/>
                  <a:pt x="178" y="428"/>
                  <a:pt x="178" y="429"/>
                </a:cubicBezTo>
                <a:close/>
                <a:moveTo>
                  <a:pt x="178" y="432"/>
                </a:moveTo>
                <a:cubicBezTo>
                  <a:pt x="177" y="433"/>
                  <a:pt x="178" y="431"/>
                  <a:pt x="178" y="430"/>
                </a:cubicBezTo>
                <a:cubicBezTo>
                  <a:pt x="179" y="430"/>
                  <a:pt x="179" y="431"/>
                  <a:pt x="178" y="432"/>
                </a:cubicBezTo>
                <a:close/>
                <a:moveTo>
                  <a:pt x="179" y="411"/>
                </a:moveTo>
                <a:cubicBezTo>
                  <a:pt x="176" y="413"/>
                  <a:pt x="176" y="406"/>
                  <a:pt x="178" y="408"/>
                </a:cubicBezTo>
                <a:cubicBezTo>
                  <a:pt x="179" y="408"/>
                  <a:pt x="179" y="410"/>
                  <a:pt x="179" y="411"/>
                </a:cubicBezTo>
                <a:close/>
                <a:moveTo>
                  <a:pt x="178" y="467"/>
                </a:moveTo>
                <a:cubicBezTo>
                  <a:pt x="176" y="466"/>
                  <a:pt x="179" y="464"/>
                  <a:pt x="179" y="462"/>
                </a:cubicBezTo>
                <a:cubicBezTo>
                  <a:pt x="180" y="463"/>
                  <a:pt x="179" y="468"/>
                  <a:pt x="178" y="467"/>
                </a:cubicBezTo>
                <a:close/>
                <a:moveTo>
                  <a:pt x="182" y="477"/>
                </a:moveTo>
                <a:cubicBezTo>
                  <a:pt x="182" y="477"/>
                  <a:pt x="179" y="477"/>
                  <a:pt x="180" y="476"/>
                </a:cubicBezTo>
                <a:cubicBezTo>
                  <a:pt x="181" y="475"/>
                  <a:pt x="184" y="477"/>
                  <a:pt x="182" y="477"/>
                </a:cubicBezTo>
                <a:close/>
                <a:moveTo>
                  <a:pt x="180" y="459"/>
                </a:moveTo>
                <a:cubicBezTo>
                  <a:pt x="181" y="457"/>
                  <a:pt x="182" y="456"/>
                  <a:pt x="182" y="455"/>
                </a:cubicBezTo>
                <a:cubicBezTo>
                  <a:pt x="182" y="456"/>
                  <a:pt x="182" y="458"/>
                  <a:pt x="180" y="459"/>
                </a:cubicBezTo>
                <a:close/>
                <a:moveTo>
                  <a:pt x="183" y="432"/>
                </a:moveTo>
                <a:cubicBezTo>
                  <a:pt x="182" y="433"/>
                  <a:pt x="182" y="430"/>
                  <a:pt x="183" y="431"/>
                </a:cubicBezTo>
                <a:cubicBezTo>
                  <a:pt x="183" y="431"/>
                  <a:pt x="183" y="432"/>
                  <a:pt x="183" y="432"/>
                </a:cubicBezTo>
                <a:close/>
                <a:moveTo>
                  <a:pt x="184" y="458"/>
                </a:moveTo>
                <a:cubicBezTo>
                  <a:pt x="183" y="456"/>
                  <a:pt x="186" y="456"/>
                  <a:pt x="184" y="458"/>
                </a:cubicBezTo>
                <a:close/>
                <a:moveTo>
                  <a:pt x="184" y="423"/>
                </a:moveTo>
                <a:cubicBezTo>
                  <a:pt x="184" y="423"/>
                  <a:pt x="184" y="423"/>
                  <a:pt x="184" y="423"/>
                </a:cubicBezTo>
                <a:cubicBezTo>
                  <a:pt x="185" y="422"/>
                  <a:pt x="185" y="422"/>
                  <a:pt x="184" y="423"/>
                </a:cubicBezTo>
                <a:cubicBezTo>
                  <a:pt x="184" y="423"/>
                  <a:pt x="184" y="423"/>
                  <a:pt x="184" y="423"/>
                </a:cubicBezTo>
                <a:cubicBezTo>
                  <a:pt x="184" y="423"/>
                  <a:pt x="184" y="423"/>
                  <a:pt x="184" y="423"/>
                </a:cubicBezTo>
                <a:close/>
                <a:moveTo>
                  <a:pt x="184" y="452"/>
                </a:moveTo>
                <a:cubicBezTo>
                  <a:pt x="182" y="449"/>
                  <a:pt x="186" y="449"/>
                  <a:pt x="184" y="452"/>
                </a:cubicBezTo>
                <a:close/>
                <a:moveTo>
                  <a:pt x="184" y="464"/>
                </a:moveTo>
                <a:cubicBezTo>
                  <a:pt x="185" y="466"/>
                  <a:pt x="182" y="465"/>
                  <a:pt x="184" y="464"/>
                </a:cubicBezTo>
                <a:close/>
                <a:moveTo>
                  <a:pt x="185" y="467"/>
                </a:moveTo>
                <a:cubicBezTo>
                  <a:pt x="186" y="471"/>
                  <a:pt x="182" y="470"/>
                  <a:pt x="185" y="467"/>
                </a:cubicBezTo>
                <a:close/>
                <a:moveTo>
                  <a:pt x="190" y="491"/>
                </a:moveTo>
                <a:cubicBezTo>
                  <a:pt x="189" y="492"/>
                  <a:pt x="189" y="488"/>
                  <a:pt x="190" y="489"/>
                </a:cubicBezTo>
                <a:cubicBezTo>
                  <a:pt x="191" y="490"/>
                  <a:pt x="190" y="491"/>
                  <a:pt x="190" y="491"/>
                </a:cubicBezTo>
                <a:close/>
                <a:moveTo>
                  <a:pt x="194" y="474"/>
                </a:moveTo>
                <a:cubicBezTo>
                  <a:pt x="195" y="475"/>
                  <a:pt x="194" y="475"/>
                  <a:pt x="194" y="475"/>
                </a:cubicBezTo>
                <a:cubicBezTo>
                  <a:pt x="193" y="476"/>
                  <a:pt x="193" y="473"/>
                  <a:pt x="194" y="474"/>
                </a:cubicBezTo>
                <a:close/>
                <a:moveTo>
                  <a:pt x="195" y="474"/>
                </a:moveTo>
                <a:cubicBezTo>
                  <a:pt x="197" y="475"/>
                  <a:pt x="194" y="476"/>
                  <a:pt x="195" y="474"/>
                </a:cubicBezTo>
                <a:close/>
                <a:moveTo>
                  <a:pt x="195" y="490"/>
                </a:moveTo>
                <a:cubicBezTo>
                  <a:pt x="195" y="490"/>
                  <a:pt x="195" y="491"/>
                  <a:pt x="195" y="491"/>
                </a:cubicBezTo>
                <a:cubicBezTo>
                  <a:pt x="194" y="493"/>
                  <a:pt x="194" y="489"/>
                  <a:pt x="195" y="490"/>
                </a:cubicBezTo>
                <a:close/>
                <a:moveTo>
                  <a:pt x="194" y="384"/>
                </a:moveTo>
                <a:cubicBezTo>
                  <a:pt x="193" y="385"/>
                  <a:pt x="194" y="382"/>
                  <a:pt x="195" y="383"/>
                </a:cubicBezTo>
                <a:cubicBezTo>
                  <a:pt x="195" y="383"/>
                  <a:pt x="194" y="384"/>
                  <a:pt x="194" y="384"/>
                </a:cubicBezTo>
                <a:close/>
                <a:moveTo>
                  <a:pt x="194" y="321"/>
                </a:moveTo>
                <a:cubicBezTo>
                  <a:pt x="195" y="321"/>
                  <a:pt x="194" y="322"/>
                  <a:pt x="194" y="322"/>
                </a:cubicBezTo>
                <a:cubicBezTo>
                  <a:pt x="192" y="324"/>
                  <a:pt x="193" y="321"/>
                  <a:pt x="194" y="321"/>
                </a:cubicBezTo>
                <a:close/>
                <a:moveTo>
                  <a:pt x="192" y="489"/>
                </a:moveTo>
                <a:cubicBezTo>
                  <a:pt x="191" y="491"/>
                  <a:pt x="192" y="487"/>
                  <a:pt x="193" y="488"/>
                </a:cubicBezTo>
                <a:cubicBezTo>
                  <a:pt x="194" y="489"/>
                  <a:pt x="193" y="489"/>
                  <a:pt x="192" y="489"/>
                </a:cubicBezTo>
                <a:close/>
                <a:moveTo>
                  <a:pt x="192" y="466"/>
                </a:moveTo>
                <a:cubicBezTo>
                  <a:pt x="190" y="466"/>
                  <a:pt x="191" y="463"/>
                  <a:pt x="192" y="464"/>
                </a:cubicBezTo>
                <a:cubicBezTo>
                  <a:pt x="193" y="465"/>
                  <a:pt x="192" y="465"/>
                  <a:pt x="192" y="466"/>
                </a:cubicBezTo>
                <a:close/>
                <a:moveTo>
                  <a:pt x="191" y="461"/>
                </a:moveTo>
                <a:cubicBezTo>
                  <a:pt x="192" y="460"/>
                  <a:pt x="193" y="460"/>
                  <a:pt x="191" y="461"/>
                </a:cubicBezTo>
                <a:close/>
                <a:moveTo>
                  <a:pt x="191" y="403"/>
                </a:moveTo>
                <a:cubicBezTo>
                  <a:pt x="189" y="404"/>
                  <a:pt x="190" y="400"/>
                  <a:pt x="191" y="400"/>
                </a:cubicBezTo>
                <a:cubicBezTo>
                  <a:pt x="192" y="400"/>
                  <a:pt x="193" y="403"/>
                  <a:pt x="191" y="403"/>
                </a:cubicBezTo>
                <a:close/>
                <a:moveTo>
                  <a:pt x="191" y="311"/>
                </a:moveTo>
                <a:cubicBezTo>
                  <a:pt x="192" y="310"/>
                  <a:pt x="192" y="311"/>
                  <a:pt x="192" y="312"/>
                </a:cubicBezTo>
                <a:cubicBezTo>
                  <a:pt x="191" y="313"/>
                  <a:pt x="191" y="311"/>
                  <a:pt x="191" y="311"/>
                </a:cubicBezTo>
                <a:close/>
                <a:moveTo>
                  <a:pt x="190" y="343"/>
                </a:moveTo>
                <a:cubicBezTo>
                  <a:pt x="190" y="340"/>
                  <a:pt x="192" y="342"/>
                  <a:pt x="190" y="343"/>
                </a:cubicBezTo>
                <a:close/>
                <a:moveTo>
                  <a:pt x="191" y="480"/>
                </a:moveTo>
                <a:cubicBezTo>
                  <a:pt x="191" y="481"/>
                  <a:pt x="189" y="483"/>
                  <a:pt x="188" y="483"/>
                </a:cubicBezTo>
                <a:cubicBezTo>
                  <a:pt x="183" y="484"/>
                  <a:pt x="190" y="478"/>
                  <a:pt x="191" y="480"/>
                </a:cubicBezTo>
                <a:close/>
                <a:moveTo>
                  <a:pt x="188" y="475"/>
                </a:moveTo>
                <a:cubicBezTo>
                  <a:pt x="187" y="476"/>
                  <a:pt x="188" y="473"/>
                  <a:pt x="189" y="474"/>
                </a:cubicBezTo>
                <a:cubicBezTo>
                  <a:pt x="189" y="474"/>
                  <a:pt x="189" y="475"/>
                  <a:pt x="188" y="475"/>
                </a:cubicBezTo>
                <a:close/>
                <a:moveTo>
                  <a:pt x="189" y="478"/>
                </a:moveTo>
                <a:cubicBezTo>
                  <a:pt x="188" y="479"/>
                  <a:pt x="188" y="479"/>
                  <a:pt x="188" y="479"/>
                </a:cubicBezTo>
                <a:cubicBezTo>
                  <a:pt x="188" y="479"/>
                  <a:pt x="188" y="479"/>
                  <a:pt x="188" y="479"/>
                </a:cubicBezTo>
                <a:cubicBezTo>
                  <a:pt x="188" y="479"/>
                  <a:pt x="189" y="478"/>
                  <a:pt x="189" y="478"/>
                </a:cubicBezTo>
                <a:close/>
                <a:moveTo>
                  <a:pt x="189" y="439"/>
                </a:moveTo>
                <a:cubicBezTo>
                  <a:pt x="188" y="441"/>
                  <a:pt x="189" y="438"/>
                  <a:pt x="189" y="439"/>
                </a:cubicBezTo>
                <a:close/>
                <a:moveTo>
                  <a:pt x="188" y="458"/>
                </a:moveTo>
                <a:cubicBezTo>
                  <a:pt x="190" y="459"/>
                  <a:pt x="190" y="462"/>
                  <a:pt x="189" y="462"/>
                </a:cubicBezTo>
                <a:cubicBezTo>
                  <a:pt x="186" y="464"/>
                  <a:pt x="186" y="458"/>
                  <a:pt x="188" y="458"/>
                </a:cubicBezTo>
                <a:close/>
                <a:moveTo>
                  <a:pt x="187" y="458"/>
                </a:moveTo>
                <a:cubicBezTo>
                  <a:pt x="186" y="459"/>
                  <a:pt x="188" y="457"/>
                  <a:pt x="187" y="458"/>
                </a:cubicBezTo>
                <a:close/>
                <a:moveTo>
                  <a:pt x="187" y="433"/>
                </a:moveTo>
                <a:cubicBezTo>
                  <a:pt x="185" y="434"/>
                  <a:pt x="185" y="430"/>
                  <a:pt x="187" y="431"/>
                </a:cubicBezTo>
                <a:cubicBezTo>
                  <a:pt x="188" y="432"/>
                  <a:pt x="187" y="433"/>
                  <a:pt x="187" y="433"/>
                </a:cubicBezTo>
                <a:close/>
                <a:moveTo>
                  <a:pt x="187" y="298"/>
                </a:moveTo>
                <a:cubicBezTo>
                  <a:pt x="187" y="299"/>
                  <a:pt x="186" y="300"/>
                  <a:pt x="186" y="301"/>
                </a:cubicBezTo>
                <a:cubicBezTo>
                  <a:pt x="185" y="302"/>
                  <a:pt x="186" y="298"/>
                  <a:pt x="187" y="298"/>
                </a:cubicBezTo>
                <a:close/>
                <a:moveTo>
                  <a:pt x="185" y="303"/>
                </a:moveTo>
                <a:cubicBezTo>
                  <a:pt x="186" y="304"/>
                  <a:pt x="185" y="306"/>
                  <a:pt x="185" y="308"/>
                </a:cubicBezTo>
                <a:cubicBezTo>
                  <a:pt x="183" y="307"/>
                  <a:pt x="185" y="304"/>
                  <a:pt x="185" y="303"/>
                </a:cubicBezTo>
                <a:close/>
                <a:moveTo>
                  <a:pt x="185" y="380"/>
                </a:moveTo>
                <a:cubicBezTo>
                  <a:pt x="187" y="380"/>
                  <a:pt x="186" y="386"/>
                  <a:pt x="184" y="386"/>
                </a:cubicBezTo>
                <a:cubicBezTo>
                  <a:pt x="181" y="387"/>
                  <a:pt x="182" y="380"/>
                  <a:pt x="185" y="380"/>
                </a:cubicBezTo>
                <a:close/>
                <a:moveTo>
                  <a:pt x="185" y="400"/>
                </a:moveTo>
                <a:cubicBezTo>
                  <a:pt x="184" y="400"/>
                  <a:pt x="185" y="397"/>
                  <a:pt x="186" y="398"/>
                </a:cubicBezTo>
                <a:cubicBezTo>
                  <a:pt x="186" y="399"/>
                  <a:pt x="186" y="400"/>
                  <a:pt x="185" y="400"/>
                </a:cubicBezTo>
                <a:close/>
                <a:moveTo>
                  <a:pt x="183" y="360"/>
                </a:moveTo>
                <a:cubicBezTo>
                  <a:pt x="182" y="361"/>
                  <a:pt x="184" y="358"/>
                  <a:pt x="183" y="360"/>
                </a:cubicBezTo>
                <a:close/>
                <a:moveTo>
                  <a:pt x="183" y="311"/>
                </a:moveTo>
                <a:cubicBezTo>
                  <a:pt x="184" y="312"/>
                  <a:pt x="183" y="313"/>
                  <a:pt x="182" y="314"/>
                </a:cubicBezTo>
                <a:cubicBezTo>
                  <a:pt x="181" y="315"/>
                  <a:pt x="181" y="310"/>
                  <a:pt x="183" y="311"/>
                </a:cubicBezTo>
                <a:close/>
                <a:moveTo>
                  <a:pt x="184" y="408"/>
                </a:moveTo>
                <a:cubicBezTo>
                  <a:pt x="185" y="409"/>
                  <a:pt x="185" y="411"/>
                  <a:pt x="186" y="411"/>
                </a:cubicBezTo>
                <a:cubicBezTo>
                  <a:pt x="188" y="412"/>
                  <a:pt x="187" y="416"/>
                  <a:pt x="185" y="417"/>
                </a:cubicBezTo>
                <a:cubicBezTo>
                  <a:pt x="181" y="418"/>
                  <a:pt x="182" y="416"/>
                  <a:pt x="181" y="414"/>
                </a:cubicBezTo>
                <a:cubicBezTo>
                  <a:pt x="181" y="414"/>
                  <a:pt x="180" y="413"/>
                  <a:pt x="180" y="413"/>
                </a:cubicBezTo>
                <a:cubicBezTo>
                  <a:pt x="180" y="411"/>
                  <a:pt x="182" y="408"/>
                  <a:pt x="184" y="408"/>
                </a:cubicBezTo>
                <a:close/>
                <a:moveTo>
                  <a:pt x="180" y="440"/>
                </a:moveTo>
                <a:cubicBezTo>
                  <a:pt x="181" y="440"/>
                  <a:pt x="180" y="441"/>
                  <a:pt x="180" y="441"/>
                </a:cubicBezTo>
                <a:cubicBezTo>
                  <a:pt x="179" y="441"/>
                  <a:pt x="180" y="440"/>
                  <a:pt x="180" y="440"/>
                </a:cubicBezTo>
                <a:close/>
                <a:moveTo>
                  <a:pt x="179" y="443"/>
                </a:moveTo>
                <a:cubicBezTo>
                  <a:pt x="178" y="441"/>
                  <a:pt x="181" y="441"/>
                  <a:pt x="179" y="443"/>
                </a:cubicBezTo>
                <a:close/>
                <a:moveTo>
                  <a:pt x="179" y="317"/>
                </a:moveTo>
                <a:cubicBezTo>
                  <a:pt x="180" y="320"/>
                  <a:pt x="177" y="318"/>
                  <a:pt x="179" y="317"/>
                </a:cubicBezTo>
                <a:close/>
                <a:moveTo>
                  <a:pt x="178" y="324"/>
                </a:moveTo>
                <a:cubicBezTo>
                  <a:pt x="176" y="323"/>
                  <a:pt x="178" y="321"/>
                  <a:pt x="178" y="320"/>
                </a:cubicBezTo>
                <a:cubicBezTo>
                  <a:pt x="179" y="321"/>
                  <a:pt x="178" y="323"/>
                  <a:pt x="178" y="324"/>
                </a:cubicBezTo>
                <a:close/>
                <a:moveTo>
                  <a:pt x="178" y="296"/>
                </a:moveTo>
                <a:cubicBezTo>
                  <a:pt x="179" y="297"/>
                  <a:pt x="177" y="298"/>
                  <a:pt x="177" y="298"/>
                </a:cubicBezTo>
                <a:cubicBezTo>
                  <a:pt x="176" y="299"/>
                  <a:pt x="177" y="295"/>
                  <a:pt x="178" y="296"/>
                </a:cubicBezTo>
                <a:close/>
                <a:moveTo>
                  <a:pt x="174" y="309"/>
                </a:moveTo>
                <a:cubicBezTo>
                  <a:pt x="175" y="310"/>
                  <a:pt x="173" y="310"/>
                  <a:pt x="174" y="309"/>
                </a:cubicBezTo>
                <a:close/>
                <a:moveTo>
                  <a:pt x="175" y="357"/>
                </a:moveTo>
                <a:cubicBezTo>
                  <a:pt x="175" y="359"/>
                  <a:pt x="173" y="358"/>
                  <a:pt x="175" y="357"/>
                </a:cubicBezTo>
                <a:close/>
                <a:moveTo>
                  <a:pt x="174" y="377"/>
                </a:moveTo>
                <a:cubicBezTo>
                  <a:pt x="175" y="378"/>
                  <a:pt x="174" y="379"/>
                  <a:pt x="173" y="380"/>
                </a:cubicBezTo>
                <a:cubicBezTo>
                  <a:pt x="173" y="379"/>
                  <a:pt x="174" y="378"/>
                  <a:pt x="174" y="377"/>
                </a:cubicBezTo>
                <a:close/>
                <a:moveTo>
                  <a:pt x="172" y="391"/>
                </a:moveTo>
                <a:cubicBezTo>
                  <a:pt x="172" y="390"/>
                  <a:pt x="175" y="392"/>
                  <a:pt x="176" y="391"/>
                </a:cubicBezTo>
                <a:cubicBezTo>
                  <a:pt x="176" y="390"/>
                  <a:pt x="174" y="389"/>
                  <a:pt x="175" y="388"/>
                </a:cubicBezTo>
                <a:cubicBezTo>
                  <a:pt x="178" y="385"/>
                  <a:pt x="181" y="394"/>
                  <a:pt x="178" y="396"/>
                </a:cubicBezTo>
                <a:cubicBezTo>
                  <a:pt x="176" y="397"/>
                  <a:pt x="174" y="397"/>
                  <a:pt x="173" y="396"/>
                </a:cubicBezTo>
                <a:cubicBezTo>
                  <a:pt x="173" y="396"/>
                  <a:pt x="172" y="392"/>
                  <a:pt x="172" y="391"/>
                </a:cubicBezTo>
                <a:close/>
                <a:moveTo>
                  <a:pt x="172" y="439"/>
                </a:moveTo>
                <a:cubicBezTo>
                  <a:pt x="173" y="439"/>
                  <a:pt x="173" y="441"/>
                  <a:pt x="172" y="441"/>
                </a:cubicBezTo>
                <a:cubicBezTo>
                  <a:pt x="170" y="443"/>
                  <a:pt x="170" y="437"/>
                  <a:pt x="172" y="439"/>
                </a:cubicBezTo>
                <a:close/>
                <a:moveTo>
                  <a:pt x="169" y="427"/>
                </a:moveTo>
                <a:cubicBezTo>
                  <a:pt x="166" y="428"/>
                  <a:pt x="167" y="422"/>
                  <a:pt x="169" y="422"/>
                </a:cubicBezTo>
                <a:cubicBezTo>
                  <a:pt x="171" y="422"/>
                  <a:pt x="171" y="426"/>
                  <a:pt x="169" y="427"/>
                </a:cubicBezTo>
                <a:close/>
                <a:moveTo>
                  <a:pt x="165" y="288"/>
                </a:moveTo>
                <a:cubicBezTo>
                  <a:pt x="166" y="288"/>
                  <a:pt x="166" y="289"/>
                  <a:pt x="166" y="290"/>
                </a:cubicBezTo>
                <a:cubicBezTo>
                  <a:pt x="165" y="291"/>
                  <a:pt x="164" y="288"/>
                  <a:pt x="165" y="288"/>
                </a:cubicBezTo>
                <a:close/>
                <a:moveTo>
                  <a:pt x="163" y="282"/>
                </a:moveTo>
                <a:cubicBezTo>
                  <a:pt x="164" y="282"/>
                  <a:pt x="164" y="284"/>
                  <a:pt x="163" y="284"/>
                </a:cubicBezTo>
                <a:cubicBezTo>
                  <a:pt x="162" y="286"/>
                  <a:pt x="161" y="282"/>
                  <a:pt x="163" y="282"/>
                </a:cubicBezTo>
                <a:close/>
                <a:moveTo>
                  <a:pt x="161" y="324"/>
                </a:moveTo>
                <a:cubicBezTo>
                  <a:pt x="161" y="324"/>
                  <a:pt x="162" y="322"/>
                  <a:pt x="162" y="321"/>
                </a:cubicBezTo>
                <a:cubicBezTo>
                  <a:pt x="162" y="322"/>
                  <a:pt x="166" y="321"/>
                  <a:pt x="166" y="321"/>
                </a:cubicBezTo>
                <a:cubicBezTo>
                  <a:pt x="166" y="321"/>
                  <a:pt x="166" y="322"/>
                  <a:pt x="166" y="322"/>
                </a:cubicBezTo>
                <a:cubicBezTo>
                  <a:pt x="167" y="323"/>
                  <a:pt x="168" y="322"/>
                  <a:pt x="168" y="323"/>
                </a:cubicBezTo>
                <a:cubicBezTo>
                  <a:pt x="171" y="328"/>
                  <a:pt x="168" y="335"/>
                  <a:pt x="165" y="336"/>
                </a:cubicBezTo>
                <a:cubicBezTo>
                  <a:pt x="163" y="337"/>
                  <a:pt x="160" y="335"/>
                  <a:pt x="160" y="334"/>
                </a:cubicBezTo>
                <a:cubicBezTo>
                  <a:pt x="160" y="334"/>
                  <a:pt x="160" y="332"/>
                  <a:pt x="160" y="333"/>
                </a:cubicBezTo>
                <a:cubicBezTo>
                  <a:pt x="160" y="331"/>
                  <a:pt x="158" y="332"/>
                  <a:pt x="158" y="330"/>
                </a:cubicBezTo>
                <a:cubicBezTo>
                  <a:pt x="156" y="327"/>
                  <a:pt x="159" y="326"/>
                  <a:pt x="161" y="324"/>
                </a:cubicBezTo>
                <a:close/>
                <a:moveTo>
                  <a:pt x="157" y="351"/>
                </a:moveTo>
                <a:cubicBezTo>
                  <a:pt x="159" y="352"/>
                  <a:pt x="156" y="353"/>
                  <a:pt x="157" y="351"/>
                </a:cubicBezTo>
                <a:close/>
                <a:moveTo>
                  <a:pt x="157" y="367"/>
                </a:moveTo>
                <a:cubicBezTo>
                  <a:pt x="157" y="366"/>
                  <a:pt x="158" y="367"/>
                  <a:pt x="158" y="367"/>
                </a:cubicBezTo>
                <a:cubicBezTo>
                  <a:pt x="159" y="366"/>
                  <a:pt x="157" y="364"/>
                  <a:pt x="159" y="364"/>
                </a:cubicBezTo>
                <a:cubicBezTo>
                  <a:pt x="162" y="364"/>
                  <a:pt x="159" y="373"/>
                  <a:pt x="159" y="374"/>
                </a:cubicBezTo>
                <a:cubicBezTo>
                  <a:pt x="159" y="372"/>
                  <a:pt x="154" y="369"/>
                  <a:pt x="157" y="367"/>
                </a:cubicBezTo>
                <a:close/>
                <a:moveTo>
                  <a:pt x="157" y="386"/>
                </a:moveTo>
                <a:cubicBezTo>
                  <a:pt x="158" y="386"/>
                  <a:pt x="157" y="388"/>
                  <a:pt x="156" y="389"/>
                </a:cubicBezTo>
                <a:cubicBezTo>
                  <a:pt x="155" y="389"/>
                  <a:pt x="155" y="385"/>
                  <a:pt x="157" y="386"/>
                </a:cubicBezTo>
                <a:close/>
                <a:moveTo>
                  <a:pt x="155" y="373"/>
                </a:moveTo>
                <a:cubicBezTo>
                  <a:pt x="154" y="374"/>
                  <a:pt x="154" y="372"/>
                  <a:pt x="155" y="371"/>
                </a:cubicBezTo>
                <a:cubicBezTo>
                  <a:pt x="156" y="371"/>
                  <a:pt x="156" y="373"/>
                  <a:pt x="155" y="373"/>
                </a:cubicBezTo>
                <a:close/>
                <a:moveTo>
                  <a:pt x="153" y="242"/>
                </a:moveTo>
                <a:cubicBezTo>
                  <a:pt x="153" y="242"/>
                  <a:pt x="154" y="237"/>
                  <a:pt x="155" y="238"/>
                </a:cubicBezTo>
                <a:cubicBezTo>
                  <a:pt x="156" y="238"/>
                  <a:pt x="154" y="243"/>
                  <a:pt x="154" y="241"/>
                </a:cubicBezTo>
                <a:cubicBezTo>
                  <a:pt x="153" y="247"/>
                  <a:pt x="153" y="255"/>
                  <a:pt x="152" y="262"/>
                </a:cubicBezTo>
                <a:cubicBezTo>
                  <a:pt x="152" y="262"/>
                  <a:pt x="151" y="264"/>
                  <a:pt x="151" y="264"/>
                </a:cubicBezTo>
                <a:cubicBezTo>
                  <a:pt x="149" y="265"/>
                  <a:pt x="152" y="246"/>
                  <a:pt x="153" y="242"/>
                </a:cubicBezTo>
                <a:close/>
                <a:moveTo>
                  <a:pt x="150" y="352"/>
                </a:moveTo>
                <a:cubicBezTo>
                  <a:pt x="151" y="351"/>
                  <a:pt x="155" y="357"/>
                  <a:pt x="155" y="359"/>
                </a:cubicBezTo>
                <a:cubicBezTo>
                  <a:pt x="155" y="360"/>
                  <a:pt x="154" y="362"/>
                  <a:pt x="152" y="363"/>
                </a:cubicBezTo>
                <a:cubicBezTo>
                  <a:pt x="147" y="365"/>
                  <a:pt x="149" y="352"/>
                  <a:pt x="150" y="352"/>
                </a:cubicBezTo>
                <a:close/>
                <a:moveTo>
                  <a:pt x="148" y="397"/>
                </a:moveTo>
                <a:cubicBezTo>
                  <a:pt x="148" y="397"/>
                  <a:pt x="148" y="398"/>
                  <a:pt x="148" y="398"/>
                </a:cubicBezTo>
                <a:cubicBezTo>
                  <a:pt x="146" y="396"/>
                  <a:pt x="149" y="396"/>
                  <a:pt x="148" y="397"/>
                </a:cubicBezTo>
                <a:close/>
                <a:moveTo>
                  <a:pt x="147" y="373"/>
                </a:moveTo>
                <a:cubicBezTo>
                  <a:pt x="148" y="377"/>
                  <a:pt x="145" y="374"/>
                  <a:pt x="147" y="373"/>
                </a:cubicBezTo>
                <a:close/>
                <a:moveTo>
                  <a:pt x="145" y="340"/>
                </a:moveTo>
                <a:cubicBezTo>
                  <a:pt x="148" y="342"/>
                  <a:pt x="144" y="344"/>
                  <a:pt x="145" y="340"/>
                </a:cubicBezTo>
                <a:close/>
                <a:moveTo>
                  <a:pt x="145" y="351"/>
                </a:moveTo>
                <a:cubicBezTo>
                  <a:pt x="145" y="351"/>
                  <a:pt x="145" y="352"/>
                  <a:pt x="145" y="352"/>
                </a:cubicBezTo>
                <a:cubicBezTo>
                  <a:pt x="143" y="354"/>
                  <a:pt x="143" y="350"/>
                  <a:pt x="145" y="351"/>
                </a:cubicBezTo>
                <a:close/>
                <a:moveTo>
                  <a:pt x="143" y="299"/>
                </a:moveTo>
                <a:cubicBezTo>
                  <a:pt x="143" y="299"/>
                  <a:pt x="144" y="301"/>
                  <a:pt x="143" y="301"/>
                </a:cubicBezTo>
                <a:cubicBezTo>
                  <a:pt x="142" y="303"/>
                  <a:pt x="142" y="298"/>
                  <a:pt x="143" y="299"/>
                </a:cubicBezTo>
                <a:close/>
                <a:moveTo>
                  <a:pt x="143" y="429"/>
                </a:moveTo>
                <a:cubicBezTo>
                  <a:pt x="145" y="430"/>
                  <a:pt x="143" y="430"/>
                  <a:pt x="144" y="431"/>
                </a:cubicBezTo>
                <a:cubicBezTo>
                  <a:pt x="145" y="433"/>
                  <a:pt x="146" y="433"/>
                  <a:pt x="146" y="433"/>
                </a:cubicBezTo>
                <a:cubicBezTo>
                  <a:pt x="147" y="435"/>
                  <a:pt x="146" y="438"/>
                  <a:pt x="145" y="439"/>
                </a:cubicBezTo>
                <a:cubicBezTo>
                  <a:pt x="142" y="440"/>
                  <a:pt x="140" y="438"/>
                  <a:pt x="140" y="435"/>
                </a:cubicBezTo>
                <a:cubicBezTo>
                  <a:pt x="141" y="433"/>
                  <a:pt x="143" y="433"/>
                  <a:pt x="143" y="432"/>
                </a:cubicBezTo>
                <a:cubicBezTo>
                  <a:pt x="143" y="431"/>
                  <a:pt x="141" y="429"/>
                  <a:pt x="143" y="429"/>
                </a:cubicBezTo>
                <a:close/>
                <a:moveTo>
                  <a:pt x="142" y="354"/>
                </a:moveTo>
                <a:cubicBezTo>
                  <a:pt x="143" y="355"/>
                  <a:pt x="140" y="357"/>
                  <a:pt x="142" y="354"/>
                </a:cubicBezTo>
                <a:close/>
                <a:moveTo>
                  <a:pt x="141" y="298"/>
                </a:moveTo>
                <a:cubicBezTo>
                  <a:pt x="142" y="301"/>
                  <a:pt x="139" y="299"/>
                  <a:pt x="141" y="298"/>
                </a:cubicBezTo>
                <a:close/>
                <a:moveTo>
                  <a:pt x="140" y="375"/>
                </a:moveTo>
                <a:cubicBezTo>
                  <a:pt x="141" y="375"/>
                  <a:pt x="142" y="377"/>
                  <a:pt x="141" y="378"/>
                </a:cubicBezTo>
                <a:cubicBezTo>
                  <a:pt x="140" y="380"/>
                  <a:pt x="139" y="375"/>
                  <a:pt x="140" y="375"/>
                </a:cubicBezTo>
                <a:close/>
                <a:moveTo>
                  <a:pt x="142" y="405"/>
                </a:moveTo>
                <a:cubicBezTo>
                  <a:pt x="141" y="406"/>
                  <a:pt x="141" y="406"/>
                  <a:pt x="141" y="406"/>
                </a:cubicBezTo>
                <a:cubicBezTo>
                  <a:pt x="141" y="406"/>
                  <a:pt x="141" y="406"/>
                  <a:pt x="142" y="405"/>
                </a:cubicBezTo>
                <a:close/>
                <a:moveTo>
                  <a:pt x="141" y="417"/>
                </a:moveTo>
                <a:cubicBezTo>
                  <a:pt x="142" y="418"/>
                  <a:pt x="141" y="420"/>
                  <a:pt x="141" y="420"/>
                </a:cubicBezTo>
                <a:cubicBezTo>
                  <a:pt x="139" y="422"/>
                  <a:pt x="139" y="417"/>
                  <a:pt x="141" y="417"/>
                </a:cubicBezTo>
                <a:close/>
                <a:moveTo>
                  <a:pt x="137" y="465"/>
                </a:moveTo>
                <a:cubicBezTo>
                  <a:pt x="135" y="470"/>
                  <a:pt x="131" y="464"/>
                  <a:pt x="136" y="463"/>
                </a:cubicBezTo>
                <a:cubicBezTo>
                  <a:pt x="136" y="463"/>
                  <a:pt x="139" y="463"/>
                  <a:pt x="139" y="463"/>
                </a:cubicBezTo>
                <a:cubicBezTo>
                  <a:pt x="142" y="466"/>
                  <a:pt x="137" y="469"/>
                  <a:pt x="137" y="465"/>
                </a:cubicBezTo>
                <a:close/>
                <a:moveTo>
                  <a:pt x="138" y="439"/>
                </a:moveTo>
                <a:cubicBezTo>
                  <a:pt x="139" y="439"/>
                  <a:pt x="139" y="440"/>
                  <a:pt x="139" y="441"/>
                </a:cubicBezTo>
                <a:cubicBezTo>
                  <a:pt x="138" y="441"/>
                  <a:pt x="138" y="439"/>
                  <a:pt x="138" y="439"/>
                </a:cubicBezTo>
                <a:close/>
                <a:moveTo>
                  <a:pt x="138" y="452"/>
                </a:moveTo>
                <a:cubicBezTo>
                  <a:pt x="137" y="454"/>
                  <a:pt x="136" y="451"/>
                  <a:pt x="137" y="451"/>
                </a:cubicBezTo>
                <a:cubicBezTo>
                  <a:pt x="138" y="451"/>
                  <a:pt x="138" y="452"/>
                  <a:pt x="138" y="452"/>
                </a:cubicBezTo>
                <a:close/>
                <a:moveTo>
                  <a:pt x="137" y="363"/>
                </a:moveTo>
                <a:cubicBezTo>
                  <a:pt x="137" y="363"/>
                  <a:pt x="135" y="363"/>
                  <a:pt x="135" y="364"/>
                </a:cubicBezTo>
                <a:cubicBezTo>
                  <a:pt x="133" y="367"/>
                  <a:pt x="138" y="377"/>
                  <a:pt x="134" y="379"/>
                </a:cubicBezTo>
                <a:cubicBezTo>
                  <a:pt x="132" y="380"/>
                  <a:pt x="133" y="366"/>
                  <a:pt x="134" y="364"/>
                </a:cubicBezTo>
                <a:cubicBezTo>
                  <a:pt x="134" y="360"/>
                  <a:pt x="134" y="356"/>
                  <a:pt x="134" y="353"/>
                </a:cubicBezTo>
                <a:cubicBezTo>
                  <a:pt x="134" y="353"/>
                  <a:pt x="135" y="352"/>
                  <a:pt x="135" y="352"/>
                </a:cubicBezTo>
                <a:cubicBezTo>
                  <a:pt x="137" y="353"/>
                  <a:pt x="135" y="355"/>
                  <a:pt x="135" y="357"/>
                </a:cubicBezTo>
                <a:cubicBezTo>
                  <a:pt x="135" y="360"/>
                  <a:pt x="138" y="360"/>
                  <a:pt x="137" y="363"/>
                </a:cubicBezTo>
                <a:close/>
                <a:moveTo>
                  <a:pt x="133" y="337"/>
                </a:moveTo>
                <a:cubicBezTo>
                  <a:pt x="134" y="338"/>
                  <a:pt x="132" y="339"/>
                  <a:pt x="133" y="337"/>
                </a:cubicBezTo>
                <a:close/>
                <a:moveTo>
                  <a:pt x="136" y="331"/>
                </a:moveTo>
                <a:cubicBezTo>
                  <a:pt x="137" y="332"/>
                  <a:pt x="136" y="334"/>
                  <a:pt x="136" y="334"/>
                </a:cubicBezTo>
                <a:cubicBezTo>
                  <a:pt x="135" y="335"/>
                  <a:pt x="135" y="331"/>
                  <a:pt x="136" y="331"/>
                </a:cubicBezTo>
                <a:close/>
                <a:moveTo>
                  <a:pt x="133" y="322"/>
                </a:moveTo>
                <a:cubicBezTo>
                  <a:pt x="134" y="322"/>
                  <a:pt x="135" y="323"/>
                  <a:pt x="134" y="324"/>
                </a:cubicBezTo>
                <a:cubicBezTo>
                  <a:pt x="133" y="325"/>
                  <a:pt x="132" y="322"/>
                  <a:pt x="133" y="322"/>
                </a:cubicBezTo>
                <a:close/>
                <a:moveTo>
                  <a:pt x="133" y="325"/>
                </a:moveTo>
                <a:cubicBezTo>
                  <a:pt x="135" y="324"/>
                  <a:pt x="136" y="328"/>
                  <a:pt x="134" y="329"/>
                </a:cubicBezTo>
                <a:cubicBezTo>
                  <a:pt x="132" y="331"/>
                  <a:pt x="132" y="325"/>
                  <a:pt x="133" y="325"/>
                </a:cubicBezTo>
                <a:close/>
                <a:moveTo>
                  <a:pt x="132" y="371"/>
                </a:moveTo>
                <a:cubicBezTo>
                  <a:pt x="132" y="371"/>
                  <a:pt x="131" y="371"/>
                  <a:pt x="131" y="371"/>
                </a:cubicBezTo>
                <a:cubicBezTo>
                  <a:pt x="131" y="370"/>
                  <a:pt x="133" y="370"/>
                  <a:pt x="132" y="371"/>
                </a:cubicBezTo>
                <a:close/>
                <a:moveTo>
                  <a:pt x="129" y="374"/>
                </a:moveTo>
                <a:cubicBezTo>
                  <a:pt x="129" y="376"/>
                  <a:pt x="127" y="374"/>
                  <a:pt x="129" y="374"/>
                </a:cubicBezTo>
                <a:close/>
                <a:moveTo>
                  <a:pt x="128" y="318"/>
                </a:moveTo>
                <a:cubicBezTo>
                  <a:pt x="128" y="319"/>
                  <a:pt x="127" y="319"/>
                  <a:pt x="127" y="320"/>
                </a:cubicBezTo>
                <a:cubicBezTo>
                  <a:pt x="127" y="320"/>
                  <a:pt x="127" y="318"/>
                  <a:pt x="128" y="318"/>
                </a:cubicBezTo>
                <a:close/>
                <a:moveTo>
                  <a:pt x="126" y="325"/>
                </a:moveTo>
                <a:cubicBezTo>
                  <a:pt x="127" y="326"/>
                  <a:pt x="126" y="328"/>
                  <a:pt x="126" y="329"/>
                </a:cubicBezTo>
                <a:cubicBezTo>
                  <a:pt x="124" y="329"/>
                  <a:pt x="126" y="326"/>
                  <a:pt x="126" y="325"/>
                </a:cubicBezTo>
                <a:close/>
                <a:moveTo>
                  <a:pt x="124" y="375"/>
                </a:moveTo>
                <a:cubicBezTo>
                  <a:pt x="124" y="374"/>
                  <a:pt x="125" y="375"/>
                  <a:pt x="125" y="375"/>
                </a:cubicBezTo>
                <a:cubicBezTo>
                  <a:pt x="125" y="375"/>
                  <a:pt x="124" y="375"/>
                  <a:pt x="124" y="375"/>
                </a:cubicBezTo>
                <a:close/>
                <a:moveTo>
                  <a:pt x="120" y="352"/>
                </a:moveTo>
                <a:cubicBezTo>
                  <a:pt x="121" y="352"/>
                  <a:pt x="122" y="353"/>
                  <a:pt x="121" y="354"/>
                </a:cubicBezTo>
                <a:cubicBezTo>
                  <a:pt x="120" y="356"/>
                  <a:pt x="119" y="352"/>
                  <a:pt x="120" y="352"/>
                </a:cubicBezTo>
                <a:close/>
                <a:moveTo>
                  <a:pt x="124" y="362"/>
                </a:moveTo>
                <a:cubicBezTo>
                  <a:pt x="126" y="364"/>
                  <a:pt x="124" y="368"/>
                  <a:pt x="121" y="367"/>
                </a:cubicBezTo>
                <a:cubicBezTo>
                  <a:pt x="120" y="367"/>
                  <a:pt x="121" y="364"/>
                  <a:pt x="120" y="362"/>
                </a:cubicBezTo>
                <a:cubicBezTo>
                  <a:pt x="121" y="365"/>
                  <a:pt x="124" y="362"/>
                  <a:pt x="124" y="362"/>
                </a:cubicBezTo>
                <a:close/>
                <a:moveTo>
                  <a:pt x="121" y="425"/>
                </a:moveTo>
                <a:cubicBezTo>
                  <a:pt x="121" y="425"/>
                  <a:pt x="120" y="425"/>
                  <a:pt x="120" y="425"/>
                </a:cubicBezTo>
                <a:cubicBezTo>
                  <a:pt x="118" y="423"/>
                  <a:pt x="123" y="422"/>
                  <a:pt x="121" y="425"/>
                </a:cubicBezTo>
                <a:close/>
                <a:moveTo>
                  <a:pt x="119" y="435"/>
                </a:moveTo>
                <a:cubicBezTo>
                  <a:pt x="118" y="435"/>
                  <a:pt x="119" y="435"/>
                  <a:pt x="119" y="434"/>
                </a:cubicBezTo>
                <a:cubicBezTo>
                  <a:pt x="119" y="434"/>
                  <a:pt x="119" y="435"/>
                  <a:pt x="119" y="435"/>
                </a:cubicBezTo>
                <a:close/>
                <a:moveTo>
                  <a:pt x="112" y="346"/>
                </a:moveTo>
                <a:cubicBezTo>
                  <a:pt x="112" y="346"/>
                  <a:pt x="114" y="344"/>
                  <a:pt x="116" y="345"/>
                </a:cubicBezTo>
                <a:cubicBezTo>
                  <a:pt x="118" y="345"/>
                  <a:pt x="119" y="348"/>
                  <a:pt x="119" y="351"/>
                </a:cubicBezTo>
                <a:cubicBezTo>
                  <a:pt x="118" y="352"/>
                  <a:pt x="117" y="355"/>
                  <a:pt x="117" y="355"/>
                </a:cubicBezTo>
                <a:cubicBezTo>
                  <a:pt x="117" y="355"/>
                  <a:pt x="113" y="354"/>
                  <a:pt x="112" y="352"/>
                </a:cubicBezTo>
                <a:cubicBezTo>
                  <a:pt x="112" y="352"/>
                  <a:pt x="111" y="347"/>
                  <a:pt x="112" y="346"/>
                </a:cubicBezTo>
                <a:close/>
                <a:moveTo>
                  <a:pt x="111" y="354"/>
                </a:moveTo>
                <a:cubicBezTo>
                  <a:pt x="112" y="354"/>
                  <a:pt x="111" y="355"/>
                  <a:pt x="111" y="355"/>
                </a:cubicBezTo>
                <a:cubicBezTo>
                  <a:pt x="110" y="356"/>
                  <a:pt x="110" y="353"/>
                  <a:pt x="111" y="354"/>
                </a:cubicBezTo>
                <a:close/>
                <a:moveTo>
                  <a:pt x="110" y="283"/>
                </a:moveTo>
                <a:cubicBezTo>
                  <a:pt x="110" y="283"/>
                  <a:pt x="110" y="284"/>
                  <a:pt x="110" y="284"/>
                </a:cubicBezTo>
                <a:cubicBezTo>
                  <a:pt x="109" y="286"/>
                  <a:pt x="109" y="282"/>
                  <a:pt x="110" y="283"/>
                </a:cubicBezTo>
                <a:close/>
                <a:moveTo>
                  <a:pt x="108" y="299"/>
                </a:moveTo>
                <a:cubicBezTo>
                  <a:pt x="109" y="299"/>
                  <a:pt x="109" y="300"/>
                  <a:pt x="109" y="301"/>
                </a:cubicBezTo>
                <a:cubicBezTo>
                  <a:pt x="108" y="302"/>
                  <a:pt x="107" y="299"/>
                  <a:pt x="108" y="299"/>
                </a:cubicBezTo>
                <a:close/>
                <a:moveTo>
                  <a:pt x="109" y="347"/>
                </a:moveTo>
                <a:cubicBezTo>
                  <a:pt x="111" y="348"/>
                  <a:pt x="110" y="352"/>
                  <a:pt x="109" y="353"/>
                </a:cubicBezTo>
                <a:cubicBezTo>
                  <a:pt x="106" y="355"/>
                  <a:pt x="106" y="346"/>
                  <a:pt x="109" y="347"/>
                </a:cubicBezTo>
                <a:close/>
                <a:moveTo>
                  <a:pt x="108" y="421"/>
                </a:moveTo>
                <a:cubicBezTo>
                  <a:pt x="109" y="422"/>
                  <a:pt x="107" y="425"/>
                  <a:pt x="107" y="425"/>
                </a:cubicBezTo>
                <a:cubicBezTo>
                  <a:pt x="104" y="426"/>
                  <a:pt x="106" y="420"/>
                  <a:pt x="108" y="421"/>
                </a:cubicBezTo>
                <a:close/>
                <a:moveTo>
                  <a:pt x="105" y="283"/>
                </a:moveTo>
                <a:cubicBezTo>
                  <a:pt x="106" y="283"/>
                  <a:pt x="107" y="285"/>
                  <a:pt x="106" y="286"/>
                </a:cubicBezTo>
                <a:cubicBezTo>
                  <a:pt x="104" y="287"/>
                  <a:pt x="104" y="284"/>
                  <a:pt x="105" y="283"/>
                </a:cubicBezTo>
                <a:close/>
                <a:moveTo>
                  <a:pt x="105" y="425"/>
                </a:moveTo>
                <a:cubicBezTo>
                  <a:pt x="105" y="423"/>
                  <a:pt x="104" y="426"/>
                  <a:pt x="105" y="425"/>
                </a:cubicBezTo>
                <a:close/>
                <a:moveTo>
                  <a:pt x="104" y="301"/>
                </a:moveTo>
                <a:cubicBezTo>
                  <a:pt x="106" y="302"/>
                  <a:pt x="103" y="304"/>
                  <a:pt x="104" y="301"/>
                </a:cubicBezTo>
                <a:close/>
                <a:moveTo>
                  <a:pt x="104" y="370"/>
                </a:moveTo>
                <a:cubicBezTo>
                  <a:pt x="104" y="370"/>
                  <a:pt x="104" y="372"/>
                  <a:pt x="104" y="372"/>
                </a:cubicBezTo>
                <a:cubicBezTo>
                  <a:pt x="103" y="373"/>
                  <a:pt x="103" y="370"/>
                  <a:pt x="104" y="370"/>
                </a:cubicBezTo>
                <a:close/>
                <a:moveTo>
                  <a:pt x="102" y="425"/>
                </a:moveTo>
                <a:cubicBezTo>
                  <a:pt x="103" y="426"/>
                  <a:pt x="103" y="426"/>
                  <a:pt x="103" y="426"/>
                </a:cubicBezTo>
                <a:cubicBezTo>
                  <a:pt x="104" y="426"/>
                  <a:pt x="106" y="426"/>
                  <a:pt x="104" y="428"/>
                </a:cubicBezTo>
                <a:cubicBezTo>
                  <a:pt x="104" y="428"/>
                  <a:pt x="104" y="428"/>
                  <a:pt x="103" y="428"/>
                </a:cubicBezTo>
                <a:cubicBezTo>
                  <a:pt x="103" y="428"/>
                  <a:pt x="103" y="428"/>
                  <a:pt x="103" y="427"/>
                </a:cubicBezTo>
                <a:cubicBezTo>
                  <a:pt x="102" y="428"/>
                  <a:pt x="102" y="428"/>
                  <a:pt x="102" y="428"/>
                </a:cubicBezTo>
                <a:cubicBezTo>
                  <a:pt x="100" y="429"/>
                  <a:pt x="100" y="424"/>
                  <a:pt x="102" y="425"/>
                </a:cubicBezTo>
                <a:close/>
                <a:moveTo>
                  <a:pt x="101" y="363"/>
                </a:moveTo>
                <a:cubicBezTo>
                  <a:pt x="99" y="362"/>
                  <a:pt x="101" y="362"/>
                  <a:pt x="101" y="363"/>
                </a:cubicBezTo>
                <a:close/>
                <a:moveTo>
                  <a:pt x="100" y="315"/>
                </a:moveTo>
                <a:cubicBezTo>
                  <a:pt x="100" y="318"/>
                  <a:pt x="98" y="316"/>
                  <a:pt x="100" y="315"/>
                </a:cubicBezTo>
                <a:close/>
                <a:moveTo>
                  <a:pt x="99" y="422"/>
                </a:moveTo>
                <a:cubicBezTo>
                  <a:pt x="99" y="422"/>
                  <a:pt x="100" y="423"/>
                  <a:pt x="99" y="424"/>
                </a:cubicBezTo>
                <a:cubicBezTo>
                  <a:pt x="98" y="426"/>
                  <a:pt x="98" y="421"/>
                  <a:pt x="99" y="422"/>
                </a:cubicBezTo>
                <a:close/>
                <a:moveTo>
                  <a:pt x="96" y="297"/>
                </a:moveTo>
                <a:cubicBezTo>
                  <a:pt x="97" y="298"/>
                  <a:pt x="95" y="298"/>
                  <a:pt x="96" y="297"/>
                </a:cubicBezTo>
                <a:cubicBezTo>
                  <a:pt x="96" y="297"/>
                  <a:pt x="96" y="297"/>
                  <a:pt x="96" y="297"/>
                </a:cubicBezTo>
                <a:close/>
                <a:moveTo>
                  <a:pt x="96" y="305"/>
                </a:moveTo>
                <a:cubicBezTo>
                  <a:pt x="96" y="305"/>
                  <a:pt x="96" y="304"/>
                  <a:pt x="96" y="303"/>
                </a:cubicBezTo>
                <a:cubicBezTo>
                  <a:pt x="96" y="303"/>
                  <a:pt x="97" y="304"/>
                  <a:pt x="96" y="305"/>
                </a:cubicBezTo>
                <a:close/>
                <a:moveTo>
                  <a:pt x="96" y="380"/>
                </a:moveTo>
                <a:cubicBezTo>
                  <a:pt x="97" y="380"/>
                  <a:pt x="97" y="383"/>
                  <a:pt x="96" y="384"/>
                </a:cubicBezTo>
                <a:cubicBezTo>
                  <a:pt x="93" y="385"/>
                  <a:pt x="94" y="379"/>
                  <a:pt x="96" y="380"/>
                </a:cubicBezTo>
                <a:close/>
                <a:moveTo>
                  <a:pt x="95" y="393"/>
                </a:moveTo>
                <a:cubicBezTo>
                  <a:pt x="94" y="391"/>
                  <a:pt x="97" y="391"/>
                  <a:pt x="95" y="393"/>
                </a:cubicBezTo>
                <a:close/>
                <a:moveTo>
                  <a:pt x="97" y="431"/>
                </a:moveTo>
                <a:cubicBezTo>
                  <a:pt x="97" y="432"/>
                  <a:pt x="95" y="434"/>
                  <a:pt x="94" y="434"/>
                </a:cubicBezTo>
                <a:cubicBezTo>
                  <a:pt x="95" y="434"/>
                  <a:pt x="94" y="436"/>
                  <a:pt x="93" y="436"/>
                </a:cubicBezTo>
                <a:cubicBezTo>
                  <a:pt x="93" y="435"/>
                  <a:pt x="93" y="433"/>
                  <a:pt x="94" y="434"/>
                </a:cubicBezTo>
                <a:cubicBezTo>
                  <a:pt x="93" y="433"/>
                  <a:pt x="93" y="430"/>
                  <a:pt x="94" y="430"/>
                </a:cubicBezTo>
                <a:cubicBezTo>
                  <a:pt x="95" y="430"/>
                  <a:pt x="97" y="431"/>
                  <a:pt x="97" y="431"/>
                </a:cubicBezTo>
                <a:close/>
                <a:moveTo>
                  <a:pt x="93" y="359"/>
                </a:moveTo>
                <a:cubicBezTo>
                  <a:pt x="94" y="362"/>
                  <a:pt x="91" y="360"/>
                  <a:pt x="93" y="359"/>
                </a:cubicBezTo>
                <a:close/>
                <a:moveTo>
                  <a:pt x="93" y="379"/>
                </a:moveTo>
                <a:cubicBezTo>
                  <a:pt x="94" y="382"/>
                  <a:pt x="91" y="380"/>
                  <a:pt x="93" y="379"/>
                </a:cubicBezTo>
                <a:close/>
                <a:moveTo>
                  <a:pt x="92" y="391"/>
                </a:moveTo>
                <a:cubicBezTo>
                  <a:pt x="92" y="393"/>
                  <a:pt x="91" y="393"/>
                  <a:pt x="91" y="391"/>
                </a:cubicBezTo>
                <a:cubicBezTo>
                  <a:pt x="91" y="391"/>
                  <a:pt x="92" y="391"/>
                  <a:pt x="92" y="391"/>
                </a:cubicBezTo>
                <a:close/>
                <a:moveTo>
                  <a:pt x="89" y="352"/>
                </a:moveTo>
                <a:cubicBezTo>
                  <a:pt x="90" y="354"/>
                  <a:pt x="88" y="354"/>
                  <a:pt x="89" y="352"/>
                </a:cubicBezTo>
                <a:close/>
                <a:moveTo>
                  <a:pt x="89" y="400"/>
                </a:moveTo>
                <a:cubicBezTo>
                  <a:pt x="88" y="401"/>
                  <a:pt x="90" y="399"/>
                  <a:pt x="89" y="400"/>
                </a:cubicBezTo>
                <a:close/>
                <a:moveTo>
                  <a:pt x="87" y="362"/>
                </a:moveTo>
                <a:cubicBezTo>
                  <a:pt x="88" y="361"/>
                  <a:pt x="89" y="364"/>
                  <a:pt x="88" y="364"/>
                </a:cubicBezTo>
                <a:cubicBezTo>
                  <a:pt x="87" y="365"/>
                  <a:pt x="86" y="362"/>
                  <a:pt x="87" y="362"/>
                </a:cubicBezTo>
                <a:close/>
                <a:moveTo>
                  <a:pt x="85" y="385"/>
                </a:moveTo>
                <a:cubicBezTo>
                  <a:pt x="86" y="384"/>
                  <a:pt x="87" y="385"/>
                  <a:pt x="87" y="385"/>
                </a:cubicBezTo>
                <a:cubicBezTo>
                  <a:pt x="89" y="388"/>
                  <a:pt x="84" y="388"/>
                  <a:pt x="85" y="385"/>
                </a:cubicBezTo>
                <a:close/>
                <a:moveTo>
                  <a:pt x="86" y="398"/>
                </a:moveTo>
                <a:cubicBezTo>
                  <a:pt x="86" y="398"/>
                  <a:pt x="85" y="398"/>
                  <a:pt x="85" y="398"/>
                </a:cubicBezTo>
                <a:cubicBezTo>
                  <a:pt x="85" y="397"/>
                  <a:pt x="86" y="398"/>
                  <a:pt x="86" y="398"/>
                </a:cubicBezTo>
                <a:close/>
                <a:moveTo>
                  <a:pt x="87" y="400"/>
                </a:moveTo>
                <a:cubicBezTo>
                  <a:pt x="88" y="400"/>
                  <a:pt x="87" y="402"/>
                  <a:pt x="88" y="402"/>
                </a:cubicBezTo>
                <a:cubicBezTo>
                  <a:pt x="88" y="403"/>
                  <a:pt x="91" y="402"/>
                  <a:pt x="92" y="402"/>
                </a:cubicBezTo>
                <a:cubicBezTo>
                  <a:pt x="92" y="402"/>
                  <a:pt x="94" y="405"/>
                  <a:pt x="94" y="405"/>
                </a:cubicBezTo>
                <a:cubicBezTo>
                  <a:pt x="96" y="408"/>
                  <a:pt x="92" y="411"/>
                  <a:pt x="92" y="414"/>
                </a:cubicBezTo>
                <a:cubicBezTo>
                  <a:pt x="90" y="412"/>
                  <a:pt x="86" y="411"/>
                  <a:pt x="86" y="407"/>
                </a:cubicBezTo>
                <a:cubicBezTo>
                  <a:pt x="83" y="412"/>
                  <a:pt x="83" y="400"/>
                  <a:pt x="87" y="400"/>
                </a:cubicBezTo>
                <a:close/>
                <a:moveTo>
                  <a:pt x="84" y="412"/>
                </a:moveTo>
                <a:cubicBezTo>
                  <a:pt x="84" y="412"/>
                  <a:pt x="84" y="413"/>
                  <a:pt x="84" y="413"/>
                </a:cubicBezTo>
                <a:cubicBezTo>
                  <a:pt x="83" y="414"/>
                  <a:pt x="83" y="412"/>
                  <a:pt x="84" y="412"/>
                </a:cubicBezTo>
                <a:close/>
                <a:moveTo>
                  <a:pt x="82" y="395"/>
                </a:moveTo>
                <a:cubicBezTo>
                  <a:pt x="83" y="395"/>
                  <a:pt x="84" y="397"/>
                  <a:pt x="83" y="398"/>
                </a:cubicBezTo>
                <a:cubicBezTo>
                  <a:pt x="81" y="398"/>
                  <a:pt x="81" y="396"/>
                  <a:pt x="82" y="395"/>
                </a:cubicBezTo>
                <a:close/>
                <a:moveTo>
                  <a:pt x="81" y="405"/>
                </a:moveTo>
                <a:cubicBezTo>
                  <a:pt x="81" y="405"/>
                  <a:pt x="81" y="405"/>
                  <a:pt x="81" y="405"/>
                </a:cubicBezTo>
                <a:cubicBezTo>
                  <a:pt x="79" y="406"/>
                  <a:pt x="83" y="403"/>
                  <a:pt x="81" y="405"/>
                </a:cubicBezTo>
                <a:close/>
                <a:moveTo>
                  <a:pt x="80" y="427"/>
                </a:moveTo>
                <a:cubicBezTo>
                  <a:pt x="80" y="425"/>
                  <a:pt x="82" y="427"/>
                  <a:pt x="80" y="427"/>
                </a:cubicBezTo>
                <a:close/>
                <a:moveTo>
                  <a:pt x="79" y="403"/>
                </a:moveTo>
                <a:cubicBezTo>
                  <a:pt x="80" y="402"/>
                  <a:pt x="80" y="403"/>
                  <a:pt x="80" y="403"/>
                </a:cubicBezTo>
                <a:cubicBezTo>
                  <a:pt x="80" y="403"/>
                  <a:pt x="79" y="403"/>
                  <a:pt x="79" y="403"/>
                </a:cubicBezTo>
                <a:close/>
                <a:moveTo>
                  <a:pt x="79" y="352"/>
                </a:moveTo>
                <a:cubicBezTo>
                  <a:pt x="79" y="355"/>
                  <a:pt x="78" y="357"/>
                  <a:pt x="79" y="361"/>
                </a:cubicBezTo>
                <a:cubicBezTo>
                  <a:pt x="77" y="359"/>
                  <a:pt x="77" y="353"/>
                  <a:pt x="79" y="352"/>
                </a:cubicBezTo>
                <a:close/>
                <a:moveTo>
                  <a:pt x="79" y="363"/>
                </a:moveTo>
                <a:cubicBezTo>
                  <a:pt x="78" y="366"/>
                  <a:pt x="80" y="370"/>
                  <a:pt x="79" y="372"/>
                </a:cubicBezTo>
                <a:cubicBezTo>
                  <a:pt x="78" y="375"/>
                  <a:pt x="76" y="365"/>
                  <a:pt x="79" y="363"/>
                </a:cubicBezTo>
                <a:close/>
                <a:moveTo>
                  <a:pt x="77" y="429"/>
                </a:moveTo>
                <a:cubicBezTo>
                  <a:pt x="79" y="430"/>
                  <a:pt x="78" y="431"/>
                  <a:pt x="78" y="432"/>
                </a:cubicBezTo>
                <a:cubicBezTo>
                  <a:pt x="80" y="429"/>
                  <a:pt x="81" y="434"/>
                  <a:pt x="83" y="433"/>
                </a:cubicBezTo>
                <a:cubicBezTo>
                  <a:pt x="82" y="436"/>
                  <a:pt x="84" y="439"/>
                  <a:pt x="82" y="441"/>
                </a:cubicBezTo>
                <a:cubicBezTo>
                  <a:pt x="81" y="442"/>
                  <a:pt x="79" y="442"/>
                  <a:pt x="78" y="441"/>
                </a:cubicBezTo>
                <a:cubicBezTo>
                  <a:pt x="76" y="440"/>
                  <a:pt x="75" y="433"/>
                  <a:pt x="75" y="432"/>
                </a:cubicBezTo>
                <a:cubicBezTo>
                  <a:pt x="75" y="433"/>
                  <a:pt x="78" y="431"/>
                  <a:pt x="77" y="429"/>
                </a:cubicBezTo>
                <a:close/>
                <a:moveTo>
                  <a:pt x="76" y="420"/>
                </a:moveTo>
                <a:cubicBezTo>
                  <a:pt x="76" y="420"/>
                  <a:pt x="76" y="420"/>
                  <a:pt x="76" y="420"/>
                </a:cubicBezTo>
                <a:cubicBezTo>
                  <a:pt x="76" y="420"/>
                  <a:pt x="76" y="420"/>
                  <a:pt x="76" y="420"/>
                </a:cubicBezTo>
                <a:cubicBezTo>
                  <a:pt x="76" y="420"/>
                  <a:pt x="76" y="420"/>
                  <a:pt x="76" y="420"/>
                </a:cubicBezTo>
                <a:close/>
                <a:moveTo>
                  <a:pt x="76" y="370"/>
                </a:moveTo>
                <a:cubicBezTo>
                  <a:pt x="78" y="371"/>
                  <a:pt x="76" y="374"/>
                  <a:pt x="76" y="370"/>
                </a:cubicBezTo>
                <a:close/>
                <a:moveTo>
                  <a:pt x="75" y="384"/>
                </a:moveTo>
                <a:cubicBezTo>
                  <a:pt x="76" y="386"/>
                  <a:pt x="74" y="386"/>
                  <a:pt x="75" y="384"/>
                </a:cubicBezTo>
                <a:close/>
                <a:moveTo>
                  <a:pt x="75" y="426"/>
                </a:moveTo>
                <a:cubicBezTo>
                  <a:pt x="74" y="426"/>
                  <a:pt x="75" y="424"/>
                  <a:pt x="75" y="426"/>
                </a:cubicBezTo>
                <a:close/>
                <a:moveTo>
                  <a:pt x="74" y="369"/>
                </a:moveTo>
                <a:cubicBezTo>
                  <a:pt x="74" y="371"/>
                  <a:pt x="74" y="367"/>
                  <a:pt x="74" y="369"/>
                </a:cubicBezTo>
                <a:close/>
                <a:moveTo>
                  <a:pt x="57" y="427"/>
                </a:moveTo>
                <a:cubicBezTo>
                  <a:pt x="55" y="426"/>
                  <a:pt x="55" y="426"/>
                  <a:pt x="56" y="423"/>
                </a:cubicBezTo>
                <a:cubicBezTo>
                  <a:pt x="57" y="424"/>
                  <a:pt x="60" y="430"/>
                  <a:pt x="57" y="427"/>
                </a:cubicBezTo>
                <a:close/>
                <a:moveTo>
                  <a:pt x="58" y="394"/>
                </a:moveTo>
                <a:cubicBezTo>
                  <a:pt x="58" y="395"/>
                  <a:pt x="57" y="395"/>
                  <a:pt x="57" y="395"/>
                </a:cubicBezTo>
                <a:cubicBezTo>
                  <a:pt x="57" y="395"/>
                  <a:pt x="57" y="393"/>
                  <a:pt x="58" y="394"/>
                </a:cubicBezTo>
                <a:close/>
                <a:moveTo>
                  <a:pt x="60" y="383"/>
                </a:moveTo>
                <a:cubicBezTo>
                  <a:pt x="60" y="384"/>
                  <a:pt x="59" y="382"/>
                  <a:pt x="59" y="382"/>
                </a:cubicBezTo>
                <a:cubicBezTo>
                  <a:pt x="60" y="381"/>
                  <a:pt x="60" y="382"/>
                  <a:pt x="60" y="383"/>
                </a:cubicBezTo>
                <a:close/>
                <a:moveTo>
                  <a:pt x="62" y="438"/>
                </a:moveTo>
                <a:cubicBezTo>
                  <a:pt x="61" y="439"/>
                  <a:pt x="61" y="436"/>
                  <a:pt x="61" y="436"/>
                </a:cubicBezTo>
                <a:cubicBezTo>
                  <a:pt x="62" y="435"/>
                  <a:pt x="63" y="437"/>
                  <a:pt x="62" y="438"/>
                </a:cubicBezTo>
                <a:close/>
                <a:moveTo>
                  <a:pt x="63" y="434"/>
                </a:moveTo>
                <a:cubicBezTo>
                  <a:pt x="64" y="434"/>
                  <a:pt x="64" y="435"/>
                  <a:pt x="64" y="435"/>
                </a:cubicBezTo>
                <a:cubicBezTo>
                  <a:pt x="63" y="436"/>
                  <a:pt x="62" y="433"/>
                  <a:pt x="63" y="434"/>
                </a:cubicBezTo>
                <a:close/>
                <a:moveTo>
                  <a:pt x="63" y="409"/>
                </a:moveTo>
                <a:cubicBezTo>
                  <a:pt x="62" y="410"/>
                  <a:pt x="62" y="407"/>
                  <a:pt x="63" y="409"/>
                </a:cubicBezTo>
                <a:close/>
                <a:moveTo>
                  <a:pt x="64" y="436"/>
                </a:moveTo>
                <a:cubicBezTo>
                  <a:pt x="65" y="437"/>
                  <a:pt x="63" y="438"/>
                  <a:pt x="64" y="436"/>
                </a:cubicBezTo>
                <a:close/>
                <a:moveTo>
                  <a:pt x="66" y="438"/>
                </a:moveTo>
                <a:cubicBezTo>
                  <a:pt x="66" y="439"/>
                  <a:pt x="65" y="437"/>
                  <a:pt x="65" y="437"/>
                </a:cubicBezTo>
                <a:cubicBezTo>
                  <a:pt x="66" y="437"/>
                  <a:pt x="66" y="437"/>
                  <a:pt x="66" y="438"/>
                </a:cubicBezTo>
                <a:close/>
                <a:moveTo>
                  <a:pt x="67" y="426"/>
                </a:moveTo>
                <a:cubicBezTo>
                  <a:pt x="68" y="426"/>
                  <a:pt x="68" y="427"/>
                  <a:pt x="68" y="428"/>
                </a:cubicBezTo>
                <a:cubicBezTo>
                  <a:pt x="67" y="428"/>
                  <a:pt x="67" y="426"/>
                  <a:pt x="67" y="426"/>
                </a:cubicBezTo>
                <a:close/>
                <a:moveTo>
                  <a:pt x="68" y="438"/>
                </a:moveTo>
                <a:cubicBezTo>
                  <a:pt x="67" y="439"/>
                  <a:pt x="70" y="438"/>
                  <a:pt x="68" y="438"/>
                </a:cubicBezTo>
                <a:close/>
                <a:moveTo>
                  <a:pt x="69" y="428"/>
                </a:moveTo>
                <a:cubicBezTo>
                  <a:pt x="70" y="428"/>
                  <a:pt x="70" y="429"/>
                  <a:pt x="70" y="430"/>
                </a:cubicBezTo>
                <a:cubicBezTo>
                  <a:pt x="70" y="431"/>
                  <a:pt x="69" y="429"/>
                  <a:pt x="69" y="428"/>
                </a:cubicBezTo>
                <a:close/>
                <a:moveTo>
                  <a:pt x="70" y="403"/>
                </a:moveTo>
                <a:cubicBezTo>
                  <a:pt x="70" y="401"/>
                  <a:pt x="70" y="404"/>
                  <a:pt x="70" y="403"/>
                </a:cubicBezTo>
                <a:close/>
                <a:moveTo>
                  <a:pt x="72" y="435"/>
                </a:moveTo>
                <a:cubicBezTo>
                  <a:pt x="70" y="436"/>
                  <a:pt x="70" y="433"/>
                  <a:pt x="71" y="433"/>
                </a:cubicBezTo>
                <a:cubicBezTo>
                  <a:pt x="72" y="432"/>
                  <a:pt x="73" y="434"/>
                  <a:pt x="72" y="435"/>
                </a:cubicBezTo>
                <a:close/>
                <a:moveTo>
                  <a:pt x="72" y="432"/>
                </a:moveTo>
                <a:cubicBezTo>
                  <a:pt x="71" y="431"/>
                  <a:pt x="71" y="430"/>
                  <a:pt x="70" y="429"/>
                </a:cubicBezTo>
                <a:cubicBezTo>
                  <a:pt x="71" y="430"/>
                  <a:pt x="72" y="431"/>
                  <a:pt x="72" y="432"/>
                </a:cubicBezTo>
                <a:close/>
                <a:moveTo>
                  <a:pt x="70" y="364"/>
                </a:moveTo>
                <a:cubicBezTo>
                  <a:pt x="68" y="366"/>
                  <a:pt x="67" y="361"/>
                  <a:pt x="69" y="360"/>
                </a:cubicBezTo>
                <a:cubicBezTo>
                  <a:pt x="70" y="360"/>
                  <a:pt x="71" y="363"/>
                  <a:pt x="70" y="364"/>
                </a:cubicBezTo>
                <a:close/>
                <a:moveTo>
                  <a:pt x="68" y="340"/>
                </a:moveTo>
                <a:cubicBezTo>
                  <a:pt x="71" y="345"/>
                  <a:pt x="67" y="346"/>
                  <a:pt x="68" y="340"/>
                </a:cubicBezTo>
                <a:close/>
                <a:moveTo>
                  <a:pt x="69" y="393"/>
                </a:moveTo>
                <a:cubicBezTo>
                  <a:pt x="70" y="394"/>
                  <a:pt x="70" y="395"/>
                  <a:pt x="69" y="395"/>
                </a:cubicBezTo>
                <a:cubicBezTo>
                  <a:pt x="67" y="397"/>
                  <a:pt x="67" y="390"/>
                  <a:pt x="69" y="393"/>
                </a:cubicBezTo>
                <a:close/>
                <a:moveTo>
                  <a:pt x="66" y="377"/>
                </a:moveTo>
                <a:cubicBezTo>
                  <a:pt x="67" y="377"/>
                  <a:pt x="68" y="378"/>
                  <a:pt x="67" y="379"/>
                </a:cubicBezTo>
                <a:cubicBezTo>
                  <a:pt x="66" y="380"/>
                  <a:pt x="65" y="377"/>
                  <a:pt x="66" y="377"/>
                </a:cubicBezTo>
                <a:close/>
                <a:moveTo>
                  <a:pt x="65" y="423"/>
                </a:moveTo>
                <a:cubicBezTo>
                  <a:pt x="65" y="424"/>
                  <a:pt x="64" y="420"/>
                  <a:pt x="65" y="420"/>
                </a:cubicBezTo>
                <a:cubicBezTo>
                  <a:pt x="66" y="420"/>
                  <a:pt x="66" y="422"/>
                  <a:pt x="65" y="423"/>
                </a:cubicBezTo>
                <a:close/>
                <a:moveTo>
                  <a:pt x="65" y="406"/>
                </a:moveTo>
                <a:cubicBezTo>
                  <a:pt x="65" y="407"/>
                  <a:pt x="65" y="405"/>
                  <a:pt x="64" y="404"/>
                </a:cubicBezTo>
                <a:cubicBezTo>
                  <a:pt x="66" y="404"/>
                  <a:pt x="65" y="406"/>
                  <a:pt x="65" y="406"/>
                </a:cubicBezTo>
                <a:close/>
                <a:moveTo>
                  <a:pt x="65" y="377"/>
                </a:moveTo>
                <a:cubicBezTo>
                  <a:pt x="65" y="377"/>
                  <a:pt x="65" y="378"/>
                  <a:pt x="65" y="378"/>
                </a:cubicBezTo>
                <a:cubicBezTo>
                  <a:pt x="64" y="380"/>
                  <a:pt x="63" y="376"/>
                  <a:pt x="65" y="377"/>
                </a:cubicBezTo>
                <a:close/>
                <a:moveTo>
                  <a:pt x="62" y="377"/>
                </a:moveTo>
                <a:cubicBezTo>
                  <a:pt x="64" y="376"/>
                  <a:pt x="65" y="381"/>
                  <a:pt x="63" y="382"/>
                </a:cubicBezTo>
                <a:cubicBezTo>
                  <a:pt x="61" y="384"/>
                  <a:pt x="61" y="378"/>
                  <a:pt x="62" y="377"/>
                </a:cubicBezTo>
                <a:close/>
                <a:moveTo>
                  <a:pt x="61" y="384"/>
                </a:moveTo>
                <a:cubicBezTo>
                  <a:pt x="61" y="384"/>
                  <a:pt x="62" y="386"/>
                  <a:pt x="62" y="387"/>
                </a:cubicBezTo>
                <a:cubicBezTo>
                  <a:pt x="61" y="388"/>
                  <a:pt x="60" y="384"/>
                  <a:pt x="61" y="384"/>
                </a:cubicBezTo>
                <a:close/>
                <a:moveTo>
                  <a:pt x="59" y="359"/>
                </a:moveTo>
                <a:cubicBezTo>
                  <a:pt x="60" y="358"/>
                  <a:pt x="61" y="362"/>
                  <a:pt x="60" y="362"/>
                </a:cubicBezTo>
                <a:cubicBezTo>
                  <a:pt x="58" y="363"/>
                  <a:pt x="58" y="359"/>
                  <a:pt x="59" y="359"/>
                </a:cubicBezTo>
                <a:close/>
                <a:moveTo>
                  <a:pt x="57" y="368"/>
                </a:moveTo>
                <a:cubicBezTo>
                  <a:pt x="58" y="368"/>
                  <a:pt x="58" y="370"/>
                  <a:pt x="57" y="370"/>
                </a:cubicBezTo>
                <a:cubicBezTo>
                  <a:pt x="56" y="371"/>
                  <a:pt x="56" y="367"/>
                  <a:pt x="57" y="368"/>
                </a:cubicBezTo>
                <a:close/>
                <a:moveTo>
                  <a:pt x="57" y="352"/>
                </a:moveTo>
                <a:cubicBezTo>
                  <a:pt x="57" y="354"/>
                  <a:pt x="56" y="354"/>
                  <a:pt x="56" y="352"/>
                </a:cubicBezTo>
                <a:cubicBezTo>
                  <a:pt x="56" y="352"/>
                  <a:pt x="56" y="352"/>
                  <a:pt x="57" y="352"/>
                </a:cubicBezTo>
                <a:close/>
                <a:moveTo>
                  <a:pt x="57" y="422"/>
                </a:moveTo>
                <a:cubicBezTo>
                  <a:pt x="56" y="423"/>
                  <a:pt x="55" y="421"/>
                  <a:pt x="56" y="421"/>
                </a:cubicBezTo>
                <a:cubicBezTo>
                  <a:pt x="56" y="420"/>
                  <a:pt x="57" y="421"/>
                  <a:pt x="57" y="422"/>
                </a:cubicBezTo>
                <a:close/>
                <a:moveTo>
                  <a:pt x="55" y="396"/>
                </a:moveTo>
                <a:cubicBezTo>
                  <a:pt x="55" y="396"/>
                  <a:pt x="56" y="397"/>
                  <a:pt x="56" y="398"/>
                </a:cubicBezTo>
                <a:cubicBezTo>
                  <a:pt x="55" y="399"/>
                  <a:pt x="54" y="397"/>
                  <a:pt x="55" y="396"/>
                </a:cubicBezTo>
                <a:close/>
                <a:moveTo>
                  <a:pt x="53" y="387"/>
                </a:moveTo>
                <a:cubicBezTo>
                  <a:pt x="53" y="387"/>
                  <a:pt x="54" y="388"/>
                  <a:pt x="53" y="389"/>
                </a:cubicBezTo>
                <a:cubicBezTo>
                  <a:pt x="52" y="390"/>
                  <a:pt x="51" y="387"/>
                  <a:pt x="53" y="387"/>
                </a:cubicBezTo>
                <a:close/>
                <a:moveTo>
                  <a:pt x="13" y="370"/>
                </a:moveTo>
                <a:cubicBezTo>
                  <a:pt x="14" y="371"/>
                  <a:pt x="12" y="371"/>
                  <a:pt x="13" y="370"/>
                </a:cubicBezTo>
                <a:close/>
                <a:moveTo>
                  <a:pt x="49" y="418"/>
                </a:moveTo>
                <a:cubicBezTo>
                  <a:pt x="51" y="418"/>
                  <a:pt x="49" y="420"/>
                  <a:pt x="49" y="418"/>
                </a:cubicBezTo>
                <a:close/>
                <a:moveTo>
                  <a:pt x="51" y="423"/>
                </a:moveTo>
                <a:cubicBezTo>
                  <a:pt x="50" y="424"/>
                  <a:pt x="51" y="419"/>
                  <a:pt x="51" y="423"/>
                </a:cubicBezTo>
                <a:cubicBezTo>
                  <a:pt x="51" y="423"/>
                  <a:pt x="51" y="423"/>
                  <a:pt x="51" y="423"/>
                </a:cubicBezTo>
                <a:close/>
                <a:moveTo>
                  <a:pt x="51" y="402"/>
                </a:moveTo>
                <a:cubicBezTo>
                  <a:pt x="50" y="402"/>
                  <a:pt x="50" y="401"/>
                  <a:pt x="50" y="401"/>
                </a:cubicBezTo>
                <a:cubicBezTo>
                  <a:pt x="51" y="401"/>
                  <a:pt x="51" y="401"/>
                  <a:pt x="51" y="402"/>
                </a:cubicBezTo>
                <a:close/>
                <a:moveTo>
                  <a:pt x="50" y="364"/>
                </a:moveTo>
                <a:cubicBezTo>
                  <a:pt x="49" y="365"/>
                  <a:pt x="49" y="361"/>
                  <a:pt x="50" y="361"/>
                </a:cubicBezTo>
                <a:cubicBezTo>
                  <a:pt x="50" y="360"/>
                  <a:pt x="51" y="363"/>
                  <a:pt x="50" y="364"/>
                </a:cubicBezTo>
                <a:close/>
                <a:moveTo>
                  <a:pt x="50" y="340"/>
                </a:moveTo>
                <a:cubicBezTo>
                  <a:pt x="50" y="340"/>
                  <a:pt x="51" y="341"/>
                  <a:pt x="50" y="342"/>
                </a:cubicBezTo>
                <a:cubicBezTo>
                  <a:pt x="50" y="343"/>
                  <a:pt x="50" y="341"/>
                  <a:pt x="50" y="340"/>
                </a:cubicBezTo>
                <a:close/>
                <a:moveTo>
                  <a:pt x="45" y="343"/>
                </a:moveTo>
                <a:cubicBezTo>
                  <a:pt x="43" y="342"/>
                  <a:pt x="45" y="340"/>
                  <a:pt x="45" y="343"/>
                </a:cubicBezTo>
                <a:close/>
                <a:moveTo>
                  <a:pt x="33" y="345"/>
                </a:moveTo>
                <a:cubicBezTo>
                  <a:pt x="33" y="345"/>
                  <a:pt x="33" y="346"/>
                  <a:pt x="33" y="346"/>
                </a:cubicBezTo>
                <a:cubicBezTo>
                  <a:pt x="31" y="346"/>
                  <a:pt x="35" y="343"/>
                  <a:pt x="33" y="345"/>
                </a:cubicBezTo>
                <a:close/>
                <a:moveTo>
                  <a:pt x="32" y="346"/>
                </a:moveTo>
                <a:cubicBezTo>
                  <a:pt x="31" y="347"/>
                  <a:pt x="35" y="345"/>
                  <a:pt x="34" y="345"/>
                </a:cubicBezTo>
                <a:cubicBezTo>
                  <a:pt x="35" y="345"/>
                  <a:pt x="38" y="351"/>
                  <a:pt x="37" y="355"/>
                </a:cubicBezTo>
                <a:cubicBezTo>
                  <a:pt x="37" y="354"/>
                  <a:pt x="34" y="356"/>
                  <a:pt x="34" y="357"/>
                </a:cubicBezTo>
                <a:cubicBezTo>
                  <a:pt x="33" y="356"/>
                  <a:pt x="30" y="349"/>
                  <a:pt x="32" y="346"/>
                </a:cubicBezTo>
                <a:close/>
                <a:moveTo>
                  <a:pt x="31" y="370"/>
                </a:moveTo>
                <a:cubicBezTo>
                  <a:pt x="32" y="370"/>
                  <a:pt x="32" y="371"/>
                  <a:pt x="32" y="372"/>
                </a:cubicBezTo>
                <a:cubicBezTo>
                  <a:pt x="32" y="373"/>
                  <a:pt x="30" y="370"/>
                  <a:pt x="31" y="370"/>
                </a:cubicBezTo>
                <a:close/>
                <a:moveTo>
                  <a:pt x="16" y="392"/>
                </a:moveTo>
                <a:cubicBezTo>
                  <a:pt x="15" y="391"/>
                  <a:pt x="14" y="386"/>
                  <a:pt x="14" y="383"/>
                </a:cubicBezTo>
                <a:cubicBezTo>
                  <a:pt x="14" y="383"/>
                  <a:pt x="14" y="384"/>
                  <a:pt x="14" y="384"/>
                </a:cubicBezTo>
                <a:cubicBezTo>
                  <a:pt x="15" y="387"/>
                  <a:pt x="17" y="389"/>
                  <a:pt x="16" y="392"/>
                </a:cubicBezTo>
                <a:close/>
                <a:moveTo>
                  <a:pt x="20" y="381"/>
                </a:moveTo>
                <a:cubicBezTo>
                  <a:pt x="15" y="383"/>
                  <a:pt x="12" y="373"/>
                  <a:pt x="15" y="371"/>
                </a:cubicBezTo>
                <a:cubicBezTo>
                  <a:pt x="18" y="370"/>
                  <a:pt x="25" y="379"/>
                  <a:pt x="20" y="381"/>
                </a:cubicBezTo>
                <a:close/>
                <a:moveTo>
                  <a:pt x="21" y="396"/>
                </a:moveTo>
                <a:cubicBezTo>
                  <a:pt x="23" y="396"/>
                  <a:pt x="21" y="398"/>
                  <a:pt x="21" y="396"/>
                </a:cubicBezTo>
                <a:close/>
                <a:moveTo>
                  <a:pt x="22" y="368"/>
                </a:moveTo>
                <a:cubicBezTo>
                  <a:pt x="20" y="369"/>
                  <a:pt x="17" y="364"/>
                  <a:pt x="19" y="363"/>
                </a:cubicBezTo>
                <a:cubicBezTo>
                  <a:pt x="19" y="363"/>
                  <a:pt x="20" y="362"/>
                  <a:pt x="20" y="362"/>
                </a:cubicBezTo>
                <a:cubicBezTo>
                  <a:pt x="23" y="361"/>
                  <a:pt x="24" y="367"/>
                  <a:pt x="22" y="368"/>
                </a:cubicBezTo>
                <a:close/>
                <a:moveTo>
                  <a:pt x="23" y="397"/>
                </a:moveTo>
                <a:cubicBezTo>
                  <a:pt x="24" y="398"/>
                  <a:pt x="23" y="401"/>
                  <a:pt x="23" y="397"/>
                </a:cubicBezTo>
                <a:close/>
                <a:moveTo>
                  <a:pt x="27" y="376"/>
                </a:moveTo>
                <a:cubicBezTo>
                  <a:pt x="28" y="375"/>
                  <a:pt x="31" y="380"/>
                  <a:pt x="29" y="381"/>
                </a:cubicBezTo>
                <a:cubicBezTo>
                  <a:pt x="27" y="382"/>
                  <a:pt x="26" y="377"/>
                  <a:pt x="27" y="376"/>
                </a:cubicBezTo>
                <a:close/>
                <a:moveTo>
                  <a:pt x="26" y="382"/>
                </a:moveTo>
                <a:cubicBezTo>
                  <a:pt x="26" y="382"/>
                  <a:pt x="27" y="382"/>
                  <a:pt x="27" y="383"/>
                </a:cubicBezTo>
                <a:cubicBezTo>
                  <a:pt x="27" y="383"/>
                  <a:pt x="26" y="383"/>
                  <a:pt x="26" y="382"/>
                </a:cubicBezTo>
                <a:close/>
                <a:moveTo>
                  <a:pt x="33" y="400"/>
                </a:moveTo>
                <a:cubicBezTo>
                  <a:pt x="34" y="403"/>
                  <a:pt x="32" y="404"/>
                  <a:pt x="33" y="400"/>
                </a:cubicBezTo>
                <a:close/>
                <a:moveTo>
                  <a:pt x="34" y="395"/>
                </a:moveTo>
                <a:cubicBezTo>
                  <a:pt x="32" y="396"/>
                  <a:pt x="29" y="395"/>
                  <a:pt x="28" y="393"/>
                </a:cubicBezTo>
                <a:cubicBezTo>
                  <a:pt x="28" y="393"/>
                  <a:pt x="29" y="392"/>
                  <a:pt x="29" y="391"/>
                </a:cubicBezTo>
                <a:cubicBezTo>
                  <a:pt x="28" y="389"/>
                  <a:pt x="26" y="390"/>
                  <a:pt x="28" y="388"/>
                </a:cubicBezTo>
                <a:cubicBezTo>
                  <a:pt x="30" y="387"/>
                  <a:pt x="27" y="387"/>
                  <a:pt x="29" y="386"/>
                </a:cubicBezTo>
                <a:cubicBezTo>
                  <a:pt x="30" y="386"/>
                  <a:pt x="31" y="382"/>
                  <a:pt x="33" y="382"/>
                </a:cubicBezTo>
                <a:cubicBezTo>
                  <a:pt x="34" y="382"/>
                  <a:pt x="34" y="385"/>
                  <a:pt x="35" y="385"/>
                </a:cubicBezTo>
                <a:cubicBezTo>
                  <a:pt x="38" y="386"/>
                  <a:pt x="35" y="385"/>
                  <a:pt x="36" y="387"/>
                </a:cubicBezTo>
                <a:cubicBezTo>
                  <a:pt x="36" y="387"/>
                  <a:pt x="38" y="388"/>
                  <a:pt x="38" y="388"/>
                </a:cubicBezTo>
                <a:cubicBezTo>
                  <a:pt x="38" y="390"/>
                  <a:pt x="36" y="395"/>
                  <a:pt x="34" y="395"/>
                </a:cubicBezTo>
                <a:close/>
                <a:moveTo>
                  <a:pt x="39" y="373"/>
                </a:moveTo>
                <a:cubicBezTo>
                  <a:pt x="40" y="374"/>
                  <a:pt x="40" y="375"/>
                  <a:pt x="40" y="376"/>
                </a:cubicBezTo>
                <a:cubicBezTo>
                  <a:pt x="38" y="377"/>
                  <a:pt x="37" y="373"/>
                  <a:pt x="39" y="373"/>
                </a:cubicBezTo>
                <a:close/>
                <a:moveTo>
                  <a:pt x="39" y="406"/>
                </a:moveTo>
                <a:cubicBezTo>
                  <a:pt x="40" y="406"/>
                  <a:pt x="38" y="408"/>
                  <a:pt x="39" y="406"/>
                </a:cubicBezTo>
                <a:close/>
                <a:moveTo>
                  <a:pt x="40" y="384"/>
                </a:moveTo>
                <a:cubicBezTo>
                  <a:pt x="40" y="384"/>
                  <a:pt x="41" y="385"/>
                  <a:pt x="40" y="386"/>
                </a:cubicBezTo>
                <a:cubicBezTo>
                  <a:pt x="40" y="386"/>
                  <a:pt x="39" y="385"/>
                  <a:pt x="40" y="384"/>
                </a:cubicBezTo>
                <a:close/>
                <a:moveTo>
                  <a:pt x="42" y="412"/>
                </a:moveTo>
                <a:cubicBezTo>
                  <a:pt x="41" y="414"/>
                  <a:pt x="40" y="411"/>
                  <a:pt x="41" y="411"/>
                </a:cubicBezTo>
                <a:cubicBezTo>
                  <a:pt x="41" y="411"/>
                  <a:pt x="42" y="411"/>
                  <a:pt x="42" y="412"/>
                </a:cubicBezTo>
                <a:close/>
                <a:moveTo>
                  <a:pt x="43" y="354"/>
                </a:moveTo>
                <a:cubicBezTo>
                  <a:pt x="43" y="355"/>
                  <a:pt x="42" y="353"/>
                  <a:pt x="43" y="353"/>
                </a:cubicBezTo>
                <a:cubicBezTo>
                  <a:pt x="43" y="353"/>
                  <a:pt x="44" y="354"/>
                  <a:pt x="43" y="354"/>
                </a:cubicBezTo>
                <a:close/>
                <a:moveTo>
                  <a:pt x="45" y="344"/>
                </a:moveTo>
                <a:cubicBezTo>
                  <a:pt x="45" y="344"/>
                  <a:pt x="47" y="345"/>
                  <a:pt x="48" y="344"/>
                </a:cubicBezTo>
                <a:cubicBezTo>
                  <a:pt x="46" y="345"/>
                  <a:pt x="50" y="347"/>
                  <a:pt x="50" y="348"/>
                </a:cubicBezTo>
                <a:cubicBezTo>
                  <a:pt x="50" y="349"/>
                  <a:pt x="50" y="355"/>
                  <a:pt x="46" y="354"/>
                </a:cubicBezTo>
                <a:cubicBezTo>
                  <a:pt x="43" y="353"/>
                  <a:pt x="43" y="346"/>
                  <a:pt x="45" y="344"/>
                </a:cubicBezTo>
                <a:close/>
                <a:moveTo>
                  <a:pt x="48" y="390"/>
                </a:moveTo>
                <a:cubicBezTo>
                  <a:pt x="49" y="390"/>
                  <a:pt x="47" y="392"/>
                  <a:pt x="48" y="390"/>
                </a:cubicBezTo>
                <a:close/>
                <a:moveTo>
                  <a:pt x="48" y="406"/>
                </a:moveTo>
                <a:cubicBezTo>
                  <a:pt x="47" y="407"/>
                  <a:pt x="47" y="405"/>
                  <a:pt x="48" y="404"/>
                </a:cubicBezTo>
                <a:cubicBezTo>
                  <a:pt x="48" y="404"/>
                  <a:pt x="48" y="405"/>
                  <a:pt x="48" y="406"/>
                </a:cubicBezTo>
                <a:close/>
                <a:moveTo>
                  <a:pt x="46" y="416"/>
                </a:moveTo>
                <a:cubicBezTo>
                  <a:pt x="47" y="417"/>
                  <a:pt x="47" y="418"/>
                  <a:pt x="48" y="419"/>
                </a:cubicBezTo>
                <a:cubicBezTo>
                  <a:pt x="46" y="419"/>
                  <a:pt x="47" y="417"/>
                  <a:pt x="46" y="416"/>
                </a:cubicBezTo>
                <a:close/>
                <a:moveTo>
                  <a:pt x="45" y="412"/>
                </a:moveTo>
                <a:cubicBezTo>
                  <a:pt x="46" y="411"/>
                  <a:pt x="45" y="410"/>
                  <a:pt x="45" y="410"/>
                </a:cubicBezTo>
                <a:cubicBezTo>
                  <a:pt x="47" y="409"/>
                  <a:pt x="46" y="411"/>
                  <a:pt x="48" y="412"/>
                </a:cubicBezTo>
                <a:cubicBezTo>
                  <a:pt x="48" y="412"/>
                  <a:pt x="49" y="412"/>
                  <a:pt x="49" y="412"/>
                </a:cubicBezTo>
                <a:cubicBezTo>
                  <a:pt x="50" y="414"/>
                  <a:pt x="49" y="416"/>
                  <a:pt x="48" y="416"/>
                </a:cubicBezTo>
                <a:cubicBezTo>
                  <a:pt x="45" y="417"/>
                  <a:pt x="44" y="414"/>
                  <a:pt x="45" y="412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186" name="Rectangle 185">
            <a:extLst>
              <a:ext uri="{FF2B5EF4-FFF2-40B4-BE49-F238E27FC236}">
                <a16:creationId xmlns="" xmlns:a16="http://schemas.microsoft.com/office/drawing/2014/main" id="{74A94EEB-68F4-4DEE-96CD-5EFA5D78CE15}"/>
              </a:ext>
            </a:extLst>
          </p:cNvPr>
          <p:cNvSpPr/>
          <p:nvPr/>
        </p:nvSpPr>
        <p:spPr>
          <a:xfrm>
            <a:off x="625595" y="3812875"/>
            <a:ext cx="20201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CUREMENT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187" name="Freeform 247">
            <a:extLst>
              <a:ext uri="{FF2B5EF4-FFF2-40B4-BE49-F238E27FC236}">
                <a16:creationId xmlns="" xmlns:a16="http://schemas.microsoft.com/office/drawing/2014/main" id="{F7995433-926B-4BFC-8330-EB27D6FF1119}"/>
              </a:ext>
            </a:extLst>
          </p:cNvPr>
          <p:cNvSpPr>
            <a:spLocks noEditPoints="1"/>
          </p:cNvSpPr>
          <p:nvPr/>
        </p:nvSpPr>
        <p:spPr bwMode="auto">
          <a:xfrm>
            <a:off x="1449493" y="2435158"/>
            <a:ext cx="381333" cy="476007"/>
          </a:xfrm>
          <a:custGeom>
            <a:avLst/>
            <a:gdLst>
              <a:gd name="T0" fmla="*/ 632 w 723"/>
              <a:gd name="T1" fmla="*/ 765 h 904"/>
              <a:gd name="T2" fmla="*/ 625 w 723"/>
              <a:gd name="T3" fmla="*/ 756 h 904"/>
              <a:gd name="T4" fmla="*/ 497 w 723"/>
              <a:gd name="T5" fmla="*/ 753 h 904"/>
              <a:gd name="T6" fmla="*/ 486 w 723"/>
              <a:gd name="T7" fmla="*/ 757 h 904"/>
              <a:gd name="T8" fmla="*/ 482 w 723"/>
              <a:gd name="T9" fmla="*/ 768 h 904"/>
              <a:gd name="T10" fmla="*/ 421 w 723"/>
              <a:gd name="T11" fmla="*/ 343 h 904"/>
              <a:gd name="T12" fmla="*/ 415 w 723"/>
              <a:gd name="T13" fmla="*/ 335 h 904"/>
              <a:gd name="T14" fmla="*/ 331 w 723"/>
              <a:gd name="T15" fmla="*/ 331 h 904"/>
              <a:gd name="T16" fmla="*/ 442 w 723"/>
              <a:gd name="T17" fmla="*/ 300 h 904"/>
              <a:gd name="T18" fmla="*/ 450 w 723"/>
              <a:gd name="T19" fmla="*/ 293 h 904"/>
              <a:gd name="T20" fmla="*/ 450 w 723"/>
              <a:gd name="T21" fmla="*/ 281 h 904"/>
              <a:gd name="T22" fmla="*/ 442 w 723"/>
              <a:gd name="T23" fmla="*/ 272 h 904"/>
              <a:gd name="T24" fmla="*/ 331 w 723"/>
              <a:gd name="T25" fmla="*/ 211 h 904"/>
              <a:gd name="T26" fmla="*/ 505 w 723"/>
              <a:gd name="T27" fmla="*/ 209 h 904"/>
              <a:gd name="T28" fmla="*/ 512 w 723"/>
              <a:gd name="T29" fmla="*/ 199 h 904"/>
              <a:gd name="T30" fmla="*/ 509 w 723"/>
              <a:gd name="T31" fmla="*/ 188 h 904"/>
              <a:gd name="T32" fmla="*/ 500 w 723"/>
              <a:gd name="T33" fmla="*/ 181 h 904"/>
              <a:gd name="T34" fmla="*/ 557 w 723"/>
              <a:gd name="T35" fmla="*/ 121 h 904"/>
              <a:gd name="T36" fmla="*/ 567 w 723"/>
              <a:gd name="T37" fmla="*/ 117 h 904"/>
              <a:gd name="T38" fmla="*/ 572 w 723"/>
              <a:gd name="T39" fmla="*/ 106 h 904"/>
              <a:gd name="T40" fmla="*/ 567 w 723"/>
              <a:gd name="T41" fmla="*/ 95 h 904"/>
              <a:gd name="T42" fmla="*/ 557 w 723"/>
              <a:gd name="T43" fmla="*/ 91 h 904"/>
              <a:gd name="T44" fmla="*/ 693 w 723"/>
              <a:gd name="T45" fmla="*/ 873 h 904"/>
              <a:gd name="T46" fmla="*/ 602 w 723"/>
              <a:gd name="T47" fmla="*/ 873 h 904"/>
              <a:gd name="T48" fmla="*/ 210 w 723"/>
              <a:gd name="T49" fmla="*/ 783 h 904"/>
              <a:gd name="T50" fmla="*/ 105 w 723"/>
              <a:gd name="T51" fmla="*/ 633 h 904"/>
              <a:gd name="T52" fmla="*/ 116 w 723"/>
              <a:gd name="T53" fmla="*/ 629 h 904"/>
              <a:gd name="T54" fmla="*/ 120 w 723"/>
              <a:gd name="T55" fmla="*/ 618 h 904"/>
              <a:gd name="T56" fmla="*/ 116 w 723"/>
              <a:gd name="T57" fmla="*/ 607 h 904"/>
              <a:gd name="T58" fmla="*/ 105 w 723"/>
              <a:gd name="T59" fmla="*/ 603 h 904"/>
              <a:gd name="T60" fmla="*/ 168 w 723"/>
              <a:gd name="T61" fmla="*/ 542 h 904"/>
              <a:gd name="T62" fmla="*/ 178 w 723"/>
              <a:gd name="T63" fmla="*/ 536 h 904"/>
              <a:gd name="T64" fmla="*/ 180 w 723"/>
              <a:gd name="T65" fmla="*/ 525 h 904"/>
              <a:gd name="T66" fmla="*/ 174 w 723"/>
              <a:gd name="T67" fmla="*/ 515 h 904"/>
              <a:gd name="T68" fmla="*/ 30 w 723"/>
              <a:gd name="T69" fmla="*/ 513 h 904"/>
              <a:gd name="T70" fmla="*/ 202 w 723"/>
              <a:gd name="T71" fmla="*/ 451 h 904"/>
              <a:gd name="T72" fmla="*/ 209 w 723"/>
              <a:gd name="T73" fmla="*/ 443 h 904"/>
              <a:gd name="T74" fmla="*/ 209 w 723"/>
              <a:gd name="T75" fmla="*/ 431 h 904"/>
              <a:gd name="T76" fmla="*/ 202 w 723"/>
              <a:gd name="T77" fmla="*/ 424 h 904"/>
              <a:gd name="T78" fmla="*/ 30 w 723"/>
              <a:gd name="T79" fmla="*/ 361 h 904"/>
              <a:gd name="T80" fmla="*/ 241 w 723"/>
              <a:gd name="T81" fmla="*/ 768 h 904"/>
              <a:gd name="T82" fmla="*/ 236 w 723"/>
              <a:gd name="T83" fmla="*/ 757 h 904"/>
              <a:gd name="T84" fmla="*/ 225 w 723"/>
              <a:gd name="T85" fmla="*/ 753 h 904"/>
              <a:gd name="T86" fmla="*/ 97 w 723"/>
              <a:gd name="T87" fmla="*/ 756 h 904"/>
              <a:gd name="T88" fmla="*/ 90 w 723"/>
              <a:gd name="T89" fmla="*/ 765 h 904"/>
              <a:gd name="T90" fmla="*/ 30 w 723"/>
              <a:gd name="T91" fmla="*/ 633 h 904"/>
              <a:gd name="T92" fmla="*/ 310 w 723"/>
              <a:gd name="T93" fmla="*/ 2 h 904"/>
              <a:gd name="T94" fmla="*/ 302 w 723"/>
              <a:gd name="T95" fmla="*/ 10 h 904"/>
              <a:gd name="T96" fmla="*/ 15 w 723"/>
              <a:gd name="T97" fmla="*/ 331 h 904"/>
              <a:gd name="T98" fmla="*/ 4 w 723"/>
              <a:gd name="T99" fmla="*/ 336 h 904"/>
              <a:gd name="T100" fmla="*/ 0 w 723"/>
              <a:gd name="T101" fmla="*/ 346 h 904"/>
              <a:gd name="T102" fmla="*/ 2 w 723"/>
              <a:gd name="T103" fmla="*/ 897 h 904"/>
              <a:gd name="T104" fmla="*/ 12 w 723"/>
              <a:gd name="T105" fmla="*/ 903 h 904"/>
              <a:gd name="T106" fmla="*/ 406 w 723"/>
              <a:gd name="T107" fmla="*/ 903 h 904"/>
              <a:gd name="T108" fmla="*/ 710 w 723"/>
              <a:gd name="T109" fmla="*/ 903 h 904"/>
              <a:gd name="T110" fmla="*/ 720 w 723"/>
              <a:gd name="T111" fmla="*/ 897 h 904"/>
              <a:gd name="T112" fmla="*/ 723 w 723"/>
              <a:gd name="T113" fmla="*/ 15 h 904"/>
              <a:gd name="T114" fmla="*/ 719 w 723"/>
              <a:gd name="T115" fmla="*/ 5 h 904"/>
              <a:gd name="T116" fmla="*/ 708 w 723"/>
              <a:gd name="T117" fmla="*/ 0 h 9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23" h="904">
                <a:moveTo>
                  <a:pt x="693" y="873"/>
                </a:moveTo>
                <a:lnTo>
                  <a:pt x="632" y="873"/>
                </a:lnTo>
                <a:lnTo>
                  <a:pt x="632" y="768"/>
                </a:lnTo>
                <a:lnTo>
                  <a:pt x="632" y="765"/>
                </a:lnTo>
                <a:lnTo>
                  <a:pt x="631" y="763"/>
                </a:lnTo>
                <a:lnTo>
                  <a:pt x="630" y="760"/>
                </a:lnTo>
                <a:lnTo>
                  <a:pt x="627" y="757"/>
                </a:lnTo>
                <a:lnTo>
                  <a:pt x="625" y="756"/>
                </a:lnTo>
                <a:lnTo>
                  <a:pt x="623" y="754"/>
                </a:lnTo>
                <a:lnTo>
                  <a:pt x="620" y="754"/>
                </a:lnTo>
                <a:lnTo>
                  <a:pt x="617" y="753"/>
                </a:lnTo>
                <a:lnTo>
                  <a:pt x="497" y="753"/>
                </a:lnTo>
                <a:lnTo>
                  <a:pt x="493" y="753"/>
                </a:lnTo>
                <a:lnTo>
                  <a:pt x="491" y="754"/>
                </a:lnTo>
                <a:lnTo>
                  <a:pt x="488" y="756"/>
                </a:lnTo>
                <a:lnTo>
                  <a:pt x="486" y="757"/>
                </a:lnTo>
                <a:lnTo>
                  <a:pt x="484" y="760"/>
                </a:lnTo>
                <a:lnTo>
                  <a:pt x="483" y="763"/>
                </a:lnTo>
                <a:lnTo>
                  <a:pt x="482" y="765"/>
                </a:lnTo>
                <a:lnTo>
                  <a:pt x="482" y="768"/>
                </a:lnTo>
                <a:lnTo>
                  <a:pt x="482" y="873"/>
                </a:lnTo>
                <a:lnTo>
                  <a:pt x="421" y="873"/>
                </a:lnTo>
                <a:lnTo>
                  <a:pt x="421" y="346"/>
                </a:lnTo>
                <a:lnTo>
                  <a:pt x="421" y="343"/>
                </a:lnTo>
                <a:lnTo>
                  <a:pt x="420" y="341"/>
                </a:lnTo>
                <a:lnTo>
                  <a:pt x="419" y="338"/>
                </a:lnTo>
                <a:lnTo>
                  <a:pt x="417" y="336"/>
                </a:lnTo>
                <a:lnTo>
                  <a:pt x="415" y="335"/>
                </a:lnTo>
                <a:lnTo>
                  <a:pt x="412" y="333"/>
                </a:lnTo>
                <a:lnTo>
                  <a:pt x="410" y="333"/>
                </a:lnTo>
                <a:lnTo>
                  <a:pt x="406" y="331"/>
                </a:lnTo>
                <a:lnTo>
                  <a:pt x="331" y="331"/>
                </a:lnTo>
                <a:lnTo>
                  <a:pt x="331" y="301"/>
                </a:lnTo>
                <a:lnTo>
                  <a:pt x="436" y="301"/>
                </a:lnTo>
                <a:lnTo>
                  <a:pt x="440" y="301"/>
                </a:lnTo>
                <a:lnTo>
                  <a:pt x="442" y="300"/>
                </a:lnTo>
                <a:lnTo>
                  <a:pt x="445" y="299"/>
                </a:lnTo>
                <a:lnTo>
                  <a:pt x="447" y="297"/>
                </a:lnTo>
                <a:lnTo>
                  <a:pt x="449" y="295"/>
                </a:lnTo>
                <a:lnTo>
                  <a:pt x="450" y="293"/>
                </a:lnTo>
                <a:lnTo>
                  <a:pt x="452" y="290"/>
                </a:lnTo>
                <a:lnTo>
                  <a:pt x="452" y="286"/>
                </a:lnTo>
                <a:lnTo>
                  <a:pt x="452" y="283"/>
                </a:lnTo>
                <a:lnTo>
                  <a:pt x="450" y="281"/>
                </a:lnTo>
                <a:lnTo>
                  <a:pt x="449" y="278"/>
                </a:lnTo>
                <a:lnTo>
                  <a:pt x="447" y="276"/>
                </a:lnTo>
                <a:lnTo>
                  <a:pt x="445" y="275"/>
                </a:lnTo>
                <a:lnTo>
                  <a:pt x="442" y="272"/>
                </a:lnTo>
                <a:lnTo>
                  <a:pt x="440" y="271"/>
                </a:lnTo>
                <a:lnTo>
                  <a:pt x="436" y="271"/>
                </a:lnTo>
                <a:lnTo>
                  <a:pt x="331" y="271"/>
                </a:lnTo>
                <a:lnTo>
                  <a:pt x="331" y="211"/>
                </a:lnTo>
                <a:lnTo>
                  <a:pt x="497" y="211"/>
                </a:lnTo>
                <a:lnTo>
                  <a:pt x="500" y="211"/>
                </a:lnTo>
                <a:lnTo>
                  <a:pt x="503" y="210"/>
                </a:lnTo>
                <a:lnTo>
                  <a:pt x="505" y="209"/>
                </a:lnTo>
                <a:lnTo>
                  <a:pt x="507" y="207"/>
                </a:lnTo>
                <a:lnTo>
                  <a:pt x="509" y="205"/>
                </a:lnTo>
                <a:lnTo>
                  <a:pt x="510" y="202"/>
                </a:lnTo>
                <a:lnTo>
                  <a:pt x="512" y="199"/>
                </a:lnTo>
                <a:lnTo>
                  <a:pt x="512" y="196"/>
                </a:lnTo>
                <a:lnTo>
                  <a:pt x="512" y="193"/>
                </a:lnTo>
                <a:lnTo>
                  <a:pt x="510" y="190"/>
                </a:lnTo>
                <a:lnTo>
                  <a:pt x="509" y="188"/>
                </a:lnTo>
                <a:lnTo>
                  <a:pt x="507" y="186"/>
                </a:lnTo>
                <a:lnTo>
                  <a:pt x="505" y="183"/>
                </a:lnTo>
                <a:lnTo>
                  <a:pt x="503" y="182"/>
                </a:lnTo>
                <a:lnTo>
                  <a:pt x="500" y="181"/>
                </a:lnTo>
                <a:lnTo>
                  <a:pt x="497" y="181"/>
                </a:lnTo>
                <a:lnTo>
                  <a:pt x="331" y="181"/>
                </a:lnTo>
                <a:lnTo>
                  <a:pt x="331" y="121"/>
                </a:lnTo>
                <a:lnTo>
                  <a:pt x="557" y="121"/>
                </a:lnTo>
                <a:lnTo>
                  <a:pt x="560" y="120"/>
                </a:lnTo>
                <a:lnTo>
                  <a:pt x="563" y="120"/>
                </a:lnTo>
                <a:lnTo>
                  <a:pt x="565" y="118"/>
                </a:lnTo>
                <a:lnTo>
                  <a:pt x="567" y="117"/>
                </a:lnTo>
                <a:lnTo>
                  <a:pt x="569" y="115"/>
                </a:lnTo>
                <a:lnTo>
                  <a:pt x="571" y="112"/>
                </a:lnTo>
                <a:lnTo>
                  <a:pt x="572" y="109"/>
                </a:lnTo>
                <a:lnTo>
                  <a:pt x="572" y="106"/>
                </a:lnTo>
                <a:lnTo>
                  <a:pt x="572" y="103"/>
                </a:lnTo>
                <a:lnTo>
                  <a:pt x="571" y="100"/>
                </a:lnTo>
                <a:lnTo>
                  <a:pt x="569" y="98"/>
                </a:lnTo>
                <a:lnTo>
                  <a:pt x="567" y="95"/>
                </a:lnTo>
                <a:lnTo>
                  <a:pt x="565" y="93"/>
                </a:lnTo>
                <a:lnTo>
                  <a:pt x="563" y="92"/>
                </a:lnTo>
                <a:lnTo>
                  <a:pt x="560" y="91"/>
                </a:lnTo>
                <a:lnTo>
                  <a:pt x="557" y="91"/>
                </a:lnTo>
                <a:lnTo>
                  <a:pt x="331" y="91"/>
                </a:lnTo>
                <a:lnTo>
                  <a:pt x="331" y="31"/>
                </a:lnTo>
                <a:lnTo>
                  <a:pt x="693" y="31"/>
                </a:lnTo>
                <a:lnTo>
                  <a:pt x="693" y="873"/>
                </a:lnTo>
                <a:close/>
                <a:moveTo>
                  <a:pt x="512" y="873"/>
                </a:moveTo>
                <a:lnTo>
                  <a:pt x="512" y="783"/>
                </a:lnTo>
                <a:lnTo>
                  <a:pt x="602" y="783"/>
                </a:lnTo>
                <a:lnTo>
                  <a:pt x="602" y="873"/>
                </a:lnTo>
                <a:lnTo>
                  <a:pt x="512" y="873"/>
                </a:lnTo>
                <a:close/>
                <a:moveTo>
                  <a:pt x="120" y="873"/>
                </a:moveTo>
                <a:lnTo>
                  <a:pt x="120" y="783"/>
                </a:lnTo>
                <a:lnTo>
                  <a:pt x="210" y="783"/>
                </a:lnTo>
                <a:lnTo>
                  <a:pt x="210" y="873"/>
                </a:lnTo>
                <a:lnTo>
                  <a:pt x="120" y="873"/>
                </a:lnTo>
                <a:close/>
                <a:moveTo>
                  <a:pt x="30" y="633"/>
                </a:moveTo>
                <a:lnTo>
                  <a:pt x="105" y="633"/>
                </a:lnTo>
                <a:lnTo>
                  <a:pt x="108" y="633"/>
                </a:lnTo>
                <a:lnTo>
                  <a:pt x="112" y="632"/>
                </a:lnTo>
                <a:lnTo>
                  <a:pt x="114" y="630"/>
                </a:lnTo>
                <a:lnTo>
                  <a:pt x="116" y="629"/>
                </a:lnTo>
                <a:lnTo>
                  <a:pt x="118" y="627"/>
                </a:lnTo>
                <a:lnTo>
                  <a:pt x="119" y="623"/>
                </a:lnTo>
                <a:lnTo>
                  <a:pt x="120" y="621"/>
                </a:lnTo>
                <a:lnTo>
                  <a:pt x="120" y="618"/>
                </a:lnTo>
                <a:lnTo>
                  <a:pt x="120" y="615"/>
                </a:lnTo>
                <a:lnTo>
                  <a:pt x="119" y="611"/>
                </a:lnTo>
                <a:lnTo>
                  <a:pt x="118" y="609"/>
                </a:lnTo>
                <a:lnTo>
                  <a:pt x="116" y="607"/>
                </a:lnTo>
                <a:lnTo>
                  <a:pt x="114" y="605"/>
                </a:lnTo>
                <a:lnTo>
                  <a:pt x="112" y="604"/>
                </a:lnTo>
                <a:lnTo>
                  <a:pt x="108" y="603"/>
                </a:lnTo>
                <a:lnTo>
                  <a:pt x="105" y="603"/>
                </a:lnTo>
                <a:lnTo>
                  <a:pt x="30" y="603"/>
                </a:lnTo>
                <a:lnTo>
                  <a:pt x="30" y="543"/>
                </a:lnTo>
                <a:lnTo>
                  <a:pt x="165" y="543"/>
                </a:lnTo>
                <a:lnTo>
                  <a:pt x="168" y="542"/>
                </a:lnTo>
                <a:lnTo>
                  <a:pt x="172" y="542"/>
                </a:lnTo>
                <a:lnTo>
                  <a:pt x="174" y="540"/>
                </a:lnTo>
                <a:lnTo>
                  <a:pt x="176" y="539"/>
                </a:lnTo>
                <a:lnTo>
                  <a:pt x="178" y="536"/>
                </a:lnTo>
                <a:lnTo>
                  <a:pt x="179" y="533"/>
                </a:lnTo>
                <a:lnTo>
                  <a:pt x="180" y="531"/>
                </a:lnTo>
                <a:lnTo>
                  <a:pt x="180" y="528"/>
                </a:lnTo>
                <a:lnTo>
                  <a:pt x="180" y="525"/>
                </a:lnTo>
                <a:lnTo>
                  <a:pt x="179" y="521"/>
                </a:lnTo>
                <a:lnTo>
                  <a:pt x="178" y="519"/>
                </a:lnTo>
                <a:lnTo>
                  <a:pt x="176" y="517"/>
                </a:lnTo>
                <a:lnTo>
                  <a:pt x="174" y="515"/>
                </a:lnTo>
                <a:lnTo>
                  <a:pt x="172" y="514"/>
                </a:lnTo>
                <a:lnTo>
                  <a:pt x="168" y="513"/>
                </a:lnTo>
                <a:lnTo>
                  <a:pt x="165" y="513"/>
                </a:lnTo>
                <a:lnTo>
                  <a:pt x="30" y="513"/>
                </a:lnTo>
                <a:lnTo>
                  <a:pt x="30" y="452"/>
                </a:lnTo>
                <a:lnTo>
                  <a:pt x="195" y="452"/>
                </a:lnTo>
                <a:lnTo>
                  <a:pt x="198" y="452"/>
                </a:lnTo>
                <a:lnTo>
                  <a:pt x="202" y="451"/>
                </a:lnTo>
                <a:lnTo>
                  <a:pt x="204" y="449"/>
                </a:lnTo>
                <a:lnTo>
                  <a:pt x="206" y="447"/>
                </a:lnTo>
                <a:lnTo>
                  <a:pt x="208" y="445"/>
                </a:lnTo>
                <a:lnTo>
                  <a:pt x="209" y="443"/>
                </a:lnTo>
                <a:lnTo>
                  <a:pt x="210" y="440"/>
                </a:lnTo>
                <a:lnTo>
                  <a:pt x="210" y="438"/>
                </a:lnTo>
                <a:lnTo>
                  <a:pt x="210" y="434"/>
                </a:lnTo>
                <a:lnTo>
                  <a:pt x="209" y="431"/>
                </a:lnTo>
                <a:lnTo>
                  <a:pt x="208" y="429"/>
                </a:lnTo>
                <a:lnTo>
                  <a:pt x="206" y="427"/>
                </a:lnTo>
                <a:lnTo>
                  <a:pt x="204" y="425"/>
                </a:lnTo>
                <a:lnTo>
                  <a:pt x="202" y="424"/>
                </a:lnTo>
                <a:lnTo>
                  <a:pt x="198" y="423"/>
                </a:lnTo>
                <a:lnTo>
                  <a:pt x="195" y="422"/>
                </a:lnTo>
                <a:lnTo>
                  <a:pt x="30" y="422"/>
                </a:lnTo>
                <a:lnTo>
                  <a:pt x="30" y="361"/>
                </a:lnTo>
                <a:lnTo>
                  <a:pt x="391" y="361"/>
                </a:lnTo>
                <a:lnTo>
                  <a:pt x="391" y="873"/>
                </a:lnTo>
                <a:lnTo>
                  <a:pt x="241" y="873"/>
                </a:lnTo>
                <a:lnTo>
                  <a:pt x="241" y="768"/>
                </a:lnTo>
                <a:lnTo>
                  <a:pt x="240" y="765"/>
                </a:lnTo>
                <a:lnTo>
                  <a:pt x="239" y="763"/>
                </a:lnTo>
                <a:lnTo>
                  <a:pt x="238" y="760"/>
                </a:lnTo>
                <a:lnTo>
                  <a:pt x="236" y="757"/>
                </a:lnTo>
                <a:lnTo>
                  <a:pt x="234" y="756"/>
                </a:lnTo>
                <a:lnTo>
                  <a:pt x="232" y="754"/>
                </a:lnTo>
                <a:lnTo>
                  <a:pt x="228" y="754"/>
                </a:lnTo>
                <a:lnTo>
                  <a:pt x="225" y="753"/>
                </a:lnTo>
                <a:lnTo>
                  <a:pt x="105" y="753"/>
                </a:lnTo>
                <a:lnTo>
                  <a:pt x="102" y="753"/>
                </a:lnTo>
                <a:lnTo>
                  <a:pt x="100" y="754"/>
                </a:lnTo>
                <a:lnTo>
                  <a:pt x="97" y="756"/>
                </a:lnTo>
                <a:lnTo>
                  <a:pt x="94" y="757"/>
                </a:lnTo>
                <a:lnTo>
                  <a:pt x="93" y="760"/>
                </a:lnTo>
                <a:lnTo>
                  <a:pt x="91" y="763"/>
                </a:lnTo>
                <a:lnTo>
                  <a:pt x="90" y="765"/>
                </a:lnTo>
                <a:lnTo>
                  <a:pt x="90" y="768"/>
                </a:lnTo>
                <a:lnTo>
                  <a:pt x="90" y="873"/>
                </a:lnTo>
                <a:lnTo>
                  <a:pt x="30" y="873"/>
                </a:lnTo>
                <a:lnTo>
                  <a:pt x="30" y="633"/>
                </a:lnTo>
                <a:close/>
                <a:moveTo>
                  <a:pt x="708" y="0"/>
                </a:moveTo>
                <a:lnTo>
                  <a:pt x="316" y="0"/>
                </a:lnTo>
                <a:lnTo>
                  <a:pt x="313" y="1"/>
                </a:lnTo>
                <a:lnTo>
                  <a:pt x="310" y="2"/>
                </a:lnTo>
                <a:lnTo>
                  <a:pt x="308" y="3"/>
                </a:lnTo>
                <a:lnTo>
                  <a:pt x="306" y="5"/>
                </a:lnTo>
                <a:lnTo>
                  <a:pt x="304" y="7"/>
                </a:lnTo>
                <a:lnTo>
                  <a:pt x="302" y="10"/>
                </a:lnTo>
                <a:lnTo>
                  <a:pt x="301" y="13"/>
                </a:lnTo>
                <a:lnTo>
                  <a:pt x="301" y="16"/>
                </a:lnTo>
                <a:lnTo>
                  <a:pt x="301" y="331"/>
                </a:lnTo>
                <a:lnTo>
                  <a:pt x="15" y="331"/>
                </a:lnTo>
                <a:lnTo>
                  <a:pt x="12" y="331"/>
                </a:lnTo>
                <a:lnTo>
                  <a:pt x="10" y="333"/>
                </a:lnTo>
                <a:lnTo>
                  <a:pt x="6" y="335"/>
                </a:lnTo>
                <a:lnTo>
                  <a:pt x="4" y="336"/>
                </a:lnTo>
                <a:lnTo>
                  <a:pt x="2" y="338"/>
                </a:lnTo>
                <a:lnTo>
                  <a:pt x="1" y="341"/>
                </a:lnTo>
                <a:lnTo>
                  <a:pt x="0" y="343"/>
                </a:lnTo>
                <a:lnTo>
                  <a:pt x="0" y="346"/>
                </a:lnTo>
                <a:lnTo>
                  <a:pt x="0" y="888"/>
                </a:lnTo>
                <a:lnTo>
                  <a:pt x="0" y="892"/>
                </a:lnTo>
                <a:lnTo>
                  <a:pt x="1" y="895"/>
                </a:lnTo>
                <a:lnTo>
                  <a:pt x="2" y="897"/>
                </a:lnTo>
                <a:lnTo>
                  <a:pt x="4" y="899"/>
                </a:lnTo>
                <a:lnTo>
                  <a:pt x="6" y="901"/>
                </a:lnTo>
                <a:lnTo>
                  <a:pt x="10" y="902"/>
                </a:lnTo>
                <a:lnTo>
                  <a:pt x="12" y="903"/>
                </a:lnTo>
                <a:lnTo>
                  <a:pt x="15" y="904"/>
                </a:lnTo>
                <a:lnTo>
                  <a:pt x="105" y="903"/>
                </a:lnTo>
                <a:lnTo>
                  <a:pt x="225" y="903"/>
                </a:lnTo>
                <a:lnTo>
                  <a:pt x="406" y="903"/>
                </a:lnTo>
                <a:lnTo>
                  <a:pt x="497" y="903"/>
                </a:lnTo>
                <a:lnTo>
                  <a:pt x="617" y="903"/>
                </a:lnTo>
                <a:lnTo>
                  <a:pt x="708" y="903"/>
                </a:lnTo>
                <a:lnTo>
                  <a:pt x="710" y="903"/>
                </a:lnTo>
                <a:lnTo>
                  <a:pt x="713" y="902"/>
                </a:lnTo>
                <a:lnTo>
                  <a:pt x="715" y="901"/>
                </a:lnTo>
                <a:lnTo>
                  <a:pt x="719" y="899"/>
                </a:lnTo>
                <a:lnTo>
                  <a:pt x="720" y="897"/>
                </a:lnTo>
                <a:lnTo>
                  <a:pt x="722" y="895"/>
                </a:lnTo>
                <a:lnTo>
                  <a:pt x="722" y="892"/>
                </a:lnTo>
                <a:lnTo>
                  <a:pt x="723" y="889"/>
                </a:lnTo>
                <a:lnTo>
                  <a:pt x="723" y="15"/>
                </a:lnTo>
                <a:lnTo>
                  <a:pt x="722" y="13"/>
                </a:lnTo>
                <a:lnTo>
                  <a:pt x="722" y="10"/>
                </a:lnTo>
                <a:lnTo>
                  <a:pt x="720" y="7"/>
                </a:lnTo>
                <a:lnTo>
                  <a:pt x="719" y="5"/>
                </a:lnTo>
                <a:lnTo>
                  <a:pt x="715" y="3"/>
                </a:lnTo>
                <a:lnTo>
                  <a:pt x="713" y="2"/>
                </a:lnTo>
                <a:lnTo>
                  <a:pt x="710" y="1"/>
                </a:lnTo>
                <a:lnTo>
                  <a:pt x="70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8" name="Rectangle 187">
            <a:extLst>
              <a:ext uri="{FF2B5EF4-FFF2-40B4-BE49-F238E27FC236}">
                <a16:creationId xmlns="" xmlns:a16="http://schemas.microsoft.com/office/drawing/2014/main" id="{732D09B6-4273-413D-A0E4-EC1127CFD87A}"/>
              </a:ext>
            </a:extLst>
          </p:cNvPr>
          <p:cNvSpPr/>
          <p:nvPr/>
        </p:nvSpPr>
        <p:spPr>
          <a:xfrm>
            <a:off x="625595" y="4264049"/>
            <a:ext cx="2029127" cy="15081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lo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l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203" name="Freeform 140">
            <a:extLst>
              <a:ext uri="{FF2B5EF4-FFF2-40B4-BE49-F238E27FC236}">
                <a16:creationId xmlns="" xmlns:a16="http://schemas.microsoft.com/office/drawing/2014/main" id="{D4235FAA-2152-4D77-B8E9-2F586A5EF78B}"/>
              </a:ext>
            </a:extLst>
          </p:cNvPr>
          <p:cNvSpPr>
            <a:spLocks noEditPoints="1"/>
          </p:cNvSpPr>
          <p:nvPr/>
        </p:nvSpPr>
        <p:spPr bwMode="auto">
          <a:xfrm>
            <a:off x="3596157" y="1707772"/>
            <a:ext cx="2029127" cy="1930777"/>
          </a:xfrm>
          <a:custGeom>
            <a:avLst/>
            <a:gdLst>
              <a:gd name="T0" fmla="*/ 138 w 832"/>
              <a:gd name="T1" fmla="*/ 476 h 793"/>
              <a:gd name="T2" fmla="*/ 201 w 832"/>
              <a:gd name="T3" fmla="*/ 469 h 793"/>
              <a:gd name="T4" fmla="*/ 181 w 832"/>
              <a:gd name="T5" fmla="*/ 508 h 793"/>
              <a:gd name="T6" fmla="*/ 228 w 832"/>
              <a:gd name="T7" fmla="*/ 531 h 793"/>
              <a:gd name="T8" fmla="*/ 299 w 832"/>
              <a:gd name="T9" fmla="*/ 524 h 793"/>
              <a:gd name="T10" fmla="*/ 313 w 832"/>
              <a:gd name="T11" fmla="*/ 582 h 793"/>
              <a:gd name="T12" fmla="*/ 386 w 832"/>
              <a:gd name="T13" fmla="*/ 657 h 793"/>
              <a:gd name="T14" fmla="*/ 377 w 832"/>
              <a:gd name="T15" fmla="*/ 733 h 793"/>
              <a:gd name="T16" fmla="*/ 730 w 832"/>
              <a:gd name="T17" fmla="*/ 282 h 793"/>
              <a:gd name="T18" fmla="*/ 710 w 832"/>
              <a:gd name="T19" fmla="*/ 255 h 793"/>
              <a:gd name="T20" fmla="*/ 636 w 832"/>
              <a:gd name="T21" fmla="*/ 285 h 793"/>
              <a:gd name="T22" fmla="*/ 609 w 832"/>
              <a:gd name="T23" fmla="*/ 220 h 793"/>
              <a:gd name="T24" fmla="*/ 513 w 832"/>
              <a:gd name="T25" fmla="*/ 163 h 793"/>
              <a:gd name="T26" fmla="*/ 489 w 832"/>
              <a:gd name="T27" fmla="*/ 92 h 793"/>
              <a:gd name="T28" fmla="*/ 475 w 832"/>
              <a:gd name="T29" fmla="*/ 43 h 793"/>
              <a:gd name="T30" fmla="*/ 354 w 832"/>
              <a:gd name="T31" fmla="*/ 39 h 793"/>
              <a:gd name="T32" fmla="*/ 277 w 832"/>
              <a:gd name="T33" fmla="*/ 496 h 793"/>
              <a:gd name="T34" fmla="*/ 815 w 832"/>
              <a:gd name="T35" fmla="*/ 374 h 793"/>
              <a:gd name="T36" fmla="*/ 776 w 832"/>
              <a:gd name="T37" fmla="*/ 327 h 793"/>
              <a:gd name="T38" fmla="*/ 741 w 832"/>
              <a:gd name="T39" fmla="*/ 324 h 793"/>
              <a:gd name="T40" fmla="*/ 695 w 832"/>
              <a:gd name="T41" fmla="*/ 438 h 793"/>
              <a:gd name="T42" fmla="*/ 691 w 832"/>
              <a:gd name="T43" fmla="*/ 299 h 793"/>
              <a:gd name="T44" fmla="*/ 644 w 832"/>
              <a:gd name="T45" fmla="*/ 398 h 793"/>
              <a:gd name="T46" fmla="*/ 484 w 832"/>
              <a:gd name="T47" fmla="*/ 157 h 793"/>
              <a:gd name="T48" fmla="*/ 527 w 832"/>
              <a:gd name="T49" fmla="*/ 671 h 793"/>
              <a:gd name="T50" fmla="*/ 570 w 832"/>
              <a:gd name="T51" fmla="*/ 335 h 793"/>
              <a:gd name="T52" fmla="*/ 591 w 832"/>
              <a:gd name="T53" fmla="*/ 396 h 793"/>
              <a:gd name="T54" fmla="*/ 613 w 832"/>
              <a:gd name="T55" fmla="*/ 276 h 793"/>
              <a:gd name="T56" fmla="*/ 607 w 832"/>
              <a:gd name="T57" fmla="*/ 228 h 793"/>
              <a:gd name="T58" fmla="*/ 549 w 832"/>
              <a:gd name="T59" fmla="*/ 270 h 793"/>
              <a:gd name="T60" fmla="*/ 506 w 832"/>
              <a:gd name="T61" fmla="*/ 202 h 793"/>
              <a:gd name="T62" fmla="*/ 481 w 832"/>
              <a:gd name="T63" fmla="*/ 85 h 793"/>
              <a:gd name="T64" fmla="*/ 300 w 832"/>
              <a:gd name="T65" fmla="*/ 462 h 793"/>
              <a:gd name="T66" fmla="*/ 312 w 832"/>
              <a:gd name="T67" fmla="*/ 574 h 793"/>
              <a:gd name="T68" fmla="*/ 341 w 832"/>
              <a:gd name="T69" fmla="*/ 515 h 793"/>
              <a:gd name="T70" fmla="*/ 319 w 832"/>
              <a:gd name="T71" fmla="*/ 563 h 793"/>
              <a:gd name="T72" fmla="*/ 367 w 832"/>
              <a:gd name="T73" fmla="*/ 558 h 793"/>
              <a:gd name="T74" fmla="*/ 445 w 832"/>
              <a:gd name="T75" fmla="*/ 112 h 793"/>
              <a:gd name="T76" fmla="*/ 469 w 832"/>
              <a:gd name="T77" fmla="*/ 613 h 793"/>
              <a:gd name="T78" fmla="*/ 416 w 832"/>
              <a:gd name="T79" fmla="*/ 113 h 793"/>
              <a:gd name="T80" fmla="*/ 432 w 832"/>
              <a:gd name="T81" fmla="*/ 246 h 793"/>
              <a:gd name="T82" fmla="*/ 442 w 832"/>
              <a:gd name="T83" fmla="*/ 577 h 793"/>
              <a:gd name="T84" fmla="*/ 427 w 832"/>
              <a:gd name="T85" fmla="*/ 695 h 793"/>
              <a:gd name="T86" fmla="*/ 469 w 832"/>
              <a:gd name="T87" fmla="*/ 188 h 793"/>
              <a:gd name="T88" fmla="*/ 410 w 832"/>
              <a:gd name="T89" fmla="*/ 668 h 793"/>
              <a:gd name="T90" fmla="*/ 409 w 832"/>
              <a:gd name="T91" fmla="*/ 52 h 793"/>
              <a:gd name="T92" fmla="*/ 411 w 832"/>
              <a:gd name="T93" fmla="*/ 701 h 793"/>
              <a:gd name="T94" fmla="*/ 472 w 832"/>
              <a:gd name="T95" fmla="*/ 674 h 793"/>
              <a:gd name="T96" fmla="*/ 442 w 832"/>
              <a:gd name="T97" fmla="*/ 6 h 793"/>
              <a:gd name="T98" fmla="*/ 387 w 832"/>
              <a:gd name="T99" fmla="*/ 67 h 793"/>
              <a:gd name="T100" fmla="*/ 360 w 832"/>
              <a:gd name="T101" fmla="*/ 68 h 793"/>
              <a:gd name="T102" fmla="*/ 290 w 832"/>
              <a:gd name="T103" fmla="*/ 379 h 793"/>
              <a:gd name="T104" fmla="*/ 238 w 832"/>
              <a:gd name="T105" fmla="*/ 443 h 793"/>
              <a:gd name="T106" fmla="*/ 231 w 832"/>
              <a:gd name="T107" fmla="*/ 395 h 793"/>
              <a:gd name="T108" fmla="*/ 75 w 832"/>
              <a:gd name="T109" fmla="*/ 451 h 793"/>
              <a:gd name="T110" fmla="*/ 124 w 832"/>
              <a:gd name="T111" fmla="*/ 420 h 793"/>
              <a:gd name="T112" fmla="*/ 149 w 832"/>
              <a:gd name="T113" fmla="*/ 411 h 793"/>
              <a:gd name="T114" fmla="*/ 173 w 832"/>
              <a:gd name="T115" fmla="*/ 418 h 793"/>
              <a:gd name="T116" fmla="*/ 187 w 832"/>
              <a:gd name="T117" fmla="*/ 433 h 793"/>
              <a:gd name="T118" fmla="*/ 147 w 832"/>
              <a:gd name="T119" fmla="*/ 373 h 793"/>
              <a:gd name="T120" fmla="*/ 108 w 832"/>
              <a:gd name="T121" fmla="*/ 299 h 793"/>
              <a:gd name="T122" fmla="*/ 78 w 832"/>
              <a:gd name="T123" fmla="*/ 441 h 793"/>
              <a:gd name="T124" fmla="*/ 49 w 832"/>
              <a:gd name="T125" fmla="*/ 418 h 7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32" h="793">
                <a:moveTo>
                  <a:pt x="49" y="426"/>
                </a:moveTo>
                <a:cubicBezTo>
                  <a:pt x="70" y="447"/>
                  <a:pt x="70" y="447"/>
                  <a:pt x="70" y="447"/>
                </a:cubicBezTo>
                <a:cubicBezTo>
                  <a:pt x="71" y="445"/>
                  <a:pt x="72" y="443"/>
                  <a:pt x="73" y="446"/>
                </a:cubicBezTo>
                <a:cubicBezTo>
                  <a:pt x="73" y="446"/>
                  <a:pt x="74" y="448"/>
                  <a:pt x="72" y="449"/>
                </a:cubicBezTo>
                <a:cubicBezTo>
                  <a:pt x="72" y="449"/>
                  <a:pt x="72" y="449"/>
                  <a:pt x="72" y="449"/>
                </a:cubicBezTo>
                <a:cubicBezTo>
                  <a:pt x="76" y="453"/>
                  <a:pt x="76" y="453"/>
                  <a:pt x="76" y="453"/>
                </a:cubicBezTo>
                <a:cubicBezTo>
                  <a:pt x="76" y="451"/>
                  <a:pt x="76" y="449"/>
                  <a:pt x="76" y="449"/>
                </a:cubicBezTo>
                <a:cubicBezTo>
                  <a:pt x="77" y="449"/>
                  <a:pt x="78" y="450"/>
                  <a:pt x="78" y="451"/>
                </a:cubicBezTo>
                <a:cubicBezTo>
                  <a:pt x="78" y="451"/>
                  <a:pt x="78" y="451"/>
                  <a:pt x="78" y="451"/>
                </a:cubicBezTo>
                <a:cubicBezTo>
                  <a:pt x="79" y="452"/>
                  <a:pt x="78" y="454"/>
                  <a:pt x="78" y="455"/>
                </a:cubicBezTo>
                <a:cubicBezTo>
                  <a:pt x="80" y="457"/>
                  <a:pt x="80" y="457"/>
                  <a:pt x="80" y="457"/>
                </a:cubicBezTo>
                <a:cubicBezTo>
                  <a:pt x="80" y="457"/>
                  <a:pt x="80" y="457"/>
                  <a:pt x="80" y="457"/>
                </a:cubicBezTo>
                <a:cubicBezTo>
                  <a:pt x="80" y="457"/>
                  <a:pt x="80" y="457"/>
                  <a:pt x="80" y="457"/>
                </a:cubicBezTo>
                <a:cubicBezTo>
                  <a:pt x="80" y="457"/>
                  <a:pt x="80" y="457"/>
                  <a:pt x="80" y="457"/>
                </a:cubicBezTo>
                <a:cubicBezTo>
                  <a:pt x="81" y="458"/>
                  <a:pt x="83" y="459"/>
                  <a:pt x="83" y="460"/>
                </a:cubicBezTo>
                <a:cubicBezTo>
                  <a:pt x="83" y="460"/>
                  <a:pt x="84" y="460"/>
                  <a:pt x="84" y="460"/>
                </a:cubicBezTo>
                <a:cubicBezTo>
                  <a:pt x="88" y="465"/>
                  <a:pt x="88" y="465"/>
                  <a:pt x="88" y="465"/>
                </a:cubicBezTo>
                <a:cubicBezTo>
                  <a:pt x="88" y="464"/>
                  <a:pt x="88" y="463"/>
                  <a:pt x="88" y="463"/>
                </a:cubicBezTo>
                <a:cubicBezTo>
                  <a:pt x="88" y="464"/>
                  <a:pt x="88" y="464"/>
                  <a:pt x="88" y="465"/>
                </a:cubicBezTo>
                <a:cubicBezTo>
                  <a:pt x="90" y="467"/>
                  <a:pt x="90" y="467"/>
                  <a:pt x="90" y="467"/>
                </a:cubicBezTo>
                <a:cubicBezTo>
                  <a:pt x="90" y="463"/>
                  <a:pt x="97" y="464"/>
                  <a:pt x="96" y="468"/>
                </a:cubicBezTo>
                <a:cubicBezTo>
                  <a:pt x="96" y="468"/>
                  <a:pt x="95" y="469"/>
                  <a:pt x="95" y="469"/>
                </a:cubicBezTo>
                <a:cubicBezTo>
                  <a:pt x="95" y="470"/>
                  <a:pt x="96" y="472"/>
                  <a:pt x="96" y="473"/>
                </a:cubicBezTo>
                <a:cubicBezTo>
                  <a:pt x="98" y="475"/>
                  <a:pt x="98" y="475"/>
                  <a:pt x="98" y="475"/>
                </a:cubicBezTo>
                <a:cubicBezTo>
                  <a:pt x="98" y="473"/>
                  <a:pt x="98" y="471"/>
                  <a:pt x="99" y="471"/>
                </a:cubicBezTo>
                <a:cubicBezTo>
                  <a:pt x="99" y="471"/>
                  <a:pt x="100" y="472"/>
                  <a:pt x="101" y="471"/>
                </a:cubicBezTo>
                <a:cubicBezTo>
                  <a:pt x="102" y="471"/>
                  <a:pt x="101" y="469"/>
                  <a:pt x="102" y="466"/>
                </a:cubicBezTo>
                <a:cubicBezTo>
                  <a:pt x="102" y="465"/>
                  <a:pt x="104" y="464"/>
                  <a:pt x="103" y="463"/>
                </a:cubicBezTo>
                <a:cubicBezTo>
                  <a:pt x="104" y="462"/>
                  <a:pt x="104" y="463"/>
                  <a:pt x="105" y="463"/>
                </a:cubicBezTo>
                <a:cubicBezTo>
                  <a:pt x="104" y="462"/>
                  <a:pt x="104" y="462"/>
                  <a:pt x="104" y="461"/>
                </a:cubicBezTo>
                <a:cubicBezTo>
                  <a:pt x="104" y="461"/>
                  <a:pt x="104" y="461"/>
                  <a:pt x="103" y="461"/>
                </a:cubicBezTo>
                <a:cubicBezTo>
                  <a:pt x="101" y="464"/>
                  <a:pt x="99" y="462"/>
                  <a:pt x="97" y="459"/>
                </a:cubicBezTo>
                <a:cubicBezTo>
                  <a:pt x="96" y="459"/>
                  <a:pt x="96" y="458"/>
                  <a:pt x="96" y="458"/>
                </a:cubicBezTo>
                <a:cubicBezTo>
                  <a:pt x="96" y="457"/>
                  <a:pt x="96" y="456"/>
                  <a:pt x="96" y="455"/>
                </a:cubicBezTo>
                <a:cubicBezTo>
                  <a:pt x="97" y="457"/>
                  <a:pt x="97" y="456"/>
                  <a:pt x="97" y="456"/>
                </a:cubicBezTo>
                <a:cubicBezTo>
                  <a:pt x="95" y="457"/>
                  <a:pt x="98" y="448"/>
                  <a:pt x="97" y="446"/>
                </a:cubicBezTo>
                <a:cubicBezTo>
                  <a:pt x="96" y="445"/>
                  <a:pt x="95" y="445"/>
                  <a:pt x="95" y="445"/>
                </a:cubicBezTo>
                <a:cubicBezTo>
                  <a:pt x="95" y="444"/>
                  <a:pt x="95" y="437"/>
                  <a:pt x="96" y="436"/>
                </a:cubicBezTo>
                <a:cubicBezTo>
                  <a:pt x="96" y="436"/>
                  <a:pt x="98" y="434"/>
                  <a:pt x="98" y="434"/>
                </a:cubicBezTo>
                <a:cubicBezTo>
                  <a:pt x="98" y="434"/>
                  <a:pt x="98" y="433"/>
                  <a:pt x="99" y="433"/>
                </a:cubicBezTo>
                <a:cubicBezTo>
                  <a:pt x="100" y="432"/>
                  <a:pt x="102" y="436"/>
                  <a:pt x="103" y="440"/>
                </a:cubicBezTo>
                <a:cubicBezTo>
                  <a:pt x="103" y="440"/>
                  <a:pt x="103" y="440"/>
                  <a:pt x="103" y="440"/>
                </a:cubicBezTo>
                <a:cubicBezTo>
                  <a:pt x="103" y="440"/>
                  <a:pt x="103" y="440"/>
                  <a:pt x="103" y="440"/>
                </a:cubicBezTo>
                <a:cubicBezTo>
                  <a:pt x="104" y="440"/>
                  <a:pt x="104" y="441"/>
                  <a:pt x="104" y="442"/>
                </a:cubicBezTo>
                <a:cubicBezTo>
                  <a:pt x="105" y="444"/>
                  <a:pt x="107" y="445"/>
                  <a:pt x="108" y="443"/>
                </a:cubicBezTo>
                <a:cubicBezTo>
                  <a:pt x="107" y="444"/>
                  <a:pt x="106" y="440"/>
                  <a:pt x="107" y="440"/>
                </a:cubicBezTo>
                <a:cubicBezTo>
                  <a:pt x="108" y="440"/>
                  <a:pt x="110" y="446"/>
                  <a:pt x="112" y="445"/>
                </a:cubicBezTo>
                <a:cubicBezTo>
                  <a:pt x="111" y="445"/>
                  <a:pt x="113" y="442"/>
                  <a:pt x="113" y="442"/>
                </a:cubicBezTo>
                <a:cubicBezTo>
                  <a:pt x="114" y="442"/>
                  <a:pt x="114" y="445"/>
                  <a:pt x="115" y="446"/>
                </a:cubicBezTo>
                <a:cubicBezTo>
                  <a:pt x="116" y="446"/>
                  <a:pt x="116" y="446"/>
                  <a:pt x="116" y="446"/>
                </a:cubicBezTo>
                <a:cubicBezTo>
                  <a:pt x="117" y="446"/>
                  <a:pt x="117" y="446"/>
                  <a:pt x="118" y="446"/>
                </a:cubicBezTo>
                <a:cubicBezTo>
                  <a:pt x="118" y="445"/>
                  <a:pt x="117" y="444"/>
                  <a:pt x="119" y="444"/>
                </a:cubicBezTo>
                <a:cubicBezTo>
                  <a:pt x="117" y="443"/>
                  <a:pt x="117" y="442"/>
                  <a:pt x="116" y="440"/>
                </a:cubicBezTo>
                <a:cubicBezTo>
                  <a:pt x="117" y="442"/>
                  <a:pt x="119" y="442"/>
                  <a:pt x="119" y="443"/>
                </a:cubicBezTo>
                <a:cubicBezTo>
                  <a:pt x="120" y="445"/>
                  <a:pt x="119" y="443"/>
                  <a:pt x="121" y="440"/>
                </a:cubicBezTo>
                <a:cubicBezTo>
                  <a:pt x="120" y="440"/>
                  <a:pt x="120" y="441"/>
                  <a:pt x="119" y="441"/>
                </a:cubicBezTo>
                <a:cubicBezTo>
                  <a:pt x="114" y="441"/>
                  <a:pt x="118" y="433"/>
                  <a:pt x="121" y="436"/>
                </a:cubicBezTo>
                <a:cubicBezTo>
                  <a:pt x="122" y="436"/>
                  <a:pt x="121" y="440"/>
                  <a:pt x="121" y="440"/>
                </a:cubicBezTo>
                <a:cubicBezTo>
                  <a:pt x="122" y="442"/>
                  <a:pt x="123" y="441"/>
                  <a:pt x="125" y="441"/>
                </a:cubicBezTo>
                <a:cubicBezTo>
                  <a:pt x="125" y="442"/>
                  <a:pt x="124" y="443"/>
                  <a:pt x="125" y="444"/>
                </a:cubicBezTo>
                <a:cubicBezTo>
                  <a:pt x="125" y="445"/>
                  <a:pt x="126" y="444"/>
                  <a:pt x="126" y="444"/>
                </a:cubicBezTo>
                <a:cubicBezTo>
                  <a:pt x="128" y="445"/>
                  <a:pt x="128" y="451"/>
                  <a:pt x="129" y="450"/>
                </a:cubicBezTo>
                <a:cubicBezTo>
                  <a:pt x="129" y="450"/>
                  <a:pt x="129" y="450"/>
                  <a:pt x="129" y="451"/>
                </a:cubicBezTo>
                <a:cubicBezTo>
                  <a:pt x="129" y="451"/>
                  <a:pt x="129" y="451"/>
                  <a:pt x="130" y="451"/>
                </a:cubicBezTo>
                <a:cubicBezTo>
                  <a:pt x="130" y="451"/>
                  <a:pt x="130" y="451"/>
                  <a:pt x="130" y="451"/>
                </a:cubicBezTo>
                <a:cubicBezTo>
                  <a:pt x="130" y="451"/>
                  <a:pt x="129" y="451"/>
                  <a:pt x="129" y="451"/>
                </a:cubicBezTo>
                <a:cubicBezTo>
                  <a:pt x="128" y="452"/>
                  <a:pt x="126" y="454"/>
                  <a:pt x="124" y="455"/>
                </a:cubicBezTo>
                <a:cubicBezTo>
                  <a:pt x="124" y="456"/>
                  <a:pt x="124" y="457"/>
                  <a:pt x="123" y="457"/>
                </a:cubicBezTo>
                <a:cubicBezTo>
                  <a:pt x="121" y="456"/>
                  <a:pt x="123" y="453"/>
                  <a:pt x="121" y="454"/>
                </a:cubicBezTo>
                <a:cubicBezTo>
                  <a:pt x="117" y="455"/>
                  <a:pt x="122" y="462"/>
                  <a:pt x="126" y="460"/>
                </a:cubicBezTo>
                <a:cubicBezTo>
                  <a:pt x="126" y="462"/>
                  <a:pt x="125" y="464"/>
                  <a:pt x="123" y="465"/>
                </a:cubicBezTo>
                <a:cubicBezTo>
                  <a:pt x="124" y="465"/>
                  <a:pt x="125" y="466"/>
                  <a:pt x="124" y="467"/>
                </a:cubicBezTo>
                <a:cubicBezTo>
                  <a:pt x="123" y="468"/>
                  <a:pt x="122" y="466"/>
                  <a:pt x="123" y="466"/>
                </a:cubicBezTo>
                <a:cubicBezTo>
                  <a:pt x="122" y="466"/>
                  <a:pt x="122" y="466"/>
                  <a:pt x="121" y="467"/>
                </a:cubicBezTo>
                <a:cubicBezTo>
                  <a:pt x="122" y="467"/>
                  <a:pt x="122" y="467"/>
                  <a:pt x="122" y="468"/>
                </a:cubicBezTo>
                <a:cubicBezTo>
                  <a:pt x="121" y="468"/>
                  <a:pt x="121" y="467"/>
                  <a:pt x="121" y="467"/>
                </a:cubicBezTo>
                <a:cubicBezTo>
                  <a:pt x="121" y="467"/>
                  <a:pt x="120" y="467"/>
                  <a:pt x="120" y="467"/>
                </a:cubicBezTo>
                <a:cubicBezTo>
                  <a:pt x="121" y="467"/>
                  <a:pt x="121" y="469"/>
                  <a:pt x="121" y="471"/>
                </a:cubicBezTo>
                <a:cubicBezTo>
                  <a:pt x="121" y="471"/>
                  <a:pt x="121" y="471"/>
                  <a:pt x="121" y="471"/>
                </a:cubicBezTo>
                <a:cubicBezTo>
                  <a:pt x="122" y="471"/>
                  <a:pt x="122" y="472"/>
                  <a:pt x="122" y="472"/>
                </a:cubicBezTo>
                <a:cubicBezTo>
                  <a:pt x="122" y="472"/>
                  <a:pt x="122" y="472"/>
                  <a:pt x="122" y="472"/>
                </a:cubicBezTo>
                <a:cubicBezTo>
                  <a:pt x="122" y="472"/>
                  <a:pt x="122" y="473"/>
                  <a:pt x="122" y="473"/>
                </a:cubicBezTo>
                <a:cubicBezTo>
                  <a:pt x="123" y="474"/>
                  <a:pt x="123" y="473"/>
                  <a:pt x="123" y="472"/>
                </a:cubicBezTo>
                <a:cubicBezTo>
                  <a:pt x="124" y="471"/>
                  <a:pt x="124" y="476"/>
                  <a:pt x="123" y="476"/>
                </a:cubicBezTo>
                <a:cubicBezTo>
                  <a:pt x="124" y="476"/>
                  <a:pt x="125" y="475"/>
                  <a:pt x="125" y="474"/>
                </a:cubicBezTo>
                <a:cubicBezTo>
                  <a:pt x="124" y="474"/>
                  <a:pt x="124" y="470"/>
                  <a:pt x="125" y="471"/>
                </a:cubicBezTo>
                <a:cubicBezTo>
                  <a:pt x="125" y="472"/>
                  <a:pt x="125" y="472"/>
                  <a:pt x="125" y="472"/>
                </a:cubicBezTo>
                <a:cubicBezTo>
                  <a:pt x="125" y="472"/>
                  <a:pt x="126" y="472"/>
                  <a:pt x="126" y="472"/>
                </a:cubicBezTo>
                <a:cubicBezTo>
                  <a:pt x="125" y="472"/>
                  <a:pt x="127" y="473"/>
                  <a:pt x="126" y="474"/>
                </a:cubicBezTo>
                <a:cubicBezTo>
                  <a:pt x="128" y="473"/>
                  <a:pt x="127" y="470"/>
                  <a:pt x="128" y="470"/>
                </a:cubicBezTo>
                <a:cubicBezTo>
                  <a:pt x="131" y="472"/>
                  <a:pt x="127" y="476"/>
                  <a:pt x="127" y="477"/>
                </a:cubicBezTo>
                <a:cubicBezTo>
                  <a:pt x="127" y="477"/>
                  <a:pt x="128" y="478"/>
                  <a:pt x="128" y="478"/>
                </a:cubicBezTo>
                <a:cubicBezTo>
                  <a:pt x="128" y="478"/>
                  <a:pt x="128" y="477"/>
                  <a:pt x="128" y="477"/>
                </a:cubicBezTo>
                <a:cubicBezTo>
                  <a:pt x="129" y="475"/>
                  <a:pt x="130" y="471"/>
                  <a:pt x="132" y="473"/>
                </a:cubicBezTo>
                <a:cubicBezTo>
                  <a:pt x="131" y="473"/>
                  <a:pt x="131" y="472"/>
                  <a:pt x="132" y="471"/>
                </a:cubicBezTo>
                <a:cubicBezTo>
                  <a:pt x="133" y="471"/>
                  <a:pt x="133" y="471"/>
                  <a:pt x="133" y="471"/>
                </a:cubicBezTo>
                <a:cubicBezTo>
                  <a:pt x="133" y="471"/>
                  <a:pt x="133" y="471"/>
                  <a:pt x="133" y="471"/>
                </a:cubicBezTo>
                <a:cubicBezTo>
                  <a:pt x="134" y="470"/>
                  <a:pt x="136" y="471"/>
                  <a:pt x="135" y="472"/>
                </a:cubicBezTo>
                <a:cubicBezTo>
                  <a:pt x="136" y="475"/>
                  <a:pt x="136" y="481"/>
                  <a:pt x="138" y="476"/>
                </a:cubicBezTo>
                <a:cubicBezTo>
                  <a:pt x="137" y="478"/>
                  <a:pt x="141" y="480"/>
                  <a:pt x="139" y="482"/>
                </a:cubicBezTo>
                <a:cubicBezTo>
                  <a:pt x="139" y="482"/>
                  <a:pt x="138" y="482"/>
                  <a:pt x="138" y="482"/>
                </a:cubicBezTo>
                <a:cubicBezTo>
                  <a:pt x="138" y="483"/>
                  <a:pt x="141" y="489"/>
                  <a:pt x="142" y="489"/>
                </a:cubicBezTo>
                <a:cubicBezTo>
                  <a:pt x="143" y="489"/>
                  <a:pt x="144" y="483"/>
                  <a:pt x="146" y="486"/>
                </a:cubicBezTo>
                <a:cubicBezTo>
                  <a:pt x="146" y="487"/>
                  <a:pt x="145" y="490"/>
                  <a:pt x="145" y="490"/>
                </a:cubicBezTo>
                <a:cubicBezTo>
                  <a:pt x="141" y="491"/>
                  <a:pt x="146" y="492"/>
                  <a:pt x="147" y="492"/>
                </a:cubicBezTo>
                <a:cubicBezTo>
                  <a:pt x="148" y="492"/>
                  <a:pt x="147" y="490"/>
                  <a:pt x="148" y="490"/>
                </a:cubicBezTo>
                <a:cubicBezTo>
                  <a:pt x="148" y="490"/>
                  <a:pt x="151" y="493"/>
                  <a:pt x="151" y="492"/>
                </a:cubicBezTo>
                <a:cubicBezTo>
                  <a:pt x="152" y="493"/>
                  <a:pt x="153" y="492"/>
                  <a:pt x="152" y="495"/>
                </a:cubicBezTo>
                <a:cubicBezTo>
                  <a:pt x="153" y="495"/>
                  <a:pt x="153" y="493"/>
                  <a:pt x="154" y="492"/>
                </a:cubicBezTo>
                <a:cubicBezTo>
                  <a:pt x="154" y="491"/>
                  <a:pt x="155" y="490"/>
                  <a:pt x="156" y="491"/>
                </a:cubicBezTo>
                <a:cubicBezTo>
                  <a:pt x="156" y="491"/>
                  <a:pt x="157" y="491"/>
                  <a:pt x="157" y="491"/>
                </a:cubicBezTo>
                <a:cubicBezTo>
                  <a:pt x="157" y="492"/>
                  <a:pt x="157" y="492"/>
                  <a:pt x="157" y="492"/>
                </a:cubicBezTo>
                <a:cubicBezTo>
                  <a:pt x="157" y="493"/>
                  <a:pt x="156" y="494"/>
                  <a:pt x="156" y="494"/>
                </a:cubicBezTo>
                <a:cubicBezTo>
                  <a:pt x="156" y="494"/>
                  <a:pt x="156" y="495"/>
                  <a:pt x="155" y="495"/>
                </a:cubicBezTo>
                <a:cubicBezTo>
                  <a:pt x="156" y="495"/>
                  <a:pt x="156" y="495"/>
                  <a:pt x="157" y="496"/>
                </a:cubicBezTo>
                <a:cubicBezTo>
                  <a:pt x="157" y="495"/>
                  <a:pt x="158" y="495"/>
                  <a:pt x="158" y="495"/>
                </a:cubicBezTo>
                <a:cubicBezTo>
                  <a:pt x="160" y="495"/>
                  <a:pt x="161" y="498"/>
                  <a:pt x="160" y="499"/>
                </a:cubicBezTo>
                <a:cubicBezTo>
                  <a:pt x="160" y="500"/>
                  <a:pt x="160" y="500"/>
                  <a:pt x="161" y="500"/>
                </a:cubicBezTo>
                <a:cubicBezTo>
                  <a:pt x="160" y="501"/>
                  <a:pt x="158" y="503"/>
                  <a:pt x="158" y="504"/>
                </a:cubicBezTo>
                <a:cubicBezTo>
                  <a:pt x="158" y="504"/>
                  <a:pt x="158" y="504"/>
                  <a:pt x="158" y="504"/>
                </a:cubicBezTo>
                <a:cubicBezTo>
                  <a:pt x="158" y="504"/>
                  <a:pt x="157" y="504"/>
                  <a:pt x="157" y="504"/>
                </a:cubicBezTo>
                <a:cubicBezTo>
                  <a:pt x="157" y="504"/>
                  <a:pt x="157" y="505"/>
                  <a:pt x="157" y="505"/>
                </a:cubicBezTo>
                <a:cubicBezTo>
                  <a:pt x="157" y="507"/>
                  <a:pt x="161" y="504"/>
                  <a:pt x="162" y="507"/>
                </a:cubicBezTo>
                <a:cubicBezTo>
                  <a:pt x="161" y="505"/>
                  <a:pt x="162" y="504"/>
                  <a:pt x="163" y="503"/>
                </a:cubicBezTo>
                <a:cubicBezTo>
                  <a:pt x="162" y="502"/>
                  <a:pt x="163" y="499"/>
                  <a:pt x="165" y="500"/>
                </a:cubicBezTo>
                <a:cubicBezTo>
                  <a:pt x="164" y="498"/>
                  <a:pt x="163" y="495"/>
                  <a:pt x="166" y="496"/>
                </a:cubicBezTo>
                <a:cubicBezTo>
                  <a:pt x="166" y="495"/>
                  <a:pt x="166" y="495"/>
                  <a:pt x="166" y="494"/>
                </a:cubicBezTo>
                <a:cubicBezTo>
                  <a:pt x="165" y="497"/>
                  <a:pt x="164" y="494"/>
                  <a:pt x="165" y="493"/>
                </a:cubicBezTo>
                <a:cubicBezTo>
                  <a:pt x="165" y="492"/>
                  <a:pt x="166" y="493"/>
                  <a:pt x="166" y="493"/>
                </a:cubicBezTo>
                <a:cubicBezTo>
                  <a:pt x="167" y="493"/>
                  <a:pt x="166" y="491"/>
                  <a:pt x="167" y="490"/>
                </a:cubicBezTo>
                <a:cubicBezTo>
                  <a:pt x="169" y="488"/>
                  <a:pt x="170" y="489"/>
                  <a:pt x="170" y="486"/>
                </a:cubicBezTo>
                <a:cubicBezTo>
                  <a:pt x="169" y="483"/>
                  <a:pt x="172" y="482"/>
                  <a:pt x="171" y="480"/>
                </a:cubicBezTo>
                <a:cubicBezTo>
                  <a:pt x="170" y="479"/>
                  <a:pt x="164" y="481"/>
                  <a:pt x="165" y="477"/>
                </a:cubicBezTo>
                <a:cubicBezTo>
                  <a:pt x="165" y="476"/>
                  <a:pt x="166" y="477"/>
                  <a:pt x="166" y="475"/>
                </a:cubicBezTo>
                <a:cubicBezTo>
                  <a:pt x="165" y="474"/>
                  <a:pt x="167" y="467"/>
                  <a:pt x="169" y="473"/>
                </a:cubicBezTo>
                <a:cubicBezTo>
                  <a:pt x="169" y="473"/>
                  <a:pt x="168" y="475"/>
                  <a:pt x="168" y="475"/>
                </a:cubicBezTo>
                <a:cubicBezTo>
                  <a:pt x="168" y="477"/>
                  <a:pt x="171" y="477"/>
                  <a:pt x="171" y="478"/>
                </a:cubicBezTo>
                <a:cubicBezTo>
                  <a:pt x="172" y="478"/>
                  <a:pt x="170" y="480"/>
                  <a:pt x="171" y="480"/>
                </a:cubicBezTo>
                <a:cubicBezTo>
                  <a:pt x="173" y="480"/>
                  <a:pt x="173" y="477"/>
                  <a:pt x="174" y="477"/>
                </a:cubicBezTo>
                <a:cubicBezTo>
                  <a:pt x="173" y="476"/>
                  <a:pt x="170" y="476"/>
                  <a:pt x="172" y="475"/>
                </a:cubicBezTo>
                <a:cubicBezTo>
                  <a:pt x="172" y="474"/>
                  <a:pt x="176" y="476"/>
                  <a:pt x="176" y="476"/>
                </a:cubicBezTo>
                <a:cubicBezTo>
                  <a:pt x="179" y="476"/>
                  <a:pt x="179" y="475"/>
                  <a:pt x="180" y="478"/>
                </a:cubicBezTo>
                <a:cubicBezTo>
                  <a:pt x="180" y="480"/>
                  <a:pt x="179" y="483"/>
                  <a:pt x="178" y="484"/>
                </a:cubicBezTo>
                <a:cubicBezTo>
                  <a:pt x="176" y="486"/>
                  <a:pt x="178" y="484"/>
                  <a:pt x="180" y="485"/>
                </a:cubicBezTo>
                <a:cubicBezTo>
                  <a:pt x="181" y="486"/>
                  <a:pt x="182" y="488"/>
                  <a:pt x="182" y="490"/>
                </a:cubicBezTo>
                <a:cubicBezTo>
                  <a:pt x="183" y="489"/>
                  <a:pt x="185" y="488"/>
                  <a:pt x="185" y="490"/>
                </a:cubicBezTo>
                <a:cubicBezTo>
                  <a:pt x="185" y="489"/>
                  <a:pt x="185" y="489"/>
                  <a:pt x="185" y="489"/>
                </a:cubicBezTo>
                <a:cubicBezTo>
                  <a:pt x="186" y="490"/>
                  <a:pt x="185" y="490"/>
                  <a:pt x="185" y="490"/>
                </a:cubicBezTo>
                <a:cubicBezTo>
                  <a:pt x="185" y="490"/>
                  <a:pt x="185" y="490"/>
                  <a:pt x="185" y="491"/>
                </a:cubicBezTo>
                <a:cubicBezTo>
                  <a:pt x="185" y="487"/>
                  <a:pt x="190" y="497"/>
                  <a:pt x="191" y="494"/>
                </a:cubicBezTo>
                <a:cubicBezTo>
                  <a:pt x="192" y="494"/>
                  <a:pt x="192" y="493"/>
                  <a:pt x="192" y="493"/>
                </a:cubicBezTo>
                <a:cubicBezTo>
                  <a:pt x="192" y="493"/>
                  <a:pt x="192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4" y="493"/>
                  <a:pt x="195" y="492"/>
                  <a:pt x="196" y="492"/>
                </a:cubicBezTo>
                <a:cubicBezTo>
                  <a:pt x="196" y="491"/>
                  <a:pt x="197" y="491"/>
                  <a:pt x="197" y="491"/>
                </a:cubicBezTo>
                <a:cubicBezTo>
                  <a:pt x="198" y="491"/>
                  <a:pt x="199" y="491"/>
                  <a:pt x="200" y="493"/>
                </a:cubicBezTo>
                <a:cubicBezTo>
                  <a:pt x="202" y="496"/>
                  <a:pt x="201" y="491"/>
                  <a:pt x="200" y="491"/>
                </a:cubicBezTo>
                <a:cubicBezTo>
                  <a:pt x="200" y="491"/>
                  <a:pt x="200" y="490"/>
                  <a:pt x="200" y="489"/>
                </a:cubicBezTo>
                <a:cubicBezTo>
                  <a:pt x="199" y="489"/>
                  <a:pt x="199" y="489"/>
                  <a:pt x="199" y="489"/>
                </a:cubicBezTo>
                <a:cubicBezTo>
                  <a:pt x="199" y="487"/>
                  <a:pt x="199" y="484"/>
                  <a:pt x="200" y="483"/>
                </a:cubicBezTo>
                <a:cubicBezTo>
                  <a:pt x="200" y="485"/>
                  <a:pt x="200" y="486"/>
                  <a:pt x="201" y="488"/>
                </a:cubicBezTo>
                <a:cubicBezTo>
                  <a:pt x="201" y="487"/>
                  <a:pt x="202" y="487"/>
                  <a:pt x="202" y="488"/>
                </a:cubicBezTo>
                <a:cubicBezTo>
                  <a:pt x="202" y="488"/>
                  <a:pt x="202" y="489"/>
                  <a:pt x="201" y="489"/>
                </a:cubicBezTo>
                <a:cubicBezTo>
                  <a:pt x="201" y="489"/>
                  <a:pt x="201" y="490"/>
                  <a:pt x="201" y="490"/>
                </a:cubicBezTo>
                <a:cubicBezTo>
                  <a:pt x="202" y="489"/>
                  <a:pt x="202" y="488"/>
                  <a:pt x="203" y="487"/>
                </a:cubicBezTo>
                <a:cubicBezTo>
                  <a:pt x="202" y="488"/>
                  <a:pt x="203" y="490"/>
                  <a:pt x="204" y="491"/>
                </a:cubicBezTo>
                <a:cubicBezTo>
                  <a:pt x="204" y="491"/>
                  <a:pt x="204" y="491"/>
                  <a:pt x="204" y="491"/>
                </a:cubicBezTo>
                <a:cubicBezTo>
                  <a:pt x="204" y="491"/>
                  <a:pt x="204" y="491"/>
                  <a:pt x="204" y="491"/>
                </a:cubicBezTo>
                <a:cubicBezTo>
                  <a:pt x="205" y="491"/>
                  <a:pt x="205" y="491"/>
                  <a:pt x="205" y="490"/>
                </a:cubicBezTo>
                <a:cubicBezTo>
                  <a:pt x="205" y="490"/>
                  <a:pt x="205" y="490"/>
                  <a:pt x="205" y="490"/>
                </a:cubicBezTo>
                <a:cubicBezTo>
                  <a:pt x="205" y="490"/>
                  <a:pt x="205" y="490"/>
                  <a:pt x="205" y="490"/>
                </a:cubicBezTo>
                <a:cubicBezTo>
                  <a:pt x="204" y="490"/>
                  <a:pt x="204" y="490"/>
                  <a:pt x="204" y="490"/>
                </a:cubicBezTo>
                <a:cubicBezTo>
                  <a:pt x="204" y="490"/>
                  <a:pt x="204" y="490"/>
                  <a:pt x="204" y="490"/>
                </a:cubicBezTo>
                <a:cubicBezTo>
                  <a:pt x="204" y="490"/>
                  <a:pt x="204" y="490"/>
                  <a:pt x="205" y="489"/>
                </a:cubicBezTo>
                <a:cubicBezTo>
                  <a:pt x="205" y="489"/>
                  <a:pt x="205" y="489"/>
                  <a:pt x="205" y="489"/>
                </a:cubicBezTo>
                <a:cubicBezTo>
                  <a:pt x="205" y="489"/>
                  <a:pt x="205" y="489"/>
                  <a:pt x="205" y="489"/>
                </a:cubicBezTo>
                <a:cubicBezTo>
                  <a:pt x="205" y="488"/>
                  <a:pt x="206" y="487"/>
                  <a:pt x="206" y="487"/>
                </a:cubicBezTo>
                <a:cubicBezTo>
                  <a:pt x="205" y="486"/>
                  <a:pt x="204" y="486"/>
                  <a:pt x="203" y="486"/>
                </a:cubicBezTo>
                <a:cubicBezTo>
                  <a:pt x="203" y="487"/>
                  <a:pt x="202" y="487"/>
                  <a:pt x="202" y="487"/>
                </a:cubicBezTo>
                <a:cubicBezTo>
                  <a:pt x="201" y="487"/>
                  <a:pt x="201" y="486"/>
                  <a:pt x="202" y="486"/>
                </a:cubicBezTo>
                <a:cubicBezTo>
                  <a:pt x="202" y="486"/>
                  <a:pt x="201" y="486"/>
                  <a:pt x="201" y="486"/>
                </a:cubicBezTo>
                <a:cubicBezTo>
                  <a:pt x="201" y="485"/>
                  <a:pt x="201" y="483"/>
                  <a:pt x="202" y="481"/>
                </a:cubicBezTo>
                <a:cubicBezTo>
                  <a:pt x="200" y="482"/>
                  <a:pt x="199" y="481"/>
                  <a:pt x="199" y="478"/>
                </a:cubicBezTo>
                <a:cubicBezTo>
                  <a:pt x="199" y="478"/>
                  <a:pt x="199" y="478"/>
                  <a:pt x="199" y="478"/>
                </a:cubicBezTo>
                <a:cubicBezTo>
                  <a:pt x="199" y="479"/>
                  <a:pt x="197" y="484"/>
                  <a:pt x="197" y="485"/>
                </a:cubicBezTo>
                <a:cubicBezTo>
                  <a:pt x="197" y="485"/>
                  <a:pt x="198" y="490"/>
                  <a:pt x="196" y="487"/>
                </a:cubicBezTo>
                <a:cubicBezTo>
                  <a:pt x="194" y="486"/>
                  <a:pt x="198" y="481"/>
                  <a:pt x="198" y="478"/>
                </a:cubicBezTo>
                <a:cubicBezTo>
                  <a:pt x="197" y="478"/>
                  <a:pt x="197" y="477"/>
                  <a:pt x="197" y="477"/>
                </a:cubicBezTo>
                <a:cubicBezTo>
                  <a:pt x="197" y="476"/>
                  <a:pt x="197" y="475"/>
                  <a:pt x="198" y="475"/>
                </a:cubicBezTo>
                <a:cubicBezTo>
                  <a:pt x="198" y="474"/>
                  <a:pt x="198" y="474"/>
                  <a:pt x="198" y="473"/>
                </a:cubicBezTo>
                <a:cubicBezTo>
                  <a:pt x="198" y="472"/>
                  <a:pt x="197" y="473"/>
                  <a:pt x="196" y="473"/>
                </a:cubicBezTo>
                <a:cubicBezTo>
                  <a:pt x="196" y="472"/>
                  <a:pt x="195" y="470"/>
                  <a:pt x="195" y="470"/>
                </a:cubicBezTo>
                <a:cubicBezTo>
                  <a:pt x="195" y="468"/>
                  <a:pt x="198" y="469"/>
                  <a:pt x="199" y="470"/>
                </a:cubicBezTo>
                <a:cubicBezTo>
                  <a:pt x="198" y="469"/>
                  <a:pt x="200" y="470"/>
                  <a:pt x="201" y="469"/>
                </a:cubicBezTo>
                <a:cubicBezTo>
                  <a:pt x="200" y="470"/>
                  <a:pt x="202" y="464"/>
                  <a:pt x="204" y="464"/>
                </a:cubicBezTo>
                <a:cubicBezTo>
                  <a:pt x="204" y="465"/>
                  <a:pt x="203" y="468"/>
                  <a:pt x="203" y="469"/>
                </a:cubicBezTo>
                <a:cubicBezTo>
                  <a:pt x="203" y="469"/>
                  <a:pt x="203" y="469"/>
                  <a:pt x="203" y="469"/>
                </a:cubicBezTo>
                <a:cubicBezTo>
                  <a:pt x="203" y="469"/>
                  <a:pt x="204" y="468"/>
                  <a:pt x="204" y="469"/>
                </a:cubicBezTo>
                <a:cubicBezTo>
                  <a:pt x="205" y="469"/>
                  <a:pt x="205" y="470"/>
                  <a:pt x="205" y="471"/>
                </a:cubicBezTo>
                <a:cubicBezTo>
                  <a:pt x="205" y="471"/>
                  <a:pt x="205" y="471"/>
                  <a:pt x="205" y="471"/>
                </a:cubicBezTo>
                <a:cubicBezTo>
                  <a:pt x="205" y="471"/>
                  <a:pt x="205" y="472"/>
                  <a:pt x="203" y="472"/>
                </a:cubicBezTo>
                <a:cubicBezTo>
                  <a:pt x="201" y="472"/>
                  <a:pt x="203" y="473"/>
                  <a:pt x="204" y="474"/>
                </a:cubicBezTo>
                <a:cubicBezTo>
                  <a:pt x="204" y="474"/>
                  <a:pt x="204" y="474"/>
                  <a:pt x="204" y="474"/>
                </a:cubicBezTo>
                <a:cubicBezTo>
                  <a:pt x="205" y="474"/>
                  <a:pt x="205" y="474"/>
                  <a:pt x="205" y="474"/>
                </a:cubicBezTo>
                <a:cubicBezTo>
                  <a:pt x="206" y="475"/>
                  <a:pt x="206" y="476"/>
                  <a:pt x="205" y="476"/>
                </a:cubicBezTo>
                <a:cubicBezTo>
                  <a:pt x="206" y="477"/>
                  <a:pt x="207" y="476"/>
                  <a:pt x="208" y="476"/>
                </a:cubicBezTo>
                <a:cubicBezTo>
                  <a:pt x="209" y="476"/>
                  <a:pt x="208" y="477"/>
                  <a:pt x="209" y="478"/>
                </a:cubicBezTo>
                <a:cubicBezTo>
                  <a:pt x="209" y="478"/>
                  <a:pt x="209" y="478"/>
                  <a:pt x="209" y="478"/>
                </a:cubicBezTo>
                <a:cubicBezTo>
                  <a:pt x="212" y="475"/>
                  <a:pt x="215" y="470"/>
                  <a:pt x="211" y="471"/>
                </a:cubicBezTo>
                <a:cubicBezTo>
                  <a:pt x="214" y="469"/>
                  <a:pt x="210" y="467"/>
                  <a:pt x="209" y="466"/>
                </a:cubicBezTo>
                <a:cubicBezTo>
                  <a:pt x="208" y="464"/>
                  <a:pt x="210" y="467"/>
                  <a:pt x="210" y="466"/>
                </a:cubicBezTo>
                <a:cubicBezTo>
                  <a:pt x="212" y="465"/>
                  <a:pt x="209" y="463"/>
                  <a:pt x="210" y="460"/>
                </a:cubicBezTo>
                <a:cubicBezTo>
                  <a:pt x="210" y="460"/>
                  <a:pt x="212" y="458"/>
                  <a:pt x="212" y="458"/>
                </a:cubicBezTo>
                <a:cubicBezTo>
                  <a:pt x="213" y="456"/>
                  <a:pt x="210" y="457"/>
                  <a:pt x="213" y="456"/>
                </a:cubicBezTo>
                <a:cubicBezTo>
                  <a:pt x="215" y="456"/>
                  <a:pt x="216" y="452"/>
                  <a:pt x="217" y="451"/>
                </a:cubicBezTo>
                <a:cubicBezTo>
                  <a:pt x="217" y="451"/>
                  <a:pt x="221" y="451"/>
                  <a:pt x="221" y="449"/>
                </a:cubicBezTo>
                <a:cubicBezTo>
                  <a:pt x="217" y="452"/>
                  <a:pt x="215" y="447"/>
                  <a:pt x="217" y="446"/>
                </a:cubicBezTo>
                <a:cubicBezTo>
                  <a:pt x="217" y="446"/>
                  <a:pt x="216" y="443"/>
                  <a:pt x="219" y="443"/>
                </a:cubicBezTo>
                <a:cubicBezTo>
                  <a:pt x="221" y="442"/>
                  <a:pt x="220" y="443"/>
                  <a:pt x="222" y="441"/>
                </a:cubicBezTo>
                <a:cubicBezTo>
                  <a:pt x="224" y="440"/>
                  <a:pt x="222" y="448"/>
                  <a:pt x="222" y="449"/>
                </a:cubicBezTo>
                <a:cubicBezTo>
                  <a:pt x="223" y="451"/>
                  <a:pt x="224" y="448"/>
                  <a:pt x="224" y="451"/>
                </a:cubicBezTo>
                <a:cubicBezTo>
                  <a:pt x="225" y="457"/>
                  <a:pt x="228" y="468"/>
                  <a:pt x="219" y="471"/>
                </a:cubicBezTo>
                <a:cubicBezTo>
                  <a:pt x="217" y="471"/>
                  <a:pt x="216" y="470"/>
                  <a:pt x="215" y="471"/>
                </a:cubicBezTo>
                <a:cubicBezTo>
                  <a:pt x="213" y="473"/>
                  <a:pt x="212" y="475"/>
                  <a:pt x="211" y="478"/>
                </a:cubicBezTo>
                <a:cubicBezTo>
                  <a:pt x="211" y="478"/>
                  <a:pt x="211" y="478"/>
                  <a:pt x="211" y="478"/>
                </a:cubicBezTo>
                <a:cubicBezTo>
                  <a:pt x="212" y="478"/>
                  <a:pt x="211" y="480"/>
                  <a:pt x="211" y="480"/>
                </a:cubicBezTo>
                <a:cubicBezTo>
                  <a:pt x="212" y="480"/>
                  <a:pt x="213" y="480"/>
                  <a:pt x="213" y="480"/>
                </a:cubicBezTo>
                <a:cubicBezTo>
                  <a:pt x="214" y="480"/>
                  <a:pt x="214" y="479"/>
                  <a:pt x="215" y="479"/>
                </a:cubicBezTo>
                <a:cubicBezTo>
                  <a:pt x="215" y="480"/>
                  <a:pt x="215" y="480"/>
                  <a:pt x="215" y="480"/>
                </a:cubicBezTo>
                <a:cubicBezTo>
                  <a:pt x="215" y="480"/>
                  <a:pt x="216" y="480"/>
                  <a:pt x="216" y="481"/>
                </a:cubicBezTo>
                <a:cubicBezTo>
                  <a:pt x="216" y="482"/>
                  <a:pt x="215" y="484"/>
                  <a:pt x="217" y="483"/>
                </a:cubicBezTo>
                <a:cubicBezTo>
                  <a:pt x="216" y="484"/>
                  <a:pt x="216" y="486"/>
                  <a:pt x="216" y="487"/>
                </a:cubicBezTo>
                <a:cubicBezTo>
                  <a:pt x="216" y="487"/>
                  <a:pt x="216" y="487"/>
                  <a:pt x="216" y="487"/>
                </a:cubicBezTo>
                <a:cubicBezTo>
                  <a:pt x="217" y="487"/>
                  <a:pt x="219" y="486"/>
                  <a:pt x="219" y="486"/>
                </a:cubicBezTo>
                <a:cubicBezTo>
                  <a:pt x="220" y="486"/>
                  <a:pt x="219" y="489"/>
                  <a:pt x="217" y="490"/>
                </a:cubicBezTo>
                <a:cubicBezTo>
                  <a:pt x="217" y="491"/>
                  <a:pt x="217" y="492"/>
                  <a:pt x="217" y="492"/>
                </a:cubicBezTo>
                <a:cubicBezTo>
                  <a:pt x="217" y="492"/>
                  <a:pt x="221" y="486"/>
                  <a:pt x="222" y="489"/>
                </a:cubicBezTo>
                <a:cubicBezTo>
                  <a:pt x="222" y="489"/>
                  <a:pt x="222" y="489"/>
                  <a:pt x="222" y="489"/>
                </a:cubicBezTo>
                <a:cubicBezTo>
                  <a:pt x="222" y="489"/>
                  <a:pt x="225" y="487"/>
                  <a:pt x="225" y="487"/>
                </a:cubicBezTo>
                <a:cubicBezTo>
                  <a:pt x="227" y="489"/>
                  <a:pt x="224" y="492"/>
                  <a:pt x="223" y="494"/>
                </a:cubicBezTo>
                <a:cubicBezTo>
                  <a:pt x="225" y="494"/>
                  <a:pt x="226" y="495"/>
                  <a:pt x="225" y="496"/>
                </a:cubicBezTo>
                <a:cubicBezTo>
                  <a:pt x="225" y="497"/>
                  <a:pt x="225" y="497"/>
                  <a:pt x="224" y="497"/>
                </a:cubicBezTo>
                <a:cubicBezTo>
                  <a:pt x="225" y="498"/>
                  <a:pt x="225" y="498"/>
                  <a:pt x="223" y="499"/>
                </a:cubicBezTo>
                <a:cubicBezTo>
                  <a:pt x="223" y="499"/>
                  <a:pt x="223" y="500"/>
                  <a:pt x="222" y="499"/>
                </a:cubicBezTo>
                <a:cubicBezTo>
                  <a:pt x="221" y="499"/>
                  <a:pt x="221" y="498"/>
                  <a:pt x="222" y="498"/>
                </a:cubicBezTo>
                <a:cubicBezTo>
                  <a:pt x="222" y="498"/>
                  <a:pt x="222" y="498"/>
                  <a:pt x="221" y="498"/>
                </a:cubicBezTo>
                <a:cubicBezTo>
                  <a:pt x="221" y="500"/>
                  <a:pt x="221" y="502"/>
                  <a:pt x="219" y="503"/>
                </a:cubicBezTo>
                <a:cubicBezTo>
                  <a:pt x="219" y="504"/>
                  <a:pt x="219" y="504"/>
                  <a:pt x="220" y="505"/>
                </a:cubicBezTo>
                <a:cubicBezTo>
                  <a:pt x="220" y="505"/>
                  <a:pt x="220" y="505"/>
                  <a:pt x="220" y="505"/>
                </a:cubicBezTo>
                <a:cubicBezTo>
                  <a:pt x="221" y="504"/>
                  <a:pt x="222" y="503"/>
                  <a:pt x="223" y="502"/>
                </a:cubicBezTo>
                <a:cubicBezTo>
                  <a:pt x="223" y="504"/>
                  <a:pt x="222" y="505"/>
                  <a:pt x="220" y="506"/>
                </a:cubicBezTo>
                <a:cubicBezTo>
                  <a:pt x="220" y="507"/>
                  <a:pt x="220" y="507"/>
                  <a:pt x="220" y="507"/>
                </a:cubicBezTo>
                <a:cubicBezTo>
                  <a:pt x="221" y="506"/>
                  <a:pt x="221" y="506"/>
                  <a:pt x="221" y="506"/>
                </a:cubicBezTo>
                <a:cubicBezTo>
                  <a:pt x="222" y="507"/>
                  <a:pt x="221" y="507"/>
                  <a:pt x="220" y="507"/>
                </a:cubicBezTo>
                <a:cubicBezTo>
                  <a:pt x="219" y="509"/>
                  <a:pt x="216" y="511"/>
                  <a:pt x="215" y="512"/>
                </a:cubicBezTo>
                <a:cubicBezTo>
                  <a:pt x="216" y="512"/>
                  <a:pt x="216" y="512"/>
                  <a:pt x="216" y="512"/>
                </a:cubicBezTo>
                <a:cubicBezTo>
                  <a:pt x="217" y="512"/>
                  <a:pt x="217" y="513"/>
                  <a:pt x="217" y="514"/>
                </a:cubicBezTo>
                <a:cubicBezTo>
                  <a:pt x="217" y="515"/>
                  <a:pt x="217" y="515"/>
                  <a:pt x="217" y="515"/>
                </a:cubicBezTo>
                <a:cubicBezTo>
                  <a:pt x="217" y="516"/>
                  <a:pt x="215" y="519"/>
                  <a:pt x="214" y="518"/>
                </a:cubicBezTo>
                <a:cubicBezTo>
                  <a:pt x="214" y="518"/>
                  <a:pt x="214" y="518"/>
                  <a:pt x="214" y="517"/>
                </a:cubicBezTo>
                <a:cubicBezTo>
                  <a:pt x="214" y="518"/>
                  <a:pt x="214" y="518"/>
                  <a:pt x="214" y="518"/>
                </a:cubicBezTo>
                <a:cubicBezTo>
                  <a:pt x="214" y="518"/>
                  <a:pt x="213" y="518"/>
                  <a:pt x="213" y="518"/>
                </a:cubicBezTo>
                <a:cubicBezTo>
                  <a:pt x="211" y="517"/>
                  <a:pt x="213" y="516"/>
                  <a:pt x="214" y="517"/>
                </a:cubicBezTo>
                <a:cubicBezTo>
                  <a:pt x="214" y="516"/>
                  <a:pt x="214" y="516"/>
                  <a:pt x="214" y="515"/>
                </a:cubicBezTo>
                <a:cubicBezTo>
                  <a:pt x="213" y="516"/>
                  <a:pt x="213" y="516"/>
                  <a:pt x="213" y="516"/>
                </a:cubicBezTo>
                <a:cubicBezTo>
                  <a:pt x="212" y="517"/>
                  <a:pt x="211" y="516"/>
                  <a:pt x="212" y="515"/>
                </a:cubicBezTo>
                <a:cubicBezTo>
                  <a:pt x="209" y="515"/>
                  <a:pt x="203" y="515"/>
                  <a:pt x="204" y="515"/>
                </a:cubicBezTo>
                <a:cubicBezTo>
                  <a:pt x="203" y="515"/>
                  <a:pt x="200" y="523"/>
                  <a:pt x="200" y="518"/>
                </a:cubicBezTo>
                <a:cubicBezTo>
                  <a:pt x="200" y="519"/>
                  <a:pt x="200" y="519"/>
                  <a:pt x="200" y="519"/>
                </a:cubicBezTo>
                <a:cubicBezTo>
                  <a:pt x="200" y="519"/>
                  <a:pt x="200" y="519"/>
                  <a:pt x="199" y="519"/>
                </a:cubicBezTo>
                <a:cubicBezTo>
                  <a:pt x="199" y="520"/>
                  <a:pt x="199" y="520"/>
                  <a:pt x="198" y="519"/>
                </a:cubicBezTo>
                <a:cubicBezTo>
                  <a:pt x="198" y="520"/>
                  <a:pt x="198" y="520"/>
                  <a:pt x="198" y="520"/>
                </a:cubicBezTo>
                <a:cubicBezTo>
                  <a:pt x="197" y="521"/>
                  <a:pt x="197" y="519"/>
                  <a:pt x="197" y="519"/>
                </a:cubicBezTo>
                <a:cubicBezTo>
                  <a:pt x="196" y="518"/>
                  <a:pt x="196" y="517"/>
                  <a:pt x="195" y="517"/>
                </a:cubicBezTo>
                <a:cubicBezTo>
                  <a:pt x="195" y="517"/>
                  <a:pt x="193" y="516"/>
                  <a:pt x="193" y="517"/>
                </a:cubicBezTo>
                <a:cubicBezTo>
                  <a:pt x="192" y="515"/>
                  <a:pt x="194" y="514"/>
                  <a:pt x="194" y="513"/>
                </a:cubicBezTo>
                <a:cubicBezTo>
                  <a:pt x="194" y="512"/>
                  <a:pt x="194" y="512"/>
                  <a:pt x="194" y="511"/>
                </a:cubicBezTo>
                <a:cubicBezTo>
                  <a:pt x="194" y="513"/>
                  <a:pt x="193" y="514"/>
                  <a:pt x="192" y="513"/>
                </a:cubicBezTo>
                <a:cubicBezTo>
                  <a:pt x="191" y="513"/>
                  <a:pt x="191" y="513"/>
                  <a:pt x="191" y="512"/>
                </a:cubicBezTo>
                <a:cubicBezTo>
                  <a:pt x="190" y="512"/>
                  <a:pt x="189" y="511"/>
                  <a:pt x="189" y="510"/>
                </a:cubicBezTo>
                <a:cubicBezTo>
                  <a:pt x="190" y="509"/>
                  <a:pt x="190" y="509"/>
                  <a:pt x="191" y="509"/>
                </a:cubicBezTo>
                <a:cubicBezTo>
                  <a:pt x="191" y="508"/>
                  <a:pt x="192" y="507"/>
                  <a:pt x="193" y="507"/>
                </a:cubicBezTo>
                <a:cubicBezTo>
                  <a:pt x="193" y="507"/>
                  <a:pt x="194" y="508"/>
                  <a:pt x="194" y="508"/>
                </a:cubicBezTo>
                <a:cubicBezTo>
                  <a:pt x="196" y="507"/>
                  <a:pt x="193" y="505"/>
                  <a:pt x="197" y="505"/>
                </a:cubicBezTo>
                <a:cubicBezTo>
                  <a:pt x="194" y="505"/>
                  <a:pt x="194" y="501"/>
                  <a:pt x="191" y="501"/>
                </a:cubicBezTo>
                <a:cubicBezTo>
                  <a:pt x="190" y="501"/>
                  <a:pt x="185" y="504"/>
                  <a:pt x="185" y="505"/>
                </a:cubicBezTo>
                <a:cubicBezTo>
                  <a:pt x="185" y="505"/>
                  <a:pt x="186" y="505"/>
                  <a:pt x="185" y="506"/>
                </a:cubicBezTo>
                <a:cubicBezTo>
                  <a:pt x="186" y="506"/>
                  <a:pt x="186" y="506"/>
                  <a:pt x="186" y="506"/>
                </a:cubicBezTo>
                <a:cubicBezTo>
                  <a:pt x="186" y="506"/>
                  <a:pt x="186" y="506"/>
                  <a:pt x="185" y="506"/>
                </a:cubicBezTo>
                <a:cubicBezTo>
                  <a:pt x="185" y="506"/>
                  <a:pt x="185" y="506"/>
                  <a:pt x="185" y="506"/>
                </a:cubicBezTo>
                <a:cubicBezTo>
                  <a:pt x="185" y="507"/>
                  <a:pt x="182" y="505"/>
                  <a:pt x="180" y="507"/>
                </a:cubicBezTo>
                <a:cubicBezTo>
                  <a:pt x="181" y="506"/>
                  <a:pt x="179" y="508"/>
                  <a:pt x="180" y="508"/>
                </a:cubicBezTo>
                <a:cubicBezTo>
                  <a:pt x="180" y="509"/>
                  <a:pt x="181" y="508"/>
                  <a:pt x="181" y="508"/>
                </a:cubicBezTo>
                <a:cubicBezTo>
                  <a:pt x="181" y="507"/>
                  <a:pt x="181" y="506"/>
                  <a:pt x="182" y="506"/>
                </a:cubicBezTo>
                <a:cubicBezTo>
                  <a:pt x="183" y="507"/>
                  <a:pt x="182" y="508"/>
                  <a:pt x="182" y="508"/>
                </a:cubicBezTo>
                <a:cubicBezTo>
                  <a:pt x="183" y="509"/>
                  <a:pt x="181" y="511"/>
                  <a:pt x="182" y="512"/>
                </a:cubicBezTo>
                <a:cubicBezTo>
                  <a:pt x="182" y="514"/>
                  <a:pt x="183" y="512"/>
                  <a:pt x="184" y="514"/>
                </a:cubicBezTo>
                <a:cubicBezTo>
                  <a:pt x="181" y="513"/>
                  <a:pt x="182" y="514"/>
                  <a:pt x="182" y="515"/>
                </a:cubicBezTo>
                <a:cubicBezTo>
                  <a:pt x="182" y="515"/>
                  <a:pt x="182" y="515"/>
                  <a:pt x="182" y="516"/>
                </a:cubicBezTo>
                <a:cubicBezTo>
                  <a:pt x="182" y="516"/>
                  <a:pt x="182" y="516"/>
                  <a:pt x="182" y="516"/>
                </a:cubicBezTo>
                <a:cubicBezTo>
                  <a:pt x="182" y="516"/>
                  <a:pt x="182" y="516"/>
                  <a:pt x="182" y="516"/>
                </a:cubicBezTo>
                <a:cubicBezTo>
                  <a:pt x="182" y="516"/>
                  <a:pt x="182" y="517"/>
                  <a:pt x="182" y="517"/>
                </a:cubicBezTo>
                <a:cubicBezTo>
                  <a:pt x="182" y="519"/>
                  <a:pt x="180" y="520"/>
                  <a:pt x="180" y="522"/>
                </a:cubicBezTo>
                <a:cubicBezTo>
                  <a:pt x="180" y="522"/>
                  <a:pt x="181" y="523"/>
                  <a:pt x="181" y="523"/>
                </a:cubicBezTo>
                <a:cubicBezTo>
                  <a:pt x="181" y="523"/>
                  <a:pt x="180" y="523"/>
                  <a:pt x="180" y="523"/>
                </a:cubicBezTo>
                <a:cubicBezTo>
                  <a:pt x="180" y="523"/>
                  <a:pt x="180" y="524"/>
                  <a:pt x="180" y="524"/>
                </a:cubicBezTo>
                <a:cubicBezTo>
                  <a:pt x="180" y="524"/>
                  <a:pt x="182" y="523"/>
                  <a:pt x="183" y="524"/>
                </a:cubicBezTo>
                <a:cubicBezTo>
                  <a:pt x="185" y="525"/>
                  <a:pt x="183" y="527"/>
                  <a:pt x="184" y="528"/>
                </a:cubicBezTo>
                <a:cubicBezTo>
                  <a:pt x="184" y="528"/>
                  <a:pt x="186" y="529"/>
                  <a:pt x="186" y="530"/>
                </a:cubicBezTo>
                <a:cubicBezTo>
                  <a:pt x="187" y="529"/>
                  <a:pt x="188" y="528"/>
                  <a:pt x="190" y="528"/>
                </a:cubicBezTo>
                <a:cubicBezTo>
                  <a:pt x="191" y="529"/>
                  <a:pt x="188" y="530"/>
                  <a:pt x="189" y="530"/>
                </a:cubicBezTo>
                <a:cubicBezTo>
                  <a:pt x="189" y="530"/>
                  <a:pt x="189" y="530"/>
                  <a:pt x="189" y="531"/>
                </a:cubicBezTo>
                <a:cubicBezTo>
                  <a:pt x="189" y="531"/>
                  <a:pt x="189" y="531"/>
                  <a:pt x="189" y="530"/>
                </a:cubicBezTo>
                <a:cubicBezTo>
                  <a:pt x="190" y="530"/>
                  <a:pt x="190" y="528"/>
                  <a:pt x="191" y="529"/>
                </a:cubicBezTo>
                <a:cubicBezTo>
                  <a:pt x="192" y="529"/>
                  <a:pt x="192" y="530"/>
                  <a:pt x="192" y="531"/>
                </a:cubicBezTo>
                <a:cubicBezTo>
                  <a:pt x="193" y="531"/>
                  <a:pt x="193" y="532"/>
                  <a:pt x="192" y="534"/>
                </a:cubicBezTo>
                <a:cubicBezTo>
                  <a:pt x="192" y="534"/>
                  <a:pt x="192" y="534"/>
                  <a:pt x="191" y="535"/>
                </a:cubicBezTo>
                <a:cubicBezTo>
                  <a:pt x="191" y="535"/>
                  <a:pt x="190" y="535"/>
                  <a:pt x="189" y="535"/>
                </a:cubicBezTo>
                <a:cubicBezTo>
                  <a:pt x="188" y="535"/>
                  <a:pt x="188" y="535"/>
                  <a:pt x="187" y="537"/>
                </a:cubicBezTo>
                <a:cubicBezTo>
                  <a:pt x="187" y="536"/>
                  <a:pt x="187" y="535"/>
                  <a:pt x="187" y="535"/>
                </a:cubicBezTo>
                <a:cubicBezTo>
                  <a:pt x="187" y="535"/>
                  <a:pt x="187" y="535"/>
                  <a:pt x="187" y="535"/>
                </a:cubicBezTo>
                <a:cubicBezTo>
                  <a:pt x="187" y="536"/>
                  <a:pt x="186" y="538"/>
                  <a:pt x="186" y="539"/>
                </a:cubicBezTo>
                <a:cubicBezTo>
                  <a:pt x="186" y="539"/>
                  <a:pt x="185" y="538"/>
                  <a:pt x="185" y="538"/>
                </a:cubicBezTo>
                <a:cubicBezTo>
                  <a:pt x="185" y="538"/>
                  <a:pt x="185" y="539"/>
                  <a:pt x="185" y="539"/>
                </a:cubicBezTo>
                <a:cubicBezTo>
                  <a:pt x="184" y="540"/>
                  <a:pt x="182" y="542"/>
                  <a:pt x="185" y="541"/>
                </a:cubicBezTo>
                <a:cubicBezTo>
                  <a:pt x="186" y="540"/>
                  <a:pt x="184" y="544"/>
                  <a:pt x="185" y="543"/>
                </a:cubicBezTo>
                <a:cubicBezTo>
                  <a:pt x="186" y="543"/>
                  <a:pt x="186" y="543"/>
                  <a:pt x="186" y="543"/>
                </a:cubicBezTo>
                <a:cubicBezTo>
                  <a:pt x="186" y="543"/>
                  <a:pt x="186" y="543"/>
                  <a:pt x="186" y="543"/>
                </a:cubicBezTo>
                <a:cubicBezTo>
                  <a:pt x="187" y="541"/>
                  <a:pt x="184" y="539"/>
                  <a:pt x="187" y="538"/>
                </a:cubicBezTo>
                <a:cubicBezTo>
                  <a:pt x="187" y="538"/>
                  <a:pt x="187" y="539"/>
                  <a:pt x="187" y="539"/>
                </a:cubicBezTo>
                <a:cubicBezTo>
                  <a:pt x="189" y="540"/>
                  <a:pt x="191" y="538"/>
                  <a:pt x="192" y="540"/>
                </a:cubicBezTo>
                <a:cubicBezTo>
                  <a:pt x="192" y="541"/>
                  <a:pt x="190" y="540"/>
                  <a:pt x="190" y="542"/>
                </a:cubicBezTo>
                <a:cubicBezTo>
                  <a:pt x="190" y="543"/>
                  <a:pt x="194" y="542"/>
                  <a:pt x="195" y="540"/>
                </a:cubicBezTo>
                <a:cubicBezTo>
                  <a:pt x="194" y="540"/>
                  <a:pt x="194" y="539"/>
                  <a:pt x="194" y="538"/>
                </a:cubicBezTo>
                <a:cubicBezTo>
                  <a:pt x="194" y="538"/>
                  <a:pt x="194" y="538"/>
                  <a:pt x="194" y="537"/>
                </a:cubicBezTo>
                <a:cubicBezTo>
                  <a:pt x="194" y="538"/>
                  <a:pt x="194" y="538"/>
                  <a:pt x="194" y="538"/>
                </a:cubicBezTo>
                <a:cubicBezTo>
                  <a:pt x="195" y="537"/>
                  <a:pt x="195" y="537"/>
                  <a:pt x="195" y="537"/>
                </a:cubicBezTo>
                <a:cubicBezTo>
                  <a:pt x="195" y="537"/>
                  <a:pt x="197" y="538"/>
                  <a:pt x="197" y="538"/>
                </a:cubicBezTo>
                <a:cubicBezTo>
                  <a:pt x="198" y="538"/>
                  <a:pt x="199" y="537"/>
                  <a:pt x="199" y="536"/>
                </a:cubicBezTo>
                <a:cubicBezTo>
                  <a:pt x="198" y="536"/>
                  <a:pt x="197" y="535"/>
                  <a:pt x="197" y="534"/>
                </a:cubicBezTo>
                <a:cubicBezTo>
                  <a:pt x="197" y="534"/>
                  <a:pt x="196" y="534"/>
                  <a:pt x="196" y="534"/>
                </a:cubicBezTo>
                <a:cubicBezTo>
                  <a:pt x="196" y="534"/>
                  <a:pt x="196" y="533"/>
                  <a:pt x="196" y="533"/>
                </a:cubicBezTo>
                <a:cubicBezTo>
                  <a:pt x="196" y="533"/>
                  <a:pt x="196" y="533"/>
                  <a:pt x="196" y="532"/>
                </a:cubicBezTo>
                <a:cubicBezTo>
                  <a:pt x="196" y="532"/>
                  <a:pt x="196" y="532"/>
                  <a:pt x="196" y="532"/>
                </a:cubicBezTo>
                <a:cubicBezTo>
                  <a:pt x="195" y="533"/>
                  <a:pt x="195" y="532"/>
                  <a:pt x="195" y="532"/>
                </a:cubicBezTo>
                <a:cubicBezTo>
                  <a:pt x="195" y="531"/>
                  <a:pt x="195" y="531"/>
                  <a:pt x="196" y="531"/>
                </a:cubicBezTo>
                <a:cubicBezTo>
                  <a:pt x="195" y="529"/>
                  <a:pt x="196" y="527"/>
                  <a:pt x="198" y="526"/>
                </a:cubicBezTo>
                <a:cubicBezTo>
                  <a:pt x="198" y="525"/>
                  <a:pt x="199" y="524"/>
                  <a:pt x="200" y="524"/>
                </a:cubicBezTo>
                <a:cubicBezTo>
                  <a:pt x="200" y="523"/>
                  <a:pt x="201" y="520"/>
                  <a:pt x="202" y="521"/>
                </a:cubicBezTo>
                <a:cubicBezTo>
                  <a:pt x="203" y="522"/>
                  <a:pt x="202" y="523"/>
                  <a:pt x="202" y="523"/>
                </a:cubicBezTo>
                <a:cubicBezTo>
                  <a:pt x="202" y="523"/>
                  <a:pt x="202" y="523"/>
                  <a:pt x="202" y="523"/>
                </a:cubicBezTo>
                <a:cubicBezTo>
                  <a:pt x="202" y="523"/>
                  <a:pt x="202" y="523"/>
                  <a:pt x="202" y="523"/>
                </a:cubicBezTo>
                <a:cubicBezTo>
                  <a:pt x="202" y="523"/>
                  <a:pt x="202" y="523"/>
                  <a:pt x="202" y="523"/>
                </a:cubicBezTo>
                <a:cubicBezTo>
                  <a:pt x="202" y="523"/>
                  <a:pt x="202" y="523"/>
                  <a:pt x="202" y="523"/>
                </a:cubicBezTo>
                <a:cubicBezTo>
                  <a:pt x="205" y="523"/>
                  <a:pt x="207" y="524"/>
                  <a:pt x="208" y="525"/>
                </a:cubicBezTo>
                <a:cubicBezTo>
                  <a:pt x="208" y="525"/>
                  <a:pt x="209" y="525"/>
                  <a:pt x="209" y="525"/>
                </a:cubicBezTo>
                <a:cubicBezTo>
                  <a:pt x="209" y="525"/>
                  <a:pt x="209" y="525"/>
                  <a:pt x="209" y="526"/>
                </a:cubicBezTo>
                <a:cubicBezTo>
                  <a:pt x="209" y="526"/>
                  <a:pt x="209" y="526"/>
                  <a:pt x="209" y="526"/>
                </a:cubicBezTo>
                <a:cubicBezTo>
                  <a:pt x="211" y="528"/>
                  <a:pt x="212" y="531"/>
                  <a:pt x="211" y="533"/>
                </a:cubicBezTo>
                <a:cubicBezTo>
                  <a:pt x="211" y="533"/>
                  <a:pt x="210" y="536"/>
                  <a:pt x="209" y="536"/>
                </a:cubicBezTo>
                <a:cubicBezTo>
                  <a:pt x="209" y="536"/>
                  <a:pt x="208" y="535"/>
                  <a:pt x="208" y="535"/>
                </a:cubicBezTo>
                <a:cubicBezTo>
                  <a:pt x="208" y="535"/>
                  <a:pt x="208" y="535"/>
                  <a:pt x="208" y="535"/>
                </a:cubicBezTo>
                <a:cubicBezTo>
                  <a:pt x="207" y="536"/>
                  <a:pt x="207" y="537"/>
                  <a:pt x="206" y="537"/>
                </a:cubicBezTo>
                <a:cubicBezTo>
                  <a:pt x="207" y="537"/>
                  <a:pt x="207" y="537"/>
                  <a:pt x="208" y="538"/>
                </a:cubicBezTo>
                <a:cubicBezTo>
                  <a:pt x="208" y="538"/>
                  <a:pt x="206" y="539"/>
                  <a:pt x="206" y="538"/>
                </a:cubicBezTo>
                <a:cubicBezTo>
                  <a:pt x="206" y="538"/>
                  <a:pt x="206" y="538"/>
                  <a:pt x="206" y="538"/>
                </a:cubicBezTo>
                <a:cubicBezTo>
                  <a:pt x="205" y="539"/>
                  <a:pt x="205" y="540"/>
                  <a:pt x="206" y="541"/>
                </a:cubicBezTo>
                <a:cubicBezTo>
                  <a:pt x="206" y="541"/>
                  <a:pt x="209" y="539"/>
                  <a:pt x="209" y="542"/>
                </a:cubicBezTo>
                <a:cubicBezTo>
                  <a:pt x="206" y="541"/>
                  <a:pt x="208" y="542"/>
                  <a:pt x="208" y="545"/>
                </a:cubicBezTo>
                <a:cubicBezTo>
                  <a:pt x="207" y="549"/>
                  <a:pt x="207" y="547"/>
                  <a:pt x="209" y="545"/>
                </a:cubicBezTo>
                <a:cubicBezTo>
                  <a:pt x="211" y="543"/>
                  <a:pt x="211" y="545"/>
                  <a:pt x="212" y="543"/>
                </a:cubicBezTo>
                <a:cubicBezTo>
                  <a:pt x="212" y="543"/>
                  <a:pt x="213" y="541"/>
                  <a:pt x="213" y="539"/>
                </a:cubicBezTo>
                <a:cubicBezTo>
                  <a:pt x="213" y="539"/>
                  <a:pt x="213" y="539"/>
                  <a:pt x="213" y="538"/>
                </a:cubicBezTo>
                <a:cubicBezTo>
                  <a:pt x="213" y="538"/>
                  <a:pt x="213" y="537"/>
                  <a:pt x="213" y="537"/>
                </a:cubicBezTo>
                <a:cubicBezTo>
                  <a:pt x="213" y="538"/>
                  <a:pt x="209" y="536"/>
                  <a:pt x="211" y="535"/>
                </a:cubicBezTo>
                <a:cubicBezTo>
                  <a:pt x="211" y="535"/>
                  <a:pt x="212" y="535"/>
                  <a:pt x="212" y="535"/>
                </a:cubicBezTo>
                <a:cubicBezTo>
                  <a:pt x="212" y="533"/>
                  <a:pt x="214" y="530"/>
                  <a:pt x="214" y="529"/>
                </a:cubicBezTo>
                <a:cubicBezTo>
                  <a:pt x="216" y="526"/>
                  <a:pt x="216" y="526"/>
                  <a:pt x="215" y="529"/>
                </a:cubicBezTo>
                <a:cubicBezTo>
                  <a:pt x="214" y="531"/>
                  <a:pt x="214" y="533"/>
                  <a:pt x="214" y="534"/>
                </a:cubicBezTo>
                <a:cubicBezTo>
                  <a:pt x="215" y="534"/>
                  <a:pt x="214" y="532"/>
                  <a:pt x="215" y="531"/>
                </a:cubicBezTo>
                <a:cubicBezTo>
                  <a:pt x="215" y="530"/>
                  <a:pt x="217" y="530"/>
                  <a:pt x="218" y="529"/>
                </a:cubicBezTo>
                <a:cubicBezTo>
                  <a:pt x="218" y="528"/>
                  <a:pt x="219" y="528"/>
                  <a:pt x="219" y="528"/>
                </a:cubicBezTo>
                <a:cubicBezTo>
                  <a:pt x="219" y="528"/>
                  <a:pt x="219" y="528"/>
                  <a:pt x="220" y="528"/>
                </a:cubicBezTo>
                <a:cubicBezTo>
                  <a:pt x="220" y="528"/>
                  <a:pt x="220" y="528"/>
                  <a:pt x="220" y="528"/>
                </a:cubicBezTo>
                <a:cubicBezTo>
                  <a:pt x="219" y="526"/>
                  <a:pt x="222" y="526"/>
                  <a:pt x="222" y="527"/>
                </a:cubicBezTo>
                <a:cubicBezTo>
                  <a:pt x="222" y="527"/>
                  <a:pt x="223" y="527"/>
                  <a:pt x="223" y="527"/>
                </a:cubicBezTo>
                <a:cubicBezTo>
                  <a:pt x="223" y="527"/>
                  <a:pt x="223" y="527"/>
                  <a:pt x="223" y="528"/>
                </a:cubicBezTo>
                <a:cubicBezTo>
                  <a:pt x="223" y="528"/>
                  <a:pt x="223" y="528"/>
                  <a:pt x="223" y="528"/>
                </a:cubicBezTo>
                <a:cubicBezTo>
                  <a:pt x="223" y="528"/>
                  <a:pt x="224" y="530"/>
                  <a:pt x="225" y="532"/>
                </a:cubicBezTo>
                <a:cubicBezTo>
                  <a:pt x="225" y="531"/>
                  <a:pt x="227" y="531"/>
                  <a:pt x="227" y="532"/>
                </a:cubicBezTo>
                <a:cubicBezTo>
                  <a:pt x="227" y="532"/>
                  <a:pt x="226" y="532"/>
                  <a:pt x="226" y="532"/>
                </a:cubicBezTo>
                <a:cubicBezTo>
                  <a:pt x="227" y="533"/>
                  <a:pt x="227" y="533"/>
                  <a:pt x="228" y="531"/>
                </a:cubicBezTo>
                <a:cubicBezTo>
                  <a:pt x="228" y="531"/>
                  <a:pt x="228" y="531"/>
                  <a:pt x="228" y="531"/>
                </a:cubicBezTo>
                <a:cubicBezTo>
                  <a:pt x="229" y="531"/>
                  <a:pt x="236" y="530"/>
                  <a:pt x="233" y="528"/>
                </a:cubicBezTo>
                <a:cubicBezTo>
                  <a:pt x="232" y="527"/>
                  <a:pt x="232" y="529"/>
                  <a:pt x="232" y="529"/>
                </a:cubicBezTo>
                <a:cubicBezTo>
                  <a:pt x="231" y="529"/>
                  <a:pt x="232" y="528"/>
                  <a:pt x="231" y="528"/>
                </a:cubicBezTo>
                <a:cubicBezTo>
                  <a:pt x="230" y="527"/>
                  <a:pt x="229" y="530"/>
                  <a:pt x="227" y="529"/>
                </a:cubicBezTo>
                <a:cubicBezTo>
                  <a:pt x="230" y="529"/>
                  <a:pt x="228" y="525"/>
                  <a:pt x="230" y="525"/>
                </a:cubicBezTo>
                <a:cubicBezTo>
                  <a:pt x="231" y="524"/>
                  <a:pt x="234" y="528"/>
                  <a:pt x="235" y="528"/>
                </a:cubicBezTo>
                <a:cubicBezTo>
                  <a:pt x="238" y="528"/>
                  <a:pt x="239" y="526"/>
                  <a:pt x="241" y="523"/>
                </a:cubicBezTo>
                <a:cubicBezTo>
                  <a:pt x="239" y="524"/>
                  <a:pt x="238" y="524"/>
                  <a:pt x="236" y="523"/>
                </a:cubicBezTo>
                <a:cubicBezTo>
                  <a:pt x="235" y="524"/>
                  <a:pt x="234" y="525"/>
                  <a:pt x="233" y="522"/>
                </a:cubicBezTo>
                <a:cubicBezTo>
                  <a:pt x="232" y="521"/>
                  <a:pt x="229" y="517"/>
                  <a:pt x="231" y="515"/>
                </a:cubicBezTo>
                <a:cubicBezTo>
                  <a:pt x="235" y="512"/>
                  <a:pt x="241" y="508"/>
                  <a:pt x="242" y="503"/>
                </a:cubicBezTo>
                <a:cubicBezTo>
                  <a:pt x="237" y="508"/>
                  <a:pt x="237" y="501"/>
                  <a:pt x="243" y="501"/>
                </a:cubicBezTo>
                <a:cubicBezTo>
                  <a:pt x="241" y="503"/>
                  <a:pt x="244" y="501"/>
                  <a:pt x="244" y="503"/>
                </a:cubicBezTo>
                <a:cubicBezTo>
                  <a:pt x="244" y="503"/>
                  <a:pt x="244" y="503"/>
                  <a:pt x="244" y="504"/>
                </a:cubicBezTo>
                <a:cubicBezTo>
                  <a:pt x="244" y="504"/>
                  <a:pt x="244" y="504"/>
                  <a:pt x="244" y="504"/>
                </a:cubicBezTo>
                <a:cubicBezTo>
                  <a:pt x="247" y="504"/>
                  <a:pt x="242" y="508"/>
                  <a:pt x="243" y="505"/>
                </a:cubicBezTo>
                <a:cubicBezTo>
                  <a:pt x="243" y="505"/>
                  <a:pt x="243" y="505"/>
                  <a:pt x="243" y="505"/>
                </a:cubicBezTo>
                <a:cubicBezTo>
                  <a:pt x="243" y="505"/>
                  <a:pt x="242" y="506"/>
                  <a:pt x="242" y="507"/>
                </a:cubicBezTo>
                <a:cubicBezTo>
                  <a:pt x="241" y="510"/>
                  <a:pt x="241" y="514"/>
                  <a:pt x="242" y="517"/>
                </a:cubicBezTo>
                <a:cubicBezTo>
                  <a:pt x="243" y="517"/>
                  <a:pt x="243" y="518"/>
                  <a:pt x="243" y="518"/>
                </a:cubicBezTo>
                <a:cubicBezTo>
                  <a:pt x="243" y="519"/>
                  <a:pt x="243" y="519"/>
                  <a:pt x="243" y="519"/>
                </a:cubicBezTo>
                <a:cubicBezTo>
                  <a:pt x="244" y="520"/>
                  <a:pt x="246" y="520"/>
                  <a:pt x="248" y="516"/>
                </a:cubicBezTo>
                <a:cubicBezTo>
                  <a:pt x="248" y="523"/>
                  <a:pt x="254" y="514"/>
                  <a:pt x="253" y="512"/>
                </a:cubicBezTo>
                <a:cubicBezTo>
                  <a:pt x="253" y="512"/>
                  <a:pt x="251" y="511"/>
                  <a:pt x="251" y="511"/>
                </a:cubicBezTo>
                <a:cubicBezTo>
                  <a:pt x="250" y="510"/>
                  <a:pt x="251" y="507"/>
                  <a:pt x="252" y="506"/>
                </a:cubicBezTo>
                <a:cubicBezTo>
                  <a:pt x="253" y="505"/>
                  <a:pt x="257" y="499"/>
                  <a:pt x="255" y="503"/>
                </a:cubicBezTo>
                <a:cubicBezTo>
                  <a:pt x="255" y="505"/>
                  <a:pt x="255" y="507"/>
                  <a:pt x="255" y="508"/>
                </a:cubicBezTo>
                <a:cubicBezTo>
                  <a:pt x="255" y="508"/>
                  <a:pt x="255" y="508"/>
                  <a:pt x="255" y="508"/>
                </a:cubicBezTo>
                <a:cubicBezTo>
                  <a:pt x="255" y="508"/>
                  <a:pt x="255" y="508"/>
                  <a:pt x="255" y="508"/>
                </a:cubicBezTo>
                <a:cubicBezTo>
                  <a:pt x="254" y="510"/>
                  <a:pt x="254" y="511"/>
                  <a:pt x="254" y="513"/>
                </a:cubicBezTo>
                <a:cubicBezTo>
                  <a:pt x="254" y="515"/>
                  <a:pt x="252" y="517"/>
                  <a:pt x="252" y="518"/>
                </a:cubicBezTo>
                <a:cubicBezTo>
                  <a:pt x="252" y="517"/>
                  <a:pt x="252" y="517"/>
                  <a:pt x="253" y="518"/>
                </a:cubicBezTo>
                <a:cubicBezTo>
                  <a:pt x="253" y="519"/>
                  <a:pt x="254" y="519"/>
                  <a:pt x="254" y="519"/>
                </a:cubicBezTo>
                <a:cubicBezTo>
                  <a:pt x="253" y="520"/>
                  <a:pt x="253" y="520"/>
                  <a:pt x="253" y="520"/>
                </a:cubicBezTo>
                <a:cubicBezTo>
                  <a:pt x="253" y="520"/>
                  <a:pt x="253" y="521"/>
                  <a:pt x="254" y="521"/>
                </a:cubicBezTo>
                <a:cubicBezTo>
                  <a:pt x="256" y="521"/>
                  <a:pt x="256" y="513"/>
                  <a:pt x="257" y="510"/>
                </a:cubicBezTo>
                <a:cubicBezTo>
                  <a:pt x="256" y="510"/>
                  <a:pt x="256" y="510"/>
                  <a:pt x="256" y="510"/>
                </a:cubicBezTo>
                <a:cubicBezTo>
                  <a:pt x="255" y="509"/>
                  <a:pt x="256" y="509"/>
                  <a:pt x="257" y="509"/>
                </a:cubicBezTo>
                <a:cubicBezTo>
                  <a:pt x="257" y="509"/>
                  <a:pt x="257" y="509"/>
                  <a:pt x="257" y="509"/>
                </a:cubicBezTo>
                <a:cubicBezTo>
                  <a:pt x="257" y="508"/>
                  <a:pt x="257" y="507"/>
                  <a:pt x="257" y="506"/>
                </a:cubicBezTo>
                <a:cubicBezTo>
                  <a:pt x="257" y="506"/>
                  <a:pt x="257" y="506"/>
                  <a:pt x="257" y="506"/>
                </a:cubicBezTo>
                <a:cubicBezTo>
                  <a:pt x="257" y="506"/>
                  <a:pt x="257" y="506"/>
                  <a:pt x="257" y="506"/>
                </a:cubicBezTo>
                <a:cubicBezTo>
                  <a:pt x="258" y="504"/>
                  <a:pt x="259" y="501"/>
                  <a:pt x="259" y="501"/>
                </a:cubicBezTo>
                <a:cubicBezTo>
                  <a:pt x="262" y="499"/>
                  <a:pt x="256" y="514"/>
                  <a:pt x="262" y="510"/>
                </a:cubicBezTo>
                <a:cubicBezTo>
                  <a:pt x="262" y="510"/>
                  <a:pt x="267" y="506"/>
                  <a:pt x="267" y="505"/>
                </a:cubicBezTo>
                <a:cubicBezTo>
                  <a:pt x="267" y="504"/>
                  <a:pt x="265" y="505"/>
                  <a:pt x="264" y="505"/>
                </a:cubicBezTo>
                <a:cubicBezTo>
                  <a:pt x="263" y="504"/>
                  <a:pt x="264" y="501"/>
                  <a:pt x="265" y="500"/>
                </a:cubicBezTo>
                <a:cubicBezTo>
                  <a:pt x="267" y="500"/>
                  <a:pt x="267" y="502"/>
                  <a:pt x="267" y="502"/>
                </a:cubicBezTo>
                <a:cubicBezTo>
                  <a:pt x="269" y="502"/>
                  <a:pt x="270" y="500"/>
                  <a:pt x="271" y="498"/>
                </a:cubicBezTo>
                <a:cubicBezTo>
                  <a:pt x="271" y="498"/>
                  <a:pt x="271" y="498"/>
                  <a:pt x="270" y="498"/>
                </a:cubicBezTo>
                <a:cubicBezTo>
                  <a:pt x="271" y="497"/>
                  <a:pt x="271" y="497"/>
                  <a:pt x="271" y="497"/>
                </a:cubicBezTo>
                <a:cubicBezTo>
                  <a:pt x="272" y="495"/>
                  <a:pt x="273" y="494"/>
                  <a:pt x="274" y="493"/>
                </a:cubicBezTo>
                <a:cubicBezTo>
                  <a:pt x="276" y="490"/>
                  <a:pt x="277" y="487"/>
                  <a:pt x="278" y="487"/>
                </a:cubicBezTo>
                <a:cubicBezTo>
                  <a:pt x="278" y="486"/>
                  <a:pt x="280" y="489"/>
                  <a:pt x="282" y="489"/>
                </a:cubicBezTo>
                <a:cubicBezTo>
                  <a:pt x="284" y="489"/>
                  <a:pt x="284" y="486"/>
                  <a:pt x="284" y="489"/>
                </a:cubicBezTo>
                <a:cubicBezTo>
                  <a:pt x="284" y="491"/>
                  <a:pt x="285" y="489"/>
                  <a:pt x="285" y="492"/>
                </a:cubicBezTo>
                <a:cubicBezTo>
                  <a:pt x="285" y="493"/>
                  <a:pt x="281" y="498"/>
                  <a:pt x="278" y="496"/>
                </a:cubicBezTo>
                <a:cubicBezTo>
                  <a:pt x="277" y="496"/>
                  <a:pt x="277" y="493"/>
                  <a:pt x="275" y="495"/>
                </a:cubicBezTo>
                <a:cubicBezTo>
                  <a:pt x="275" y="496"/>
                  <a:pt x="275" y="498"/>
                  <a:pt x="274" y="499"/>
                </a:cubicBezTo>
                <a:cubicBezTo>
                  <a:pt x="273" y="502"/>
                  <a:pt x="268" y="505"/>
                  <a:pt x="267" y="508"/>
                </a:cubicBezTo>
                <a:cubicBezTo>
                  <a:pt x="266" y="510"/>
                  <a:pt x="266" y="513"/>
                  <a:pt x="264" y="516"/>
                </a:cubicBezTo>
                <a:cubicBezTo>
                  <a:pt x="263" y="518"/>
                  <a:pt x="257" y="521"/>
                  <a:pt x="257" y="523"/>
                </a:cubicBezTo>
                <a:cubicBezTo>
                  <a:pt x="257" y="523"/>
                  <a:pt x="258" y="524"/>
                  <a:pt x="258" y="525"/>
                </a:cubicBezTo>
                <a:cubicBezTo>
                  <a:pt x="258" y="525"/>
                  <a:pt x="259" y="525"/>
                  <a:pt x="259" y="525"/>
                </a:cubicBezTo>
                <a:cubicBezTo>
                  <a:pt x="259" y="525"/>
                  <a:pt x="259" y="525"/>
                  <a:pt x="259" y="525"/>
                </a:cubicBezTo>
                <a:cubicBezTo>
                  <a:pt x="261" y="527"/>
                  <a:pt x="265" y="529"/>
                  <a:pt x="267" y="528"/>
                </a:cubicBezTo>
                <a:cubicBezTo>
                  <a:pt x="268" y="528"/>
                  <a:pt x="268" y="528"/>
                  <a:pt x="268" y="528"/>
                </a:cubicBezTo>
                <a:cubicBezTo>
                  <a:pt x="268" y="527"/>
                  <a:pt x="268" y="526"/>
                  <a:pt x="268" y="525"/>
                </a:cubicBezTo>
                <a:cubicBezTo>
                  <a:pt x="270" y="521"/>
                  <a:pt x="278" y="518"/>
                  <a:pt x="282" y="521"/>
                </a:cubicBezTo>
                <a:cubicBezTo>
                  <a:pt x="282" y="521"/>
                  <a:pt x="282" y="521"/>
                  <a:pt x="282" y="522"/>
                </a:cubicBezTo>
                <a:cubicBezTo>
                  <a:pt x="282" y="522"/>
                  <a:pt x="282" y="522"/>
                  <a:pt x="282" y="521"/>
                </a:cubicBezTo>
                <a:cubicBezTo>
                  <a:pt x="283" y="520"/>
                  <a:pt x="282" y="521"/>
                  <a:pt x="282" y="522"/>
                </a:cubicBezTo>
                <a:cubicBezTo>
                  <a:pt x="282" y="522"/>
                  <a:pt x="282" y="522"/>
                  <a:pt x="283" y="523"/>
                </a:cubicBezTo>
                <a:cubicBezTo>
                  <a:pt x="284" y="522"/>
                  <a:pt x="285" y="522"/>
                  <a:pt x="285" y="521"/>
                </a:cubicBezTo>
                <a:cubicBezTo>
                  <a:pt x="286" y="523"/>
                  <a:pt x="287" y="519"/>
                  <a:pt x="289" y="519"/>
                </a:cubicBezTo>
                <a:cubicBezTo>
                  <a:pt x="290" y="519"/>
                  <a:pt x="292" y="521"/>
                  <a:pt x="292" y="519"/>
                </a:cubicBezTo>
                <a:cubicBezTo>
                  <a:pt x="292" y="524"/>
                  <a:pt x="301" y="516"/>
                  <a:pt x="302" y="515"/>
                </a:cubicBezTo>
                <a:cubicBezTo>
                  <a:pt x="301" y="515"/>
                  <a:pt x="295" y="514"/>
                  <a:pt x="295" y="514"/>
                </a:cubicBezTo>
                <a:cubicBezTo>
                  <a:pt x="295" y="514"/>
                  <a:pt x="295" y="514"/>
                  <a:pt x="295" y="514"/>
                </a:cubicBezTo>
                <a:cubicBezTo>
                  <a:pt x="295" y="514"/>
                  <a:pt x="295" y="514"/>
                  <a:pt x="295" y="514"/>
                </a:cubicBezTo>
                <a:cubicBezTo>
                  <a:pt x="294" y="515"/>
                  <a:pt x="293" y="515"/>
                  <a:pt x="293" y="515"/>
                </a:cubicBezTo>
                <a:cubicBezTo>
                  <a:pt x="292" y="513"/>
                  <a:pt x="294" y="514"/>
                  <a:pt x="295" y="512"/>
                </a:cubicBezTo>
                <a:cubicBezTo>
                  <a:pt x="295" y="512"/>
                  <a:pt x="295" y="512"/>
                  <a:pt x="295" y="512"/>
                </a:cubicBezTo>
                <a:cubicBezTo>
                  <a:pt x="294" y="512"/>
                  <a:pt x="293" y="511"/>
                  <a:pt x="294" y="510"/>
                </a:cubicBezTo>
                <a:cubicBezTo>
                  <a:pt x="294" y="510"/>
                  <a:pt x="294" y="510"/>
                  <a:pt x="294" y="510"/>
                </a:cubicBezTo>
                <a:cubicBezTo>
                  <a:pt x="293" y="509"/>
                  <a:pt x="293" y="508"/>
                  <a:pt x="293" y="507"/>
                </a:cubicBezTo>
                <a:cubicBezTo>
                  <a:pt x="293" y="507"/>
                  <a:pt x="296" y="504"/>
                  <a:pt x="297" y="504"/>
                </a:cubicBezTo>
                <a:cubicBezTo>
                  <a:pt x="298" y="504"/>
                  <a:pt x="300" y="499"/>
                  <a:pt x="302" y="499"/>
                </a:cubicBezTo>
                <a:cubicBezTo>
                  <a:pt x="303" y="500"/>
                  <a:pt x="300" y="501"/>
                  <a:pt x="301" y="503"/>
                </a:cubicBezTo>
                <a:cubicBezTo>
                  <a:pt x="302" y="503"/>
                  <a:pt x="304" y="502"/>
                  <a:pt x="305" y="503"/>
                </a:cubicBezTo>
                <a:cubicBezTo>
                  <a:pt x="305" y="503"/>
                  <a:pt x="304" y="505"/>
                  <a:pt x="305" y="506"/>
                </a:cubicBezTo>
                <a:cubicBezTo>
                  <a:pt x="305" y="505"/>
                  <a:pt x="308" y="505"/>
                  <a:pt x="308" y="506"/>
                </a:cubicBezTo>
                <a:cubicBezTo>
                  <a:pt x="309" y="508"/>
                  <a:pt x="306" y="507"/>
                  <a:pt x="306" y="508"/>
                </a:cubicBezTo>
                <a:cubicBezTo>
                  <a:pt x="305" y="509"/>
                  <a:pt x="306" y="509"/>
                  <a:pt x="306" y="510"/>
                </a:cubicBezTo>
                <a:cubicBezTo>
                  <a:pt x="306" y="511"/>
                  <a:pt x="305" y="511"/>
                  <a:pt x="304" y="513"/>
                </a:cubicBezTo>
                <a:cubicBezTo>
                  <a:pt x="304" y="513"/>
                  <a:pt x="304" y="514"/>
                  <a:pt x="304" y="514"/>
                </a:cubicBezTo>
                <a:cubicBezTo>
                  <a:pt x="302" y="517"/>
                  <a:pt x="296" y="519"/>
                  <a:pt x="297" y="524"/>
                </a:cubicBezTo>
                <a:cubicBezTo>
                  <a:pt x="297" y="525"/>
                  <a:pt x="298" y="525"/>
                  <a:pt x="299" y="524"/>
                </a:cubicBezTo>
                <a:cubicBezTo>
                  <a:pt x="298" y="527"/>
                  <a:pt x="295" y="535"/>
                  <a:pt x="289" y="536"/>
                </a:cubicBezTo>
                <a:cubicBezTo>
                  <a:pt x="289" y="536"/>
                  <a:pt x="286" y="535"/>
                  <a:pt x="285" y="534"/>
                </a:cubicBezTo>
                <a:cubicBezTo>
                  <a:pt x="285" y="534"/>
                  <a:pt x="284" y="533"/>
                  <a:pt x="283" y="532"/>
                </a:cubicBezTo>
                <a:cubicBezTo>
                  <a:pt x="283" y="532"/>
                  <a:pt x="283" y="532"/>
                  <a:pt x="283" y="531"/>
                </a:cubicBezTo>
                <a:cubicBezTo>
                  <a:pt x="283" y="531"/>
                  <a:pt x="283" y="531"/>
                  <a:pt x="283" y="531"/>
                </a:cubicBezTo>
                <a:cubicBezTo>
                  <a:pt x="282" y="531"/>
                  <a:pt x="282" y="530"/>
                  <a:pt x="282" y="530"/>
                </a:cubicBezTo>
                <a:cubicBezTo>
                  <a:pt x="280" y="531"/>
                  <a:pt x="278" y="533"/>
                  <a:pt x="277" y="533"/>
                </a:cubicBezTo>
                <a:cubicBezTo>
                  <a:pt x="278" y="535"/>
                  <a:pt x="280" y="534"/>
                  <a:pt x="281" y="534"/>
                </a:cubicBezTo>
                <a:cubicBezTo>
                  <a:pt x="281" y="534"/>
                  <a:pt x="280" y="534"/>
                  <a:pt x="280" y="535"/>
                </a:cubicBezTo>
                <a:cubicBezTo>
                  <a:pt x="281" y="535"/>
                  <a:pt x="282" y="535"/>
                  <a:pt x="282" y="536"/>
                </a:cubicBezTo>
                <a:cubicBezTo>
                  <a:pt x="283" y="537"/>
                  <a:pt x="281" y="536"/>
                  <a:pt x="281" y="537"/>
                </a:cubicBezTo>
                <a:cubicBezTo>
                  <a:pt x="280" y="538"/>
                  <a:pt x="282" y="537"/>
                  <a:pt x="280" y="539"/>
                </a:cubicBezTo>
                <a:cubicBezTo>
                  <a:pt x="279" y="541"/>
                  <a:pt x="276" y="540"/>
                  <a:pt x="275" y="541"/>
                </a:cubicBezTo>
                <a:cubicBezTo>
                  <a:pt x="275" y="541"/>
                  <a:pt x="275" y="541"/>
                  <a:pt x="275" y="542"/>
                </a:cubicBezTo>
                <a:cubicBezTo>
                  <a:pt x="276" y="542"/>
                  <a:pt x="276" y="543"/>
                  <a:pt x="277" y="543"/>
                </a:cubicBezTo>
                <a:cubicBezTo>
                  <a:pt x="277" y="543"/>
                  <a:pt x="275" y="544"/>
                  <a:pt x="276" y="546"/>
                </a:cubicBezTo>
                <a:cubicBezTo>
                  <a:pt x="276" y="547"/>
                  <a:pt x="277" y="546"/>
                  <a:pt x="277" y="546"/>
                </a:cubicBezTo>
                <a:cubicBezTo>
                  <a:pt x="277" y="547"/>
                  <a:pt x="277" y="551"/>
                  <a:pt x="277" y="551"/>
                </a:cubicBezTo>
                <a:cubicBezTo>
                  <a:pt x="276" y="552"/>
                  <a:pt x="274" y="550"/>
                  <a:pt x="272" y="551"/>
                </a:cubicBezTo>
                <a:cubicBezTo>
                  <a:pt x="273" y="551"/>
                  <a:pt x="269" y="553"/>
                  <a:pt x="269" y="553"/>
                </a:cubicBezTo>
                <a:cubicBezTo>
                  <a:pt x="269" y="554"/>
                  <a:pt x="270" y="555"/>
                  <a:pt x="270" y="556"/>
                </a:cubicBezTo>
                <a:cubicBezTo>
                  <a:pt x="269" y="558"/>
                  <a:pt x="267" y="558"/>
                  <a:pt x="267" y="560"/>
                </a:cubicBezTo>
                <a:cubicBezTo>
                  <a:pt x="267" y="561"/>
                  <a:pt x="264" y="565"/>
                  <a:pt x="262" y="565"/>
                </a:cubicBezTo>
                <a:cubicBezTo>
                  <a:pt x="257" y="564"/>
                  <a:pt x="260" y="557"/>
                  <a:pt x="254" y="558"/>
                </a:cubicBezTo>
                <a:cubicBezTo>
                  <a:pt x="254" y="552"/>
                  <a:pt x="248" y="563"/>
                  <a:pt x="247" y="562"/>
                </a:cubicBezTo>
                <a:cubicBezTo>
                  <a:pt x="246" y="562"/>
                  <a:pt x="246" y="562"/>
                  <a:pt x="246" y="562"/>
                </a:cubicBezTo>
                <a:cubicBezTo>
                  <a:pt x="246" y="563"/>
                  <a:pt x="246" y="563"/>
                  <a:pt x="246" y="563"/>
                </a:cubicBezTo>
                <a:cubicBezTo>
                  <a:pt x="245" y="563"/>
                  <a:pt x="246" y="562"/>
                  <a:pt x="246" y="562"/>
                </a:cubicBezTo>
                <a:cubicBezTo>
                  <a:pt x="245" y="561"/>
                  <a:pt x="246" y="561"/>
                  <a:pt x="246" y="562"/>
                </a:cubicBezTo>
                <a:cubicBezTo>
                  <a:pt x="247" y="560"/>
                  <a:pt x="251" y="555"/>
                  <a:pt x="246" y="557"/>
                </a:cubicBezTo>
                <a:cubicBezTo>
                  <a:pt x="245" y="558"/>
                  <a:pt x="246" y="561"/>
                  <a:pt x="245" y="561"/>
                </a:cubicBezTo>
                <a:cubicBezTo>
                  <a:pt x="244" y="562"/>
                  <a:pt x="241" y="560"/>
                  <a:pt x="239" y="561"/>
                </a:cubicBezTo>
                <a:cubicBezTo>
                  <a:pt x="239" y="561"/>
                  <a:pt x="237" y="564"/>
                  <a:pt x="238" y="565"/>
                </a:cubicBezTo>
                <a:cubicBezTo>
                  <a:pt x="238" y="567"/>
                  <a:pt x="240" y="566"/>
                  <a:pt x="238" y="568"/>
                </a:cubicBezTo>
                <a:cubicBezTo>
                  <a:pt x="238" y="569"/>
                  <a:pt x="239" y="568"/>
                  <a:pt x="239" y="568"/>
                </a:cubicBezTo>
                <a:cubicBezTo>
                  <a:pt x="238" y="569"/>
                  <a:pt x="239" y="570"/>
                  <a:pt x="241" y="570"/>
                </a:cubicBezTo>
                <a:cubicBezTo>
                  <a:pt x="238" y="572"/>
                  <a:pt x="235" y="572"/>
                  <a:pt x="237" y="575"/>
                </a:cubicBezTo>
                <a:cubicBezTo>
                  <a:pt x="237" y="575"/>
                  <a:pt x="242" y="578"/>
                  <a:pt x="242" y="579"/>
                </a:cubicBezTo>
                <a:cubicBezTo>
                  <a:pt x="245" y="577"/>
                  <a:pt x="240" y="574"/>
                  <a:pt x="241" y="571"/>
                </a:cubicBezTo>
                <a:cubicBezTo>
                  <a:pt x="243" y="569"/>
                  <a:pt x="244" y="576"/>
                  <a:pt x="245" y="576"/>
                </a:cubicBezTo>
                <a:cubicBezTo>
                  <a:pt x="246" y="577"/>
                  <a:pt x="245" y="575"/>
                  <a:pt x="246" y="576"/>
                </a:cubicBezTo>
                <a:cubicBezTo>
                  <a:pt x="248" y="576"/>
                  <a:pt x="249" y="578"/>
                  <a:pt x="250" y="577"/>
                </a:cubicBezTo>
                <a:cubicBezTo>
                  <a:pt x="250" y="576"/>
                  <a:pt x="247" y="576"/>
                  <a:pt x="248" y="574"/>
                </a:cubicBezTo>
                <a:cubicBezTo>
                  <a:pt x="249" y="573"/>
                  <a:pt x="252" y="575"/>
                  <a:pt x="251" y="576"/>
                </a:cubicBezTo>
                <a:cubicBezTo>
                  <a:pt x="252" y="576"/>
                  <a:pt x="253" y="576"/>
                  <a:pt x="254" y="577"/>
                </a:cubicBezTo>
                <a:cubicBezTo>
                  <a:pt x="254" y="576"/>
                  <a:pt x="254" y="576"/>
                  <a:pt x="255" y="576"/>
                </a:cubicBezTo>
                <a:cubicBezTo>
                  <a:pt x="255" y="576"/>
                  <a:pt x="255" y="577"/>
                  <a:pt x="254" y="578"/>
                </a:cubicBezTo>
                <a:cubicBezTo>
                  <a:pt x="255" y="580"/>
                  <a:pt x="254" y="582"/>
                  <a:pt x="253" y="583"/>
                </a:cubicBezTo>
                <a:cubicBezTo>
                  <a:pt x="253" y="583"/>
                  <a:pt x="253" y="583"/>
                  <a:pt x="253" y="583"/>
                </a:cubicBezTo>
                <a:cubicBezTo>
                  <a:pt x="255" y="584"/>
                  <a:pt x="254" y="582"/>
                  <a:pt x="255" y="583"/>
                </a:cubicBezTo>
                <a:cubicBezTo>
                  <a:pt x="255" y="583"/>
                  <a:pt x="256" y="583"/>
                  <a:pt x="256" y="583"/>
                </a:cubicBezTo>
                <a:cubicBezTo>
                  <a:pt x="257" y="581"/>
                  <a:pt x="258" y="578"/>
                  <a:pt x="259" y="578"/>
                </a:cubicBezTo>
                <a:cubicBezTo>
                  <a:pt x="260" y="577"/>
                  <a:pt x="262" y="580"/>
                  <a:pt x="262" y="578"/>
                </a:cubicBezTo>
                <a:cubicBezTo>
                  <a:pt x="263" y="577"/>
                  <a:pt x="261" y="575"/>
                  <a:pt x="260" y="575"/>
                </a:cubicBezTo>
                <a:cubicBezTo>
                  <a:pt x="261" y="575"/>
                  <a:pt x="261" y="572"/>
                  <a:pt x="261" y="572"/>
                </a:cubicBezTo>
                <a:cubicBezTo>
                  <a:pt x="259" y="572"/>
                  <a:pt x="257" y="574"/>
                  <a:pt x="256" y="573"/>
                </a:cubicBezTo>
                <a:cubicBezTo>
                  <a:pt x="255" y="573"/>
                  <a:pt x="258" y="571"/>
                  <a:pt x="258" y="570"/>
                </a:cubicBezTo>
                <a:cubicBezTo>
                  <a:pt x="258" y="573"/>
                  <a:pt x="261" y="569"/>
                  <a:pt x="263" y="568"/>
                </a:cubicBezTo>
                <a:cubicBezTo>
                  <a:pt x="264" y="568"/>
                  <a:pt x="266" y="568"/>
                  <a:pt x="267" y="568"/>
                </a:cubicBezTo>
                <a:cubicBezTo>
                  <a:pt x="268" y="567"/>
                  <a:pt x="266" y="565"/>
                  <a:pt x="269" y="564"/>
                </a:cubicBezTo>
                <a:cubicBezTo>
                  <a:pt x="269" y="564"/>
                  <a:pt x="268" y="566"/>
                  <a:pt x="269" y="566"/>
                </a:cubicBezTo>
                <a:cubicBezTo>
                  <a:pt x="269" y="567"/>
                  <a:pt x="271" y="564"/>
                  <a:pt x="273" y="566"/>
                </a:cubicBezTo>
                <a:cubicBezTo>
                  <a:pt x="273" y="566"/>
                  <a:pt x="272" y="568"/>
                  <a:pt x="272" y="570"/>
                </a:cubicBezTo>
                <a:cubicBezTo>
                  <a:pt x="272" y="570"/>
                  <a:pt x="272" y="571"/>
                  <a:pt x="272" y="572"/>
                </a:cubicBezTo>
                <a:cubicBezTo>
                  <a:pt x="274" y="572"/>
                  <a:pt x="279" y="573"/>
                  <a:pt x="280" y="573"/>
                </a:cubicBezTo>
                <a:cubicBezTo>
                  <a:pt x="281" y="574"/>
                  <a:pt x="279" y="576"/>
                  <a:pt x="282" y="576"/>
                </a:cubicBezTo>
                <a:cubicBezTo>
                  <a:pt x="279" y="578"/>
                  <a:pt x="284" y="579"/>
                  <a:pt x="283" y="581"/>
                </a:cubicBezTo>
                <a:cubicBezTo>
                  <a:pt x="283" y="581"/>
                  <a:pt x="281" y="581"/>
                  <a:pt x="281" y="582"/>
                </a:cubicBezTo>
                <a:cubicBezTo>
                  <a:pt x="281" y="582"/>
                  <a:pt x="282" y="583"/>
                  <a:pt x="281" y="584"/>
                </a:cubicBezTo>
                <a:cubicBezTo>
                  <a:pt x="281" y="584"/>
                  <a:pt x="281" y="584"/>
                  <a:pt x="281" y="584"/>
                </a:cubicBezTo>
                <a:cubicBezTo>
                  <a:pt x="282" y="585"/>
                  <a:pt x="283" y="587"/>
                  <a:pt x="282" y="588"/>
                </a:cubicBezTo>
                <a:cubicBezTo>
                  <a:pt x="283" y="588"/>
                  <a:pt x="283" y="588"/>
                  <a:pt x="284" y="588"/>
                </a:cubicBezTo>
                <a:cubicBezTo>
                  <a:pt x="283" y="588"/>
                  <a:pt x="283" y="587"/>
                  <a:pt x="283" y="586"/>
                </a:cubicBezTo>
                <a:cubicBezTo>
                  <a:pt x="283" y="585"/>
                  <a:pt x="284" y="585"/>
                  <a:pt x="285" y="584"/>
                </a:cubicBezTo>
                <a:cubicBezTo>
                  <a:pt x="285" y="584"/>
                  <a:pt x="285" y="583"/>
                  <a:pt x="286" y="582"/>
                </a:cubicBezTo>
                <a:cubicBezTo>
                  <a:pt x="286" y="582"/>
                  <a:pt x="286" y="582"/>
                  <a:pt x="286" y="582"/>
                </a:cubicBezTo>
                <a:cubicBezTo>
                  <a:pt x="286" y="582"/>
                  <a:pt x="287" y="582"/>
                  <a:pt x="287" y="582"/>
                </a:cubicBezTo>
                <a:cubicBezTo>
                  <a:pt x="288" y="581"/>
                  <a:pt x="290" y="580"/>
                  <a:pt x="291" y="578"/>
                </a:cubicBezTo>
                <a:cubicBezTo>
                  <a:pt x="289" y="581"/>
                  <a:pt x="293" y="581"/>
                  <a:pt x="293" y="581"/>
                </a:cubicBezTo>
                <a:cubicBezTo>
                  <a:pt x="294" y="581"/>
                  <a:pt x="294" y="581"/>
                  <a:pt x="294" y="581"/>
                </a:cubicBezTo>
                <a:cubicBezTo>
                  <a:pt x="294" y="581"/>
                  <a:pt x="294" y="581"/>
                  <a:pt x="294" y="581"/>
                </a:cubicBezTo>
                <a:cubicBezTo>
                  <a:pt x="293" y="581"/>
                  <a:pt x="293" y="580"/>
                  <a:pt x="293" y="580"/>
                </a:cubicBezTo>
                <a:cubicBezTo>
                  <a:pt x="292" y="579"/>
                  <a:pt x="293" y="574"/>
                  <a:pt x="294" y="574"/>
                </a:cubicBezTo>
                <a:cubicBezTo>
                  <a:pt x="295" y="573"/>
                  <a:pt x="295" y="574"/>
                  <a:pt x="295" y="574"/>
                </a:cubicBezTo>
                <a:cubicBezTo>
                  <a:pt x="297" y="574"/>
                  <a:pt x="299" y="572"/>
                  <a:pt x="302" y="573"/>
                </a:cubicBezTo>
                <a:cubicBezTo>
                  <a:pt x="301" y="574"/>
                  <a:pt x="299" y="573"/>
                  <a:pt x="299" y="575"/>
                </a:cubicBezTo>
                <a:cubicBezTo>
                  <a:pt x="298" y="576"/>
                  <a:pt x="300" y="575"/>
                  <a:pt x="300" y="576"/>
                </a:cubicBezTo>
                <a:cubicBezTo>
                  <a:pt x="301" y="577"/>
                  <a:pt x="298" y="581"/>
                  <a:pt x="295" y="581"/>
                </a:cubicBezTo>
                <a:cubicBezTo>
                  <a:pt x="295" y="582"/>
                  <a:pt x="294" y="583"/>
                  <a:pt x="294" y="584"/>
                </a:cubicBezTo>
                <a:cubicBezTo>
                  <a:pt x="294" y="584"/>
                  <a:pt x="295" y="584"/>
                  <a:pt x="295" y="584"/>
                </a:cubicBezTo>
                <a:cubicBezTo>
                  <a:pt x="296" y="583"/>
                  <a:pt x="299" y="582"/>
                  <a:pt x="300" y="580"/>
                </a:cubicBezTo>
                <a:cubicBezTo>
                  <a:pt x="301" y="580"/>
                  <a:pt x="300" y="578"/>
                  <a:pt x="301" y="578"/>
                </a:cubicBezTo>
                <a:cubicBezTo>
                  <a:pt x="301" y="577"/>
                  <a:pt x="302" y="577"/>
                  <a:pt x="302" y="576"/>
                </a:cubicBezTo>
                <a:cubicBezTo>
                  <a:pt x="302" y="575"/>
                  <a:pt x="301" y="576"/>
                  <a:pt x="301" y="574"/>
                </a:cubicBezTo>
                <a:cubicBezTo>
                  <a:pt x="302" y="573"/>
                  <a:pt x="303" y="573"/>
                  <a:pt x="304" y="573"/>
                </a:cubicBezTo>
                <a:cubicBezTo>
                  <a:pt x="304" y="574"/>
                  <a:pt x="303" y="576"/>
                  <a:pt x="304" y="578"/>
                </a:cubicBezTo>
                <a:cubicBezTo>
                  <a:pt x="304" y="578"/>
                  <a:pt x="306" y="578"/>
                  <a:pt x="307" y="579"/>
                </a:cubicBezTo>
                <a:cubicBezTo>
                  <a:pt x="308" y="580"/>
                  <a:pt x="308" y="581"/>
                  <a:pt x="311" y="579"/>
                </a:cubicBezTo>
                <a:cubicBezTo>
                  <a:pt x="307" y="583"/>
                  <a:pt x="312" y="581"/>
                  <a:pt x="313" y="582"/>
                </a:cubicBezTo>
                <a:cubicBezTo>
                  <a:pt x="312" y="582"/>
                  <a:pt x="312" y="589"/>
                  <a:pt x="312" y="589"/>
                </a:cubicBezTo>
                <a:cubicBezTo>
                  <a:pt x="312" y="590"/>
                  <a:pt x="310" y="593"/>
                  <a:pt x="310" y="595"/>
                </a:cubicBezTo>
                <a:cubicBezTo>
                  <a:pt x="310" y="594"/>
                  <a:pt x="310" y="594"/>
                  <a:pt x="311" y="594"/>
                </a:cubicBezTo>
                <a:cubicBezTo>
                  <a:pt x="311" y="595"/>
                  <a:pt x="310" y="595"/>
                  <a:pt x="310" y="596"/>
                </a:cubicBezTo>
                <a:cubicBezTo>
                  <a:pt x="310" y="596"/>
                  <a:pt x="310" y="596"/>
                  <a:pt x="310" y="596"/>
                </a:cubicBezTo>
                <a:cubicBezTo>
                  <a:pt x="310" y="596"/>
                  <a:pt x="310" y="596"/>
                  <a:pt x="311" y="595"/>
                </a:cubicBezTo>
                <a:cubicBezTo>
                  <a:pt x="311" y="595"/>
                  <a:pt x="311" y="595"/>
                  <a:pt x="311" y="595"/>
                </a:cubicBezTo>
                <a:cubicBezTo>
                  <a:pt x="311" y="595"/>
                  <a:pt x="311" y="595"/>
                  <a:pt x="311" y="595"/>
                </a:cubicBezTo>
                <a:cubicBezTo>
                  <a:pt x="311" y="595"/>
                  <a:pt x="311" y="595"/>
                  <a:pt x="311" y="595"/>
                </a:cubicBezTo>
                <a:cubicBezTo>
                  <a:pt x="314" y="594"/>
                  <a:pt x="320" y="594"/>
                  <a:pt x="324" y="595"/>
                </a:cubicBezTo>
                <a:cubicBezTo>
                  <a:pt x="324" y="594"/>
                  <a:pt x="324" y="593"/>
                  <a:pt x="324" y="593"/>
                </a:cubicBezTo>
                <a:cubicBezTo>
                  <a:pt x="325" y="593"/>
                  <a:pt x="325" y="594"/>
                  <a:pt x="325" y="595"/>
                </a:cubicBezTo>
                <a:cubicBezTo>
                  <a:pt x="326" y="595"/>
                  <a:pt x="326" y="596"/>
                  <a:pt x="326" y="596"/>
                </a:cubicBezTo>
                <a:cubicBezTo>
                  <a:pt x="326" y="597"/>
                  <a:pt x="325" y="597"/>
                  <a:pt x="323" y="598"/>
                </a:cubicBezTo>
                <a:cubicBezTo>
                  <a:pt x="324" y="598"/>
                  <a:pt x="324" y="598"/>
                  <a:pt x="324" y="599"/>
                </a:cubicBezTo>
                <a:cubicBezTo>
                  <a:pt x="324" y="600"/>
                  <a:pt x="323" y="601"/>
                  <a:pt x="322" y="601"/>
                </a:cubicBezTo>
                <a:cubicBezTo>
                  <a:pt x="323" y="602"/>
                  <a:pt x="322" y="603"/>
                  <a:pt x="321" y="604"/>
                </a:cubicBezTo>
                <a:cubicBezTo>
                  <a:pt x="321" y="604"/>
                  <a:pt x="320" y="604"/>
                  <a:pt x="319" y="604"/>
                </a:cubicBezTo>
                <a:cubicBezTo>
                  <a:pt x="319" y="605"/>
                  <a:pt x="320" y="605"/>
                  <a:pt x="321" y="605"/>
                </a:cubicBezTo>
                <a:cubicBezTo>
                  <a:pt x="323" y="604"/>
                  <a:pt x="325" y="602"/>
                  <a:pt x="325" y="602"/>
                </a:cubicBezTo>
                <a:cubicBezTo>
                  <a:pt x="325" y="601"/>
                  <a:pt x="325" y="601"/>
                  <a:pt x="325" y="601"/>
                </a:cubicBezTo>
                <a:cubicBezTo>
                  <a:pt x="329" y="600"/>
                  <a:pt x="327" y="609"/>
                  <a:pt x="325" y="607"/>
                </a:cubicBezTo>
                <a:cubicBezTo>
                  <a:pt x="325" y="607"/>
                  <a:pt x="324" y="605"/>
                  <a:pt x="324" y="605"/>
                </a:cubicBezTo>
                <a:cubicBezTo>
                  <a:pt x="323" y="605"/>
                  <a:pt x="319" y="608"/>
                  <a:pt x="318" y="609"/>
                </a:cubicBezTo>
                <a:cubicBezTo>
                  <a:pt x="317" y="609"/>
                  <a:pt x="316" y="609"/>
                  <a:pt x="316" y="610"/>
                </a:cubicBezTo>
                <a:cubicBezTo>
                  <a:pt x="316" y="610"/>
                  <a:pt x="317" y="612"/>
                  <a:pt x="316" y="613"/>
                </a:cubicBezTo>
                <a:cubicBezTo>
                  <a:pt x="316" y="613"/>
                  <a:pt x="315" y="614"/>
                  <a:pt x="315" y="614"/>
                </a:cubicBezTo>
                <a:cubicBezTo>
                  <a:pt x="315" y="614"/>
                  <a:pt x="313" y="617"/>
                  <a:pt x="313" y="618"/>
                </a:cubicBezTo>
                <a:cubicBezTo>
                  <a:pt x="314" y="618"/>
                  <a:pt x="315" y="618"/>
                  <a:pt x="315" y="617"/>
                </a:cubicBezTo>
                <a:cubicBezTo>
                  <a:pt x="315" y="617"/>
                  <a:pt x="316" y="619"/>
                  <a:pt x="315" y="620"/>
                </a:cubicBezTo>
                <a:cubicBezTo>
                  <a:pt x="315" y="620"/>
                  <a:pt x="315" y="620"/>
                  <a:pt x="315" y="620"/>
                </a:cubicBezTo>
                <a:cubicBezTo>
                  <a:pt x="315" y="621"/>
                  <a:pt x="315" y="621"/>
                  <a:pt x="316" y="621"/>
                </a:cubicBezTo>
                <a:cubicBezTo>
                  <a:pt x="316" y="621"/>
                  <a:pt x="316" y="620"/>
                  <a:pt x="317" y="619"/>
                </a:cubicBezTo>
                <a:cubicBezTo>
                  <a:pt x="317" y="620"/>
                  <a:pt x="316" y="620"/>
                  <a:pt x="316" y="619"/>
                </a:cubicBezTo>
                <a:cubicBezTo>
                  <a:pt x="316" y="618"/>
                  <a:pt x="316" y="618"/>
                  <a:pt x="316" y="618"/>
                </a:cubicBezTo>
                <a:cubicBezTo>
                  <a:pt x="316" y="617"/>
                  <a:pt x="317" y="616"/>
                  <a:pt x="318" y="617"/>
                </a:cubicBezTo>
                <a:cubicBezTo>
                  <a:pt x="318" y="618"/>
                  <a:pt x="318" y="618"/>
                  <a:pt x="317" y="618"/>
                </a:cubicBezTo>
                <a:cubicBezTo>
                  <a:pt x="317" y="618"/>
                  <a:pt x="317" y="618"/>
                  <a:pt x="317" y="618"/>
                </a:cubicBezTo>
                <a:cubicBezTo>
                  <a:pt x="318" y="618"/>
                  <a:pt x="318" y="618"/>
                  <a:pt x="318" y="618"/>
                </a:cubicBezTo>
                <a:cubicBezTo>
                  <a:pt x="318" y="619"/>
                  <a:pt x="318" y="619"/>
                  <a:pt x="317" y="619"/>
                </a:cubicBezTo>
                <a:cubicBezTo>
                  <a:pt x="319" y="618"/>
                  <a:pt x="320" y="618"/>
                  <a:pt x="321" y="620"/>
                </a:cubicBezTo>
                <a:cubicBezTo>
                  <a:pt x="322" y="621"/>
                  <a:pt x="321" y="623"/>
                  <a:pt x="320" y="623"/>
                </a:cubicBezTo>
                <a:cubicBezTo>
                  <a:pt x="320" y="623"/>
                  <a:pt x="320" y="623"/>
                  <a:pt x="320" y="623"/>
                </a:cubicBezTo>
                <a:cubicBezTo>
                  <a:pt x="322" y="623"/>
                  <a:pt x="320" y="624"/>
                  <a:pt x="321" y="624"/>
                </a:cubicBezTo>
                <a:cubicBezTo>
                  <a:pt x="321" y="625"/>
                  <a:pt x="322" y="624"/>
                  <a:pt x="322" y="624"/>
                </a:cubicBezTo>
                <a:cubicBezTo>
                  <a:pt x="322" y="624"/>
                  <a:pt x="322" y="624"/>
                  <a:pt x="322" y="624"/>
                </a:cubicBezTo>
                <a:cubicBezTo>
                  <a:pt x="323" y="624"/>
                  <a:pt x="323" y="624"/>
                  <a:pt x="324" y="624"/>
                </a:cubicBezTo>
                <a:cubicBezTo>
                  <a:pt x="326" y="625"/>
                  <a:pt x="323" y="629"/>
                  <a:pt x="324" y="631"/>
                </a:cubicBezTo>
                <a:cubicBezTo>
                  <a:pt x="325" y="631"/>
                  <a:pt x="326" y="631"/>
                  <a:pt x="327" y="631"/>
                </a:cubicBezTo>
                <a:cubicBezTo>
                  <a:pt x="328" y="630"/>
                  <a:pt x="328" y="629"/>
                  <a:pt x="329" y="628"/>
                </a:cubicBezTo>
                <a:cubicBezTo>
                  <a:pt x="328" y="627"/>
                  <a:pt x="327" y="626"/>
                  <a:pt x="328" y="624"/>
                </a:cubicBezTo>
                <a:cubicBezTo>
                  <a:pt x="330" y="620"/>
                  <a:pt x="335" y="622"/>
                  <a:pt x="336" y="625"/>
                </a:cubicBezTo>
                <a:cubicBezTo>
                  <a:pt x="337" y="625"/>
                  <a:pt x="337" y="625"/>
                  <a:pt x="338" y="624"/>
                </a:cubicBezTo>
                <a:cubicBezTo>
                  <a:pt x="338" y="624"/>
                  <a:pt x="337" y="625"/>
                  <a:pt x="337" y="625"/>
                </a:cubicBezTo>
                <a:cubicBezTo>
                  <a:pt x="339" y="624"/>
                  <a:pt x="342" y="623"/>
                  <a:pt x="344" y="624"/>
                </a:cubicBezTo>
                <a:cubicBezTo>
                  <a:pt x="345" y="624"/>
                  <a:pt x="347" y="624"/>
                  <a:pt x="347" y="624"/>
                </a:cubicBezTo>
                <a:cubicBezTo>
                  <a:pt x="347" y="625"/>
                  <a:pt x="346" y="625"/>
                  <a:pt x="345" y="625"/>
                </a:cubicBezTo>
                <a:cubicBezTo>
                  <a:pt x="345" y="625"/>
                  <a:pt x="345" y="626"/>
                  <a:pt x="345" y="626"/>
                </a:cubicBezTo>
                <a:cubicBezTo>
                  <a:pt x="345" y="627"/>
                  <a:pt x="345" y="628"/>
                  <a:pt x="345" y="629"/>
                </a:cubicBezTo>
                <a:cubicBezTo>
                  <a:pt x="347" y="629"/>
                  <a:pt x="348" y="630"/>
                  <a:pt x="346" y="632"/>
                </a:cubicBezTo>
                <a:cubicBezTo>
                  <a:pt x="345" y="634"/>
                  <a:pt x="346" y="636"/>
                  <a:pt x="346" y="636"/>
                </a:cubicBezTo>
                <a:cubicBezTo>
                  <a:pt x="346" y="637"/>
                  <a:pt x="345" y="637"/>
                  <a:pt x="345" y="638"/>
                </a:cubicBezTo>
                <a:cubicBezTo>
                  <a:pt x="347" y="637"/>
                  <a:pt x="349" y="635"/>
                  <a:pt x="351" y="634"/>
                </a:cubicBezTo>
                <a:cubicBezTo>
                  <a:pt x="349" y="632"/>
                  <a:pt x="347" y="629"/>
                  <a:pt x="351" y="627"/>
                </a:cubicBezTo>
                <a:cubicBezTo>
                  <a:pt x="352" y="627"/>
                  <a:pt x="352" y="627"/>
                  <a:pt x="353" y="627"/>
                </a:cubicBezTo>
                <a:cubicBezTo>
                  <a:pt x="352" y="627"/>
                  <a:pt x="353" y="622"/>
                  <a:pt x="355" y="624"/>
                </a:cubicBezTo>
                <a:cubicBezTo>
                  <a:pt x="356" y="625"/>
                  <a:pt x="355" y="626"/>
                  <a:pt x="355" y="626"/>
                </a:cubicBezTo>
                <a:cubicBezTo>
                  <a:pt x="354" y="627"/>
                  <a:pt x="354" y="627"/>
                  <a:pt x="354" y="627"/>
                </a:cubicBezTo>
                <a:cubicBezTo>
                  <a:pt x="356" y="627"/>
                  <a:pt x="358" y="627"/>
                  <a:pt x="359" y="626"/>
                </a:cubicBezTo>
                <a:cubicBezTo>
                  <a:pt x="362" y="624"/>
                  <a:pt x="361" y="624"/>
                  <a:pt x="363" y="625"/>
                </a:cubicBezTo>
                <a:cubicBezTo>
                  <a:pt x="363" y="626"/>
                  <a:pt x="363" y="627"/>
                  <a:pt x="365" y="626"/>
                </a:cubicBezTo>
                <a:cubicBezTo>
                  <a:pt x="365" y="626"/>
                  <a:pt x="369" y="622"/>
                  <a:pt x="368" y="625"/>
                </a:cubicBezTo>
                <a:cubicBezTo>
                  <a:pt x="368" y="626"/>
                  <a:pt x="367" y="626"/>
                  <a:pt x="367" y="626"/>
                </a:cubicBezTo>
                <a:cubicBezTo>
                  <a:pt x="367" y="627"/>
                  <a:pt x="371" y="627"/>
                  <a:pt x="372" y="628"/>
                </a:cubicBezTo>
                <a:cubicBezTo>
                  <a:pt x="372" y="629"/>
                  <a:pt x="367" y="630"/>
                  <a:pt x="370" y="632"/>
                </a:cubicBezTo>
                <a:cubicBezTo>
                  <a:pt x="370" y="633"/>
                  <a:pt x="371" y="633"/>
                  <a:pt x="371" y="633"/>
                </a:cubicBezTo>
                <a:cubicBezTo>
                  <a:pt x="371" y="633"/>
                  <a:pt x="370" y="633"/>
                  <a:pt x="370" y="634"/>
                </a:cubicBezTo>
                <a:cubicBezTo>
                  <a:pt x="369" y="635"/>
                  <a:pt x="369" y="636"/>
                  <a:pt x="370" y="636"/>
                </a:cubicBezTo>
                <a:cubicBezTo>
                  <a:pt x="371" y="636"/>
                  <a:pt x="372" y="636"/>
                  <a:pt x="372" y="637"/>
                </a:cubicBezTo>
                <a:cubicBezTo>
                  <a:pt x="372" y="638"/>
                  <a:pt x="372" y="638"/>
                  <a:pt x="371" y="638"/>
                </a:cubicBezTo>
                <a:cubicBezTo>
                  <a:pt x="371" y="639"/>
                  <a:pt x="370" y="639"/>
                  <a:pt x="370" y="639"/>
                </a:cubicBezTo>
                <a:cubicBezTo>
                  <a:pt x="371" y="640"/>
                  <a:pt x="372" y="640"/>
                  <a:pt x="373" y="640"/>
                </a:cubicBezTo>
                <a:cubicBezTo>
                  <a:pt x="373" y="642"/>
                  <a:pt x="371" y="643"/>
                  <a:pt x="371" y="644"/>
                </a:cubicBezTo>
                <a:cubicBezTo>
                  <a:pt x="372" y="647"/>
                  <a:pt x="375" y="644"/>
                  <a:pt x="377" y="645"/>
                </a:cubicBezTo>
                <a:cubicBezTo>
                  <a:pt x="378" y="645"/>
                  <a:pt x="379" y="648"/>
                  <a:pt x="381" y="646"/>
                </a:cubicBezTo>
                <a:cubicBezTo>
                  <a:pt x="382" y="645"/>
                  <a:pt x="381" y="642"/>
                  <a:pt x="385" y="641"/>
                </a:cubicBezTo>
                <a:cubicBezTo>
                  <a:pt x="386" y="641"/>
                  <a:pt x="391" y="640"/>
                  <a:pt x="392" y="642"/>
                </a:cubicBezTo>
                <a:cubicBezTo>
                  <a:pt x="392" y="643"/>
                  <a:pt x="390" y="642"/>
                  <a:pt x="389" y="643"/>
                </a:cubicBezTo>
                <a:cubicBezTo>
                  <a:pt x="388" y="644"/>
                  <a:pt x="390" y="646"/>
                  <a:pt x="390" y="646"/>
                </a:cubicBezTo>
                <a:cubicBezTo>
                  <a:pt x="389" y="648"/>
                  <a:pt x="387" y="647"/>
                  <a:pt x="386" y="648"/>
                </a:cubicBezTo>
                <a:cubicBezTo>
                  <a:pt x="386" y="648"/>
                  <a:pt x="387" y="648"/>
                  <a:pt x="387" y="649"/>
                </a:cubicBezTo>
                <a:cubicBezTo>
                  <a:pt x="387" y="649"/>
                  <a:pt x="386" y="649"/>
                  <a:pt x="386" y="649"/>
                </a:cubicBezTo>
                <a:cubicBezTo>
                  <a:pt x="386" y="651"/>
                  <a:pt x="387" y="652"/>
                  <a:pt x="385" y="653"/>
                </a:cubicBezTo>
                <a:cubicBezTo>
                  <a:pt x="385" y="653"/>
                  <a:pt x="385" y="653"/>
                  <a:pt x="385" y="653"/>
                </a:cubicBezTo>
                <a:cubicBezTo>
                  <a:pt x="385" y="653"/>
                  <a:pt x="385" y="654"/>
                  <a:pt x="385" y="654"/>
                </a:cubicBezTo>
                <a:cubicBezTo>
                  <a:pt x="385" y="654"/>
                  <a:pt x="386" y="655"/>
                  <a:pt x="384" y="656"/>
                </a:cubicBezTo>
                <a:cubicBezTo>
                  <a:pt x="383" y="656"/>
                  <a:pt x="383" y="656"/>
                  <a:pt x="383" y="656"/>
                </a:cubicBezTo>
                <a:cubicBezTo>
                  <a:pt x="383" y="656"/>
                  <a:pt x="384" y="657"/>
                  <a:pt x="384" y="657"/>
                </a:cubicBezTo>
                <a:cubicBezTo>
                  <a:pt x="385" y="657"/>
                  <a:pt x="386" y="657"/>
                  <a:pt x="386" y="657"/>
                </a:cubicBezTo>
                <a:cubicBezTo>
                  <a:pt x="387" y="657"/>
                  <a:pt x="387" y="658"/>
                  <a:pt x="387" y="658"/>
                </a:cubicBezTo>
                <a:cubicBezTo>
                  <a:pt x="387" y="658"/>
                  <a:pt x="387" y="659"/>
                  <a:pt x="386" y="659"/>
                </a:cubicBezTo>
                <a:cubicBezTo>
                  <a:pt x="386" y="660"/>
                  <a:pt x="386" y="661"/>
                  <a:pt x="386" y="661"/>
                </a:cubicBezTo>
                <a:cubicBezTo>
                  <a:pt x="385" y="662"/>
                  <a:pt x="382" y="661"/>
                  <a:pt x="380" y="662"/>
                </a:cubicBezTo>
                <a:cubicBezTo>
                  <a:pt x="381" y="660"/>
                  <a:pt x="381" y="659"/>
                  <a:pt x="379" y="660"/>
                </a:cubicBezTo>
                <a:cubicBezTo>
                  <a:pt x="377" y="661"/>
                  <a:pt x="379" y="661"/>
                  <a:pt x="379" y="662"/>
                </a:cubicBezTo>
                <a:cubicBezTo>
                  <a:pt x="379" y="662"/>
                  <a:pt x="377" y="662"/>
                  <a:pt x="378" y="663"/>
                </a:cubicBezTo>
                <a:cubicBezTo>
                  <a:pt x="378" y="663"/>
                  <a:pt x="378" y="663"/>
                  <a:pt x="378" y="663"/>
                </a:cubicBezTo>
                <a:cubicBezTo>
                  <a:pt x="380" y="663"/>
                  <a:pt x="383" y="663"/>
                  <a:pt x="384" y="663"/>
                </a:cubicBezTo>
                <a:cubicBezTo>
                  <a:pt x="384" y="663"/>
                  <a:pt x="384" y="663"/>
                  <a:pt x="384" y="663"/>
                </a:cubicBezTo>
                <a:cubicBezTo>
                  <a:pt x="384" y="663"/>
                  <a:pt x="384" y="663"/>
                  <a:pt x="384" y="663"/>
                </a:cubicBezTo>
                <a:cubicBezTo>
                  <a:pt x="385" y="662"/>
                  <a:pt x="385" y="663"/>
                  <a:pt x="384" y="664"/>
                </a:cubicBezTo>
                <a:cubicBezTo>
                  <a:pt x="385" y="664"/>
                  <a:pt x="385" y="665"/>
                  <a:pt x="385" y="666"/>
                </a:cubicBezTo>
                <a:cubicBezTo>
                  <a:pt x="385" y="668"/>
                  <a:pt x="382" y="668"/>
                  <a:pt x="379" y="668"/>
                </a:cubicBezTo>
                <a:cubicBezTo>
                  <a:pt x="379" y="669"/>
                  <a:pt x="380" y="670"/>
                  <a:pt x="379" y="671"/>
                </a:cubicBezTo>
                <a:cubicBezTo>
                  <a:pt x="378" y="673"/>
                  <a:pt x="375" y="673"/>
                  <a:pt x="376" y="674"/>
                </a:cubicBezTo>
                <a:cubicBezTo>
                  <a:pt x="374" y="673"/>
                  <a:pt x="372" y="674"/>
                  <a:pt x="371" y="673"/>
                </a:cubicBezTo>
                <a:cubicBezTo>
                  <a:pt x="368" y="671"/>
                  <a:pt x="369" y="671"/>
                  <a:pt x="365" y="671"/>
                </a:cubicBezTo>
                <a:cubicBezTo>
                  <a:pt x="365" y="671"/>
                  <a:pt x="364" y="671"/>
                  <a:pt x="363" y="671"/>
                </a:cubicBezTo>
                <a:cubicBezTo>
                  <a:pt x="360" y="671"/>
                  <a:pt x="361" y="672"/>
                  <a:pt x="362" y="674"/>
                </a:cubicBezTo>
                <a:cubicBezTo>
                  <a:pt x="359" y="672"/>
                  <a:pt x="360" y="674"/>
                  <a:pt x="362" y="675"/>
                </a:cubicBezTo>
                <a:cubicBezTo>
                  <a:pt x="362" y="675"/>
                  <a:pt x="362" y="675"/>
                  <a:pt x="362" y="675"/>
                </a:cubicBezTo>
                <a:cubicBezTo>
                  <a:pt x="362" y="675"/>
                  <a:pt x="362" y="675"/>
                  <a:pt x="362" y="676"/>
                </a:cubicBezTo>
                <a:cubicBezTo>
                  <a:pt x="362" y="676"/>
                  <a:pt x="363" y="676"/>
                  <a:pt x="363" y="676"/>
                </a:cubicBezTo>
                <a:cubicBezTo>
                  <a:pt x="363" y="676"/>
                  <a:pt x="365" y="674"/>
                  <a:pt x="365" y="675"/>
                </a:cubicBezTo>
                <a:cubicBezTo>
                  <a:pt x="366" y="676"/>
                  <a:pt x="361" y="679"/>
                  <a:pt x="365" y="680"/>
                </a:cubicBezTo>
                <a:cubicBezTo>
                  <a:pt x="359" y="680"/>
                  <a:pt x="366" y="684"/>
                  <a:pt x="368" y="686"/>
                </a:cubicBezTo>
                <a:cubicBezTo>
                  <a:pt x="369" y="687"/>
                  <a:pt x="369" y="689"/>
                  <a:pt x="370" y="690"/>
                </a:cubicBezTo>
                <a:cubicBezTo>
                  <a:pt x="370" y="691"/>
                  <a:pt x="371" y="692"/>
                  <a:pt x="370" y="692"/>
                </a:cubicBezTo>
                <a:cubicBezTo>
                  <a:pt x="370" y="692"/>
                  <a:pt x="370" y="692"/>
                  <a:pt x="370" y="692"/>
                </a:cubicBezTo>
                <a:cubicBezTo>
                  <a:pt x="371" y="693"/>
                  <a:pt x="371" y="694"/>
                  <a:pt x="372" y="694"/>
                </a:cubicBezTo>
                <a:cubicBezTo>
                  <a:pt x="372" y="694"/>
                  <a:pt x="372" y="694"/>
                  <a:pt x="372" y="694"/>
                </a:cubicBezTo>
                <a:cubicBezTo>
                  <a:pt x="373" y="694"/>
                  <a:pt x="373" y="694"/>
                  <a:pt x="373" y="694"/>
                </a:cubicBezTo>
                <a:cubicBezTo>
                  <a:pt x="374" y="693"/>
                  <a:pt x="376" y="692"/>
                  <a:pt x="377" y="693"/>
                </a:cubicBezTo>
                <a:cubicBezTo>
                  <a:pt x="378" y="692"/>
                  <a:pt x="379" y="694"/>
                  <a:pt x="379" y="695"/>
                </a:cubicBezTo>
                <a:cubicBezTo>
                  <a:pt x="380" y="695"/>
                  <a:pt x="381" y="694"/>
                  <a:pt x="382" y="695"/>
                </a:cubicBezTo>
                <a:cubicBezTo>
                  <a:pt x="383" y="695"/>
                  <a:pt x="381" y="695"/>
                  <a:pt x="379" y="695"/>
                </a:cubicBezTo>
                <a:cubicBezTo>
                  <a:pt x="379" y="696"/>
                  <a:pt x="379" y="697"/>
                  <a:pt x="378" y="697"/>
                </a:cubicBezTo>
                <a:cubicBezTo>
                  <a:pt x="380" y="698"/>
                  <a:pt x="382" y="698"/>
                  <a:pt x="382" y="698"/>
                </a:cubicBezTo>
                <a:cubicBezTo>
                  <a:pt x="382" y="698"/>
                  <a:pt x="382" y="698"/>
                  <a:pt x="383" y="698"/>
                </a:cubicBezTo>
                <a:cubicBezTo>
                  <a:pt x="382" y="698"/>
                  <a:pt x="381" y="697"/>
                  <a:pt x="380" y="697"/>
                </a:cubicBezTo>
                <a:cubicBezTo>
                  <a:pt x="381" y="697"/>
                  <a:pt x="383" y="697"/>
                  <a:pt x="384" y="697"/>
                </a:cubicBezTo>
                <a:cubicBezTo>
                  <a:pt x="384" y="697"/>
                  <a:pt x="384" y="697"/>
                  <a:pt x="385" y="697"/>
                </a:cubicBezTo>
                <a:cubicBezTo>
                  <a:pt x="384" y="696"/>
                  <a:pt x="385" y="695"/>
                  <a:pt x="386" y="696"/>
                </a:cubicBezTo>
                <a:cubicBezTo>
                  <a:pt x="387" y="695"/>
                  <a:pt x="388" y="695"/>
                  <a:pt x="389" y="696"/>
                </a:cubicBezTo>
                <a:cubicBezTo>
                  <a:pt x="389" y="696"/>
                  <a:pt x="388" y="696"/>
                  <a:pt x="387" y="697"/>
                </a:cubicBezTo>
                <a:cubicBezTo>
                  <a:pt x="387" y="697"/>
                  <a:pt x="388" y="699"/>
                  <a:pt x="387" y="698"/>
                </a:cubicBezTo>
                <a:cubicBezTo>
                  <a:pt x="387" y="698"/>
                  <a:pt x="387" y="698"/>
                  <a:pt x="387" y="698"/>
                </a:cubicBezTo>
                <a:cubicBezTo>
                  <a:pt x="387" y="697"/>
                  <a:pt x="387" y="697"/>
                  <a:pt x="387" y="697"/>
                </a:cubicBezTo>
                <a:cubicBezTo>
                  <a:pt x="386" y="697"/>
                  <a:pt x="386" y="698"/>
                  <a:pt x="385" y="698"/>
                </a:cubicBezTo>
                <a:cubicBezTo>
                  <a:pt x="386" y="698"/>
                  <a:pt x="387" y="699"/>
                  <a:pt x="387" y="699"/>
                </a:cubicBezTo>
                <a:cubicBezTo>
                  <a:pt x="387" y="700"/>
                  <a:pt x="386" y="699"/>
                  <a:pt x="385" y="699"/>
                </a:cubicBezTo>
                <a:cubicBezTo>
                  <a:pt x="385" y="699"/>
                  <a:pt x="385" y="700"/>
                  <a:pt x="385" y="700"/>
                </a:cubicBezTo>
                <a:cubicBezTo>
                  <a:pt x="386" y="700"/>
                  <a:pt x="387" y="699"/>
                  <a:pt x="388" y="700"/>
                </a:cubicBezTo>
                <a:cubicBezTo>
                  <a:pt x="389" y="700"/>
                  <a:pt x="388" y="704"/>
                  <a:pt x="391" y="702"/>
                </a:cubicBezTo>
                <a:cubicBezTo>
                  <a:pt x="392" y="702"/>
                  <a:pt x="391" y="701"/>
                  <a:pt x="391" y="701"/>
                </a:cubicBezTo>
                <a:cubicBezTo>
                  <a:pt x="391" y="701"/>
                  <a:pt x="391" y="700"/>
                  <a:pt x="391" y="700"/>
                </a:cubicBezTo>
                <a:cubicBezTo>
                  <a:pt x="390" y="700"/>
                  <a:pt x="390" y="700"/>
                  <a:pt x="390" y="700"/>
                </a:cubicBezTo>
                <a:cubicBezTo>
                  <a:pt x="389" y="699"/>
                  <a:pt x="391" y="698"/>
                  <a:pt x="391" y="699"/>
                </a:cubicBezTo>
                <a:cubicBezTo>
                  <a:pt x="391" y="699"/>
                  <a:pt x="391" y="699"/>
                  <a:pt x="391" y="699"/>
                </a:cubicBezTo>
                <a:cubicBezTo>
                  <a:pt x="392" y="699"/>
                  <a:pt x="395" y="701"/>
                  <a:pt x="397" y="701"/>
                </a:cubicBezTo>
                <a:cubicBezTo>
                  <a:pt x="395" y="702"/>
                  <a:pt x="396" y="703"/>
                  <a:pt x="397" y="704"/>
                </a:cubicBezTo>
                <a:cubicBezTo>
                  <a:pt x="399" y="704"/>
                  <a:pt x="401" y="703"/>
                  <a:pt x="403" y="702"/>
                </a:cubicBezTo>
                <a:cubicBezTo>
                  <a:pt x="402" y="704"/>
                  <a:pt x="399" y="704"/>
                  <a:pt x="397" y="704"/>
                </a:cubicBezTo>
                <a:cubicBezTo>
                  <a:pt x="398" y="705"/>
                  <a:pt x="398" y="706"/>
                  <a:pt x="397" y="707"/>
                </a:cubicBezTo>
                <a:cubicBezTo>
                  <a:pt x="396" y="708"/>
                  <a:pt x="392" y="706"/>
                  <a:pt x="391" y="708"/>
                </a:cubicBezTo>
                <a:cubicBezTo>
                  <a:pt x="391" y="708"/>
                  <a:pt x="392" y="708"/>
                  <a:pt x="392" y="709"/>
                </a:cubicBezTo>
                <a:cubicBezTo>
                  <a:pt x="392" y="710"/>
                  <a:pt x="389" y="711"/>
                  <a:pt x="392" y="712"/>
                </a:cubicBezTo>
                <a:cubicBezTo>
                  <a:pt x="392" y="712"/>
                  <a:pt x="397" y="714"/>
                  <a:pt x="398" y="714"/>
                </a:cubicBezTo>
                <a:cubicBezTo>
                  <a:pt x="401" y="715"/>
                  <a:pt x="403" y="715"/>
                  <a:pt x="406" y="717"/>
                </a:cubicBezTo>
                <a:cubicBezTo>
                  <a:pt x="402" y="716"/>
                  <a:pt x="401" y="718"/>
                  <a:pt x="397" y="718"/>
                </a:cubicBezTo>
                <a:cubicBezTo>
                  <a:pt x="394" y="718"/>
                  <a:pt x="391" y="714"/>
                  <a:pt x="388" y="714"/>
                </a:cubicBezTo>
                <a:cubicBezTo>
                  <a:pt x="388" y="714"/>
                  <a:pt x="384" y="717"/>
                  <a:pt x="383" y="717"/>
                </a:cubicBezTo>
                <a:cubicBezTo>
                  <a:pt x="382" y="717"/>
                  <a:pt x="381" y="715"/>
                  <a:pt x="381" y="716"/>
                </a:cubicBezTo>
                <a:cubicBezTo>
                  <a:pt x="381" y="717"/>
                  <a:pt x="382" y="717"/>
                  <a:pt x="382" y="717"/>
                </a:cubicBezTo>
                <a:cubicBezTo>
                  <a:pt x="382" y="717"/>
                  <a:pt x="382" y="717"/>
                  <a:pt x="383" y="717"/>
                </a:cubicBezTo>
                <a:cubicBezTo>
                  <a:pt x="383" y="717"/>
                  <a:pt x="384" y="717"/>
                  <a:pt x="386" y="717"/>
                </a:cubicBezTo>
                <a:cubicBezTo>
                  <a:pt x="386" y="717"/>
                  <a:pt x="386" y="717"/>
                  <a:pt x="386" y="717"/>
                </a:cubicBezTo>
                <a:cubicBezTo>
                  <a:pt x="386" y="717"/>
                  <a:pt x="386" y="717"/>
                  <a:pt x="386" y="717"/>
                </a:cubicBezTo>
                <a:cubicBezTo>
                  <a:pt x="387" y="717"/>
                  <a:pt x="388" y="718"/>
                  <a:pt x="388" y="718"/>
                </a:cubicBezTo>
                <a:cubicBezTo>
                  <a:pt x="388" y="718"/>
                  <a:pt x="388" y="719"/>
                  <a:pt x="388" y="719"/>
                </a:cubicBezTo>
                <a:cubicBezTo>
                  <a:pt x="387" y="720"/>
                  <a:pt x="386" y="721"/>
                  <a:pt x="385" y="721"/>
                </a:cubicBezTo>
                <a:cubicBezTo>
                  <a:pt x="384" y="721"/>
                  <a:pt x="382" y="720"/>
                  <a:pt x="382" y="718"/>
                </a:cubicBezTo>
                <a:cubicBezTo>
                  <a:pt x="382" y="719"/>
                  <a:pt x="382" y="718"/>
                  <a:pt x="382" y="719"/>
                </a:cubicBezTo>
                <a:cubicBezTo>
                  <a:pt x="382" y="719"/>
                  <a:pt x="380" y="720"/>
                  <a:pt x="379" y="719"/>
                </a:cubicBezTo>
                <a:cubicBezTo>
                  <a:pt x="379" y="720"/>
                  <a:pt x="379" y="720"/>
                  <a:pt x="379" y="721"/>
                </a:cubicBezTo>
                <a:cubicBezTo>
                  <a:pt x="379" y="721"/>
                  <a:pt x="380" y="720"/>
                  <a:pt x="380" y="720"/>
                </a:cubicBezTo>
                <a:cubicBezTo>
                  <a:pt x="380" y="720"/>
                  <a:pt x="380" y="721"/>
                  <a:pt x="380" y="721"/>
                </a:cubicBezTo>
                <a:cubicBezTo>
                  <a:pt x="381" y="722"/>
                  <a:pt x="383" y="724"/>
                  <a:pt x="384" y="725"/>
                </a:cubicBezTo>
                <a:cubicBezTo>
                  <a:pt x="383" y="725"/>
                  <a:pt x="382" y="726"/>
                  <a:pt x="383" y="726"/>
                </a:cubicBezTo>
                <a:cubicBezTo>
                  <a:pt x="384" y="726"/>
                  <a:pt x="387" y="726"/>
                  <a:pt x="384" y="728"/>
                </a:cubicBezTo>
                <a:cubicBezTo>
                  <a:pt x="384" y="728"/>
                  <a:pt x="384" y="728"/>
                  <a:pt x="384" y="728"/>
                </a:cubicBezTo>
                <a:cubicBezTo>
                  <a:pt x="385" y="728"/>
                  <a:pt x="385" y="729"/>
                  <a:pt x="385" y="729"/>
                </a:cubicBezTo>
                <a:cubicBezTo>
                  <a:pt x="388" y="729"/>
                  <a:pt x="390" y="728"/>
                  <a:pt x="393" y="728"/>
                </a:cubicBezTo>
                <a:cubicBezTo>
                  <a:pt x="397" y="727"/>
                  <a:pt x="391" y="730"/>
                  <a:pt x="390" y="730"/>
                </a:cubicBezTo>
                <a:cubicBezTo>
                  <a:pt x="388" y="730"/>
                  <a:pt x="386" y="731"/>
                  <a:pt x="384" y="731"/>
                </a:cubicBezTo>
                <a:cubicBezTo>
                  <a:pt x="384" y="731"/>
                  <a:pt x="383" y="731"/>
                  <a:pt x="383" y="732"/>
                </a:cubicBezTo>
                <a:cubicBezTo>
                  <a:pt x="383" y="732"/>
                  <a:pt x="382" y="732"/>
                  <a:pt x="381" y="731"/>
                </a:cubicBezTo>
                <a:cubicBezTo>
                  <a:pt x="380" y="732"/>
                  <a:pt x="378" y="732"/>
                  <a:pt x="377" y="733"/>
                </a:cubicBezTo>
                <a:cubicBezTo>
                  <a:pt x="376" y="734"/>
                  <a:pt x="375" y="735"/>
                  <a:pt x="375" y="736"/>
                </a:cubicBezTo>
                <a:cubicBezTo>
                  <a:pt x="376" y="736"/>
                  <a:pt x="376" y="736"/>
                  <a:pt x="377" y="737"/>
                </a:cubicBezTo>
                <a:cubicBezTo>
                  <a:pt x="377" y="737"/>
                  <a:pt x="377" y="737"/>
                  <a:pt x="377" y="737"/>
                </a:cubicBezTo>
                <a:cubicBezTo>
                  <a:pt x="377" y="737"/>
                  <a:pt x="377" y="737"/>
                  <a:pt x="377" y="737"/>
                </a:cubicBezTo>
                <a:cubicBezTo>
                  <a:pt x="378" y="737"/>
                  <a:pt x="380" y="738"/>
                  <a:pt x="379" y="739"/>
                </a:cubicBezTo>
                <a:cubicBezTo>
                  <a:pt x="380" y="739"/>
                  <a:pt x="380" y="739"/>
                  <a:pt x="380" y="739"/>
                </a:cubicBezTo>
                <a:cubicBezTo>
                  <a:pt x="380" y="741"/>
                  <a:pt x="378" y="741"/>
                  <a:pt x="376" y="742"/>
                </a:cubicBezTo>
                <a:cubicBezTo>
                  <a:pt x="377" y="742"/>
                  <a:pt x="376" y="743"/>
                  <a:pt x="375" y="743"/>
                </a:cubicBezTo>
                <a:cubicBezTo>
                  <a:pt x="375" y="743"/>
                  <a:pt x="375" y="743"/>
                  <a:pt x="375" y="743"/>
                </a:cubicBezTo>
                <a:cubicBezTo>
                  <a:pt x="376" y="744"/>
                  <a:pt x="378" y="745"/>
                  <a:pt x="379" y="745"/>
                </a:cubicBezTo>
                <a:cubicBezTo>
                  <a:pt x="380" y="745"/>
                  <a:pt x="382" y="746"/>
                  <a:pt x="382" y="747"/>
                </a:cubicBezTo>
                <a:cubicBezTo>
                  <a:pt x="383" y="747"/>
                  <a:pt x="384" y="748"/>
                  <a:pt x="384" y="749"/>
                </a:cubicBezTo>
                <a:cubicBezTo>
                  <a:pt x="384" y="749"/>
                  <a:pt x="385" y="749"/>
                  <a:pt x="386" y="750"/>
                </a:cubicBezTo>
                <a:cubicBezTo>
                  <a:pt x="387" y="751"/>
                  <a:pt x="386" y="753"/>
                  <a:pt x="385" y="753"/>
                </a:cubicBezTo>
                <a:cubicBezTo>
                  <a:pt x="385" y="753"/>
                  <a:pt x="385" y="753"/>
                  <a:pt x="385" y="753"/>
                </a:cubicBezTo>
                <a:cubicBezTo>
                  <a:pt x="385" y="754"/>
                  <a:pt x="385" y="754"/>
                  <a:pt x="384" y="755"/>
                </a:cubicBezTo>
                <a:cubicBezTo>
                  <a:pt x="385" y="755"/>
                  <a:pt x="386" y="754"/>
                  <a:pt x="387" y="755"/>
                </a:cubicBezTo>
                <a:cubicBezTo>
                  <a:pt x="388" y="754"/>
                  <a:pt x="388" y="753"/>
                  <a:pt x="388" y="753"/>
                </a:cubicBezTo>
                <a:cubicBezTo>
                  <a:pt x="389" y="753"/>
                  <a:pt x="391" y="753"/>
                  <a:pt x="392" y="752"/>
                </a:cubicBezTo>
                <a:cubicBezTo>
                  <a:pt x="393" y="751"/>
                  <a:pt x="394" y="751"/>
                  <a:pt x="396" y="751"/>
                </a:cubicBezTo>
                <a:cubicBezTo>
                  <a:pt x="396" y="750"/>
                  <a:pt x="396" y="750"/>
                  <a:pt x="396" y="749"/>
                </a:cubicBezTo>
                <a:cubicBezTo>
                  <a:pt x="397" y="749"/>
                  <a:pt x="398" y="751"/>
                  <a:pt x="399" y="751"/>
                </a:cubicBezTo>
                <a:cubicBezTo>
                  <a:pt x="399" y="750"/>
                  <a:pt x="399" y="750"/>
                  <a:pt x="399" y="750"/>
                </a:cubicBezTo>
                <a:cubicBezTo>
                  <a:pt x="399" y="750"/>
                  <a:pt x="400" y="750"/>
                  <a:pt x="399" y="750"/>
                </a:cubicBezTo>
                <a:cubicBezTo>
                  <a:pt x="399" y="750"/>
                  <a:pt x="400" y="751"/>
                  <a:pt x="400" y="751"/>
                </a:cubicBezTo>
                <a:cubicBezTo>
                  <a:pt x="401" y="751"/>
                  <a:pt x="402" y="750"/>
                  <a:pt x="403" y="750"/>
                </a:cubicBezTo>
                <a:cubicBezTo>
                  <a:pt x="403" y="750"/>
                  <a:pt x="402" y="751"/>
                  <a:pt x="402" y="751"/>
                </a:cubicBezTo>
                <a:cubicBezTo>
                  <a:pt x="403" y="753"/>
                  <a:pt x="407" y="757"/>
                  <a:pt x="407" y="758"/>
                </a:cubicBezTo>
                <a:cubicBezTo>
                  <a:pt x="407" y="760"/>
                  <a:pt x="402" y="760"/>
                  <a:pt x="400" y="762"/>
                </a:cubicBezTo>
                <a:cubicBezTo>
                  <a:pt x="400" y="763"/>
                  <a:pt x="401" y="764"/>
                  <a:pt x="400" y="765"/>
                </a:cubicBezTo>
                <a:cubicBezTo>
                  <a:pt x="398" y="765"/>
                  <a:pt x="399" y="763"/>
                  <a:pt x="398" y="763"/>
                </a:cubicBezTo>
                <a:cubicBezTo>
                  <a:pt x="397" y="762"/>
                  <a:pt x="393" y="761"/>
                  <a:pt x="391" y="760"/>
                </a:cubicBezTo>
                <a:cubicBezTo>
                  <a:pt x="390" y="760"/>
                  <a:pt x="389" y="759"/>
                  <a:pt x="388" y="758"/>
                </a:cubicBezTo>
                <a:cubicBezTo>
                  <a:pt x="387" y="759"/>
                  <a:pt x="384" y="759"/>
                  <a:pt x="382" y="759"/>
                </a:cubicBezTo>
                <a:cubicBezTo>
                  <a:pt x="385" y="762"/>
                  <a:pt x="385" y="762"/>
                  <a:pt x="385" y="762"/>
                </a:cubicBezTo>
                <a:cubicBezTo>
                  <a:pt x="386" y="762"/>
                  <a:pt x="387" y="763"/>
                  <a:pt x="387" y="763"/>
                </a:cubicBezTo>
                <a:cubicBezTo>
                  <a:pt x="387" y="763"/>
                  <a:pt x="386" y="763"/>
                  <a:pt x="386" y="763"/>
                </a:cubicBezTo>
                <a:cubicBezTo>
                  <a:pt x="393" y="769"/>
                  <a:pt x="393" y="769"/>
                  <a:pt x="393" y="769"/>
                </a:cubicBezTo>
                <a:cubicBezTo>
                  <a:pt x="394" y="769"/>
                  <a:pt x="395" y="769"/>
                  <a:pt x="396" y="770"/>
                </a:cubicBezTo>
                <a:cubicBezTo>
                  <a:pt x="396" y="771"/>
                  <a:pt x="396" y="772"/>
                  <a:pt x="395" y="772"/>
                </a:cubicBezTo>
                <a:cubicBezTo>
                  <a:pt x="397" y="774"/>
                  <a:pt x="397" y="774"/>
                  <a:pt x="397" y="774"/>
                </a:cubicBezTo>
                <a:cubicBezTo>
                  <a:pt x="398" y="773"/>
                  <a:pt x="401" y="773"/>
                  <a:pt x="404" y="772"/>
                </a:cubicBezTo>
                <a:cubicBezTo>
                  <a:pt x="405" y="771"/>
                  <a:pt x="408" y="769"/>
                  <a:pt x="410" y="769"/>
                </a:cubicBezTo>
                <a:cubicBezTo>
                  <a:pt x="411" y="770"/>
                  <a:pt x="411" y="772"/>
                  <a:pt x="411" y="772"/>
                </a:cubicBezTo>
                <a:cubicBezTo>
                  <a:pt x="412" y="772"/>
                  <a:pt x="412" y="771"/>
                  <a:pt x="412" y="771"/>
                </a:cubicBezTo>
                <a:cubicBezTo>
                  <a:pt x="413" y="772"/>
                  <a:pt x="414" y="773"/>
                  <a:pt x="414" y="774"/>
                </a:cubicBezTo>
                <a:cubicBezTo>
                  <a:pt x="415" y="774"/>
                  <a:pt x="416" y="774"/>
                  <a:pt x="416" y="775"/>
                </a:cubicBezTo>
                <a:cubicBezTo>
                  <a:pt x="416" y="775"/>
                  <a:pt x="415" y="776"/>
                  <a:pt x="414" y="776"/>
                </a:cubicBezTo>
                <a:cubicBezTo>
                  <a:pt x="413" y="777"/>
                  <a:pt x="412" y="778"/>
                  <a:pt x="411" y="776"/>
                </a:cubicBezTo>
                <a:cubicBezTo>
                  <a:pt x="411" y="775"/>
                  <a:pt x="410" y="776"/>
                  <a:pt x="410" y="777"/>
                </a:cubicBezTo>
                <a:cubicBezTo>
                  <a:pt x="411" y="778"/>
                  <a:pt x="412" y="778"/>
                  <a:pt x="412" y="779"/>
                </a:cubicBezTo>
                <a:cubicBezTo>
                  <a:pt x="412" y="780"/>
                  <a:pt x="411" y="780"/>
                  <a:pt x="409" y="781"/>
                </a:cubicBezTo>
                <a:cubicBezTo>
                  <a:pt x="411" y="782"/>
                  <a:pt x="412" y="783"/>
                  <a:pt x="412" y="784"/>
                </a:cubicBezTo>
                <a:cubicBezTo>
                  <a:pt x="412" y="784"/>
                  <a:pt x="411" y="786"/>
                  <a:pt x="410" y="787"/>
                </a:cubicBezTo>
                <a:cubicBezTo>
                  <a:pt x="416" y="793"/>
                  <a:pt x="416" y="793"/>
                  <a:pt x="416" y="793"/>
                </a:cubicBezTo>
                <a:cubicBezTo>
                  <a:pt x="435" y="774"/>
                  <a:pt x="435" y="774"/>
                  <a:pt x="435" y="774"/>
                </a:cubicBezTo>
                <a:cubicBezTo>
                  <a:pt x="435" y="773"/>
                  <a:pt x="435" y="773"/>
                  <a:pt x="436" y="773"/>
                </a:cubicBezTo>
                <a:cubicBezTo>
                  <a:pt x="454" y="755"/>
                  <a:pt x="454" y="755"/>
                  <a:pt x="454" y="755"/>
                </a:cubicBezTo>
                <a:cubicBezTo>
                  <a:pt x="454" y="755"/>
                  <a:pt x="454" y="755"/>
                  <a:pt x="454" y="754"/>
                </a:cubicBezTo>
                <a:cubicBezTo>
                  <a:pt x="453" y="754"/>
                  <a:pt x="454" y="754"/>
                  <a:pt x="455" y="754"/>
                </a:cubicBezTo>
                <a:cubicBezTo>
                  <a:pt x="494" y="715"/>
                  <a:pt x="494" y="715"/>
                  <a:pt x="494" y="715"/>
                </a:cubicBezTo>
                <a:cubicBezTo>
                  <a:pt x="494" y="715"/>
                  <a:pt x="493" y="715"/>
                  <a:pt x="493" y="715"/>
                </a:cubicBezTo>
                <a:cubicBezTo>
                  <a:pt x="493" y="715"/>
                  <a:pt x="494" y="715"/>
                  <a:pt x="494" y="715"/>
                </a:cubicBezTo>
                <a:cubicBezTo>
                  <a:pt x="805" y="403"/>
                  <a:pt x="805" y="403"/>
                  <a:pt x="805" y="403"/>
                </a:cubicBezTo>
                <a:cubicBezTo>
                  <a:pt x="804" y="403"/>
                  <a:pt x="806" y="402"/>
                  <a:pt x="806" y="403"/>
                </a:cubicBezTo>
                <a:cubicBezTo>
                  <a:pt x="809" y="400"/>
                  <a:pt x="809" y="400"/>
                  <a:pt x="809" y="400"/>
                </a:cubicBezTo>
                <a:cubicBezTo>
                  <a:pt x="808" y="398"/>
                  <a:pt x="807" y="397"/>
                  <a:pt x="806" y="396"/>
                </a:cubicBezTo>
                <a:cubicBezTo>
                  <a:pt x="806" y="394"/>
                  <a:pt x="806" y="392"/>
                  <a:pt x="808" y="391"/>
                </a:cubicBezTo>
                <a:cubicBezTo>
                  <a:pt x="810" y="389"/>
                  <a:pt x="812" y="393"/>
                  <a:pt x="813" y="396"/>
                </a:cubicBezTo>
                <a:cubicBezTo>
                  <a:pt x="824" y="384"/>
                  <a:pt x="824" y="384"/>
                  <a:pt x="824" y="384"/>
                </a:cubicBezTo>
                <a:cubicBezTo>
                  <a:pt x="824" y="380"/>
                  <a:pt x="819" y="373"/>
                  <a:pt x="822" y="371"/>
                </a:cubicBezTo>
                <a:cubicBezTo>
                  <a:pt x="823" y="370"/>
                  <a:pt x="825" y="379"/>
                  <a:pt x="825" y="383"/>
                </a:cubicBezTo>
                <a:cubicBezTo>
                  <a:pt x="832" y="377"/>
                  <a:pt x="832" y="377"/>
                  <a:pt x="832" y="377"/>
                </a:cubicBezTo>
                <a:cubicBezTo>
                  <a:pt x="801" y="346"/>
                  <a:pt x="801" y="346"/>
                  <a:pt x="801" y="346"/>
                </a:cubicBezTo>
                <a:cubicBezTo>
                  <a:pt x="801" y="347"/>
                  <a:pt x="801" y="348"/>
                  <a:pt x="800" y="348"/>
                </a:cubicBezTo>
                <a:cubicBezTo>
                  <a:pt x="799" y="349"/>
                  <a:pt x="799" y="346"/>
                  <a:pt x="800" y="345"/>
                </a:cubicBezTo>
                <a:cubicBezTo>
                  <a:pt x="787" y="332"/>
                  <a:pt x="787" y="332"/>
                  <a:pt x="787" y="332"/>
                </a:cubicBezTo>
                <a:cubicBezTo>
                  <a:pt x="787" y="334"/>
                  <a:pt x="785" y="338"/>
                  <a:pt x="787" y="340"/>
                </a:cubicBezTo>
                <a:cubicBezTo>
                  <a:pt x="788" y="341"/>
                  <a:pt x="789" y="341"/>
                  <a:pt x="788" y="342"/>
                </a:cubicBezTo>
                <a:cubicBezTo>
                  <a:pt x="786" y="339"/>
                  <a:pt x="785" y="349"/>
                  <a:pt x="783" y="344"/>
                </a:cubicBezTo>
                <a:cubicBezTo>
                  <a:pt x="781" y="343"/>
                  <a:pt x="779" y="341"/>
                  <a:pt x="780" y="338"/>
                </a:cubicBezTo>
                <a:cubicBezTo>
                  <a:pt x="780" y="337"/>
                  <a:pt x="782" y="336"/>
                  <a:pt x="783" y="335"/>
                </a:cubicBezTo>
                <a:cubicBezTo>
                  <a:pt x="783" y="334"/>
                  <a:pt x="780" y="332"/>
                  <a:pt x="782" y="330"/>
                </a:cubicBezTo>
                <a:cubicBezTo>
                  <a:pt x="783" y="329"/>
                  <a:pt x="783" y="329"/>
                  <a:pt x="784" y="329"/>
                </a:cubicBezTo>
                <a:cubicBezTo>
                  <a:pt x="751" y="296"/>
                  <a:pt x="751" y="296"/>
                  <a:pt x="751" y="296"/>
                </a:cubicBezTo>
                <a:cubicBezTo>
                  <a:pt x="751" y="297"/>
                  <a:pt x="751" y="297"/>
                  <a:pt x="751" y="298"/>
                </a:cubicBezTo>
                <a:cubicBezTo>
                  <a:pt x="750" y="297"/>
                  <a:pt x="750" y="296"/>
                  <a:pt x="751" y="296"/>
                </a:cubicBezTo>
                <a:cubicBezTo>
                  <a:pt x="746" y="291"/>
                  <a:pt x="746" y="291"/>
                  <a:pt x="746" y="291"/>
                </a:cubicBezTo>
                <a:cubicBezTo>
                  <a:pt x="746" y="292"/>
                  <a:pt x="746" y="293"/>
                  <a:pt x="746" y="293"/>
                </a:cubicBezTo>
                <a:cubicBezTo>
                  <a:pt x="745" y="292"/>
                  <a:pt x="746" y="292"/>
                  <a:pt x="746" y="291"/>
                </a:cubicBezTo>
                <a:cubicBezTo>
                  <a:pt x="746" y="291"/>
                  <a:pt x="746" y="291"/>
                  <a:pt x="746" y="291"/>
                </a:cubicBezTo>
                <a:cubicBezTo>
                  <a:pt x="733" y="278"/>
                  <a:pt x="733" y="278"/>
                  <a:pt x="733" y="278"/>
                </a:cubicBezTo>
                <a:cubicBezTo>
                  <a:pt x="732" y="278"/>
                  <a:pt x="731" y="278"/>
                  <a:pt x="730" y="276"/>
                </a:cubicBezTo>
                <a:cubicBezTo>
                  <a:pt x="728" y="274"/>
                  <a:pt x="730" y="279"/>
                  <a:pt x="730" y="279"/>
                </a:cubicBezTo>
                <a:cubicBezTo>
                  <a:pt x="731" y="279"/>
                  <a:pt x="731" y="279"/>
                  <a:pt x="731" y="280"/>
                </a:cubicBezTo>
                <a:cubicBezTo>
                  <a:pt x="732" y="280"/>
                  <a:pt x="732" y="280"/>
                  <a:pt x="732" y="281"/>
                </a:cubicBezTo>
                <a:cubicBezTo>
                  <a:pt x="732" y="282"/>
                  <a:pt x="733" y="285"/>
                  <a:pt x="732" y="286"/>
                </a:cubicBezTo>
                <a:cubicBezTo>
                  <a:pt x="732" y="284"/>
                  <a:pt x="731" y="283"/>
                  <a:pt x="731" y="282"/>
                </a:cubicBezTo>
                <a:cubicBezTo>
                  <a:pt x="730" y="282"/>
                  <a:pt x="730" y="282"/>
                  <a:pt x="730" y="282"/>
                </a:cubicBezTo>
                <a:cubicBezTo>
                  <a:pt x="729" y="282"/>
                  <a:pt x="730" y="281"/>
                  <a:pt x="730" y="281"/>
                </a:cubicBezTo>
                <a:cubicBezTo>
                  <a:pt x="730" y="280"/>
                  <a:pt x="730" y="280"/>
                  <a:pt x="730" y="279"/>
                </a:cubicBezTo>
                <a:cubicBezTo>
                  <a:pt x="729" y="281"/>
                  <a:pt x="730" y="282"/>
                  <a:pt x="728" y="283"/>
                </a:cubicBezTo>
                <a:cubicBezTo>
                  <a:pt x="729" y="282"/>
                  <a:pt x="728" y="280"/>
                  <a:pt x="727" y="280"/>
                </a:cubicBezTo>
                <a:cubicBezTo>
                  <a:pt x="727" y="280"/>
                  <a:pt x="727" y="280"/>
                  <a:pt x="727" y="280"/>
                </a:cubicBezTo>
                <a:cubicBezTo>
                  <a:pt x="727" y="280"/>
                  <a:pt x="727" y="279"/>
                  <a:pt x="726" y="279"/>
                </a:cubicBezTo>
                <a:cubicBezTo>
                  <a:pt x="726" y="279"/>
                  <a:pt x="725" y="279"/>
                  <a:pt x="726" y="281"/>
                </a:cubicBezTo>
                <a:cubicBezTo>
                  <a:pt x="726" y="281"/>
                  <a:pt x="726" y="281"/>
                  <a:pt x="726" y="281"/>
                </a:cubicBezTo>
                <a:cubicBezTo>
                  <a:pt x="726" y="280"/>
                  <a:pt x="726" y="280"/>
                  <a:pt x="726" y="280"/>
                </a:cubicBezTo>
                <a:cubicBezTo>
                  <a:pt x="726" y="280"/>
                  <a:pt x="726" y="280"/>
                  <a:pt x="726" y="280"/>
                </a:cubicBezTo>
                <a:cubicBezTo>
                  <a:pt x="727" y="280"/>
                  <a:pt x="727" y="280"/>
                  <a:pt x="727" y="280"/>
                </a:cubicBezTo>
                <a:cubicBezTo>
                  <a:pt x="727" y="280"/>
                  <a:pt x="727" y="281"/>
                  <a:pt x="727" y="281"/>
                </a:cubicBezTo>
                <a:cubicBezTo>
                  <a:pt x="727" y="281"/>
                  <a:pt x="727" y="282"/>
                  <a:pt x="727" y="282"/>
                </a:cubicBezTo>
                <a:cubicBezTo>
                  <a:pt x="727" y="282"/>
                  <a:pt x="727" y="282"/>
                  <a:pt x="726" y="282"/>
                </a:cubicBezTo>
                <a:cubicBezTo>
                  <a:pt x="726" y="283"/>
                  <a:pt x="726" y="284"/>
                  <a:pt x="726" y="284"/>
                </a:cubicBezTo>
                <a:cubicBezTo>
                  <a:pt x="726" y="284"/>
                  <a:pt x="727" y="284"/>
                  <a:pt x="728" y="284"/>
                </a:cubicBezTo>
                <a:cubicBezTo>
                  <a:pt x="729" y="283"/>
                  <a:pt x="729" y="282"/>
                  <a:pt x="730" y="283"/>
                </a:cubicBezTo>
                <a:cubicBezTo>
                  <a:pt x="730" y="283"/>
                  <a:pt x="730" y="283"/>
                  <a:pt x="730" y="284"/>
                </a:cubicBezTo>
                <a:cubicBezTo>
                  <a:pt x="730" y="284"/>
                  <a:pt x="730" y="284"/>
                  <a:pt x="730" y="284"/>
                </a:cubicBezTo>
                <a:cubicBezTo>
                  <a:pt x="731" y="284"/>
                  <a:pt x="731" y="287"/>
                  <a:pt x="731" y="288"/>
                </a:cubicBezTo>
                <a:cubicBezTo>
                  <a:pt x="732" y="287"/>
                  <a:pt x="734" y="288"/>
                  <a:pt x="735" y="291"/>
                </a:cubicBezTo>
                <a:cubicBezTo>
                  <a:pt x="735" y="291"/>
                  <a:pt x="735" y="291"/>
                  <a:pt x="735" y="291"/>
                </a:cubicBezTo>
                <a:cubicBezTo>
                  <a:pt x="735" y="290"/>
                  <a:pt x="736" y="285"/>
                  <a:pt x="735" y="284"/>
                </a:cubicBezTo>
                <a:cubicBezTo>
                  <a:pt x="735" y="284"/>
                  <a:pt x="732" y="279"/>
                  <a:pt x="736" y="281"/>
                </a:cubicBezTo>
                <a:cubicBezTo>
                  <a:pt x="737" y="282"/>
                  <a:pt x="735" y="287"/>
                  <a:pt x="736" y="291"/>
                </a:cubicBezTo>
                <a:cubicBezTo>
                  <a:pt x="736" y="291"/>
                  <a:pt x="737" y="291"/>
                  <a:pt x="737" y="291"/>
                </a:cubicBezTo>
                <a:cubicBezTo>
                  <a:pt x="737" y="293"/>
                  <a:pt x="737" y="293"/>
                  <a:pt x="737" y="293"/>
                </a:cubicBezTo>
                <a:cubicBezTo>
                  <a:pt x="737" y="294"/>
                  <a:pt x="737" y="295"/>
                  <a:pt x="736" y="295"/>
                </a:cubicBezTo>
                <a:cubicBezTo>
                  <a:pt x="737" y="296"/>
                  <a:pt x="738" y="295"/>
                  <a:pt x="739" y="295"/>
                </a:cubicBezTo>
                <a:cubicBezTo>
                  <a:pt x="739" y="295"/>
                  <a:pt x="741" y="297"/>
                  <a:pt x="741" y="297"/>
                </a:cubicBezTo>
                <a:cubicBezTo>
                  <a:pt x="741" y="300"/>
                  <a:pt x="738" y="300"/>
                  <a:pt x="736" y="298"/>
                </a:cubicBezTo>
                <a:cubicBezTo>
                  <a:pt x="738" y="300"/>
                  <a:pt x="735" y="299"/>
                  <a:pt x="735" y="300"/>
                </a:cubicBezTo>
                <a:cubicBezTo>
                  <a:pt x="735" y="299"/>
                  <a:pt x="735" y="305"/>
                  <a:pt x="733" y="305"/>
                </a:cubicBezTo>
                <a:cubicBezTo>
                  <a:pt x="733" y="305"/>
                  <a:pt x="734" y="301"/>
                  <a:pt x="733" y="300"/>
                </a:cubicBezTo>
                <a:cubicBezTo>
                  <a:pt x="733" y="300"/>
                  <a:pt x="733" y="300"/>
                  <a:pt x="733" y="300"/>
                </a:cubicBezTo>
                <a:cubicBezTo>
                  <a:pt x="733" y="301"/>
                  <a:pt x="732" y="301"/>
                  <a:pt x="732" y="301"/>
                </a:cubicBezTo>
                <a:cubicBezTo>
                  <a:pt x="731" y="301"/>
                  <a:pt x="731" y="300"/>
                  <a:pt x="731" y="299"/>
                </a:cubicBezTo>
                <a:cubicBezTo>
                  <a:pt x="731" y="299"/>
                  <a:pt x="731" y="299"/>
                  <a:pt x="731" y="299"/>
                </a:cubicBezTo>
                <a:cubicBezTo>
                  <a:pt x="731" y="299"/>
                  <a:pt x="731" y="298"/>
                  <a:pt x="732" y="298"/>
                </a:cubicBezTo>
                <a:cubicBezTo>
                  <a:pt x="734" y="297"/>
                  <a:pt x="732" y="297"/>
                  <a:pt x="730" y="296"/>
                </a:cubicBezTo>
                <a:cubicBezTo>
                  <a:pt x="730" y="296"/>
                  <a:pt x="730" y="296"/>
                  <a:pt x="730" y="296"/>
                </a:cubicBezTo>
                <a:cubicBezTo>
                  <a:pt x="730" y="296"/>
                  <a:pt x="730" y="296"/>
                  <a:pt x="730" y="296"/>
                </a:cubicBezTo>
                <a:cubicBezTo>
                  <a:pt x="729" y="295"/>
                  <a:pt x="729" y="295"/>
                  <a:pt x="729" y="294"/>
                </a:cubicBezTo>
                <a:cubicBezTo>
                  <a:pt x="728" y="294"/>
                  <a:pt x="728" y="295"/>
                  <a:pt x="727" y="295"/>
                </a:cubicBezTo>
                <a:cubicBezTo>
                  <a:pt x="725" y="295"/>
                  <a:pt x="726" y="293"/>
                  <a:pt x="725" y="293"/>
                </a:cubicBezTo>
                <a:cubicBezTo>
                  <a:pt x="725" y="293"/>
                  <a:pt x="725" y="293"/>
                  <a:pt x="725" y="293"/>
                </a:cubicBezTo>
                <a:cubicBezTo>
                  <a:pt x="723" y="297"/>
                  <a:pt x="721" y="302"/>
                  <a:pt x="725" y="300"/>
                </a:cubicBezTo>
                <a:cubicBezTo>
                  <a:pt x="723" y="303"/>
                  <a:pt x="726" y="304"/>
                  <a:pt x="728" y="305"/>
                </a:cubicBezTo>
                <a:cubicBezTo>
                  <a:pt x="729" y="306"/>
                  <a:pt x="727" y="304"/>
                  <a:pt x="726" y="305"/>
                </a:cubicBezTo>
                <a:cubicBezTo>
                  <a:pt x="725" y="306"/>
                  <a:pt x="728" y="308"/>
                  <a:pt x="728" y="310"/>
                </a:cubicBezTo>
                <a:cubicBezTo>
                  <a:pt x="728" y="311"/>
                  <a:pt x="727" y="313"/>
                  <a:pt x="727" y="313"/>
                </a:cubicBezTo>
                <a:cubicBezTo>
                  <a:pt x="727" y="315"/>
                  <a:pt x="729" y="314"/>
                  <a:pt x="727" y="315"/>
                </a:cubicBezTo>
                <a:cubicBezTo>
                  <a:pt x="724" y="316"/>
                  <a:pt x="725" y="320"/>
                  <a:pt x="724" y="321"/>
                </a:cubicBezTo>
                <a:cubicBezTo>
                  <a:pt x="723" y="322"/>
                  <a:pt x="720" y="322"/>
                  <a:pt x="720" y="324"/>
                </a:cubicBezTo>
                <a:cubicBezTo>
                  <a:pt x="723" y="320"/>
                  <a:pt x="727" y="325"/>
                  <a:pt x="725" y="326"/>
                </a:cubicBezTo>
                <a:cubicBezTo>
                  <a:pt x="725" y="326"/>
                  <a:pt x="727" y="329"/>
                  <a:pt x="724" y="330"/>
                </a:cubicBezTo>
                <a:cubicBezTo>
                  <a:pt x="722" y="330"/>
                  <a:pt x="723" y="330"/>
                  <a:pt x="721" y="332"/>
                </a:cubicBezTo>
                <a:cubicBezTo>
                  <a:pt x="720" y="334"/>
                  <a:pt x="720" y="325"/>
                  <a:pt x="719" y="324"/>
                </a:cubicBezTo>
                <a:cubicBezTo>
                  <a:pt x="718" y="323"/>
                  <a:pt x="718" y="326"/>
                  <a:pt x="717" y="323"/>
                </a:cubicBezTo>
                <a:cubicBezTo>
                  <a:pt x="715" y="317"/>
                  <a:pt x="709" y="307"/>
                  <a:pt x="717" y="303"/>
                </a:cubicBezTo>
                <a:cubicBezTo>
                  <a:pt x="718" y="302"/>
                  <a:pt x="720" y="302"/>
                  <a:pt x="721" y="301"/>
                </a:cubicBezTo>
                <a:cubicBezTo>
                  <a:pt x="722" y="299"/>
                  <a:pt x="723" y="297"/>
                  <a:pt x="723" y="294"/>
                </a:cubicBezTo>
                <a:cubicBezTo>
                  <a:pt x="723" y="294"/>
                  <a:pt x="723" y="294"/>
                  <a:pt x="723" y="294"/>
                </a:cubicBezTo>
                <a:cubicBezTo>
                  <a:pt x="722" y="294"/>
                  <a:pt x="723" y="292"/>
                  <a:pt x="722" y="292"/>
                </a:cubicBezTo>
                <a:cubicBezTo>
                  <a:pt x="722" y="292"/>
                  <a:pt x="721" y="292"/>
                  <a:pt x="720" y="292"/>
                </a:cubicBezTo>
                <a:cubicBezTo>
                  <a:pt x="720" y="293"/>
                  <a:pt x="719" y="293"/>
                  <a:pt x="719" y="293"/>
                </a:cubicBezTo>
                <a:cubicBezTo>
                  <a:pt x="719" y="293"/>
                  <a:pt x="719" y="293"/>
                  <a:pt x="719" y="292"/>
                </a:cubicBezTo>
                <a:cubicBezTo>
                  <a:pt x="718" y="293"/>
                  <a:pt x="718" y="292"/>
                  <a:pt x="718" y="292"/>
                </a:cubicBezTo>
                <a:cubicBezTo>
                  <a:pt x="717" y="291"/>
                  <a:pt x="718" y="289"/>
                  <a:pt x="716" y="290"/>
                </a:cubicBezTo>
                <a:cubicBezTo>
                  <a:pt x="716" y="289"/>
                  <a:pt x="716" y="287"/>
                  <a:pt x="716" y="286"/>
                </a:cubicBezTo>
                <a:cubicBezTo>
                  <a:pt x="716" y="286"/>
                  <a:pt x="716" y="286"/>
                  <a:pt x="716" y="286"/>
                </a:cubicBezTo>
                <a:cubicBezTo>
                  <a:pt x="715" y="286"/>
                  <a:pt x="713" y="288"/>
                  <a:pt x="713" y="288"/>
                </a:cubicBezTo>
                <a:cubicBezTo>
                  <a:pt x="712" y="288"/>
                  <a:pt x="713" y="285"/>
                  <a:pt x="714" y="283"/>
                </a:cubicBezTo>
                <a:cubicBezTo>
                  <a:pt x="714" y="282"/>
                  <a:pt x="714" y="282"/>
                  <a:pt x="713" y="282"/>
                </a:cubicBezTo>
                <a:cubicBezTo>
                  <a:pt x="714" y="282"/>
                  <a:pt x="711" y="288"/>
                  <a:pt x="709" y="285"/>
                </a:cubicBezTo>
                <a:cubicBezTo>
                  <a:pt x="709" y="286"/>
                  <a:pt x="709" y="286"/>
                  <a:pt x="709" y="286"/>
                </a:cubicBezTo>
                <a:cubicBezTo>
                  <a:pt x="709" y="286"/>
                  <a:pt x="707" y="288"/>
                  <a:pt x="707" y="288"/>
                </a:cubicBezTo>
                <a:cubicBezTo>
                  <a:pt x="705" y="287"/>
                  <a:pt x="707" y="283"/>
                  <a:pt x="707" y="281"/>
                </a:cubicBezTo>
                <a:cubicBezTo>
                  <a:pt x="706" y="281"/>
                  <a:pt x="705" y="280"/>
                  <a:pt x="705" y="279"/>
                </a:cubicBezTo>
                <a:cubicBezTo>
                  <a:pt x="705" y="279"/>
                  <a:pt x="705" y="278"/>
                  <a:pt x="706" y="278"/>
                </a:cubicBezTo>
                <a:cubicBezTo>
                  <a:pt x="705" y="278"/>
                  <a:pt x="705" y="277"/>
                  <a:pt x="706" y="276"/>
                </a:cubicBezTo>
                <a:cubicBezTo>
                  <a:pt x="706" y="276"/>
                  <a:pt x="707" y="275"/>
                  <a:pt x="707" y="276"/>
                </a:cubicBezTo>
                <a:cubicBezTo>
                  <a:pt x="708" y="276"/>
                  <a:pt x="708" y="277"/>
                  <a:pt x="708" y="277"/>
                </a:cubicBezTo>
                <a:cubicBezTo>
                  <a:pt x="708" y="277"/>
                  <a:pt x="708" y="277"/>
                  <a:pt x="708" y="277"/>
                </a:cubicBezTo>
                <a:cubicBezTo>
                  <a:pt x="708" y="275"/>
                  <a:pt x="707" y="273"/>
                  <a:pt x="709" y="271"/>
                </a:cubicBezTo>
                <a:cubicBezTo>
                  <a:pt x="709" y="270"/>
                  <a:pt x="708" y="270"/>
                  <a:pt x="708" y="270"/>
                </a:cubicBezTo>
                <a:cubicBezTo>
                  <a:pt x="708" y="269"/>
                  <a:pt x="708" y="269"/>
                  <a:pt x="707" y="269"/>
                </a:cubicBezTo>
                <a:cubicBezTo>
                  <a:pt x="707" y="271"/>
                  <a:pt x="706" y="272"/>
                  <a:pt x="705" y="273"/>
                </a:cubicBezTo>
                <a:cubicBezTo>
                  <a:pt x="705" y="272"/>
                  <a:pt x="706" y="270"/>
                  <a:pt x="707" y="268"/>
                </a:cubicBezTo>
                <a:cubicBezTo>
                  <a:pt x="707" y="268"/>
                  <a:pt x="707" y="268"/>
                  <a:pt x="707" y="268"/>
                </a:cubicBezTo>
                <a:cubicBezTo>
                  <a:pt x="707" y="268"/>
                  <a:pt x="706" y="269"/>
                  <a:pt x="706" y="269"/>
                </a:cubicBezTo>
                <a:cubicBezTo>
                  <a:pt x="705" y="268"/>
                  <a:pt x="707" y="267"/>
                  <a:pt x="707" y="268"/>
                </a:cubicBezTo>
                <a:cubicBezTo>
                  <a:pt x="708" y="266"/>
                  <a:pt x="710" y="263"/>
                  <a:pt x="711" y="262"/>
                </a:cubicBezTo>
                <a:cubicBezTo>
                  <a:pt x="710" y="262"/>
                  <a:pt x="710" y="262"/>
                  <a:pt x="710" y="262"/>
                </a:cubicBezTo>
                <a:cubicBezTo>
                  <a:pt x="709" y="262"/>
                  <a:pt x="709" y="261"/>
                  <a:pt x="709" y="260"/>
                </a:cubicBezTo>
                <a:cubicBezTo>
                  <a:pt x="708" y="260"/>
                  <a:pt x="708" y="259"/>
                  <a:pt x="708" y="259"/>
                </a:cubicBezTo>
                <a:cubicBezTo>
                  <a:pt x="708" y="258"/>
                  <a:pt x="709" y="256"/>
                  <a:pt x="710" y="255"/>
                </a:cubicBezTo>
                <a:cubicBezTo>
                  <a:pt x="710" y="255"/>
                  <a:pt x="710" y="255"/>
                  <a:pt x="710" y="255"/>
                </a:cubicBezTo>
                <a:cubicBezTo>
                  <a:pt x="710" y="255"/>
                  <a:pt x="710" y="255"/>
                  <a:pt x="710" y="255"/>
                </a:cubicBezTo>
                <a:cubicBezTo>
                  <a:pt x="708" y="256"/>
                  <a:pt x="707" y="254"/>
                  <a:pt x="708" y="253"/>
                </a:cubicBezTo>
                <a:cubicBezTo>
                  <a:pt x="703" y="248"/>
                  <a:pt x="703" y="248"/>
                  <a:pt x="703" y="248"/>
                </a:cubicBezTo>
                <a:cubicBezTo>
                  <a:pt x="702" y="248"/>
                  <a:pt x="702" y="248"/>
                  <a:pt x="702" y="248"/>
                </a:cubicBezTo>
                <a:cubicBezTo>
                  <a:pt x="702" y="248"/>
                  <a:pt x="702" y="248"/>
                  <a:pt x="703" y="248"/>
                </a:cubicBezTo>
                <a:cubicBezTo>
                  <a:pt x="704" y="249"/>
                  <a:pt x="700" y="250"/>
                  <a:pt x="701" y="249"/>
                </a:cubicBezTo>
                <a:cubicBezTo>
                  <a:pt x="700" y="249"/>
                  <a:pt x="700" y="249"/>
                  <a:pt x="700" y="249"/>
                </a:cubicBezTo>
                <a:cubicBezTo>
                  <a:pt x="699" y="249"/>
                  <a:pt x="699" y="249"/>
                  <a:pt x="699" y="248"/>
                </a:cubicBezTo>
                <a:cubicBezTo>
                  <a:pt x="699" y="248"/>
                  <a:pt x="699" y="248"/>
                  <a:pt x="699" y="248"/>
                </a:cubicBezTo>
                <a:cubicBezTo>
                  <a:pt x="699" y="248"/>
                  <a:pt x="698" y="246"/>
                  <a:pt x="696" y="245"/>
                </a:cubicBezTo>
                <a:cubicBezTo>
                  <a:pt x="696" y="246"/>
                  <a:pt x="695" y="246"/>
                  <a:pt x="695" y="245"/>
                </a:cubicBezTo>
                <a:cubicBezTo>
                  <a:pt x="695" y="245"/>
                  <a:pt x="695" y="245"/>
                  <a:pt x="695" y="245"/>
                </a:cubicBezTo>
                <a:cubicBezTo>
                  <a:pt x="695" y="244"/>
                  <a:pt x="694" y="245"/>
                  <a:pt x="694" y="246"/>
                </a:cubicBezTo>
                <a:cubicBezTo>
                  <a:pt x="694" y="246"/>
                  <a:pt x="694" y="246"/>
                  <a:pt x="694" y="247"/>
                </a:cubicBezTo>
                <a:cubicBezTo>
                  <a:pt x="693" y="247"/>
                  <a:pt x="686" y="249"/>
                  <a:pt x="690" y="250"/>
                </a:cubicBezTo>
                <a:cubicBezTo>
                  <a:pt x="691" y="251"/>
                  <a:pt x="690" y="249"/>
                  <a:pt x="690" y="249"/>
                </a:cubicBezTo>
                <a:cubicBezTo>
                  <a:pt x="691" y="249"/>
                  <a:pt x="691" y="250"/>
                  <a:pt x="691" y="250"/>
                </a:cubicBezTo>
                <a:cubicBezTo>
                  <a:pt x="692" y="250"/>
                  <a:pt x="693" y="248"/>
                  <a:pt x="695" y="248"/>
                </a:cubicBezTo>
                <a:cubicBezTo>
                  <a:pt x="692" y="249"/>
                  <a:pt x="695" y="252"/>
                  <a:pt x="694" y="253"/>
                </a:cubicBezTo>
                <a:cubicBezTo>
                  <a:pt x="692" y="254"/>
                  <a:pt x="689" y="251"/>
                  <a:pt x="688" y="251"/>
                </a:cubicBezTo>
                <a:cubicBezTo>
                  <a:pt x="685" y="252"/>
                  <a:pt x="684" y="254"/>
                  <a:pt x="683" y="257"/>
                </a:cubicBezTo>
                <a:cubicBezTo>
                  <a:pt x="684" y="256"/>
                  <a:pt x="686" y="256"/>
                  <a:pt x="688" y="256"/>
                </a:cubicBezTo>
                <a:cubicBezTo>
                  <a:pt x="688" y="255"/>
                  <a:pt x="689" y="254"/>
                  <a:pt x="691" y="256"/>
                </a:cubicBezTo>
                <a:cubicBezTo>
                  <a:pt x="692" y="257"/>
                  <a:pt x="696" y="260"/>
                  <a:pt x="695" y="262"/>
                </a:cubicBezTo>
                <a:cubicBezTo>
                  <a:pt x="692" y="266"/>
                  <a:pt x="687" y="271"/>
                  <a:pt x="687" y="277"/>
                </a:cubicBezTo>
                <a:cubicBezTo>
                  <a:pt x="690" y="271"/>
                  <a:pt x="692" y="278"/>
                  <a:pt x="687" y="279"/>
                </a:cubicBezTo>
                <a:cubicBezTo>
                  <a:pt x="688" y="277"/>
                  <a:pt x="686" y="279"/>
                  <a:pt x="685" y="278"/>
                </a:cubicBezTo>
                <a:cubicBezTo>
                  <a:pt x="685" y="277"/>
                  <a:pt x="685" y="277"/>
                  <a:pt x="685" y="277"/>
                </a:cubicBezTo>
                <a:cubicBezTo>
                  <a:pt x="685" y="277"/>
                  <a:pt x="685" y="277"/>
                  <a:pt x="685" y="277"/>
                </a:cubicBezTo>
                <a:cubicBezTo>
                  <a:pt x="682" y="277"/>
                  <a:pt x="685" y="272"/>
                  <a:pt x="685" y="275"/>
                </a:cubicBezTo>
                <a:cubicBezTo>
                  <a:pt x="685" y="275"/>
                  <a:pt x="685" y="275"/>
                  <a:pt x="685" y="275"/>
                </a:cubicBezTo>
                <a:cubicBezTo>
                  <a:pt x="686" y="275"/>
                  <a:pt x="686" y="274"/>
                  <a:pt x="686" y="273"/>
                </a:cubicBezTo>
                <a:cubicBezTo>
                  <a:pt x="686" y="270"/>
                  <a:pt x="685" y="266"/>
                  <a:pt x="684" y="263"/>
                </a:cubicBezTo>
                <a:cubicBezTo>
                  <a:pt x="683" y="263"/>
                  <a:pt x="682" y="263"/>
                  <a:pt x="682" y="262"/>
                </a:cubicBezTo>
                <a:cubicBezTo>
                  <a:pt x="682" y="262"/>
                  <a:pt x="682" y="262"/>
                  <a:pt x="682" y="261"/>
                </a:cubicBezTo>
                <a:cubicBezTo>
                  <a:pt x="680" y="261"/>
                  <a:pt x="679" y="261"/>
                  <a:pt x="678" y="265"/>
                </a:cubicBezTo>
                <a:cubicBezTo>
                  <a:pt x="676" y="258"/>
                  <a:pt x="673" y="269"/>
                  <a:pt x="674" y="271"/>
                </a:cubicBezTo>
                <a:cubicBezTo>
                  <a:pt x="674" y="271"/>
                  <a:pt x="676" y="271"/>
                  <a:pt x="676" y="271"/>
                </a:cubicBezTo>
                <a:cubicBezTo>
                  <a:pt x="677" y="272"/>
                  <a:pt x="677" y="275"/>
                  <a:pt x="677" y="276"/>
                </a:cubicBezTo>
                <a:cubicBezTo>
                  <a:pt x="676" y="278"/>
                  <a:pt x="673" y="285"/>
                  <a:pt x="674" y="280"/>
                </a:cubicBezTo>
                <a:cubicBezTo>
                  <a:pt x="674" y="278"/>
                  <a:pt x="674" y="276"/>
                  <a:pt x="673" y="275"/>
                </a:cubicBezTo>
                <a:cubicBezTo>
                  <a:pt x="673" y="275"/>
                  <a:pt x="673" y="275"/>
                  <a:pt x="673" y="275"/>
                </a:cubicBezTo>
                <a:cubicBezTo>
                  <a:pt x="673" y="275"/>
                  <a:pt x="673" y="275"/>
                  <a:pt x="673" y="275"/>
                </a:cubicBezTo>
                <a:cubicBezTo>
                  <a:pt x="673" y="273"/>
                  <a:pt x="673" y="272"/>
                  <a:pt x="673" y="270"/>
                </a:cubicBezTo>
                <a:cubicBezTo>
                  <a:pt x="673" y="268"/>
                  <a:pt x="674" y="266"/>
                  <a:pt x="674" y="265"/>
                </a:cubicBezTo>
                <a:cubicBezTo>
                  <a:pt x="674" y="265"/>
                  <a:pt x="673" y="265"/>
                  <a:pt x="672" y="265"/>
                </a:cubicBezTo>
                <a:cubicBezTo>
                  <a:pt x="672" y="264"/>
                  <a:pt x="672" y="264"/>
                  <a:pt x="672" y="264"/>
                </a:cubicBezTo>
                <a:cubicBezTo>
                  <a:pt x="672" y="263"/>
                  <a:pt x="672" y="263"/>
                  <a:pt x="672" y="263"/>
                </a:cubicBezTo>
                <a:cubicBezTo>
                  <a:pt x="672" y="263"/>
                  <a:pt x="671" y="262"/>
                  <a:pt x="671" y="262"/>
                </a:cubicBezTo>
                <a:cubicBezTo>
                  <a:pt x="669" y="263"/>
                  <a:pt x="671" y="271"/>
                  <a:pt x="671" y="274"/>
                </a:cubicBezTo>
                <a:cubicBezTo>
                  <a:pt x="671" y="274"/>
                  <a:pt x="672" y="273"/>
                  <a:pt x="672" y="274"/>
                </a:cubicBezTo>
                <a:cubicBezTo>
                  <a:pt x="673" y="274"/>
                  <a:pt x="672" y="275"/>
                  <a:pt x="671" y="275"/>
                </a:cubicBezTo>
                <a:cubicBezTo>
                  <a:pt x="671" y="275"/>
                  <a:pt x="671" y="275"/>
                  <a:pt x="671" y="275"/>
                </a:cubicBezTo>
                <a:cubicBezTo>
                  <a:pt x="671" y="275"/>
                  <a:pt x="671" y="276"/>
                  <a:pt x="671" y="277"/>
                </a:cubicBezTo>
                <a:cubicBezTo>
                  <a:pt x="671" y="277"/>
                  <a:pt x="671" y="277"/>
                  <a:pt x="671" y="277"/>
                </a:cubicBezTo>
                <a:cubicBezTo>
                  <a:pt x="671" y="277"/>
                  <a:pt x="671" y="277"/>
                  <a:pt x="671" y="277"/>
                </a:cubicBezTo>
                <a:cubicBezTo>
                  <a:pt x="671" y="280"/>
                  <a:pt x="671" y="282"/>
                  <a:pt x="671" y="283"/>
                </a:cubicBezTo>
                <a:cubicBezTo>
                  <a:pt x="668" y="286"/>
                  <a:pt x="671" y="269"/>
                  <a:pt x="666" y="275"/>
                </a:cubicBezTo>
                <a:cubicBezTo>
                  <a:pt x="666" y="275"/>
                  <a:pt x="662" y="280"/>
                  <a:pt x="662" y="281"/>
                </a:cubicBezTo>
                <a:cubicBezTo>
                  <a:pt x="663" y="282"/>
                  <a:pt x="664" y="280"/>
                  <a:pt x="665" y="281"/>
                </a:cubicBezTo>
                <a:cubicBezTo>
                  <a:pt x="667" y="281"/>
                  <a:pt x="666" y="284"/>
                  <a:pt x="665" y="285"/>
                </a:cubicBezTo>
                <a:cubicBezTo>
                  <a:pt x="664" y="286"/>
                  <a:pt x="663" y="284"/>
                  <a:pt x="663" y="284"/>
                </a:cubicBezTo>
                <a:cubicBezTo>
                  <a:pt x="661" y="285"/>
                  <a:pt x="660" y="287"/>
                  <a:pt x="660" y="289"/>
                </a:cubicBezTo>
                <a:cubicBezTo>
                  <a:pt x="660" y="289"/>
                  <a:pt x="660" y="289"/>
                  <a:pt x="661" y="289"/>
                </a:cubicBezTo>
                <a:cubicBezTo>
                  <a:pt x="661" y="289"/>
                  <a:pt x="660" y="290"/>
                  <a:pt x="660" y="290"/>
                </a:cubicBezTo>
                <a:cubicBezTo>
                  <a:pt x="660" y="291"/>
                  <a:pt x="660" y="293"/>
                  <a:pt x="659" y="295"/>
                </a:cubicBezTo>
                <a:cubicBezTo>
                  <a:pt x="657" y="298"/>
                  <a:pt x="657" y="301"/>
                  <a:pt x="656" y="301"/>
                </a:cubicBezTo>
                <a:cubicBezTo>
                  <a:pt x="656" y="302"/>
                  <a:pt x="654" y="300"/>
                  <a:pt x="652" y="300"/>
                </a:cubicBezTo>
                <a:cubicBezTo>
                  <a:pt x="650" y="301"/>
                  <a:pt x="651" y="303"/>
                  <a:pt x="649" y="300"/>
                </a:cubicBezTo>
                <a:cubicBezTo>
                  <a:pt x="649" y="299"/>
                  <a:pt x="649" y="301"/>
                  <a:pt x="648" y="298"/>
                </a:cubicBezTo>
                <a:cubicBezTo>
                  <a:pt x="648" y="297"/>
                  <a:pt x="650" y="291"/>
                  <a:pt x="654" y="292"/>
                </a:cubicBezTo>
                <a:cubicBezTo>
                  <a:pt x="655" y="292"/>
                  <a:pt x="656" y="295"/>
                  <a:pt x="657" y="292"/>
                </a:cubicBezTo>
                <a:cubicBezTo>
                  <a:pt x="657" y="291"/>
                  <a:pt x="656" y="290"/>
                  <a:pt x="656" y="288"/>
                </a:cubicBezTo>
                <a:cubicBezTo>
                  <a:pt x="657" y="285"/>
                  <a:pt x="661" y="281"/>
                  <a:pt x="662" y="278"/>
                </a:cubicBezTo>
                <a:cubicBezTo>
                  <a:pt x="662" y="276"/>
                  <a:pt x="661" y="273"/>
                  <a:pt x="662" y="269"/>
                </a:cubicBezTo>
                <a:cubicBezTo>
                  <a:pt x="663" y="267"/>
                  <a:pt x="668" y="263"/>
                  <a:pt x="667" y="261"/>
                </a:cubicBezTo>
                <a:cubicBezTo>
                  <a:pt x="667" y="261"/>
                  <a:pt x="667" y="260"/>
                  <a:pt x="666" y="260"/>
                </a:cubicBezTo>
                <a:cubicBezTo>
                  <a:pt x="666" y="260"/>
                  <a:pt x="665" y="260"/>
                  <a:pt x="665" y="260"/>
                </a:cubicBezTo>
                <a:cubicBezTo>
                  <a:pt x="665" y="260"/>
                  <a:pt x="665" y="259"/>
                  <a:pt x="665" y="259"/>
                </a:cubicBezTo>
                <a:cubicBezTo>
                  <a:pt x="663" y="258"/>
                  <a:pt x="659" y="257"/>
                  <a:pt x="656" y="259"/>
                </a:cubicBezTo>
                <a:cubicBezTo>
                  <a:pt x="656" y="259"/>
                  <a:pt x="656" y="259"/>
                  <a:pt x="656" y="259"/>
                </a:cubicBezTo>
                <a:cubicBezTo>
                  <a:pt x="656" y="260"/>
                  <a:pt x="656" y="261"/>
                  <a:pt x="656" y="262"/>
                </a:cubicBezTo>
                <a:cubicBezTo>
                  <a:pt x="655" y="266"/>
                  <a:pt x="648" y="271"/>
                  <a:pt x="644" y="269"/>
                </a:cubicBezTo>
                <a:cubicBezTo>
                  <a:pt x="644" y="269"/>
                  <a:pt x="644" y="269"/>
                  <a:pt x="643" y="268"/>
                </a:cubicBezTo>
                <a:cubicBezTo>
                  <a:pt x="643" y="269"/>
                  <a:pt x="643" y="269"/>
                  <a:pt x="643" y="269"/>
                </a:cubicBezTo>
                <a:cubicBezTo>
                  <a:pt x="643" y="270"/>
                  <a:pt x="643" y="269"/>
                  <a:pt x="643" y="268"/>
                </a:cubicBezTo>
                <a:cubicBezTo>
                  <a:pt x="643" y="268"/>
                  <a:pt x="643" y="268"/>
                  <a:pt x="643" y="268"/>
                </a:cubicBezTo>
                <a:cubicBezTo>
                  <a:pt x="642" y="268"/>
                  <a:pt x="641" y="269"/>
                  <a:pt x="641" y="270"/>
                </a:cubicBezTo>
                <a:cubicBezTo>
                  <a:pt x="639" y="269"/>
                  <a:pt x="639" y="272"/>
                  <a:pt x="638" y="272"/>
                </a:cubicBezTo>
                <a:cubicBezTo>
                  <a:pt x="636" y="273"/>
                  <a:pt x="634" y="271"/>
                  <a:pt x="634" y="274"/>
                </a:cubicBezTo>
                <a:cubicBezTo>
                  <a:pt x="633" y="269"/>
                  <a:pt x="626" y="278"/>
                  <a:pt x="626" y="280"/>
                </a:cubicBezTo>
                <a:cubicBezTo>
                  <a:pt x="627" y="279"/>
                  <a:pt x="633" y="279"/>
                  <a:pt x="633" y="279"/>
                </a:cubicBezTo>
                <a:cubicBezTo>
                  <a:pt x="633" y="279"/>
                  <a:pt x="633" y="279"/>
                  <a:pt x="633" y="279"/>
                </a:cubicBezTo>
                <a:cubicBezTo>
                  <a:pt x="633" y="279"/>
                  <a:pt x="633" y="279"/>
                  <a:pt x="633" y="279"/>
                </a:cubicBezTo>
                <a:cubicBezTo>
                  <a:pt x="634" y="278"/>
                  <a:pt x="634" y="277"/>
                  <a:pt x="635" y="278"/>
                </a:cubicBezTo>
                <a:cubicBezTo>
                  <a:pt x="636" y="279"/>
                  <a:pt x="634" y="279"/>
                  <a:pt x="634" y="280"/>
                </a:cubicBezTo>
                <a:cubicBezTo>
                  <a:pt x="634" y="281"/>
                  <a:pt x="634" y="281"/>
                  <a:pt x="634" y="281"/>
                </a:cubicBezTo>
                <a:cubicBezTo>
                  <a:pt x="635" y="281"/>
                  <a:pt x="635" y="281"/>
                  <a:pt x="635" y="283"/>
                </a:cubicBezTo>
                <a:cubicBezTo>
                  <a:pt x="635" y="283"/>
                  <a:pt x="635" y="283"/>
                  <a:pt x="635" y="283"/>
                </a:cubicBezTo>
                <a:cubicBezTo>
                  <a:pt x="636" y="284"/>
                  <a:pt x="636" y="284"/>
                  <a:pt x="636" y="285"/>
                </a:cubicBezTo>
                <a:cubicBezTo>
                  <a:pt x="636" y="285"/>
                  <a:pt x="634" y="289"/>
                  <a:pt x="633" y="289"/>
                </a:cubicBezTo>
                <a:cubicBezTo>
                  <a:pt x="633" y="290"/>
                  <a:pt x="631" y="295"/>
                  <a:pt x="630" y="295"/>
                </a:cubicBezTo>
                <a:cubicBezTo>
                  <a:pt x="628" y="294"/>
                  <a:pt x="631" y="293"/>
                  <a:pt x="630" y="292"/>
                </a:cubicBezTo>
                <a:cubicBezTo>
                  <a:pt x="629" y="291"/>
                  <a:pt x="627" y="292"/>
                  <a:pt x="626" y="292"/>
                </a:cubicBezTo>
                <a:cubicBezTo>
                  <a:pt x="625" y="292"/>
                  <a:pt x="626" y="290"/>
                  <a:pt x="625" y="290"/>
                </a:cubicBezTo>
                <a:cubicBezTo>
                  <a:pt x="625" y="290"/>
                  <a:pt x="622" y="291"/>
                  <a:pt x="622" y="290"/>
                </a:cubicBezTo>
                <a:cubicBezTo>
                  <a:pt x="621" y="288"/>
                  <a:pt x="624" y="289"/>
                  <a:pt x="624" y="287"/>
                </a:cubicBezTo>
                <a:cubicBezTo>
                  <a:pt x="624" y="287"/>
                  <a:pt x="623" y="286"/>
                  <a:pt x="623" y="286"/>
                </a:cubicBezTo>
                <a:cubicBezTo>
                  <a:pt x="622" y="285"/>
                  <a:pt x="624" y="284"/>
                  <a:pt x="624" y="282"/>
                </a:cubicBezTo>
                <a:cubicBezTo>
                  <a:pt x="624" y="282"/>
                  <a:pt x="624" y="281"/>
                  <a:pt x="624" y="281"/>
                </a:cubicBezTo>
                <a:cubicBezTo>
                  <a:pt x="625" y="278"/>
                  <a:pt x="631" y="274"/>
                  <a:pt x="629" y="270"/>
                </a:cubicBezTo>
                <a:cubicBezTo>
                  <a:pt x="628" y="269"/>
                  <a:pt x="627" y="269"/>
                  <a:pt x="627" y="270"/>
                </a:cubicBezTo>
                <a:cubicBezTo>
                  <a:pt x="627" y="267"/>
                  <a:pt x="628" y="258"/>
                  <a:pt x="633" y="256"/>
                </a:cubicBezTo>
                <a:cubicBezTo>
                  <a:pt x="634" y="256"/>
                  <a:pt x="636" y="256"/>
                  <a:pt x="637" y="257"/>
                </a:cubicBezTo>
                <a:cubicBezTo>
                  <a:pt x="638" y="257"/>
                  <a:pt x="639" y="258"/>
                  <a:pt x="640" y="258"/>
                </a:cubicBezTo>
                <a:cubicBezTo>
                  <a:pt x="640" y="258"/>
                  <a:pt x="640" y="259"/>
                  <a:pt x="640" y="259"/>
                </a:cubicBezTo>
                <a:cubicBezTo>
                  <a:pt x="640" y="259"/>
                  <a:pt x="640" y="259"/>
                  <a:pt x="640" y="259"/>
                </a:cubicBezTo>
                <a:cubicBezTo>
                  <a:pt x="641" y="260"/>
                  <a:pt x="641" y="260"/>
                  <a:pt x="642" y="260"/>
                </a:cubicBezTo>
                <a:cubicBezTo>
                  <a:pt x="643" y="259"/>
                  <a:pt x="644" y="257"/>
                  <a:pt x="645" y="256"/>
                </a:cubicBezTo>
                <a:cubicBezTo>
                  <a:pt x="644" y="254"/>
                  <a:pt x="643" y="256"/>
                  <a:pt x="641" y="257"/>
                </a:cubicBezTo>
                <a:cubicBezTo>
                  <a:pt x="642" y="256"/>
                  <a:pt x="642" y="256"/>
                  <a:pt x="642" y="255"/>
                </a:cubicBezTo>
                <a:cubicBezTo>
                  <a:pt x="641" y="255"/>
                  <a:pt x="640" y="255"/>
                  <a:pt x="640" y="255"/>
                </a:cubicBezTo>
                <a:cubicBezTo>
                  <a:pt x="639" y="254"/>
                  <a:pt x="641" y="254"/>
                  <a:pt x="641" y="253"/>
                </a:cubicBezTo>
                <a:cubicBezTo>
                  <a:pt x="642" y="252"/>
                  <a:pt x="640" y="253"/>
                  <a:pt x="641" y="251"/>
                </a:cubicBezTo>
                <a:cubicBezTo>
                  <a:pt x="642" y="249"/>
                  <a:pt x="645" y="249"/>
                  <a:pt x="646" y="248"/>
                </a:cubicBezTo>
                <a:cubicBezTo>
                  <a:pt x="646" y="248"/>
                  <a:pt x="646" y="248"/>
                  <a:pt x="646" y="247"/>
                </a:cubicBezTo>
                <a:cubicBezTo>
                  <a:pt x="645" y="247"/>
                  <a:pt x="644" y="247"/>
                  <a:pt x="644" y="247"/>
                </a:cubicBezTo>
                <a:cubicBezTo>
                  <a:pt x="644" y="246"/>
                  <a:pt x="645" y="245"/>
                  <a:pt x="644" y="243"/>
                </a:cubicBezTo>
                <a:cubicBezTo>
                  <a:pt x="643" y="243"/>
                  <a:pt x="643" y="243"/>
                  <a:pt x="643" y="243"/>
                </a:cubicBezTo>
                <a:cubicBezTo>
                  <a:pt x="642" y="243"/>
                  <a:pt x="641" y="239"/>
                  <a:pt x="641" y="239"/>
                </a:cubicBezTo>
                <a:cubicBezTo>
                  <a:pt x="642" y="237"/>
                  <a:pt x="644" y="239"/>
                  <a:pt x="646" y="237"/>
                </a:cubicBezTo>
                <a:cubicBezTo>
                  <a:pt x="645" y="238"/>
                  <a:pt x="648" y="235"/>
                  <a:pt x="648" y="235"/>
                </a:cubicBezTo>
                <a:cubicBezTo>
                  <a:pt x="648" y="234"/>
                  <a:pt x="647" y="233"/>
                  <a:pt x="647" y="232"/>
                </a:cubicBezTo>
                <a:cubicBezTo>
                  <a:pt x="647" y="230"/>
                  <a:pt x="649" y="230"/>
                  <a:pt x="649" y="228"/>
                </a:cubicBezTo>
                <a:cubicBezTo>
                  <a:pt x="648" y="226"/>
                  <a:pt x="651" y="222"/>
                  <a:pt x="653" y="222"/>
                </a:cubicBezTo>
                <a:cubicBezTo>
                  <a:pt x="657" y="221"/>
                  <a:pt x="656" y="229"/>
                  <a:pt x="662" y="226"/>
                </a:cubicBezTo>
                <a:cubicBezTo>
                  <a:pt x="663" y="232"/>
                  <a:pt x="667" y="220"/>
                  <a:pt x="668" y="220"/>
                </a:cubicBezTo>
                <a:cubicBezTo>
                  <a:pt x="668" y="220"/>
                  <a:pt x="668" y="220"/>
                  <a:pt x="668" y="220"/>
                </a:cubicBezTo>
                <a:cubicBezTo>
                  <a:pt x="668" y="220"/>
                  <a:pt x="668" y="220"/>
                  <a:pt x="669" y="220"/>
                </a:cubicBezTo>
                <a:cubicBezTo>
                  <a:pt x="669" y="220"/>
                  <a:pt x="669" y="220"/>
                  <a:pt x="669" y="220"/>
                </a:cubicBezTo>
                <a:cubicBezTo>
                  <a:pt x="670" y="222"/>
                  <a:pt x="669" y="221"/>
                  <a:pt x="668" y="221"/>
                </a:cubicBezTo>
                <a:cubicBezTo>
                  <a:pt x="669" y="222"/>
                  <a:pt x="665" y="229"/>
                  <a:pt x="670" y="225"/>
                </a:cubicBezTo>
                <a:cubicBezTo>
                  <a:pt x="671" y="224"/>
                  <a:pt x="669" y="222"/>
                  <a:pt x="670" y="221"/>
                </a:cubicBezTo>
                <a:cubicBezTo>
                  <a:pt x="671" y="220"/>
                  <a:pt x="674" y="221"/>
                  <a:pt x="675" y="220"/>
                </a:cubicBezTo>
                <a:cubicBezTo>
                  <a:pt x="664" y="209"/>
                  <a:pt x="664" y="209"/>
                  <a:pt x="664" y="209"/>
                </a:cubicBezTo>
                <a:cubicBezTo>
                  <a:pt x="664" y="209"/>
                  <a:pt x="664" y="209"/>
                  <a:pt x="664" y="209"/>
                </a:cubicBezTo>
                <a:cubicBezTo>
                  <a:pt x="663" y="211"/>
                  <a:pt x="660" y="209"/>
                  <a:pt x="661" y="208"/>
                </a:cubicBezTo>
                <a:cubicBezTo>
                  <a:pt x="659" y="209"/>
                  <a:pt x="658" y="209"/>
                  <a:pt x="658" y="208"/>
                </a:cubicBezTo>
                <a:cubicBezTo>
                  <a:pt x="657" y="209"/>
                  <a:pt x="657" y="209"/>
                  <a:pt x="657" y="209"/>
                </a:cubicBezTo>
                <a:cubicBezTo>
                  <a:pt x="657" y="209"/>
                  <a:pt x="657" y="208"/>
                  <a:pt x="657" y="207"/>
                </a:cubicBezTo>
                <a:cubicBezTo>
                  <a:pt x="656" y="206"/>
                  <a:pt x="656" y="203"/>
                  <a:pt x="656" y="202"/>
                </a:cubicBezTo>
                <a:cubicBezTo>
                  <a:pt x="656" y="202"/>
                  <a:pt x="656" y="202"/>
                  <a:pt x="656" y="202"/>
                </a:cubicBezTo>
                <a:cubicBezTo>
                  <a:pt x="655" y="202"/>
                  <a:pt x="656" y="203"/>
                  <a:pt x="655" y="203"/>
                </a:cubicBezTo>
                <a:cubicBezTo>
                  <a:pt x="655" y="203"/>
                  <a:pt x="654" y="202"/>
                  <a:pt x="654" y="202"/>
                </a:cubicBezTo>
                <a:cubicBezTo>
                  <a:pt x="654" y="205"/>
                  <a:pt x="653" y="207"/>
                  <a:pt x="652" y="208"/>
                </a:cubicBezTo>
                <a:cubicBezTo>
                  <a:pt x="651" y="209"/>
                  <a:pt x="649" y="207"/>
                  <a:pt x="649" y="209"/>
                </a:cubicBezTo>
                <a:cubicBezTo>
                  <a:pt x="649" y="210"/>
                  <a:pt x="651" y="211"/>
                  <a:pt x="652" y="212"/>
                </a:cubicBezTo>
                <a:cubicBezTo>
                  <a:pt x="652" y="212"/>
                  <a:pt x="652" y="214"/>
                  <a:pt x="652" y="214"/>
                </a:cubicBezTo>
                <a:cubicBezTo>
                  <a:pt x="653" y="214"/>
                  <a:pt x="655" y="212"/>
                  <a:pt x="656" y="212"/>
                </a:cubicBezTo>
                <a:cubicBezTo>
                  <a:pt x="657" y="213"/>
                  <a:pt x="655" y="215"/>
                  <a:pt x="655" y="216"/>
                </a:cubicBezTo>
                <a:cubicBezTo>
                  <a:pt x="654" y="213"/>
                  <a:pt x="652" y="217"/>
                  <a:pt x="651" y="218"/>
                </a:cubicBezTo>
                <a:cubicBezTo>
                  <a:pt x="650" y="220"/>
                  <a:pt x="647" y="220"/>
                  <a:pt x="647" y="220"/>
                </a:cubicBezTo>
                <a:cubicBezTo>
                  <a:pt x="646" y="221"/>
                  <a:pt x="649" y="223"/>
                  <a:pt x="646" y="224"/>
                </a:cubicBezTo>
                <a:cubicBezTo>
                  <a:pt x="645" y="224"/>
                  <a:pt x="646" y="223"/>
                  <a:pt x="646" y="222"/>
                </a:cubicBezTo>
                <a:cubicBezTo>
                  <a:pt x="645" y="222"/>
                  <a:pt x="643" y="224"/>
                  <a:pt x="642" y="223"/>
                </a:cubicBezTo>
                <a:cubicBezTo>
                  <a:pt x="641" y="223"/>
                  <a:pt x="642" y="221"/>
                  <a:pt x="641" y="220"/>
                </a:cubicBezTo>
                <a:cubicBezTo>
                  <a:pt x="641" y="219"/>
                  <a:pt x="641" y="218"/>
                  <a:pt x="641" y="217"/>
                </a:cubicBezTo>
                <a:cubicBezTo>
                  <a:pt x="639" y="218"/>
                  <a:pt x="634" y="218"/>
                  <a:pt x="633" y="218"/>
                </a:cubicBezTo>
                <a:cubicBezTo>
                  <a:pt x="632" y="217"/>
                  <a:pt x="633" y="215"/>
                  <a:pt x="630" y="216"/>
                </a:cubicBezTo>
                <a:cubicBezTo>
                  <a:pt x="633" y="213"/>
                  <a:pt x="628" y="213"/>
                  <a:pt x="628" y="212"/>
                </a:cubicBezTo>
                <a:cubicBezTo>
                  <a:pt x="628" y="211"/>
                  <a:pt x="630" y="210"/>
                  <a:pt x="630" y="210"/>
                </a:cubicBezTo>
                <a:cubicBezTo>
                  <a:pt x="630" y="209"/>
                  <a:pt x="629" y="209"/>
                  <a:pt x="629" y="208"/>
                </a:cubicBezTo>
                <a:cubicBezTo>
                  <a:pt x="629" y="208"/>
                  <a:pt x="629" y="208"/>
                  <a:pt x="629" y="207"/>
                </a:cubicBezTo>
                <a:cubicBezTo>
                  <a:pt x="628" y="207"/>
                  <a:pt x="627" y="205"/>
                  <a:pt x="627" y="204"/>
                </a:cubicBezTo>
                <a:cubicBezTo>
                  <a:pt x="627" y="204"/>
                  <a:pt x="626" y="204"/>
                  <a:pt x="626" y="204"/>
                </a:cubicBezTo>
                <a:cubicBezTo>
                  <a:pt x="626" y="205"/>
                  <a:pt x="627" y="205"/>
                  <a:pt x="627" y="206"/>
                </a:cubicBezTo>
                <a:cubicBezTo>
                  <a:pt x="627" y="207"/>
                  <a:pt x="626" y="208"/>
                  <a:pt x="626" y="208"/>
                </a:cubicBezTo>
                <a:cubicBezTo>
                  <a:pt x="626" y="209"/>
                  <a:pt x="625" y="210"/>
                  <a:pt x="625" y="210"/>
                </a:cubicBezTo>
                <a:cubicBezTo>
                  <a:pt x="625" y="210"/>
                  <a:pt x="625" y="210"/>
                  <a:pt x="625" y="211"/>
                </a:cubicBezTo>
                <a:cubicBezTo>
                  <a:pt x="625" y="211"/>
                  <a:pt x="625" y="211"/>
                  <a:pt x="624" y="211"/>
                </a:cubicBezTo>
                <a:cubicBezTo>
                  <a:pt x="623" y="212"/>
                  <a:pt x="622" y="214"/>
                  <a:pt x="621" y="216"/>
                </a:cubicBezTo>
                <a:cubicBezTo>
                  <a:pt x="622" y="213"/>
                  <a:pt x="618" y="214"/>
                  <a:pt x="618" y="214"/>
                </a:cubicBezTo>
                <a:cubicBezTo>
                  <a:pt x="618" y="214"/>
                  <a:pt x="618" y="214"/>
                  <a:pt x="618" y="214"/>
                </a:cubicBezTo>
                <a:cubicBezTo>
                  <a:pt x="618" y="214"/>
                  <a:pt x="618" y="214"/>
                  <a:pt x="618" y="214"/>
                </a:cubicBezTo>
                <a:cubicBezTo>
                  <a:pt x="618" y="214"/>
                  <a:pt x="618" y="214"/>
                  <a:pt x="619" y="214"/>
                </a:cubicBezTo>
                <a:cubicBezTo>
                  <a:pt x="620" y="215"/>
                  <a:pt x="620" y="220"/>
                  <a:pt x="619" y="221"/>
                </a:cubicBezTo>
                <a:cubicBezTo>
                  <a:pt x="619" y="221"/>
                  <a:pt x="619" y="220"/>
                  <a:pt x="618" y="220"/>
                </a:cubicBezTo>
                <a:cubicBezTo>
                  <a:pt x="616" y="221"/>
                  <a:pt x="615" y="224"/>
                  <a:pt x="612" y="224"/>
                </a:cubicBezTo>
                <a:cubicBezTo>
                  <a:pt x="612" y="222"/>
                  <a:pt x="614" y="222"/>
                  <a:pt x="615" y="221"/>
                </a:cubicBezTo>
                <a:cubicBezTo>
                  <a:pt x="615" y="220"/>
                  <a:pt x="613" y="221"/>
                  <a:pt x="613" y="220"/>
                </a:cubicBezTo>
                <a:cubicBezTo>
                  <a:pt x="612" y="219"/>
                  <a:pt x="614" y="214"/>
                  <a:pt x="617" y="214"/>
                </a:cubicBezTo>
                <a:cubicBezTo>
                  <a:pt x="617" y="213"/>
                  <a:pt x="617" y="212"/>
                  <a:pt x="617" y="211"/>
                </a:cubicBezTo>
                <a:cubicBezTo>
                  <a:pt x="617" y="211"/>
                  <a:pt x="616" y="211"/>
                  <a:pt x="616" y="211"/>
                </a:cubicBezTo>
                <a:cubicBezTo>
                  <a:pt x="615" y="212"/>
                  <a:pt x="612" y="214"/>
                  <a:pt x="612" y="216"/>
                </a:cubicBezTo>
                <a:cubicBezTo>
                  <a:pt x="611" y="217"/>
                  <a:pt x="612" y="218"/>
                  <a:pt x="612" y="218"/>
                </a:cubicBezTo>
                <a:cubicBezTo>
                  <a:pt x="612" y="219"/>
                  <a:pt x="610" y="220"/>
                  <a:pt x="611" y="220"/>
                </a:cubicBezTo>
                <a:cubicBezTo>
                  <a:pt x="611" y="222"/>
                  <a:pt x="612" y="221"/>
                  <a:pt x="612" y="222"/>
                </a:cubicBezTo>
                <a:cubicBezTo>
                  <a:pt x="612" y="223"/>
                  <a:pt x="610" y="224"/>
                  <a:pt x="610" y="224"/>
                </a:cubicBezTo>
                <a:cubicBezTo>
                  <a:pt x="609" y="223"/>
                  <a:pt x="610" y="221"/>
                  <a:pt x="609" y="220"/>
                </a:cubicBezTo>
                <a:cubicBezTo>
                  <a:pt x="608" y="219"/>
                  <a:pt x="607" y="220"/>
                  <a:pt x="606" y="219"/>
                </a:cubicBezTo>
                <a:cubicBezTo>
                  <a:pt x="604" y="218"/>
                  <a:pt x="604" y="217"/>
                  <a:pt x="601" y="219"/>
                </a:cubicBezTo>
                <a:cubicBezTo>
                  <a:pt x="604" y="215"/>
                  <a:pt x="600" y="218"/>
                  <a:pt x="599" y="217"/>
                </a:cubicBezTo>
                <a:cubicBezTo>
                  <a:pt x="599" y="217"/>
                  <a:pt x="598" y="211"/>
                  <a:pt x="598" y="210"/>
                </a:cubicBezTo>
                <a:cubicBezTo>
                  <a:pt x="598" y="209"/>
                  <a:pt x="599" y="206"/>
                  <a:pt x="599" y="204"/>
                </a:cubicBezTo>
                <a:cubicBezTo>
                  <a:pt x="599" y="205"/>
                  <a:pt x="599" y="205"/>
                  <a:pt x="598" y="206"/>
                </a:cubicBezTo>
                <a:cubicBezTo>
                  <a:pt x="598" y="205"/>
                  <a:pt x="598" y="204"/>
                  <a:pt x="599" y="203"/>
                </a:cubicBezTo>
                <a:cubicBezTo>
                  <a:pt x="599" y="203"/>
                  <a:pt x="599" y="203"/>
                  <a:pt x="599" y="203"/>
                </a:cubicBezTo>
                <a:cubicBezTo>
                  <a:pt x="598" y="203"/>
                  <a:pt x="598" y="204"/>
                  <a:pt x="598" y="204"/>
                </a:cubicBezTo>
                <a:cubicBezTo>
                  <a:pt x="598" y="204"/>
                  <a:pt x="598" y="204"/>
                  <a:pt x="597" y="204"/>
                </a:cubicBezTo>
                <a:cubicBezTo>
                  <a:pt x="597" y="204"/>
                  <a:pt x="597" y="204"/>
                  <a:pt x="597" y="204"/>
                </a:cubicBezTo>
                <a:cubicBezTo>
                  <a:pt x="597" y="204"/>
                  <a:pt x="597" y="204"/>
                  <a:pt x="597" y="204"/>
                </a:cubicBezTo>
                <a:cubicBezTo>
                  <a:pt x="595" y="206"/>
                  <a:pt x="589" y="207"/>
                  <a:pt x="586" y="207"/>
                </a:cubicBezTo>
                <a:cubicBezTo>
                  <a:pt x="586" y="208"/>
                  <a:pt x="586" y="209"/>
                  <a:pt x="585" y="209"/>
                </a:cubicBezTo>
                <a:cubicBezTo>
                  <a:pt x="584" y="210"/>
                  <a:pt x="584" y="208"/>
                  <a:pt x="584" y="208"/>
                </a:cubicBezTo>
                <a:cubicBezTo>
                  <a:pt x="583" y="207"/>
                  <a:pt x="583" y="207"/>
                  <a:pt x="583" y="207"/>
                </a:cubicBezTo>
                <a:cubicBezTo>
                  <a:pt x="583" y="206"/>
                  <a:pt x="584" y="205"/>
                  <a:pt x="585" y="205"/>
                </a:cubicBezTo>
                <a:cubicBezTo>
                  <a:pt x="584" y="204"/>
                  <a:pt x="584" y="204"/>
                  <a:pt x="584" y="204"/>
                </a:cubicBezTo>
                <a:cubicBezTo>
                  <a:pt x="584" y="203"/>
                  <a:pt x="584" y="202"/>
                  <a:pt x="585" y="201"/>
                </a:cubicBezTo>
                <a:cubicBezTo>
                  <a:pt x="585" y="200"/>
                  <a:pt x="585" y="199"/>
                  <a:pt x="585" y="198"/>
                </a:cubicBezTo>
                <a:cubicBezTo>
                  <a:pt x="586" y="197"/>
                  <a:pt x="587" y="197"/>
                  <a:pt x="588" y="197"/>
                </a:cubicBezTo>
                <a:cubicBezTo>
                  <a:pt x="587" y="197"/>
                  <a:pt x="587" y="197"/>
                  <a:pt x="585" y="198"/>
                </a:cubicBezTo>
                <a:cubicBezTo>
                  <a:pt x="584" y="198"/>
                  <a:pt x="583" y="201"/>
                  <a:pt x="583" y="201"/>
                </a:cubicBezTo>
                <a:cubicBezTo>
                  <a:pt x="582" y="202"/>
                  <a:pt x="582" y="202"/>
                  <a:pt x="583" y="202"/>
                </a:cubicBezTo>
                <a:cubicBezTo>
                  <a:pt x="579" y="203"/>
                  <a:pt x="579" y="195"/>
                  <a:pt x="582" y="196"/>
                </a:cubicBezTo>
                <a:cubicBezTo>
                  <a:pt x="581" y="196"/>
                  <a:pt x="583" y="198"/>
                  <a:pt x="582" y="198"/>
                </a:cubicBezTo>
                <a:cubicBezTo>
                  <a:pt x="583" y="198"/>
                  <a:pt x="587" y="194"/>
                  <a:pt x="588" y="192"/>
                </a:cubicBezTo>
                <a:cubicBezTo>
                  <a:pt x="589" y="192"/>
                  <a:pt x="589" y="192"/>
                  <a:pt x="590" y="191"/>
                </a:cubicBezTo>
                <a:cubicBezTo>
                  <a:pt x="589" y="190"/>
                  <a:pt x="588" y="189"/>
                  <a:pt x="588" y="188"/>
                </a:cubicBezTo>
                <a:cubicBezTo>
                  <a:pt x="588" y="188"/>
                  <a:pt x="589" y="187"/>
                  <a:pt x="589" y="187"/>
                </a:cubicBezTo>
                <a:cubicBezTo>
                  <a:pt x="589" y="186"/>
                  <a:pt x="590" y="183"/>
                  <a:pt x="590" y="183"/>
                </a:cubicBezTo>
                <a:cubicBezTo>
                  <a:pt x="590" y="182"/>
                  <a:pt x="588" y="183"/>
                  <a:pt x="589" y="184"/>
                </a:cubicBezTo>
                <a:cubicBezTo>
                  <a:pt x="589" y="184"/>
                  <a:pt x="587" y="182"/>
                  <a:pt x="588" y="181"/>
                </a:cubicBezTo>
                <a:cubicBezTo>
                  <a:pt x="588" y="180"/>
                  <a:pt x="588" y="180"/>
                  <a:pt x="588" y="180"/>
                </a:cubicBezTo>
                <a:cubicBezTo>
                  <a:pt x="588" y="180"/>
                  <a:pt x="587" y="180"/>
                  <a:pt x="587" y="180"/>
                </a:cubicBezTo>
                <a:cubicBezTo>
                  <a:pt x="587" y="180"/>
                  <a:pt x="586" y="181"/>
                  <a:pt x="586" y="182"/>
                </a:cubicBezTo>
                <a:cubicBezTo>
                  <a:pt x="586" y="182"/>
                  <a:pt x="587" y="182"/>
                  <a:pt x="587" y="182"/>
                </a:cubicBezTo>
                <a:cubicBezTo>
                  <a:pt x="588" y="183"/>
                  <a:pt x="587" y="183"/>
                  <a:pt x="587" y="183"/>
                </a:cubicBezTo>
                <a:cubicBezTo>
                  <a:pt x="587" y="184"/>
                  <a:pt x="587" y="185"/>
                  <a:pt x="586" y="184"/>
                </a:cubicBezTo>
                <a:cubicBezTo>
                  <a:pt x="585" y="184"/>
                  <a:pt x="586" y="184"/>
                  <a:pt x="586" y="183"/>
                </a:cubicBezTo>
                <a:cubicBezTo>
                  <a:pt x="586" y="183"/>
                  <a:pt x="586" y="183"/>
                  <a:pt x="586" y="183"/>
                </a:cubicBezTo>
                <a:cubicBezTo>
                  <a:pt x="586" y="183"/>
                  <a:pt x="586" y="183"/>
                  <a:pt x="586" y="183"/>
                </a:cubicBezTo>
                <a:cubicBezTo>
                  <a:pt x="586" y="183"/>
                  <a:pt x="586" y="183"/>
                  <a:pt x="586" y="183"/>
                </a:cubicBezTo>
                <a:cubicBezTo>
                  <a:pt x="585" y="184"/>
                  <a:pt x="583" y="184"/>
                  <a:pt x="582" y="182"/>
                </a:cubicBezTo>
                <a:cubicBezTo>
                  <a:pt x="581" y="181"/>
                  <a:pt x="582" y="180"/>
                  <a:pt x="582" y="179"/>
                </a:cubicBezTo>
                <a:cubicBezTo>
                  <a:pt x="582" y="179"/>
                  <a:pt x="582" y="179"/>
                  <a:pt x="582" y="179"/>
                </a:cubicBezTo>
                <a:cubicBezTo>
                  <a:pt x="580" y="180"/>
                  <a:pt x="582" y="179"/>
                  <a:pt x="581" y="178"/>
                </a:cubicBezTo>
                <a:cubicBezTo>
                  <a:pt x="581" y="178"/>
                  <a:pt x="580" y="178"/>
                  <a:pt x="580" y="179"/>
                </a:cubicBezTo>
                <a:cubicBezTo>
                  <a:pt x="580" y="179"/>
                  <a:pt x="580" y="179"/>
                  <a:pt x="580" y="179"/>
                </a:cubicBezTo>
                <a:cubicBezTo>
                  <a:pt x="579" y="179"/>
                  <a:pt x="579" y="179"/>
                  <a:pt x="578" y="179"/>
                </a:cubicBezTo>
                <a:cubicBezTo>
                  <a:pt x="575" y="179"/>
                  <a:pt x="578" y="174"/>
                  <a:pt x="576" y="173"/>
                </a:cubicBezTo>
                <a:cubicBezTo>
                  <a:pt x="575" y="173"/>
                  <a:pt x="574" y="173"/>
                  <a:pt x="574" y="174"/>
                </a:cubicBezTo>
                <a:cubicBezTo>
                  <a:pt x="573" y="174"/>
                  <a:pt x="573" y="175"/>
                  <a:pt x="572" y="177"/>
                </a:cubicBezTo>
                <a:cubicBezTo>
                  <a:pt x="574" y="177"/>
                  <a:pt x="575" y="178"/>
                  <a:pt x="574" y="180"/>
                </a:cubicBezTo>
                <a:cubicBezTo>
                  <a:pt x="574" y="184"/>
                  <a:pt x="568" y="184"/>
                  <a:pt x="566" y="181"/>
                </a:cubicBezTo>
                <a:cubicBezTo>
                  <a:pt x="566" y="181"/>
                  <a:pt x="565" y="182"/>
                  <a:pt x="565" y="183"/>
                </a:cubicBezTo>
                <a:cubicBezTo>
                  <a:pt x="565" y="182"/>
                  <a:pt x="565" y="182"/>
                  <a:pt x="565" y="181"/>
                </a:cubicBezTo>
                <a:cubicBezTo>
                  <a:pt x="563" y="183"/>
                  <a:pt x="561" y="184"/>
                  <a:pt x="559" y="184"/>
                </a:cubicBezTo>
                <a:cubicBezTo>
                  <a:pt x="558" y="185"/>
                  <a:pt x="556" y="185"/>
                  <a:pt x="556" y="185"/>
                </a:cubicBezTo>
                <a:cubicBezTo>
                  <a:pt x="555" y="184"/>
                  <a:pt x="557" y="184"/>
                  <a:pt x="558" y="183"/>
                </a:cubicBezTo>
                <a:cubicBezTo>
                  <a:pt x="558" y="183"/>
                  <a:pt x="557" y="183"/>
                  <a:pt x="557" y="183"/>
                </a:cubicBezTo>
                <a:cubicBezTo>
                  <a:pt x="557" y="182"/>
                  <a:pt x="556" y="181"/>
                  <a:pt x="556" y="180"/>
                </a:cubicBezTo>
                <a:cubicBezTo>
                  <a:pt x="555" y="180"/>
                  <a:pt x="553" y="179"/>
                  <a:pt x="554" y="176"/>
                </a:cubicBezTo>
                <a:cubicBezTo>
                  <a:pt x="555" y="175"/>
                  <a:pt x="554" y="173"/>
                  <a:pt x="554" y="172"/>
                </a:cubicBezTo>
                <a:cubicBezTo>
                  <a:pt x="554" y="172"/>
                  <a:pt x="555" y="171"/>
                  <a:pt x="554" y="171"/>
                </a:cubicBezTo>
                <a:cubicBezTo>
                  <a:pt x="553" y="172"/>
                  <a:pt x="551" y="174"/>
                  <a:pt x="550" y="176"/>
                </a:cubicBezTo>
                <a:cubicBezTo>
                  <a:pt x="552" y="178"/>
                  <a:pt x="555" y="180"/>
                  <a:pt x="551" y="183"/>
                </a:cubicBezTo>
                <a:cubicBezTo>
                  <a:pt x="550" y="183"/>
                  <a:pt x="550" y="183"/>
                  <a:pt x="549" y="183"/>
                </a:cubicBezTo>
                <a:cubicBezTo>
                  <a:pt x="550" y="183"/>
                  <a:pt x="550" y="188"/>
                  <a:pt x="548" y="187"/>
                </a:cubicBezTo>
                <a:cubicBezTo>
                  <a:pt x="547" y="186"/>
                  <a:pt x="547" y="185"/>
                  <a:pt x="548" y="184"/>
                </a:cubicBezTo>
                <a:cubicBezTo>
                  <a:pt x="548" y="184"/>
                  <a:pt x="548" y="184"/>
                  <a:pt x="549" y="184"/>
                </a:cubicBezTo>
                <a:cubicBezTo>
                  <a:pt x="547" y="184"/>
                  <a:pt x="544" y="185"/>
                  <a:pt x="543" y="186"/>
                </a:cubicBezTo>
                <a:cubicBezTo>
                  <a:pt x="541" y="188"/>
                  <a:pt x="543" y="189"/>
                  <a:pt x="540" y="187"/>
                </a:cubicBezTo>
                <a:cubicBezTo>
                  <a:pt x="540" y="187"/>
                  <a:pt x="539" y="186"/>
                  <a:pt x="538" y="187"/>
                </a:cubicBezTo>
                <a:cubicBezTo>
                  <a:pt x="538" y="187"/>
                  <a:pt x="535" y="192"/>
                  <a:pt x="535" y="189"/>
                </a:cubicBezTo>
                <a:cubicBezTo>
                  <a:pt x="535" y="188"/>
                  <a:pt x="536" y="188"/>
                  <a:pt x="536" y="188"/>
                </a:cubicBezTo>
                <a:cubicBezTo>
                  <a:pt x="535" y="187"/>
                  <a:pt x="531" y="188"/>
                  <a:pt x="531" y="187"/>
                </a:cubicBezTo>
                <a:cubicBezTo>
                  <a:pt x="530" y="186"/>
                  <a:pt x="535" y="184"/>
                  <a:pt x="532" y="182"/>
                </a:cubicBezTo>
                <a:cubicBezTo>
                  <a:pt x="531" y="182"/>
                  <a:pt x="531" y="182"/>
                  <a:pt x="531" y="182"/>
                </a:cubicBezTo>
                <a:cubicBezTo>
                  <a:pt x="531" y="182"/>
                  <a:pt x="531" y="181"/>
                  <a:pt x="531" y="181"/>
                </a:cubicBezTo>
                <a:cubicBezTo>
                  <a:pt x="532" y="179"/>
                  <a:pt x="532" y="179"/>
                  <a:pt x="531" y="178"/>
                </a:cubicBezTo>
                <a:cubicBezTo>
                  <a:pt x="530" y="179"/>
                  <a:pt x="528" y="180"/>
                  <a:pt x="528" y="178"/>
                </a:cubicBezTo>
                <a:cubicBezTo>
                  <a:pt x="528" y="178"/>
                  <a:pt x="528" y="177"/>
                  <a:pt x="529" y="177"/>
                </a:cubicBezTo>
                <a:cubicBezTo>
                  <a:pt x="529" y="176"/>
                  <a:pt x="530" y="176"/>
                  <a:pt x="529" y="176"/>
                </a:cubicBezTo>
                <a:cubicBezTo>
                  <a:pt x="529" y="175"/>
                  <a:pt x="527" y="176"/>
                  <a:pt x="527" y="175"/>
                </a:cubicBezTo>
                <a:cubicBezTo>
                  <a:pt x="526" y="174"/>
                  <a:pt x="528" y="172"/>
                  <a:pt x="527" y="171"/>
                </a:cubicBezTo>
                <a:cubicBezTo>
                  <a:pt x="526" y="169"/>
                  <a:pt x="524" y="172"/>
                  <a:pt x="521" y="172"/>
                </a:cubicBezTo>
                <a:cubicBezTo>
                  <a:pt x="521" y="172"/>
                  <a:pt x="519" y="170"/>
                  <a:pt x="517" y="172"/>
                </a:cubicBezTo>
                <a:cubicBezTo>
                  <a:pt x="516" y="173"/>
                  <a:pt x="518" y="176"/>
                  <a:pt x="515" y="177"/>
                </a:cubicBezTo>
                <a:cubicBezTo>
                  <a:pt x="514" y="178"/>
                  <a:pt x="509" y="180"/>
                  <a:pt x="508" y="178"/>
                </a:cubicBezTo>
                <a:cubicBezTo>
                  <a:pt x="508" y="177"/>
                  <a:pt x="510" y="177"/>
                  <a:pt x="510" y="177"/>
                </a:cubicBezTo>
                <a:cubicBezTo>
                  <a:pt x="511" y="176"/>
                  <a:pt x="509" y="174"/>
                  <a:pt x="509" y="174"/>
                </a:cubicBezTo>
                <a:cubicBezTo>
                  <a:pt x="510" y="172"/>
                  <a:pt x="512" y="172"/>
                  <a:pt x="512" y="171"/>
                </a:cubicBezTo>
                <a:cubicBezTo>
                  <a:pt x="512" y="171"/>
                  <a:pt x="511" y="171"/>
                  <a:pt x="511" y="170"/>
                </a:cubicBezTo>
                <a:cubicBezTo>
                  <a:pt x="511" y="170"/>
                  <a:pt x="512" y="170"/>
                  <a:pt x="512" y="170"/>
                </a:cubicBezTo>
                <a:cubicBezTo>
                  <a:pt x="511" y="168"/>
                  <a:pt x="511" y="167"/>
                  <a:pt x="512" y="166"/>
                </a:cubicBezTo>
                <a:cubicBezTo>
                  <a:pt x="512" y="166"/>
                  <a:pt x="512" y="166"/>
                  <a:pt x="512" y="165"/>
                </a:cubicBezTo>
                <a:cubicBezTo>
                  <a:pt x="512" y="165"/>
                  <a:pt x="512" y="165"/>
                  <a:pt x="512" y="165"/>
                </a:cubicBezTo>
                <a:cubicBezTo>
                  <a:pt x="511" y="165"/>
                  <a:pt x="511" y="164"/>
                  <a:pt x="513" y="163"/>
                </a:cubicBezTo>
                <a:cubicBezTo>
                  <a:pt x="513" y="163"/>
                  <a:pt x="513" y="162"/>
                  <a:pt x="513" y="162"/>
                </a:cubicBezTo>
                <a:cubicBezTo>
                  <a:pt x="513" y="162"/>
                  <a:pt x="512" y="162"/>
                  <a:pt x="512" y="162"/>
                </a:cubicBezTo>
                <a:cubicBezTo>
                  <a:pt x="511" y="162"/>
                  <a:pt x="510" y="162"/>
                  <a:pt x="510" y="162"/>
                </a:cubicBezTo>
                <a:cubicBezTo>
                  <a:pt x="509" y="162"/>
                  <a:pt x="509" y="162"/>
                  <a:pt x="509" y="161"/>
                </a:cubicBezTo>
                <a:cubicBezTo>
                  <a:pt x="508" y="161"/>
                  <a:pt x="509" y="160"/>
                  <a:pt x="509" y="160"/>
                </a:cubicBezTo>
                <a:cubicBezTo>
                  <a:pt x="509" y="159"/>
                  <a:pt x="509" y="158"/>
                  <a:pt x="509" y="158"/>
                </a:cubicBezTo>
                <a:cubicBezTo>
                  <a:pt x="510" y="158"/>
                  <a:pt x="513" y="158"/>
                  <a:pt x="515" y="156"/>
                </a:cubicBezTo>
                <a:cubicBezTo>
                  <a:pt x="514" y="158"/>
                  <a:pt x="515" y="159"/>
                  <a:pt x="516" y="157"/>
                </a:cubicBezTo>
                <a:cubicBezTo>
                  <a:pt x="518" y="156"/>
                  <a:pt x="516" y="156"/>
                  <a:pt x="516" y="156"/>
                </a:cubicBezTo>
                <a:cubicBezTo>
                  <a:pt x="516" y="156"/>
                  <a:pt x="517" y="155"/>
                  <a:pt x="516" y="154"/>
                </a:cubicBezTo>
                <a:cubicBezTo>
                  <a:pt x="516" y="154"/>
                  <a:pt x="516" y="154"/>
                  <a:pt x="516" y="154"/>
                </a:cubicBezTo>
                <a:cubicBezTo>
                  <a:pt x="514" y="155"/>
                  <a:pt x="512" y="156"/>
                  <a:pt x="510" y="155"/>
                </a:cubicBezTo>
                <a:cubicBezTo>
                  <a:pt x="510" y="156"/>
                  <a:pt x="510" y="156"/>
                  <a:pt x="510" y="156"/>
                </a:cubicBezTo>
                <a:cubicBezTo>
                  <a:pt x="510" y="156"/>
                  <a:pt x="511" y="156"/>
                  <a:pt x="511" y="156"/>
                </a:cubicBezTo>
                <a:cubicBezTo>
                  <a:pt x="510" y="157"/>
                  <a:pt x="510" y="156"/>
                  <a:pt x="510" y="155"/>
                </a:cubicBezTo>
                <a:cubicBezTo>
                  <a:pt x="509" y="155"/>
                  <a:pt x="509" y="154"/>
                  <a:pt x="509" y="154"/>
                </a:cubicBezTo>
                <a:cubicBezTo>
                  <a:pt x="509" y="152"/>
                  <a:pt x="511" y="150"/>
                  <a:pt x="514" y="150"/>
                </a:cubicBezTo>
                <a:cubicBezTo>
                  <a:pt x="514" y="149"/>
                  <a:pt x="512" y="148"/>
                  <a:pt x="513" y="147"/>
                </a:cubicBezTo>
                <a:cubicBezTo>
                  <a:pt x="514" y="145"/>
                  <a:pt x="517" y="144"/>
                  <a:pt x="516" y="143"/>
                </a:cubicBezTo>
                <a:cubicBezTo>
                  <a:pt x="517" y="143"/>
                  <a:pt x="520" y="142"/>
                  <a:pt x="521" y="143"/>
                </a:cubicBezTo>
                <a:cubicBezTo>
                  <a:pt x="524" y="144"/>
                  <a:pt x="523" y="145"/>
                  <a:pt x="527" y="143"/>
                </a:cubicBezTo>
                <a:cubicBezTo>
                  <a:pt x="527" y="143"/>
                  <a:pt x="528" y="143"/>
                  <a:pt x="529" y="143"/>
                </a:cubicBezTo>
                <a:cubicBezTo>
                  <a:pt x="531" y="142"/>
                  <a:pt x="530" y="142"/>
                  <a:pt x="529" y="139"/>
                </a:cubicBezTo>
                <a:cubicBezTo>
                  <a:pt x="532" y="141"/>
                  <a:pt x="531" y="139"/>
                  <a:pt x="529" y="138"/>
                </a:cubicBezTo>
                <a:cubicBezTo>
                  <a:pt x="529" y="139"/>
                  <a:pt x="529" y="139"/>
                  <a:pt x="529" y="139"/>
                </a:cubicBezTo>
                <a:cubicBezTo>
                  <a:pt x="529" y="139"/>
                  <a:pt x="529" y="139"/>
                  <a:pt x="529" y="138"/>
                </a:cubicBezTo>
                <a:cubicBezTo>
                  <a:pt x="528" y="138"/>
                  <a:pt x="528" y="138"/>
                  <a:pt x="528" y="138"/>
                </a:cubicBezTo>
                <a:cubicBezTo>
                  <a:pt x="528" y="138"/>
                  <a:pt x="526" y="141"/>
                  <a:pt x="526" y="139"/>
                </a:cubicBezTo>
                <a:cubicBezTo>
                  <a:pt x="525" y="139"/>
                  <a:pt x="528" y="135"/>
                  <a:pt x="525" y="135"/>
                </a:cubicBezTo>
                <a:cubicBezTo>
                  <a:pt x="531" y="133"/>
                  <a:pt x="523" y="131"/>
                  <a:pt x="520" y="130"/>
                </a:cubicBezTo>
                <a:cubicBezTo>
                  <a:pt x="519" y="129"/>
                  <a:pt x="518" y="127"/>
                  <a:pt x="518" y="126"/>
                </a:cubicBezTo>
                <a:cubicBezTo>
                  <a:pt x="517" y="126"/>
                  <a:pt x="516" y="125"/>
                  <a:pt x="517" y="124"/>
                </a:cubicBezTo>
                <a:cubicBezTo>
                  <a:pt x="517" y="124"/>
                  <a:pt x="517" y="124"/>
                  <a:pt x="517" y="124"/>
                </a:cubicBezTo>
                <a:cubicBezTo>
                  <a:pt x="516" y="123"/>
                  <a:pt x="516" y="123"/>
                  <a:pt x="515" y="123"/>
                </a:cubicBezTo>
                <a:cubicBezTo>
                  <a:pt x="515" y="123"/>
                  <a:pt x="514" y="123"/>
                  <a:pt x="514" y="123"/>
                </a:cubicBezTo>
                <a:cubicBezTo>
                  <a:pt x="514" y="123"/>
                  <a:pt x="513" y="123"/>
                  <a:pt x="513" y="124"/>
                </a:cubicBezTo>
                <a:cubicBezTo>
                  <a:pt x="513" y="124"/>
                  <a:pt x="511" y="125"/>
                  <a:pt x="510" y="125"/>
                </a:cubicBezTo>
                <a:cubicBezTo>
                  <a:pt x="509" y="126"/>
                  <a:pt x="508" y="125"/>
                  <a:pt x="508" y="124"/>
                </a:cubicBezTo>
                <a:cubicBezTo>
                  <a:pt x="507" y="124"/>
                  <a:pt x="506" y="125"/>
                  <a:pt x="505" y="125"/>
                </a:cubicBezTo>
                <a:cubicBezTo>
                  <a:pt x="504" y="124"/>
                  <a:pt x="506" y="124"/>
                  <a:pt x="507" y="123"/>
                </a:cubicBezTo>
                <a:cubicBezTo>
                  <a:pt x="507" y="122"/>
                  <a:pt x="507" y="122"/>
                  <a:pt x="508" y="121"/>
                </a:cubicBezTo>
                <a:cubicBezTo>
                  <a:pt x="506" y="121"/>
                  <a:pt x="504" y="121"/>
                  <a:pt x="504" y="121"/>
                </a:cubicBezTo>
                <a:cubicBezTo>
                  <a:pt x="504" y="121"/>
                  <a:pt x="504" y="121"/>
                  <a:pt x="503" y="121"/>
                </a:cubicBezTo>
                <a:cubicBezTo>
                  <a:pt x="504" y="122"/>
                  <a:pt x="505" y="122"/>
                  <a:pt x="506" y="122"/>
                </a:cubicBezTo>
                <a:cubicBezTo>
                  <a:pt x="505" y="123"/>
                  <a:pt x="504" y="123"/>
                  <a:pt x="502" y="122"/>
                </a:cubicBezTo>
                <a:cubicBezTo>
                  <a:pt x="502" y="123"/>
                  <a:pt x="502" y="123"/>
                  <a:pt x="502" y="123"/>
                </a:cubicBezTo>
                <a:cubicBezTo>
                  <a:pt x="502" y="124"/>
                  <a:pt x="501" y="125"/>
                  <a:pt x="500" y="125"/>
                </a:cubicBezTo>
                <a:cubicBezTo>
                  <a:pt x="500" y="126"/>
                  <a:pt x="499" y="126"/>
                  <a:pt x="498" y="125"/>
                </a:cubicBezTo>
                <a:cubicBezTo>
                  <a:pt x="498" y="125"/>
                  <a:pt x="499" y="124"/>
                  <a:pt x="499" y="124"/>
                </a:cubicBezTo>
                <a:cubicBezTo>
                  <a:pt x="499" y="123"/>
                  <a:pt x="498" y="122"/>
                  <a:pt x="499" y="123"/>
                </a:cubicBezTo>
                <a:cubicBezTo>
                  <a:pt x="499" y="123"/>
                  <a:pt x="499" y="123"/>
                  <a:pt x="500" y="123"/>
                </a:cubicBezTo>
                <a:cubicBezTo>
                  <a:pt x="500" y="123"/>
                  <a:pt x="500" y="123"/>
                  <a:pt x="500" y="123"/>
                </a:cubicBezTo>
                <a:cubicBezTo>
                  <a:pt x="500" y="123"/>
                  <a:pt x="500" y="123"/>
                  <a:pt x="501" y="122"/>
                </a:cubicBezTo>
                <a:cubicBezTo>
                  <a:pt x="500" y="122"/>
                  <a:pt x="499" y="122"/>
                  <a:pt x="499" y="121"/>
                </a:cubicBezTo>
                <a:cubicBezTo>
                  <a:pt x="499" y="121"/>
                  <a:pt x="500" y="121"/>
                  <a:pt x="501" y="121"/>
                </a:cubicBezTo>
                <a:cubicBezTo>
                  <a:pt x="501" y="121"/>
                  <a:pt x="501" y="121"/>
                  <a:pt x="500" y="120"/>
                </a:cubicBezTo>
                <a:cubicBezTo>
                  <a:pt x="499" y="120"/>
                  <a:pt x="499" y="121"/>
                  <a:pt x="498" y="121"/>
                </a:cubicBezTo>
                <a:cubicBezTo>
                  <a:pt x="497" y="121"/>
                  <a:pt x="496" y="117"/>
                  <a:pt x="494" y="120"/>
                </a:cubicBezTo>
                <a:cubicBezTo>
                  <a:pt x="494" y="120"/>
                  <a:pt x="495" y="121"/>
                  <a:pt x="495" y="121"/>
                </a:cubicBezTo>
                <a:cubicBezTo>
                  <a:pt x="495" y="121"/>
                  <a:pt x="495" y="121"/>
                  <a:pt x="495" y="121"/>
                </a:cubicBezTo>
                <a:cubicBezTo>
                  <a:pt x="495" y="121"/>
                  <a:pt x="496" y="121"/>
                  <a:pt x="496" y="121"/>
                </a:cubicBezTo>
                <a:cubicBezTo>
                  <a:pt x="497" y="122"/>
                  <a:pt x="495" y="123"/>
                  <a:pt x="495" y="122"/>
                </a:cubicBezTo>
                <a:cubicBezTo>
                  <a:pt x="495" y="122"/>
                  <a:pt x="495" y="122"/>
                  <a:pt x="495" y="122"/>
                </a:cubicBezTo>
                <a:cubicBezTo>
                  <a:pt x="494" y="123"/>
                  <a:pt x="490" y="122"/>
                  <a:pt x="489" y="122"/>
                </a:cubicBezTo>
                <a:cubicBezTo>
                  <a:pt x="491" y="121"/>
                  <a:pt x="489" y="120"/>
                  <a:pt x="488" y="119"/>
                </a:cubicBezTo>
                <a:cubicBezTo>
                  <a:pt x="486" y="120"/>
                  <a:pt x="484" y="121"/>
                  <a:pt x="482" y="122"/>
                </a:cubicBezTo>
                <a:cubicBezTo>
                  <a:pt x="483" y="121"/>
                  <a:pt x="486" y="120"/>
                  <a:pt x="488" y="119"/>
                </a:cubicBezTo>
                <a:cubicBezTo>
                  <a:pt x="487" y="118"/>
                  <a:pt x="486" y="118"/>
                  <a:pt x="487" y="117"/>
                </a:cubicBezTo>
                <a:cubicBezTo>
                  <a:pt x="488" y="115"/>
                  <a:pt x="492" y="116"/>
                  <a:pt x="493" y="114"/>
                </a:cubicBezTo>
                <a:cubicBezTo>
                  <a:pt x="493" y="113"/>
                  <a:pt x="492" y="114"/>
                  <a:pt x="492" y="114"/>
                </a:cubicBezTo>
                <a:cubicBezTo>
                  <a:pt x="492" y="112"/>
                  <a:pt x="494" y="111"/>
                  <a:pt x="491" y="110"/>
                </a:cubicBezTo>
                <a:cubicBezTo>
                  <a:pt x="491" y="110"/>
                  <a:pt x="486" y="109"/>
                  <a:pt x="484" y="110"/>
                </a:cubicBezTo>
                <a:cubicBezTo>
                  <a:pt x="481" y="110"/>
                  <a:pt x="479" y="110"/>
                  <a:pt x="477" y="109"/>
                </a:cubicBezTo>
                <a:cubicBezTo>
                  <a:pt x="480" y="109"/>
                  <a:pt x="481" y="107"/>
                  <a:pt x="483" y="106"/>
                </a:cubicBezTo>
                <a:cubicBezTo>
                  <a:pt x="484" y="106"/>
                  <a:pt x="484" y="106"/>
                  <a:pt x="484" y="106"/>
                </a:cubicBezTo>
                <a:cubicBezTo>
                  <a:pt x="488" y="105"/>
                  <a:pt x="491" y="108"/>
                  <a:pt x="494" y="107"/>
                </a:cubicBezTo>
                <a:cubicBezTo>
                  <a:pt x="494" y="107"/>
                  <a:pt x="498" y="104"/>
                  <a:pt x="498" y="103"/>
                </a:cubicBezTo>
                <a:cubicBezTo>
                  <a:pt x="499" y="103"/>
                  <a:pt x="500" y="104"/>
                  <a:pt x="501" y="103"/>
                </a:cubicBezTo>
                <a:cubicBezTo>
                  <a:pt x="500" y="103"/>
                  <a:pt x="500" y="103"/>
                  <a:pt x="499" y="103"/>
                </a:cubicBezTo>
                <a:cubicBezTo>
                  <a:pt x="499" y="103"/>
                  <a:pt x="499" y="103"/>
                  <a:pt x="499" y="103"/>
                </a:cubicBezTo>
                <a:cubicBezTo>
                  <a:pt x="498" y="103"/>
                  <a:pt x="497" y="104"/>
                  <a:pt x="496" y="104"/>
                </a:cubicBezTo>
                <a:cubicBezTo>
                  <a:pt x="496" y="104"/>
                  <a:pt x="496" y="104"/>
                  <a:pt x="496" y="104"/>
                </a:cubicBezTo>
                <a:cubicBezTo>
                  <a:pt x="496" y="104"/>
                  <a:pt x="496" y="104"/>
                  <a:pt x="496" y="104"/>
                </a:cubicBezTo>
                <a:cubicBezTo>
                  <a:pt x="494" y="104"/>
                  <a:pt x="493" y="104"/>
                  <a:pt x="493" y="103"/>
                </a:cubicBezTo>
                <a:cubicBezTo>
                  <a:pt x="493" y="103"/>
                  <a:pt x="493" y="102"/>
                  <a:pt x="493" y="102"/>
                </a:cubicBezTo>
                <a:cubicBezTo>
                  <a:pt x="493" y="101"/>
                  <a:pt x="494" y="100"/>
                  <a:pt x="495" y="100"/>
                </a:cubicBezTo>
                <a:cubicBezTo>
                  <a:pt x="496" y="99"/>
                  <a:pt x="499" y="100"/>
                  <a:pt x="499" y="102"/>
                </a:cubicBezTo>
                <a:cubicBezTo>
                  <a:pt x="499" y="102"/>
                  <a:pt x="499" y="102"/>
                  <a:pt x="499" y="102"/>
                </a:cubicBezTo>
                <a:cubicBezTo>
                  <a:pt x="499" y="101"/>
                  <a:pt x="501" y="100"/>
                  <a:pt x="502" y="100"/>
                </a:cubicBezTo>
                <a:cubicBezTo>
                  <a:pt x="502" y="99"/>
                  <a:pt x="502" y="99"/>
                  <a:pt x="501" y="99"/>
                </a:cubicBezTo>
                <a:cubicBezTo>
                  <a:pt x="501" y="99"/>
                  <a:pt x="501" y="99"/>
                  <a:pt x="501" y="99"/>
                </a:cubicBezTo>
                <a:cubicBezTo>
                  <a:pt x="500" y="100"/>
                  <a:pt x="500" y="99"/>
                  <a:pt x="501" y="98"/>
                </a:cubicBezTo>
                <a:cubicBezTo>
                  <a:pt x="499" y="97"/>
                  <a:pt x="497" y="97"/>
                  <a:pt x="495" y="96"/>
                </a:cubicBezTo>
                <a:cubicBezTo>
                  <a:pt x="497" y="95"/>
                  <a:pt x="497" y="95"/>
                  <a:pt x="497" y="94"/>
                </a:cubicBezTo>
                <a:cubicBezTo>
                  <a:pt x="495" y="95"/>
                  <a:pt x="492" y="95"/>
                  <a:pt x="494" y="93"/>
                </a:cubicBezTo>
                <a:cubicBezTo>
                  <a:pt x="494" y="93"/>
                  <a:pt x="495" y="93"/>
                  <a:pt x="495" y="93"/>
                </a:cubicBezTo>
                <a:cubicBezTo>
                  <a:pt x="494" y="92"/>
                  <a:pt x="494" y="92"/>
                  <a:pt x="494" y="92"/>
                </a:cubicBezTo>
                <a:cubicBezTo>
                  <a:pt x="491" y="93"/>
                  <a:pt x="489" y="94"/>
                  <a:pt x="486" y="95"/>
                </a:cubicBezTo>
                <a:cubicBezTo>
                  <a:pt x="483" y="96"/>
                  <a:pt x="487" y="93"/>
                  <a:pt x="489" y="92"/>
                </a:cubicBezTo>
                <a:cubicBezTo>
                  <a:pt x="490" y="91"/>
                  <a:pt x="492" y="91"/>
                  <a:pt x="494" y="90"/>
                </a:cubicBezTo>
                <a:cubicBezTo>
                  <a:pt x="494" y="90"/>
                  <a:pt x="495" y="89"/>
                  <a:pt x="495" y="89"/>
                </a:cubicBezTo>
                <a:cubicBezTo>
                  <a:pt x="495" y="89"/>
                  <a:pt x="496" y="89"/>
                  <a:pt x="497" y="89"/>
                </a:cubicBezTo>
                <a:cubicBezTo>
                  <a:pt x="498" y="88"/>
                  <a:pt x="499" y="87"/>
                  <a:pt x="500" y="86"/>
                </a:cubicBezTo>
                <a:cubicBezTo>
                  <a:pt x="501" y="85"/>
                  <a:pt x="502" y="84"/>
                  <a:pt x="501" y="83"/>
                </a:cubicBezTo>
                <a:cubicBezTo>
                  <a:pt x="501" y="83"/>
                  <a:pt x="500" y="83"/>
                  <a:pt x="500" y="82"/>
                </a:cubicBezTo>
                <a:cubicBezTo>
                  <a:pt x="500" y="82"/>
                  <a:pt x="500" y="83"/>
                  <a:pt x="500" y="83"/>
                </a:cubicBezTo>
                <a:cubicBezTo>
                  <a:pt x="499" y="83"/>
                  <a:pt x="499" y="82"/>
                  <a:pt x="499" y="82"/>
                </a:cubicBezTo>
                <a:cubicBezTo>
                  <a:pt x="498" y="82"/>
                  <a:pt x="496" y="82"/>
                  <a:pt x="497" y="81"/>
                </a:cubicBezTo>
                <a:cubicBezTo>
                  <a:pt x="496" y="81"/>
                  <a:pt x="496" y="81"/>
                  <a:pt x="496" y="81"/>
                </a:cubicBezTo>
                <a:cubicBezTo>
                  <a:pt x="496" y="79"/>
                  <a:pt x="497" y="79"/>
                  <a:pt x="499" y="78"/>
                </a:cubicBezTo>
                <a:cubicBezTo>
                  <a:pt x="499" y="77"/>
                  <a:pt x="499" y="77"/>
                  <a:pt x="499" y="76"/>
                </a:cubicBezTo>
                <a:cubicBezTo>
                  <a:pt x="499" y="76"/>
                  <a:pt x="500" y="76"/>
                  <a:pt x="500" y="76"/>
                </a:cubicBezTo>
                <a:cubicBezTo>
                  <a:pt x="499" y="75"/>
                  <a:pt x="497" y="75"/>
                  <a:pt x="495" y="75"/>
                </a:cubicBezTo>
                <a:cubicBezTo>
                  <a:pt x="494" y="75"/>
                  <a:pt x="492" y="75"/>
                  <a:pt x="492" y="74"/>
                </a:cubicBezTo>
                <a:cubicBezTo>
                  <a:pt x="491" y="74"/>
                  <a:pt x="490" y="73"/>
                  <a:pt x="490" y="72"/>
                </a:cubicBezTo>
                <a:cubicBezTo>
                  <a:pt x="489" y="73"/>
                  <a:pt x="489" y="73"/>
                  <a:pt x="488" y="72"/>
                </a:cubicBezTo>
                <a:cubicBezTo>
                  <a:pt x="487" y="71"/>
                  <a:pt x="486" y="69"/>
                  <a:pt x="488" y="68"/>
                </a:cubicBezTo>
                <a:cubicBezTo>
                  <a:pt x="488" y="68"/>
                  <a:pt x="488" y="68"/>
                  <a:pt x="488" y="68"/>
                </a:cubicBezTo>
                <a:cubicBezTo>
                  <a:pt x="488" y="68"/>
                  <a:pt x="488" y="67"/>
                  <a:pt x="488" y="67"/>
                </a:cubicBezTo>
                <a:cubicBezTo>
                  <a:pt x="487" y="67"/>
                  <a:pt x="486" y="68"/>
                  <a:pt x="485" y="67"/>
                </a:cubicBezTo>
                <a:cubicBezTo>
                  <a:pt x="485" y="68"/>
                  <a:pt x="484" y="69"/>
                  <a:pt x="484" y="69"/>
                </a:cubicBezTo>
                <a:cubicBezTo>
                  <a:pt x="484" y="70"/>
                  <a:pt x="482" y="70"/>
                  <a:pt x="481" y="71"/>
                </a:cubicBezTo>
                <a:cubicBezTo>
                  <a:pt x="480" y="73"/>
                  <a:pt x="479" y="73"/>
                  <a:pt x="478" y="74"/>
                </a:cubicBezTo>
                <a:cubicBezTo>
                  <a:pt x="477" y="74"/>
                  <a:pt x="478" y="75"/>
                  <a:pt x="478" y="75"/>
                </a:cubicBezTo>
                <a:cubicBezTo>
                  <a:pt x="477" y="75"/>
                  <a:pt x="475" y="74"/>
                  <a:pt x="475" y="75"/>
                </a:cubicBezTo>
                <a:cubicBezTo>
                  <a:pt x="475" y="75"/>
                  <a:pt x="475" y="75"/>
                  <a:pt x="474" y="75"/>
                </a:cubicBezTo>
                <a:cubicBezTo>
                  <a:pt x="474" y="75"/>
                  <a:pt x="474" y="75"/>
                  <a:pt x="474" y="75"/>
                </a:cubicBezTo>
                <a:cubicBezTo>
                  <a:pt x="474" y="75"/>
                  <a:pt x="474" y="75"/>
                  <a:pt x="473" y="75"/>
                </a:cubicBezTo>
                <a:cubicBezTo>
                  <a:pt x="472" y="75"/>
                  <a:pt x="472" y="76"/>
                  <a:pt x="471" y="76"/>
                </a:cubicBezTo>
                <a:cubicBezTo>
                  <a:pt x="471" y="76"/>
                  <a:pt x="472" y="75"/>
                  <a:pt x="472" y="75"/>
                </a:cubicBezTo>
                <a:cubicBezTo>
                  <a:pt x="470" y="73"/>
                  <a:pt x="466" y="70"/>
                  <a:pt x="465" y="69"/>
                </a:cubicBezTo>
                <a:cubicBezTo>
                  <a:pt x="465" y="67"/>
                  <a:pt x="470" y="66"/>
                  <a:pt x="471" y="64"/>
                </a:cubicBezTo>
                <a:cubicBezTo>
                  <a:pt x="471" y="63"/>
                  <a:pt x="469" y="62"/>
                  <a:pt x="471" y="61"/>
                </a:cubicBezTo>
                <a:cubicBezTo>
                  <a:pt x="472" y="60"/>
                  <a:pt x="472" y="62"/>
                  <a:pt x="473" y="63"/>
                </a:cubicBezTo>
                <a:cubicBezTo>
                  <a:pt x="474" y="63"/>
                  <a:pt x="478" y="63"/>
                  <a:pt x="481" y="63"/>
                </a:cubicBezTo>
                <a:cubicBezTo>
                  <a:pt x="482" y="64"/>
                  <a:pt x="483" y="64"/>
                  <a:pt x="484" y="64"/>
                </a:cubicBezTo>
                <a:cubicBezTo>
                  <a:pt x="485" y="63"/>
                  <a:pt x="489" y="62"/>
                  <a:pt x="490" y="62"/>
                </a:cubicBezTo>
                <a:cubicBezTo>
                  <a:pt x="490" y="61"/>
                  <a:pt x="488" y="62"/>
                  <a:pt x="488" y="60"/>
                </a:cubicBezTo>
                <a:cubicBezTo>
                  <a:pt x="489" y="60"/>
                  <a:pt x="490" y="61"/>
                  <a:pt x="491" y="61"/>
                </a:cubicBezTo>
                <a:cubicBezTo>
                  <a:pt x="493" y="60"/>
                  <a:pt x="497" y="60"/>
                  <a:pt x="499" y="59"/>
                </a:cubicBezTo>
                <a:cubicBezTo>
                  <a:pt x="499" y="58"/>
                  <a:pt x="499" y="57"/>
                  <a:pt x="498" y="57"/>
                </a:cubicBezTo>
                <a:cubicBezTo>
                  <a:pt x="498" y="57"/>
                  <a:pt x="497" y="58"/>
                  <a:pt x="497" y="58"/>
                </a:cubicBezTo>
                <a:cubicBezTo>
                  <a:pt x="497" y="58"/>
                  <a:pt x="494" y="57"/>
                  <a:pt x="491" y="56"/>
                </a:cubicBezTo>
                <a:cubicBezTo>
                  <a:pt x="490" y="56"/>
                  <a:pt x="490" y="56"/>
                  <a:pt x="490" y="55"/>
                </a:cubicBezTo>
                <a:cubicBezTo>
                  <a:pt x="489" y="55"/>
                  <a:pt x="489" y="55"/>
                  <a:pt x="489" y="55"/>
                </a:cubicBezTo>
                <a:cubicBezTo>
                  <a:pt x="489" y="55"/>
                  <a:pt x="489" y="55"/>
                  <a:pt x="489" y="55"/>
                </a:cubicBezTo>
                <a:cubicBezTo>
                  <a:pt x="489" y="54"/>
                  <a:pt x="489" y="53"/>
                  <a:pt x="489" y="53"/>
                </a:cubicBezTo>
                <a:cubicBezTo>
                  <a:pt x="487" y="51"/>
                  <a:pt x="483" y="53"/>
                  <a:pt x="481" y="52"/>
                </a:cubicBezTo>
                <a:cubicBezTo>
                  <a:pt x="481" y="52"/>
                  <a:pt x="480" y="52"/>
                  <a:pt x="479" y="52"/>
                </a:cubicBezTo>
                <a:cubicBezTo>
                  <a:pt x="479" y="52"/>
                  <a:pt x="479" y="52"/>
                  <a:pt x="479" y="52"/>
                </a:cubicBezTo>
                <a:cubicBezTo>
                  <a:pt x="479" y="54"/>
                  <a:pt x="474" y="56"/>
                  <a:pt x="473" y="54"/>
                </a:cubicBezTo>
                <a:cubicBezTo>
                  <a:pt x="472" y="53"/>
                  <a:pt x="473" y="51"/>
                  <a:pt x="475" y="50"/>
                </a:cubicBezTo>
                <a:cubicBezTo>
                  <a:pt x="475" y="50"/>
                  <a:pt x="475" y="50"/>
                  <a:pt x="475" y="50"/>
                </a:cubicBezTo>
                <a:cubicBezTo>
                  <a:pt x="475" y="50"/>
                  <a:pt x="475" y="49"/>
                  <a:pt x="475" y="49"/>
                </a:cubicBezTo>
                <a:cubicBezTo>
                  <a:pt x="475" y="49"/>
                  <a:pt x="475" y="49"/>
                  <a:pt x="475" y="49"/>
                </a:cubicBezTo>
                <a:cubicBezTo>
                  <a:pt x="475" y="49"/>
                  <a:pt x="475" y="49"/>
                  <a:pt x="475" y="49"/>
                </a:cubicBezTo>
                <a:cubicBezTo>
                  <a:pt x="474" y="49"/>
                  <a:pt x="473" y="49"/>
                  <a:pt x="472" y="49"/>
                </a:cubicBezTo>
                <a:cubicBezTo>
                  <a:pt x="472" y="49"/>
                  <a:pt x="472" y="50"/>
                  <a:pt x="472" y="50"/>
                </a:cubicBezTo>
                <a:cubicBezTo>
                  <a:pt x="471" y="50"/>
                  <a:pt x="471" y="51"/>
                  <a:pt x="471" y="51"/>
                </a:cubicBezTo>
                <a:cubicBezTo>
                  <a:pt x="470" y="53"/>
                  <a:pt x="467" y="53"/>
                  <a:pt x="465" y="55"/>
                </a:cubicBezTo>
                <a:cubicBezTo>
                  <a:pt x="464" y="56"/>
                  <a:pt x="461" y="59"/>
                  <a:pt x="460" y="59"/>
                </a:cubicBezTo>
                <a:cubicBezTo>
                  <a:pt x="459" y="59"/>
                  <a:pt x="458" y="57"/>
                  <a:pt x="458" y="56"/>
                </a:cubicBezTo>
                <a:cubicBezTo>
                  <a:pt x="457" y="56"/>
                  <a:pt x="457" y="57"/>
                  <a:pt x="457" y="57"/>
                </a:cubicBezTo>
                <a:cubicBezTo>
                  <a:pt x="456" y="58"/>
                  <a:pt x="455" y="57"/>
                  <a:pt x="454" y="56"/>
                </a:cubicBezTo>
                <a:cubicBezTo>
                  <a:pt x="453" y="56"/>
                  <a:pt x="452" y="56"/>
                  <a:pt x="452" y="55"/>
                </a:cubicBezTo>
                <a:cubicBezTo>
                  <a:pt x="452" y="55"/>
                  <a:pt x="453" y="54"/>
                  <a:pt x="454" y="53"/>
                </a:cubicBezTo>
                <a:cubicBezTo>
                  <a:pt x="455" y="52"/>
                  <a:pt x="456" y="51"/>
                  <a:pt x="457" y="53"/>
                </a:cubicBezTo>
                <a:cubicBezTo>
                  <a:pt x="458" y="53"/>
                  <a:pt x="458" y="53"/>
                  <a:pt x="458" y="51"/>
                </a:cubicBezTo>
                <a:cubicBezTo>
                  <a:pt x="456" y="51"/>
                  <a:pt x="455" y="51"/>
                  <a:pt x="455" y="50"/>
                </a:cubicBezTo>
                <a:cubicBezTo>
                  <a:pt x="455" y="49"/>
                  <a:pt x="456" y="48"/>
                  <a:pt x="457" y="48"/>
                </a:cubicBezTo>
                <a:cubicBezTo>
                  <a:pt x="456" y="47"/>
                  <a:pt x="454" y="46"/>
                  <a:pt x="454" y="45"/>
                </a:cubicBezTo>
                <a:cubicBezTo>
                  <a:pt x="454" y="45"/>
                  <a:pt x="455" y="42"/>
                  <a:pt x="456" y="41"/>
                </a:cubicBezTo>
                <a:cubicBezTo>
                  <a:pt x="457" y="41"/>
                  <a:pt x="460" y="40"/>
                  <a:pt x="460" y="40"/>
                </a:cubicBezTo>
                <a:cubicBezTo>
                  <a:pt x="460" y="39"/>
                  <a:pt x="459" y="39"/>
                  <a:pt x="458" y="39"/>
                </a:cubicBezTo>
                <a:cubicBezTo>
                  <a:pt x="458" y="39"/>
                  <a:pt x="458" y="40"/>
                  <a:pt x="458" y="40"/>
                </a:cubicBezTo>
                <a:cubicBezTo>
                  <a:pt x="458" y="40"/>
                  <a:pt x="458" y="40"/>
                  <a:pt x="458" y="40"/>
                </a:cubicBezTo>
                <a:cubicBezTo>
                  <a:pt x="458" y="40"/>
                  <a:pt x="458" y="40"/>
                  <a:pt x="458" y="40"/>
                </a:cubicBezTo>
                <a:cubicBezTo>
                  <a:pt x="457" y="40"/>
                  <a:pt x="456" y="41"/>
                  <a:pt x="455" y="40"/>
                </a:cubicBezTo>
                <a:cubicBezTo>
                  <a:pt x="455" y="40"/>
                  <a:pt x="455" y="40"/>
                  <a:pt x="455" y="39"/>
                </a:cubicBezTo>
                <a:cubicBezTo>
                  <a:pt x="455" y="39"/>
                  <a:pt x="455" y="39"/>
                  <a:pt x="454" y="39"/>
                </a:cubicBezTo>
                <a:cubicBezTo>
                  <a:pt x="454" y="39"/>
                  <a:pt x="454" y="39"/>
                  <a:pt x="455" y="38"/>
                </a:cubicBezTo>
                <a:cubicBezTo>
                  <a:pt x="455" y="38"/>
                  <a:pt x="455" y="38"/>
                  <a:pt x="454" y="38"/>
                </a:cubicBezTo>
                <a:cubicBezTo>
                  <a:pt x="455" y="37"/>
                  <a:pt x="458" y="37"/>
                  <a:pt x="458" y="38"/>
                </a:cubicBezTo>
                <a:cubicBezTo>
                  <a:pt x="459" y="38"/>
                  <a:pt x="462" y="38"/>
                  <a:pt x="461" y="39"/>
                </a:cubicBezTo>
                <a:cubicBezTo>
                  <a:pt x="461" y="39"/>
                  <a:pt x="460" y="40"/>
                  <a:pt x="460" y="40"/>
                </a:cubicBezTo>
                <a:cubicBezTo>
                  <a:pt x="461" y="41"/>
                  <a:pt x="462" y="40"/>
                  <a:pt x="462" y="40"/>
                </a:cubicBezTo>
                <a:cubicBezTo>
                  <a:pt x="463" y="40"/>
                  <a:pt x="464" y="41"/>
                  <a:pt x="465" y="42"/>
                </a:cubicBezTo>
                <a:cubicBezTo>
                  <a:pt x="466" y="41"/>
                  <a:pt x="467" y="41"/>
                  <a:pt x="467" y="42"/>
                </a:cubicBezTo>
                <a:cubicBezTo>
                  <a:pt x="468" y="43"/>
                  <a:pt x="467" y="44"/>
                  <a:pt x="466" y="43"/>
                </a:cubicBezTo>
                <a:cubicBezTo>
                  <a:pt x="466" y="44"/>
                  <a:pt x="466" y="44"/>
                  <a:pt x="466" y="44"/>
                </a:cubicBezTo>
                <a:cubicBezTo>
                  <a:pt x="467" y="44"/>
                  <a:pt x="469" y="44"/>
                  <a:pt x="470" y="45"/>
                </a:cubicBezTo>
                <a:cubicBezTo>
                  <a:pt x="470" y="45"/>
                  <a:pt x="469" y="45"/>
                  <a:pt x="470" y="46"/>
                </a:cubicBezTo>
                <a:cubicBezTo>
                  <a:pt x="471" y="45"/>
                  <a:pt x="472" y="45"/>
                  <a:pt x="473" y="44"/>
                </a:cubicBezTo>
                <a:cubicBezTo>
                  <a:pt x="473" y="44"/>
                  <a:pt x="473" y="44"/>
                  <a:pt x="473" y="44"/>
                </a:cubicBezTo>
                <a:cubicBezTo>
                  <a:pt x="473" y="44"/>
                  <a:pt x="473" y="44"/>
                  <a:pt x="473" y="44"/>
                </a:cubicBezTo>
                <a:cubicBezTo>
                  <a:pt x="474" y="44"/>
                  <a:pt x="474" y="44"/>
                  <a:pt x="474" y="44"/>
                </a:cubicBezTo>
                <a:cubicBezTo>
                  <a:pt x="473" y="44"/>
                  <a:pt x="473" y="43"/>
                  <a:pt x="473" y="42"/>
                </a:cubicBezTo>
                <a:cubicBezTo>
                  <a:pt x="472" y="40"/>
                  <a:pt x="478" y="41"/>
                  <a:pt x="475" y="43"/>
                </a:cubicBezTo>
                <a:cubicBezTo>
                  <a:pt x="475" y="43"/>
                  <a:pt x="476" y="43"/>
                  <a:pt x="476" y="43"/>
                </a:cubicBezTo>
                <a:cubicBezTo>
                  <a:pt x="477" y="43"/>
                  <a:pt x="479" y="42"/>
                  <a:pt x="478" y="41"/>
                </a:cubicBezTo>
                <a:cubicBezTo>
                  <a:pt x="478" y="40"/>
                  <a:pt x="475" y="41"/>
                  <a:pt x="475" y="40"/>
                </a:cubicBezTo>
                <a:cubicBezTo>
                  <a:pt x="474" y="39"/>
                  <a:pt x="478" y="37"/>
                  <a:pt x="478" y="37"/>
                </a:cubicBezTo>
                <a:cubicBezTo>
                  <a:pt x="478" y="37"/>
                  <a:pt x="478" y="36"/>
                  <a:pt x="478" y="36"/>
                </a:cubicBezTo>
                <a:cubicBezTo>
                  <a:pt x="476" y="38"/>
                  <a:pt x="473" y="38"/>
                  <a:pt x="470" y="38"/>
                </a:cubicBezTo>
                <a:cubicBezTo>
                  <a:pt x="468" y="37"/>
                  <a:pt x="468" y="34"/>
                  <a:pt x="467" y="34"/>
                </a:cubicBezTo>
                <a:cubicBezTo>
                  <a:pt x="465" y="34"/>
                  <a:pt x="463" y="34"/>
                  <a:pt x="461" y="35"/>
                </a:cubicBezTo>
                <a:cubicBezTo>
                  <a:pt x="462" y="34"/>
                  <a:pt x="463" y="34"/>
                  <a:pt x="464" y="33"/>
                </a:cubicBezTo>
                <a:cubicBezTo>
                  <a:pt x="464" y="32"/>
                  <a:pt x="465" y="33"/>
                  <a:pt x="466" y="33"/>
                </a:cubicBezTo>
                <a:cubicBezTo>
                  <a:pt x="466" y="32"/>
                  <a:pt x="466" y="32"/>
                  <a:pt x="466" y="31"/>
                </a:cubicBezTo>
                <a:cubicBezTo>
                  <a:pt x="466" y="31"/>
                  <a:pt x="465" y="31"/>
                  <a:pt x="465" y="31"/>
                </a:cubicBezTo>
                <a:cubicBezTo>
                  <a:pt x="464" y="30"/>
                  <a:pt x="465" y="30"/>
                  <a:pt x="466" y="30"/>
                </a:cubicBezTo>
                <a:cubicBezTo>
                  <a:pt x="466" y="30"/>
                  <a:pt x="466" y="29"/>
                  <a:pt x="466" y="29"/>
                </a:cubicBezTo>
                <a:cubicBezTo>
                  <a:pt x="466" y="28"/>
                  <a:pt x="466" y="27"/>
                  <a:pt x="466" y="26"/>
                </a:cubicBezTo>
                <a:cubicBezTo>
                  <a:pt x="466" y="26"/>
                  <a:pt x="466" y="26"/>
                  <a:pt x="465" y="25"/>
                </a:cubicBezTo>
                <a:cubicBezTo>
                  <a:pt x="465" y="25"/>
                  <a:pt x="465" y="25"/>
                  <a:pt x="465" y="25"/>
                </a:cubicBezTo>
                <a:cubicBezTo>
                  <a:pt x="465" y="25"/>
                  <a:pt x="465" y="25"/>
                  <a:pt x="465" y="25"/>
                </a:cubicBezTo>
                <a:cubicBezTo>
                  <a:pt x="465" y="24"/>
                  <a:pt x="465" y="24"/>
                  <a:pt x="466" y="24"/>
                </a:cubicBezTo>
                <a:cubicBezTo>
                  <a:pt x="466" y="22"/>
                  <a:pt x="466" y="21"/>
                  <a:pt x="466" y="20"/>
                </a:cubicBezTo>
                <a:cubicBezTo>
                  <a:pt x="466" y="20"/>
                  <a:pt x="466" y="19"/>
                  <a:pt x="466" y="19"/>
                </a:cubicBezTo>
                <a:cubicBezTo>
                  <a:pt x="466" y="19"/>
                  <a:pt x="465" y="19"/>
                  <a:pt x="465" y="19"/>
                </a:cubicBezTo>
                <a:cubicBezTo>
                  <a:pt x="465" y="18"/>
                  <a:pt x="465" y="18"/>
                  <a:pt x="466" y="18"/>
                </a:cubicBezTo>
                <a:cubicBezTo>
                  <a:pt x="466" y="16"/>
                  <a:pt x="467" y="15"/>
                  <a:pt x="467" y="14"/>
                </a:cubicBezTo>
                <a:cubicBezTo>
                  <a:pt x="467" y="14"/>
                  <a:pt x="467" y="14"/>
                  <a:pt x="467" y="14"/>
                </a:cubicBezTo>
                <a:cubicBezTo>
                  <a:pt x="465" y="14"/>
                  <a:pt x="463" y="14"/>
                  <a:pt x="463" y="13"/>
                </a:cubicBezTo>
                <a:cubicBezTo>
                  <a:pt x="463" y="11"/>
                  <a:pt x="464" y="11"/>
                  <a:pt x="465" y="10"/>
                </a:cubicBezTo>
                <a:cubicBezTo>
                  <a:pt x="463" y="8"/>
                  <a:pt x="463" y="8"/>
                  <a:pt x="463" y="8"/>
                </a:cubicBezTo>
                <a:cubicBezTo>
                  <a:pt x="463" y="11"/>
                  <a:pt x="462" y="14"/>
                  <a:pt x="460" y="14"/>
                </a:cubicBezTo>
                <a:cubicBezTo>
                  <a:pt x="459" y="15"/>
                  <a:pt x="455" y="14"/>
                  <a:pt x="455" y="14"/>
                </a:cubicBezTo>
                <a:cubicBezTo>
                  <a:pt x="454" y="14"/>
                  <a:pt x="454" y="12"/>
                  <a:pt x="454" y="12"/>
                </a:cubicBezTo>
                <a:cubicBezTo>
                  <a:pt x="451" y="10"/>
                  <a:pt x="454" y="10"/>
                  <a:pt x="449" y="9"/>
                </a:cubicBezTo>
                <a:cubicBezTo>
                  <a:pt x="450" y="8"/>
                  <a:pt x="452" y="7"/>
                  <a:pt x="453" y="6"/>
                </a:cubicBezTo>
                <a:cubicBezTo>
                  <a:pt x="453" y="6"/>
                  <a:pt x="452" y="4"/>
                  <a:pt x="452" y="5"/>
                </a:cubicBezTo>
                <a:cubicBezTo>
                  <a:pt x="453" y="3"/>
                  <a:pt x="456" y="5"/>
                  <a:pt x="458" y="3"/>
                </a:cubicBezTo>
                <a:cubicBezTo>
                  <a:pt x="458" y="3"/>
                  <a:pt x="458" y="3"/>
                  <a:pt x="458" y="3"/>
                </a:cubicBezTo>
                <a:cubicBezTo>
                  <a:pt x="457" y="3"/>
                  <a:pt x="456" y="3"/>
                  <a:pt x="455" y="2"/>
                </a:cubicBezTo>
                <a:cubicBezTo>
                  <a:pt x="454" y="3"/>
                  <a:pt x="454" y="3"/>
                  <a:pt x="454" y="1"/>
                </a:cubicBezTo>
                <a:cubicBezTo>
                  <a:pt x="452" y="5"/>
                  <a:pt x="443" y="5"/>
                  <a:pt x="442" y="0"/>
                </a:cubicBezTo>
                <a:cubicBezTo>
                  <a:pt x="442" y="0"/>
                  <a:pt x="442" y="0"/>
                  <a:pt x="443" y="0"/>
                </a:cubicBezTo>
                <a:cubicBezTo>
                  <a:pt x="442" y="0"/>
                  <a:pt x="442" y="0"/>
                  <a:pt x="442" y="0"/>
                </a:cubicBezTo>
                <a:cubicBezTo>
                  <a:pt x="440" y="3"/>
                  <a:pt x="437" y="4"/>
                  <a:pt x="434" y="3"/>
                </a:cubicBezTo>
                <a:cubicBezTo>
                  <a:pt x="434" y="3"/>
                  <a:pt x="434" y="3"/>
                  <a:pt x="433" y="3"/>
                </a:cubicBezTo>
                <a:cubicBezTo>
                  <a:pt x="431" y="4"/>
                  <a:pt x="428" y="6"/>
                  <a:pt x="426" y="6"/>
                </a:cubicBezTo>
                <a:cubicBezTo>
                  <a:pt x="425" y="6"/>
                  <a:pt x="424" y="6"/>
                  <a:pt x="423" y="6"/>
                </a:cubicBezTo>
                <a:cubicBezTo>
                  <a:pt x="421" y="6"/>
                  <a:pt x="419" y="9"/>
                  <a:pt x="417" y="9"/>
                </a:cubicBezTo>
                <a:cubicBezTo>
                  <a:pt x="415" y="9"/>
                  <a:pt x="416" y="9"/>
                  <a:pt x="414" y="9"/>
                </a:cubicBezTo>
                <a:cubicBezTo>
                  <a:pt x="413" y="10"/>
                  <a:pt x="411" y="11"/>
                  <a:pt x="410" y="11"/>
                </a:cubicBezTo>
                <a:cubicBezTo>
                  <a:pt x="409" y="12"/>
                  <a:pt x="406" y="13"/>
                  <a:pt x="406" y="13"/>
                </a:cubicBezTo>
                <a:cubicBezTo>
                  <a:pt x="404" y="15"/>
                  <a:pt x="406" y="15"/>
                  <a:pt x="404" y="14"/>
                </a:cubicBezTo>
                <a:cubicBezTo>
                  <a:pt x="403" y="14"/>
                  <a:pt x="403" y="15"/>
                  <a:pt x="402" y="15"/>
                </a:cubicBezTo>
                <a:cubicBezTo>
                  <a:pt x="403" y="15"/>
                  <a:pt x="403" y="15"/>
                  <a:pt x="403" y="15"/>
                </a:cubicBezTo>
                <a:cubicBezTo>
                  <a:pt x="404" y="16"/>
                  <a:pt x="402" y="17"/>
                  <a:pt x="401" y="16"/>
                </a:cubicBezTo>
                <a:cubicBezTo>
                  <a:pt x="401" y="16"/>
                  <a:pt x="400" y="16"/>
                  <a:pt x="400" y="17"/>
                </a:cubicBezTo>
                <a:cubicBezTo>
                  <a:pt x="400" y="17"/>
                  <a:pt x="400" y="18"/>
                  <a:pt x="400" y="18"/>
                </a:cubicBezTo>
                <a:cubicBezTo>
                  <a:pt x="403" y="19"/>
                  <a:pt x="405" y="17"/>
                  <a:pt x="403" y="21"/>
                </a:cubicBezTo>
                <a:cubicBezTo>
                  <a:pt x="403" y="22"/>
                  <a:pt x="404" y="22"/>
                  <a:pt x="404" y="22"/>
                </a:cubicBezTo>
                <a:cubicBezTo>
                  <a:pt x="402" y="24"/>
                  <a:pt x="401" y="21"/>
                  <a:pt x="401" y="21"/>
                </a:cubicBezTo>
                <a:cubicBezTo>
                  <a:pt x="400" y="22"/>
                  <a:pt x="400" y="23"/>
                  <a:pt x="402" y="24"/>
                </a:cubicBezTo>
                <a:cubicBezTo>
                  <a:pt x="402" y="25"/>
                  <a:pt x="399" y="25"/>
                  <a:pt x="398" y="24"/>
                </a:cubicBezTo>
                <a:cubicBezTo>
                  <a:pt x="398" y="24"/>
                  <a:pt x="396" y="21"/>
                  <a:pt x="395" y="20"/>
                </a:cubicBezTo>
                <a:cubicBezTo>
                  <a:pt x="394" y="20"/>
                  <a:pt x="393" y="21"/>
                  <a:pt x="392" y="21"/>
                </a:cubicBezTo>
                <a:cubicBezTo>
                  <a:pt x="390" y="22"/>
                  <a:pt x="387" y="23"/>
                  <a:pt x="385" y="24"/>
                </a:cubicBezTo>
                <a:cubicBezTo>
                  <a:pt x="384" y="25"/>
                  <a:pt x="384" y="25"/>
                  <a:pt x="383" y="25"/>
                </a:cubicBezTo>
                <a:cubicBezTo>
                  <a:pt x="382" y="25"/>
                  <a:pt x="381" y="26"/>
                  <a:pt x="380" y="26"/>
                </a:cubicBezTo>
                <a:cubicBezTo>
                  <a:pt x="378" y="27"/>
                  <a:pt x="375" y="28"/>
                  <a:pt x="373" y="29"/>
                </a:cubicBezTo>
                <a:cubicBezTo>
                  <a:pt x="373" y="29"/>
                  <a:pt x="374" y="29"/>
                  <a:pt x="373" y="29"/>
                </a:cubicBezTo>
                <a:cubicBezTo>
                  <a:pt x="373" y="29"/>
                  <a:pt x="373" y="29"/>
                  <a:pt x="373" y="29"/>
                </a:cubicBezTo>
                <a:cubicBezTo>
                  <a:pt x="372" y="29"/>
                  <a:pt x="372" y="29"/>
                  <a:pt x="371" y="30"/>
                </a:cubicBezTo>
                <a:cubicBezTo>
                  <a:pt x="371" y="30"/>
                  <a:pt x="367" y="30"/>
                  <a:pt x="367" y="31"/>
                </a:cubicBezTo>
                <a:cubicBezTo>
                  <a:pt x="367" y="31"/>
                  <a:pt x="374" y="29"/>
                  <a:pt x="373" y="34"/>
                </a:cubicBezTo>
                <a:cubicBezTo>
                  <a:pt x="372" y="34"/>
                  <a:pt x="372" y="34"/>
                  <a:pt x="372" y="35"/>
                </a:cubicBezTo>
                <a:cubicBezTo>
                  <a:pt x="376" y="34"/>
                  <a:pt x="381" y="34"/>
                  <a:pt x="385" y="36"/>
                </a:cubicBezTo>
                <a:cubicBezTo>
                  <a:pt x="385" y="33"/>
                  <a:pt x="377" y="33"/>
                  <a:pt x="377" y="30"/>
                </a:cubicBezTo>
                <a:cubicBezTo>
                  <a:pt x="377" y="28"/>
                  <a:pt x="384" y="30"/>
                  <a:pt x="385" y="29"/>
                </a:cubicBezTo>
                <a:cubicBezTo>
                  <a:pt x="386" y="28"/>
                  <a:pt x="385" y="27"/>
                  <a:pt x="386" y="27"/>
                </a:cubicBezTo>
                <a:cubicBezTo>
                  <a:pt x="387" y="27"/>
                  <a:pt x="390" y="29"/>
                  <a:pt x="390" y="26"/>
                </a:cubicBezTo>
                <a:cubicBezTo>
                  <a:pt x="389" y="23"/>
                  <a:pt x="401" y="29"/>
                  <a:pt x="402" y="32"/>
                </a:cubicBezTo>
                <a:cubicBezTo>
                  <a:pt x="402" y="34"/>
                  <a:pt x="401" y="37"/>
                  <a:pt x="400" y="38"/>
                </a:cubicBezTo>
                <a:cubicBezTo>
                  <a:pt x="400" y="38"/>
                  <a:pt x="394" y="39"/>
                  <a:pt x="393" y="39"/>
                </a:cubicBezTo>
                <a:cubicBezTo>
                  <a:pt x="392" y="39"/>
                  <a:pt x="391" y="39"/>
                  <a:pt x="390" y="38"/>
                </a:cubicBezTo>
                <a:cubicBezTo>
                  <a:pt x="390" y="39"/>
                  <a:pt x="390" y="39"/>
                  <a:pt x="391" y="39"/>
                </a:cubicBezTo>
                <a:cubicBezTo>
                  <a:pt x="391" y="40"/>
                  <a:pt x="392" y="43"/>
                  <a:pt x="391" y="44"/>
                </a:cubicBezTo>
                <a:cubicBezTo>
                  <a:pt x="388" y="49"/>
                  <a:pt x="377" y="47"/>
                  <a:pt x="372" y="45"/>
                </a:cubicBezTo>
                <a:cubicBezTo>
                  <a:pt x="373" y="46"/>
                  <a:pt x="373" y="47"/>
                  <a:pt x="373" y="48"/>
                </a:cubicBezTo>
                <a:cubicBezTo>
                  <a:pt x="372" y="51"/>
                  <a:pt x="363" y="49"/>
                  <a:pt x="363" y="46"/>
                </a:cubicBezTo>
                <a:cubicBezTo>
                  <a:pt x="363" y="47"/>
                  <a:pt x="361" y="46"/>
                  <a:pt x="361" y="46"/>
                </a:cubicBezTo>
                <a:cubicBezTo>
                  <a:pt x="361" y="45"/>
                  <a:pt x="363" y="45"/>
                  <a:pt x="363" y="46"/>
                </a:cubicBezTo>
                <a:cubicBezTo>
                  <a:pt x="364" y="44"/>
                  <a:pt x="367" y="43"/>
                  <a:pt x="369" y="44"/>
                </a:cubicBezTo>
                <a:cubicBezTo>
                  <a:pt x="370" y="44"/>
                  <a:pt x="372" y="43"/>
                  <a:pt x="373" y="41"/>
                </a:cubicBezTo>
                <a:cubicBezTo>
                  <a:pt x="373" y="41"/>
                  <a:pt x="372" y="39"/>
                  <a:pt x="372" y="39"/>
                </a:cubicBezTo>
                <a:cubicBezTo>
                  <a:pt x="373" y="38"/>
                  <a:pt x="375" y="38"/>
                  <a:pt x="375" y="37"/>
                </a:cubicBezTo>
                <a:cubicBezTo>
                  <a:pt x="375" y="35"/>
                  <a:pt x="372" y="36"/>
                  <a:pt x="370" y="35"/>
                </a:cubicBezTo>
                <a:cubicBezTo>
                  <a:pt x="367" y="35"/>
                  <a:pt x="363" y="35"/>
                  <a:pt x="362" y="33"/>
                </a:cubicBezTo>
                <a:cubicBezTo>
                  <a:pt x="362" y="33"/>
                  <a:pt x="362" y="32"/>
                  <a:pt x="362" y="32"/>
                </a:cubicBezTo>
                <a:cubicBezTo>
                  <a:pt x="362" y="32"/>
                  <a:pt x="361" y="32"/>
                  <a:pt x="360" y="33"/>
                </a:cubicBezTo>
                <a:cubicBezTo>
                  <a:pt x="360" y="33"/>
                  <a:pt x="358" y="35"/>
                  <a:pt x="357" y="35"/>
                </a:cubicBezTo>
                <a:cubicBezTo>
                  <a:pt x="357" y="36"/>
                  <a:pt x="356" y="36"/>
                  <a:pt x="355" y="36"/>
                </a:cubicBezTo>
                <a:cubicBezTo>
                  <a:pt x="358" y="38"/>
                  <a:pt x="356" y="39"/>
                  <a:pt x="354" y="39"/>
                </a:cubicBezTo>
                <a:cubicBezTo>
                  <a:pt x="353" y="40"/>
                  <a:pt x="352" y="40"/>
                  <a:pt x="352" y="39"/>
                </a:cubicBezTo>
                <a:cubicBezTo>
                  <a:pt x="351" y="39"/>
                  <a:pt x="351" y="39"/>
                  <a:pt x="352" y="39"/>
                </a:cubicBezTo>
                <a:cubicBezTo>
                  <a:pt x="351" y="39"/>
                  <a:pt x="350" y="38"/>
                  <a:pt x="350" y="38"/>
                </a:cubicBezTo>
                <a:cubicBezTo>
                  <a:pt x="350" y="38"/>
                  <a:pt x="349" y="38"/>
                  <a:pt x="349" y="38"/>
                </a:cubicBezTo>
                <a:cubicBezTo>
                  <a:pt x="349" y="39"/>
                  <a:pt x="348" y="40"/>
                  <a:pt x="348" y="40"/>
                </a:cubicBezTo>
                <a:cubicBezTo>
                  <a:pt x="348" y="40"/>
                  <a:pt x="346" y="40"/>
                  <a:pt x="346" y="40"/>
                </a:cubicBezTo>
                <a:cubicBezTo>
                  <a:pt x="345" y="41"/>
                  <a:pt x="344" y="42"/>
                  <a:pt x="343" y="42"/>
                </a:cubicBezTo>
                <a:cubicBezTo>
                  <a:pt x="343" y="43"/>
                  <a:pt x="343" y="43"/>
                  <a:pt x="341" y="44"/>
                </a:cubicBezTo>
                <a:cubicBezTo>
                  <a:pt x="340" y="44"/>
                  <a:pt x="340" y="45"/>
                  <a:pt x="339" y="46"/>
                </a:cubicBezTo>
                <a:cubicBezTo>
                  <a:pt x="335" y="48"/>
                  <a:pt x="331" y="49"/>
                  <a:pt x="327" y="50"/>
                </a:cubicBezTo>
                <a:cubicBezTo>
                  <a:pt x="326" y="51"/>
                  <a:pt x="326" y="51"/>
                  <a:pt x="326" y="51"/>
                </a:cubicBezTo>
                <a:cubicBezTo>
                  <a:pt x="326" y="51"/>
                  <a:pt x="326" y="51"/>
                  <a:pt x="326" y="51"/>
                </a:cubicBezTo>
                <a:cubicBezTo>
                  <a:pt x="327" y="51"/>
                  <a:pt x="329" y="52"/>
                  <a:pt x="330" y="53"/>
                </a:cubicBezTo>
                <a:cubicBezTo>
                  <a:pt x="331" y="53"/>
                  <a:pt x="331" y="54"/>
                  <a:pt x="331" y="54"/>
                </a:cubicBezTo>
                <a:cubicBezTo>
                  <a:pt x="331" y="55"/>
                  <a:pt x="332" y="56"/>
                  <a:pt x="332" y="58"/>
                </a:cubicBezTo>
                <a:cubicBezTo>
                  <a:pt x="331" y="63"/>
                  <a:pt x="321" y="64"/>
                  <a:pt x="314" y="63"/>
                </a:cubicBezTo>
                <a:cubicBezTo>
                  <a:pt x="101" y="276"/>
                  <a:pt x="101" y="276"/>
                  <a:pt x="101" y="276"/>
                </a:cubicBezTo>
                <a:cubicBezTo>
                  <a:pt x="101" y="277"/>
                  <a:pt x="101" y="277"/>
                  <a:pt x="100" y="277"/>
                </a:cubicBezTo>
                <a:cubicBezTo>
                  <a:pt x="100" y="278"/>
                  <a:pt x="100" y="278"/>
                  <a:pt x="100" y="277"/>
                </a:cubicBezTo>
                <a:cubicBezTo>
                  <a:pt x="54" y="323"/>
                  <a:pt x="54" y="323"/>
                  <a:pt x="54" y="323"/>
                </a:cubicBezTo>
                <a:cubicBezTo>
                  <a:pt x="55" y="323"/>
                  <a:pt x="56" y="326"/>
                  <a:pt x="56" y="328"/>
                </a:cubicBezTo>
                <a:cubicBezTo>
                  <a:pt x="55" y="331"/>
                  <a:pt x="50" y="332"/>
                  <a:pt x="48" y="329"/>
                </a:cubicBezTo>
                <a:cubicBezTo>
                  <a:pt x="47" y="330"/>
                  <a:pt x="47" y="330"/>
                  <a:pt x="47" y="330"/>
                </a:cubicBezTo>
                <a:cubicBezTo>
                  <a:pt x="48" y="330"/>
                  <a:pt x="47" y="331"/>
                  <a:pt x="47" y="331"/>
                </a:cubicBezTo>
                <a:cubicBezTo>
                  <a:pt x="47" y="332"/>
                  <a:pt x="46" y="331"/>
                  <a:pt x="46" y="331"/>
                </a:cubicBezTo>
                <a:cubicBezTo>
                  <a:pt x="30" y="347"/>
                  <a:pt x="30" y="347"/>
                  <a:pt x="30" y="347"/>
                </a:cubicBezTo>
                <a:cubicBezTo>
                  <a:pt x="30" y="347"/>
                  <a:pt x="30" y="347"/>
                  <a:pt x="30" y="347"/>
                </a:cubicBezTo>
                <a:cubicBezTo>
                  <a:pt x="30" y="347"/>
                  <a:pt x="30" y="347"/>
                  <a:pt x="30" y="347"/>
                </a:cubicBezTo>
                <a:cubicBezTo>
                  <a:pt x="10" y="367"/>
                  <a:pt x="10" y="367"/>
                  <a:pt x="10" y="367"/>
                </a:cubicBezTo>
                <a:cubicBezTo>
                  <a:pt x="11" y="369"/>
                  <a:pt x="11" y="372"/>
                  <a:pt x="12" y="373"/>
                </a:cubicBezTo>
                <a:cubicBezTo>
                  <a:pt x="13" y="373"/>
                  <a:pt x="13" y="372"/>
                  <a:pt x="13" y="372"/>
                </a:cubicBezTo>
                <a:cubicBezTo>
                  <a:pt x="14" y="374"/>
                  <a:pt x="14" y="378"/>
                  <a:pt x="14" y="381"/>
                </a:cubicBezTo>
                <a:cubicBezTo>
                  <a:pt x="14" y="380"/>
                  <a:pt x="14" y="380"/>
                  <a:pt x="13" y="380"/>
                </a:cubicBezTo>
                <a:cubicBezTo>
                  <a:pt x="13" y="380"/>
                  <a:pt x="9" y="382"/>
                  <a:pt x="8" y="382"/>
                </a:cubicBezTo>
                <a:cubicBezTo>
                  <a:pt x="6" y="381"/>
                  <a:pt x="4" y="377"/>
                  <a:pt x="4" y="373"/>
                </a:cubicBezTo>
                <a:cubicBezTo>
                  <a:pt x="0" y="377"/>
                  <a:pt x="0" y="377"/>
                  <a:pt x="0" y="377"/>
                </a:cubicBezTo>
                <a:cubicBezTo>
                  <a:pt x="49" y="426"/>
                  <a:pt x="49" y="426"/>
                  <a:pt x="49" y="426"/>
                </a:cubicBezTo>
                <a:cubicBezTo>
                  <a:pt x="47" y="424"/>
                  <a:pt x="49" y="419"/>
                  <a:pt x="49" y="426"/>
                </a:cubicBezTo>
                <a:close/>
                <a:moveTo>
                  <a:pt x="100" y="466"/>
                </a:moveTo>
                <a:cubicBezTo>
                  <a:pt x="101" y="465"/>
                  <a:pt x="100" y="468"/>
                  <a:pt x="100" y="466"/>
                </a:cubicBezTo>
                <a:close/>
                <a:moveTo>
                  <a:pt x="122" y="458"/>
                </a:moveTo>
                <a:cubicBezTo>
                  <a:pt x="121" y="460"/>
                  <a:pt x="120" y="456"/>
                  <a:pt x="122" y="457"/>
                </a:cubicBezTo>
                <a:cubicBezTo>
                  <a:pt x="123" y="457"/>
                  <a:pt x="122" y="458"/>
                  <a:pt x="122" y="458"/>
                </a:cubicBezTo>
                <a:close/>
                <a:moveTo>
                  <a:pt x="166" y="487"/>
                </a:moveTo>
                <a:cubicBezTo>
                  <a:pt x="167" y="486"/>
                  <a:pt x="167" y="489"/>
                  <a:pt x="167" y="489"/>
                </a:cubicBezTo>
                <a:cubicBezTo>
                  <a:pt x="165" y="490"/>
                  <a:pt x="165" y="487"/>
                  <a:pt x="166" y="487"/>
                </a:cubicBezTo>
                <a:close/>
                <a:moveTo>
                  <a:pt x="212" y="472"/>
                </a:moveTo>
                <a:cubicBezTo>
                  <a:pt x="212" y="472"/>
                  <a:pt x="212" y="473"/>
                  <a:pt x="212" y="473"/>
                </a:cubicBezTo>
                <a:cubicBezTo>
                  <a:pt x="212" y="472"/>
                  <a:pt x="212" y="472"/>
                  <a:pt x="211" y="472"/>
                </a:cubicBezTo>
                <a:cubicBezTo>
                  <a:pt x="211" y="472"/>
                  <a:pt x="211" y="472"/>
                  <a:pt x="212" y="472"/>
                </a:cubicBezTo>
                <a:close/>
                <a:moveTo>
                  <a:pt x="188" y="526"/>
                </a:moveTo>
                <a:cubicBezTo>
                  <a:pt x="189" y="527"/>
                  <a:pt x="187" y="527"/>
                  <a:pt x="188" y="526"/>
                </a:cubicBezTo>
                <a:close/>
                <a:moveTo>
                  <a:pt x="190" y="520"/>
                </a:moveTo>
                <a:cubicBezTo>
                  <a:pt x="190" y="520"/>
                  <a:pt x="187" y="520"/>
                  <a:pt x="186" y="519"/>
                </a:cubicBezTo>
                <a:cubicBezTo>
                  <a:pt x="184" y="517"/>
                  <a:pt x="186" y="512"/>
                  <a:pt x="189" y="513"/>
                </a:cubicBezTo>
                <a:cubicBezTo>
                  <a:pt x="190" y="514"/>
                  <a:pt x="190" y="520"/>
                  <a:pt x="190" y="520"/>
                </a:cubicBezTo>
                <a:close/>
                <a:moveTo>
                  <a:pt x="192" y="538"/>
                </a:moveTo>
                <a:cubicBezTo>
                  <a:pt x="192" y="536"/>
                  <a:pt x="192" y="539"/>
                  <a:pt x="192" y="538"/>
                </a:cubicBezTo>
                <a:close/>
                <a:moveTo>
                  <a:pt x="191" y="529"/>
                </a:moveTo>
                <a:cubicBezTo>
                  <a:pt x="191" y="528"/>
                  <a:pt x="192" y="528"/>
                  <a:pt x="193" y="529"/>
                </a:cubicBezTo>
                <a:cubicBezTo>
                  <a:pt x="193" y="529"/>
                  <a:pt x="192" y="530"/>
                  <a:pt x="191" y="529"/>
                </a:cubicBezTo>
                <a:close/>
                <a:moveTo>
                  <a:pt x="194" y="534"/>
                </a:moveTo>
                <a:cubicBezTo>
                  <a:pt x="193" y="535"/>
                  <a:pt x="193" y="531"/>
                  <a:pt x="194" y="533"/>
                </a:cubicBezTo>
                <a:cubicBezTo>
                  <a:pt x="194" y="533"/>
                  <a:pt x="194" y="533"/>
                  <a:pt x="194" y="534"/>
                </a:cubicBezTo>
                <a:close/>
                <a:moveTo>
                  <a:pt x="194" y="531"/>
                </a:moveTo>
                <a:cubicBezTo>
                  <a:pt x="194" y="531"/>
                  <a:pt x="195" y="531"/>
                  <a:pt x="195" y="531"/>
                </a:cubicBezTo>
                <a:cubicBezTo>
                  <a:pt x="195" y="532"/>
                  <a:pt x="193" y="532"/>
                  <a:pt x="194" y="531"/>
                </a:cubicBezTo>
                <a:close/>
                <a:moveTo>
                  <a:pt x="196" y="526"/>
                </a:moveTo>
                <a:cubicBezTo>
                  <a:pt x="194" y="528"/>
                  <a:pt x="194" y="523"/>
                  <a:pt x="196" y="524"/>
                </a:cubicBezTo>
                <a:cubicBezTo>
                  <a:pt x="197" y="525"/>
                  <a:pt x="197" y="526"/>
                  <a:pt x="196" y="526"/>
                </a:cubicBezTo>
                <a:close/>
                <a:moveTo>
                  <a:pt x="208" y="524"/>
                </a:moveTo>
                <a:cubicBezTo>
                  <a:pt x="204" y="526"/>
                  <a:pt x="205" y="518"/>
                  <a:pt x="208" y="519"/>
                </a:cubicBezTo>
                <a:cubicBezTo>
                  <a:pt x="211" y="520"/>
                  <a:pt x="211" y="523"/>
                  <a:pt x="208" y="524"/>
                </a:cubicBezTo>
                <a:close/>
                <a:moveTo>
                  <a:pt x="211" y="541"/>
                </a:moveTo>
                <a:cubicBezTo>
                  <a:pt x="212" y="542"/>
                  <a:pt x="211" y="542"/>
                  <a:pt x="210" y="542"/>
                </a:cubicBezTo>
                <a:cubicBezTo>
                  <a:pt x="209" y="542"/>
                  <a:pt x="211" y="540"/>
                  <a:pt x="211" y="541"/>
                </a:cubicBezTo>
                <a:close/>
                <a:moveTo>
                  <a:pt x="215" y="522"/>
                </a:moveTo>
                <a:cubicBezTo>
                  <a:pt x="213" y="523"/>
                  <a:pt x="214" y="519"/>
                  <a:pt x="215" y="519"/>
                </a:cubicBezTo>
                <a:cubicBezTo>
                  <a:pt x="216" y="518"/>
                  <a:pt x="217" y="521"/>
                  <a:pt x="215" y="522"/>
                </a:cubicBezTo>
                <a:close/>
                <a:moveTo>
                  <a:pt x="219" y="511"/>
                </a:moveTo>
                <a:cubicBezTo>
                  <a:pt x="219" y="511"/>
                  <a:pt x="219" y="512"/>
                  <a:pt x="218" y="512"/>
                </a:cubicBezTo>
                <a:cubicBezTo>
                  <a:pt x="217" y="513"/>
                  <a:pt x="218" y="509"/>
                  <a:pt x="219" y="511"/>
                </a:cubicBezTo>
                <a:close/>
                <a:moveTo>
                  <a:pt x="218" y="517"/>
                </a:moveTo>
                <a:cubicBezTo>
                  <a:pt x="217" y="517"/>
                  <a:pt x="218" y="514"/>
                  <a:pt x="219" y="515"/>
                </a:cubicBezTo>
                <a:cubicBezTo>
                  <a:pt x="220" y="516"/>
                  <a:pt x="218" y="517"/>
                  <a:pt x="218" y="517"/>
                </a:cubicBezTo>
                <a:close/>
                <a:moveTo>
                  <a:pt x="224" y="522"/>
                </a:moveTo>
                <a:cubicBezTo>
                  <a:pt x="225" y="521"/>
                  <a:pt x="224" y="523"/>
                  <a:pt x="224" y="522"/>
                </a:cubicBezTo>
                <a:close/>
                <a:moveTo>
                  <a:pt x="224" y="505"/>
                </a:moveTo>
                <a:cubicBezTo>
                  <a:pt x="224" y="505"/>
                  <a:pt x="225" y="503"/>
                  <a:pt x="224" y="505"/>
                </a:cubicBezTo>
                <a:close/>
                <a:moveTo>
                  <a:pt x="271" y="511"/>
                </a:moveTo>
                <a:cubicBezTo>
                  <a:pt x="271" y="511"/>
                  <a:pt x="272" y="510"/>
                  <a:pt x="273" y="510"/>
                </a:cubicBezTo>
                <a:cubicBezTo>
                  <a:pt x="273" y="511"/>
                  <a:pt x="272" y="511"/>
                  <a:pt x="271" y="511"/>
                </a:cubicBezTo>
                <a:close/>
                <a:moveTo>
                  <a:pt x="274" y="518"/>
                </a:moveTo>
                <a:cubicBezTo>
                  <a:pt x="274" y="518"/>
                  <a:pt x="274" y="518"/>
                  <a:pt x="274" y="518"/>
                </a:cubicBezTo>
                <a:cubicBezTo>
                  <a:pt x="274" y="518"/>
                  <a:pt x="273" y="519"/>
                  <a:pt x="274" y="518"/>
                </a:cubicBezTo>
                <a:close/>
                <a:moveTo>
                  <a:pt x="277" y="496"/>
                </a:moveTo>
                <a:cubicBezTo>
                  <a:pt x="276" y="496"/>
                  <a:pt x="276" y="496"/>
                  <a:pt x="276" y="496"/>
                </a:cubicBezTo>
                <a:cubicBezTo>
                  <a:pt x="276" y="496"/>
                  <a:pt x="277" y="496"/>
                  <a:pt x="277" y="496"/>
                </a:cubicBezTo>
                <a:cubicBezTo>
                  <a:pt x="277" y="496"/>
                  <a:pt x="277" y="496"/>
                  <a:pt x="277" y="496"/>
                </a:cubicBezTo>
                <a:close/>
                <a:moveTo>
                  <a:pt x="294" y="515"/>
                </a:moveTo>
                <a:cubicBezTo>
                  <a:pt x="294" y="517"/>
                  <a:pt x="292" y="515"/>
                  <a:pt x="294" y="515"/>
                </a:cubicBezTo>
                <a:close/>
                <a:moveTo>
                  <a:pt x="245" y="575"/>
                </a:moveTo>
                <a:cubicBezTo>
                  <a:pt x="245" y="574"/>
                  <a:pt x="246" y="574"/>
                  <a:pt x="246" y="574"/>
                </a:cubicBezTo>
                <a:cubicBezTo>
                  <a:pt x="246" y="574"/>
                  <a:pt x="245" y="575"/>
                  <a:pt x="245" y="575"/>
                </a:cubicBezTo>
                <a:close/>
                <a:moveTo>
                  <a:pt x="250" y="560"/>
                </a:moveTo>
                <a:cubicBezTo>
                  <a:pt x="251" y="558"/>
                  <a:pt x="252" y="558"/>
                  <a:pt x="254" y="557"/>
                </a:cubicBezTo>
                <a:cubicBezTo>
                  <a:pt x="253" y="559"/>
                  <a:pt x="252" y="559"/>
                  <a:pt x="250" y="560"/>
                </a:cubicBezTo>
                <a:close/>
                <a:moveTo>
                  <a:pt x="254" y="561"/>
                </a:moveTo>
                <a:cubicBezTo>
                  <a:pt x="253" y="562"/>
                  <a:pt x="255" y="560"/>
                  <a:pt x="254" y="561"/>
                </a:cubicBezTo>
                <a:close/>
                <a:moveTo>
                  <a:pt x="265" y="566"/>
                </a:moveTo>
                <a:cubicBezTo>
                  <a:pt x="264" y="563"/>
                  <a:pt x="268" y="563"/>
                  <a:pt x="265" y="566"/>
                </a:cubicBezTo>
                <a:close/>
                <a:moveTo>
                  <a:pt x="281" y="541"/>
                </a:moveTo>
                <a:cubicBezTo>
                  <a:pt x="282" y="542"/>
                  <a:pt x="281" y="545"/>
                  <a:pt x="280" y="547"/>
                </a:cubicBezTo>
                <a:cubicBezTo>
                  <a:pt x="280" y="545"/>
                  <a:pt x="281" y="543"/>
                  <a:pt x="281" y="541"/>
                </a:cubicBezTo>
                <a:close/>
                <a:moveTo>
                  <a:pt x="278" y="567"/>
                </a:moveTo>
                <a:cubicBezTo>
                  <a:pt x="276" y="563"/>
                  <a:pt x="282" y="562"/>
                  <a:pt x="283" y="561"/>
                </a:cubicBezTo>
                <a:cubicBezTo>
                  <a:pt x="285" y="564"/>
                  <a:pt x="280" y="570"/>
                  <a:pt x="278" y="567"/>
                </a:cubicBezTo>
                <a:close/>
                <a:moveTo>
                  <a:pt x="319" y="618"/>
                </a:moveTo>
                <a:cubicBezTo>
                  <a:pt x="319" y="618"/>
                  <a:pt x="319" y="617"/>
                  <a:pt x="319" y="617"/>
                </a:cubicBezTo>
                <a:cubicBezTo>
                  <a:pt x="319" y="613"/>
                  <a:pt x="323" y="617"/>
                  <a:pt x="319" y="618"/>
                </a:cubicBezTo>
                <a:close/>
                <a:moveTo>
                  <a:pt x="369" y="679"/>
                </a:moveTo>
                <a:cubicBezTo>
                  <a:pt x="368" y="678"/>
                  <a:pt x="370" y="678"/>
                  <a:pt x="370" y="678"/>
                </a:cubicBezTo>
                <a:cubicBezTo>
                  <a:pt x="370" y="679"/>
                  <a:pt x="369" y="679"/>
                  <a:pt x="369" y="679"/>
                </a:cubicBezTo>
                <a:close/>
                <a:moveTo>
                  <a:pt x="370" y="687"/>
                </a:moveTo>
                <a:cubicBezTo>
                  <a:pt x="370" y="687"/>
                  <a:pt x="370" y="687"/>
                  <a:pt x="370" y="687"/>
                </a:cubicBezTo>
                <a:cubicBezTo>
                  <a:pt x="370" y="685"/>
                  <a:pt x="372" y="689"/>
                  <a:pt x="370" y="687"/>
                </a:cubicBezTo>
                <a:close/>
                <a:moveTo>
                  <a:pt x="375" y="690"/>
                </a:moveTo>
                <a:cubicBezTo>
                  <a:pt x="374" y="689"/>
                  <a:pt x="377" y="690"/>
                  <a:pt x="377" y="691"/>
                </a:cubicBezTo>
                <a:cubicBezTo>
                  <a:pt x="377" y="691"/>
                  <a:pt x="375" y="691"/>
                  <a:pt x="375" y="690"/>
                </a:cubicBezTo>
                <a:close/>
                <a:moveTo>
                  <a:pt x="380" y="682"/>
                </a:moveTo>
                <a:cubicBezTo>
                  <a:pt x="380" y="681"/>
                  <a:pt x="381" y="681"/>
                  <a:pt x="381" y="682"/>
                </a:cubicBezTo>
                <a:cubicBezTo>
                  <a:pt x="381" y="682"/>
                  <a:pt x="381" y="682"/>
                  <a:pt x="380" y="682"/>
                </a:cubicBezTo>
                <a:close/>
                <a:moveTo>
                  <a:pt x="387" y="692"/>
                </a:moveTo>
                <a:cubicBezTo>
                  <a:pt x="387" y="692"/>
                  <a:pt x="386" y="692"/>
                  <a:pt x="386" y="692"/>
                </a:cubicBezTo>
                <a:cubicBezTo>
                  <a:pt x="386" y="689"/>
                  <a:pt x="389" y="694"/>
                  <a:pt x="387" y="692"/>
                </a:cubicBezTo>
                <a:close/>
                <a:moveTo>
                  <a:pt x="388" y="698"/>
                </a:moveTo>
                <a:cubicBezTo>
                  <a:pt x="388" y="697"/>
                  <a:pt x="389" y="696"/>
                  <a:pt x="390" y="697"/>
                </a:cubicBezTo>
                <a:cubicBezTo>
                  <a:pt x="390" y="697"/>
                  <a:pt x="388" y="698"/>
                  <a:pt x="388" y="698"/>
                </a:cubicBezTo>
                <a:close/>
                <a:moveTo>
                  <a:pt x="397" y="712"/>
                </a:moveTo>
                <a:cubicBezTo>
                  <a:pt x="395" y="712"/>
                  <a:pt x="394" y="711"/>
                  <a:pt x="395" y="710"/>
                </a:cubicBezTo>
                <a:cubicBezTo>
                  <a:pt x="395" y="708"/>
                  <a:pt x="399" y="709"/>
                  <a:pt x="400" y="711"/>
                </a:cubicBezTo>
                <a:cubicBezTo>
                  <a:pt x="400" y="711"/>
                  <a:pt x="400" y="711"/>
                  <a:pt x="399" y="712"/>
                </a:cubicBezTo>
                <a:cubicBezTo>
                  <a:pt x="399" y="712"/>
                  <a:pt x="399" y="712"/>
                  <a:pt x="399" y="712"/>
                </a:cubicBezTo>
                <a:cubicBezTo>
                  <a:pt x="399" y="713"/>
                  <a:pt x="397" y="713"/>
                  <a:pt x="397" y="712"/>
                </a:cubicBezTo>
                <a:close/>
                <a:moveTo>
                  <a:pt x="399" y="714"/>
                </a:moveTo>
                <a:cubicBezTo>
                  <a:pt x="399" y="713"/>
                  <a:pt x="401" y="713"/>
                  <a:pt x="402" y="713"/>
                </a:cubicBezTo>
                <a:cubicBezTo>
                  <a:pt x="401" y="714"/>
                  <a:pt x="400" y="714"/>
                  <a:pt x="399" y="714"/>
                </a:cubicBezTo>
                <a:close/>
                <a:moveTo>
                  <a:pt x="379" y="744"/>
                </a:moveTo>
                <a:cubicBezTo>
                  <a:pt x="379" y="744"/>
                  <a:pt x="379" y="744"/>
                  <a:pt x="379" y="744"/>
                </a:cubicBezTo>
                <a:cubicBezTo>
                  <a:pt x="379" y="743"/>
                  <a:pt x="379" y="743"/>
                  <a:pt x="379" y="744"/>
                </a:cubicBezTo>
                <a:close/>
                <a:moveTo>
                  <a:pt x="379" y="744"/>
                </a:moveTo>
                <a:cubicBezTo>
                  <a:pt x="380" y="744"/>
                  <a:pt x="380" y="744"/>
                  <a:pt x="379" y="744"/>
                </a:cubicBezTo>
                <a:close/>
                <a:moveTo>
                  <a:pt x="380" y="742"/>
                </a:moveTo>
                <a:cubicBezTo>
                  <a:pt x="380" y="741"/>
                  <a:pt x="381" y="741"/>
                  <a:pt x="381" y="741"/>
                </a:cubicBezTo>
                <a:cubicBezTo>
                  <a:pt x="381" y="741"/>
                  <a:pt x="380" y="742"/>
                  <a:pt x="380" y="742"/>
                </a:cubicBezTo>
                <a:close/>
                <a:moveTo>
                  <a:pt x="382" y="744"/>
                </a:moveTo>
                <a:cubicBezTo>
                  <a:pt x="382" y="743"/>
                  <a:pt x="383" y="743"/>
                  <a:pt x="384" y="743"/>
                </a:cubicBezTo>
                <a:cubicBezTo>
                  <a:pt x="383" y="743"/>
                  <a:pt x="384" y="745"/>
                  <a:pt x="384" y="745"/>
                </a:cubicBezTo>
                <a:cubicBezTo>
                  <a:pt x="383" y="746"/>
                  <a:pt x="381" y="746"/>
                  <a:pt x="382" y="744"/>
                </a:cubicBezTo>
                <a:close/>
                <a:moveTo>
                  <a:pt x="385" y="740"/>
                </a:moveTo>
                <a:cubicBezTo>
                  <a:pt x="384" y="740"/>
                  <a:pt x="381" y="738"/>
                  <a:pt x="382" y="736"/>
                </a:cubicBezTo>
                <a:cubicBezTo>
                  <a:pt x="383" y="734"/>
                  <a:pt x="388" y="733"/>
                  <a:pt x="390" y="734"/>
                </a:cubicBezTo>
                <a:cubicBezTo>
                  <a:pt x="391" y="734"/>
                  <a:pt x="391" y="735"/>
                  <a:pt x="392" y="735"/>
                </a:cubicBezTo>
                <a:cubicBezTo>
                  <a:pt x="392" y="735"/>
                  <a:pt x="394" y="734"/>
                  <a:pt x="393" y="735"/>
                </a:cubicBezTo>
                <a:cubicBezTo>
                  <a:pt x="393" y="736"/>
                  <a:pt x="391" y="737"/>
                  <a:pt x="391" y="738"/>
                </a:cubicBezTo>
                <a:cubicBezTo>
                  <a:pt x="391" y="738"/>
                  <a:pt x="393" y="737"/>
                  <a:pt x="392" y="738"/>
                </a:cubicBezTo>
                <a:cubicBezTo>
                  <a:pt x="392" y="738"/>
                  <a:pt x="388" y="741"/>
                  <a:pt x="385" y="740"/>
                </a:cubicBezTo>
                <a:close/>
                <a:moveTo>
                  <a:pt x="390" y="741"/>
                </a:moveTo>
                <a:cubicBezTo>
                  <a:pt x="389" y="740"/>
                  <a:pt x="391" y="740"/>
                  <a:pt x="391" y="741"/>
                </a:cubicBezTo>
                <a:cubicBezTo>
                  <a:pt x="391" y="741"/>
                  <a:pt x="390" y="741"/>
                  <a:pt x="390" y="741"/>
                </a:cubicBezTo>
                <a:close/>
                <a:moveTo>
                  <a:pt x="393" y="751"/>
                </a:moveTo>
                <a:cubicBezTo>
                  <a:pt x="389" y="752"/>
                  <a:pt x="393" y="747"/>
                  <a:pt x="395" y="749"/>
                </a:cubicBezTo>
                <a:cubicBezTo>
                  <a:pt x="396" y="750"/>
                  <a:pt x="394" y="751"/>
                  <a:pt x="393" y="751"/>
                </a:cubicBezTo>
                <a:close/>
                <a:moveTo>
                  <a:pt x="396" y="739"/>
                </a:moveTo>
                <a:cubicBezTo>
                  <a:pt x="396" y="739"/>
                  <a:pt x="396" y="739"/>
                  <a:pt x="396" y="739"/>
                </a:cubicBezTo>
                <a:cubicBezTo>
                  <a:pt x="396" y="739"/>
                  <a:pt x="395" y="738"/>
                  <a:pt x="396" y="739"/>
                </a:cubicBezTo>
                <a:close/>
                <a:moveTo>
                  <a:pt x="396" y="740"/>
                </a:moveTo>
                <a:cubicBezTo>
                  <a:pt x="395" y="739"/>
                  <a:pt x="397" y="741"/>
                  <a:pt x="396" y="740"/>
                </a:cubicBezTo>
                <a:close/>
                <a:moveTo>
                  <a:pt x="398" y="725"/>
                </a:moveTo>
                <a:cubicBezTo>
                  <a:pt x="398" y="724"/>
                  <a:pt x="400" y="724"/>
                  <a:pt x="400" y="724"/>
                </a:cubicBezTo>
                <a:cubicBezTo>
                  <a:pt x="401" y="725"/>
                  <a:pt x="399" y="726"/>
                  <a:pt x="398" y="725"/>
                </a:cubicBezTo>
                <a:close/>
                <a:moveTo>
                  <a:pt x="391" y="763"/>
                </a:moveTo>
                <a:cubicBezTo>
                  <a:pt x="391" y="762"/>
                  <a:pt x="393" y="762"/>
                  <a:pt x="393" y="763"/>
                </a:cubicBezTo>
                <a:cubicBezTo>
                  <a:pt x="393" y="763"/>
                  <a:pt x="391" y="763"/>
                  <a:pt x="391" y="763"/>
                </a:cubicBezTo>
                <a:close/>
                <a:moveTo>
                  <a:pt x="394" y="763"/>
                </a:moveTo>
                <a:cubicBezTo>
                  <a:pt x="394" y="762"/>
                  <a:pt x="395" y="763"/>
                  <a:pt x="395" y="764"/>
                </a:cubicBezTo>
                <a:cubicBezTo>
                  <a:pt x="395" y="764"/>
                  <a:pt x="394" y="764"/>
                  <a:pt x="394" y="763"/>
                </a:cubicBezTo>
                <a:close/>
                <a:moveTo>
                  <a:pt x="400" y="767"/>
                </a:moveTo>
                <a:cubicBezTo>
                  <a:pt x="400" y="766"/>
                  <a:pt x="400" y="766"/>
                  <a:pt x="400" y="766"/>
                </a:cubicBezTo>
                <a:cubicBezTo>
                  <a:pt x="401" y="767"/>
                  <a:pt x="399" y="767"/>
                  <a:pt x="400" y="767"/>
                </a:cubicBezTo>
                <a:close/>
                <a:moveTo>
                  <a:pt x="828" y="375"/>
                </a:moveTo>
                <a:cubicBezTo>
                  <a:pt x="827" y="373"/>
                  <a:pt x="830" y="374"/>
                  <a:pt x="828" y="375"/>
                </a:cubicBezTo>
                <a:close/>
                <a:moveTo>
                  <a:pt x="826" y="378"/>
                </a:moveTo>
                <a:cubicBezTo>
                  <a:pt x="826" y="378"/>
                  <a:pt x="826" y="378"/>
                  <a:pt x="827" y="378"/>
                </a:cubicBezTo>
                <a:cubicBezTo>
                  <a:pt x="827" y="379"/>
                  <a:pt x="825" y="380"/>
                  <a:pt x="826" y="378"/>
                </a:cubicBezTo>
                <a:close/>
                <a:moveTo>
                  <a:pt x="815" y="374"/>
                </a:moveTo>
                <a:cubicBezTo>
                  <a:pt x="816" y="372"/>
                  <a:pt x="818" y="376"/>
                  <a:pt x="816" y="376"/>
                </a:cubicBezTo>
                <a:cubicBezTo>
                  <a:pt x="815" y="376"/>
                  <a:pt x="815" y="375"/>
                  <a:pt x="815" y="374"/>
                </a:cubicBezTo>
                <a:close/>
                <a:moveTo>
                  <a:pt x="810" y="380"/>
                </a:moveTo>
                <a:cubicBezTo>
                  <a:pt x="809" y="377"/>
                  <a:pt x="812" y="378"/>
                  <a:pt x="810" y="380"/>
                </a:cubicBezTo>
                <a:close/>
                <a:moveTo>
                  <a:pt x="803" y="357"/>
                </a:moveTo>
                <a:cubicBezTo>
                  <a:pt x="803" y="357"/>
                  <a:pt x="804" y="356"/>
                  <a:pt x="804" y="356"/>
                </a:cubicBezTo>
                <a:cubicBezTo>
                  <a:pt x="805" y="357"/>
                  <a:pt x="803" y="358"/>
                  <a:pt x="803" y="357"/>
                </a:cubicBezTo>
                <a:close/>
                <a:moveTo>
                  <a:pt x="803" y="384"/>
                </a:moveTo>
                <a:cubicBezTo>
                  <a:pt x="802" y="384"/>
                  <a:pt x="802" y="382"/>
                  <a:pt x="802" y="382"/>
                </a:cubicBezTo>
                <a:cubicBezTo>
                  <a:pt x="803" y="381"/>
                  <a:pt x="804" y="383"/>
                  <a:pt x="803" y="384"/>
                </a:cubicBezTo>
                <a:close/>
                <a:moveTo>
                  <a:pt x="801" y="361"/>
                </a:moveTo>
                <a:cubicBezTo>
                  <a:pt x="802" y="359"/>
                  <a:pt x="803" y="363"/>
                  <a:pt x="802" y="363"/>
                </a:cubicBezTo>
                <a:cubicBezTo>
                  <a:pt x="801" y="364"/>
                  <a:pt x="801" y="361"/>
                  <a:pt x="801" y="361"/>
                </a:cubicBezTo>
                <a:close/>
                <a:moveTo>
                  <a:pt x="801" y="371"/>
                </a:moveTo>
                <a:cubicBezTo>
                  <a:pt x="801" y="371"/>
                  <a:pt x="801" y="370"/>
                  <a:pt x="801" y="370"/>
                </a:cubicBezTo>
                <a:cubicBezTo>
                  <a:pt x="801" y="369"/>
                  <a:pt x="802" y="370"/>
                  <a:pt x="801" y="371"/>
                </a:cubicBezTo>
                <a:close/>
                <a:moveTo>
                  <a:pt x="799" y="382"/>
                </a:moveTo>
                <a:cubicBezTo>
                  <a:pt x="799" y="384"/>
                  <a:pt x="804" y="385"/>
                  <a:pt x="802" y="389"/>
                </a:cubicBezTo>
                <a:cubicBezTo>
                  <a:pt x="802" y="389"/>
                  <a:pt x="801" y="389"/>
                  <a:pt x="801" y="389"/>
                </a:cubicBezTo>
                <a:cubicBezTo>
                  <a:pt x="801" y="390"/>
                  <a:pt x="802" y="391"/>
                  <a:pt x="801" y="392"/>
                </a:cubicBezTo>
                <a:cubicBezTo>
                  <a:pt x="798" y="392"/>
                  <a:pt x="799" y="383"/>
                  <a:pt x="799" y="382"/>
                </a:cubicBezTo>
                <a:close/>
                <a:moveTo>
                  <a:pt x="798" y="367"/>
                </a:moveTo>
                <a:cubicBezTo>
                  <a:pt x="799" y="366"/>
                  <a:pt x="799" y="370"/>
                  <a:pt x="798" y="370"/>
                </a:cubicBezTo>
                <a:cubicBezTo>
                  <a:pt x="797" y="370"/>
                  <a:pt x="798" y="368"/>
                  <a:pt x="798" y="367"/>
                </a:cubicBezTo>
                <a:close/>
                <a:moveTo>
                  <a:pt x="796" y="344"/>
                </a:moveTo>
                <a:cubicBezTo>
                  <a:pt x="797" y="343"/>
                  <a:pt x="797" y="346"/>
                  <a:pt x="796" y="345"/>
                </a:cubicBezTo>
                <a:cubicBezTo>
                  <a:pt x="795" y="345"/>
                  <a:pt x="796" y="344"/>
                  <a:pt x="796" y="344"/>
                </a:cubicBezTo>
                <a:close/>
                <a:moveTo>
                  <a:pt x="795" y="373"/>
                </a:moveTo>
                <a:cubicBezTo>
                  <a:pt x="793" y="373"/>
                  <a:pt x="794" y="370"/>
                  <a:pt x="794" y="370"/>
                </a:cubicBezTo>
                <a:cubicBezTo>
                  <a:pt x="795" y="369"/>
                  <a:pt x="796" y="374"/>
                  <a:pt x="795" y="373"/>
                </a:cubicBezTo>
                <a:close/>
                <a:moveTo>
                  <a:pt x="793" y="353"/>
                </a:moveTo>
                <a:cubicBezTo>
                  <a:pt x="795" y="350"/>
                  <a:pt x="796" y="357"/>
                  <a:pt x="793" y="356"/>
                </a:cubicBezTo>
                <a:cubicBezTo>
                  <a:pt x="792" y="355"/>
                  <a:pt x="793" y="353"/>
                  <a:pt x="793" y="353"/>
                </a:cubicBezTo>
                <a:close/>
                <a:moveTo>
                  <a:pt x="790" y="355"/>
                </a:moveTo>
                <a:cubicBezTo>
                  <a:pt x="789" y="351"/>
                  <a:pt x="792" y="353"/>
                  <a:pt x="790" y="355"/>
                </a:cubicBezTo>
                <a:close/>
                <a:moveTo>
                  <a:pt x="789" y="371"/>
                </a:moveTo>
                <a:cubicBezTo>
                  <a:pt x="790" y="371"/>
                  <a:pt x="789" y="373"/>
                  <a:pt x="789" y="371"/>
                </a:cubicBezTo>
                <a:cubicBezTo>
                  <a:pt x="789" y="371"/>
                  <a:pt x="789" y="371"/>
                  <a:pt x="789" y="371"/>
                </a:cubicBezTo>
                <a:close/>
                <a:moveTo>
                  <a:pt x="788" y="403"/>
                </a:moveTo>
                <a:cubicBezTo>
                  <a:pt x="787" y="400"/>
                  <a:pt x="789" y="401"/>
                  <a:pt x="788" y="403"/>
                </a:cubicBezTo>
                <a:close/>
                <a:moveTo>
                  <a:pt x="785" y="361"/>
                </a:moveTo>
                <a:cubicBezTo>
                  <a:pt x="786" y="359"/>
                  <a:pt x="787" y="363"/>
                  <a:pt x="786" y="364"/>
                </a:cubicBezTo>
                <a:cubicBezTo>
                  <a:pt x="784" y="364"/>
                  <a:pt x="784" y="361"/>
                  <a:pt x="785" y="361"/>
                </a:cubicBezTo>
                <a:close/>
                <a:moveTo>
                  <a:pt x="785" y="365"/>
                </a:moveTo>
                <a:cubicBezTo>
                  <a:pt x="787" y="365"/>
                  <a:pt x="787" y="367"/>
                  <a:pt x="785" y="367"/>
                </a:cubicBezTo>
                <a:cubicBezTo>
                  <a:pt x="785" y="367"/>
                  <a:pt x="783" y="366"/>
                  <a:pt x="785" y="365"/>
                </a:cubicBezTo>
                <a:close/>
                <a:moveTo>
                  <a:pt x="783" y="380"/>
                </a:moveTo>
                <a:cubicBezTo>
                  <a:pt x="784" y="380"/>
                  <a:pt x="783" y="382"/>
                  <a:pt x="783" y="383"/>
                </a:cubicBezTo>
                <a:cubicBezTo>
                  <a:pt x="782" y="382"/>
                  <a:pt x="783" y="381"/>
                  <a:pt x="783" y="380"/>
                </a:cubicBezTo>
                <a:close/>
                <a:moveTo>
                  <a:pt x="739" y="294"/>
                </a:moveTo>
                <a:cubicBezTo>
                  <a:pt x="737" y="293"/>
                  <a:pt x="740" y="291"/>
                  <a:pt x="739" y="294"/>
                </a:cubicBezTo>
                <a:close/>
                <a:moveTo>
                  <a:pt x="736" y="437"/>
                </a:moveTo>
                <a:cubicBezTo>
                  <a:pt x="736" y="437"/>
                  <a:pt x="736" y="436"/>
                  <a:pt x="736" y="435"/>
                </a:cubicBezTo>
                <a:cubicBezTo>
                  <a:pt x="737" y="434"/>
                  <a:pt x="737" y="437"/>
                  <a:pt x="736" y="437"/>
                </a:cubicBezTo>
                <a:close/>
                <a:moveTo>
                  <a:pt x="741" y="332"/>
                </a:moveTo>
                <a:cubicBezTo>
                  <a:pt x="741" y="331"/>
                  <a:pt x="741" y="331"/>
                  <a:pt x="741" y="330"/>
                </a:cubicBezTo>
                <a:cubicBezTo>
                  <a:pt x="742" y="330"/>
                  <a:pt x="741" y="332"/>
                  <a:pt x="741" y="332"/>
                </a:cubicBezTo>
                <a:close/>
                <a:moveTo>
                  <a:pt x="746" y="351"/>
                </a:moveTo>
                <a:cubicBezTo>
                  <a:pt x="745" y="351"/>
                  <a:pt x="746" y="350"/>
                  <a:pt x="746" y="350"/>
                </a:cubicBezTo>
                <a:cubicBezTo>
                  <a:pt x="747" y="349"/>
                  <a:pt x="747" y="352"/>
                  <a:pt x="746" y="351"/>
                </a:cubicBezTo>
                <a:close/>
                <a:moveTo>
                  <a:pt x="749" y="369"/>
                </a:moveTo>
                <a:cubicBezTo>
                  <a:pt x="749" y="369"/>
                  <a:pt x="749" y="368"/>
                  <a:pt x="749" y="368"/>
                </a:cubicBezTo>
                <a:cubicBezTo>
                  <a:pt x="750" y="366"/>
                  <a:pt x="750" y="369"/>
                  <a:pt x="749" y="369"/>
                </a:cubicBezTo>
                <a:close/>
                <a:moveTo>
                  <a:pt x="750" y="348"/>
                </a:moveTo>
                <a:cubicBezTo>
                  <a:pt x="750" y="348"/>
                  <a:pt x="750" y="347"/>
                  <a:pt x="750" y="347"/>
                </a:cubicBezTo>
                <a:cubicBezTo>
                  <a:pt x="750" y="346"/>
                  <a:pt x="751" y="349"/>
                  <a:pt x="750" y="348"/>
                </a:cubicBezTo>
                <a:close/>
                <a:moveTo>
                  <a:pt x="751" y="457"/>
                </a:moveTo>
                <a:cubicBezTo>
                  <a:pt x="750" y="457"/>
                  <a:pt x="750" y="454"/>
                  <a:pt x="751" y="454"/>
                </a:cubicBezTo>
                <a:cubicBezTo>
                  <a:pt x="754" y="451"/>
                  <a:pt x="754" y="457"/>
                  <a:pt x="751" y="457"/>
                </a:cubicBezTo>
                <a:close/>
                <a:moveTo>
                  <a:pt x="751" y="364"/>
                </a:moveTo>
                <a:cubicBezTo>
                  <a:pt x="752" y="363"/>
                  <a:pt x="751" y="366"/>
                  <a:pt x="751" y="366"/>
                </a:cubicBezTo>
                <a:cubicBezTo>
                  <a:pt x="750" y="366"/>
                  <a:pt x="750" y="364"/>
                  <a:pt x="751" y="364"/>
                </a:cubicBezTo>
                <a:close/>
                <a:moveTo>
                  <a:pt x="753" y="422"/>
                </a:moveTo>
                <a:cubicBezTo>
                  <a:pt x="753" y="420"/>
                  <a:pt x="755" y="421"/>
                  <a:pt x="753" y="422"/>
                </a:cubicBezTo>
                <a:close/>
                <a:moveTo>
                  <a:pt x="762" y="382"/>
                </a:moveTo>
                <a:cubicBezTo>
                  <a:pt x="762" y="382"/>
                  <a:pt x="762" y="381"/>
                  <a:pt x="762" y="381"/>
                </a:cubicBezTo>
                <a:cubicBezTo>
                  <a:pt x="763" y="380"/>
                  <a:pt x="763" y="383"/>
                  <a:pt x="762" y="382"/>
                </a:cubicBezTo>
                <a:close/>
                <a:moveTo>
                  <a:pt x="767" y="365"/>
                </a:moveTo>
                <a:cubicBezTo>
                  <a:pt x="766" y="365"/>
                  <a:pt x="767" y="364"/>
                  <a:pt x="767" y="363"/>
                </a:cubicBezTo>
                <a:cubicBezTo>
                  <a:pt x="768" y="363"/>
                  <a:pt x="768" y="365"/>
                  <a:pt x="767" y="365"/>
                </a:cubicBezTo>
                <a:close/>
                <a:moveTo>
                  <a:pt x="772" y="382"/>
                </a:moveTo>
                <a:cubicBezTo>
                  <a:pt x="770" y="383"/>
                  <a:pt x="769" y="377"/>
                  <a:pt x="771" y="376"/>
                </a:cubicBezTo>
                <a:cubicBezTo>
                  <a:pt x="775" y="374"/>
                  <a:pt x="775" y="382"/>
                  <a:pt x="772" y="382"/>
                </a:cubicBezTo>
                <a:close/>
                <a:moveTo>
                  <a:pt x="771" y="351"/>
                </a:moveTo>
                <a:cubicBezTo>
                  <a:pt x="772" y="348"/>
                  <a:pt x="775" y="355"/>
                  <a:pt x="772" y="354"/>
                </a:cubicBezTo>
                <a:cubicBezTo>
                  <a:pt x="771" y="353"/>
                  <a:pt x="770" y="352"/>
                  <a:pt x="771" y="351"/>
                </a:cubicBezTo>
                <a:close/>
                <a:moveTo>
                  <a:pt x="776" y="420"/>
                </a:moveTo>
                <a:cubicBezTo>
                  <a:pt x="777" y="422"/>
                  <a:pt x="775" y="421"/>
                  <a:pt x="776" y="420"/>
                </a:cubicBezTo>
                <a:close/>
                <a:moveTo>
                  <a:pt x="779" y="402"/>
                </a:moveTo>
                <a:cubicBezTo>
                  <a:pt x="779" y="401"/>
                  <a:pt x="778" y="403"/>
                  <a:pt x="779" y="402"/>
                </a:cubicBezTo>
                <a:close/>
                <a:moveTo>
                  <a:pt x="782" y="347"/>
                </a:moveTo>
                <a:cubicBezTo>
                  <a:pt x="781" y="347"/>
                  <a:pt x="781" y="346"/>
                  <a:pt x="781" y="346"/>
                </a:cubicBezTo>
                <a:cubicBezTo>
                  <a:pt x="781" y="344"/>
                  <a:pt x="783" y="348"/>
                  <a:pt x="782" y="347"/>
                </a:cubicBezTo>
                <a:close/>
                <a:moveTo>
                  <a:pt x="779" y="364"/>
                </a:moveTo>
                <a:cubicBezTo>
                  <a:pt x="780" y="364"/>
                  <a:pt x="782" y="368"/>
                  <a:pt x="782" y="368"/>
                </a:cubicBezTo>
                <a:cubicBezTo>
                  <a:pt x="782" y="370"/>
                  <a:pt x="779" y="368"/>
                  <a:pt x="778" y="370"/>
                </a:cubicBezTo>
                <a:cubicBezTo>
                  <a:pt x="778" y="370"/>
                  <a:pt x="780" y="371"/>
                  <a:pt x="780" y="372"/>
                </a:cubicBezTo>
                <a:cubicBezTo>
                  <a:pt x="777" y="376"/>
                  <a:pt x="772" y="368"/>
                  <a:pt x="775" y="365"/>
                </a:cubicBezTo>
                <a:cubicBezTo>
                  <a:pt x="776" y="364"/>
                  <a:pt x="778" y="364"/>
                  <a:pt x="779" y="364"/>
                </a:cubicBezTo>
                <a:close/>
                <a:moveTo>
                  <a:pt x="776" y="327"/>
                </a:moveTo>
                <a:cubicBezTo>
                  <a:pt x="776" y="329"/>
                  <a:pt x="776" y="326"/>
                  <a:pt x="776" y="327"/>
                </a:cubicBezTo>
                <a:close/>
                <a:moveTo>
                  <a:pt x="776" y="333"/>
                </a:moveTo>
                <a:cubicBezTo>
                  <a:pt x="778" y="332"/>
                  <a:pt x="780" y="337"/>
                  <a:pt x="777" y="338"/>
                </a:cubicBezTo>
                <a:cubicBezTo>
                  <a:pt x="775" y="338"/>
                  <a:pt x="774" y="334"/>
                  <a:pt x="776" y="333"/>
                </a:cubicBezTo>
                <a:close/>
                <a:moveTo>
                  <a:pt x="775" y="351"/>
                </a:moveTo>
                <a:cubicBezTo>
                  <a:pt x="776" y="350"/>
                  <a:pt x="777" y="352"/>
                  <a:pt x="776" y="352"/>
                </a:cubicBezTo>
                <a:cubicBezTo>
                  <a:pt x="775" y="352"/>
                  <a:pt x="775" y="351"/>
                  <a:pt x="775" y="351"/>
                </a:cubicBezTo>
                <a:close/>
                <a:moveTo>
                  <a:pt x="774" y="342"/>
                </a:moveTo>
                <a:cubicBezTo>
                  <a:pt x="775" y="340"/>
                  <a:pt x="776" y="343"/>
                  <a:pt x="774" y="343"/>
                </a:cubicBezTo>
                <a:cubicBezTo>
                  <a:pt x="774" y="343"/>
                  <a:pt x="774" y="342"/>
                  <a:pt x="774" y="342"/>
                </a:cubicBezTo>
                <a:close/>
                <a:moveTo>
                  <a:pt x="773" y="347"/>
                </a:moveTo>
                <a:cubicBezTo>
                  <a:pt x="772" y="348"/>
                  <a:pt x="770" y="343"/>
                  <a:pt x="772" y="343"/>
                </a:cubicBezTo>
                <a:cubicBezTo>
                  <a:pt x="774" y="341"/>
                  <a:pt x="774" y="347"/>
                  <a:pt x="773" y="347"/>
                </a:cubicBezTo>
                <a:close/>
                <a:moveTo>
                  <a:pt x="770" y="320"/>
                </a:moveTo>
                <a:cubicBezTo>
                  <a:pt x="771" y="318"/>
                  <a:pt x="773" y="323"/>
                  <a:pt x="770" y="322"/>
                </a:cubicBezTo>
                <a:cubicBezTo>
                  <a:pt x="769" y="322"/>
                  <a:pt x="769" y="320"/>
                  <a:pt x="770" y="320"/>
                </a:cubicBezTo>
                <a:close/>
                <a:moveTo>
                  <a:pt x="769" y="332"/>
                </a:moveTo>
                <a:cubicBezTo>
                  <a:pt x="769" y="331"/>
                  <a:pt x="770" y="334"/>
                  <a:pt x="769" y="334"/>
                </a:cubicBezTo>
                <a:cubicBezTo>
                  <a:pt x="768" y="334"/>
                  <a:pt x="768" y="333"/>
                  <a:pt x="769" y="332"/>
                </a:cubicBezTo>
                <a:close/>
                <a:moveTo>
                  <a:pt x="766" y="326"/>
                </a:moveTo>
                <a:cubicBezTo>
                  <a:pt x="768" y="322"/>
                  <a:pt x="770" y="331"/>
                  <a:pt x="766" y="329"/>
                </a:cubicBezTo>
                <a:cubicBezTo>
                  <a:pt x="765" y="328"/>
                  <a:pt x="766" y="327"/>
                  <a:pt x="766" y="326"/>
                </a:cubicBezTo>
                <a:close/>
                <a:moveTo>
                  <a:pt x="767" y="336"/>
                </a:moveTo>
                <a:cubicBezTo>
                  <a:pt x="767" y="335"/>
                  <a:pt x="767" y="335"/>
                  <a:pt x="767" y="334"/>
                </a:cubicBezTo>
                <a:cubicBezTo>
                  <a:pt x="768" y="334"/>
                  <a:pt x="768" y="336"/>
                  <a:pt x="767" y="336"/>
                </a:cubicBezTo>
                <a:close/>
                <a:moveTo>
                  <a:pt x="767" y="332"/>
                </a:moveTo>
                <a:cubicBezTo>
                  <a:pt x="766" y="332"/>
                  <a:pt x="766" y="331"/>
                  <a:pt x="766" y="330"/>
                </a:cubicBezTo>
                <a:cubicBezTo>
                  <a:pt x="767" y="329"/>
                  <a:pt x="767" y="332"/>
                  <a:pt x="767" y="332"/>
                </a:cubicBezTo>
                <a:close/>
                <a:moveTo>
                  <a:pt x="767" y="349"/>
                </a:moveTo>
                <a:cubicBezTo>
                  <a:pt x="767" y="348"/>
                  <a:pt x="769" y="349"/>
                  <a:pt x="769" y="349"/>
                </a:cubicBezTo>
                <a:cubicBezTo>
                  <a:pt x="770" y="351"/>
                  <a:pt x="768" y="355"/>
                  <a:pt x="766" y="355"/>
                </a:cubicBezTo>
                <a:cubicBezTo>
                  <a:pt x="765" y="355"/>
                  <a:pt x="764" y="353"/>
                  <a:pt x="763" y="353"/>
                </a:cubicBezTo>
                <a:cubicBezTo>
                  <a:pt x="761" y="352"/>
                  <a:pt x="761" y="348"/>
                  <a:pt x="763" y="347"/>
                </a:cubicBezTo>
                <a:cubicBezTo>
                  <a:pt x="766" y="345"/>
                  <a:pt x="766" y="347"/>
                  <a:pt x="767" y="349"/>
                </a:cubicBezTo>
                <a:close/>
                <a:moveTo>
                  <a:pt x="762" y="341"/>
                </a:moveTo>
                <a:cubicBezTo>
                  <a:pt x="762" y="341"/>
                  <a:pt x="762" y="341"/>
                  <a:pt x="762" y="341"/>
                </a:cubicBezTo>
                <a:cubicBezTo>
                  <a:pt x="762" y="341"/>
                  <a:pt x="762" y="341"/>
                  <a:pt x="762" y="341"/>
                </a:cubicBezTo>
                <a:cubicBezTo>
                  <a:pt x="762" y="341"/>
                  <a:pt x="762" y="341"/>
                  <a:pt x="762" y="341"/>
                </a:cubicBezTo>
                <a:close/>
                <a:moveTo>
                  <a:pt x="762" y="320"/>
                </a:moveTo>
                <a:cubicBezTo>
                  <a:pt x="764" y="321"/>
                  <a:pt x="761" y="322"/>
                  <a:pt x="762" y="320"/>
                </a:cubicBezTo>
                <a:close/>
                <a:moveTo>
                  <a:pt x="762" y="322"/>
                </a:moveTo>
                <a:cubicBezTo>
                  <a:pt x="763" y="322"/>
                  <a:pt x="762" y="323"/>
                  <a:pt x="762" y="323"/>
                </a:cubicBezTo>
                <a:cubicBezTo>
                  <a:pt x="761" y="323"/>
                  <a:pt x="762" y="322"/>
                  <a:pt x="762" y="322"/>
                </a:cubicBezTo>
                <a:close/>
                <a:moveTo>
                  <a:pt x="762" y="331"/>
                </a:moveTo>
                <a:cubicBezTo>
                  <a:pt x="762" y="330"/>
                  <a:pt x="763" y="333"/>
                  <a:pt x="762" y="332"/>
                </a:cubicBezTo>
                <a:cubicBezTo>
                  <a:pt x="761" y="332"/>
                  <a:pt x="762" y="331"/>
                  <a:pt x="762" y="331"/>
                </a:cubicBezTo>
                <a:close/>
                <a:moveTo>
                  <a:pt x="760" y="362"/>
                </a:moveTo>
                <a:cubicBezTo>
                  <a:pt x="762" y="360"/>
                  <a:pt x="762" y="364"/>
                  <a:pt x="761" y="364"/>
                </a:cubicBezTo>
                <a:cubicBezTo>
                  <a:pt x="760" y="365"/>
                  <a:pt x="759" y="362"/>
                  <a:pt x="760" y="362"/>
                </a:cubicBezTo>
                <a:close/>
                <a:moveTo>
                  <a:pt x="758" y="333"/>
                </a:moveTo>
                <a:cubicBezTo>
                  <a:pt x="757" y="333"/>
                  <a:pt x="757" y="332"/>
                  <a:pt x="757" y="331"/>
                </a:cubicBezTo>
                <a:cubicBezTo>
                  <a:pt x="759" y="330"/>
                  <a:pt x="760" y="334"/>
                  <a:pt x="758" y="333"/>
                </a:cubicBezTo>
                <a:close/>
                <a:moveTo>
                  <a:pt x="757" y="305"/>
                </a:moveTo>
                <a:cubicBezTo>
                  <a:pt x="757" y="307"/>
                  <a:pt x="757" y="308"/>
                  <a:pt x="757" y="309"/>
                </a:cubicBezTo>
                <a:cubicBezTo>
                  <a:pt x="756" y="308"/>
                  <a:pt x="756" y="306"/>
                  <a:pt x="757" y="305"/>
                </a:cubicBezTo>
                <a:close/>
                <a:moveTo>
                  <a:pt x="756" y="312"/>
                </a:moveTo>
                <a:cubicBezTo>
                  <a:pt x="759" y="315"/>
                  <a:pt x="754" y="316"/>
                  <a:pt x="756" y="312"/>
                </a:cubicBezTo>
                <a:close/>
                <a:moveTo>
                  <a:pt x="755" y="427"/>
                </a:moveTo>
                <a:cubicBezTo>
                  <a:pt x="753" y="425"/>
                  <a:pt x="756" y="426"/>
                  <a:pt x="755" y="427"/>
                </a:cubicBezTo>
                <a:close/>
                <a:moveTo>
                  <a:pt x="754" y="387"/>
                </a:moveTo>
                <a:cubicBezTo>
                  <a:pt x="752" y="388"/>
                  <a:pt x="750" y="384"/>
                  <a:pt x="752" y="382"/>
                </a:cubicBezTo>
                <a:cubicBezTo>
                  <a:pt x="754" y="380"/>
                  <a:pt x="755" y="386"/>
                  <a:pt x="754" y="387"/>
                </a:cubicBezTo>
                <a:close/>
                <a:moveTo>
                  <a:pt x="754" y="326"/>
                </a:moveTo>
                <a:cubicBezTo>
                  <a:pt x="754" y="324"/>
                  <a:pt x="754" y="328"/>
                  <a:pt x="754" y="326"/>
                </a:cubicBezTo>
                <a:close/>
                <a:moveTo>
                  <a:pt x="754" y="307"/>
                </a:moveTo>
                <a:cubicBezTo>
                  <a:pt x="755" y="308"/>
                  <a:pt x="753" y="309"/>
                  <a:pt x="754" y="307"/>
                </a:cubicBezTo>
                <a:close/>
                <a:moveTo>
                  <a:pt x="752" y="301"/>
                </a:moveTo>
                <a:cubicBezTo>
                  <a:pt x="751" y="299"/>
                  <a:pt x="754" y="299"/>
                  <a:pt x="752" y="301"/>
                </a:cubicBezTo>
                <a:close/>
                <a:moveTo>
                  <a:pt x="752" y="350"/>
                </a:moveTo>
                <a:cubicBezTo>
                  <a:pt x="753" y="351"/>
                  <a:pt x="753" y="355"/>
                  <a:pt x="752" y="356"/>
                </a:cubicBezTo>
                <a:cubicBezTo>
                  <a:pt x="752" y="354"/>
                  <a:pt x="752" y="352"/>
                  <a:pt x="752" y="350"/>
                </a:cubicBezTo>
                <a:close/>
                <a:moveTo>
                  <a:pt x="751" y="362"/>
                </a:moveTo>
                <a:cubicBezTo>
                  <a:pt x="751" y="361"/>
                  <a:pt x="751" y="361"/>
                  <a:pt x="751" y="360"/>
                </a:cubicBezTo>
                <a:cubicBezTo>
                  <a:pt x="752" y="360"/>
                  <a:pt x="752" y="362"/>
                  <a:pt x="751" y="362"/>
                </a:cubicBezTo>
                <a:close/>
                <a:moveTo>
                  <a:pt x="751" y="307"/>
                </a:moveTo>
                <a:cubicBezTo>
                  <a:pt x="752" y="306"/>
                  <a:pt x="750" y="309"/>
                  <a:pt x="751" y="307"/>
                </a:cubicBezTo>
                <a:close/>
                <a:moveTo>
                  <a:pt x="751" y="340"/>
                </a:moveTo>
                <a:cubicBezTo>
                  <a:pt x="750" y="341"/>
                  <a:pt x="750" y="339"/>
                  <a:pt x="750" y="339"/>
                </a:cubicBezTo>
                <a:cubicBezTo>
                  <a:pt x="751" y="338"/>
                  <a:pt x="751" y="340"/>
                  <a:pt x="751" y="340"/>
                </a:cubicBezTo>
                <a:close/>
                <a:moveTo>
                  <a:pt x="748" y="303"/>
                </a:moveTo>
                <a:cubicBezTo>
                  <a:pt x="750" y="301"/>
                  <a:pt x="752" y="307"/>
                  <a:pt x="750" y="307"/>
                </a:cubicBezTo>
                <a:cubicBezTo>
                  <a:pt x="748" y="307"/>
                  <a:pt x="748" y="304"/>
                  <a:pt x="748" y="303"/>
                </a:cubicBezTo>
                <a:close/>
                <a:moveTo>
                  <a:pt x="747" y="306"/>
                </a:moveTo>
                <a:cubicBezTo>
                  <a:pt x="746" y="307"/>
                  <a:pt x="745" y="306"/>
                  <a:pt x="747" y="306"/>
                </a:cubicBezTo>
                <a:close/>
                <a:moveTo>
                  <a:pt x="745" y="301"/>
                </a:moveTo>
                <a:cubicBezTo>
                  <a:pt x="746" y="300"/>
                  <a:pt x="746" y="303"/>
                  <a:pt x="745" y="303"/>
                </a:cubicBezTo>
                <a:cubicBezTo>
                  <a:pt x="744" y="302"/>
                  <a:pt x="745" y="301"/>
                  <a:pt x="745" y="301"/>
                </a:cubicBezTo>
                <a:close/>
                <a:moveTo>
                  <a:pt x="745" y="332"/>
                </a:moveTo>
                <a:cubicBezTo>
                  <a:pt x="746" y="331"/>
                  <a:pt x="747" y="331"/>
                  <a:pt x="747" y="333"/>
                </a:cubicBezTo>
                <a:cubicBezTo>
                  <a:pt x="747" y="335"/>
                  <a:pt x="744" y="345"/>
                  <a:pt x="744" y="345"/>
                </a:cubicBezTo>
                <a:cubicBezTo>
                  <a:pt x="742" y="345"/>
                  <a:pt x="744" y="341"/>
                  <a:pt x="744" y="340"/>
                </a:cubicBezTo>
                <a:cubicBezTo>
                  <a:pt x="745" y="338"/>
                  <a:pt x="743" y="333"/>
                  <a:pt x="745" y="332"/>
                </a:cubicBezTo>
                <a:close/>
                <a:moveTo>
                  <a:pt x="743" y="354"/>
                </a:moveTo>
                <a:cubicBezTo>
                  <a:pt x="744" y="353"/>
                  <a:pt x="742" y="355"/>
                  <a:pt x="743" y="354"/>
                </a:cubicBezTo>
                <a:close/>
                <a:moveTo>
                  <a:pt x="740" y="293"/>
                </a:moveTo>
                <a:cubicBezTo>
                  <a:pt x="739" y="293"/>
                  <a:pt x="740" y="292"/>
                  <a:pt x="740" y="292"/>
                </a:cubicBezTo>
                <a:cubicBezTo>
                  <a:pt x="741" y="291"/>
                  <a:pt x="741" y="294"/>
                  <a:pt x="740" y="293"/>
                </a:cubicBezTo>
                <a:close/>
                <a:moveTo>
                  <a:pt x="741" y="324"/>
                </a:moveTo>
                <a:cubicBezTo>
                  <a:pt x="742" y="322"/>
                  <a:pt x="742" y="325"/>
                  <a:pt x="741" y="325"/>
                </a:cubicBezTo>
                <a:cubicBezTo>
                  <a:pt x="740" y="325"/>
                  <a:pt x="741" y="324"/>
                  <a:pt x="741" y="324"/>
                </a:cubicBezTo>
                <a:close/>
                <a:moveTo>
                  <a:pt x="740" y="339"/>
                </a:moveTo>
                <a:cubicBezTo>
                  <a:pt x="741" y="338"/>
                  <a:pt x="741" y="340"/>
                  <a:pt x="741" y="340"/>
                </a:cubicBezTo>
                <a:cubicBezTo>
                  <a:pt x="740" y="341"/>
                  <a:pt x="740" y="340"/>
                  <a:pt x="740" y="339"/>
                </a:cubicBezTo>
                <a:close/>
                <a:moveTo>
                  <a:pt x="740" y="360"/>
                </a:moveTo>
                <a:cubicBezTo>
                  <a:pt x="741" y="361"/>
                  <a:pt x="739" y="362"/>
                  <a:pt x="740" y="360"/>
                </a:cubicBezTo>
                <a:close/>
                <a:moveTo>
                  <a:pt x="739" y="374"/>
                </a:moveTo>
                <a:cubicBezTo>
                  <a:pt x="739" y="374"/>
                  <a:pt x="739" y="376"/>
                  <a:pt x="739" y="376"/>
                </a:cubicBezTo>
                <a:cubicBezTo>
                  <a:pt x="739" y="375"/>
                  <a:pt x="739" y="375"/>
                  <a:pt x="739" y="374"/>
                </a:cubicBezTo>
                <a:close/>
                <a:moveTo>
                  <a:pt x="737" y="379"/>
                </a:moveTo>
                <a:cubicBezTo>
                  <a:pt x="739" y="380"/>
                  <a:pt x="737" y="382"/>
                  <a:pt x="737" y="384"/>
                </a:cubicBezTo>
                <a:cubicBezTo>
                  <a:pt x="737" y="382"/>
                  <a:pt x="736" y="383"/>
                  <a:pt x="735" y="382"/>
                </a:cubicBezTo>
                <a:cubicBezTo>
                  <a:pt x="733" y="381"/>
                  <a:pt x="736" y="377"/>
                  <a:pt x="737" y="379"/>
                </a:cubicBezTo>
                <a:close/>
                <a:moveTo>
                  <a:pt x="735" y="354"/>
                </a:moveTo>
                <a:cubicBezTo>
                  <a:pt x="733" y="353"/>
                  <a:pt x="735" y="352"/>
                  <a:pt x="735" y="354"/>
                </a:cubicBezTo>
                <a:close/>
                <a:moveTo>
                  <a:pt x="734" y="314"/>
                </a:moveTo>
                <a:cubicBezTo>
                  <a:pt x="734" y="313"/>
                  <a:pt x="735" y="314"/>
                  <a:pt x="735" y="314"/>
                </a:cubicBezTo>
                <a:cubicBezTo>
                  <a:pt x="735" y="315"/>
                  <a:pt x="734" y="315"/>
                  <a:pt x="734" y="314"/>
                </a:cubicBezTo>
                <a:close/>
                <a:moveTo>
                  <a:pt x="733" y="313"/>
                </a:moveTo>
                <a:cubicBezTo>
                  <a:pt x="734" y="313"/>
                  <a:pt x="733" y="314"/>
                  <a:pt x="733" y="314"/>
                </a:cubicBezTo>
                <a:cubicBezTo>
                  <a:pt x="732" y="314"/>
                  <a:pt x="733" y="313"/>
                  <a:pt x="733" y="313"/>
                </a:cubicBezTo>
                <a:close/>
                <a:moveTo>
                  <a:pt x="734" y="322"/>
                </a:moveTo>
                <a:cubicBezTo>
                  <a:pt x="734" y="323"/>
                  <a:pt x="733" y="322"/>
                  <a:pt x="733" y="321"/>
                </a:cubicBezTo>
                <a:cubicBezTo>
                  <a:pt x="733" y="320"/>
                  <a:pt x="734" y="321"/>
                  <a:pt x="734" y="322"/>
                </a:cubicBezTo>
                <a:close/>
                <a:moveTo>
                  <a:pt x="731" y="420"/>
                </a:moveTo>
                <a:cubicBezTo>
                  <a:pt x="732" y="418"/>
                  <a:pt x="730" y="422"/>
                  <a:pt x="731" y="420"/>
                </a:cubicBezTo>
                <a:close/>
                <a:moveTo>
                  <a:pt x="731" y="303"/>
                </a:moveTo>
                <a:cubicBezTo>
                  <a:pt x="729" y="302"/>
                  <a:pt x="731" y="301"/>
                  <a:pt x="731" y="303"/>
                </a:cubicBezTo>
                <a:close/>
                <a:moveTo>
                  <a:pt x="731" y="305"/>
                </a:moveTo>
                <a:cubicBezTo>
                  <a:pt x="731" y="305"/>
                  <a:pt x="729" y="305"/>
                  <a:pt x="729" y="305"/>
                </a:cubicBezTo>
                <a:cubicBezTo>
                  <a:pt x="729" y="304"/>
                  <a:pt x="732" y="304"/>
                  <a:pt x="731" y="305"/>
                </a:cubicBezTo>
                <a:close/>
                <a:moveTo>
                  <a:pt x="729" y="318"/>
                </a:moveTo>
                <a:cubicBezTo>
                  <a:pt x="729" y="317"/>
                  <a:pt x="730" y="319"/>
                  <a:pt x="730" y="320"/>
                </a:cubicBezTo>
                <a:cubicBezTo>
                  <a:pt x="729" y="320"/>
                  <a:pt x="729" y="319"/>
                  <a:pt x="729" y="318"/>
                </a:cubicBezTo>
                <a:close/>
                <a:moveTo>
                  <a:pt x="724" y="299"/>
                </a:moveTo>
                <a:cubicBezTo>
                  <a:pt x="724" y="299"/>
                  <a:pt x="724" y="299"/>
                  <a:pt x="724" y="299"/>
                </a:cubicBezTo>
                <a:cubicBezTo>
                  <a:pt x="724" y="299"/>
                  <a:pt x="724" y="299"/>
                  <a:pt x="724" y="299"/>
                </a:cubicBezTo>
                <a:cubicBezTo>
                  <a:pt x="724" y="299"/>
                  <a:pt x="724" y="299"/>
                  <a:pt x="724" y="299"/>
                </a:cubicBezTo>
                <a:close/>
                <a:moveTo>
                  <a:pt x="728" y="307"/>
                </a:moveTo>
                <a:cubicBezTo>
                  <a:pt x="728" y="306"/>
                  <a:pt x="728" y="309"/>
                  <a:pt x="728" y="307"/>
                </a:cubicBezTo>
                <a:close/>
                <a:moveTo>
                  <a:pt x="727" y="323"/>
                </a:moveTo>
                <a:cubicBezTo>
                  <a:pt x="727" y="322"/>
                  <a:pt x="726" y="324"/>
                  <a:pt x="727" y="323"/>
                </a:cubicBezTo>
                <a:close/>
                <a:moveTo>
                  <a:pt x="725" y="462"/>
                </a:moveTo>
                <a:cubicBezTo>
                  <a:pt x="725" y="463"/>
                  <a:pt x="723" y="463"/>
                  <a:pt x="724" y="462"/>
                </a:cubicBezTo>
                <a:cubicBezTo>
                  <a:pt x="724" y="461"/>
                  <a:pt x="725" y="462"/>
                  <a:pt x="725" y="462"/>
                </a:cubicBezTo>
                <a:close/>
                <a:moveTo>
                  <a:pt x="725" y="403"/>
                </a:moveTo>
                <a:cubicBezTo>
                  <a:pt x="724" y="405"/>
                  <a:pt x="725" y="402"/>
                  <a:pt x="725" y="403"/>
                </a:cubicBezTo>
                <a:close/>
                <a:moveTo>
                  <a:pt x="724" y="379"/>
                </a:moveTo>
                <a:cubicBezTo>
                  <a:pt x="724" y="380"/>
                  <a:pt x="723" y="379"/>
                  <a:pt x="723" y="379"/>
                </a:cubicBezTo>
                <a:cubicBezTo>
                  <a:pt x="723" y="379"/>
                  <a:pt x="725" y="379"/>
                  <a:pt x="724" y="379"/>
                </a:cubicBezTo>
                <a:close/>
                <a:moveTo>
                  <a:pt x="721" y="336"/>
                </a:moveTo>
                <a:cubicBezTo>
                  <a:pt x="722" y="335"/>
                  <a:pt x="722" y="339"/>
                  <a:pt x="721" y="338"/>
                </a:cubicBezTo>
                <a:cubicBezTo>
                  <a:pt x="720" y="338"/>
                  <a:pt x="721" y="336"/>
                  <a:pt x="721" y="336"/>
                </a:cubicBezTo>
                <a:close/>
                <a:moveTo>
                  <a:pt x="719" y="366"/>
                </a:moveTo>
                <a:cubicBezTo>
                  <a:pt x="721" y="365"/>
                  <a:pt x="718" y="368"/>
                  <a:pt x="719" y="366"/>
                </a:cubicBezTo>
                <a:cubicBezTo>
                  <a:pt x="719" y="366"/>
                  <a:pt x="719" y="366"/>
                  <a:pt x="719" y="366"/>
                </a:cubicBezTo>
                <a:close/>
                <a:moveTo>
                  <a:pt x="708" y="263"/>
                </a:moveTo>
                <a:cubicBezTo>
                  <a:pt x="708" y="261"/>
                  <a:pt x="709" y="265"/>
                  <a:pt x="708" y="264"/>
                </a:cubicBezTo>
                <a:cubicBezTo>
                  <a:pt x="707" y="263"/>
                  <a:pt x="707" y="263"/>
                  <a:pt x="708" y="263"/>
                </a:cubicBezTo>
                <a:close/>
                <a:moveTo>
                  <a:pt x="707" y="258"/>
                </a:moveTo>
                <a:cubicBezTo>
                  <a:pt x="708" y="257"/>
                  <a:pt x="707" y="260"/>
                  <a:pt x="706" y="260"/>
                </a:cubicBezTo>
                <a:cubicBezTo>
                  <a:pt x="705" y="259"/>
                  <a:pt x="707" y="258"/>
                  <a:pt x="707" y="258"/>
                </a:cubicBezTo>
                <a:close/>
                <a:moveTo>
                  <a:pt x="681" y="522"/>
                </a:moveTo>
                <a:cubicBezTo>
                  <a:pt x="680" y="522"/>
                  <a:pt x="680" y="521"/>
                  <a:pt x="681" y="521"/>
                </a:cubicBezTo>
                <a:cubicBezTo>
                  <a:pt x="682" y="519"/>
                  <a:pt x="682" y="523"/>
                  <a:pt x="681" y="522"/>
                </a:cubicBezTo>
                <a:close/>
                <a:moveTo>
                  <a:pt x="682" y="440"/>
                </a:moveTo>
                <a:cubicBezTo>
                  <a:pt x="681" y="440"/>
                  <a:pt x="681" y="439"/>
                  <a:pt x="682" y="438"/>
                </a:cubicBezTo>
                <a:cubicBezTo>
                  <a:pt x="683" y="436"/>
                  <a:pt x="684" y="441"/>
                  <a:pt x="682" y="440"/>
                </a:cubicBezTo>
                <a:close/>
                <a:moveTo>
                  <a:pt x="682" y="375"/>
                </a:moveTo>
                <a:cubicBezTo>
                  <a:pt x="682" y="374"/>
                  <a:pt x="683" y="374"/>
                  <a:pt x="683" y="372"/>
                </a:cubicBezTo>
                <a:cubicBezTo>
                  <a:pt x="684" y="373"/>
                  <a:pt x="683" y="375"/>
                  <a:pt x="682" y="375"/>
                </a:cubicBezTo>
                <a:close/>
                <a:moveTo>
                  <a:pt x="684" y="296"/>
                </a:moveTo>
                <a:cubicBezTo>
                  <a:pt x="685" y="295"/>
                  <a:pt x="685" y="297"/>
                  <a:pt x="684" y="297"/>
                </a:cubicBezTo>
                <a:cubicBezTo>
                  <a:pt x="684" y="297"/>
                  <a:pt x="684" y="296"/>
                  <a:pt x="684" y="296"/>
                </a:cubicBezTo>
                <a:close/>
                <a:moveTo>
                  <a:pt x="685" y="292"/>
                </a:moveTo>
                <a:cubicBezTo>
                  <a:pt x="686" y="292"/>
                  <a:pt x="683" y="293"/>
                  <a:pt x="685" y="292"/>
                </a:cubicBezTo>
                <a:close/>
                <a:moveTo>
                  <a:pt x="683" y="302"/>
                </a:moveTo>
                <a:cubicBezTo>
                  <a:pt x="683" y="302"/>
                  <a:pt x="684" y="301"/>
                  <a:pt x="684" y="301"/>
                </a:cubicBezTo>
                <a:cubicBezTo>
                  <a:pt x="684" y="301"/>
                  <a:pt x="683" y="302"/>
                  <a:pt x="683" y="302"/>
                </a:cubicBezTo>
                <a:close/>
                <a:moveTo>
                  <a:pt x="685" y="376"/>
                </a:moveTo>
                <a:cubicBezTo>
                  <a:pt x="684" y="375"/>
                  <a:pt x="685" y="372"/>
                  <a:pt x="685" y="372"/>
                </a:cubicBezTo>
                <a:cubicBezTo>
                  <a:pt x="688" y="370"/>
                  <a:pt x="688" y="377"/>
                  <a:pt x="685" y="376"/>
                </a:cubicBezTo>
                <a:close/>
                <a:moveTo>
                  <a:pt x="685" y="360"/>
                </a:moveTo>
                <a:cubicBezTo>
                  <a:pt x="685" y="358"/>
                  <a:pt x="686" y="361"/>
                  <a:pt x="685" y="361"/>
                </a:cubicBezTo>
                <a:cubicBezTo>
                  <a:pt x="684" y="360"/>
                  <a:pt x="685" y="360"/>
                  <a:pt x="685" y="360"/>
                </a:cubicBezTo>
                <a:close/>
                <a:moveTo>
                  <a:pt x="689" y="346"/>
                </a:moveTo>
                <a:cubicBezTo>
                  <a:pt x="687" y="346"/>
                  <a:pt x="688" y="344"/>
                  <a:pt x="688" y="344"/>
                </a:cubicBezTo>
                <a:cubicBezTo>
                  <a:pt x="689" y="342"/>
                  <a:pt x="690" y="347"/>
                  <a:pt x="689" y="346"/>
                </a:cubicBezTo>
                <a:close/>
                <a:moveTo>
                  <a:pt x="689" y="333"/>
                </a:moveTo>
                <a:cubicBezTo>
                  <a:pt x="689" y="334"/>
                  <a:pt x="688" y="331"/>
                  <a:pt x="689" y="333"/>
                </a:cubicBezTo>
                <a:close/>
                <a:moveTo>
                  <a:pt x="690" y="370"/>
                </a:moveTo>
                <a:cubicBezTo>
                  <a:pt x="692" y="367"/>
                  <a:pt x="693" y="373"/>
                  <a:pt x="691" y="372"/>
                </a:cubicBezTo>
                <a:cubicBezTo>
                  <a:pt x="690" y="372"/>
                  <a:pt x="690" y="370"/>
                  <a:pt x="690" y="370"/>
                </a:cubicBezTo>
                <a:close/>
                <a:moveTo>
                  <a:pt x="690" y="322"/>
                </a:moveTo>
                <a:cubicBezTo>
                  <a:pt x="689" y="323"/>
                  <a:pt x="692" y="320"/>
                  <a:pt x="690" y="322"/>
                </a:cubicBezTo>
                <a:close/>
                <a:moveTo>
                  <a:pt x="691" y="405"/>
                </a:moveTo>
                <a:cubicBezTo>
                  <a:pt x="690" y="403"/>
                  <a:pt x="693" y="403"/>
                  <a:pt x="693" y="402"/>
                </a:cubicBezTo>
                <a:cubicBezTo>
                  <a:pt x="693" y="403"/>
                  <a:pt x="692" y="404"/>
                  <a:pt x="691" y="405"/>
                </a:cubicBezTo>
                <a:close/>
                <a:moveTo>
                  <a:pt x="694" y="441"/>
                </a:moveTo>
                <a:cubicBezTo>
                  <a:pt x="694" y="440"/>
                  <a:pt x="695" y="439"/>
                  <a:pt x="695" y="438"/>
                </a:cubicBezTo>
                <a:cubicBezTo>
                  <a:pt x="696" y="439"/>
                  <a:pt x="695" y="441"/>
                  <a:pt x="694" y="441"/>
                </a:cubicBezTo>
                <a:close/>
                <a:moveTo>
                  <a:pt x="695" y="391"/>
                </a:moveTo>
                <a:cubicBezTo>
                  <a:pt x="695" y="391"/>
                  <a:pt x="695" y="390"/>
                  <a:pt x="695" y="390"/>
                </a:cubicBezTo>
                <a:cubicBezTo>
                  <a:pt x="696" y="389"/>
                  <a:pt x="696" y="392"/>
                  <a:pt x="695" y="391"/>
                </a:cubicBezTo>
                <a:close/>
                <a:moveTo>
                  <a:pt x="701" y="315"/>
                </a:moveTo>
                <a:cubicBezTo>
                  <a:pt x="701" y="316"/>
                  <a:pt x="700" y="317"/>
                  <a:pt x="699" y="316"/>
                </a:cubicBezTo>
                <a:cubicBezTo>
                  <a:pt x="698" y="316"/>
                  <a:pt x="700" y="313"/>
                  <a:pt x="701" y="315"/>
                </a:cubicBezTo>
                <a:close/>
                <a:moveTo>
                  <a:pt x="699" y="398"/>
                </a:moveTo>
                <a:cubicBezTo>
                  <a:pt x="700" y="397"/>
                  <a:pt x="699" y="399"/>
                  <a:pt x="699" y="398"/>
                </a:cubicBezTo>
                <a:close/>
                <a:moveTo>
                  <a:pt x="701" y="369"/>
                </a:moveTo>
                <a:cubicBezTo>
                  <a:pt x="700" y="369"/>
                  <a:pt x="700" y="367"/>
                  <a:pt x="701" y="367"/>
                </a:cubicBezTo>
                <a:cubicBezTo>
                  <a:pt x="702" y="365"/>
                  <a:pt x="703" y="370"/>
                  <a:pt x="701" y="369"/>
                </a:cubicBezTo>
                <a:close/>
                <a:moveTo>
                  <a:pt x="702" y="351"/>
                </a:moveTo>
                <a:cubicBezTo>
                  <a:pt x="701" y="351"/>
                  <a:pt x="702" y="350"/>
                  <a:pt x="702" y="350"/>
                </a:cubicBezTo>
                <a:cubicBezTo>
                  <a:pt x="703" y="348"/>
                  <a:pt x="703" y="351"/>
                  <a:pt x="702" y="351"/>
                </a:cubicBezTo>
                <a:close/>
                <a:moveTo>
                  <a:pt x="699" y="334"/>
                </a:moveTo>
                <a:cubicBezTo>
                  <a:pt x="700" y="330"/>
                  <a:pt x="702" y="327"/>
                  <a:pt x="704" y="325"/>
                </a:cubicBezTo>
                <a:cubicBezTo>
                  <a:pt x="703" y="328"/>
                  <a:pt x="702" y="331"/>
                  <a:pt x="699" y="334"/>
                </a:cubicBezTo>
                <a:close/>
                <a:moveTo>
                  <a:pt x="704" y="313"/>
                </a:moveTo>
                <a:cubicBezTo>
                  <a:pt x="704" y="315"/>
                  <a:pt x="705" y="312"/>
                  <a:pt x="704" y="313"/>
                </a:cubicBezTo>
                <a:close/>
                <a:moveTo>
                  <a:pt x="711" y="404"/>
                </a:moveTo>
                <a:cubicBezTo>
                  <a:pt x="710" y="404"/>
                  <a:pt x="710" y="402"/>
                  <a:pt x="710" y="402"/>
                </a:cubicBezTo>
                <a:cubicBezTo>
                  <a:pt x="712" y="401"/>
                  <a:pt x="712" y="404"/>
                  <a:pt x="711" y="404"/>
                </a:cubicBezTo>
                <a:close/>
                <a:moveTo>
                  <a:pt x="709" y="371"/>
                </a:moveTo>
                <a:cubicBezTo>
                  <a:pt x="706" y="370"/>
                  <a:pt x="708" y="365"/>
                  <a:pt x="709" y="365"/>
                </a:cubicBezTo>
                <a:cubicBezTo>
                  <a:pt x="713" y="362"/>
                  <a:pt x="713" y="372"/>
                  <a:pt x="709" y="371"/>
                </a:cubicBezTo>
                <a:close/>
                <a:moveTo>
                  <a:pt x="710" y="346"/>
                </a:moveTo>
                <a:cubicBezTo>
                  <a:pt x="711" y="345"/>
                  <a:pt x="712" y="347"/>
                  <a:pt x="710" y="347"/>
                </a:cubicBezTo>
                <a:cubicBezTo>
                  <a:pt x="709" y="347"/>
                  <a:pt x="710" y="346"/>
                  <a:pt x="710" y="346"/>
                </a:cubicBezTo>
                <a:close/>
                <a:moveTo>
                  <a:pt x="715" y="399"/>
                </a:moveTo>
                <a:cubicBezTo>
                  <a:pt x="714" y="399"/>
                  <a:pt x="714" y="397"/>
                  <a:pt x="716" y="397"/>
                </a:cubicBezTo>
                <a:cubicBezTo>
                  <a:pt x="716" y="398"/>
                  <a:pt x="715" y="398"/>
                  <a:pt x="715" y="399"/>
                </a:cubicBezTo>
                <a:close/>
                <a:moveTo>
                  <a:pt x="715" y="361"/>
                </a:moveTo>
                <a:cubicBezTo>
                  <a:pt x="716" y="359"/>
                  <a:pt x="716" y="364"/>
                  <a:pt x="715" y="363"/>
                </a:cubicBezTo>
                <a:cubicBezTo>
                  <a:pt x="714" y="363"/>
                  <a:pt x="715" y="361"/>
                  <a:pt x="715" y="361"/>
                </a:cubicBezTo>
                <a:close/>
                <a:moveTo>
                  <a:pt x="715" y="292"/>
                </a:moveTo>
                <a:cubicBezTo>
                  <a:pt x="715" y="292"/>
                  <a:pt x="714" y="295"/>
                  <a:pt x="714" y="294"/>
                </a:cubicBezTo>
                <a:cubicBezTo>
                  <a:pt x="713" y="292"/>
                  <a:pt x="714" y="291"/>
                  <a:pt x="715" y="292"/>
                </a:cubicBezTo>
                <a:close/>
                <a:moveTo>
                  <a:pt x="713" y="290"/>
                </a:moveTo>
                <a:cubicBezTo>
                  <a:pt x="714" y="289"/>
                  <a:pt x="714" y="291"/>
                  <a:pt x="714" y="291"/>
                </a:cubicBezTo>
                <a:cubicBezTo>
                  <a:pt x="713" y="291"/>
                  <a:pt x="713" y="291"/>
                  <a:pt x="713" y="290"/>
                </a:cubicBezTo>
                <a:close/>
                <a:moveTo>
                  <a:pt x="712" y="297"/>
                </a:moveTo>
                <a:cubicBezTo>
                  <a:pt x="714" y="293"/>
                  <a:pt x="718" y="302"/>
                  <a:pt x="714" y="304"/>
                </a:cubicBezTo>
                <a:cubicBezTo>
                  <a:pt x="715" y="300"/>
                  <a:pt x="712" y="301"/>
                  <a:pt x="711" y="300"/>
                </a:cubicBezTo>
                <a:cubicBezTo>
                  <a:pt x="711" y="300"/>
                  <a:pt x="711" y="297"/>
                  <a:pt x="712" y="297"/>
                </a:cubicBezTo>
                <a:close/>
                <a:moveTo>
                  <a:pt x="710" y="332"/>
                </a:moveTo>
                <a:cubicBezTo>
                  <a:pt x="711" y="330"/>
                  <a:pt x="709" y="333"/>
                  <a:pt x="710" y="332"/>
                </a:cubicBezTo>
                <a:close/>
                <a:moveTo>
                  <a:pt x="710" y="338"/>
                </a:moveTo>
                <a:cubicBezTo>
                  <a:pt x="712" y="338"/>
                  <a:pt x="714" y="337"/>
                  <a:pt x="714" y="340"/>
                </a:cubicBezTo>
                <a:cubicBezTo>
                  <a:pt x="714" y="342"/>
                  <a:pt x="713" y="341"/>
                  <a:pt x="712" y="343"/>
                </a:cubicBezTo>
                <a:cubicBezTo>
                  <a:pt x="711" y="344"/>
                  <a:pt x="712" y="345"/>
                  <a:pt x="710" y="345"/>
                </a:cubicBezTo>
                <a:cubicBezTo>
                  <a:pt x="706" y="346"/>
                  <a:pt x="707" y="339"/>
                  <a:pt x="710" y="338"/>
                </a:cubicBezTo>
                <a:close/>
                <a:moveTo>
                  <a:pt x="707" y="289"/>
                </a:moveTo>
                <a:cubicBezTo>
                  <a:pt x="707" y="291"/>
                  <a:pt x="706" y="289"/>
                  <a:pt x="707" y="289"/>
                </a:cubicBezTo>
                <a:close/>
                <a:moveTo>
                  <a:pt x="706" y="334"/>
                </a:moveTo>
                <a:cubicBezTo>
                  <a:pt x="704" y="334"/>
                  <a:pt x="705" y="332"/>
                  <a:pt x="706" y="331"/>
                </a:cubicBezTo>
                <a:cubicBezTo>
                  <a:pt x="708" y="330"/>
                  <a:pt x="708" y="335"/>
                  <a:pt x="706" y="334"/>
                </a:cubicBezTo>
                <a:close/>
                <a:moveTo>
                  <a:pt x="706" y="318"/>
                </a:moveTo>
                <a:cubicBezTo>
                  <a:pt x="707" y="318"/>
                  <a:pt x="706" y="323"/>
                  <a:pt x="705" y="324"/>
                </a:cubicBezTo>
                <a:cubicBezTo>
                  <a:pt x="704" y="322"/>
                  <a:pt x="705" y="319"/>
                  <a:pt x="706" y="318"/>
                </a:cubicBezTo>
                <a:close/>
                <a:moveTo>
                  <a:pt x="704" y="271"/>
                </a:moveTo>
                <a:cubicBezTo>
                  <a:pt x="704" y="270"/>
                  <a:pt x="703" y="273"/>
                  <a:pt x="704" y="271"/>
                </a:cubicBezTo>
                <a:close/>
                <a:moveTo>
                  <a:pt x="704" y="275"/>
                </a:moveTo>
                <a:cubicBezTo>
                  <a:pt x="704" y="277"/>
                  <a:pt x="702" y="280"/>
                  <a:pt x="700" y="282"/>
                </a:cubicBezTo>
                <a:cubicBezTo>
                  <a:pt x="700" y="279"/>
                  <a:pt x="703" y="278"/>
                  <a:pt x="704" y="275"/>
                </a:cubicBezTo>
                <a:close/>
                <a:moveTo>
                  <a:pt x="702" y="287"/>
                </a:moveTo>
                <a:cubicBezTo>
                  <a:pt x="702" y="287"/>
                  <a:pt x="701" y="288"/>
                  <a:pt x="702" y="287"/>
                </a:cubicBezTo>
                <a:cubicBezTo>
                  <a:pt x="702" y="287"/>
                  <a:pt x="702" y="287"/>
                  <a:pt x="702" y="287"/>
                </a:cubicBezTo>
                <a:close/>
                <a:moveTo>
                  <a:pt x="701" y="289"/>
                </a:moveTo>
                <a:cubicBezTo>
                  <a:pt x="701" y="291"/>
                  <a:pt x="699" y="290"/>
                  <a:pt x="701" y="289"/>
                </a:cubicBezTo>
                <a:close/>
                <a:moveTo>
                  <a:pt x="700" y="254"/>
                </a:moveTo>
                <a:cubicBezTo>
                  <a:pt x="699" y="256"/>
                  <a:pt x="700" y="253"/>
                  <a:pt x="700" y="254"/>
                </a:cubicBezTo>
                <a:close/>
                <a:moveTo>
                  <a:pt x="699" y="257"/>
                </a:moveTo>
                <a:cubicBezTo>
                  <a:pt x="699" y="257"/>
                  <a:pt x="699" y="258"/>
                  <a:pt x="698" y="258"/>
                </a:cubicBezTo>
                <a:cubicBezTo>
                  <a:pt x="698" y="258"/>
                  <a:pt x="698" y="258"/>
                  <a:pt x="698" y="258"/>
                </a:cubicBezTo>
                <a:cubicBezTo>
                  <a:pt x="698" y="258"/>
                  <a:pt x="699" y="258"/>
                  <a:pt x="699" y="257"/>
                </a:cubicBezTo>
                <a:close/>
                <a:moveTo>
                  <a:pt x="698" y="308"/>
                </a:moveTo>
                <a:cubicBezTo>
                  <a:pt x="698" y="308"/>
                  <a:pt x="700" y="305"/>
                  <a:pt x="700" y="304"/>
                </a:cubicBezTo>
                <a:cubicBezTo>
                  <a:pt x="700" y="303"/>
                  <a:pt x="698" y="304"/>
                  <a:pt x="699" y="302"/>
                </a:cubicBezTo>
                <a:cubicBezTo>
                  <a:pt x="698" y="303"/>
                  <a:pt x="702" y="302"/>
                  <a:pt x="701" y="301"/>
                </a:cubicBezTo>
                <a:cubicBezTo>
                  <a:pt x="702" y="302"/>
                  <a:pt x="702" y="303"/>
                  <a:pt x="701" y="304"/>
                </a:cubicBezTo>
                <a:cubicBezTo>
                  <a:pt x="703" y="304"/>
                  <a:pt x="705" y="304"/>
                  <a:pt x="706" y="306"/>
                </a:cubicBezTo>
                <a:cubicBezTo>
                  <a:pt x="707" y="309"/>
                  <a:pt x="705" y="311"/>
                  <a:pt x="702" y="313"/>
                </a:cubicBezTo>
                <a:cubicBezTo>
                  <a:pt x="702" y="313"/>
                  <a:pt x="702" y="314"/>
                  <a:pt x="702" y="314"/>
                </a:cubicBezTo>
                <a:cubicBezTo>
                  <a:pt x="701" y="314"/>
                  <a:pt x="700" y="311"/>
                  <a:pt x="700" y="311"/>
                </a:cubicBezTo>
                <a:cubicBezTo>
                  <a:pt x="697" y="311"/>
                  <a:pt x="699" y="316"/>
                  <a:pt x="698" y="316"/>
                </a:cubicBezTo>
                <a:cubicBezTo>
                  <a:pt x="695" y="316"/>
                  <a:pt x="697" y="313"/>
                  <a:pt x="697" y="312"/>
                </a:cubicBezTo>
                <a:cubicBezTo>
                  <a:pt x="697" y="310"/>
                  <a:pt x="696" y="310"/>
                  <a:pt x="698" y="308"/>
                </a:cubicBezTo>
                <a:close/>
                <a:moveTo>
                  <a:pt x="696" y="361"/>
                </a:moveTo>
                <a:cubicBezTo>
                  <a:pt x="696" y="360"/>
                  <a:pt x="698" y="361"/>
                  <a:pt x="696" y="361"/>
                </a:cubicBezTo>
                <a:close/>
                <a:moveTo>
                  <a:pt x="697" y="362"/>
                </a:moveTo>
                <a:cubicBezTo>
                  <a:pt x="696" y="364"/>
                  <a:pt x="695" y="363"/>
                  <a:pt x="697" y="362"/>
                </a:cubicBezTo>
                <a:close/>
                <a:moveTo>
                  <a:pt x="696" y="318"/>
                </a:moveTo>
                <a:cubicBezTo>
                  <a:pt x="697" y="316"/>
                  <a:pt x="697" y="318"/>
                  <a:pt x="696" y="319"/>
                </a:cubicBezTo>
                <a:cubicBezTo>
                  <a:pt x="696" y="319"/>
                  <a:pt x="696" y="318"/>
                  <a:pt x="696" y="318"/>
                </a:cubicBezTo>
                <a:close/>
                <a:moveTo>
                  <a:pt x="697" y="376"/>
                </a:moveTo>
                <a:cubicBezTo>
                  <a:pt x="697" y="376"/>
                  <a:pt x="698" y="382"/>
                  <a:pt x="696" y="382"/>
                </a:cubicBezTo>
                <a:cubicBezTo>
                  <a:pt x="694" y="382"/>
                  <a:pt x="694" y="376"/>
                  <a:pt x="697" y="376"/>
                </a:cubicBezTo>
                <a:close/>
                <a:moveTo>
                  <a:pt x="691" y="299"/>
                </a:moveTo>
                <a:cubicBezTo>
                  <a:pt x="692" y="297"/>
                  <a:pt x="692" y="294"/>
                  <a:pt x="695" y="294"/>
                </a:cubicBezTo>
                <a:cubicBezTo>
                  <a:pt x="692" y="300"/>
                  <a:pt x="687" y="306"/>
                  <a:pt x="684" y="312"/>
                </a:cubicBezTo>
                <a:cubicBezTo>
                  <a:pt x="682" y="316"/>
                  <a:pt x="685" y="307"/>
                  <a:pt x="686" y="306"/>
                </a:cubicBezTo>
                <a:cubicBezTo>
                  <a:pt x="687" y="303"/>
                  <a:pt x="690" y="300"/>
                  <a:pt x="691" y="299"/>
                </a:cubicBezTo>
                <a:close/>
                <a:moveTo>
                  <a:pt x="688" y="279"/>
                </a:moveTo>
                <a:cubicBezTo>
                  <a:pt x="689" y="278"/>
                  <a:pt x="689" y="281"/>
                  <a:pt x="689" y="281"/>
                </a:cubicBezTo>
                <a:cubicBezTo>
                  <a:pt x="688" y="281"/>
                  <a:pt x="688" y="280"/>
                  <a:pt x="688" y="279"/>
                </a:cubicBezTo>
                <a:close/>
                <a:moveTo>
                  <a:pt x="687" y="283"/>
                </a:moveTo>
                <a:cubicBezTo>
                  <a:pt x="689" y="281"/>
                  <a:pt x="688" y="285"/>
                  <a:pt x="687" y="284"/>
                </a:cubicBezTo>
                <a:cubicBezTo>
                  <a:pt x="687" y="284"/>
                  <a:pt x="687" y="283"/>
                  <a:pt x="687" y="283"/>
                </a:cubicBezTo>
                <a:close/>
                <a:moveTo>
                  <a:pt x="687" y="286"/>
                </a:moveTo>
                <a:cubicBezTo>
                  <a:pt x="687" y="288"/>
                  <a:pt x="683" y="289"/>
                  <a:pt x="683" y="287"/>
                </a:cubicBezTo>
                <a:cubicBezTo>
                  <a:pt x="682" y="284"/>
                  <a:pt x="688" y="282"/>
                  <a:pt x="687" y="286"/>
                </a:cubicBezTo>
                <a:close/>
                <a:moveTo>
                  <a:pt x="681" y="268"/>
                </a:moveTo>
                <a:cubicBezTo>
                  <a:pt x="680" y="268"/>
                  <a:pt x="682" y="267"/>
                  <a:pt x="681" y="268"/>
                </a:cubicBezTo>
                <a:close/>
                <a:moveTo>
                  <a:pt x="681" y="294"/>
                </a:moveTo>
                <a:cubicBezTo>
                  <a:pt x="681" y="293"/>
                  <a:pt x="681" y="292"/>
                  <a:pt x="682" y="293"/>
                </a:cubicBezTo>
                <a:cubicBezTo>
                  <a:pt x="686" y="296"/>
                  <a:pt x="677" y="297"/>
                  <a:pt x="681" y="294"/>
                </a:cubicBezTo>
                <a:close/>
                <a:moveTo>
                  <a:pt x="662" y="447"/>
                </a:moveTo>
                <a:cubicBezTo>
                  <a:pt x="663" y="446"/>
                  <a:pt x="661" y="449"/>
                  <a:pt x="662" y="447"/>
                </a:cubicBezTo>
                <a:close/>
                <a:moveTo>
                  <a:pt x="670" y="503"/>
                </a:moveTo>
                <a:cubicBezTo>
                  <a:pt x="671" y="502"/>
                  <a:pt x="670" y="504"/>
                  <a:pt x="670" y="503"/>
                </a:cubicBezTo>
                <a:close/>
                <a:moveTo>
                  <a:pt x="674" y="402"/>
                </a:moveTo>
                <a:cubicBezTo>
                  <a:pt x="674" y="401"/>
                  <a:pt x="675" y="401"/>
                  <a:pt x="675" y="400"/>
                </a:cubicBezTo>
                <a:cubicBezTo>
                  <a:pt x="676" y="400"/>
                  <a:pt x="675" y="402"/>
                  <a:pt x="674" y="402"/>
                </a:cubicBezTo>
                <a:close/>
                <a:moveTo>
                  <a:pt x="677" y="399"/>
                </a:moveTo>
                <a:cubicBezTo>
                  <a:pt x="675" y="398"/>
                  <a:pt x="677" y="396"/>
                  <a:pt x="678" y="395"/>
                </a:cubicBezTo>
                <a:cubicBezTo>
                  <a:pt x="678" y="396"/>
                  <a:pt x="676" y="398"/>
                  <a:pt x="677" y="399"/>
                </a:cubicBezTo>
                <a:close/>
                <a:moveTo>
                  <a:pt x="678" y="340"/>
                </a:moveTo>
                <a:cubicBezTo>
                  <a:pt x="679" y="340"/>
                  <a:pt x="677" y="341"/>
                  <a:pt x="678" y="340"/>
                </a:cubicBezTo>
                <a:close/>
                <a:moveTo>
                  <a:pt x="679" y="510"/>
                </a:moveTo>
                <a:cubicBezTo>
                  <a:pt x="678" y="510"/>
                  <a:pt x="678" y="509"/>
                  <a:pt x="679" y="508"/>
                </a:cubicBezTo>
                <a:cubicBezTo>
                  <a:pt x="680" y="507"/>
                  <a:pt x="680" y="510"/>
                  <a:pt x="679" y="510"/>
                </a:cubicBezTo>
                <a:close/>
                <a:moveTo>
                  <a:pt x="679" y="393"/>
                </a:moveTo>
                <a:cubicBezTo>
                  <a:pt x="679" y="392"/>
                  <a:pt x="679" y="392"/>
                  <a:pt x="679" y="391"/>
                </a:cubicBezTo>
                <a:cubicBezTo>
                  <a:pt x="680" y="391"/>
                  <a:pt x="679" y="393"/>
                  <a:pt x="679" y="393"/>
                </a:cubicBezTo>
                <a:close/>
                <a:moveTo>
                  <a:pt x="678" y="281"/>
                </a:moveTo>
                <a:cubicBezTo>
                  <a:pt x="679" y="281"/>
                  <a:pt x="679" y="281"/>
                  <a:pt x="679" y="281"/>
                </a:cubicBezTo>
                <a:cubicBezTo>
                  <a:pt x="679" y="283"/>
                  <a:pt x="677" y="279"/>
                  <a:pt x="678" y="281"/>
                </a:cubicBezTo>
                <a:close/>
                <a:moveTo>
                  <a:pt x="677" y="329"/>
                </a:moveTo>
                <a:cubicBezTo>
                  <a:pt x="675" y="328"/>
                  <a:pt x="676" y="327"/>
                  <a:pt x="676" y="326"/>
                </a:cubicBezTo>
                <a:cubicBezTo>
                  <a:pt x="678" y="324"/>
                  <a:pt x="679" y="329"/>
                  <a:pt x="677" y="329"/>
                </a:cubicBezTo>
                <a:close/>
                <a:moveTo>
                  <a:pt x="676" y="297"/>
                </a:moveTo>
                <a:cubicBezTo>
                  <a:pt x="677" y="295"/>
                  <a:pt x="677" y="299"/>
                  <a:pt x="676" y="298"/>
                </a:cubicBezTo>
                <a:cubicBezTo>
                  <a:pt x="675" y="298"/>
                  <a:pt x="675" y="297"/>
                  <a:pt x="676" y="297"/>
                </a:cubicBezTo>
                <a:close/>
                <a:moveTo>
                  <a:pt x="672" y="331"/>
                </a:moveTo>
                <a:cubicBezTo>
                  <a:pt x="673" y="330"/>
                  <a:pt x="672" y="333"/>
                  <a:pt x="672" y="331"/>
                </a:cubicBezTo>
                <a:close/>
                <a:moveTo>
                  <a:pt x="671" y="297"/>
                </a:moveTo>
                <a:cubicBezTo>
                  <a:pt x="671" y="297"/>
                  <a:pt x="671" y="297"/>
                  <a:pt x="671" y="298"/>
                </a:cubicBezTo>
                <a:cubicBezTo>
                  <a:pt x="670" y="299"/>
                  <a:pt x="671" y="298"/>
                  <a:pt x="671" y="297"/>
                </a:cubicBezTo>
                <a:close/>
                <a:moveTo>
                  <a:pt x="671" y="292"/>
                </a:moveTo>
                <a:cubicBezTo>
                  <a:pt x="670" y="294"/>
                  <a:pt x="669" y="295"/>
                  <a:pt x="667" y="297"/>
                </a:cubicBezTo>
                <a:cubicBezTo>
                  <a:pt x="668" y="295"/>
                  <a:pt x="669" y="293"/>
                  <a:pt x="671" y="292"/>
                </a:cubicBezTo>
                <a:close/>
                <a:moveTo>
                  <a:pt x="669" y="376"/>
                </a:moveTo>
                <a:cubicBezTo>
                  <a:pt x="668" y="375"/>
                  <a:pt x="669" y="374"/>
                  <a:pt x="670" y="374"/>
                </a:cubicBezTo>
                <a:cubicBezTo>
                  <a:pt x="671" y="372"/>
                  <a:pt x="670" y="377"/>
                  <a:pt x="669" y="376"/>
                </a:cubicBezTo>
                <a:close/>
                <a:moveTo>
                  <a:pt x="668" y="309"/>
                </a:moveTo>
                <a:cubicBezTo>
                  <a:pt x="669" y="309"/>
                  <a:pt x="666" y="310"/>
                  <a:pt x="668" y="309"/>
                </a:cubicBezTo>
                <a:close/>
                <a:moveTo>
                  <a:pt x="665" y="407"/>
                </a:moveTo>
                <a:cubicBezTo>
                  <a:pt x="666" y="407"/>
                  <a:pt x="667" y="406"/>
                  <a:pt x="667" y="405"/>
                </a:cubicBezTo>
                <a:cubicBezTo>
                  <a:pt x="669" y="402"/>
                  <a:pt x="672" y="396"/>
                  <a:pt x="673" y="391"/>
                </a:cubicBezTo>
                <a:cubicBezTo>
                  <a:pt x="674" y="387"/>
                  <a:pt x="674" y="383"/>
                  <a:pt x="675" y="380"/>
                </a:cubicBezTo>
                <a:cubicBezTo>
                  <a:pt x="675" y="380"/>
                  <a:pt x="676" y="380"/>
                  <a:pt x="676" y="380"/>
                </a:cubicBezTo>
                <a:cubicBezTo>
                  <a:pt x="677" y="380"/>
                  <a:pt x="675" y="387"/>
                  <a:pt x="675" y="389"/>
                </a:cubicBezTo>
                <a:cubicBezTo>
                  <a:pt x="673" y="391"/>
                  <a:pt x="673" y="394"/>
                  <a:pt x="672" y="397"/>
                </a:cubicBezTo>
                <a:cubicBezTo>
                  <a:pt x="671" y="400"/>
                  <a:pt x="668" y="404"/>
                  <a:pt x="668" y="406"/>
                </a:cubicBezTo>
                <a:cubicBezTo>
                  <a:pt x="668" y="406"/>
                  <a:pt x="670" y="407"/>
                  <a:pt x="670" y="408"/>
                </a:cubicBezTo>
                <a:cubicBezTo>
                  <a:pt x="671" y="413"/>
                  <a:pt x="663" y="413"/>
                  <a:pt x="665" y="407"/>
                </a:cubicBezTo>
                <a:close/>
                <a:moveTo>
                  <a:pt x="664" y="303"/>
                </a:moveTo>
                <a:cubicBezTo>
                  <a:pt x="665" y="303"/>
                  <a:pt x="664" y="306"/>
                  <a:pt x="663" y="305"/>
                </a:cubicBezTo>
                <a:cubicBezTo>
                  <a:pt x="662" y="305"/>
                  <a:pt x="663" y="304"/>
                  <a:pt x="664" y="303"/>
                </a:cubicBezTo>
                <a:close/>
                <a:moveTo>
                  <a:pt x="663" y="285"/>
                </a:moveTo>
                <a:cubicBezTo>
                  <a:pt x="663" y="284"/>
                  <a:pt x="662" y="286"/>
                  <a:pt x="663" y="285"/>
                </a:cubicBezTo>
                <a:close/>
                <a:moveTo>
                  <a:pt x="662" y="401"/>
                </a:moveTo>
                <a:cubicBezTo>
                  <a:pt x="663" y="402"/>
                  <a:pt x="661" y="403"/>
                  <a:pt x="662" y="401"/>
                </a:cubicBezTo>
                <a:close/>
                <a:moveTo>
                  <a:pt x="660" y="496"/>
                </a:moveTo>
                <a:cubicBezTo>
                  <a:pt x="661" y="494"/>
                  <a:pt x="662" y="498"/>
                  <a:pt x="660" y="497"/>
                </a:cubicBezTo>
                <a:cubicBezTo>
                  <a:pt x="660" y="497"/>
                  <a:pt x="660" y="496"/>
                  <a:pt x="660" y="496"/>
                </a:cubicBezTo>
                <a:close/>
                <a:moveTo>
                  <a:pt x="657" y="276"/>
                </a:moveTo>
                <a:cubicBezTo>
                  <a:pt x="657" y="276"/>
                  <a:pt x="656" y="278"/>
                  <a:pt x="655" y="278"/>
                </a:cubicBezTo>
                <a:cubicBezTo>
                  <a:pt x="655" y="277"/>
                  <a:pt x="656" y="277"/>
                  <a:pt x="657" y="276"/>
                </a:cubicBezTo>
                <a:close/>
                <a:moveTo>
                  <a:pt x="655" y="292"/>
                </a:moveTo>
                <a:cubicBezTo>
                  <a:pt x="655" y="292"/>
                  <a:pt x="655" y="292"/>
                  <a:pt x="655" y="292"/>
                </a:cubicBezTo>
                <a:cubicBezTo>
                  <a:pt x="655" y="292"/>
                  <a:pt x="655" y="292"/>
                  <a:pt x="655" y="292"/>
                </a:cubicBezTo>
                <a:cubicBezTo>
                  <a:pt x="655" y="292"/>
                  <a:pt x="655" y="292"/>
                  <a:pt x="655" y="292"/>
                </a:cubicBezTo>
                <a:close/>
                <a:moveTo>
                  <a:pt x="652" y="270"/>
                </a:moveTo>
                <a:cubicBezTo>
                  <a:pt x="651" y="272"/>
                  <a:pt x="654" y="269"/>
                  <a:pt x="652" y="270"/>
                </a:cubicBezTo>
                <a:close/>
                <a:moveTo>
                  <a:pt x="634" y="278"/>
                </a:moveTo>
                <a:cubicBezTo>
                  <a:pt x="633" y="276"/>
                  <a:pt x="635" y="277"/>
                  <a:pt x="634" y="278"/>
                </a:cubicBezTo>
                <a:close/>
                <a:moveTo>
                  <a:pt x="635" y="274"/>
                </a:moveTo>
                <a:cubicBezTo>
                  <a:pt x="636" y="274"/>
                  <a:pt x="634" y="275"/>
                  <a:pt x="635" y="274"/>
                </a:cubicBezTo>
                <a:close/>
                <a:moveTo>
                  <a:pt x="642" y="409"/>
                </a:moveTo>
                <a:cubicBezTo>
                  <a:pt x="642" y="409"/>
                  <a:pt x="643" y="409"/>
                  <a:pt x="643" y="410"/>
                </a:cubicBezTo>
                <a:cubicBezTo>
                  <a:pt x="643" y="410"/>
                  <a:pt x="641" y="411"/>
                  <a:pt x="642" y="409"/>
                </a:cubicBezTo>
                <a:close/>
                <a:moveTo>
                  <a:pt x="644" y="345"/>
                </a:moveTo>
                <a:cubicBezTo>
                  <a:pt x="643" y="345"/>
                  <a:pt x="644" y="344"/>
                  <a:pt x="644" y="344"/>
                </a:cubicBezTo>
                <a:cubicBezTo>
                  <a:pt x="645" y="342"/>
                  <a:pt x="645" y="345"/>
                  <a:pt x="644" y="345"/>
                </a:cubicBezTo>
                <a:close/>
                <a:moveTo>
                  <a:pt x="644" y="398"/>
                </a:moveTo>
                <a:cubicBezTo>
                  <a:pt x="644" y="400"/>
                  <a:pt x="645" y="397"/>
                  <a:pt x="644" y="398"/>
                </a:cubicBezTo>
                <a:close/>
                <a:moveTo>
                  <a:pt x="644" y="300"/>
                </a:moveTo>
                <a:cubicBezTo>
                  <a:pt x="643" y="300"/>
                  <a:pt x="644" y="299"/>
                  <a:pt x="644" y="298"/>
                </a:cubicBezTo>
                <a:cubicBezTo>
                  <a:pt x="646" y="297"/>
                  <a:pt x="646" y="301"/>
                  <a:pt x="644" y="300"/>
                </a:cubicBezTo>
                <a:close/>
                <a:moveTo>
                  <a:pt x="646" y="462"/>
                </a:moveTo>
                <a:cubicBezTo>
                  <a:pt x="646" y="462"/>
                  <a:pt x="647" y="462"/>
                  <a:pt x="647" y="462"/>
                </a:cubicBezTo>
                <a:cubicBezTo>
                  <a:pt x="648" y="462"/>
                  <a:pt x="645" y="464"/>
                  <a:pt x="646" y="462"/>
                </a:cubicBezTo>
                <a:close/>
                <a:moveTo>
                  <a:pt x="647" y="333"/>
                </a:moveTo>
                <a:cubicBezTo>
                  <a:pt x="646" y="333"/>
                  <a:pt x="647" y="332"/>
                  <a:pt x="647" y="332"/>
                </a:cubicBezTo>
                <a:cubicBezTo>
                  <a:pt x="648" y="331"/>
                  <a:pt x="648" y="334"/>
                  <a:pt x="647" y="333"/>
                </a:cubicBezTo>
                <a:close/>
                <a:moveTo>
                  <a:pt x="657" y="550"/>
                </a:moveTo>
                <a:cubicBezTo>
                  <a:pt x="656" y="549"/>
                  <a:pt x="657" y="547"/>
                  <a:pt x="657" y="547"/>
                </a:cubicBezTo>
                <a:cubicBezTo>
                  <a:pt x="658" y="545"/>
                  <a:pt x="658" y="550"/>
                  <a:pt x="657" y="550"/>
                </a:cubicBezTo>
                <a:close/>
                <a:moveTo>
                  <a:pt x="660" y="397"/>
                </a:moveTo>
                <a:cubicBezTo>
                  <a:pt x="659" y="398"/>
                  <a:pt x="659" y="398"/>
                  <a:pt x="660" y="397"/>
                </a:cubicBezTo>
                <a:close/>
                <a:moveTo>
                  <a:pt x="659" y="427"/>
                </a:moveTo>
                <a:cubicBezTo>
                  <a:pt x="660" y="429"/>
                  <a:pt x="658" y="432"/>
                  <a:pt x="657" y="434"/>
                </a:cubicBezTo>
                <a:cubicBezTo>
                  <a:pt x="657" y="432"/>
                  <a:pt x="658" y="429"/>
                  <a:pt x="659" y="427"/>
                </a:cubicBezTo>
                <a:close/>
                <a:moveTo>
                  <a:pt x="657" y="435"/>
                </a:moveTo>
                <a:cubicBezTo>
                  <a:pt x="657" y="435"/>
                  <a:pt x="657" y="438"/>
                  <a:pt x="655" y="438"/>
                </a:cubicBezTo>
                <a:cubicBezTo>
                  <a:pt x="655" y="437"/>
                  <a:pt x="656" y="436"/>
                  <a:pt x="657" y="435"/>
                </a:cubicBezTo>
                <a:close/>
                <a:moveTo>
                  <a:pt x="652" y="328"/>
                </a:moveTo>
                <a:cubicBezTo>
                  <a:pt x="652" y="328"/>
                  <a:pt x="653" y="327"/>
                  <a:pt x="653" y="327"/>
                </a:cubicBezTo>
                <a:cubicBezTo>
                  <a:pt x="655" y="329"/>
                  <a:pt x="651" y="331"/>
                  <a:pt x="652" y="328"/>
                </a:cubicBezTo>
                <a:close/>
                <a:moveTo>
                  <a:pt x="648" y="307"/>
                </a:moveTo>
                <a:cubicBezTo>
                  <a:pt x="653" y="304"/>
                  <a:pt x="650" y="313"/>
                  <a:pt x="649" y="313"/>
                </a:cubicBezTo>
                <a:cubicBezTo>
                  <a:pt x="647" y="313"/>
                  <a:pt x="647" y="308"/>
                  <a:pt x="648" y="307"/>
                </a:cubicBezTo>
                <a:close/>
                <a:moveTo>
                  <a:pt x="645" y="296"/>
                </a:moveTo>
                <a:cubicBezTo>
                  <a:pt x="643" y="295"/>
                  <a:pt x="645" y="290"/>
                  <a:pt x="646" y="290"/>
                </a:cubicBezTo>
                <a:cubicBezTo>
                  <a:pt x="651" y="287"/>
                  <a:pt x="648" y="297"/>
                  <a:pt x="645" y="296"/>
                </a:cubicBezTo>
                <a:close/>
                <a:moveTo>
                  <a:pt x="644" y="284"/>
                </a:moveTo>
                <a:cubicBezTo>
                  <a:pt x="644" y="285"/>
                  <a:pt x="645" y="283"/>
                  <a:pt x="644" y="284"/>
                </a:cubicBezTo>
                <a:close/>
                <a:moveTo>
                  <a:pt x="642" y="284"/>
                </a:moveTo>
                <a:cubicBezTo>
                  <a:pt x="642" y="284"/>
                  <a:pt x="643" y="283"/>
                  <a:pt x="644" y="284"/>
                </a:cubicBezTo>
                <a:cubicBezTo>
                  <a:pt x="646" y="285"/>
                  <a:pt x="641" y="287"/>
                  <a:pt x="642" y="284"/>
                </a:cubicBezTo>
                <a:close/>
                <a:moveTo>
                  <a:pt x="642" y="317"/>
                </a:moveTo>
                <a:cubicBezTo>
                  <a:pt x="642" y="318"/>
                  <a:pt x="641" y="317"/>
                  <a:pt x="642" y="317"/>
                </a:cubicBezTo>
                <a:close/>
                <a:moveTo>
                  <a:pt x="642" y="399"/>
                </a:moveTo>
                <a:cubicBezTo>
                  <a:pt x="643" y="399"/>
                  <a:pt x="640" y="402"/>
                  <a:pt x="641" y="400"/>
                </a:cubicBezTo>
                <a:cubicBezTo>
                  <a:pt x="641" y="400"/>
                  <a:pt x="641" y="399"/>
                  <a:pt x="642" y="399"/>
                </a:cubicBezTo>
                <a:close/>
                <a:moveTo>
                  <a:pt x="641" y="283"/>
                </a:moveTo>
                <a:cubicBezTo>
                  <a:pt x="642" y="282"/>
                  <a:pt x="639" y="285"/>
                  <a:pt x="641" y="283"/>
                </a:cubicBezTo>
                <a:close/>
                <a:moveTo>
                  <a:pt x="640" y="331"/>
                </a:moveTo>
                <a:cubicBezTo>
                  <a:pt x="640" y="331"/>
                  <a:pt x="640" y="331"/>
                  <a:pt x="640" y="331"/>
                </a:cubicBezTo>
                <a:cubicBezTo>
                  <a:pt x="640" y="331"/>
                  <a:pt x="640" y="332"/>
                  <a:pt x="640" y="331"/>
                </a:cubicBezTo>
                <a:close/>
                <a:moveTo>
                  <a:pt x="640" y="338"/>
                </a:moveTo>
                <a:cubicBezTo>
                  <a:pt x="641" y="339"/>
                  <a:pt x="639" y="341"/>
                  <a:pt x="639" y="342"/>
                </a:cubicBezTo>
                <a:cubicBezTo>
                  <a:pt x="638" y="341"/>
                  <a:pt x="640" y="339"/>
                  <a:pt x="640" y="338"/>
                </a:cubicBezTo>
                <a:close/>
                <a:moveTo>
                  <a:pt x="638" y="310"/>
                </a:moveTo>
                <a:cubicBezTo>
                  <a:pt x="638" y="309"/>
                  <a:pt x="639" y="312"/>
                  <a:pt x="638" y="310"/>
                </a:cubicBezTo>
                <a:close/>
                <a:moveTo>
                  <a:pt x="638" y="342"/>
                </a:moveTo>
                <a:cubicBezTo>
                  <a:pt x="639" y="343"/>
                  <a:pt x="639" y="344"/>
                  <a:pt x="638" y="344"/>
                </a:cubicBezTo>
                <a:cubicBezTo>
                  <a:pt x="638" y="343"/>
                  <a:pt x="639" y="343"/>
                  <a:pt x="638" y="342"/>
                </a:cubicBezTo>
                <a:close/>
                <a:moveTo>
                  <a:pt x="637" y="288"/>
                </a:moveTo>
                <a:cubicBezTo>
                  <a:pt x="638" y="289"/>
                  <a:pt x="637" y="289"/>
                  <a:pt x="637" y="290"/>
                </a:cubicBezTo>
                <a:cubicBezTo>
                  <a:pt x="636" y="290"/>
                  <a:pt x="637" y="289"/>
                  <a:pt x="637" y="288"/>
                </a:cubicBezTo>
                <a:close/>
                <a:moveTo>
                  <a:pt x="637" y="346"/>
                </a:moveTo>
                <a:cubicBezTo>
                  <a:pt x="638" y="345"/>
                  <a:pt x="637" y="347"/>
                  <a:pt x="637" y="347"/>
                </a:cubicBezTo>
                <a:cubicBezTo>
                  <a:pt x="636" y="346"/>
                  <a:pt x="637" y="346"/>
                  <a:pt x="637" y="346"/>
                </a:cubicBezTo>
                <a:close/>
                <a:moveTo>
                  <a:pt x="665" y="224"/>
                </a:moveTo>
                <a:cubicBezTo>
                  <a:pt x="665" y="225"/>
                  <a:pt x="664" y="226"/>
                  <a:pt x="662" y="227"/>
                </a:cubicBezTo>
                <a:cubicBezTo>
                  <a:pt x="663" y="226"/>
                  <a:pt x="664" y="225"/>
                  <a:pt x="665" y="224"/>
                </a:cubicBezTo>
                <a:close/>
                <a:moveTo>
                  <a:pt x="661" y="224"/>
                </a:moveTo>
                <a:cubicBezTo>
                  <a:pt x="662" y="222"/>
                  <a:pt x="660" y="225"/>
                  <a:pt x="661" y="224"/>
                </a:cubicBezTo>
                <a:close/>
                <a:moveTo>
                  <a:pt x="649" y="222"/>
                </a:moveTo>
                <a:cubicBezTo>
                  <a:pt x="651" y="224"/>
                  <a:pt x="647" y="225"/>
                  <a:pt x="649" y="222"/>
                </a:cubicBezTo>
                <a:close/>
                <a:moveTo>
                  <a:pt x="633" y="251"/>
                </a:moveTo>
                <a:cubicBezTo>
                  <a:pt x="632" y="252"/>
                  <a:pt x="633" y="249"/>
                  <a:pt x="633" y="251"/>
                </a:cubicBezTo>
                <a:close/>
                <a:moveTo>
                  <a:pt x="639" y="244"/>
                </a:moveTo>
                <a:cubicBezTo>
                  <a:pt x="640" y="245"/>
                  <a:pt x="640" y="248"/>
                  <a:pt x="640" y="250"/>
                </a:cubicBezTo>
                <a:cubicBezTo>
                  <a:pt x="638" y="248"/>
                  <a:pt x="639" y="246"/>
                  <a:pt x="639" y="244"/>
                </a:cubicBezTo>
                <a:close/>
                <a:moveTo>
                  <a:pt x="636" y="224"/>
                </a:moveTo>
                <a:cubicBezTo>
                  <a:pt x="639" y="227"/>
                  <a:pt x="634" y="229"/>
                  <a:pt x="633" y="230"/>
                </a:cubicBezTo>
                <a:cubicBezTo>
                  <a:pt x="631" y="228"/>
                  <a:pt x="634" y="221"/>
                  <a:pt x="636" y="224"/>
                </a:cubicBezTo>
                <a:close/>
                <a:moveTo>
                  <a:pt x="584" y="184"/>
                </a:moveTo>
                <a:cubicBezTo>
                  <a:pt x="584" y="184"/>
                  <a:pt x="584" y="185"/>
                  <a:pt x="584" y="185"/>
                </a:cubicBezTo>
                <a:cubicBezTo>
                  <a:pt x="585" y="188"/>
                  <a:pt x="581" y="186"/>
                  <a:pt x="584" y="184"/>
                </a:cubicBezTo>
                <a:close/>
                <a:moveTo>
                  <a:pt x="522" y="137"/>
                </a:moveTo>
                <a:cubicBezTo>
                  <a:pt x="522" y="138"/>
                  <a:pt x="520" y="138"/>
                  <a:pt x="520" y="138"/>
                </a:cubicBezTo>
                <a:cubicBezTo>
                  <a:pt x="520" y="137"/>
                  <a:pt x="521" y="137"/>
                  <a:pt x="522" y="137"/>
                </a:cubicBezTo>
                <a:close/>
                <a:moveTo>
                  <a:pt x="518" y="129"/>
                </a:moveTo>
                <a:cubicBezTo>
                  <a:pt x="518" y="129"/>
                  <a:pt x="518" y="129"/>
                  <a:pt x="518" y="129"/>
                </a:cubicBezTo>
                <a:cubicBezTo>
                  <a:pt x="519" y="131"/>
                  <a:pt x="516" y="128"/>
                  <a:pt x="518" y="129"/>
                </a:cubicBezTo>
                <a:close/>
                <a:moveTo>
                  <a:pt x="513" y="127"/>
                </a:moveTo>
                <a:cubicBezTo>
                  <a:pt x="513" y="128"/>
                  <a:pt x="511" y="128"/>
                  <a:pt x="511" y="127"/>
                </a:cubicBezTo>
                <a:cubicBezTo>
                  <a:pt x="511" y="127"/>
                  <a:pt x="513" y="126"/>
                  <a:pt x="513" y="127"/>
                </a:cubicBezTo>
                <a:close/>
                <a:moveTo>
                  <a:pt x="509" y="137"/>
                </a:moveTo>
                <a:cubicBezTo>
                  <a:pt x="510" y="137"/>
                  <a:pt x="509" y="138"/>
                  <a:pt x="508" y="137"/>
                </a:cubicBezTo>
                <a:cubicBezTo>
                  <a:pt x="508" y="137"/>
                  <a:pt x="509" y="136"/>
                  <a:pt x="509" y="137"/>
                </a:cubicBezTo>
                <a:close/>
                <a:moveTo>
                  <a:pt x="484" y="708"/>
                </a:moveTo>
                <a:cubicBezTo>
                  <a:pt x="483" y="705"/>
                  <a:pt x="489" y="705"/>
                  <a:pt x="490" y="705"/>
                </a:cubicBezTo>
                <a:cubicBezTo>
                  <a:pt x="490" y="705"/>
                  <a:pt x="485" y="709"/>
                  <a:pt x="484" y="708"/>
                </a:cubicBezTo>
                <a:close/>
                <a:moveTo>
                  <a:pt x="486" y="289"/>
                </a:moveTo>
                <a:cubicBezTo>
                  <a:pt x="485" y="290"/>
                  <a:pt x="484" y="289"/>
                  <a:pt x="485" y="289"/>
                </a:cubicBezTo>
                <a:cubicBezTo>
                  <a:pt x="485" y="287"/>
                  <a:pt x="486" y="289"/>
                  <a:pt x="486" y="289"/>
                </a:cubicBezTo>
                <a:close/>
                <a:moveTo>
                  <a:pt x="486" y="592"/>
                </a:moveTo>
                <a:cubicBezTo>
                  <a:pt x="486" y="590"/>
                  <a:pt x="488" y="591"/>
                  <a:pt x="486" y="592"/>
                </a:cubicBezTo>
                <a:close/>
                <a:moveTo>
                  <a:pt x="484" y="157"/>
                </a:moveTo>
                <a:cubicBezTo>
                  <a:pt x="483" y="157"/>
                  <a:pt x="485" y="155"/>
                  <a:pt x="485" y="157"/>
                </a:cubicBezTo>
                <a:cubicBezTo>
                  <a:pt x="485" y="156"/>
                  <a:pt x="485" y="158"/>
                  <a:pt x="484" y="157"/>
                </a:cubicBezTo>
                <a:close/>
                <a:moveTo>
                  <a:pt x="492" y="682"/>
                </a:moveTo>
                <a:cubicBezTo>
                  <a:pt x="489" y="683"/>
                  <a:pt x="487" y="685"/>
                  <a:pt x="485" y="685"/>
                </a:cubicBezTo>
                <a:cubicBezTo>
                  <a:pt x="482" y="685"/>
                  <a:pt x="487" y="682"/>
                  <a:pt x="487" y="682"/>
                </a:cubicBezTo>
                <a:cubicBezTo>
                  <a:pt x="489" y="682"/>
                  <a:pt x="490" y="682"/>
                  <a:pt x="492" y="682"/>
                </a:cubicBezTo>
                <a:cubicBezTo>
                  <a:pt x="492" y="682"/>
                  <a:pt x="493" y="682"/>
                  <a:pt x="494" y="682"/>
                </a:cubicBezTo>
                <a:cubicBezTo>
                  <a:pt x="493" y="682"/>
                  <a:pt x="492" y="682"/>
                  <a:pt x="492" y="682"/>
                </a:cubicBezTo>
                <a:close/>
                <a:moveTo>
                  <a:pt x="488" y="242"/>
                </a:moveTo>
                <a:cubicBezTo>
                  <a:pt x="490" y="244"/>
                  <a:pt x="486" y="242"/>
                  <a:pt x="488" y="242"/>
                </a:cubicBezTo>
                <a:close/>
                <a:moveTo>
                  <a:pt x="491" y="215"/>
                </a:moveTo>
                <a:cubicBezTo>
                  <a:pt x="491" y="215"/>
                  <a:pt x="493" y="214"/>
                  <a:pt x="492" y="215"/>
                </a:cubicBezTo>
                <a:cubicBezTo>
                  <a:pt x="492" y="216"/>
                  <a:pt x="491" y="215"/>
                  <a:pt x="491" y="215"/>
                </a:cubicBezTo>
                <a:close/>
                <a:moveTo>
                  <a:pt x="492" y="262"/>
                </a:moveTo>
                <a:cubicBezTo>
                  <a:pt x="493" y="262"/>
                  <a:pt x="491" y="263"/>
                  <a:pt x="491" y="262"/>
                </a:cubicBezTo>
                <a:cubicBezTo>
                  <a:pt x="491" y="262"/>
                  <a:pt x="492" y="262"/>
                  <a:pt x="492" y="262"/>
                </a:cubicBezTo>
                <a:close/>
                <a:moveTo>
                  <a:pt x="494" y="708"/>
                </a:moveTo>
                <a:cubicBezTo>
                  <a:pt x="494" y="708"/>
                  <a:pt x="494" y="708"/>
                  <a:pt x="495" y="709"/>
                </a:cubicBezTo>
                <a:cubicBezTo>
                  <a:pt x="495" y="709"/>
                  <a:pt x="495" y="709"/>
                  <a:pt x="494" y="708"/>
                </a:cubicBezTo>
                <a:close/>
                <a:moveTo>
                  <a:pt x="492" y="616"/>
                </a:moveTo>
                <a:cubicBezTo>
                  <a:pt x="492" y="614"/>
                  <a:pt x="495" y="615"/>
                  <a:pt x="495" y="616"/>
                </a:cubicBezTo>
                <a:cubicBezTo>
                  <a:pt x="495" y="617"/>
                  <a:pt x="492" y="618"/>
                  <a:pt x="492" y="616"/>
                </a:cubicBezTo>
                <a:close/>
                <a:moveTo>
                  <a:pt x="493" y="299"/>
                </a:moveTo>
                <a:cubicBezTo>
                  <a:pt x="493" y="299"/>
                  <a:pt x="494" y="298"/>
                  <a:pt x="494" y="298"/>
                </a:cubicBezTo>
                <a:cubicBezTo>
                  <a:pt x="494" y="298"/>
                  <a:pt x="493" y="300"/>
                  <a:pt x="493" y="299"/>
                </a:cubicBezTo>
                <a:close/>
                <a:moveTo>
                  <a:pt x="498" y="330"/>
                </a:moveTo>
                <a:cubicBezTo>
                  <a:pt x="498" y="330"/>
                  <a:pt x="498" y="330"/>
                  <a:pt x="498" y="330"/>
                </a:cubicBezTo>
                <a:cubicBezTo>
                  <a:pt x="498" y="330"/>
                  <a:pt x="498" y="330"/>
                  <a:pt x="498" y="330"/>
                </a:cubicBezTo>
                <a:close/>
                <a:moveTo>
                  <a:pt x="493" y="278"/>
                </a:moveTo>
                <a:cubicBezTo>
                  <a:pt x="494" y="274"/>
                  <a:pt x="496" y="270"/>
                  <a:pt x="498" y="267"/>
                </a:cubicBezTo>
                <a:cubicBezTo>
                  <a:pt x="498" y="269"/>
                  <a:pt x="495" y="276"/>
                  <a:pt x="493" y="278"/>
                </a:cubicBezTo>
                <a:close/>
                <a:moveTo>
                  <a:pt x="493" y="238"/>
                </a:moveTo>
                <a:cubicBezTo>
                  <a:pt x="493" y="237"/>
                  <a:pt x="494" y="237"/>
                  <a:pt x="494" y="238"/>
                </a:cubicBezTo>
                <a:cubicBezTo>
                  <a:pt x="494" y="239"/>
                  <a:pt x="493" y="238"/>
                  <a:pt x="493" y="238"/>
                </a:cubicBezTo>
                <a:close/>
                <a:moveTo>
                  <a:pt x="496" y="258"/>
                </a:moveTo>
                <a:cubicBezTo>
                  <a:pt x="499" y="254"/>
                  <a:pt x="498" y="251"/>
                  <a:pt x="501" y="248"/>
                </a:cubicBezTo>
                <a:cubicBezTo>
                  <a:pt x="500" y="251"/>
                  <a:pt x="499" y="257"/>
                  <a:pt x="496" y="258"/>
                </a:cubicBezTo>
                <a:close/>
                <a:moveTo>
                  <a:pt x="500" y="217"/>
                </a:moveTo>
                <a:cubicBezTo>
                  <a:pt x="501" y="216"/>
                  <a:pt x="502" y="217"/>
                  <a:pt x="500" y="217"/>
                </a:cubicBezTo>
                <a:close/>
                <a:moveTo>
                  <a:pt x="506" y="320"/>
                </a:moveTo>
                <a:cubicBezTo>
                  <a:pt x="506" y="322"/>
                  <a:pt x="507" y="319"/>
                  <a:pt x="506" y="320"/>
                </a:cubicBezTo>
                <a:close/>
                <a:moveTo>
                  <a:pt x="511" y="216"/>
                </a:moveTo>
                <a:cubicBezTo>
                  <a:pt x="510" y="216"/>
                  <a:pt x="510" y="214"/>
                  <a:pt x="511" y="215"/>
                </a:cubicBezTo>
                <a:cubicBezTo>
                  <a:pt x="511" y="215"/>
                  <a:pt x="511" y="216"/>
                  <a:pt x="511" y="216"/>
                </a:cubicBezTo>
                <a:close/>
                <a:moveTo>
                  <a:pt x="511" y="278"/>
                </a:moveTo>
                <a:cubicBezTo>
                  <a:pt x="512" y="275"/>
                  <a:pt x="514" y="275"/>
                  <a:pt x="511" y="278"/>
                </a:cubicBezTo>
                <a:close/>
                <a:moveTo>
                  <a:pt x="511" y="668"/>
                </a:moveTo>
                <a:cubicBezTo>
                  <a:pt x="510" y="668"/>
                  <a:pt x="509" y="668"/>
                  <a:pt x="509" y="667"/>
                </a:cubicBezTo>
                <a:cubicBezTo>
                  <a:pt x="509" y="666"/>
                  <a:pt x="511" y="667"/>
                  <a:pt x="511" y="668"/>
                </a:cubicBezTo>
                <a:close/>
                <a:moveTo>
                  <a:pt x="509" y="255"/>
                </a:moveTo>
                <a:cubicBezTo>
                  <a:pt x="509" y="255"/>
                  <a:pt x="509" y="254"/>
                  <a:pt x="509" y="254"/>
                </a:cubicBezTo>
                <a:cubicBezTo>
                  <a:pt x="511" y="255"/>
                  <a:pt x="508" y="256"/>
                  <a:pt x="509" y="255"/>
                </a:cubicBezTo>
                <a:close/>
                <a:moveTo>
                  <a:pt x="507" y="244"/>
                </a:moveTo>
                <a:cubicBezTo>
                  <a:pt x="507" y="244"/>
                  <a:pt x="509" y="242"/>
                  <a:pt x="509" y="243"/>
                </a:cubicBezTo>
                <a:cubicBezTo>
                  <a:pt x="510" y="244"/>
                  <a:pt x="508" y="245"/>
                  <a:pt x="507" y="244"/>
                </a:cubicBezTo>
                <a:close/>
                <a:moveTo>
                  <a:pt x="508" y="683"/>
                </a:moveTo>
                <a:cubicBezTo>
                  <a:pt x="508" y="682"/>
                  <a:pt x="512" y="682"/>
                  <a:pt x="512" y="683"/>
                </a:cubicBezTo>
                <a:cubicBezTo>
                  <a:pt x="511" y="685"/>
                  <a:pt x="509" y="684"/>
                  <a:pt x="508" y="683"/>
                </a:cubicBezTo>
                <a:close/>
                <a:moveTo>
                  <a:pt x="508" y="677"/>
                </a:moveTo>
                <a:cubicBezTo>
                  <a:pt x="509" y="673"/>
                  <a:pt x="516" y="676"/>
                  <a:pt x="516" y="678"/>
                </a:cubicBezTo>
                <a:cubicBezTo>
                  <a:pt x="516" y="681"/>
                  <a:pt x="508" y="681"/>
                  <a:pt x="508" y="677"/>
                </a:cubicBezTo>
                <a:close/>
                <a:moveTo>
                  <a:pt x="512" y="416"/>
                </a:moveTo>
                <a:cubicBezTo>
                  <a:pt x="513" y="414"/>
                  <a:pt x="515" y="411"/>
                  <a:pt x="518" y="409"/>
                </a:cubicBezTo>
                <a:cubicBezTo>
                  <a:pt x="516" y="412"/>
                  <a:pt x="514" y="415"/>
                  <a:pt x="512" y="416"/>
                </a:cubicBezTo>
                <a:close/>
                <a:moveTo>
                  <a:pt x="513" y="311"/>
                </a:moveTo>
                <a:cubicBezTo>
                  <a:pt x="515" y="312"/>
                  <a:pt x="512" y="312"/>
                  <a:pt x="513" y="311"/>
                </a:cubicBezTo>
                <a:close/>
                <a:moveTo>
                  <a:pt x="514" y="217"/>
                </a:moveTo>
                <a:cubicBezTo>
                  <a:pt x="515" y="218"/>
                  <a:pt x="514" y="219"/>
                  <a:pt x="513" y="219"/>
                </a:cubicBezTo>
                <a:cubicBezTo>
                  <a:pt x="513" y="219"/>
                  <a:pt x="514" y="218"/>
                  <a:pt x="514" y="217"/>
                </a:cubicBezTo>
                <a:close/>
                <a:moveTo>
                  <a:pt x="515" y="326"/>
                </a:moveTo>
                <a:cubicBezTo>
                  <a:pt x="516" y="324"/>
                  <a:pt x="516" y="328"/>
                  <a:pt x="515" y="327"/>
                </a:cubicBezTo>
                <a:cubicBezTo>
                  <a:pt x="514" y="327"/>
                  <a:pt x="515" y="326"/>
                  <a:pt x="515" y="326"/>
                </a:cubicBezTo>
                <a:close/>
                <a:moveTo>
                  <a:pt x="518" y="234"/>
                </a:moveTo>
                <a:cubicBezTo>
                  <a:pt x="520" y="232"/>
                  <a:pt x="516" y="235"/>
                  <a:pt x="518" y="234"/>
                </a:cubicBezTo>
                <a:close/>
                <a:moveTo>
                  <a:pt x="518" y="278"/>
                </a:moveTo>
                <a:cubicBezTo>
                  <a:pt x="518" y="277"/>
                  <a:pt x="519" y="277"/>
                  <a:pt x="519" y="278"/>
                </a:cubicBezTo>
                <a:cubicBezTo>
                  <a:pt x="519" y="278"/>
                  <a:pt x="518" y="278"/>
                  <a:pt x="518" y="278"/>
                </a:cubicBezTo>
                <a:close/>
                <a:moveTo>
                  <a:pt x="519" y="387"/>
                </a:moveTo>
                <a:cubicBezTo>
                  <a:pt x="517" y="386"/>
                  <a:pt x="519" y="383"/>
                  <a:pt x="520" y="383"/>
                </a:cubicBezTo>
                <a:cubicBezTo>
                  <a:pt x="524" y="381"/>
                  <a:pt x="521" y="388"/>
                  <a:pt x="519" y="387"/>
                </a:cubicBezTo>
                <a:close/>
                <a:moveTo>
                  <a:pt x="520" y="232"/>
                </a:moveTo>
                <a:cubicBezTo>
                  <a:pt x="522" y="230"/>
                  <a:pt x="519" y="233"/>
                  <a:pt x="520" y="232"/>
                </a:cubicBezTo>
                <a:close/>
                <a:moveTo>
                  <a:pt x="523" y="431"/>
                </a:moveTo>
                <a:cubicBezTo>
                  <a:pt x="522" y="432"/>
                  <a:pt x="524" y="429"/>
                  <a:pt x="523" y="431"/>
                </a:cubicBezTo>
                <a:close/>
                <a:moveTo>
                  <a:pt x="523" y="374"/>
                </a:moveTo>
                <a:cubicBezTo>
                  <a:pt x="522" y="374"/>
                  <a:pt x="524" y="373"/>
                  <a:pt x="523" y="374"/>
                </a:cubicBezTo>
                <a:close/>
                <a:moveTo>
                  <a:pt x="523" y="295"/>
                </a:moveTo>
                <a:cubicBezTo>
                  <a:pt x="523" y="295"/>
                  <a:pt x="523" y="294"/>
                  <a:pt x="523" y="294"/>
                </a:cubicBezTo>
                <a:cubicBezTo>
                  <a:pt x="523" y="294"/>
                  <a:pt x="523" y="294"/>
                  <a:pt x="523" y="294"/>
                </a:cubicBezTo>
                <a:cubicBezTo>
                  <a:pt x="523" y="295"/>
                  <a:pt x="523" y="295"/>
                  <a:pt x="523" y="295"/>
                </a:cubicBezTo>
                <a:close/>
                <a:moveTo>
                  <a:pt x="524" y="296"/>
                </a:moveTo>
                <a:cubicBezTo>
                  <a:pt x="525" y="296"/>
                  <a:pt x="525" y="296"/>
                  <a:pt x="525" y="296"/>
                </a:cubicBezTo>
                <a:cubicBezTo>
                  <a:pt x="526" y="298"/>
                  <a:pt x="523" y="296"/>
                  <a:pt x="524" y="296"/>
                </a:cubicBezTo>
                <a:close/>
                <a:moveTo>
                  <a:pt x="525" y="266"/>
                </a:moveTo>
                <a:cubicBezTo>
                  <a:pt x="525" y="264"/>
                  <a:pt x="531" y="263"/>
                  <a:pt x="530" y="267"/>
                </a:cubicBezTo>
                <a:cubicBezTo>
                  <a:pt x="529" y="269"/>
                  <a:pt x="525" y="268"/>
                  <a:pt x="525" y="266"/>
                </a:cubicBezTo>
                <a:close/>
                <a:moveTo>
                  <a:pt x="527" y="276"/>
                </a:moveTo>
                <a:cubicBezTo>
                  <a:pt x="527" y="275"/>
                  <a:pt x="527" y="275"/>
                  <a:pt x="528" y="275"/>
                </a:cubicBezTo>
                <a:cubicBezTo>
                  <a:pt x="529" y="275"/>
                  <a:pt x="526" y="277"/>
                  <a:pt x="527" y="276"/>
                </a:cubicBezTo>
                <a:close/>
                <a:moveTo>
                  <a:pt x="527" y="671"/>
                </a:moveTo>
                <a:cubicBezTo>
                  <a:pt x="527" y="671"/>
                  <a:pt x="527" y="671"/>
                  <a:pt x="527" y="671"/>
                </a:cubicBezTo>
                <a:cubicBezTo>
                  <a:pt x="527" y="671"/>
                  <a:pt x="527" y="671"/>
                  <a:pt x="527" y="671"/>
                </a:cubicBezTo>
                <a:cubicBezTo>
                  <a:pt x="527" y="671"/>
                  <a:pt x="527" y="671"/>
                  <a:pt x="527" y="671"/>
                </a:cubicBezTo>
                <a:close/>
                <a:moveTo>
                  <a:pt x="527" y="391"/>
                </a:moveTo>
                <a:cubicBezTo>
                  <a:pt x="527" y="390"/>
                  <a:pt x="528" y="389"/>
                  <a:pt x="528" y="388"/>
                </a:cubicBezTo>
                <a:cubicBezTo>
                  <a:pt x="529" y="389"/>
                  <a:pt x="527" y="390"/>
                  <a:pt x="527" y="391"/>
                </a:cubicBezTo>
                <a:close/>
                <a:moveTo>
                  <a:pt x="530" y="630"/>
                </a:moveTo>
                <a:cubicBezTo>
                  <a:pt x="531" y="629"/>
                  <a:pt x="534" y="629"/>
                  <a:pt x="536" y="628"/>
                </a:cubicBezTo>
                <a:cubicBezTo>
                  <a:pt x="535" y="630"/>
                  <a:pt x="532" y="630"/>
                  <a:pt x="530" y="630"/>
                </a:cubicBezTo>
                <a:close/>
                <a:moveTo>
                  <a:pt x="531" y="370"/>
                </a:moveTo>
                <a:cubicBezTo>
                  <a:pt x="531" y="372"/>
                  <a:pt x="529" y="371"/>
                  <a:pt x="531" y="370"/>
                </a:cubicBezTo>
                <a:close/>
                <a:moveTo>
                  <a:pt x="531" y="366"/>
                </a:moveTo>
                <a:cubicBezTo>
                  <a:pt x="531" y="366"/>
                  <a:pt x="531" y="366"/>
                  <a:pt x="531" y="366"/>
                </a:cubicBezTo>
                <a:cubicBezTo>
                  <a:pt x="533" y="366"/>
                  <a:pt x="530" y="368"/>
                  <a:pt x="531" y="366"/>
                </a:cubicBezTo>
                <a:close/>
                <a:moveTo>
                  <a:pt x="534" y="304"/>
                </a:moveTo>
                <a:cubicBezTo>
                  <a:pt x="534" y="305"/>
                  <a:pt x="532" y="305"/>
                  <a:pt x="532" y="305"/>
                </a:cubicBezTo>
                <a:cubicBezTo>
                  <a:pt x="532" y="304"/>
                  <a:pt x="533" y="303"/>
                  <a:pt x="534" y="304"/>
                </a:cubicBezTo>
                <a:close/>
                <a:moveTo>
                  <a:pt x="532" y="287"/>
                </a:moveTo>
                <a:cubicBezTo>
                  <a:pt x="532" y="287"/>
                  <a:pt x="533" y="287"/>
                  <a:pt x="533" y="287"/>
                </a:cubicBezTo>
                <a:cubicBezTo>
                  <a:pt x="534" y="287"/>
                  <a:pt x="532" y="288"/>
                  <a:pt x="532" y="287"/>
                </a:cubicBezTo>
                <a:close/>
                <a:moveTo>
                  <a:pt x="540" y="437"/>
                </a:moveTo>
                <a:cubicBezTo>
                  <a:pt x="539" y="439"/>
                  <a:pt x="538" y="442"/>
                  <a:pt x="536" y="443"/>
                </a:cubicBezTo>
                <a:cubicBezTo>
                  <a:pt x="536" y="442"/>
                  <a:pt x="538" y="439"/>
                  <a:pt x="540" y="437"/>
                </a:cubicBezTo>
                <a:close/>
                <a:moveTo>
                  <a:pt x="538" y="243"/>
                </a:moveTo>
                <a:cubicBezTo>
                  <a:pt x="538" y="243"/>
                  <a:pt x="537" y="243"/>
                  <a:pt x="537" y="243"/>
                </a:cubicBezTo>
                <a:cubicBezTo>
                  <a:pt x="537" y="243"/>
                  <a:pt x="538" y="243"/>
                  <a:pt x="538" y="243"/>
                </a:cubicBezTo>
                <a:cubicBezTo>
                  <a:pt x="538" y="243"/>
                  <a:pt x="538" y="243"/>
                  <a:pt x="538" y="243"/>
                </a:cubicBezTo>
                <a:close/>
                <a:moveTo>
                  <a:pt x="538" y="341"/>
                </a:moveTo>
                <a:cubicBezTo>
                  <a:pt x="539" y="339"/>
                  <a:pt x="537" y="342"/>
                  <a:pt x="538" y="341"/>
                </a:cubicBezTo>
                <a:close/>
                <a:moveTo>
                  <a:pt x="538" y="243"/>
                </a:moveTo>
                <a:cubicBezTo>
                  <a:pt x="539" y="242"/>
                  <a:pt x="539" y="243"/>
                  <a:pt x="538" y="243"/>
                </a:cubicBezTo>
                <a:close/>
                <a:moveTo>
                  <a:pt x="538" y="651"/>
                </a:moveTo>
                <a:cubicBezTo>
                  <a:pt x="537" y="653"/>
                  <a:pt x="537" y="650"/>
                  <a:pt x="538" y="651"/>
                </a:cubicBezTo>
                <a:close/>
                <a:moveTo>
                  <a:pt x="538" y="627"/>
                </a:moveTo>
                <a:cubicBezTo>
                  <a:pt x="541" y="625"/>
                  <a:pt x="541" y="628"/>
                  <a:pt x="538" y="627"/>
                </a:cubicBezTo>
                <a:close/>
                <a:moveTo>
                  <a:pt x="540" y="436"/>
                </a:moveTo>
                <a:cubicBezTo>
                  <a:pt x="540" y="436"/>
                  <a:pt x="540" y="436"/>
                  <a:pt x="540" y="436"/>
                </a:cubicBezTo>
                <a:cubicBezTo>
                  <a:pt x="540" y="436"/>
                  <a:pt x="540" y="435"/>
                  <a:pt x="540" y="435"/>
                </a:cubicBezTo>
                <a:cubicBezTo>
                  <a:pt x="540" y="435"/>
                  <a:pt x="540" y="435"/>
                  <a:pt x="540" y="436"/>
                </a:cubicBezTo>
                <a:close/>
                <a:moveTo>
                  <a:pt x="541" y="360"/>
                </a:moveTo>
                <a:cubicBezTo>
                  <a:pt x="541" y="359"/>
                  <a:pt x="541" y="358"/>
                  <a:pt x="542" y="359"/>
                </a:cubicBezTo>
                <a:cubicBezTo>
                  <a:pt x="544" y="359"/>
                  <a:pt x="539" y="361"/>
                  <a:pt x="541" y="360"/>
                </a:cubicBezTo>
                <a:close/>
                <a:moveTo>
                  <a:pt x="542" y="374"/>
                </a:moveTo>
                <a:cubicBezTo>
                  <a:pt x="542" y="375"/>
                  <a:pt x="542" y="376"/>
                  <a:pt x="540" y="376"/>
                </a:cubicBezTo>
                <a:cubicBezTo>
                  <a:pt x="541" y="375"/>
                  <a:pt x="541" y="375"/>
                  <a:pt x="542" y="374"/>
                </a:cubicBezTo>
                <a:close/>
                <a:moveTo>
                  <a:pt x="541" y="481"/>
                </a:moveTo>
                <a:cubicBezTo>
                  <a:pt x="541" y="481"/>
                  <a:pt x="542" y="479"/>
                  <a:pt x="542" y="478"/>
                </a:cubicBezTo>
                <a:cubicBezTo>
                  <a:pt x="543" y="480"/>
                  <a:pt x="541" y="480"/>
                  <a:pt x="541" y="481"/>
                </a:cubicBezTo>
                <a:close/>
                <a:moveTo>
                  <a:pt x="545" y="428"/>
                </a:moveTo>
                <a:cubicBezTo>
                  <a:pt x="545" y="429"/>
                  <a:pt x="543" y="432"/>
                  <a:pt x="541" y="434"/>
                </a:cubicBezTo>
                <a:cubicBezTo>
                  <a:pt x="542" y="431"/>
                  <a:pt x="547" y="424"/>
                  <a:pt x="545" y="428"/>
                </a:cubicBezTo>
                <a:close/>
                <a:moveTo>
                  <a:pt x="543" y="373"/>
                </a:moveTo>
                <a:cubicBezTo>
                  <a:pt x="544" y="374"/>
                  <a:pt x="542" y="374"/>
                  <a:pt x="543" y="373"/>
                </a:cubicBezTo>
                <a:close/>
                <a:moveTo>
                  <a:pt x="554" y="422"/>
                </a:moveTo>
                <a:cubicBezTo>
                  <a:pt x="555" y="421"/>
                  <a:pt x="555" y="420"/>
                  <a:pt x="555" y="420"/>
                </a:cubicBezTo>
                <a:cubicBezTo>
                  <a:pt x="555" y="421"/>
                  <a:pt x="555" y="421"/>
                  <a:pt x="554" y="422"/>
                </a:cubicBezTo>
                <a:close/>
                <a:moveTo>
                  <a:pt x="556" y="397"/>
                </a:moveTo>
                <a:cubicBezTo>
                  <a:pt x="556" y="396"/>
                  <a:pt x="557" y="395"/>
                  <a:pt x="558" y="394"/>
                </a:cubicBezTo>
                <a:cubicBezTo>
                  <a:pt x="558" y="395"/>
                  <a:pt x="557" y="397"/>
                  <a:pt x="556" y="397"/>
                </a:cubicBezTo>
                <a:close/>
                <a:moveTo>
                  <a:pt x="559" y="393"/>
                </a:moveTo>
                <a:cubicBezTo>
                  <a:pt x="558" y="392"/>
                  <a:pt x="560" y="391"/>
                  <a:pt x="559" y="393"/>
                </a:cubicBezTo>
                <a:close/>
                <a:moveTo>
                  <a:pt x="556" y="329"/>
                </a:moveTo>
                <a:cubicBezTo>
                  <a:pt x="557" y="327"/>
                  <a:pt x="559" y="327"/>
                  <a:pt x="561" y="325"/>
                </a:cubicBezTo>
                <a:cubicBezTo>
                  <a:pt x="564" y="321"/>
                  <a:pt x="566" y="316"/>
                  <a:pt x="570" y="314"/>
                </a:cubicBezTo>
                <a:cubicBezTo>
                  <a:pt x="570" y="318"/>
                  <a:pt x="564" y="320"/>
                  <a:pt x="563" y="323"/>
                </a:cubicBezTo>
                <a:cubicBezTo>
                  <a:pt x="562" y="325"/>
                  <a:pt x="558" y="330"/>
                  <a:pt x="556" y="332"/>
                </a:cubicBezTo>
                <a:cubicBezTo>
                  <a:pt x="556" y="332"/>
                  <a:pt x="556" y="334"/>
                  <a:pt x="554" y="333"/>
                </a:cubicBezTo>
                <a:cubicBezTo>
                  <a:pt x="553" y="332"/>
                  <a:pt x="556" y="329"/>
                  <a:pt x="556" y="329"/>
                </a:cubicBezTo>
                <a:close/>
                <a:moveTo>
                  <a:pt x="553" y="269"/>
                </a:moveTo>
                <a:cubicBezTo>
                  <a:pt x="552" y="268"/>
                  <a:pt x="553" y="267"/>
                  <a:pt x="554" y="267"/>
                </a:cubicBezTo>
                <a:cubicBezTo>
                  <a:pt x="556" y="265"/>
                  <a:pt x="555" y="270"/>
                  <a:pt x="553" y="269"/>
                </a:cubicBezTo>
                <a:close/>
                <a:moveTo>
                  <a:pt x="559" y="305"/>
                </a:moveTo>
                <a:cubicBezTo>
                  <a:pt x="559" y="306"/>
                  <a:pt x="560" y="304"/>
                  <a:pt x="559" y="305"/>
                </a:cubicBezTo>
                <a:close/>
                <a:moveTo>
                  <a:pt x="557" y="240"/>
                </a:moveTo>
                <a:cubicBezTo>
                  <a:pt x="557" y="239"/>
                  <a:pt x="559" y="238"/>
                  <a:pt x="560" y="239"/>
                </a:cubicBezTo>
                <a:cubicBezTo>
                  <a:pt x="560" y="241"/>
                  <a:pt x="558" y="240"/>
                  <a:pt x="557" y="240"/>
                </a:cubicBezTo>
                <a:close/>
                <a:moveTo>
                  <a:pt x="562" y="297"/>
                </a:moveTo>
                <a:cubicBezTo>
                  <a:pt x="562" y="297"/>
                  <a:pt x="562" y="297"/>
                  <a:pt x="562" y="297"/>
                </a:cubicBezTo>
                <a:cubicBezTo>
                  <a:pt x="563" y="294"/>
                  <a:pt x="562" y="300"/>
                  <a:pt x="562" y="297"/>
                </a:cubicBezTo>
                <a:close/>
                <a:moveTo>
                  <a:pt x="566" y="259"/>
                </a:moveTo>
                <a:cubicBezTo>
                  <a:pt x="566" y="259"/>
                  <a:pt x="565" y="260"/>
                  <a:pt x="564" y="260"/>
                </a:cubicBezTo>
                <a:cubicBezTo>
                  <a:pt x="564" y="259"/>
                  <a:pt x="565" y="259"/>
                  <a:pt x="566" y="259"/>
                </a:cubicBezTo>
                <a:close/>
                <a:moveTo>
                  <a:pt x="565" y="234"/>
                </a:moveTo>
                <a:cubicBezTo>
                  <a:pt x="565" y="234"/>
                  <a:pt x="565" y="235"/>
                  <a:pt x="565" y="235"/>
                </a:cubicBezTo>
                <a:cubicBezTo>
                  <a:pt x="564" y="235"/>
                  <a:pt x="565" y="234"/>
                  <a:pt x="565" y="234"/>
                </a:cubicBezTo>
                <a:close/>
                <a:moveTo>
                  <a:pt x="567" y="309"/>
                </a:moveTo>
                <a:cubicBezTo>
                  <a:pt x="567" y="309"/>
                  <a:pt x="567" y="308"/>
                  <a:pt x="567" y="308"/>
                </a:cubicBezTo>
                <a:cubicBezTo>
                  <a:pt x="568" y="306"/>
                  <a:pt x="567" y="311"/>
                  <a:pt x="567" y="309"/>
                </a:cubicBezTo>
                <a:close/>
                <a:moveTo>
                  <a:pt x="567" y="294"/>
                </a:moveTo>
                <a:cubicBezTo>
                  <a:pt x="568" y="293"/>
                  <a:pt x="567" y="295"/>
                  <a:pt x="567" y="294"/>
                </a:cubicBezTo>
                <a:close/>
                <a:moveTo>
                  <a:pt x="569" y="229"/>
                </a:moveTo>
                <a:cubicBezTo>
                  <a:pt x="568" y="228"/>
                  <a:pt x="573" y="224"/>
                  <a:pt x="573" y="224"/>
                </a:cubicBezTo>
                <a:cubicBezTo>
                  <a:pt x="578" y="222"/>
                  <a:pt x="570" y="230"/>
                  <a:pt x="569" y="229"/>
                </a:cubicBezTo>
                <a:close/>
                <a:moveTo>
                  <a:pt x="572" y="359"/>
                </a:moveTo>
                <a:cubicBezTo>
                  <a:pt x="572" y="359"/>
                  <a:pt x="571" y="359"/>
                  <a:pt x="571" y="360"/>
                </a:cubicBezTo>
                <a:cubicBezTo>
                  <a:pt x="571" y="360"/>
                  <a:pt x="571" y="360"/>
                  <a:pt x="571" y="360"/>
                </a:cubicBezTo>
                <a:cubicBezTo>
                  <a:pt x="571" y="360"/>
                  <a:pt x="572" y="359"/>
                  <a:pt x="572" y="359"/>
                </a:cubicBezTo>
                <a:close/>
                <a:moveTo>
                  <a:pt x="569" y="301"/>
                </a:moveTo>
                <a:cubicBezTo>
                  <a:pt x="569" y="302"/>
                  <a:pt x="570" y="299"/>
                  <a:pt x="569" y="301"/>
                </a:cubicBezTo>
                <a:close/>
                <a:moveTo>
                  <a:pt x="570" y="335"/>
                </a:moveTo>
                <a:cubicBezTo>
                  <a:pt x="569" y="336"/>
                  <a:pt x="568" y="337"/>
                  <a:pt x="567" y="339"/>
                </a:cubicBezTo>
                <a:cubicBezTo>
                  <a:pt x="567" y="337"/>
                  <a:pt x="568" y="336"/>
                  <a:pt x="570" y="335"/>
                </a:cubicBezTo>
                <a:close/>
                <a:moveTo>
                  <a:pt x="560" y="391"/>
                </a:moveTo>
                <a:cubicBezTo>
                  <a:pt x="560" y="390"/>
                  <a:pt x="560" y="390"/>
                  <a:pt x="561" y="389"/>
                </a:cubicBezTo>
                <a:cubicBezTo>
                  <a:pt x="561" y="390"/>
                  <a:pt x="561" y="391"/>
                  <a:pt x="560" y="391"/>
                </a:cubicBezTo>
                <a:close/>
                <a:moveTo>
                  <a:pt x="559" y="346"/>
                </a:moveTo>
                <a:cubicBezTo>
                  <a:pt x="560" y="344"/>
                  <a:pt x="562" y="343"/>
                  <a:pt x="564" y="341"/>
                </a:cubicBezTo>
                <a:cubicBezTo>
                  <a:pt x="563" y="343"/>
                  <a:pt x="561" y="345"/>
                  <a:pt x="559" y="346"/>
                </a:cubicBezTo>
                <a:close/>
                <a:moveTo>
                  <a:pt x="565" y="358"/>
                </a:moveTo>
                <a:cubicBezTo>
                  <a:pt x="565" y="359"/>
                  <a:pt x="564" y="360"/>
                  <a:pt x="563" y="360"/>
                </a:cubicBezTo>
                <a:cubicBezTo>
                  <a:pt x="564" y="360"/>
                  <a:pt x="565" y="359"/>
                  <a:pt x="565" y="358"/>
                </a:cubicBezTo>
                <a:close/>
                <a:moveTo>
                  <a:pt x="564" y="552"/>
                </a:moveTo>
                <a:cubicBezTo>
                  <a:pt x="563" y="551"/>
                  <a:pt x="565" y="550"/>
                  <a:pt x="565" y="549"/>
                </a:cubicBezTo>
                <a:cubicBezTo>
                  <a:pt x="565" y="550"/>
                  <a:pt x="565" y="551"/>
                  <a:pt x="564" y="552"/>
                </a:cubicBezTo>
                <a:close/>
                <a:moveTo>
                  <a:pt x="566" y="450"/>
                </a:moveTo>
                <a:cubicBezTo>
                  <a:pt x="568" y="448"/>
                  <a:pt x="567" y="453"/>
                  <a:pt x="566" y="453"/>
                </a:cubicBezTo>
                <a:cubicBezTo>
                  <a:pt x="565" y="452"/>
                  <a:pt x="566" y="450"/>
                  <a:pt x="566" y="450"/>
                </a:cubicBezTo>
                <a:close/>
                <a:moveTo>
                  <a:pt x="566" y="570"/>
                </a:moveTo>
                <a:cubicBezTo>
                  <a:pt x="566" y="570"/>
                  <a:pt x="567" y="570"/>
                  <a:pt x="567" y="570"/>
                </a:cubicBezTo>
                <a:cubicBezTo>
                  <a:pt x="568" y="570"/>
                  <a:pt x="566" y="571"/>
                  <a:pt x="566" y="570"/>
                </a:cubicBezTo>
                <a:close/>
                <a:moveTo>
                  <a:pt x="569" y="442"/>
                </a:moveTo>
                <a:cubicBezTo>
                  <a:pt x="570" y="441"/>
                  <a:pt x="567" y="444"/>
                  <a:pt x="569" y="442"/>
                </a:cubicBezTo>
                <a:close/>
                <a:moveTo>
                  <a:pt x="567" y="349"/>
                </a:moveTo>
                <a:cubicBezTo>
                  <a:pt x="567" y="349"/>
                  <a:pt x="567" y="347"/>
                  <a:pt x="568" y="347"/>
                </a:cubicBezTo>
                <a:cubicBezTo>
                  <a:pt x="570" y="344"/>
                  <a:pt x="569" y="350"/>
                  <a:pt x="567" y="349"/>
                </a:cubicBezTo>
                <a:close/>
                <a:moveTo>
                  <a:pt x="571" y="537"/>
                </a:moveTo>
                <a:cubicBezTo>
                  <a:pt x="572" y="538"/>
                  <a:pt x="570" y="540"/>
                  <a:pt x="569" y="542"/>
                </a:cubicBezTo>
                <a:cubicBezTo>
                  <a:pt x="569" y="541"/>
                  <a:pt x="571" y="539"/>
                  <a:pt x="571" y="537"/>
                </a:cubicBezTo>
                <a:close/>
                <a:moveTo>
                  <a:pt x="570" y="574"/>
                </a:moveTo>
                <a:cubicBezTo>
                  <a:pt x="569" y="574"/>
                  <a:pt x="570" y="571"/>
                  <a:pt x="570" y="571"/>
                </a:cubicBezTo>
                <a:cubicBezTo>
                  <a:pt x="573" y="569"/>
                  <a:pt x="572" y="575"/>
                  <a:pt x="570" y="574"/>
                </a:cubicBezTo>
                <a:close/>
                <a:moveTo>
                  <a:pt x="572" y="501"/>
                </a:moveTo>
                <a:cubicBezTo>
                  <a:pt x="573" y="500"/>
                  <a:pt x="571" y="503"/>
                  <a:pt x="572" y="501"/>
                </a:cubicBezTo>
                <a:close/>
                <a:moveTo>
                  <a:pt x="572" y="232"/>
                </a:moveTo>
                <a:cubicBezTo>
                  <a:pt x="572" y="231"/>
                  <a:pt x="574" y="230"/>
                  <a:pt x="574" y="231"/>
                </a:cubicBezTo>
                <a:cubicBezTo>
                  <a:pt x="575" y="232"/>
                  <a:pt x="573" y="233"/>
                  <a:pt x="572" y="232"/>
                </a:cubicBezTo>
                <a:close/>
                <a:moveTo>
                  <a:pt x="574" y="385"/>
                </a:moveTo>
                <a:cubicBezTo>
                  <a:pt x="574" y="385"/>
                  <a:pt x="573" y="385"/>
                  <a:pt x="573" y="384"/>
                </a:cubicBezTo>
                <a:cubicBezTo>
                  <a:pt x="573" y="383"/>
                  <a:pt x="575" y="385"/>
                  <a:pt x="574" y="385"/>
                </a:cubicBezTo>
                <a:close/>
                <a:moveTo>
                  <a:pt x="574" y="252"/>
                </a:moveTo>
                <a:cubicBezTo>
                  <a:pt x="573" y="251"/>
                  <a:pt x="574" y="250"/>
                  <a:pt x="574" y="250"/>
                </a:cubicBezTo>
                <a:cubicBezTo>
                  <a:pt x="576" y="249"/>
                  <a:pt x="575" y="252"/>
                  <a:pt x="574" y="252"/>
                </a:cubicBezTo>
                <a:close/>
                <a:moveTo>
                  <a:pt x="576" y="495"/>
                </a:moveTo>
                <a:cubicBezTo>
                  <a:pt x="576" y="496"/>
                  <a:pt x="575" y="496"/>
                  <a:pt x="575" y="497"/>
                </a:cubicBezTo>
                <a:cubicBezTo>
                  <a:pt x="574" y="497"/>
                  <a:pt x="575" y="496"/>
                  <a:pt x="576" y="495"/>
                </a:cubicBezTo>
                <a:close/>
                <a:moveTo>
                  <a:pt x="576" y="533"/>
                </a:moveTo>
                <a:cubicBezTo>
                  <a:pt x="575" y="533"/>
                  <a:pt x="577" y="532"/>
                  <a:pt x="576" y="533"/>
                </a:cubicBezTo>
                <a:close/>
                <a:moveTo>
                  <a:pt x="577" y="315"/>
                </a:moveTo>
                <a:cubicBezTo>
                  <a:pt x="578" y="316"/>
                  <a:pt x="576" y="316"/>
                  <a:pt x="576" y="315"/>
                </a:cubicBezTo>
                <a:cubicBezTo>
                  <a:pt x="576" y="315"/>
                  <a:pt x="577" y="314"/>
                  <a:pt x="577" y="315"/>
                </a:cubicBezTo>
                <a:close/>
                <a:moveTo>
                  <a:pt x="577" y="253"/>
                </a:moveTo>
                <a:cubicBezTo>
                  <a:pt x="578" y="252"/>
                  <a:pt x="577" y="254"/>
                  <a:pt x="577" y="253"/>
                </a:cubicBezTo>
                <a:close/>
                <a:moveTo>
                  <a:pt x="581" y="538"/>
                </a:moveTo>
                <a:cubicBezTo>
                  <a:pt x="582" y="540"/>
                  <a:pt x="579" y="540"/>
                  <a:pt x="581" y="538"/>
                </a:cubicBezTo>
                <a:close/>
                <a:moveTo>
                  <a:pt x="576" y="423"/>
                </a:moveTo>
                <a:cubicBezTo>
                  <a:pt x="579" y="421"/>
                  <a:pt x="580" y="415"/>
                  <a:pt x="583" y="415"/>
                </a:cubicBezTo>
                <a:cubicBezTo>
                  <a:pt x="582" y="415"/>
                  <a:pt x="580" y="422"/>
                  <a:pt x="576" y="423"/>
                </a:cubicBezTo>
                <a:close/>
                <a:moveTo>
                  <a:pt x="581" y="348"/>
                </a:moveTo>
                <a:cubicBezTo>
                  <a:pt x="582" y="347"/>
                  <a:pt x="581" y="351"/>
                  <a:pt x="582" y="349"/>
                </a:cubicBezTo>
                <a:cubicBezTo>
                  <a:pt x="582" y="349"/>
                  <a:pt x="581" y="349"/>
                  <a:pt x="581" y="348"/>
                </a:cubicBezTo>
                <a:close/>
                <a:moveTo>
                  <a:pt x="583" y="310"/>
                </a:moveTo>
                <a:cubicBezTo>
                  <a:pt x="581" y="309"/>
                  <a:pt x="583" y="305"/>
                  <a:pt x="584" y="305"/>
                </a:cubicBezTo>
                <a:cubicBezTo>
                  <a:pt x="588" y="302"/>
                  <a:pt x="586" y="312"/>
                  <a:pt x="583" y="310"/>
                </a:cubicBezTo>
                <a:close/>
                <a:moveTo>
                  <a:pt x="585" y="506"/>
                </a:moveTo>
                <a:cubicBezTo>
                  <a:pt x="585" y="507"/>
                  <a:pt x="585" y="506"/>
                  <a:pt x="586" y="506"/>
                </a:cubicBezTo>
                <a:cubicBezTo>
                  <a:pt x="586" y="506"/>
                  <a:pt x="586" y="506"/>
                  <a:pt x="585" y="506"/>
                </a:cubicBezTo>
                <a:close/>
                <a:moveTo>
                  <a:pt x="586" y="505"/>
                </a:moveTo>
                <a:cubicBezTo>
                  <a:pt x="584" y="505"/>
                  <a:pt x="586" y="500"/>
                  <a:pt x="587" y="500"/>
                </a:cubicBezTo>
                <a:cubicBezTo>
                  <a:pt x="589" y="499"/>
                  <a:pt x="588" y="506"/>
                  <a:pt x="586" y="505"/>
                </a:cubicBezTo>
                <a:close/>
                <a:moveTo>
                  <a:pt x="587" y="431"/>
                </a:moveTo>
                <a:cubicBezTo>
                  <a:pt x="587" y="431"/>
                  <a:pt x="587" y="431"/>
                  <a:pt x="587" y="430"/>
                </a:cubicBezTo>
                <a:cubicBezTo>
                  <a:pt x="588" y="429"/>
                  <a:pt x="587" y="430"/>
                  <a:pt x="587" y="431"/>
                </a:cubicBezTo>
                <a:close/>
                <a:moveTo>
                  <a:pt x="584" y="371"/>
                </a:moveTo>
                <a:cubicBezTo>
                  <a:pt x="587" y="368"/>
                  <a:pt x="589" y="364"/>
                  <a:pt x="593" y="361"/>
                </a:cubicBezTo>
                <a:cubicBezTo>
                  <a:pt x="591" y="365"/>
                  <a:pt x="588" y="368"/>
                  <a:pt x="584" y="371"/>
                </a:cubicBezTo>
                <a:close/>
                <a:moveTo>
                  <a:pt x="587" y="302"/>
                </a:moveTo>
                <a:cubicBezTo>
                  <a:pt x="587" y="302"/>
                  <a:pt x="587" y="302"/>
                  <a:pt x="587" y="302"/>
                </a:cubicBezTo>
                <a:cubicBezTo>
                  <a:pt x="587" y="302"/>
                  <a:pt x="587" y="302"/>
                  <a:pt x="587" y="302"/>
                </a:cubicBezTo>
                <a:cubicBezTo>
                  <a:pt x="587" y="302"/>
                  <a:pt x="587" y="302"/>
                  <a:pt x="587" y="302"/>
                </a:cubicBezTo>
                <a:close/>
                <a:moveTo>
                  <a:pt x="588" y="262"/>
                </a:moveTo>
                <a:cubicBezTo>
                  <a:pt x="589" y="262"/>
                  <a:pt x="589" y="264"/>
                  <a:pt x="588" y="264"/>
                </a:cubicBezTo>
                <a:cubicBezTo>
                  <a:pt x="588" y="264"/>
                  <a:pt x="589" y="263"/>
                  <a:pt x="588" y="262"/>
                </a:cubicBezTo>
                <a:close/>
                <a:moveTo>
                  <a:pt x="608" y="272"/>
                </a:moveTo>
                <a:cubicBezTo>
                  <a:pt x="604" y="277"/>
                  <a:pt x="599" y="281"/>
                  <a:pt x="593" y="285"/>
                </a:cubicBezTo>
                <a:cubicBezTo>
                  <a:pt x="598" y="280"/>
                  <a:pt x="602" y="276"/>
                  <a:pt x="608" y="272"/>
                </a:cubicBezTo>
                <a:close/>
                <a:moveTo>
                  <a:pt x="602" y="270"/>
                </a:moveTo>
                <a:cubicBezTo>
                  <a:pt x="602" y="269"/>
                  <a:pt x="603" y="268"/>
                  <a:pt x="603" y="270"/>
                </a:cubicBezTo>
                <a:cubicBezTo>
                  <a:pt x="604" y="271"/>
                  <a:pt x="602" y="270"/>
                  <a:pt x="602" y="270"/>
                </a:cubicBezTo>
                <a:close/>
                <a:moveTo>
                  <a:pt x="595" y="289"/>
                </a:moveTo>
                <a:cubicBezTo>
                  <a:pt x="596" y="288"/>
                  <a:pt x="597" y="288"/>
                  <a:pt x="597" y="288"/>
                </a:cubicBezTo>
                <a:cubicBezTo>
                  <a:pt x="598" y="288"/>
                  <a:pt x="591" y="297"/>
                  <a:pt x="589" y="296"/>
                </a:cubicBezTo>
                <a:cubicBezTo>
                  <a:pt x="588" y="296"/>
                  <a:pt x="595" y="289"/>
                  <a:pt x="595" y="289"/>
                </a:cubicBezTo>
                <a:close/>
                <a:moveTo>
                  <a:pt x="595" y="391"/>
                </a:moveTo>
                <a:cubicBezTo>
                  <a:pt x="595" y="393"/>
                  <a:pt x="593" y="392"/>
                  <a:pt x="595" y="391"/>
                </a:cubicBezTo>
                <a:close/>
                <a:moveTo>
                  <a:pt x="594" y="394"/>
                </a:moveTo>
                <a:cubicBezTo>
                  <a:pt x="595" y="393"/>
                  <a:pt x="594" y="395"/>
                  <a:pt x="594" y="394"/>
                </a:cubicBezTo>
                <a:close/>
                <a:moveTo>
                  <a:pt x="591" y="396"/>
                </a:moveTo>
                <a:cubicBezTo>
                  <a:pt x="592" y="396"/>
                  <a:pt x="592" y="394"/>
                  <a:pt x="593" y="394"/>
                </a:cubicBezTo>
                <a:cubicBezTo>
                  <a:pt x="593" y="395"/>
                  <a:pt x="592" y="396"/>
                  <a:pt x="591" y="396"/>
                </a:cubicBezTo>
                <a:close/>
                <a:moveTo>
                  <a:pt x="592" y="398"/>
                </a:moveTo>
                <a:cubicBezTo>
                  <a:pt x="593" y="398"/>
                  <a:pt x="590" y="400"/>
                  <a:pt x="592" y="398"/>
                </a:cubicBezTo>
                <a:close/>
                <a:moveTo>
                  <a:pt x="593" y="300"/>
                </a:moveTo>
                <a:cubicBezTo>
                  <a:pt x="592" y="300"/>
                  <a:pt x="593" y="299"/>
                  <a:pt x="593" y="299"/>
                </a:cubicBezTo>
                <a:cubicBezTo>
                  <a:pt x="594" y="297"/>
                  <a:pt x="595" y="301"/>
                  <a:pt x="593" y="300"/>
                </a:cubicBezTo>
                <a:close/>
                <a:moveTo>
                  <a:pt x="593" y="297"/>
                </a:moveTo>
                <a:cubicBezTo>
                  <a:pt x="593" y="296"/>
                  <a:pt x="594" y="296"/>
                  <a:pt x="595" y="295"/>
                </a:cubicBezTo>
                <a:cubicBezTo>
                  <a:pt x="595" y="296"/>
                  <a:pt x="594" y="297"/>
                  <a:pt x="593" y="297"/>
                </a:cubicBezTo>
                <a:close/>
                <a:moveTo>
                  <a:pt x="592" y="298"/>
                </a:moveTo>
                <a:cubicBezTo>
                  <a:pt x="591" y="300"/>
                  <a:pt x="589" y="299"/>
                  <a:pt x="592" y="298"/>
                </a:cubicBezTo>
                <a:close/>
                <a:moveTo>
                  <a:pt x="589" y="303"/>
                </a:moveTo>
                <a:cubicBezTo>
                  <a:pt x="589" y="303"/>
                  <a:pt x="589" y="302"/>
                  <a:pt x="589" y="302"/>
                </a:cubicBezTo>
                <a:cubicBezTo>
                  <a:pt x="591" y="300"/>
                  <a:pt x="590" y="304"/>
                  <a:pt x="589" y="303"/>
                </a:cubicBezTo>
                <a:close/>
                <a:moveTo>
                  <a:pt x="590" y="320"/>
                </a:moveTo>
                <a:cubicBezTo>
                  <a:pt x="590" y="321"/>
                  <a:pt x="589" y="321"/>
                  <a:pt x="589" y="322"/>
                </a:cubicBezTo>
                <a:cubicBezTo>
                  <a:pt x="588" y="322"/>
                  <a:pt x="589" y="321"/>
                  <a:pt x="590" y="320"/>
                </a:cubicBezTo>
                <a:close/>
                <a:moveTo>
                  <a:pt x="589" y="289"/>
                </a:moveTo>
                <a:cubicBezTo>
                  <a:pt x="588" y="287"/>
                  <a:pt x="591" y="287"/>
                  <a:pt x="592" y="285"/>
                </a:cubicBezTo>
                <a:cubicBezTo>
                  <a:pt x="593" y="286"/>
                  <a:pt x="590" y="288"/>
                  <a:pt x="589" y="289"/>
                </a:cubicBezTo>
                <a:close/>
                <a:moveTo>
                  <a:pt x="588" y="267"/>
                </a:moveTo>
                <a:cubicBezTo>
                  <a:pt x="588" y="267"/>
                  <a:pt x="588" y="267"/>
                  <a:pt x="588" y="267"/>
                </a:cubicBezTo>
                <a:cubicBezTo>
                  <a:pt x="588" y="267"/>
                  <a:pt x="588" y="267"/>
                  <a:pt x="588" y="268"/>
                </a:cubicBezTo>
                <a:cubicBezTo>
                  <a:pt x="588" y="268"/>
                  <a:pt x="588" y="267"/>
                  <a:pt x="588" y="267"/>
                </a:cubicBezTo>
                <a:close/>
                <a:moveTo>
                  <a:pt x="590" y="400"/>
                </a:moveTo>
                <a:cubicBezTo>
                  <a:pt x="590" y="401"/>
                  <a:pt x="591" y="398"/>
                  <a:pt x="590" y="400"/>
                </a:cubicBezTo>
                <a:close/>
                <a:moveTo>
                  <a:pt x="590" y="437"/>
                </a:moveTo>
                <a:cubicBezTo>
                  <a:pt x="590" y="436"/>
                  <a:pt x="590" y="435"/>
                  <a:pt x="592" y="434"/>
                </a:cubicBezTo>
                <a:cubicBezTo>
                  <a:pt x="593" y="434"/>
                  <a:pt x="594" y="433"/>
                  <a:pt x="595" y="434"/>
                </a:cubicBezTo>
                <a:cubicBezTo>
                  <a:pt x="597" y="438"/>
                  <a:pt x="590" y="441"/>
                  <a:pt x="590" y="437"/>
                </a:cubicBezTo>
                <a:close/>
                <a:moveTo>
                  <a:pt x="595" y="391"/>
                </a:moveTo>
                <a:cubicBezTo>
                  <a:pt x="595" y="390"/>
                  <a:pt x="595" y="390"/>
                  <a:pt x="596" y="389"/>
                </a:cubicBezTo>
                <a:cubicBezTo>
                  <a:pt x="596" y="390"/>
                  <a:pt x="596" y="391"/>
                  <a:pt x="595" y="391"/>
                </a:cubicBezTo>
                <a:close/>
                <a:moveTo>
                  <a:pt x="596" y="565"/>
                </a:moveTo>
                <a:cubicBezTo>
                  <a:pt x="596" y="565"/>
                  <a:pt x="596" y="565"/>
                  <a:pt x="596" y="565"/>
                </a:cubicBezTo>
                <a:cubicBezTo>
                  <a:pt x="596" y="565"/>
                  <a:pt x="596" y="565"/>
                  <a:pt x="596" y="565"/>
                </a:cubicBezTo>
                <a:cubicBezTo>
                  <a:pt x="596" y="565"/>
                  <a:pt x="596" y="565"/>
                  <a:pt x="596" y="565"/>
                </a:cubicBezTo>
                <a:close/>
                <a:moveTo>
                  <a:pt x="596" y="436"/>
                </a:moveTo>
                <a:cubicBezTo>
                  <a:pt x="598" y="435"/>
                  <a:pt x="595" y="438"/>
                  <a:pt x="596" y="436"/>
                </a:cubicBezTo>
                <a:close/>
                <a:moveTo>
                  <a:pt x="596" y="392"/>
                </a:moveTo>
                <a:cubicBezTo>
                  <a:pt x="596" y="391"/>
                  <a:pt x="597" y="390"/>
                  <a:pt x="597" y="390"/>
                </a:cubicBezTo>
                <a:cubicBezTo>
                  <a:pt x="597" y="391"/>
                  <a:pt x="597" y="392"/>
                  <a:pt x="596" y="392"/>
                </a:cubicBezTo>
                <a:close/>
                <a:moveTo>
                  <a:pt x="596" y="389"/>
                </a:moveTo>
                <a:cubicBezTo>
                  <a:pt x="597" y="388"/>
                  <a:pt x="597" y="388"/>
                  <a:pt x="598" y="387"/>
                </a:cubicBezTo>
                <a:cubicBezTo>
                  <a:pt x="598" y="388"/>
                  <a:pt x="597" y="389"/>
                  <a:pt x="596" y="389"/>
                </a:cubicBezTo>
                <a:close/>
                <a:moveTo>
                  <a:pt x="597" y="541"/>
                </a:moveTo>
                <a:cubicBezTo>
                  <a:pt x="596" y="541"/>
                  <a:pt x="598" y="540"/>
                  <a:pt x="597" y="539"/>
                </a:cubicBezTo>
                <a:cubicBezTo>
                  <a:pt x="598" y="539"/>
                  <a:pt x="597" y="541"/>
                  <a:pt x="597" y="541"/>
                </a:cubicBezTo>
                <a:close/>
                <a:moveTo>
                  <a:pt x="597" y="347"/>
                </a:moveTo>
                <a:cubicBezTo>
                  <a:pt x="597" y="347"/>
                  <a:pt x="597" y="346"/>
                  <a:pt x="597" y="346"/>
                </a:cubicBezTo>
                <a:cubicBezTo>
                  <a:pt x="598" y="344"/>
                  <a:pt x="598" y="348"/>
                  <a:pt x="597" y="347"/>
                </a:cubicBezTo>
                <a:close/>
                <a:moveTo>
                  <a:pt x="598" y="386"/>
                </a:moveTo>
                <a:cubicBezTo>
                  <a:pt x="599" y="385"/>
                  <a:pt x="597" y="388"/>
                  <a:pt x="598" y="386"/>
                </a:cubicBezTo>
                <a:close/>
                <a:moveTo>
                  <a:pt x="600" y="336"/>
                </a:moveTo>
                <a:cubicBezTo>
                  <a:pt x="598" y="339"/>
                  <a:pt x="603" y="335"/>
                  <a:pt x="600" y="336"/>
                </a:cubicBezTo>
                <a:close/>
                <a:moveTo>
                  <a:pt x="601" y="360"/>
                </a:moveTo>
                <a:cubicBezTo>
                  <a:pt x="602" y="358"/>
                  <a:pt x="600" y="361"/>
                  <a:pt x="601" y="360"/>
                </a:cubicBezTo>
                <a:close/>
                <a:moveTo>
                  <a:pt x="601" y="299"/>
                </a:moveTo>
                <a:cubicBezTo>
                  <a:pt x="600" y="298"/>
                  <a:pt x="602" y="296"/>
                  <a:pt x="602" y="298"/>
                </a:cubicBezTo>
                <a:cubicBezTo>
                  <a:pt x="603" y="298"/>
                  <a:pt x="602" y="299"/>
                  <a:pt x="601" y="299"/>
                </a:cubicBezTo>
                <a:close/>
                <a:moveTo>
                  <a:pt x="602" y="291"/>
                </a:moveTo>
                <a:cubicBezTo>
                  <a:pt x="601" y="290"/>
                  <a:pt x="603" y="290"/>
                  <a:pt x="603" y="291"/>
                </a:cubicBezTo>
                <a:cubicBezTo>
                  <a:pt x="602" y="291"/>
                  <a:pt x="602" y="291"/>
                  <a:pt x="602" y="291"/>
                </a:cubicBezTo>
                <a:close/>
                <a:moveTo>
                  <a:pt x="603" y="334"/>
                </a:moveTo>
                <a:cubicBezTo>
                  <a:pt x="603" y="333"/>
                  <a:pt x="604" y="332"/>
                  <a:pt x="605" y="331"/>
                </a:cubicBezTo>
                <a:cubicBezTo>
                  <a:pt x="605" y="333"/>
                  <a:pt x="604" y="333"/>
                  <a:pt x="603" y="334"/>
                </a:cubicBezTo>
                <a:close/>
                <a:moveTo>
                  <a:pt x="605" y="302"/>
                </a:moveTo>
                <a:cubicBezTo>
                  <a:pt x="605" y="302"/>
                  <a:pt x="605" y="302"/>
                  <a:pt x="605" y="302"/>
                </a:cubicBezTo>
                <a:cubicBezTo>
                  <a:pt x="606" y="304"/>
                  <a:pt x="603" y="302"/>
                  <a:pt x="605" y="302"/>
                </a:cubicBezTo>
                <a:close/>
                <a:moveTo>
                  <a:pt x="605" y="373"/>
                </a:moveTo>
                <a:cubicBezTo>
                  <a:pt x="605" y="373"/>
                  <a:pt x="606" y="373"/>
                  <a:pt x="606" y="373"/>
                </a:cubicBezTo>
                <a:cubicBezTo>
                  <a:pt x="606" y="374"/>
                  <a:pt x="605" y="373"/>
                  <a:pt x="605" y="373"/>
                </a:cubicBezTo>
                <a:close/>
                <a:moveTo>
                  <a:pt x="606" y="568"/>
                </a:moveTo>
                <a:cubicBezTo>
                  <a:pt x="607" y="567"/>
                  <a:pt x="605" y="570"/>
                  <a:pt x="606" y="568"/>
                </a:cubicBezTo>
                <a:close/>
                <a:moveTo>
                  <a:pt x="608" y="285"/>
                </a:moveTo>
                <a:cubicBezTo>
                  <a:pt x="608" y="285"/>
                  <a:pt x="609" y="284"/>
                  <a:pt x="609" y="284"/>
                </a:cubicBezTo>
                <a:cubicBezTo>
                  <a:pt x="610" y="286"/>
                  <a:pt x="607" y="286"/>
                  <a:pt x="608" y="285"/>
                </a:cubicBezTo>
                <a:close/>
                <a:moveTo>
                  <a:pt x="609" y="319"/>
                </a:moveTo>
                <a:cubicBezTo>
                  <a:pt x="610" y="317"/>
                  <a:pt x="608" y="320"/>
                  <a:pt x="609" y="319"/>
                </a:cubicBezTo>
                <a:close/>
                <a:moveTo>
                  <a:pt x="609" y="350"/>
                </a:moveTo>
                <a:cubicBezTo>
                  <a:pt x="610" y="349"/>
                  <a:pt x="607" y="351"/>
                  <a:pt x="609" y="350"/>
                </a:cubicBezTo>
                <a:close/>
                <a:moveTo>
                  <a:pt x="609" y="376"/>
                </a:moveTo>
                <a:cubicBezTo>
                  <a:pt x="611" y="374"/>
                  <a:pt x="611" y="380"/>
                  <a:pt x="609" y="380"/>
                </a:cubicBezTo>
                <a:cubicBezTo>
                  <a:pt x="608" y="379"/>
                  <a:pt x="609" y="377"/>
                  <a:pt x="609" y="376"/>
                </a:cubicBezTo>
                <a:close/>
                <a:moveTo>
                  <a:pt x="609" y="486"/>
                </a:moveTo>
                <a:cubicBezTo>
                  <a:pt x="608" y="486"/>
                  <a:pt x="608" y="485"/>
                  <a:pt x="609" y="485"/>
                </a:cubicBezTo>
                <a:cubicBezTo>
                  <a:pt x="609" y="483"/>
                  <a:pt x="610" y="487"/>
                  <a:pt x="609" y="486"/>
                </a:cubicBezTo>
                <a:close/>
                <a:moveTo>
                  <a:pt x="610" y="419"/>
                </a:moveTo>
                <a:cubicBezTo>
                  <a:pt x="611" y="417"/>
                  <a:pt x="612" y="418"/>
                  <a:pt x="610" y="419"/>
                </a:cubicBezTo>
                <a:close/>
                <a:moveTo>
                  <a:pt x="609" y="349"/>
                </a:moveTo>
                <a:cubicBezTo>
                  <a:pt x="610" y="347"/>
                  <a:pt x="611" y="345"/>
                  <a:pt x="613" y="344"/>
                </a:cubicBezTo>
                <a:cubicBezTo>
                  <a:pt x="613" y="344"/>
                  <a:pt x="611" y="348"/>
                  <a:pt x="609" y="349"/>
                </a:cubicBezTo>
                <a:close/>
                <a:moveTo>
                  <a:pt x="614" y="312"/>
                </a:moveTo>
                <a:cubicBezTo>
                  <a:pt x="615" y="313"/>
                  <a:pt x="615" y="314"/>
                  <a:pt x="614" y="314"/>
                </a:cubicBezTo>
                <a:cubicBezTo>
                  <a:pt x="613" y="314"/>
                  <a:pt x="612" y="313"/>
                  <a:pt x="613" y="312"/>
                </a:cubicBezTo>
                <a:cubicBezTo>
                  <a:pt x="613" y="312"/>
                  <a:pt x="613" y="312"/>
                  <a:pt x="613" y="312"/>
                </a:cubicBezTo>
                <a:cubicBezTo>
                  <a:pt x="613" y="312"/>
                  <a:pt x="613" y="312"/>
                  <a:pt x="613" y="312"/>
                </a:cubicBezTo>
                <a:cubicBezTo>
                  <a:pt x="611" y="310"/>
                  <a:pt x="615" y="308"/>
                  <a:pt x="616" y="311"/>
                </a:cubicBezTo>
                <a:cubicBezTo>
                  <a:pt x="616" y="311"/>
                  <a:pt x="615" y="312"/>
                  <a:pt x="614" y="312"/>
                </a:cubicBezTo>
                <a:close/>
                <a:moveTo>
                  <a:pt x="613" y="276"/>
                </a:moveTo>
                <a:cubicBezTo>
                  <a:pt x="613" y="277"/>
                  <a:pt x="614" y="275"/>
                  <a:pt x="613" y="276"/>
                </a:cubicBezTo>
                <a:close/>
                <a:moveTo>
                  <a:pt x="613" y="259"/>
                </a:moveTo>
                <a:cubicBezTo>
                  <a:pt x="613" y="259"/>
                  <a:pt x="613" y="259"/>
                  <a:pt x="613" y="259"/>
                </a:cubicBezTo>
                <a:cubicBezTo>
                  <a:pt x="613" y="259"/>
                  <a:pt x="613" y="259"/>
                  <a:pt x="613" y="259"/>
                </a:cubicBezTo>
                <a:cubicBezTo>
                  <a:pt x="614" y="258"/>
                  <a:pt x="614" y="259"/>
                  <a:pt x="613" y="259"/>
                </a:cubicBezTo>
                <a:cubicBezTo>
                  <a:pt x="613" y="259"/>
                  <a:pt x="613" y="259"/>
                  <a:pt x="613" y="259"/>
                </a:cubicBezTo>
                <a:close/>
                <a:moveTo>
                  <a:pt x="615" y="309"/>
                </a:moveTo>
                <a:cubicBezTo>
                  <a:pt x="614" y="309"/>
                  <a:pt x="615" y="308"/>
                  <a:pt x="615" y="308"/>
                </a:cubicBezTo>
                <a:cubicBezTo>
                  <a:pt x="616" y="307"/>
                  <a:pt x="616" y="309"/>
                  <a:pt x="615" y="309"/>
                </a:cubicBezTo>
                <a:close/>
                <a:moveTo>
                  <a:pt x="616" y="256"/>
                </a:moveTo>
                <a:cubicBezTo>
                  <a:pt x="616" y="258"/>
                  <a:pt x="614" y="257"/>
                  <a:pt x="616" y="256"/>
                </a:cubicBezTo>
                <a:close/>
                <a:moveTo>
                  <a:pt x="616" y="260"/>
                </a:moveTo>
                <a:cubicBezTo>
                  <a:pt x="615" y="261"/>
                  <a:pt x="618" y="258"/>
                  <a:pt x="616" y="260"/>
                </a:cubicBezTo>
                <a:close/>
                <a:moveTo>
                  <a:pt x="616" y="343"/>
                </a:moveTo>
                <a:cubicBezTo>
                  <a:pt x="616" y="342"/>
                  <a:pt x="618" y="340"/>
                  <a:pt x="619" y="339"/>
                </a:cubicBezTo>
                <a:cubicBezTo>
                  <a:pt x="619" y="341"/>
                  <a:pt x="618" y="342"/>
                  <a:pt x="616" y="343"/>
                </a:cubicBezTo>
                <a:close/>
                <a:moveTo>
                  <a:pt x="617" y="301"/>
                </a:moveTo>
                <a:cubicBezTo>
                  <a:pt x="618" y="300"/>
                  <a:pt x="619" y="302"/>
                  <a:pt x="618" y="302"/>
                </a:cubicBezTo>
                <a:cubicBezTo>
                  <a:pt x="618" y="302"/>
                  <a:pt x="617" y="301"/>
                  <a:pt x="617" y="301"/>
                </a:cubicBezTo>
                <a:close/>
                <a:moveTo>
                  <a:pt x="618" y="491"/>
                </a:moveTo>
                <a:cubicBezTo>
                  <a:pt x="618" y="490"/>
                  <a:pt x="619" y="490"/>
                  <a:pt x="619" y="490"/>
                </a:cubicBezTo>
                <a:cubicBezTo>
                  <a:pt x="620" y="490"/>
                  <a:pt x="618" y="492"/>
                  <a:pt x="618" y="491"/>
                </a:cubicBezTo>
                <a:close/>
                <a:moveTo>
                  <a:pt x="622" y="396"/>
                </a:moveTo>
                <a:cubicBezTo>
                  <a:pt x="622" y="395"/>
                  <a:pt x="623" y="394"/>
                  <a:pt x="623" y="393"/>
                </a:cubicBezTo>
                <a:cubicBezTo>
                  <a:pt x="624" y="393"/>
                  <a:pt x="623" y="395"/>
                  <a:pt x="622" y="396"/>
                </a:cubicBezTo>
                <a:close/>
                <a:moveTo>
                  <a:pt x="630" y="439"/>
                </a:moveTo>
                <a:cubicBezTo>
                  <a:pt x="630" y="441"/>
                  <a:pt x="627" y="440"/>
                  <a:pt x="630" y="439"/>
                </a:cubicBezTo>
                <a:close/>
                <a:moveTo>
                  <a:pt x="631" y="548"/>
                </a:moveTo>
                <a:cubicBezTo>
                  <a:pt x="631" y="548"/>
                  <a:pt x="632" y="547"/>
                  <a:pt x="633" y="548"/>
                </a:cubicBezTo>
                <a:cubicBezTo>
                  <a:pt x="636" y="551"/>
                  <a:pt x="628" y="552"/>
                  <a:pt x="631" y="548"/>
                </a:cubicBezTo>
                <a:close/>
                <a:moveTo>
                  <a:pt x="634" y="433"/>
                </a:moveTo>
                <a:cubicBezTo>
                  <a:pt x="632" y="433"/>
                  <a:pt x="633" y="431"/>
                  <a:pt x="633" y="431"/>
                </a:cubicBezTo>
                <a:cubicBezTo>
                  <a:pt x="635" y="429"/>
                  <a:pt x="635" y="433"/>
                  <a:pt x="634" y="433"/>
                </a:cubicBezTo>
                <a:close/>
                <a:moveTo>
                  <a:pt x="635" y="495"/>
                </a:moveTo>
                <a:cubicBezTo>
                  <a:pt x="636" y="496"/>
                  <a:pt x="634" y="497"/>
                  <a:pt x="635" y="495"/>
                </a:cubicBezTo>
                <a:close/>
                <a:moveTo>
                  <a:pt x="635" y="459"/>
                </a:moveTo>
                <a:cubicBezTo>
                  <a:pt x="634" y="458"/>
                  <a:pt x="636" y="459"/>
                  <a:pt x="635" y="459"/>
                </a:cubicBezTo>
                <a:close/>
                <a:moveTo>
                  <a:pt x="631" y="298"/>
                </a:moveTo>
                <a:cubicBezTo>
                  <a:pt x="634" y="297"/>
                  <a:pt x="630" y="302"/>
                  <a:pt x="630" y="299"/>
                </a:cubicBezTo>
                <a:cubicBezTo>
                  <a:pt x="630" y="299"/>
                  <a:pt x="631" y="298"/>
                  <a:pt x="631" y="298"/>
                </a:cubicBezTo>
                <a:close/>
                <a:moveTo>
                  <a:pt x="629" y="296"/>
                </a:moveTo>
                <a:cubicBezTo>
                  <a:pt x="629" y="295"/>
                  <a:pt x="628" y="297"/>
                  <a:pt x="629" y="296"/>
                </a:cubicBezTo>
                <a:close/>
                <a:moveTo>
                  <a:pt x="635" y="314"/>
                </a:moveTo>
                <a:cubicBezTo>
                  <a:pt x="633" y="319"/>
                  <a:pt x="630" y="323"/>
                  <a:pt x="628" y="327"/>
                </a:cubicBezTo>
                <a:cubicBezTo>
                  <a:pt x="630" y="323"/>
                  <a:pt x="631" y="318"/>
                  <a:pt x="635" y="314"/>
                </a:cubicBezTo>
                <a:close/>
                <a:moveTo>
                  <a:pt x="625" y="391"/>
                </a:moveTo>
                <a:cubicBezTo>
                  <a:pt x="624" y="390"/>
                  <a:pt x="626" y="387"/>
                  <a:pt x="627" y="386"/>
                </a:cubicBezTo>
                <a:cubicBezTo>
                  <a:pt x="627" y="387"/>
                  <a:pt x="625" y="389"/>
                  <a:pt x="625" y="391"/>
                </a:cubicBezTo>
                <a:close/>
                <a:moveTo>
                  <a:pt x="623" y="307"/>
                </a:moveTo>
                <a:cubicBezTo>
                  <a:pt x="623" y="307"/>
                  <a:pt x="623" y="309"/>
                  <a:pt x="622" y="309"/>
                </a:cubicBezTo>
                <a:cubicBezTo>
                  <a:pt x="622" y="309"/>
                  <a:pt x="622" y="307"/>
                  <a:pt x="623" y="307"/>
                </a:cubicBezTo>
                <a:close/>
                <a:moveTo>
                  <a:pt x="624" y="333"/>
                </a:moveTo>
                <a:cubicBezTo>
                  <a:pt x="624" y="333"/>
                  <a:pt x="627" y="328"/>
                  <a:pt x="627" y="330"/>
                </a:cubicBezTo>
                <a:cubicBezTo>
                  <a:pt x="626" y="332"/>
                  <a:pt x="622" y="336"/>
                  <a:pt x="620" y="338"/>
                </a:cubicBezTo>
                <a:cubicBezTo>
                  <a:pt x="621" y="337"/>
                  <a:pt x="623" y="335"/>
                  <a:pt x="624" y="333"/>
                </a:cubicBezTo>
                <a:close/>
                <a:moveTo>
                  <a:pt x="620" y="269"/>
                </a:moveTo>
                <a:cubicBezTo>
                  <a:pt x="620" y="268"/>
                  <a:pt x="622" y="262"/>
                  <a:pt x="624" y="264"/>
                </a:cubicBezTo>
                <a:cubicBezTo>
                  <a:pt x="626" y="265"/>
                  <a:pt x="622" y="268"/>
                  <a:pt x="620" y="269"/>
                </a:cubicBezTo>
                <a:close/>
                <a:moveTo>
                  <a:pt x="626" y="231"/>
                </a:moveTo>
                <a:cubicBezTo>
                  <a:pt x="626" y="232"/>
                  <a:pt x="627" y="230"/>
                  <a:pt x="626" y="231"/>
                </a:cubicBezTo>
                <a:close/>
                <a:moveTo>
                  <a:pt x="628" y="249"/>
                </a:moveTo>
                <a:cubicBezTo>
                  <a:pt x="628" y="247"/>
                  <a:pt x="630" y="248"/>
                  <a:pt x="628" y="249"/>
                </a:cubicBezTo>
                <a:close/>
                <a:moveTo>
                  <a:pt x="625" y="218"/>
                </a:moveTo>
                <a:cubicBezTo>
                  <a:pt x="627" y="217"/>
                  <a:pt x="628" y="217"/>
                  <a:pt x="629" y="218"/>
                </a:cubicBezTo>
                <a:cubicBezTo>
                  <a:pt x="631" y="221"/>
                  <a:pt x="626" y="226"/>
                  <a:pt x="624" y="225"/>
                </a:cubicBezTo>
                <a:cubicBezTo>
                  <a:pt x="621" y="223"/>
                  <a:pt x="624" y="219"/>
                  <a:pt x="625" y="218"/>
                </a:cubicBezTo>
                <a:close/>
                <a:moveTo>
                  <a:pt x="621" y="229"/>
                </a:moveTo>
                <a:cubicBezTo>
                  <a:pt x="621" y="228"/>
                  <a:pt x="622" y="227"/>
                  <a:pt x="622" y="227"/>
                </a:cubicBezTo>
                <a:cubicBezTo>
                  <a:pt x="621" y="227"/>
                  <a:pt x="621" y="226"/>
                  <a:pt x="622" y="226"/>
                </a:cubicBezTo>
                <a:cubicBezTo>
                  <a:pt x="622" y="225"/>
                  <a:pt x="622" y="225"/>
                  <a:pt x="622" y="225"/>
                </a:cubicBezTo>
                <a:cubicBezTo>
                  <a:pt x="622" y="225"/>
                  <a:pt x="622" y="225"/>
                  <a:pt x="622" y="225"/>
                </a:cubicBezTo>
                <a:cubicBezTo>
                  <a:pt x="622" y="225"/>
                  <a:pt x="622" y="225"/>
                  <a:pt x="623" y="225"/>
                </a:cubicBezTo>
                <a:cubicBezTo>
                  <a:pt x="623" y="226"/>
                  <a:pt x="622" y="226"/>
                  <a:pt x="622" y="226"/>
                </a:cubicBezTo>
                <a:cubicBezTo>
                  <a:pt x="622" y="229"/>
                  <a:pt x="621" y="233"/>
                  <a:pt x="620" y="235"/>
                </a:cubicBezTo>
                <a:cubicBezTo>
                  <a:pt x="620" y="233"/>
                  <a:pt x="620" y="232"/>
                  <a:pt x="621" y="230"/>
                </a:cubicBezTo>
                <a:cubicBezTo>
                  <a:pt x="621" y="230"/>
                  <a:pt x="621" y="230"/>
                  <a:pt x="621" y="230"/>
                </a:cubicBezTo>
                <a:cubicBezTo>
                  <a:pt x="621" y="229"/>
                  <a:pt x="621" y="229"/>
                  <a:pt x="621" y="229"/>
                </a:cubicBezTo>
                <a:close/>
                <a:moveTo>
                  <a:pt x="620" y="227"/>
                </a:moveTo>
                <a:cubicBezTo>
                  <a:pt x="620" y="229"/>
                  <a:pt x="618" y="228"/>
                  <a:pt x="620" y="227"/>
                </a:cubicBezTo>
                <a:close/>
                <a:moveTo>
                  <a:pt x="623" y="246"/>
                </a:moveTo>
                <a:cubicBezTo>
                  <a:pt x="622" y="248"/>
                  <a:pt x="620" y="249"/>
                  <a:pt x="618" y="249"/>
                </a:cubicBezTo>
                <a:cubicBezTo>
                  <a:pt x="619" y="248"/>
                  <a:pt x="621" y="247"/>
                  <a:pt x="623" y="246"/>
                </a:cubicBezTo>
                <a:close/>
                <a:moveTo>
                  <a:pt x="619" y="255"/>
                </a:moveTo>
                <a:cubicBezTo>
                  <a:pt x="619" y="256"/>
                  <a:pt x="618" y="258"/>
                  <a:pt x="617" y="259"/>
                </a:cubicBezTo>
                <a:cubicBezTo>
                  <a:pt x="617" y="257"/>
                  <a:pt x="619" y="256"/>
                  <a:pt x="619" y="255"/>
                </a:cubicBezTo>
                <a:close/>
                <a:moveTo>
                  <a:pt x="615" y="229"/>
                </a:moveTo>
                <a:cubicBezTo>
                  <a:pt x="613" y="228"/>
                  <a:pt x="614" y="225"/>
                  <a:pt x="616" y="226"/>
                </a:cubicBezTo>
                <a:cubicBezTo>
                  <a:pt x="618" y="226"/>
                  <a:pt x="617" y="230"/>
                  <a:pt x="615" y="229"/>
                </a:cubicBezTo>
                <a:cubicBezTo>
                  <a:pt x="617" y="230"/>
                  <a:pt x="615" y="236"/>
                  <a:pt x="612" y="236"/>
                </a:cubicBezTo>
                <a:cubicBezTo>
                  <a:pt x="608" y="235"/>
                  <a:pt x="610" y="226"/>
                  <a:pt x="615" y="229"/>
                </a:cubicBezTo>
                <a:close/>
                <a:moveTo>
                  <a:pt x="609" y="276"/>
                </a:moveTo>
                <a:cubicBezTo>
                  <a:pt x="608" y="280"/>
                  <a:pt x="603" y="284"/>
                  <a:pt x="599" y="286"/>
                </a:cubicBezTo>
                <a:cubicBezTo>
                  <a:pt x="602" y="283"/>
                  <a:pt x="604" y="279"/>
                  <a:pt x="609" y="276"/>
                </a:cubicBezTo>
                <a:close/>
                <a:moveTo>
                  <a:pt x="608" y="229"/>
                </a:moveTo>
                <a:cubicBezTo>
                  <a:pt x="608" y="229"/>
                  <a:pt x="608" y="229"/>
                  <a:pt x="608" y="230"/>
                </a:cubicBezTo>
                <a:cubicBezTo>
                  <a:pt x="609" y="232"/>
                  <a:pt x="606" y="229"/>
                  <a:pt x="608" y="229"/>
                </a:cubicBezTo>
                <a:close/>
                <a:moveTo>
                  <a:pt x="607" y="228"/>
                </a:moveTo>
                <a:cubicBezTo>
                  <a:pt x="608" y="228"/>
                  <a:pt x="607" y="230"/>
                  <a:pt x="606" y="230"/>
                </a:cubicBezTo>
                <a:cubicBezTo>
                  <a:pt x="605" y="229"/>
                  <a:pt x="606" y="229"/>
                  <a:pt x="607" y="228"/>
                </a:cubicBezTo>
                <a:close/>
                <a:moveTo>
                  <a:pt x="606" y="253"/>
                </a:moveTo>
                <a:cubicBezTo>
                  <a:pt x="608" y="251"/>
                  <a:pt x="609" y="257"/>
                  <a:pt x="606" y="256"/>
                </a:cubicBezTo>
                <a:cubicBezTo>
                  <a:pt x="605" y="256"/>
                  <a:pt x="605" y="254"/>
                  <a:pt x="606" y="253"/>
                </a:cubicBezTo>
                <a:close/>
                <a:moveTo>
                  <a:pt x="602" y="228"/>
                </a:moveTo>
                <a:cubicBezTo>
                  <a:pt x="602" y="227"/>
                  <a:pt x="603" y="227"/>
                  <a:pt x="604" y="227"/>
                </a:cubicBezTo>
                <a:cubicBezTo>
                  <a:pt x="605" y="229"/>
                  <a:pt x="601" y="230"/>
                  <a:pt x="602" y="228"/>
                </a:cubicBezTo>
                <a:close/>
                <a:moveTo>
                  <a:pt x="602" y="225"/>
                </a:moveTo>
                <a:cubicBezTo>
                  <a:pt x="602" y="224"/>
                  <a:pt x="601" y="227"/>
                  <a:pt x="602" y="225"/>
                </a:cubicBezTo>
                <a:close/>
                <a:moveTo>
                  <a:pt x="598" y="235"/>
                </a:moveTo>
                <a:cubicBezTo>
                  <a:pt x="599" y="233"/>
                  <a:pt x="601" y="238"/>
                  <a:pt x="598" y="237"/>
                </a:cubicBezTo>
                <a:cubicBezTo>
                  <a:pt x="597" y="237"/>
                  <a:pt x="597" y="236"/>
                  <a:pt x="598" y="235"/>
                </a:cubicBezTo>
                <a:close/>
                <a:moveTo>
                  <a:pt x="600" y="263"/>
                </a:moveTo>
                <a:cubicBezTo>
                  <a:pt x="601" y="262"/>
                  <a:pt x="602" y="258"/>
                  <a:pt x="604" y="257"/>
                </a:cubicBezTo>
                <a:cubicBezTo>
                  <a:pt x="608" y="255"/>
                  <a:pt x="600" y="265"/>
                  <a:pt x="599" y="266"/>
                </a:cubicBezTo>
                <a:cubicBezTo>
                  <a:pt x="601" y="264"/>
                  <a:pt x="598" y="268"/>
                  <a:pt x="597" y="268"/>
                </a:cubicBezTo>
                <a:cubicBezTo>
                  <a:pt x="596" y="267"/>
                  <a:pt x="599" y="264"/>
                  <a:pt x="600" y="263"/>
                </a:cubicBezTo>
                <a:close/>
                <a:moveTo>
                  <a:pt x="594" y="230"/>
                </a:moveTo>
                <a:cubicBezTo>
                  <a:pt x="594" y="232"/>
                  <a:pt x="593" y="230"/>
                  <a:pt x="594" y="230"/>
                </a:cubicBezTo>
                <a:close/>
                <a:moveTo>
                  <a:pt x="593" y="249"/>
                </a:moveTo>
                <a:cubicBezTo>
                  <a:pt x="594" y="249"/>
                  <a:pt x="593" y="250"/>
                  <a:pt x="593" y="250"/>
                </a:cubicBezTo>
                <a:cubicBezTo>
                  <a:pt x="592" y="250"/>
                  <a:pt x="593" y="248"/>
                  <a:pt x="593" y="249"/>
                </a:cubicBezTo>
                <a:close/>
                <a:moveTo>
                  <a:pt x="595" y="252"/>
                </a:moveTo>
                <a:cubicBezTo>
                  <a:pt x="594" y="254"/>
                  <a:pt x="591" y="256"/>
                  <a:pt x="589" y="258"/>
                </a:cubicBezTo>
                <a:cubicBezTo>
                  <a:pt x="590" y="256"/>
                  <a:pt x="592" y="253"/>
                  <a:pt x="595" y="252"/>
                </a:cubicBezTo>
                <a:close/>
                <a:moveTo>
                  <a:pt x="590" y="221"/>
                </a:moveTo>
                <a:cubicBezTo>
                  <a:pt x="590" y="221"/>
                  <a:pt x="590" y="221"/>
                  <a:pt x="591" y="221"/>
                </a:cubicBezTo>
                <a:cubicBezTo>
                  <a:pt x="590" y="221"/>
                  <a:pt x="590" y="222"/>
                  <a:pt x="590" y="221"/>
                </a:cubicBezTo>
                <a:close/>
                <a:moveTo>
                  <a:pt x="591" y="238"/>
                </a:moveTo>
                <a:cubicBezTo>
                  <a:pt x="591" y="239"/>
                  <a:pt x="588" y="240"/>
                  <a:pt x="588" y="239"/>
                </a:cubicBezTo>
                <a:cubicBezTo>
                  <a:pt x="588" y="238"/>
                  <a:pt x="591" y="236"/>
                  <a:pt x="591" y="238"/>
                </a:cubicBezTo>
                <a:close/>
                <a:moveTo>
                  <a:pt x="588" y="289"/>
                </a:moveTo>
                <a:cubicBezTo>
                  <a:pt x="589" y="290"/>
                  <a:pt x="585" y="291"/>
                  <a:pt x="586" y="289"/>
                </a:cubicBezTo>
                <a:cubicBezTo>
                  <a:pt x="587" y="289"/>
                  <a:pt x="587" y="288"/>
                  <a:pt x="588" y="289"/>
                </a:cubicBezTo>
                <a:close/>
                <a:moveTo>
                  <a:pt x="587" y="214"/>
                </a:moveTo>
                <a:cubicBezTo>
                  <a:pt x="588" y="216"/>
                  <a:pt x="584" y="216"/>
                  <a:pt x="584" y="215"/>
                </a:cubicBezTo>
                <a:cubicBezTo>
                  <a:pt x="584" y="213"/>
                  <a:pt x="586" y="213"/>
                  <a:pt x="587" y="214"/>
                </a:cubicBezTo>
                <a:close/>
                <a:moveTo>
                  <a:pt x="583" y="217"/>
                </a:moveTo>
                <a:cubicBezTo>
                  <a:pt x="583" y="217"/>
                  <a:pt x="585" y="217"/>
                  <a:pt x="584" y="218"/>
                </a:cubicBezTo>
                <a:cubicBezTo>
                  <a:pt x="584" y="218"/>
                  <a:pt x="582" y="218"/>
                  <a:pt x="583" y="217"/>
                </a:cubicBezTo>
                <a:close/>
                <a:moveTo>
                  <a:pt x="586" y="259"/>
                </a:moveTo>
                <a:cubicBezTo>
                  <a:pt x="586" y="259"/>
                  <a:pt x="584" y="263"/>
                  <a:pt x="582" y="263"/>
                </a:cubicBezTo>
                <a:cubicBezTo>
                  <a:pt x="583" y="262"/>
                  <a:pt x="585" y="260"/>
                  <a:pt x="586" y="259"/>
                </a:cubicBezTo>
                <a:close/>
                <a:moveTo>
                  <a:pt x="583" y="250"/>
                </a:moveTo>
                <a:cubicBezTo>
                  <a:pt x="583" y="251"/>
                  <a:pt x="582" y="251"/>
                  <a:pt x="581" y="251"/>
                </a:cubicBezTo>
                <a:cubicBezTo>
                  <a:pt x="581" y="250"/>
                  <a:pt x="582" y="249"/>
                  <a:pt x="583" y="250"/>
                </a:cubicBezTo>
                <a:close/>
                <a:moveTo>
                  <a:pt x="580" y="258"/>
                </a:moveTo>
                <a:cubicBezTo>
                  <a:pt x="580" y="258"/>
                  <a:pt x="580" y="258"/>
                  <a:pt x="580" y="258"/>
                </a:cubicBezTo>
                <a:cubicBezTo>
                  <a:pt x="580" y="258"/>
                  <a:pt x="580" y="258"/>
                  <a:pt x="580" y="258"/>
                </a:cubicBezTo>
                <a:cubicBezTo>
                  <a:pt x="580" y="258"/>
                  <a:pt x="580" y="258"/>
                  <a:pt x="580" y="258"/>
                </a:cubicBezTo>
                <a:close/>
                <a:moveTo>
                  <a:pt x="582" y="276"/>
                </a:moveTo>
                <a:cubicBezTo>
                  <a:pt x="584" y="278"/>
                  <a:pt x="581" y="280"/>
                  <a:pt x="579" y="280"/>
                </a:cubicBezTo>
                <a:cubicBezTo>
                  <a:pt x="579" y="279"/>
                  <a:pt x="581" y="275"/>
                  <a:pt x="582" y="276"/>
                </a:cubicBezTo>
                <a:close/>
                <a:moveTo>
                  <a:pt x="579" y="294"/>
                </a:moveTo>
                <a:cubicBezTo>
                  <a:pt x="580" y="294"/>
                  <a:pt x="578" y="295"/>
                  <a:pt x="578" y="294"/>
                </a:cubicBezTo>
                <a:cubicBezTo>
                  <a:pt x="578" y="294"/>
                  <a:pt x="579" y="294"/>
                  <a:pt x="579" y="294"/>
                </a:cubicBezTo>
                <a:close/>
                <a:moveTo>
                  <a:pt x="575" y="180"/>
                </a:moveTo>
                <a:cubicBezTo>
                  <a:pt x="575" y="180"/>
                  <a:pt x="576" y="180"/>
                  <a:pt x="576" y="180"/>
                </a:cubicBezTo>
                <a:cubicBezTo>
                  <a:pt x="577" y="181"/>
                  <a:pt x="574" y="182"/>
                  <a:pt x="575" y="180"/>
                </a:cubicBezTo>
                <a:close/>
                <a:moveTo>
                  <a:pt x="576" y="192"/>
                </a:moveTo>
                <a:cubicBezTo>
                  <a:pt x="579" y="190"/>
                  <a:pt x="578" y="196"/>
                  <a:pt x="576" y="195"/>
                </a:cubicBezTo>
                <a:cubicBezTo>
                  <a:pt x="574" y="195"/>
                  <a:pt x="575" y="193"/>
                  <a:pt x="576" y="192"/>
                </a:cubicBezTo>
                <a:close/>
                <a:moveTo>
                  <a:pt x="571" y="222"/>
                </a:moveTo>
                <a:cubicBezTo>
                  <a:pt x="567" y="221"/>
                  <a:pt x="569" y="214"/>
                  <a:pt x="571" y="212"/>
                </a:cubicBezTo>
                <a:cubicBezTo>
                  <a:pt x="579" y="207"/>
                  <a:pt x="578" y="222"/>
                  <a:pt x="571" y="222"/>
                </a:cubicBezTo>
                <a:close/>
                <a:moveTo>
                  <a:pt x="571" y="188"/>
                </a:moveTo>
                <a:cubicBezTo>
                  <a:pt x="571" y="188"/>
                  <a:pt x="572" y="186"/>
                  <a:pt x="573" y="188"/>
                </a:cubicBezTo>
                <a:cubicBezTo>
                  <a:pt x="573" y="188"/>
                  <a:pt x="572" y="189"/>
                  <a:pt x="571" y="188"/>
                </a:cubicBezTo>
                <a:close/>
                <a:moveTo>
                  <a:pt x="569" y="186"/>
                </a:moveTo>
                <a:cubicBezTo>
                  <a:pt x="569" y="186"/>
                  <a:pt x="569" y="186"/>
                  <a:pt x="570" y="185"/>
                </a:cubicBezTo>
                <a:cubicBezTo>
                  <a:pt x="570" y="185"/>
                  <a:pt x="570" y="185"/>
                  <a:pt x="570" y="185"/>
                </a:cubicBezTo>
                <a:cubicBezTo>
                  <a:pt x="570" y="185"/>
                  <a:pt x="572" y="184"/>
                  <a:pt x="573" y="183"/>
                </a:cubicBezTo>
                <a:cubicBezTo>
                  <a:pt x="572" y="186"/>
                  <a:pt x="569" y="187"/>
                  <a:pt x="567" y="188"/>
                </a:cubicBezTo>
                <a:cubicBezTo>
                  <a:pt x="567" y="187"/>
                  <a:pt x="568" y="187"/>
                  <a:pt x="569" y="186"/>
                </a:cubicBezTo>
                <a:close/>
                <a:moveTo>
                  <a:pt x="565" y="188"/>
                </a:moveTo>
                <a:cubicBezTo>
                  <a:pt x="565" y="188"/>
                  <a:pt x="566" y="187"/>
                  <a:pt x="567" y="188"/>
                </a:cubicBezTo>
                <a:cubicBezTo>
                  <a:pt x="567" y="189"/>
                  <a:pt x="563" y="190"/>
                  <a:pt x="565" y="188"/>
                </a:cubicBezTo>
                <a:close/>
                <a:moveTo>
                  <a:pt x="562" y="209"/>
                </a:moveTo>
                <a:cubicBezTo>
                  <a:pt x="562" y="210"/>
                  <a:pt x="561" y="210"/>
                  <a:pt x="560" y="209"/>
                </a:cubicBezTo>
                <a:cubicBezTo>
                  <a:pt x="560" y="209"/>
                  <a:pt x="561" y="208"/>
                  <a:pt x="562" y="209"/>
                </a:cubicBezTo>
                <a:close/>
                <a:moveTo>
                  <a:pt x="558" y="198"/>
                </a:moveTo>
                <a:cubicBezTo>
                  <a:pt x="560" y="196"/>
                  <a:pt x="560" y="199"/>
                  <a:pt x="558" y="199"/>
                </a:cubicBezTo>
                <a:cubicBezTo>
                  <a:pt x="558" y="199"/>
                  <a:pt x="558" y="198"/>
                  <a:pt x="558" y="198"/>
                </a:cubicBezTo>
                <a:close/>
                <a:moveTo>
                  <a:pt x="558" y="215"/>
                </a:moveTo>
                <a:cubicBezTo>
                  <a:pt x="561" y="213"/>
                  <a:pt x="565" y="210"/>
                  <a:pt x="569" y="209"/>
                </a:cubicBezTo>
                <a:cubicBezTo>
                  <a:pt x="567" y="211"/>
                  <a:pt x="560" y="215"/>
                  <a:pt x="557" y="217"/>
                </a:cubicBezTo>
                <a:cubicBezTo>
                  <a:pt x="558" y="216"/>
                  <a:pt x="556" y="217"/>
                  <a:pt x="556" y="217"/>
                </a:cubicBezTo>
                <a:cubicBezTo>
                  <a:pt x="555" y="215"/>
                  <a:pt x="557" y="215"/>
                  <a:pt x="558" y="215"/>
                </a:cubicBezTo>
                <a:close/>
                <a:moveTo>
                  <a:pt x="559" y="250"/>
                </a:moveTo>
                <a:cubicBezTo>
                  <a:pt x="559" y="252"/>
                  <a:pt x="554" y="254"/>
                  <a:pt x="553" y="252"/>
                </a:cubicBezTo>
                <a:cubicBezTo>
                  <a:pt x="552" y="249"/>
                  <a:pt x="559" y="246"/>
                  <a:pt x="559" y="250"/>
                </a:cubicBezTo>
                <a:close/>
                <a:moveTo>
                  <a:pt x="551" y="188"/>
                </a:moveTo>
                <a:cubicBezTo>
                  <a:pt x="551" y="188"/>
                  <a:pt x="552" y="188"/>
                  <a:pt x="552" y="188"/>
                </a:cubicBezTo>
                <a:cubicBezTo>
                  <a:pt x="552" y="190"/>
                  <a:pt x="550" y="190"/>
                  <a:pt x="551" y="188"/>
                </a:cubicBezTo>
                <a:close/>
                <a:moveTo>
                  <a:pt x="552" y="253"/>
                </a:moveTo>
                <a:cubicBezTo>
                  <a:pt x="552" y="254"/>
                  <a:pt x="554" y="255"/>
                  <a:pt x="554" y="256"/>
                </a:cubicBezTo>
                <a:cubicBezTo>
                  <a:pt x="554" y="258"/>
                  <a:pt x="552" y="256"/>
                  <a:pt x="552" y="258"/>
                </a:cubicBezTo>
                <a:cubicBezTo>
                  <a:pt x="549" y="260"/>
                  <a:pt x="550" y="265"/>
                  <a:pt x="548" y="267"/>
                </a:cubicBezTo>
                <a:cubicBezTo>
                  <a:pt x="548" y="263"/>
                  <a:pt x="550" y="258"/>
                  <a:pt x="552" y="253"/>
                </a:cubicBezTo>
                <a:close/>
                <a:moveTo>
                  <a:pt x="549" y="270"/>
                </a:moveTo>
                <a:cubicBezTo>
                  <a:pt x="548" y="269"/>
                  <a:pt x="550" y="267"/>
                  <a:pt x="551" y="269"/>
                </a:cubicBezTo>
                <a:cubicBezTo>
                  <a:pt x="552" y="271"/>
                  <a:pt x="549" y="271"/>
                  <a:pt x="549" y="270"/>
                </a:cubicBezTo>
                <a:close/>
                <a:moveTo>
                  <a:pt x="549" y="310"/>
                </a:moveTo>
                <a:cubicBezTo>
                  <a:pt x="548" y="310"/>
                  <a:pt x="549" y="310"/>
                  <a:pt x="549" y="310"/>
                </a:cubicBezTo>
                <a:cubicBezTo>
                  <a:pt x="550" y="310"/>
                  <a:pt x="549" y="310"/>
                  <a:pt x="549" y="310"/>
                </a:cubicBezTo>
                <a:close/>
                <a:moveTo>
                  <a:pt x="550" y="302"/>
                </a:moveTo>
                <a:cubicBezTo>
                  <a:pt x="551" y="302"/>
                  <a:pt x="551" y="301"/>
                  <a:pt x="551" y="302"/>
                </a:cubicBezTo>
                <a:cubicBezTo>
                  <a:pt x="552" y="302"/>
                  <a:pt x="550" y="303"/>
                  <a:pt x="550" y="302"/>
                </a:cubicBezTo>
                <a:close/>
                <a:moveTo>
                  <a:pt x="558" y="345"/>
                </a:moveTo>
                <a:cubicBezTo>
                  <a:pt x="556" y="349"/>
                  <a:pt x="551" y="352"/>
                  <a:pt x="547" y="356"/>
                </a:cubicBezTo>
                <a:cubicBezTo>
                  <a:pt x="549" y="352"/>
                  <a:pt x="555" y="349"/>
                  <a:pt x="558" y="345"/>
                </a:cubicBezTo>
                <a:close/>
                <a:moveTo>
                  <a:pt x="546" y="192"/>
                </a:moveTo>
                <a:cubicBezTo>
                  <a:pt x="547" y="193"/>
                  <a:pt x="545" y="194"/>
                  <a:pt x="545" y="193"/>
                </a:cubicBezTo>
                <a:cubicBezTo>
                  <a:pt x="545" y="192"/>
                  <a:pt x="546" y="192"/>
                  <a:pt x="546" y="192"/>
                </a:cubicBezTo>
                <a:close/>
                <a:moveTo>
                  <a:pt x="545" y="198"/>
                </a:moveTo>
                <a:cubicBezTo>
                  <a:pt x="546" y="197"/>
                  <a:pt x="546" y="200"/>
                  <a:pt x="545" y="199"/>
                </a:cubicBezTo>
                <a:cubicBezTo>
                  <a:pt x="544" y="199"/>
                  <a:pt x="545" y="198"/>
                  <a:pt x="545" y="198"/>
                </a:cubicBezTo>
                <a:close/>
                <a:moveTo>
                  <a:pt x="544" y="232"/>
                </a:moveTo>
                <a:cubicBezTo>
                  <a:pt x="545" y="231"/>
                  <a:pt x="546" y="230"/>
                  <a:pt x="546" y="231"/>
                </a:cubicBezTo>
                <a:cubicBezTo>
                  <a:pt x="549" y="233"/>
                  <a:pt x="542" y="235"/>
                  <a:pt x="544" y="232"/>
                </a:cubicBezTo>
                <a:close/>
                <a:moveTo>
                  <a:pt x="547" y="281"/>
                </a:moveTo>
                <a:cubicBezTo>
                  <a:pt x="546" y="282"/>
                  <a:pt x="545" y="281"/>
                  <a:pt x="547" y="281"/>
                </a:cubicBezTo>
                <a:close/>
                <a:moveTo>
                  <a:pt x="547" y="355"/>
                </a:moveTo>
                <a:cubicBezTo>
                  <a:pt x="546" y="357"/>
                  <a:pt x="544" y="358"/>
                  <a:pt x="543" y="359"/>
                </a:cubicBezTo>
                <a:cubicBezTo>
                  <a:pt x="543" y="357"/>
                  <a:pt x="545" y="356"/>
                  <a:pt x="547" y="355"/>
                </a:cubicBezTo>
                <a:close/>
                <a:moveTo>
                  <a:pt x="542" y="323"/>
                </a:moveTo>
                <a:cubicBezTo>
                  <a:pt x="542" y="323"/>
                  <a:pt x="542" y="322"/>
                  <a:pt x="543" y="323"/>
                </a:cubicBezTo>
                <a:cubicBezTo>
                  <a:pt x="545" y="323"/>
                  <a:pt x="541" y="326"/>
                  <a:pt x="542" y="323"/>
                </a:cubicBezTo>
                <a:close/>
                <a:moveTo>
                  <a:pt x="542" y="261"/>
                </a:moveTo>
                <a:cubicBezTo>
                  <a:pt x="543" y="259"/>
                  <a:pt x="544" y="261"/>
                  <a:pt x="542" y="261"/>
                </a:cubicBezTo>
                <a:close/>
                <a:moveTo>
                  <a:pt x="541" y="250"/>
                </a:moveTo>
                <a:cubicBezTo>
                  <a:pt x="541" y="250"/>
                  <a:pt x="541" y="249"/>
                  <a:pt x="542" y="248"/>
                </a:cubicBezTo>
                <a:cubicBezTo>
                  <a:pt x="544" y="247"/>
                  <a:pt x="543" y="252"/>
                  <a:pt x="541" y="250"/>
                </a:cubicBezTo>
                <a:close/>
                <a:moveTo>
                  <a:pt x="543" y="227"/>
                </a:moveTo>
                <a:cubicBezTo>
                  <a:pt x="543" y="227"/>
                  <a:pt x="542" y="228"/>
                  <a:pt x="542" y="227"/>
                </a:cubicBezTo>
                <a:cubicBezTo>
                  <a:pt x="542" y="227"/>
                  <a:pt x="542" y="227"/>
                  <a:pt x="543" y="227"/>
                </a:cubicBezTo>
                <a:close/>
                <a:moveTo>
                  <a:pt x="541" y="192"/>
                </a:moveTo>
                <a:cubicBezTo>
                  <a:pt x="542" y="190"/>
                  <a:pt x="542" y="193"/>
                  <a:pt x="541" y="192"/>
                </a:cubicBezTo>
                <a:close/>
                <a:moveTo>
                  <a:pt x="542" y="240"/>
                </a:moveTo>
                <a:cubicBezTo>
                  <a:pt x="542" y="241"/>
                  <a:pt x="540" y="242"/>
                  <a:pt x="539" y="242"/>
                </a:cubicBezTo>
                <a:cubicBezTo>
                  <a:pt x="539" y="241"/>
                  <a:pt x="541" y="241"/>
                  <a:pt x="542" y="240"/>
                </a:cubicBezTo>
                <a:close/>
                <a:moveTo>
                  <a:pt x="537" y="195"/>
                </a:moveTo>
                <a:cubicBezTo>
                  <a:pt x="538" y="195"/>
                  <a:pt x="536" y="196"/>
                  <a:pt x="536" y="197"/>
                </a:cubicBezTo>
                <a:cubicBezTo>
                  <a:pt x="535" y="196"/>
                  <a:pt x="537" y="195"/>
                  <a:pt x="537" y="195"/>
                </a:cubicBezTo>
                <a:close/>
                <a:moveTo>
                  <a:pt x="539" y="194"/>
                </a:moveTo>
                <a:cubicBezTo>
                  <a:pt x="538" y="197"/>
                  <a:pt x="536" y="201"/>
                  <a:pt x="534" y="203"/>
                </a:cubicBezTo>
                <a:cubicBezTo>
                  <a:pt x="536" y="200"/>
                  <a:pt x="537" y="197"/>
                  <a:pt x="539" y="194"/>
                </a:cubicBezTo>
                <a:close/>
                <a:moveTo>
                  <a:pt x="534" y="200"/>
                </a:moveTo>
                <a:cubicBezTo>
                  <a:pt x="534" y="200"/>
                  <a:pt x="534" y="200"/>
                  <a:pt x="534" y="200"/>
                </a:cubicBezTo>
                <a:cubicBezTo>
                  <a:pt x="535" y="198"/>
                  <a:pt x="534" y="202"/>
                  <a:pt x="534" y="200"/>
                </a:cubicBezTo>
                <a:close/>
                <a:moveTo>
                  <a:pt x="537" y="244"/>
                </a:moveTo>
                <a:cubicBezTo>
                  <a:pt x="536" y="245"/>
                  <a:pt x="534" y="246"/>
                  <a:pt x="532" y="246"/>
                </a:cubicBezTo>
                <a:cubicBezTo>
                  <a:pt x="533" y="245"/>
                  <a:pt x="535" y="244"/>
                  <a:pt x="537" y="244"/>
                </a:cubicBezTo>
                <a:close/>
                <a:moveTo>
                  <a:pt x="534" y="205"/>
                </a:moveTo>
                <a:cubicBezTo>
                  <a:pt x="534" y="205"/>
                  <a:pt x="533" y="207"/>
                  <a:pt x="533" y="208"/>
                </a:cubicBezTo>
                <a:cubicBezTo>
                  <a:pt x="532" y="207"/>
                  <a:pt x="533" y="205"/>
                  <a:pt x="534" y="205"/>
                </a:cubicBezTo>
                <a:close/>
                <a:moveTo>
                  <a:pt x="533" y="224"/>
                </a:moveTo>
                <a:cubicBezTo>
                  <a:pt x="534" y="223"/>
                  <a:pt x="533" y="226"/>
                  <a:pt x="532" y="226"/>
                </a:cubicBezTo>
                <a:cubicBezTo>
                  <a:pt x="532" y="225"/>
                  <a:pt x="532" y="225"/>
                  <a:pt x="533" y="224"/>
                </a:cubicBezTo>
                <a:close/>
                <a:moveTo>
                  <a:pt x="531" y="209"/>
                </a:moveTo>
                <a:cubicBezTo>
                  <a:pt x="532" y="207"/>
                  <a:pt x="533" y="209"/>
                  <a:pt x="531" y="209"/>
                </a:cubicBezTo>
                <a:close/>
                <a:moveTo>
                  <a:pt x="529" y="302"/>
                </a:moveTo>
                <a:cubicBezTo>
                  <a:pt x="529" y="301"/>
                  <a:pt x="529" y="301"/>
                  <a:pt x="530" y="300"/>
                </a:cubicBezTo>
                <a:cubicBezTo>
                  <a:pt x="532" y="299"/>
                  <a:pt x="531" y="303"/>
                  <a:pt x="529" y="302"/>
                </a:cubicBezTo>
                <a:close/>
                <a:moveTo>
                  <a:pt x="530" y="248"/>
                </a:moveTo>
                <a:cubicBezTo>
                  <a:pt x="529" y="248"/>
                  <a:pt x="529" y="248"/>
                  <a:pt x="529" y="248"/>
                </a:cubicBezTo>
                <a:cubicBezTo>
                  <a:pt x="529" y="248"/>
                  <a:pt x="533" y="246"/>
                  <a:pt x="530" y="248"/>
                </a:cubicBezTo>
                <a:close/>
                <a:moveTo>
                  <a:pt x="527" y="222"/>
                </a:moveTo>
                <a:cubicBezTo>
                  <a:pt x="520" y="225"/>
                  <a:pt x="519" y="215"/>
                  <a:pt x="525" y="213"/>
                </a:cubicBezTo>
                <a:cubicBezTo>
                  <a:pt x="530" y="211"/>
                  <a:pt x="532" y="219"/>
                  <a:pt x="527" y="222"/>
                </a:cubicBezTo>
                <a:close/>
                <a:moveTo>
                  <a:pt x="526" y="189"/>
                </a:moveTo>
                <a:cubicBezTo>
                  <a:pt x="526" y="187"/>
                  <a:pt x="528" y="189"/>
                  <a:pt x="526" y="189"/>
                </a:cubicBezTo>
                <a:close/>
                <a:moveTo>
                  <a:pt x="526" y="180"/>
                </a:moveTo>
                <a:cubicBezTo>
                  <a:pt x="526" y="181"/>
                  <a:pt x="520" y="184"/>
                  <a:pt x="519" y="181"/>
                </a:cubicBezTo>
                <a:cubicBezTo>
                  <a:pt x="518" y="177"/>
                  <a:pt x="527" y="175"/>
                  <a:pt x="526" y="180"/>
                </a:cubicBezTo>
                <a:close/>
                <a:moveTo>
                  <a:pt x="523" y="190"/>
                </a:moveTo>
                <a:cubicBezTo>
                  <a:pt x="524" y="190"/>
                  <a:pt x="524" y="190"/>
                  <a:pt x="524" y="190"/>
                </a:cubicBezTo>
                <a:cubicBezTo>
                  <a:pt x="524" y="192"/>
                  <a:pt x="521" y="189"/>
                  <a:pt x="523" y="190"/>
                </a:cubicBezTo>
                <a:close/>
                <a:moveTo>
                  <a:pt x="520" y="185"/>
                </a:moveTo>
                <a:cubicBezTo>
                  <a:pt x="519" y="184"/>
                  <a:pt x="518" y="186"/>
                  <a:pt x="517" y="186"/>
                </a:cubicBezTo>
                <a:cubicBezTo>
                  <a:pt x="517" y="185"/>
                  <a:pt x="520" y="184"/>
                  <a:pt x="520" y="185"/>
                </a:cubicBezTo>
                <a:close/>
                <a:moveTo>
                  <a:pt x="523" y="197"/>
                </a:moveTo>
                <a:cubicBezTo>
                  <a:pt x="526" y="200"/>
                  <a:pt x="524" y="205"/>
                  <a:pt x="522" y="207"/>
                </a:cubicBezTo>
                <a:cubicBezTo>
                  <a:pt x="520" y="208"/>
                  <a:pt x="517" y="208"/>
                  <a:pt x="515" y="208"/>
                </a:cubicBezTo>
                <a:cubicBezTo>
                  <a:pt x="512" y="209"/>
                  <a:pt x="514" y="209"/>
                  <a:pt x="512" y="207"/>
                </a:cubicBezTo>
                <a:cubicBezTo>
                  <a:pt x="509" y="204"/>
                  <a:pt x="509" y="200"/>
                  <a:pt x="513" y="200"/>
                </a:cubicBezTo>
                <a:cubicBezTo>
                  <a:pt x="512" y="206"/>
                  <a:pt x="514" y="198"/>
                  <a:pt x="515" y="197"/>
                </a:cubicBezTo>
                <a:cubicBezTo>
                  <a:pt x="516" y="197"/>
                  <a:pt x="521" y="196"/>
                  <a:pt x="523" y="197"/>
                </a:cubicBezTo>
                <a:close/>
                <a:moveTo>
                  <a:pt x="511" y="195"/>
                </a:moveTo>
                <a:cubicBezTo>
                  <a:pt x="512" y="196"/>
                  <a:pt x="509" y="196"/>
                  <a:pt x="509" y="195"/>
                </a:cubicBezTo>
                <a:cubicBezTo>
                  <a:pt x="510" y="194"/>
                  <a:pt x="511" y="194"/>
                  <a:pt x="511" y="195"/>
                </a:cubicBezTo>
                <a:close/>
                <a:moveTo>
                  <a:pt x="516" y="196"/>
                </a:moveTo>
                <a:cubicBezTo>
                  <a:pt x="515" y="196"/>
                  <a:pt x="509" y="201"/>
                  <a:pt x="508" y="199"/>
                </a:cubicBezTo>
                <a:cubicBezTo>
                  <a:pt x="508" y="198"/>
                  <a:pt x="514" y="195"/>
                  <a:pt x="516" y="196"/>
                </a:cubicBezTo>
                <a:close/>
                <a:moveTo>
                  <a:pt x="509" y="183"/>
                </a:moveTo>
                <a:cubicBezTo>
                  <a:pt x="510" y="184"/>
                  <a:pt x="507" y="185"/>
                  <a:pt x="507" y="184"/>
                </a:cubicBezTo>
                <a:cubicBezTo>
                  <a:pt x="506" y="183"/>
                  <a:pt x="509" y="183"/>
                  <a:pt x="509" y="183"/>
                </a:cubicBezTo>
                <a:close/>
                <a:moveTo>
                  <a:pt x="506" y="199"/>
                </a:moveTo>
                <a:cubicBezTo>
                  <a:pt x="509" y="197"/>
                  <a:pt x="509" y="203"/>
                  <a:pt x="506" y="202"/>
                </a:cubicBezTo>
                <a:cubicBezTo>
                  <a:pt x="505" y="201"/>
                  <a:pt x="506" y="199"/>
                  <a:pt x="506" y="199"/>
                </a:cubicBezTo>
                <a:close/>
                <a:moveTo>
                  <a:pt x="506" y="261"/>
                </a:moveTo>
                <a:cubicBezTo>
                  <a:pt x="508" y="260"/>
                  <a:pt x="505" y="263"/>
                  <a:pt x="506" y="262"/>
                </a:cubicBezTo>
                <a:cubicBezTo>
                  <a:pt x="506" y="261"/>
                  <a:pt x="506" y="261"/>
                  <a:pt x="506" y="261"/>
                </a:cubicBezTo>
                <a:close/>
                <a:moveTo>
                  <a:pt x="508" y="279"/>
                </a:moveTo>
                <a:cubicBezTo>
                  <a:pt x="508" y="281"/>
                  <a:pt x="504" y="283"/>
                  <a:pt x="503" y="281"/>
                </a:cubicBezTo>
                <a:cubicBezTo>
                  <a:pt x="502" y="280"/>
                  <a:pt x="507" y="277"/>
                  <a:pt x="508" y="279"/>
                </a:cubicBezTo>
                <a:close/>
                <a:moveTo>
                  <a:pt x="502" y="609"/>
                </a:moveTo>
                <a:cubicBezTo>
                  <a:pt x="502" y="607"/>
                  <a:pt x="504" y="608"/>
                  <a:pt x="502" y="609"/>
                </a:cubicBezTo>
                <a:close/>
                <a:moveTo>
                  <a:pt x="503" y="283"/>
                </a:moveTo>
                <a:cubicBezTo>
                  <a:pt x="503" y="282"/>
                  <a:pt x="502" y="284"/>
                  <a:pt x="503" y="283"/>
                </a:cubicBezTo>
                <a:close/>
                <a:moveTo>
                  <a:pt x="502" y="173"/>
                </a:moveTo>
                <a:cubicBezTo>
                  <a:pt x="503" y="174"/>
                  <a:pt x="502" y="175"/>
                  <a:pt x="501" y="174"/>
                </a:cubicBezTo>
                <a:cubicBezTo>
                  <a:pt x="501" y="174"/>
                  <a:pt x="502" y="174"/>
                  <a:pt x="502" y="173"/>
                </a:cubicBezTo>
                <a:close/>
                <a:moveTo>
                  <a:pt x="501" y="129"/>
                </a:moveTo>
                <a:cubicBezTo>
                  <a:pt x="501" y="129"/>
                  <a:pt x="501" y="129"/>
                  <a:pt x="501" y="129"/>
                </a:cubicBezTo>
                <a:cubicBezTo>
                  <a:pt x="502" y="131"/>
                  <a:pt x="499" y="127"/>
                  <a:pt x="501" y="129"/>
                </a:cubicBezTo>
                <a:close/>
                <a:moveTo>
                  <a:pt x="503" y="177"/>
                </a:moveTo>
                <a:cubicBezTo>
                  <a:pt x="503" y="178"/>
                  <a:pt x="500" y="178"/>
                  <a:pt x="500" y="177"/>
                </a:cubicBezTo>
                <a:cubicBezTo>
                  <a:pt x="500" y="176"/>
                  <a:pt x="503" y="175"/>
                  <a:pt x="503" y="177"/>
                </a:cubicBezTo>
                <a:close/>
                <a:moveTo>
                  <a:pt x="501" y="214"/>
                </a:moveTo>
                <a:cubicBezTo>
                  <a:pt x="502" y="214"/>
                  <a:pt x="500" y="216"/>
                  <a:pt x="500" y="216"/>
                </a:cubicBezTo>
                <a:cubicBezTo>
                  <a:pt x="499" y="215"/>
                  <a:pt x="500" y="213"/>
                  <a:pt x="501" y="214"/>
                </a:cubicBezTo>
                <a:close/>
                <a:moveTo>
                  <a:pt x="499" y="175"/>
                </a:moveTo>
                <a:cubicBezTo>
                  <a:pt x="499" y="175"/>
                  <a:pt x="499" y="175"/>
                  <a:pt x="498" y="175"/>
                </a:cubicBezTo>
                <a:cubicBezTo>
                  <a:pt x="498" y="175"/>
                  <a:pt x="498" y="175"/>
                  <a:pt x="498" y="175"/>
                </a:cubicBezTo>
                <a:cubicBezTo>
                  <a:pt x="498" y="175"/>
                  <a:pt x="499" y="175"/>
                  <a:pt x="499" y="175"/>
                </a:cubicBezTo>
                <a:close/>
                <a:moveTo>
                  <a:pt x="499" y="241"/>
                </a:moveTo>
                <a:cubicBezTo>
                  <a:pt x="500" y="241"/>
                  <a:pt x="498" y="242"/>
                  <a:pt x="498" y="241"/>
                </a:cubicBezTo>
                <a:cubicBezTo>
                  <a:pt x="498" y="240"/>
                  <a:pt x="499" y="241"/>
                  <a:pt x="499" y="241"/>
                </a:cubicBezTo>
                <a:close/>
                <a:moveTo>
                  <a:pt x="498" y="123"/>
                </a:moveTo>
                <a:cubicBezTo>
                  <a:pt x="499" y="123"/>
                  <a:pt x="497" y="125"/>
                  <a:pt x="497" y="124"/>
                </a:cubicBezTo>
                <a:cubicBezTo>
                  <a:pt x="497" y="124"/>
                  <a:pt x="498" y="123"/>
                  <a:pt x="498" y="123"/>
                </a:cubicBezTo>
                <a:close/>
                <a:moveTo>
                  <a:pt x="498" y="150"/>
                </a:moveTo>
                <a:cubicBezTo>
                  <a:pt x="498" y="151"/>
                  <a:pt x="497" y="152"/>
                  <a:pt x="496" y="151"/>
                </a:cubicBezTo>
                <a:cubicBezTo>
                  <a:pt x="496" y="150"/>
                  <a:pt x="498" y="150"/>
                  <a:pt x="498" y="150"/>
                </a:cubicBezTo>
                <a:close/>
                <a:moveTo>
                  <a:pt x="498" y="170"/>
                </a:moveTo>
                <a:cubicBezTo>
                  <a:pt x="498" y="172"/>
                  <a:pt x="494" y="171"/>
                  <a:pt x="494" y="170"/>
                </a:cubicBezTo>
                <a:cubicBezTo>
                  <a:pt x="494" y="168"/>
                  <a:pt x="497" y="168"/>
                  <a:pt x="498" y="170"/>
                </a:cubicBezTo>
                <a:close/>
                <a:moveTo>
                  <a:pt x="494" y="124"/>
                </a:moveTo>
                <a:cubicBezTo>
                  <a:pt x="494" y="124"/>
                  <a:pt x="493" y="125"/>
                  <a:pt x="492" y="125"/>
                </a:cubicBezTo>
                <a:cubicBezTo>
                  <a:pt x="492" y="124"/>
                  <a:pt x="493" y="124"/>
                  <a:pt x="494" y="124"/>
                </a:cubicBezTo>
                <a:close/>
                <a:moveTo>
                  <a:pt x="493" y="162"/>
                </a:moveTo>
                <a:cubicBezTo>
                  <a:pt x="494" y="163"/>
                  <a:pt x="493" y="164"/>
                  <a:pt x="492" y="163"/>
                </a:cubicBezTo>
                <a:cubicBezTo>
                  <a:pt x="492" y="163"/>
                  <a:pt x="493" y="162"/>
                  <a:pt x="493" y="162"/>
                </a:cubicBezTo>
                <a:close/>
                <a:moveTo>
                  <a:pt x="493" y="158"/>
                </a:moveTo>
                <a:cubicBezTo>
                  <a:pt x="494" y="160"/>
                  <a:pt x="493" y="157"/>
                  <a:pt x="493" y="158"/>
                </a:cubicBezTo>
                <a:close/>
                <a:moveTo>
                  <a:pt x="493" y="168"/>
                </a:moveTo>
                <a:cubicBezTo>
                  <a:pt x="493" y="170"/>
                  <a:pt x="491" y="169"/>
                  <a:pt x="493" y="168"/>
                </a:cubicBezTo>
                <a:close/>
                <a:moveTo>
                  <a:pt x="491" y="160"/>
                </a:moveTo>
                <a:cubicBezTo>
                  <a:pt x="492" y="161"/>
                  <a:pt x="490" y="162"/>
                  <a:pt x="490" y="161"/>
                </a:cubicBezTo>
                <a:cubicBezTo>
                  <a:pt x="491" y="160"/>
                  <a:pt x="491" y="160"/>
                  <a:pt x="491" y="160"/>
                </a:cubicBezTo>
                <a:close/>
                <a:moveTo>
                  <a:pt x="491" y="132"/>
                </a:moveTo>
                <a:cubicBezTo>
                  <a:pt x="492" y="134"/>
                  <a:pt x="488" y="133"/>
                  <a:pt x="488" y="132"/>
                </a:cubicBezTo>
                <a:cubicBezTo>
                  <a:pt x="488" y="131"/>
                  <a:pt x="491" y="131"/>
                  <a:pt x="491" y="132"/>
                </a:cubicBezTo>
                <a:close/>
                <a:moveTo>
                  <a:pt x="486" y="205"/>
                </a:moveTo>
                <a:cubicBezTo>
                  <a:pt x="487" y="204"/>
                  <a:pt x="488" y="204"/>
                  <a:pt x="488" y="205"/>
                </a:cubicBezTo>
                <a:cubicBezTo>
                  <a:pt x="488" y="205"/>
                  <a:pt x="489" y="205"/>
                  <a:pt x="490" y="205"/>
                </a:cubicBezTo>
                <a:cubicBezTo>
                  <a:pt x="491" y="204"/>
                  <a:pt x="496" y="198"/>
                  <a:pt x="497" y="199"/>
                </a:cubicBezTo>
                <a:cubicBezTo>
                  <a:pt x="499" y="201"/>
                  <a:pt x="490" y="206"/>
                  <a:pt x="489" y="206"/>
                </a:cubicBezTo>
                <a:cubicBezTo>
                  <a:pt x="488" y="207"/>
                  <a:pt x="487" y="208"/>
                  <a:pt x="486" y="207"/>
                </a:cubicBezTo>
                <a:cubicBezTo>
                  <a:pt x="486" y="207"/>
                  <a:pt x="486" y="207"/>
                  <a:pt x="486" y="207"/>
                </a:cubicBezTo>
                <a:cubicBezTo>
                  <a:pt x="486" y="207"/>
                  <a:pt x="486" y="207"/>
                  <a:pt x="486" y="207"/>
                </a:cubicBezTo>
                <a:cubicBezTo>
                  <a:pt x="485" y="206"/>
                  <a:pt x="486" y="205"/>
                  <a:pt x="486" y="205"/>
                </a:cubicBezTo>
                <a:close/>
                <a:moveTo>
                  <a:pt x="486" y="209"/>
                </a:moveTo>
                <a:cubicBezTo>
                  <a:pt x="487" y="210"/>
                  <a:pt x="485" y="210"/>
                  <a:pt x="485" y="210"/>
                </a:cubicBezTo>
                <a:cubicBezTo>
                  <a:pt x="485" y="209"/>
                  <a:pt x="486" y="209"/>
                  <a:pt x="486" y="209"/>
                </a:cubicBezTo>
                <a:close/>
                <a:moveTo>
                  <a:pt x="486" y="141"/>
                </a:moveTo>
                <a:cubicBezTo>
                  <a:pt x="486" y="142"/>
                  <a:pt x="483" y="142"/>
                  <a:pt x="483" y="141"/>
                </a:cubicBezTo>
                <a:cubicBezTo>
                  <a:pt x="483" y="141"/>
                  <a:pt x="485" y="140"/>
                  <a:pt x="486" y="141"/>
                </a:cubicBezTo>
                <a:close/>
                <a:moveTo>
                  <a:pt x="484" y="149"/>
                </a:moveTo>
                <a:cubicBezTo>
                  <a:pt x="485" y="149"/>
                  <a:pt x="483" y="151"/>
                  <a:pt x="483" y="149"/>
                </a:cubicBezTo>
                <a:cubicBezTo>
                  <a:pt x="483" y="149"/>
                  <a:pt x="483" y="149"/>
                  <a:pt x="484" y="149"/>
                </a:cubicBezTo>
                <a:close/>
                <a:moveTo>
                  <a:pt x="496" y="76"/>
                </a:moveTo>
                <a:cubicBezTo>
                  <a:pt x="496" y="76"/>
                  <a:pt x="496" y="76"/>
                  <a:pt x="496" y="76"/>
                </a:cubicBezTo>
                <a:cubicBezTo>
                  <a:pt x="496" y="77"/>
                  <a:pt x="496" y="77"/>
                  <a:pt x="496" y="76"/>
                </a:cubicBezTo>
                <a:close/>
                <a:moveTo>
                  <a:pt x="496" y="76"/>
                </a:moveTo>
                <a:cubicBezTo>
                  <a:pt x="495" y="76"/>
                  <a:pt x="495" y="76"/>
                  <a:pt x="496" y="76"/>
                </a:cubicBezTo>
                <a:close/>
                <a:moveTo>
                  <a:pt x="496" y="79"/>
                </a:moveTo>
                <a:cubicBezTo>
                  <a:pt x="496" y="79"/>
                  <a:pt x="495" y="79"/>
                  <a:pt x="494" y="79"/>
                </a:cubicBezTo>
                <a:cubicBezTo>
                  <a:pt x="494" y="79"/>
                  <a:pt x="495" y="78"/>
                  <a:pt x="496" y="79"/>
                </a:cubicBezTo>
                <a:close/>
                <a:moveTo>
                  <a:pt x="493" y="77"/>
                </a:moveTo>
                <a:cubicBezTo>
                  <a:pt x="493" y="78"/>
                  <a:pt x="492" y="78"/>
                  <a:pt x="492" y="78"/>
                </a:cubicBezTo>
                <a:cubicBezTo>
                  <a:pt x="492" y="78"/>
                  <a:pt x="491" y="76"/>
                  <a:pt x="491" y="76"/>
                </a:cubicBezTo>
                <a:cubicBezTo>
                  <a:pt x="491" y="75"/>
                  <a:pt x="493" y="75"/>
                  <a:pt x="493" y="77"/>
                </a:cubicBezTo>
                <a:close/>
                <a:moveTo>
                  <a:pt x="486" y="82"/>
                </a:moveTo>
                <a:cubicBezTo>
                  <a:pt x="487" y="83"/>
                  <a:pt x="485" y="83"/>
                  <a:pt x="485" y="82"/>
                </a:cubicBezTo>
                <a:cubicBezTo>
                  <a:pt x="485" y="82"/>
                  <a:pt x="486" y="82"/>
                  <a:pt x="486" y="82"/>
                </a:cubicBezTo>
                <a:close/>
                <a:moveTo>
                  <a:pt x="486" y="85"/>
                </a:moveTo>
                <a:cubicBezTo>
                  <a:pt x="485" y="85"/>
                  <a:pt x="484" y="86"/>
                  <a:pt x="484" y="85"/>
                </a:cubicBezTo>
                <a:cubicBezTo>
                  <a:pt x="485" y="85"/>
                  <a:pt x="488" y="81"/>
                  <a:pt x="491" y="81"/>
                </a:cubicBezTo>
                <a:cubicBezTo>
                  <a:pt x="492" y="81"/>
                  <a:pt x="495" y="82"/>
                  <a:pt x="495" y="85"/>
                </a:cubicBezTo>
                <a:cubicBezTo>
                  <a:pt x="494" y="87"/>
                  <a:pt x="490" y="89"/>
                  <a:pt x="488" y="89"/>
                </a:cubicBezTo>
                <a:cubicBezTo>
                  <a:pt x="487" y="89"/>
                  <a:pt x="486" y="88"/>
                  <a:pt x="485" y="88"/>
                </a:cubicBezTo>
                <a:cubicBezTo>
                  <a:pt x="485" y="88"/>
                  <a:pt x="484" y="89"/>
                  <a:pt x="484" y="88"/>
                </a:cubicBezTo>
                <a:cubicBezTo>
                  <a:pt x="484" y="87"/>
                  <a:pt x="486" y="86"/>
                  <a:pt x="486" y="85"/>
                </a:cubicBezTo>
                <a:close/>
                <a:moveTo>
                  <a:pt x="480" y="84"/>
                </a:moveTo>
                <a:cubicBezTo>
                  <a:pt x="481" y="85"/>
                  <a:pt x="479" y="83"/>
                  <a:pt x="480" y="84"/>
                </a:cubicBezTo>
                <a:close/>
                <a:moveTo>
                  <a:pt x="481" y="85"/>
                </a:moveTo>
                <a:cubicBezTo>
                  <a:pt x="481" y="85"/>
                  <a:pt x="481" y="85"/>
                  <a:pt x="481" y="85"/>
                </a:cubicBezTo>
                <a:cubicBezTo>
                  <a:pt x="481" y="85"/>
                  <a:pt x="480" y="85"/>
                  <a:pt x="480" y="85"/>
                </a:cubicBezTo>
                <a:cubicBezTo>
                  <a:pt x="481" y="85"/>
                  <a:pt x="481" y="85"/>
                  <a:pt x="481" y="85"/>
                </a:cubicBezTo>
                <a:close/>
                <a:moveTo>
                  <a:pt x="480" y="100"/>
                </a:moveTo>
                <a:cubicBezTo>
                  <a:pt x="479" y="100"/>
                  <a:pt x="481" y="99"/>
                  <a:pt x="482" y="99"/>
                </a:cubicBezTo>
                <a:cubicBezTo>
                  <a:pt x="482" y="100"/>
                  <a:pt x="480" y="100"/>
                  <a:pt x="480" y="100"/>
                </a:cubicBezTo>
                <a:close/>
                <a:moveTo>
                  <a:pt x="481" y="72"/>
                </a:moveTo>
                <a:cubicBezTo>
                  <a:pt x="484" y="71"/>
                  <a:pt x="482" y="77"/>
                  <a:pt x="479" y="75"/>
                </a:cubicBezTo>
                <a:cubicBezTo>
                  <a:pt x="478" y="74"/>
                  <a:pt x="480" y="73"/>
                  <a:pt x="481" y="72"/>
                </a:cubicBezTo>
                <a:close/>
                <a:moveTo>
                  <a:pt x="492" y="60"/>
                </a:moveTo>
                <a:cubicBezTo>
                  <a:pt x="491" y="62"/>
                  <a:pt x="490" y="60"/>
                  <a:pt x="492" y="60"/>
                </a:cubicBezTo>
                <a:close/>
                <a:moveTo>
                  <a:pt x="487" y="59"/>
                </a:moveTo>
                <a:cubicBezTo>
                  <a:pt x="486" y="60"/>
                  <a:pt x="485" y="60"/>
                  <a:pt x="483" y="60"/>
                </a:cubicBezTo>
                <a:cubicBezTo>
                  <a:pt x="485" y="60"/>
                  <a:pt x="485" y="58"/>
                  <a:pt x="487" y="59"/>
                </a:cubicBezTo>
                <a:close/>
                <a:moveTo>
                  <a:pt x="479" y="61"/>
                </a:moveTo>
                <a:cubicBezTo>
                  <a:pt x="480" y="61"/>
                  <a:pt x="478" y="62"/>
                  <a:pt x="477" y="61"/>
                </a:cubicBezTo>
                <a:cubicBezTo>
                  <a:pt x="477" y="61"/>
                  <a:pt x="479" y="61"/>
                  <a:pt x="479" y="61"/>
                </a:cubicBezTo>
                <a:close/>
                <a:moveTo>
                  <a:pt x="477" y="61"/>
                </a:moveTo>
                <a:cubicBezTo>
                  <a:pt x="477" y="62"/>
                  <a:pt x="475" y="61"/>
                  <a:pt x="475" y="61"/>
                </a:cubicBezTo>
                <a:cubicBezTo>
                  <a:pt x="475" y="61"/>
                  <a:pt x="476" y="60"/>
                  <a:pt x="477" y="61"/>
                </a:cubicBezTo>
                <a:close/>
                <a:moveTo>
                  <a:pt x="465" y="20"/>
                </a:moveTo>
                <a:cubicBezTo>
                  <a:pt x="465" y="20"/>
                  <a:pt x="464" y="21"/>
                  <a:pt x="463" y="20"/>
                </a:cubicBezTo>
                <a:cubicBezTo>
                  <a:pt x="463" y="20"/>
                  <a:pt x="464" y="19"/>
                  <a:pt x="465" y="20"/>
                </a:cubicBezTo>
                <a:close/>
                <a:moveTo>
                  <a:pt x="465" y="23"/>
                </a:moveTo>
                <a:cubicBezTo>
                  <a:pt x="465" y="24"/>
                  <a:pt x="463" y="23"/>
                  <a:pt x="463" y="23"/>
                </a:cubicBezTo>
                <a:cubicBezTo>
                  <a:pt x="463" y="22"/>
                  <a:pt x="464" y="21"/>
                  <a:pt x="465" y="23"/>
                </a:cubicBezTo>
                <a:close/>
                <a:moveTo>
                  <a:pt x="399" y="26"/>
                </a:moveTo>
                <a:cubicBezTo>
                  <a:pt x="399" y="26"/>
                  <a:pt x="399" y="26"/>
                  <a:pt x="399" y="27"/>
                </a:cubicBezTo>
                <a:cubicBezTo>
                  <a:pt x="399" y="27"/>
                  <a:pt x="399" y="27"/>
                  <a:pt x="399" y="27"/>
                </a:cubicBezTo>
                <a:cubicBezTo>
                  <a:pt x="399" y="27"/>
                  <a:pt x="399" y="26"/>
                  <a:pt x="399" y="26"/>
                </a:cubicBezTo>
                <a:close/>
                <a:moveTo>
                  <a:pt x="257" y="435"/>
                </a:moveTo>
                <a:cubicBezTo>
                  <a:pt x="258" y="436"/>
                  <a:pt x="257" y="438"/>
                  <a:pt x="257" y="438"/>
                </a:cubicBezTo>
                <a:cubicBezTo>
                  <a:pt x="255" y="439"/>
                  <a:pt x="255" y="434"/>
                  <a:pt x="257" y="435"/>
                </a:cubicBezTo>
                <a:close/>
                <a:moveTo>
                  <a:pt x="258" y="487"/>
                </a:moveTo>
                <a:cubicBezTo>
                  <a:pt x="256" y="488"/>
                  <a:pt x="257" y="484"/>
                  <a:pt x="258" y="485"/>
                </a:cubicBezTo>
                <a:cubicBezTo>
                  <a:pt x="259" y="485"/>
                  <a:pt x="258" y="486"/>
                  <a:pt x="258" y="487"/>
                </a:cubicBezTo>
                <a:close/>
                <a:moveTo>
                  <a:pt x="256" y="404"/>
                </a:moveTo>
                <a:cubicBezTo>
                  <a:pt x="256" y="404"/>
                  <a:pt x="256" y="398"/>
                  <a:pt x="259" y="399"/>
                </a:cubicBezTo>
                <a:cubicBezTo>
                  <a:pt x="260" y="399"/>
                  <a:pt x="259" y="405"/>
                  <a:pt x="256" y="404"/>
                </a:cubicBezTo>
                <a:close/>
                <a:moveTo>
                  <a:pt x="259" y="383"/>
                </a:moveTo>
                <a:cubicBezTo>
                  <a:pt x="258" y="384"/>
                  <a:pt x="260" y="381"/>
                  <a:pt x="259" y="383"/>
                </a:cubicBezTo>
                <a:close/>
                <a:moveTo>
                  <a:pt x="261" y="493"/>
                </a:moveTo>
                <a:cubicBezTo>
                  <a:pt x="262" y="491"/>
                  <a:pt x="264" y="489"/>
                  <a:pt x="266" y="488"/>
                </a:cubicBezTo>
                <a:cubicBezTo>
                  <a:pt x="265" y="490"/>
                  <a:pt x="263" y="491"/>
                  <a:pt x="261" y="493"/>
                </a:cubicBezTo>
                <a:close/>
                <a:moveTo>
                  <a:pt x="266" y="444"/>
                </a:moveTo>
                <a:cubicBezTo>
                  <a:pt x="265" y="443"/>
                  <a:pt x="267" y="443"/>
                  <a:pt x="266" y="444"/>
                </a:cubicBezTo>
                <a:close/>
                <a:moveTo>
                  <a:pt x="267" y="501"/>
                </a:moveTo>
                <a:cubicBezTo>
                  <a:pt x="267" y="502"/>
                  <a:pt x="269" y="500"/>
                  <a:pt x="267" y="501"/>
                </a:cubicBezTo>
                <a:close/>
                <a:moveTo>
                  <a:pt x="268" y="477"/>
                </a:moveTo>
                <a:cubicBezTo>
                  <a:pt x="267" y="476"/>
                  <a:pt x="270" y="476"/>
                  <a:pt x="268" y="477"/>
                </a:cubicBezTo>
                <a:close/>
                <a:moveTo>
                  <a:pt x="269" y="453"/>
                </a:moveTo>
                <a:cubicBezTo>
                  <a:pt x="269" y="454"/>
                  <a:pt x="269" y="454"/>
                  <a:pt x="269" y="454"/>
                </a:cubicBezTo>
                <a:cubicBezTo>
                  <a:pt x="269" y="454"/>
                  <a:pt x="269" y="453"/>
                  <a:pt x="269" y="453"/>
                </a:cubicBezTo>
                <a:cubicBezTo>
                  <a:pt x="269" y="453"/>
                  <a:pt x="269" y="453"/>
                  <a:pt x="269" y="453"/>
                </a:cubicBezTo>
                <a:close/>
                <a:moveTo>
                  <a:pt x="282" y="413"/>
                </a:moveTo>
                <a:cubicBezTo>
                  <a:pt x="281" y="414"/>
                  <a:pt x="282" y="410"/>
                  <a:pt x="283" y="411"/>
                </a:cubicBezTo>
                <a:cubicBezTo>
                  <a:pt x="284" y="412"/>
                  <a:pt x="283" y="413"/>
                  <a:pt x="282" y="413"/>
                </a:cubicBezTo>
                <a:close/>
                <a:moveTo>
                  <a:pt x="287" y="477"/>
                </a:moveTo>
                <a:cubicBezTo>
                  <a:pt x="289" y="477"/>
                  <a:pt x="288" y="482"/>
                  <a:pt x="287" y="483"/>
                </a:cubicBezTo>
                <a:cubicBezTo>
                  <a:pt x="282" y="485"/>
                  <a:pt x="287" y="477"/>
                  <a:pt x="287" y="477"/>
                </a:cubicBezTo>
                <a:close/>
                <a:moveTo>
                  <a:pt x="288" y="462"/>
                </a:moveTo>
                <a:cubicBezTo>
                  <a:pt x="288" y="462"/>
                  <a:pt x="287" y="462"/>
                  <a:pt x="287" y="462"/>
                </a:cubicBezTo>
                <a:cubicBezTo>
                  <a:pt x="285" y="460"/>
                  <a:pt x="290" y="460"/>
                  <a:pt x="288" y="462"/>
                </a:cubicBezTo>
                <a:close/>
                <a:moveTo>
                  <a:pt x="285" y="506"/>
                </a:moveTo>
                <a:cubicBezTo>
                  <a:pt x="286" y="505"/>
                  <a:pt x="284" y="507"/>
                  <a:pt x="285" y="506"/>
                </a:cubicBezTo>
                <a:close/>
                <a:moveTo>
                  <a:pt x="287" y="507"/>
                </a:moveTo>
                <a:cubicBezTo>
                  <a:pt x="287" y="507"/>
                  <a:pt x="286" y="507"/>
                  <a:pt x="286" y="507"/>
                </a:cubicBezTo>
                <a:cubicBezTo>
                  <a:pt x="284" y="505"/>
                  <a:pt x="289" y="504"/>
                  <a:pt x="287" y="507"/>
                </a:cubicBezTo>
                <a:close/>
                <a:moveTo>
                  <a:pt x="285" y="500"/>
                </a:moveTo>
                <a:cubicBezTo>
                  <a:pt x="280" y="502"/>
                  <a:pt x="285" y="493"/>
                  <a:pt x="288" y="495"/>
                </a:cubicBezTo>
                <a:cubicBezTo>
                  <a:pt x="289" y="496"/>
                  <a:pt x="286" y="500"/>
                  <a:pt x="285" y="500"/>
                </a:cubicBezTo>
                <a:close/>
                <a:moveTo>
                  <a:pt x="288" y="508"/>
                </a:moveTo>
                <a:cubicBezTo>
                  <a:pt x="287" y="509"/>
                  <a:pt x="291" y="507"/>
                  <a:pt x="288" y="508"/>
                </a:cubicBezTo>
                <a:close/>
                <a:moveTo>
                  <a:pt x="288" y="493"/>
                </a:moveTo>
                <a:cubicBezTo>
                  <a:pt x="287" y="493"/>
                  <a:pt x="287" y="490"/>
                  <a:pt x="289" y="490"/>
                </a:cubicBezTo>
                <a:cubicBezTo>
                  <a:pt x="290" y="491"/>
                  <a:pt x="289" y="492"/>
                  <a:pt x="288" y="493"/>
                </a:cubicBezTo>
                <a:close/>
                <a:moveTo>
                  <a:pt x="292" y="519"/>
                </a:moveTo>
                <a:cubicBezTo>
                  <a:pt x="291" y="518"/>
                  <a:pt x="293" y="517"/>
                  <a:pt x="292" y="519"/>
                </a:cubicBezTo>
                <a:close/>
                <a:moveTo>
                  <a:pt x="293" y="504"/>
                </a:moveTo>
                <a:cubicBezTo>
                  <a:pt x="292" y="503"/>
                  <a:pt x="294" y="503"/>
                  <a:pt x="294" y="502"/>
                </a:cubicBezTo>
                <a:cubicBezTo>
                  <a:pt x="294" y="503"/>
                  <a:pt x="293" y="503"/>
                  <a:pt x="293" y="504"/>
                </a:cubicBezTo>
                <a:close/>
                <a:moveTo>
                  <a:pt x="294" y="459"/>
                </a:moveTo>
                <a:cubicBezTo>
                  <a:pt x="293" y="460"/>
                  <a:pt x="294" y="457"/>
                  <a:pt x="295" y="458"/>
                </a:cubicBezTo>
                <a:cubicBezTo>
                  <a:pt x="295" y="459"/>
                  <a:pt x="294" y="459"/>
                  <a:pt x="294" y="459"/>
                </a:cubicBezTo>
                <a:close/>
                <a:moveTo>
                  <a:pt x="295" y="475"/>
                </a:moveTo>
                <a:cubicBezTo>
                  <a:pt x="295" y="474"/>
                  <a:pt x="297" y="475"/>
                  <a:pt x="295" y="475"/>
                </a:cubicBezTo>
                <a:close/>
                <a:moveTo>
                  <a:pt x="296" y="389"/>
                </a:moveTo>
                <a:cubicBezTo>
                  <a:pt x="295" y="387"/>
                  <a:pt x="298" y="387"/>
                  <a:pt x="296" y="389"/>
                </a:cubicBezTo>
                <a:close/>
                <a:moveTo>
                  <a:pt x="297" y="482"/>
                </a:moveTo>
                <a:cubicBezTo>
                  <a:pt x="297" y="483"/>
                  <a:pt x="297" y="480"/>
                  <a:pt x="297" y="482"/>
                </a:cubicBezTo>
                <a:close/>
                <a:moveTo>
                  <a:pt x="298" y="393"/>
                </a:moveTo>
                <a:cubicBezTo>
                  <a:pt x="298" y="393"/>
                  <a:pt x="298" y="392"/>
                  <a:pt x="298" y="393"/>
                </a:cubicBezTo>
                <a:close/>
                <a:moveTo>
                  <a:pt x="300" y="448"/>
                </a:moveTo>
                <a:cubicBezTo>
                  <a:pt x="301" y="448"/>
                  <a:pt x="300" y="449"/>
                  <a:pt x="300" y="449"/>
                </a:cubicBezTo>
                <a:cubicBezTo>
                  <a:pt x="299" y="450"/>
                  <a:pt x="299" y="447"/>
                  <a:pt x="300" y="448"/>
                </a:cubicBezTo>
                <a:close/>
                <a:moveTo>
                  <a:pt x="301" y="127"/>
                </a:moveTo>
                <a:cubicBezTo>
                  <a:pt x="300" y="127"/>
                  <a:pt x="300" y="127"/>
                  <a:pt x="300" y="127"/>
                </a:cubicBezTo>
                <a:cubicBezTo>
                  <a:pt x="299" y="127"/>
                  <a:pt x="301" y="126"/>
                  <a:pt x="301" y="127"/>
                </a:cubicBezTo>
                <a:close/>
                <a:moveTo>
                  <a:pt x="300" y="462"/>
                </a:moveTo>
                <a:cubicBezTo>
                  <a:pt x="301" y="462"/>
                  <a:pt x="301" y="461"/>
                  <a:pt x="301" y="462"/>
                </a:cubicBezTo>
                <a:cubicBezTo>
                  <a:pt x="300" y="462"/>
                  <a:pt x="300" y="462"/>
                  <a:pt x="300" y="462"/>
                </a:cubicBezTo>
                <a:close/>
                <a:moveTo>
                  <a:pt x="303" y="496"/>
                </a:moveTo>
                <a:cubicBezTo>
                  <a:pt x="303" y="496"/>
                  <a:pt x="302" y="496"/>
                  <a:pt x="302" y="496"/>
                </a:cubicBezTo>
                <a:cubicBezTo>
                  <a:pt x="298" y="496"/>
                  <a:pt x="304" y="492"/>
                  <a:pt x="303" y="496"/>
                </a:cubicBezTo>
                <a:close/>
                <a:moveTo>
                  <a:pt x="303" y="498"/>
                </a:moveTo>
                <a:cubicBezTo>
                  <a:pt x="302" y="499"/>
                  <a:pt x="304" y="497"/>
                  <a:pt x="303" y="498"/>
                </a:cubicBezTo>
                <a:close/>
                <a:moveTo>
                  <a:pt x="301" y="479"/>
                </a:moveTo>
                <a:cubicBezTo>
                  <a:pt x="304" y="475"/>
                  <a:pt x="308" y="472"/>
                  <a:pt x="312" y="469"/>
                </a:cubicBezTo>
                <a:cubicBezTo>
                  <a:pt x="309" y="472"/>
                  <a:pt x="306" y="477"/>
                  <a:pt x="301" y="479"/>
                </a:cubicBezTo>
                <a:close/>
                <a:moveTo>
                  <a:pt x="313" y="159"/>
                </a:moveTo>
                <a:cubicBezTo>
                  <a:pt x="314" y="159"/>
                  <a:pt x="310" y="162"/>
                  <a:pt x="308" y="162"/>
                </a:cubicBezTo>
                <a:cubicBezTo>
                  <a:pt x="308" y="162"/>
                  <a:pt x="304" y="161"/>
                  <a:pt x="304" y="160"/>
                </a:cubicBezTo>
                <a:cubicBezTo>
                  <a:pt x="304" y="159"/>
                  <a:pt x="308" y="157"/>
                  <a:pt x="310" y="159"/>
                </a:cubicBezTo>
                <a:cubicBezTo>
                  <a:pt x="310" y="159"/>
                  <a:pt x="310" y="160"/>
                  <a:pt x="310" y="160"/>
                </a:cubicBezTo>
                <a:cubicBezTo>
                  <a:pt x="311" y="161"/>
                  <a:pt x="312" y="159"/>
                  <a:pt x="313" y="159"/>
                </a:cubicBezTo>
                <a:close/>
                <a:moveTo>
                  <a:pt x="312" y="488"/>
                </a:moveTo>
                <a:cubicBezTo>
                  <a:pt x="313" y="487"/>
                  <a:pt x="312" y="489"/>
                  <a:pt x="311" y="489"/>
                </a:cubicBezTo>
                <a:cubicBezTo>
                  <a:pt x="311" y="489"/>
                  <a:pt x="311" y="488"/>
                  <a:pt x="312" y="488"/>
                </a:cubicBezTo>
                <a:close/>
                <a:moveTo>
                  <a:pt x="312" y="354"/>
                </a:moveTo>
                <a:cubicBezTo>
                  <a:pt x="311" y="356"/>
                  <a:pt x="310" y="356"/>
                  <a:pt x="310" y="357"/>
                </a:cubicBezTo>
                <a:cubicBezTo>
                  <a:pt x="309" y="356"/>
                  <a:pt x="310" y="354"/>
                  <a:pt x="312" y="354"/>
                </a:cubicBezTo>
                <a:close/>
                <a:moveTo>
                  <a:pt x="305" y="364"/>
                </a:moveTo>
                <a:cubicBezTo>
                  <a:pt x="305" y="362"/>
                  <a:pt x="307" y="359"/>
                  <a:pt x="309" y="358"/>
                </a:cubicBezTo>
                <a:cubicBezTo>
                  <a:pt x="308" y="360"/>
                  <a:pt x="307" y="362"/>
                  <a:pt x="305" y="364"/>
                </a:cubicBezTo>
                <a:close/>
                <a:moveTo>
                  <a:pt x="307" y="448"/>
                </a:moveTo>
                <a:cubicBezTo>
                  <a:pt x="306" y="449"/>
                  <a:pt x="307" y="447"/>
                  <a:pt x="308" y="447"/>
                </a:cubicBezTo>
                <a:cubicBezTo>
                  <a:pt x="308" y="448"/>
                  <a:pt x="307" y="448"/>
                  <a:pt x="307" y="448"/>
                </a:cubicBezTo>
                <a:close/>
                <a:moveTo>
                  <a:pt x="306" y="449"/>
                </a:moveTo>
                <a:cubicBezTo>
                  <a:pt x="306" y="450"/>
                  <a:pt x="305" y="450"/>
                  <a:pt x="305" y="451"/>
                </a:cubicBezTo>
                <a:cubicBezTo>
                  <a:pt x="304" y="451"/>
                  <a:pt x="305" y="449"/>
                  <a:pt x="306" y="449"/>
                </a:cubicBezTo>
                <a:close/>
                <a:moveTo>
                  <a:pt x="304" y="204"/>
                </a:moveTo>
                <a:cubicBezTo>
                  <a:pt x="304" y="204"/>
                  <a:pt x="304" y="202"/>
                  <a:pt x="305" y="203"/>
                </a:cubicBezTo>
                <a:cubicBezTo>
                  <a:pt x="305" y="204"/>
                  <a:pt x="304" y="204"/>
                  <a:pt x="304" y="204"/>
                </a:cubicBezTo>
                <a:close/>
                <a:moveTo>
                  <a:pt x="307" y="268"/>
                </a:moveTo>
                <a:cubicBezTo>
                  <a:pt x="305" y="270"/>
                  <a:pt x="306" y="265"/>
                  <a:pt x="307" y="266"/>
                </a:cubicBezTo>
                <a:cubicBezTo>
                  <a:pt x="307" y="267"/>
                  <a:pt x="307" y="267"/>
                  <a:pt x="307" y="268"/>
                </a:cubicBezTo>
                <a:close/>
                <a:moveTo>
                  <a:pt x="307" y="343"/>
                </a:moveTo>
                <a:cubicBezTo>
                  <a:pt x="306" y="345"/>
                  <a:pt x="308" y="342"/>
                  <a:pt x="307" y="343"/>
                </a:cubicBezTo>
                <a:close/>
                <a:moveTo>
                  <a:pt x="306" y="280"/>
                </a:moveTo>
                <a:cubicBezTo>
                  <a:pt x="305" y="282"/>
                  <a:pt x="305" y="279"/>
                  <a:pt x="306" y="279"/>
                </a:cubicBezTo>
                <a:cubicBezTo>
                  <a:pt x="307" y="279"/>
                  <a:pt x="306" y="280"/>
                  <a:pt x="306" y="280"/>
                </a:cubicBezTo>
                <a:close/>
                <a:moveTo>
                  <a:pt x="302" y="455"/>
                </a:moveTo>
                <a:cubicBezTo>
                  <a:pt x="302" y="454"/>
                  <a:pt x="303" y="453"/>
                  <a:pt x="304" y="452"/>
                </a:cubicBezTo>
                <a:cubicBezTo>
                  <a:pt x="305" y="453"/>
                  <a:pt x="303" y="454"/>
                  <a:pt x="302" y="455"/>
                </a:cubicBezTo>
                <a:close/>
                <a:moveTo>
                  <a:pt x="309" y="538"/>
                </a:moveTo>
                <a:cubicBezTo>
                  <a:pt x="309" y="538"/>
                  <a:pt x="309" y="538"/>
                  <a:pt x="309" y="538"/>
                </a:cubicBezTo>
                <a:cubicBezTo>
                  <a:pt x="309" y="538"/>
                  <a:pt x="309" y="538"/>
                  <a:pt x="309" y="538"/>
                </a:cubicBezTo>
                <a:cubicBezTo>
                  <a:pt x="308" y="539"/>
                  <a:pt x="309" y="538"/>
                  <a:pt x="309" y="538"/>
                </a:cubicBezTo>
                <a:cubicBezTo>
                  <a:pt x="309" y="538"/>
                  <a:pt x="309" y="538"/>
                  <a:pt x="309" y="538"/>
                </a:cubicBezTo>
                <a:close/>
                <a:moveTo>
                  <a:pt x="306" y="537"/>
                </a:moveTo>
                <a:cubicBezTo>
                  <a:pt x="308" y="536"/>
                  <a:pt x="305" y="538"/>
                  <a:pt x="306" y="537"/>
                </a:cubicBezTo>
                <a:close/>
                <a:moveTo>
                  <a:pt x="306" y="537"/>
                </a:moveTo>
                <a:cubicBezTo>
                  <a:pt x="305" y="539"/>
                  <a:pt x="303" y="539"/>
                  <a:pt x="303" y="541"/>
                </a:cubicBezTo>
                <a:cubicBezTo>
                  <a:pt x="303" y="540"/>
                  <a:pt x="304" y="538"/>
                  <a:pt x="306" y="537"/>
                </a:cubicBezTo>
                <a:close/>
                <a:moveTo>
                  <a:pt x="305" y="527"/>
                </a:moveTo>
                <a:cubicBezTo>
                  <a:pt x="305" y="528"/>
                  <a:pt x="301" y="533"/>
                  <a:pt x="300" y="531"/>
                </a:cubicBezTo>
                <a:cubicBezTo>
                  <a:pt x="298" y="529"/>
                  <a:pt x="303" y="527"/>
                  <a:pt x="305" y="527"/>
                </a:cubicBezTo>
                <a:close/>
                <a:moveTo>
                  <a:pt x="290" y="562"/>
                </a:moveTo>
                <a:cubicBezTo>
                  <a:pt x="290" y="562"/>
                  <a:pt x="290" y="562"/>
                  <a:pt x="290" y="562"/>
                </a:cubicBezTo>
                <a:cubicBezTo>
                  <a:pt x="290" y="562"/>
                  <a:pt x="289" y="563"/>
                  <a:pt x="290" y="562"/>
                </a:cubicBezTo>
                <a:close/>
                <a:moveTo>
                  <a:pt x="289" y="541"/>
                </a:moveTo>
                <a:cubicBezTo>
                  <a:pt x="289" y="540"/>
                  <a:pt x="287" y="543"/>
                  <a:pt x="289" y="541"/>
                </a:cubicBezTo>
                <a:close/>
                <a:moveTo>
                  <a:pt x="288" y="575"/>
                </a:moveTo>
                <a:cubicBezTo>
                  <a:pt x="286" y="576"/>
                  <a:pt x="285" y="575"/>
                  <a:pt x="284" y="574"/>
                </a:cubicBezTo>
                <a:cubicBezTo>
                  <a:pt x="283" y="570"/>
                  <a:pt x="289" y="567"/>
                  <a:pt x="290" y="569"/>
                </a:cubicBezTo>
                <a:cubicBezTo>
                  <a:pt x="293" y="571"/>
                  <a:pt x="289" y="575"/>
                  <a:pt x="288" y="575"/>
                </a:cubicBezTo>
                <a:close/>
                <a:moveTo>
                  <a:pt x="292" y="544"/>
                </a:moveTo>
                <a:cubicBezTo>
                  <a:pt x="292" y="546"/>
                  <a:pt x="290" y="545"/>
                  <a:pt x="292" y="544"/>
                </a:cubicBezTo>
                <a:close/>
                <a:moveTo>
                  <a:pt x="295" y="567"/>
                </a:moveTo>
                <a:cubicBezTo>
                  <a:pt x="295" y="565"/>
                  <a:pt x="297" y="567"/>
                  <a:pt x="295" y="567"/>
                </a:cubicBezTo>
                <a:close/>
                <a:moveTo>
                  <a:pt x="295" y="565"/>
                </a:moveTo>
                <a:cubicBezTo>
                  <a:pt x="295" y="565"/>
                  <a:pt x="295" y="565"/>
                  <a:pt x="295" y="565"/>
                </a:cubicBezTo>
                <a:cubicBezTo>
                  <a:pt x="295" y="565"/>
                  <a:pt x="294" y="565"/>
                  <a:pt x="294" y="565"/>
                </a:cubicBezTo>
                <a:cubicBezTo>
                  <a:pt x="294" y="566"/>
                  <a:pt x="293" y="567"/>
                  <a:pt x="293" y="568"/>
                </a:cubicBezTo>
                <a:cubicBezTo>
                  <a:pt x="293" y="568"/>
                  <a:pt x="294" y="568"/>
                  <a:pt x="292" y="568"/>
                </a:cubicBezTo>
                <a:cubicBezTo>
                  <a:pt x="292" y="569"/>
                  <a:pt x="292" y="569"/>
                  <a:pt x="292" y="569"/>
                </a:cubicBezTo>
                <a:cubicBezTo>
                  <a:pt x="292" y="569"/>
                  <a:pt x="292" y="569"/>
                  <a:pt x="292" y="568"/>
                </a:cubicBezTo>
                <a:cubicBezTo>
                  <a:pt x="292" y="569"/>
                  <a:pt x="292" y="569"/>
                  <a:pt x="292" y="569"/>
                </a:cubicBezTo>
                <a:cubicBezTo>
                  <a:pt x="292" y="568"/>
                  <a:pt x="292" y="568"/>
                  <a:pt x="293" y="568"/>
                </a:cubicBezTo>
                <a:cubicBezTo>
                  <a:pt x="293" y="565"/>
                  <a:pt x="295" y="562"/>
                  <a:pt x="297" y="560"/>
                </a:cubicBezTo>
                <a:cubicBezTo>
                  <a:pt x="296" y="561"/>
                  <a:pt x="296" y="563"/>
                  <a:pt x="295" y="565"/>
                </a:cubicBezTo>
                <a:close/>
                <a:moveTo>
                  <a:pt x="302" y="546"/>
                </a:moveTo>
                <a:cubicBezTo>
                  <a:pt x="301" y="548"/>
                  <a:pt x="298" y="547"/>
                  <a:pt x="297" y="548"/>
                </a:cubicBezTo>
                <a:cubicBezTo>
                  <a:pt x="298" y="547"/>
                  <a:pt x="300" y="547"/>
                  <a:pt x="302" y="546"/>
                </a:cubicBezTo>
                <a:close/>
                <a:moveTo>
                  <a:pt x="301" y="567"/>
                </a:moveTo>
                <a:cubicBezTo>
                  <a:pt x="302" y="568"/>
                  <a:pt x="300" y="571"/>
                  <a:pt x="299" y="570"/>
                </a:cubicBezTo>
                <a:cubicBezTo>
                  <a:pt x="297" y="569"/>
                  <a:pt x="299" y="565"/>
                  <a:pt x="301" y="567"/>
                </a:cubicBezTo>
                <a:cubicBezTo>
                  <a:pt x="299" y="565"/>
                  <a:pt x="302" y="560"/>
                  <a:pt x="305" y="561"/>
                </a:cubicBezTo>
                <a:cubicBezTo>
                  <a:pt x="308" y="562"/>
                  <a:pt x="304" y="570"/>
                  <a:pt x="301" y="567"/>
                </a:cubicBezTo>
                <a:close/>
                <a:moveTo>
                  <a:pt x="306" y="540"/>
                </a:moveTo>
                <a:cubicBezTo>
                  <a:pt x="306" y="538"/>
                  <a:pt x="308" y="540"/>
                  <a:pt x="306" y="540"/>
                </a:cubicBezTo>
                <a:close/>
                <a:moveTo>
                  <a:pt x="307" y="568"/>
                </a:moveTo>
                <a:cubicBezTo>
                  <a:pt x="307" y="568"/>
                  <a:pt x="307" y="568"/>
                  <a:pt x="307" y="568"/>
                </a:cubicBezTo>
                <a:cubicBezTo>
                  <a:pt x="307" y="566"/>
                  <a:pt x="309" y="569"/>
                  <a:pt x="307" y="568"/>
                </a:cubicBezTo>
                <a:close/>
                <a:moveTo>
                  <a:pt x="308" y="569"/>
                </a:moveTo>
                <a:cubicBezTo>
                  <a:pt x="307" y="570"/>
                  <a:pt x="308" y="567"/>
                  <a:pt x="309" y="568"/>
                </a:cubicBezTo>
                <a:cubicBezTo>
                  <a:pt x="310" y="569"/>
                  <a:pt x="309" y="569"/>
                  <a:pt x="308" y="569"/>
                </a:cubicBezTo>
                <a:close/>
                <a:moveTo>
                  <a:pt x="312" y="574"/>
                </a:moveTo>
                <a:cubicBezTo>
                  <a:pt x="311" y="575"/>
                  <a:pt x="313" y="572"/>
                  <a:pt x="312" y="574"/>
                </a:cubicBezTo>
                <a:close/>
                <a:moveTo>
                  <a:pt x="312" y="571"/>
                </a:moveTo>
                <a:cubicBezTo>
                  <a:pt x="312" y="572"/>
                  <a:pt x="311" y="572"/>
                  <a:pt x="311" y="571"/>
                </a:cubicBezTo>
                <a:cubicBezTo>
                  <a:pt x="310" y="570"/>
                  <a:pt x="314" y="569"/>
                  <a:pt x="312" y="571"/>
                </a:cubicBezTo>
                <a:close/>
                <a:moveTo>
                  <a:pt x="313" y="395"/>
                </a:moveTo>
                <a:cubicBezTo>
                  <a:pt x="314" y="394"/>
                  <a:pt x="312" y="396"/>
                  <a:pt x="313" y="395"/>
                </a:cubicBezTo>
                <a:close/>
                <a:moveTo>
                  <a:pt x="313" y="287"/>
                </a:moveTo>
                <a:cubicBezTo>
                  <a:pt x="312" y="289"/>
                  <a:pt x="314" y="286"/>
                  <a:pt x="313" y="287"/>
                </a:cubicBezTo>
                <a:close/>
                <a:moveTo>
                  <a:pt x="315" y="545"/>
                </a:moveTo>
                <a:cubicBezTo>
                  <a:pt x="312" y="547"/>
                  <a:pt x="313" y="541"/>
                  <a:pt x="316" y="543"/>
                </a:cubicBezTo>
                <a:cubicBezTo>
                  <a:pt x="317" y="543"/>
                  <a:pt x="316" y="545"/>
                  <a:pt x="315" y="545"/>
                </a:cubicBezTo>
                <a:close/>
                <a:moveTo>
                  <a:pt x="313" y="521"/>
                </a:moveTo>
                <a:cubicBezTo>
                  <a:pt x="314" y="520"/>
                  <a:pt x="312" y="522"/>
                  <a:pt x="313" y="521"/>
                </a:cubicBezTo>
                <a:close/>
                <a:moveTo>
                  <a:pt x="315" y="495"/>
                </a:moveTo>
                <a:cubicBezTo>
                  <a:pt x="315" y="495"/>
                  <a:pt x="315" y="496"/>
                  <a:pt x="315" y="496"/>
                </a:cubicBezTo>
                <a:cubicBezTo>
                  <a:pt x="315" y="498"/>
                  <a:pt x="314" y="495"/>
                  <a:pt x="315" y="495"/>
                </a:cubicBezTo>
                <a:close/>
                <a:moveTo>
                  <a:pt x="313" y="466"/>
                </a:moveTo>
                <a:cubicBezTo>
                  <a:pt x="314" y="464"/>
                  <a:pt x="319" y="461"/>
                  <a:pt x="322" y="459"/>
                </a:cubicBezTo>
                <a:cubicBezTo>
                  <a:pt x="321" y="461"/>
                  <a:pt x="318" y="462"/>
                  <a:pt x="317" y="464"/>
                </a:cubicBezTo>
                <a:cubicBezTo>
                  <a:pt x="316" y="464"/>
                  <a:pt x="313" y="468"/>
                  <a:pt x="313" y="466"/>
                </a:cubicBezTo>
                <a:close/>
                <a:moveTo>
                  <a:pt x="316" y="176"/>
                </a:moveTo>
                <a:cubicBezTo>
                  <a:pt x="316" y="176"/>
                  <a:pt x="317" y="175"/>
                  <a:pt x="317" y="175"/>
                </a:cubicBezTo>
                <a:cubicBezTo>
                  <a:pt x="317" y="176"/>
                  <a:pt x="316" y="176"/>
                  <a:pt x="316" y="176"/>
                </a:cubicBezTo>
                <a:close/>
                <a:moveTo>
                  <a:pt x="318" y="385"/>
                </a:moveTo>
                <a:cubicBezTo>
                  <a:pt x="317" y="386"/>
                  <a:pt x="316" y="385"/>
                  <a:pt x="316" y="385"/>
                </a:cubicBezTo>
                <a:cubicBezTo>
                  <a:pt x="317" y="384"/>
                  <a:pt x="318" y="384"/>
                  <a:pt x="318" y="385"/>
                </a:cubicBezTo>
                <a:close/>
                <a:moveTo>
                  <a:pt x="316" y="395"/>
                </a:moveTo>
                <a:cubicBezTo>
                  <a:pt x="316" y="395"/>
                  <a:pt x="316" y="396"/>
                  <a:pt x="315" y="395"/>
                </a:cubicBezTo>
                <a:cubicBezTo>
                  <a:pt x="315" y="395"/>
                  <a:pt x="318" y="393"/>
                  <a:pt x="316" y="395"/>
                </a:cubicBezTo>
                <a:close/>
                <a:moveTo>
                  <a:pt x="321" y="296"/>
                </a:moveTo>
                <a:cubicBezTo>
                  <a:pt x="321" y="296"/>
                  <a:pt x="321" y="297"/>
                  <a:pt x="321" y="297"/>
                </a:cubicBezTo>
                <a:cubicBezTo>
                  <a:pt x="319" y="299"/>
                  <a:pt x="320" y="295"/>
                  <a:pt x="321" y="296"/>
                </a:cubicBezTo>
                <a:close/>
                <a:moveTo>
                  <a:pt x="344" y="429"/>
                </a:moveTo>
                <a:cubicBezTo>
                  <a:pt x="344" y="429"/>
                  <a:pt x="345" y="429"/>
                  <a:pt x="345" y="429"/>
                </a:cubicBezTo>
                <a:cubicBezTo>
                  <a:pt x="345" y="430"/>
                  <a:pt x="343" y="430"/>
                  <a:pt x="344" y="429"/>
                </a:cubicBezTo>
                <a:close/>
                <a:moveTo>
                  <a:pt x="345" y="186"/>
                </a:moveTo>
                <a:cubicBezTo>
                  <a:pt x="345" y="188"/>
                  <a:pt x="343" y="188"/>
                  <a:pt x="345" y="186"/>
                </a:cubicBezTo>
                <a:close/>
                <a:moveTo>
                  <a:pt x="345" y="303"/>
                </a:moveTo>
                <a:cubicBezTo>
                  <a:pt x="344" y="303"/>
                  <a:pt x="347" y="302"/>
                  <a:pt x="345" y="303"/>
                </a:cubicBezTo>
                <a:close/>
                <a:moveTo>
                  <a:pt x="346" y="185"/>
                </a:moveTo>
                <a:cubicBezTo>
                  <a:pt x="344" y="187"/>
                  <a:pt x="347" y="183"/>
                  <a:pt x="346" y="185"/>
                </a:cubicBezTo>
                <a:close/>
                <a:moveTo>
                  <a:pt x="345" y="443"/>
                </a:moveTo>
                <a:cubicBezTo>
                  <a:pt x="344" y="445"/>
                  <a:pt x="346" y="442"/>
                  <a:pt x="345" y="443"/>
                </a:cubicBezTo>
                <a:close/>
                <a:moveTo>
                  <a:pt x="346" y="457"/>
                </a:moveTo>
                <a:cubicBezTo>
                  <a:pt x="346" y="457"/>
                  <a:pt x="346" y="458"/>
                  <a:pt x="346" y="458"/>
                </a:cubicBezTo>
                <a:cubicBezTo>
                  <a:pt x="345" y="459"/>
                  <a:pt x="345" y="456"/>
                  <a:pt x="346" y="457"/>
                </a:cubicBezTo>
                <a:close/>
                <a:moveTo>
                  <a:pt x="345" y="503"/>
                </a:moveTo>
                <a:cubicBezTo>
                  <a:pt x="345" y="503"/>
                  <a:pt x="345" y="503"/>
                  <a:pt x="345" y="503"/>
                </a:cubicBezTo>
                <a:cubicBezTo>
                  <a:pt x="345" y="503"/>
                  <a:pt x="345" y="503"/>
                  <a:pt x="345" y="503"/>
                </a:cubicBezTo>
                <a:cubicBezTo>
                  <a:pt x="345" y="503"/>
                  <a:pt x="345" y="503"/>
                  <a:pt x="345" y="503"/>
                </a:cubicBezTo>
                <a:close/>
                <a:moveTo>
                  <a:pt x="348" y="526"/>
                </a:moveTo>
                <a:cubicBezTo>
                  <a:pt x="348" y="527"/>
                  <a:pt x="344" y="530"/>
                  <a:pt x="343" y="529"/>
                </a:cubicBezTo>
                <a:cubicBezTo>
                  <a:pt x="342" y="527"/>
                  <a:pt x="346" y="526"/>
                  <a:pt x="348" y="526"/>
                </a:cubicBezTo>
                <a:close/>
                <a:moveTo>
                  <a:pt x="351" y="496"/>
                </a:moveTo>
                <a:cubicBezTo>
                  <a:pt x="352" y="497"/>
                  <a:pt x="349" y="500"/>
                  <a:pt x="349" y="500"/>
                </a:cubicBezTo>
                <a:cubicBezTo>
                  <a:pt x="344" y="502"/>
                  <a:pt x="348" y="494"/>
                  <a:pt x="351" y="496"/>
                </a:cubicBezTo>
                <a:close/>
                <a:moveTo>
                  <a:pt x="351" y="384"/>
                </a:moveTo>
                <a:cubicBezTo>
                  <a:pt x="350" y="385"/>
                  <a:pt x="349" y="384"/>
                  <a:pt x="351" y="384"/>
                </a:cubicBezTo>
                <a:close/>
                <a:moveTo>
                  <a:pt x="351" y="513"/>
                </a:moveTo>
                <a:cubicBezTo>
                  <a:pt x="350" y="512"/>
                  <a:pt x="352" y="512"/>
                  <a:pt x="351" y="512"/>
                </a:cubicBezTo>
                <a:cubicBezTo>
                  <a:pt x="351" y="512"/>
                  <a:pt x="351" y="513"/>
                  <a:pt x="351" y="513"/>
                </a:cubicBezTo>
                <a:close/>
                <a:moveTo>
                  <a:pt x="350" y="574"/>
                </a:moveTo>
                <a:cubicBezTo>
                  <a:pt x="350" y="574"/>
                  <a:pt x="350" y="573"/>
                  <a:pt x="351" y="573"/>
                </a:cubicBezTo>
                <a:cubicBezTo>
                  <a:pt x="351" y="573"/>
                  <a:pt x="350" y="574"/>
                  <a:pt x="350" y="574"/>
                </a:cubicBezTo>
                <a:close/>
                <a:moveTo>
                  <a:pt x="347" y="484"/>
                </a:moveTo>
                <a:cubicBezTo>
                  <a:pt x="347" y="483"/>
                  <a:pt x="348" y="483"/>
                  <a:pt x="348" y="483"/>
                </a:cubicBezTo>
                <a:cubicBezTo>
                  <a:pt x="349" y="483"/>
                  <a:pt x="348" y="484"/>
                  <a:pt x="347" y="484"/>
                </a:cubicBezTo>
                <a:close/>
                <a:moveTo>
                  <a:pt x="325" y="549"/>
                </a:moveTo>
                <a:cubicBezTo>
                  <a:pt x="327" y="547"/>
                  <a:pt x="330" y="546"/>
                  <a:pt x="333" y="545"/>
                </a:cubicBezTo>
                <a:cubicBezTo>
                  <a:pt x="330" y="547"/>
                  <a:pt x="328" y="549"/>
                  <a:pt x="325" y="549"/>
                </a:cubicBezTo>
                <a:close/>
                <a:moveTo>
                  <a:pt x="331" y="617"/>
                </a:moveTo>
                <a:cubicBezTo>
                  <a:pt x="331" y="616"/>
                  <a:pt x="332" y="616"/>
                  <a:pt x="333" y="617"/>
                </a:cubicBezTo>
                <a:cubicBezTo>
                  <a:pt x="333" y="617"/>
                  <a:pt x="331" y="619"/>
                  <a:pt x="331" y="617"/>
                </a:cubicBezTo>
                <a:close/>
                <a:moveTo>
                  <a:pt x="326" y="553"/>
                </a:moveTo>
                <a:cubicBezTo>
                  <a:pt x="326" y="553"/>
                  <a:pt x="327" y="552"/>
                  <a:pt x="327" y="552"/>
                </a:cubicBezTo>
                <a:cubicBezTo>
                  <a:pt x="327" y="552"/>
                  <a:pt x="327" y="553"/>
                  <a:pt x="326" y="553"/>
                </a:cubicBezTo>
                <a:close/>
                <a:moveTo>
                  <a:pt x="318" y="527"/>
                </a:moveTo>
                <a:cubicBezTo>
                  <a:pt x="323" y="523"/>
                  <a:pt x="328" y="520"/>
                  <a:pt x="335" y="518"/>
                </a:cubicBezTo>
                <a:cubicBezTo>
                  <a:pt x="329" y="521"/>
                  <a:pt x="324" y="524"/>
                  <a:pt x="318" y="527"/>
                </a:cubicBezTo>
                <a:close/>
                <a:moveTo>
                  <a:pt x="323" y="530"/>
                </a:moveTo>
                <a:cubicBezTo>
                  <a:pt x="323" y="531"/>
                  <a:pt x="321" y="531"/>
                  <a:pt x="321" y="530"/>
                </a:cubicBezTo>
                <a:cubicBezTo>
                  <a:pt x="321" y="529"/>
                  <a:pt x="323" y="530"/>
                  <a:pt x="323" y="530"/>
                </a:cubicBezTo>
                <a:close/>
                <a:moveTo>
                  <a:pt x="329" y="503"/>
                </a:moveTo>
                <a:cubicBezTo>
                  <a:pt x="329" y="503"/>
                  <a:pt x="330" y="502"/>
                  <a:pt x="330" y="502"/>
                </a:cubicBezTo>
                <a:cubicBezTo>
                  <a:pt x="332" y="503"/>
                  <a:pt x="329" y="505"/>
                  <a:pt x="329" y="503"/>
                </a:cubicBezTo>
                <a:close/>
                <a:moveTo>
                  <a:pt x="334" y="541"/>
                </a:moveTo>
                <a:cubicBezTo>
                  <a:pt x="333" y="541"/>
                  <a:pt x="334" y="539"/>
                  <a:pt x="335" y="539"/>
                </a:cubicBezTo>
                <a:cubicBezTo>
                  <a:pt x="335" y="540"/>
                  <a:pt x="334" y="540"/>
                  <a:pt x="334" y="541"/>
                </a:cubicBezTo>
                <a:close/>
                <a:moveTo>
                  <a:pt x="341" y="584"/>
                </a:moveTo>
                <a:cubicBezTo>
                  <a:pt x="345" y="586"/>
                  <a:pt x="341" y="593"/>
                  <a:pt x="339" y="594"/>
                </a:cubicBezTo>
                <a:cubicBezTo>
                  <a:pt x="330" y="597"/>
                  <a:pt x="335" y="582"/>
                  <a:pt x="341" y="584"/>
                </a:cubicBezTo>
                <a:close/>
                <a:moveTo>
                  <a:pt x="341" y="541"/>
                </a:moveTo>
                <a:cubicBezTo>
                  <a:pt x="339" y="543"/>
                  <a:pt x="336" y="544"/>
                  <a:pt x="335" y="544"/>
                </a:cubicBezTo>
                <a:cubicBezTo>
                  <a:pt x="335" y="544"/>
                  <a:pt x="339" y="541"/>
                  <a:pt x="341" y="541"/>
                </a:cubicBezTo>
                <a:close/>
                <a:moveTo>
                  <a:pt x="336" y="518"/>
                </a:moveTo>
                <a:cubicBezTo>
                  <a:pt x="336" y="516"/>
                  <a:pt x="339" y="516"/>
                  <a:pt x="340" y="515"/>
                </a:cubicBezTo>
                <a:cubicBezTo>
                  <a:pt x="340" y="517"/>
                  <a:pt x="337" y="516"/>
                  <a:pt x="336" y="518"/>
                </a:cubicBezTo>
                <a:close/>
                <a:moveTo>
                  <a:pt x="343" y="515"/>
                </a:moveTo>
                <a:cubicBezTo>
                  <a:pt x="342" y="516"/>
                  <a:pt x="341" y="516"/>
                  <a:pt x="341" y="515"/>
                </a:cubicBezTo>
                <a:cubicBezTo>
                  <a:pt x="340" y="514"/>
                  <a:pt x="344" y="514"/>
                  <a:pt x="343" y="515"/>
                </a:cubicBezTo>
                <a:close/>
                <a:moveTo>
                  <a:pt x="343" y="553"/>
                </a:moveTo>
                <a:cubicBezTo>
                  <a:pt x="341" y="554"/>
                  <a:pt x="343" y="552"/>
                  <a:pt x="343" y="553"/>
                </a:cubicBezTo>
                <a:close/>
                <a:moveTo>
                  <a:pt x="341" y="547"/>
                </a:moveTo>
                <a:cubicBezTo>
                  <a:pt x="341" y="547"/>
                  <a:pt x="341" y="547"/>
                  <a:pt x="341" y="547"/>
                </a:cubicBezTo>
                <a:cubicBezTo>
                  <a:pt x="341" y="547"/>
                  <a:pt x="341" y="547"/>
                  <a:pt x="341" y="547"/>
                </a:cubicBezTo>
                <a:cubicBezTo>
                  <a:pt x="341" y="547"/>
                  <a:pt x="341" y="547"/>
                  <a:pt x="341" y="547"/>
                </a:cubicBezTo>
                <a:close/>
                <a:moveTo>
                  <a:pt x="342" y="574"/>
                </a:moveTo>
                <a:cubicBezTo>
                  <a:pt x="343" y="575"/>
                  <a:pt x="340" y="576"/>
                  <a:pt x="340" y="574"/>
                </a:cubicBezTo>
                <a:cubicBezTo>
                  <a:pt x="340" y="573"/>
                  <a:pt x="342" y="573"/>
                  <a:pt x="342" y="574"/>
                </a:cubicBezTo>
                <a:close/>
                <a:moveTo>
                  <a:pt x="338" y="554"/>
                </a:moveTo>
                <a:cubicBezTo>
                  <a:pt x="339" y="554"/>
                  <a:pt x="337" y="556"/>
                  <a:pt x="337" y="554"/>
                </a:cubicBezTo>
                <a:cubicBezTo>
                  <a:pt x="337" y="553"/>
                  <a:pt x="338" y="553"/>
                  <a:pt x="338" y="554"/>
                </a:cubicBezTo>
                <a:close/>
                <a:moveTo>
                  <a:pt x="335" y="537"/>
                </a:moveTo>
                <a:cubicBezTo>
                  <a:pt x="335" y="537"/>
                  <a:pt x="335" y="537"/>
                  <a:pt x="336" y="536"/>
                </a:cubicBezTo>
                <a:cubicBezTo>
                  <a:pt x="336" y="536"/>
                  <a:pt x="336" y="536"/>
                  <a:pt x="336" y="536"/>
                </a:cubicBezTo>
                <a:cubicBezTo>
                  <a:pt x="336" y="536"/>
                  <a:pt x="335" y="537"/>
                  <a:pt x="335" y="537"/>
                </a:cubicBezTo>
                <a:close/>
                <a:moveTo>
                  <a:pt x="339" y="582"/>
                </a:moveTo>
                <a:cubicBezTo>
                  <a:pt x="334" y="582"/>
                  <a:pt x="344" y="577"/>
                  <a:pt x="345" y="578"/>
                </a:cubicBezTo>
                <a:cubicBezTo>
                  <a:pt x="346" y="579"/>
                  <a:pt x="340" y="582"/>
                  <a:pt x="339" y="582"/>
                </a:cubicBezTo>
                <a:close/>
                <a:moveTo>
                  <a:pt x="345" y="556"/>
                </a:moveTo>
                <a:cubicBezTo>
                  <a:pt x="343" y="557"/>
                  <a:pt x="345" y="554"/>
                  <a:pt x="345" y="555"/>
                </a:cubicBezTo>
                <a:cubicBezTo>
                  <a:pt x="346" y="555"/>
                  <a:pt x="345" y="556"/>
                  <a:pt x="345" y="556"/>
                </a:cubicBezTo>
                <a:close/>
                <a:moveTo>
                  <a:pt x="343" y="503"/>
                </a:moveTo>
                <a:cubicBezTo>
                  <a:pt x="341" y="504"/>
                  <a:pt x="342" y="500"/>
                  <a:pt x="344" y="502"/>
                </a:cubicBezTo>
                <a:cubicBezTo>
                  <a:pt x="344" y="502"/>
                  <a:pt x="343" y="502"/>
                  <a:pt x="343" y="503"/>
                </a:cubicBezTo>
                <a:close/>
                <a:moveTo>
                  <a:pt x="342" y="425"/>
                </a:moveTo>
                <a:cubicBezTo>
                  <a:pt x="339" y="426"/>
                  <a:pt x="340" y="421"/>
                  <a:pt x="342" y="422"/>
                </a:cubicBezTo>
                <a:cubicBezTo>
                  <a:pt x="343" y="423"/>
                  <a:pt x="342" y="425"/>
                  <a:pt x="342" y="425"/>
                </a:cubicBezTo>
                <a:close/>
                <a:moveTo>
                  <a:pt x="340" y="466"/>
                </a:moveTo>
                <a:cubicBezTo>
                  <a:pt x="344" y="464"/>
                  <a:pt x="338" y="467"/>
                  <a:pt x="340" y="466"/>
                </a:cubicBezTo>
                <a:close/>
                <a:moveTo>
                  <a:pt x="339" y="506"/>
                </a:moveTo>
                <a:cubicBezTo>
                  <a:pt x="340" y="504"/>
                  <a:pt x="343" y="506"/>
                  <a:pt x="339" y="506"/>
                </a:cubicBezTo>
                <a:close/>
                <a:moveTo>
                  <a:pt x="341" y="508"/>
                </a:moveTo>
                <a:cubicBezTo>
                  <a:pt x="342" y="508"/>
                  <a:pt x="334" y="513"/>
                  <a:pt x="334" y="513"/>
                </a:cubicBezTo>
                <a:cubicBezTo>
                  <a:pt x="333" y="514"/>
                  <a:pt x="332" y="514"/>
                  <a:pt x="332" y="514"/>
                </a:cubicBezTo>
                <a:cubicBezTo>
                  <a:pt x="331" y="513"/>
                  <a:pt x="340" y="507"/>
                  <a:pt x="341" y="508"/>
                </a:cubicBezTo>
                <a:close/>
                <a:moveTo>
                  <a:pt x="336" y="508"/>
                </a:moveTo>
                <a:cubicBezTo>
                  <a:pt x="336" y="507"/>
                  <a:pt x="337" y="506"/>
                  <a:pt x="338" y="506"/>
                </a:cubicBezTo>
                <a:cubicBezTo>
                  <a:pt x="338" y="507"/>
                  <a:pt x="337" y="507"/>
                  <a:pt x="336" y="508"/>
                </a:cubicBezTo>
                <a:close/>
                <a:moveTo>
                  <a:pt x="339" y="504"/>
                </a:moveTo>
                <a:cubicBezTo>
                  <a:pt x="337" y="506"/>
                  <a:pt x="337" y="502"/>
                  <a:pt x="339" y="503"/>
                </a:cubicBezTo>
                <a:cubicBezTo>
                  <a:pt x="339" y="503"/>
                  <a:pt x="339" y="504"/>
                  <a:pt x="339" y="504"/>
                </a:cubicBezTo>
                <a:close/>
                <a:moveTo>
                  <a:pt x="337" y="360"/>
                </a:moveTo>
                <a:cubicBezTo>
                  <a:pt x="337" y="357"/>
                  <a:pt x="339" y="359"/>
                  <a:pt x="337" y="360"/>
                </a:cubicBezTo>
                <a:close/>
                <a:moveTo>
                  <a:pt x="337" y="339"/>
                </a:moveTo>
                <a:cubicBezTo>
                  <a:pt x="337" y="340"/>
                  <a:pt x="335" y="339"/>
                  <a:pt x="337" y="339"/>
                </a:cubicBezTo>
                <a:close/>
                <a:moveTo>
                  <a:pt x="337" y="248"/>
                </a:moveTo>
                <a:cubicBezTo>
                  <a:pt x="335" y="250"/>
                  <a:pt x="336" y="245"/>
                  <a:pt x="337" y="246"/>
                </a:cubicBezTo>
                <a:cubicBezTo>
                  <a:pt x="338" y="246"/>
                  <a:pt x="337" y="248"/>
                  <a:pt x="337" y="248"/>
                </a:cubicBezTo>
                <a:close/>
                <a:moveTo>
                  <a:pt x="336" y="451"/>
                </a:moveTo>
                <a:cubicBezTo>
                  <a:pt x="335" y="452"/>
                  <a:pt x="338" y="450"/>
                  <a:pt x="336" y="451"/>
                </a:cubicBezTo>
                <a:close/>
                <a:moveTo>
                  <a:pt x="337" y="467"/>
                </a:moveTo>
                <a:cubicBezTo>
                  <a:pt x="337" y="469"/>
                  <a:pt x="336" y="469"/>
                  <a:pt x="334" y="470"/>
                </a:cubicBezTo>
                <a:cubicBezTo>
                  <a:pt x="335" y="469"/>
                  <a:pt x="336" y="468"/>
                  <a:pt x="337" y="467"/>
                </a:cubicBezTo>
                <a:close/>
                <a:moveTo>
                  <a:pt x="330" y="456"/>
                </a:moveTo>
                <a:cubicBezTo>
                  <a:pt x="330" y="456"/>
                  <a:pt x="333" y="452"/>
                  <a:pt x="335" y="451"/>
                </a:cubicBezTo>
                <a:cubicBezTo>
                  <a:pt x="334" y="453"/>
                  <a:pt x="332" y="455"/>
                  <a:pt x="330" y="456"/>
                </a:cubicBezTo>
                <a:close/>
                <a:moveTo>
                  <a:pt x="332" y="406"/>
                </a:moveTo>
                <a:cubicBezTo>
                  <a:pt x="331" y="405"/>
                  <a:pt x="332" y="403"/>
                  <a:pt x="334" y="403"/>
                </a:cubicBezTo>
                <a:cubicBezTo>
                  <a:pt x="333" y="404"/>
                  <a:pt x="332" y="405"/>
                  <a:pt x="332" y="406"/>
                </a:cubicBezTo>
                <a:close/>
                <a:moveTo>
                  <a:pt x="331" y="366"/>
                </a:moveTo>
                <a:cubicBezTo>
                  <a:pt x="329" y="368"/>
                  <a:pt x="330" y="364"/>
                  <a:pt x="331" y="364"/>
                </a:cubicBezTo>
                <a:cubicBezTo>
                  <a:pt x="333" y="365"/>
                  <a:pt x="331" y="366"/>
                  <a:pt x="331" y="366"/>
                </a:cubicBezTo>
                <a:close/>
                <a:moveTo>
                  <a:pt x="330" y="407"/>
                </a:moveTo>
                <a:cubicBezTo>
                  <a:pt x="330" y="409"/>
                  <a:pt x="328" y="410"/>
                  <a:pt x="326" y="412"/>
                </a:cubicBezTo>
                <a:cubicBezTo>
                  <a:pt x="327" y="411"/>
                  <a:pt x="329" y="409"/>
                  <a:pt x="330" y="407"/>
                </a:cubicBezTo>
                <a:close/>
                <a:moveTo>
                  <a:pt x="327" y="499"/>
                </a:moveTo>
                <a:cubicBezTo>
                  <a:pt x="327" y="498"/>
                  <a:pt x="327" y="498"/>
                  <a:pt x="327" y="498"/>
                </a:cubicBezTo>
                <a:cubicBezTo>
                  <a:pt x="327" y="496"/>
                  <a:pt x="329" y="499"/>
                  <a:pt x="327" y="499"/>
                </a:cubicBezTo>
                <a:close/>
                <a:moveTo>
                  <a:pt x="328" y="510"/>
                </a:moveTo>
                <a:cubicBezTo>
                  <a:pt x="328" y="511"/>
                  <a:pt x="327" y="511"/>
                  <a:pt x="327" y="510"/>
                </a:cubicBezTo>
                <a:cubicBezTo>
                  <a:pt x="327" y="510"/>
                  <a:pt x="328" y="510"/>
                  <a:pt x="328" y="510"/>
                </a:cubicBezTo>
                <a:close/>
                <a:moveTo>
                  <a:pt x="328" y="481"/>
                </a:moveTo>
                <a:cubicBezTo>
                  <a:pt x="327" y="482"/>
                  <a:pt x="329" y="480"/>
                  <a:pt x="328" y="481"/>
                </a:cubicBezTo>
                <a:close/>
                <a:moveTo>
                  <a:pt x="326" y="333"/>
                </a:moveTo>
                <a:cubicBezTo>
                  <a:pt x="326" y="333"/>
                  <a:pt x="326" y="333"/>
                  <a:pt x="325" y="333"/>
                </a:cubicBezTo>
                <a:cubicBezTo>
                  <a:pt x="325" y="332"/>
                  <a:pt x="327" y="332"/>
                  <a:pt x="326" y="333"/>
                </a:cubicBezTo>
                <a:close/>
                <a:moveTo>
                  <a:pt x="326" y="456"/>
                </a:moveTo>
                <a:cubicBezTo>
                  <a:pt x="326" y="457"/>
                  <a:pt x="324" y="458"/>
                  <a:pt x="323" y="459"/>
                </a:cubicBezTo>
                <a:cubicBezTo>
                  <a:pt x="324" y="458"/>
                  <a:pt x="325" y="457"/>
                  <a:pt x="326" y="456"/>
                </a:cubicBezTo>
                <a:close/>
                <a:moveTo>
                  <a:pt x="330" y="515"/>
                </a:moveTo>
                <a:cubicBezTo>
                  <a:pt x="326" y="518"/>
                  <a:pt x="323" y="521"/>
                  <a:pt x="317" y="522"/>
                </a:cubicBezTo>
                <a:cubicBezTo>
                  <a:pt x="320" y="519"/>
                  <a:pt x="325" y="516"/>
                  <a:pt x="330" y="515"/>
                </a:cubicBezTo>
                <a:close/>
                <a:moveTo>
                  <a:pt x="319" y="490"/>
                </a:moveTo>
                <a:cubicBezTo>
                  <a:pt x="318" y="491"/>
                  <a:pt x="318" y="489"/>
                  <a:pt x="319" y="489"/>
                </a:cubicBezTo>
                <a:cubicBezTo>
                  <a:pt x="320" y="489"/>
                  <a:pt x="320" y="490"/>
                  <a:pt x="319" y="490"/>
                </a:cubicBezTo>
                <a:close/>
                <a:moveTo>
                  <a:pt x="320" y="514"/>
                </a:moveTo>
                <a:cubicBezTo>
                  <a:pt x="320" y="514"/>
                  <a:pt x="319" y="515"/>
                  <a:pt x="319" y="514"/>
                </a:cubicBezTo>
                <a:cubicBezTo>
                  <a:pt x="319" y="513"/>
                  <a:pt x="322" y="513"/>
                  <a:pt x="320" y="514"/>
                </a:cubicBezTo>
                <a:close/>
                <a:moveTo>
                  <a:pt x="322" y="487"/>
                </a:moveTo>
                <a:cubicBezTo>
                  <a:pt x="324" y="489"/>
                  <a:pt x="319" y="490"/>
                  <a:pt x="319" y="488"/>
                </a:cubicBezTo>
                <a:cubicBezTo>
                  <a:pt x="319" y="487"/>
                  <a:pt x="320" y="486"/>
                  <a:pt x="321" y="486"/>
                </a:cubicBezTo>
                <a:cubicBezTo>
                  <a:pt x="321" y="486"/>
                  <a:pt x="321" y="485"/>
                  <a:pt x="321" y="485"/>
                </a:cubicBezTo>
                <a:cubicBezTo>
                  <a:pt x="323" y="484"/>
                  <a:pt x="323" y="486"/>
                  <a:pt x="322" y="487"/>
                </a:cubicBezTo>
                <a:cubicBezTo>
                  <a:pt x="322" y="487"/>
                  <a:pt x="322" y="487"/>
                  <a:pt x="322" y="487"/>
                </a:cubicBezTo>
                <a:cubicBezTo>
                  <a:pt x="322" y="487"/>
                  <a:pt x="322" y="487"/>
                  <a:pt x="322" y="487"/>
                </a:cubicBezTo>
                <a:close/>
                <a:moveTo>
                  <a:pt x="319" y="565"/>
                </a:moveTo>
                <a:cubicBezTo>
                  <a:pt x="316" y="567"/>
                  <a:pt x="316" y="562"/>
                  <a:pt x="319" y="563"/>
                </a:cubicBezTo>
                <a:cubicBezTo>
                  <a:pt x="319" y="563"/>
                  <a:pt x="319" y="564"/>
                  <a:pt x="319" y="565"/>
                </a:cubicBezTo>
                <a:close/>
                <a:moveTo>
                  <a:pt x="320" y="570"/>
                </a:moveTo>
                <a:cubicBezTo>
                  <a:pt x="321" y="569"/>
                  <a:pt x="322" y="571"/>
                  <a:pt x="320" y="570"/>
                </a:cubicBezTo>
                <a:close/>
                <a:moveTo>
                  <a:pt x="322" y="580"/>
                </a:moveTo>
                <a:cubicBezTo>
                  <a:pt x="322" y="580"/>
                  <a:pt x="322" y="581"/>
                  <a:pt x="322" y="581"/>
                </a:cubicBezTo>
                <a:cubicBezTo>
                  <a:pt x="322" y="580"/>
                  <a:pt x="323" y="579"/>
                  <a:pt x="322" y="580"/>
                </a:cubicBezTo>
                <a:close/>
                <a:moveTo>
                  <a:pt x="323" y="537"/>
                </a:moveTo>
                <a:cubicBezTo>
                  <a:pt x="322" y="538"/>
                  <a:pt x="320" y="542"/>
                  <a:pt x="318" y="542"/>
                </a:cubicBezTo>
                <a:cubicBezTo>
                  <a:pt x="313" y="543"/>
                  <a:pt x="324" y="535"/>
                  <a:pt x="325" y="534"/>
                </a:cubicBezTo>
                <a:cubicBezTo>
                  <a:pt x="322" y="537"/>
                  <a:pt x="326" y="533"/>
                  <a:pt x="327" y="534"/>
                </a:cubicBezTo>
                <a:cubicBezTo>
                  <a:pt x="328" y="535"/>
                  <a:pt x="324" y="537"/>
                  <a:pt x="323" y="537"/>
                </a:cubicBezTo>
                <a:close/>
                <a:moveTo>
                  <a:pt x="327" y="588"/>
                </a:moveTo>
                <a:cubicBezTo>
                  <a:pt x="326" y="589"/>
                  <a:pt x="324" y="589"/>
                  <a:pt x="324" y="588"/>
                </a:cubicBezTo>
                <a:cubicBezTo>
                  <a:pt x="324" y="586"/>
                  <a:pt x="327" y="587"/>
                  <a:pt x="327" y="588"/>
                </a:cubicBezTo>
                <a:close/>
                <a:moveTo>
                  <a:pt x="326" y="564"/>
                </a:moveTo>
                <a:cubicBezTo>
                  <a:pt x="326" y="563"/>
                  <a:pt x="329" y="562"/>
                  <a:pt x="329" y="564"/>
                </a:cubicBezTo>
                <a:cubicBezTo>
                  <a:pt x="329" y="565"/>
                  <a:pt x="325" y="566"/>
                  <a:pt x="326" y="564"/>
                </a:cubicBezTo>
                <a:close/>
                <a:moveTo>
                  <a:pt x="327" y="585"/>
                </a:moveTo>
                <a:cubicBezTo>
                  <a:pt x="328" y="585"/>
                  <a:pt x="329" y="586"/>
                  <a:pt x="328" y="586"/>
                </a:cubicBezTo>
                <a:cubicBezTo>
                  <a:pt x="328" y="586"/>
                  <a:pt x="326" y="586"/>
                  <a:pt x="327" y="585"/>
                </a:cubicBezTo>
                <a:close/>
                <a:moveTo>
                  <a:pt x="327" y="624"/>
                </a:moveTo>
                <a:cubicBezTo>
                  <a:pt x="327" y="624"/>
                  <a:pt x="326" y="624"/>
                  <a:pt x="326" y="624"/>
                </a:cubicBezTo>
                <a:cubicBezTo>
                  <a:pt x="326" y="623"/>
                  <a:pt x="328" y="622"/>
                  <a:pt x="327" y="624"/>
                </a:cubicBezTo>
                <a:close/>
                <a:moveTo>
                  <a:pt x="329" y="612"/>
                </a:moveTo>
                <a:cubicBezTo>
                  <a:pt x="326" y="613"/>
                  <a:pt x="328" y="608"/>
                  <a:pt x="330" y="609"/>
                </a:cubicBezTo>
                <a:cubicBezTo>
                  <a:pt x="332" y="610"/>
                  <a:pt x="330" y="612"/>
                  <a:pt x="329" y="612"/>
                </a:cubicBezTo>
                <a:close/>
                <a:moveTo>
                  <a:pt x="335" y="620"/>
                </a:moveTo>
                <a:cubicBezTo>
                  <a:pt x="335" y="620"/>
                  <a:pt x="335" y="620"/>
                  <a:pt x="334" y="620"/>
                </a:cubicBezTo>
                <a:cubicBezTo>
                  <a:pt x="334" y="620"/>
                  <a:pt x="334" y="620"/>
                  <a:pt x="334" y="620"/>
                </a:cubicBezTo>
                <a:cubicBezTo>
                  <a:pt x="333" y="620"/>
                  <a:pt x="332" y="621"/>
                  <a:pt x="330" y="621"/>
                </a:cubicBezTo>
                <a:cubicBezTo>
                  <a:pt x="332" y="619"/>
                  <a:pt x="334" y="619"/>
                  <a:pt x="337" y="618"/>
                </a:cubicBezTo>
                <a:cubicBezTo>
                  <a:pt x="336" y="619"/>
                  <a:pt x="336" y="619"/>
                  <a:pt x="335" y="620"/>
                </a:cubicBezTo>
                <a:close/>
                <a:moveTo>
                  <a:pt x="339" y="618"/>
                </a:moveTo>
                <a:cubicBezTo>
                  <a:pt x="338" y="618"/>
                  <a:pt x="338" y="619"/>
                  <a:pt x="337" y="618"/>
                </a:cubicBezTo>
                <a:cubicBezTo>
                  <a:pt x="337" y="617"/>
                  <a:pt x="342" y="617"/>
                  <a:pt x="339" y="618"/>
                </a:cubicBezTo>
                <a:close/>
                <a:moveTo>
                  <a:pt x="348" y="611"/>
                </a:moveTo>
                <a:cubicBezTo>
                  <a:pt x="346" y="612"/>
                  <a:pt x="346" y="609"/>
                  <a:pt x="348" y="609"/>
                </a:cubicBezTo>
                <a:cubicBezTo>
                  <a:pt x="349" y="610"/>
                  <a:pt x="348" y="611"/>
                  <a:pt x="348" y="611"/>
                </a:cubicBezTo>
                <a:close/>
                <a:moveTo>
                  <a:pt x="347" y="599"/>
                </a:moveTo>
                <a:cubicBezTo>
                  <a:pt x="347" y="598"/>
                  <a:pt x="348" y="599"/>
                  <a:pt x="348" y="599"/>
                </a:cubicBezTo>
                <a:cubicBezTo>
                  <a:pt x="348" y="600"/>
                  <a:pt x="347" y="600"/>
                  <a:pt x="347" y="599"/>
                </a:cubicBezTo>
                <a:close/>
                <a:moveTo>
                  <a:pt x="353" y="622"/>
                </a:moveTo>
                <a:cubicBezTo>
                  <a:pt x="352" y="622"/>
                  <a:pt x="352" y="622"/>
                  <a:pt x="352" y="622"/>
                </a:cubicBezTo>
                <a:cubicBezTo>
                  <a:pt x="351" y="620"/>
                  <a:pt x="354" y="621"/>
                  <a:pt x="353" y="622"/>
                </a:cubicBezTo>
                <a:close/>
                <a:moveTo>
                  <a:pt x="352" y="594"/>
                </a:moveTo>
                <a:cubicBezTo>
                  <a:pt x="349" y="595"/>
                  <a:pt x="344" y="598"/>
                  <a:pt x="340" y="598"/>
                </a:cubicBezTo>
                <a:cubicBezTo>
                  <a:pt x="343" y="596"/>
                  <a:pt x="350" y="593"/>
                  <a:pt x="353" y="593"/>
                </a:cubicBezTo>
                <a:cubicBezTo>
                  <a:pt x="352" y="593"/>
                  <a:pt x="355" y="593"/>
                  <a:pt x="355" y="593"/>
                </a:cubicBezTo>
                <a:cubicBezTo>
                  <a:pt x="355" y="595"/>
                  <a:pt x="353" y="594"/>
                  <a:pt x="352" y="594"/>
                </a:cubicBezTo>
                <a:close/>
                <a:moveTo>
                  <a:pt x="355" y="550"/>
                </a:moveTo>
                <a:cubicBezTo>
                  <a:pt x="355" y="549"/>
                  <a:pt x="356" y="549"/>
                  <a:pt x="358" y="549"/>
                </a:cubicBezTo>
                <a:cubicBezTo>
                  <a:pt x="357" y="550"/>
                  <a:pt x="356" y="550"/>
                  <a:pt x="355" y="550"/>
                </a:cubicBezTo>
                <a:close/>
                <a:moveTo>
                  <a:pt x="358" y="493"/>
                </a:moveTo>
                <a:cubicBezTo>
                  <a:pt x="358" y="493"/>
                  <a:pt x="358" y="493"/>
                  <a:pt x="357" y="493"/>
                </a:cubicBezTo>
                <a:cubicBezTo>
                  <a:pt x="357" y="492"/>
                  <a:pt x="359" y="492"/>
                  <a:pt x="358" y="493"/>
                </a:cubicBezTo>
                <a:close/>
                <a:moveTo>
                  <a:pt x="356" y="570"/>
                </a:moveTo>
                <a:cubicBezTo>
                  <a:pt x="357" y="569"/>
                  <a:pt x="359" y="570"/>
                  <a:pt x="359" y="570"/>
                </a:cubicBezTo>
                <a:cubicBezTo>
                  <a:pt x="359" y="571"/>
                  <a:pt x="356" y="572"/>
                  <a:pt x="356" y="570"/>
                </a:cubicBezTo>
                <a:close/>
                <a:moveTo>
                  <a:pt x="358" y="619"/>
                </a:moveTo>
                <a:cubicBezTo>
                  <a:pt x="357" y="618"/>
                  <a:pt x="359" y="618"/>
                  <a:pt x="359" y="619"/>
                </a:cubicBezTo>
                <a:cubicBezTo>
                  <a:pt x="360" y="620"/>
                  <a:pt x="358" y="619"/>
                  <a:pt x="358" y="619"/>
                </a:cubicBezTo>
                <a:close/>
                <a:moveTo>
                  <a:pt x="361" y="614"/>
                </a:moveTo>
                <a:cubicBezTo>
                  <a:pt x="359" y="615"/>
                  <a:pt x="360" y="612"/>
                  <a:pt x="361" y="613"/>
                </a:cubicBezTo>
                <a:cubicBezTo>
                  <a:pt x="362" y="613"/>
                  <a:pt x="361" y="614"/>
                  <a:pt x="361" y="614"/>
                </a:cubicBezTo>
                <a:close/>
                <a:moveTo>
                  <a:pt x="363" y="621"/>
                </a:moveTo>
                <a:cubicBezTo>
                  <a:pt x="361" y="622"/>
                  <a:pt x="362" y="619"/>
                  <a:pt x="363" y="621"/>
                </a:cubicBezTo>
                <a:close/>
                <a:moveTo>
                  <a:pt x="360" y="560"/>
                </a:moveTo>
                <a:cubicBezTo>
                  <a:pt x="360" y="558"/>
                  <a:pt x="365" y="557"/>
                  <a:pt x="366" y="560"/>
                </a:cubicBezTo>
                <a:cubicBezTo>
                  <a:pt x="366" y="563"/>
                  <a:pt x="359" y="564"/>
                  <a:pt x="360" y="560"/>
                </a:cubicBezTo>
                <a:close/>
                <a:moveTo>
                  <a:pt x="362" y="459"/>
                </a:moveTo>
                <a:cubicBezTo>
                  <a:pt x="360" y="461"/>
                  <a:pt x="362" y="457"/>
                  <a:pt x="362" y="459"/>
                </a:cubicBezTo>
                <a:cubicBezTo>
                  <a:pt x="362" y="459"/>
                  <a:pt x="362" y="459"/>
                  <a:pt x="362" y="459"/>
                </a:cubicBezTo>
                <a:close/>
                <a:moveTo>
                  <a:pt x="362" y="508"/>
                </a:moveTo>
                <a:cubicBezTo>
                  <a:pt x="363" y="507"/>
                  <a:pt x="361" y="510"/>
                  <a:pt x="362" y="508"/>
                </a:cubicBezTo>
                <a:close/>
                <a:moveTo>
                  <a:pt x="362" y="515"/>
                </a:moveTo>
                <a:cubicBezTo>
                  <a:pt x="361" y="516"/>
                  <a:pt x="363" y="514"/>
                  <a:pt x="362" y="515"/>
                </a:cubicBezTo>
                <a:close/>
                <a:moveTo>
                  <a:pt x="366" y="501"/>
                </a:moveTo>
                <a:cubicBezTo>
                  <a:pt x="366" y="501"/>
                  <a:pt x="366" y="501"/>
                  <a:pt x="366" y="501"/>
                </a:cubicBezTo>
                <a:cubicBezTo>
                  <a:pt x="365" y="503"/>
                  <a:pt x="367" y="499"/>
                  <a:pt x="366" y="501"/>
                </a:cubicBezTo>
                <a:close/>
                <a:moveTo>
                  <a:pt x="368" y="619"/>
                </a:moveTo>
                <a:cubicBezTo>
                  <a:pt x="367" y="618"/>
                  <a:pt x="369" y="618"/>
                  <a:pt x="369" y="617"/>
                </a:cubicBezTo>
                <a:cubicBezTo>
                  <a:pt x="369" y="618"/>
                  <a:pt x="368" y="618"/>
                  <a:pt x="368" y="619"/>
                </a:cubicBezTo>
                <a:close/>
                <a:moveTo>
                  <a:pt x="371" y="614"/>
                </a:moveTo>
                <a:cubicBezTo>
                  <a:pt x="371" y="614"/>
                  <a:pt x="372" y="615"/>
                  <a:pt x="372" y="615"/>
                </a:cubicBezTo>
                <a:cubicBezTo>
                  <a:pt x="370" y="616"/>
                  <a:pt x="372" y="612"/>
                  <a:pt x="371" y="614"/>
                </a:cubicBezTo>
                <a:close/>
                <a:moveTo>
                  <a:pt x="366" y="619"/>
                </a:moveTo>
                <a:cubicBezTo>
                  <a:pt x="367" y="616"/>
                  <a:pt x="370" y="613"/>
                  <a:pt x="372" y="611"/>
                </a:cubicBezTo>
                <a:cubicBezTo>
                  <a:pt x="370" y="614"/>
                  <a:pt x="368" y="617"/>
                  <a:pt x="366" y="619"/>
                </a:cubicBezTo>
                <a:close/>
                <a:moveTo>
                  <a:pt x="369" y="581"/>
                </a:moveTo>
                <a:cubicBezTo>
                  <a:pt x="369" y="582"/>
                  <a:pt x="368" y="582"/>
                  <a:pt x="367" y="582"/>
                </a:cubicBezTo>
                <a:cubicBezTo>
                  <a:pt x="365" y="579"/>
                  <a:pt x="372" y="579"/>
                  <a:pt x="369" y="581"/>
                </a:cubicBezTo>
                <a:close/>
                <a:moveTo>
                  <a:pt x="371" y="586"/>
                </a:moveTo>
                <a:cubicBezTo>
                  <a:pt x="371" y="586"/>
                  <a:pt x="370" y="587"/>
                  <a:pt x="370" y="587"/>
                </a:cubicBezTo>
                <a:cubicBezTo>
                  <a:pt x="369" y="586"/>
                  <a:pt x="371" y="585"/>
                  <a:pt x="371" y="586"/>
                </a:cubicBezTo>
                <a:close/>
                <a:moveTo>
                  <a:pt x="367" y="558"/>
                </a:moveTo>
                <a:cubicBezTo>
                  <a:pt x="368" y="557"/>
                  <a:pt x="365" y="556"/>
                  <a:pt x="366" y="555"/>
                </a:cubicBezTo>
                <a:cubicBezTo>
                  <a:pt x="367" y="553"/>
                  <a:pt x="368" y="555"/>
                  <a:pt x="369" y="554"/>
                </a:cubicBezTo>
                <a:cubicBezTo>
                  <a:pt x="371" y="552"/>
                  <a:pt x="372" y="548"/>
                  <a:pt x="375" y="546"/>
                </a:cubicBezTo>
                <a:cubicBezTo>
                  <a:pt x="373" y="550"/>
                  <a:pt x="370" y="554"/>
                  <a:pt x="367" y="558"/>
                </a:cubicBezTo>
                <a:close/>
                <a:moveTo>
                  <a:pt x="369" y="514"/>
                </a:moveTo>
                <a:cubicBezTo>
                  <a:pt x="369" y="514"/>
                  <a:pt x="368" y="514"/>
                  <a:pt x="368" y="514"/>
                </a:cubicBezTo>
                <a:cubicBezTo>
                  <a:pt x="366" y="516"/>
                  <a:pt x="369" y="511"/>
                  <a:pt x="369" y="514"/>
                </a:cubicBezTo>
                <a:close/>
                <a:moveTo>
                  <a:pt x="370" y="543"/>
                </a:moveTo>
                <a:cubicBezTo>
                  <a:pt x="371" y="544"/>
                  <a:pt x="369" y="545"/>
                  <a:pt x="369" y="545"/>
                </a:cubicBezTo>
                <a:cubicBezTo>
                  <a:pt x="366" y="546"/>
                  <a:pt x="368" y="541"/>
                  <a:pt x="370" y="543"/>
                </a:cubicBezTo>
                <a:close/>
                <a:moveTo>
                  <a:pt x="375" y="543"/>
                </a:moveTo>
                <a:cubicBezTo>
                  <a:pt x="375" y="544"/>
                  <a:pt x="372" y="545"/>
                  <a:pt x="372" y="543"/>
                </a:cubicBezTo>
                <a:cubicBezTo>
                  <a:pt x="372" y="542"/>
                  <a:pt x="374" y="542"/>
                  <a:pt x="375" y="543"/>
                </a:cubicBezTo>
                <a:close/>
                <a:moveTo>
                  <a:pt x="373" y="506"/>
                </a:moveTo>
                <a:cubicBezTo>
                  <a:pt x="373" y="505"/>
                  <a:pt x="372" y="507"/>
                  <a:pt x="373" y="506"/>
                </a:cubicBezTo>
                <a:close/>
                <a:moveTo>
                  <a:pt x="377" y="627"/>
                </a:moveTo>
                <a:cubicBezTo>
                  <a:pt x="377" y="629"/>
                  <a:pt x="375" y="627"/>
                  <a:pt x="377" y="627"/>
                </a:cubicBezTo>
                <a:close/>
                <a:moveTo>
                  <a:pt x="376" y="607"/>
                </a:moveTo>
                <a:cubicBezTo>
                  <a:pt x="376" y="608"/>
                  <a:pt x="375" y="606"/>
                  <a:pt x="376" y="607"/>
                </a:cubicBezTo>
                <a:close/>
                <a:moveTo>
                  <a:pt x="373" y="574"/>
                </a:moveTo>
                <a:cubicBezTo>
                  <a:pt x="374" y="573"/>
                  <a:pt x="376" y="572"/>
                  <a:pt x="377" y="572"/>
                </a:cubicBezTo>
                <a:cubicBezTo>
                  <a:pt x="376" y="573"/>
                  <a:pt x="375" y="573"/>
                  <a:pt x="373" y="574"/>
                </a:cubicBezTo>
                <a:close/>
                <a:moveTo>
                  <a:pt x="376" y="566"/>
                </a:moveTo>
                <a:cubicBezTo>
                  <a:pt x="373" y="566"/>
                  <a:pt x="376" y="562"/>
                  <a:pt x="377" y="564"/>
                </a:cubicBezTo>
                <a:cubicBezTo>
                  <a:pt x="377" y="565"/>
                  <a:pt x="376" y="565"/>
                  <a:pt x="376" y="566"/>
                </a:cubicBezTo>
                <a:close/>
                <a:moveTo>
                  <a:pt x="373" y="610"/>
                </a:moveTo>
                <a:cubicBezTo>
                  <a:pt x="373" y="609"/>
                  <a:pt x="374" y="608"/>
                  <a:pt x="375" y="607"/>
                </a:cubicBezTo>
                <a:cubicBezTo>
                  <a:pt x="376" y="608"/>
                  <a:pt x="374" y="610"/>
                  <a:pt x="373" y="610"/>
                </a:cubicBezTo>
                <a:close/>
                <a:moveTo>
                  <a:pt x="375" y="636"/>
                </a:moveTo>
                <a:cubicBezTo>
                  <a:pt x="375" y="635"/>
                  <a:pt x="382" y="634"/>
                  <a:pt x="382" y="637"/>
                </a:cubicBezTo>
                <a:cubicBezTo>
                  <a:pt x="382" y="641"/>
                  <a:pt x="373" y="640"/>
                  <a:pt x="375" y="636"/>
                </a:cubicBezTo>
                <a:close/>
                <a:moveTo>
                  <a:pt x="378" y="554"/>
                </a:moveTo>
                <a:cubicBezTo>
                  <a:pt x="378" y="555"/>
                  <a:pt x="377" y="553"/>
                  <a:pt x="378" y="554"/>
                </a:cubicBezTo>
                <a:close/>
                <a:moveTo>
                  <a:pt x="378" y="572"/>
                </a:moveTo>
                <a:cubicBezTo>
                  <a:pt x="378" y="572"/>
                  <a:pt x="377" y="572"/>
                  <a:pt x="378" y="572"/>
                </a:cubicBezTo>
                <a:close/>
                <a:moveTo>
                  <a:pt x="385" y="570"/>
                </a:moveTo>
                <a:cubicBezTo>
                  <a:pt x="384" y="571"/>
                  <a:pt x="382" y="571"/>
                  <a:pt x="380" y="571"/>
                </a:cubicBezTo>
                <a:cubicBezTo>
                  <a:pt x="381" y="570"/>
                  <a:pt x="383" y="570"/>
                  <a:pt x="385" y="570"/>
                </a:cubicBezTo>
                <a:close/>
                <a:moveTo>
                  <a:pt x="384" y="504"/>
                </a:moveTo>
                <a:cubicBezTo>
                  <a:pt x="385" y="504"/>
                  <a:pt x="384" y="505"/>
                  <a:pt x="384" y="504"/>
                </a:cubicBezTo>
                <a:cubicBezTo>
                  <a:pt x="383" y="504"/>
                  <a:pt x="384" y="504"/>
                  <a:pt x="384" y="504"/>
                </a:cubicBezTo>
                <a:close/>
                <a:moveTo>
                  <a:pt x="383" y="466"/>
                </a:moveTo>
                <a:cubicBezTo>
                  <a:pt x="381" y="468"/>
                  <a:pt x="379" y="469"/>
                  <a:pt x="377" y="470"/>
                </a:cubicBezTo>
                <a:cubicBezTo>
                  <a:pt x="378" y="469"/>
                  <a:pt x="380" y="467"/>
                  <a:pt x="383" y="466"/>
                </a:cubicBezTo>
                <a:close/>
                <a:moveTo>
                  <a:pt x="378" y="425"/>
                </a:moveTo>
                <a:cubicBezTo>
                  <a:pt x="378" y="425"/>
                  <a:pt x="378" y="426"/>
                  <a:pt x="378" y="426"/>
                </a:cubicBezTo>
                <a:cubicBezTo>
                  <a:pt x="378" y="427"/>
                  <a:pt x="377" y="425"/>
                  <a:pt x="378" y="425"/>
                </a:cubicBezTo>
                <a:close/>
                <a:moveTo>
                  <a:pt x="380" y="453"/>
                </a:moveTo>
                <a:cubicBezTo>
                  <a:pt x="381" y="452"/>
                  <a:pt x="381" y="452"/>
                  <a:pt x="382" y="452"/>
                </a:cubicBezTo>
                <a:cubicBezTo>
                  <a:pt x="381" y="452"/>
                  <a:pt x="380" y="453"/>
                  <a:pt x="380" y="453"/>
                </a:cubicBezTo>
                <a:close/>
                <a:moveTo>
                  <a:pt x="376" y="394"/>
                </a:moveTo>
                <a:cubicBezTo>
                  <a:pt x="377" y="394"/>
                  <a:pt x="381" y="388"/>
                  <a:pt x="384" y="388"/>
                </a:cubicBezTo>
                <a:cubicBezTo>
                  <a:pt x="381" y="389"/>
                  <a:pt x="379" y="394"/>
                  <a:pt x="376" y="394"/>
                </a:cubicBezTo>
                <a:close/>
                <a:moveTo>
                  <a:pt x="397" y="460"/>
                </a:moveTo>
                <a:cubicBezTo>
                  <a:pt x="394" y="463"/>
                  <a:pt x="387" y="465"/>
                  <a:pt x="383" y="468"/>
                </a:cubicBezTo>
                <a:cubicBezTo>
                  <a:pt x="387" y="464"/>
                  <a:pt x="392" y="463"/>
                  <a:pt x="397" y="460"/>
                </a:cubicBezTo>
                <a:close/>
                <a:moveTo>
                  <a:pt x="386" y="182"/>
                </a:moveTo>
                <a:cubicBezTo>
                  <a:pt x="386" y="181"/>
                  <a:pt x="388" y="181"/>
                  <a:pt x="388" y="182"/>
                </a:cubicBezTo>
                <a:cubicBezTo>
                  <a:pt x="389" y="183"/>
                  <a:pt x="386" y="183"/>
                  <a:pt x="386" y="182"/>
                </a:cubicBezTo>
                <a:close/>
                <a:moveTo>
                  <a:pt x="398" y="418"/>
                </a:moveTo>
                <a:cubicBezTo>
                  <a:pt x="398" y="419"/>
                  <a:pt x="396" y="420"/>
                  <a:pt x="396" y="421"/>
                </a:cubicBezTo>
                <a:cubicBezTo>
                  <a:pt x="395" y="420"/>
                  <a:pt x="397" y="418"/>
                  <a:pt x="398" y="418"/>
                </a:cubicBezTo>
                <a:close/>
                <a:moveTo>
                  <a:pt x="397" y="371"/>
                </a:moveTo>
                <a:cubicBezTo>
                  <a:pt x="395" y="372"/>
                  <a:pt x="398" y="370"/>
                  <a:pt x="397" y="371"/>
                </a:cubicBezTo>
                <a:close/>
                <a:moveTo>
                  <a:pt x="403" y="137"/>
                </a:moveTo>
                <a:cubicBezTo>
                  <a:pt x="405" y="139"/>
                  <a:pt x="398" y="141"/>
                  <a:pt x="398" y="140"/>
                </a:cubicBezTo>
                <a:cubicBezTo>
                  <a:pt x="397" y="140"/>
                  <a:pt x="401" y="135"/>
                  <a:pt x="403" y="137"/>
                </a:cubicBezTo>
                <a:close/>
                <a:moveTo>
                  <a:pt x="401" y="86"/>
                </a:moveTo>
                <a:cubicBezTo>
                  <a:pt x="402" y="84"/>
                  <a:pt x="404" y="89"/>
                  <a:pt x="401" y="88"/>
                </a:cubicBezTo>
                <a:cubicBezTo>
                  <a:pt x="400" y="88"/>
                  <a:pt x="400" y="87"/>
                  <a:pt x="401" y="86"/>
                </a:cubicBezTo>
                <a:close/>
                <a:moveTo>
                  <a:pt x="440" y="59"/>
                </a:moveTo>
                <a:cubicBezTo>
                  <a:pt x="440" y="60"/>
                  <a:pt x="438" y="61"/>
                  <a:pt x="438" y="60"/>
                </a:cubicBezTo>
                <a:cubicBezTo>
                  <a:pt x="437" y="60"/>
                  <a:pt x="440" y="58"/>
                  <a:pt x="440" y="59"/>
                </a:cubicBezTo>
                <a:close/>
                <a:moveTo>
                  <a:pt x="438" y="29"/>
                </a:moveTo>
                <a:cubicBezTo>
                  <a:pt x="438" y="28"/>
                  <a:pt x="440" y="29"/>
                  <a:pt x="440" y="29"/>
                </a:cubicBezTo>
                <a:cubicBezTo>
                  <a:pt x="441" y="30"/>
                  <a:pt x="438" y="30"/>
                  <a:pt x="438" y="29"/>
                </a:cubicBezTo>
                <a:close/>
                <a:moveTo>
                  <a:pt x="437" y="51"/>
                </a:moveTo>
                <a:cubicBezTo>
                  <a:pt x="437" y="51"/>
                  <a:pt x="438" y="50"/>
                  <a:pt x="438" y="51"/>
                </a:cubicBezTo>
                <a:cubicBezTo>
                  <a:pt x="439" y="52"/>
                  <a:pt x="437" y="51"/>
                  <a:pt x="437" y="51"/>
                </a:cubicBezTo>
                <a:close/>
                <a:moveTo>
                  <a:pt x="443" y="75"/>
                </a:moveTo>
                <a:cubicBezTo>
                  <a:pt x="442" y="77"/>
                  <a:pt x="431" y="76"/>
                  <a:pt x="432" y="75"/>
                </a:cubicBezTo>
                <a:cubicBezTo>
                  <a:pt x="432" y="74"/>
                  <a:pt x="440" y="76"/>
                  <a:pt x="443" y="75"/>
                </a:cubicBezTo>
                <a:close/>
                <a:moveTo>
                  <a:pt x="450" y="40"/>
                </a:moveTo>
                <a:cubicBezTo>
                  <a:pt x="450" y="40"/>
                  <a:pt x="448" y="39"/>
                  <a:pt x="448" y="39"/>
                </a:cubicBezTo>
                <a:cubicBezTo>
                  <a:pt x="448" y="39"/>
                  <a:pt x="450" y="39"/>
                  <a:pt x="450" y="40"/>
                </a:cubicBezTo>
                <a:close/>
                <a:moveTo>
                  <a:pt x="453" y="36"/>
                </a:moveTo>
                <a:cubicBezTo>
                  <a:pt x="449" y="39"/>
                  <a:pt x="447" y="36"/>
                  <a:pt x="453" y="36"/>
                </a:cubicBezTo>
                <a:close/>
                <a:moveTo>
                  <a:pt x="446" y="83"/>
                </a:moveTo>
                <a:cubicBezTo>
                  <a:pt x="448" y="81"/>
                  <a:pt x="448" y="83"/>
                  <a:pt x="446" y="83"/>
                </a:cubicBezTo>
                <a:close/>
                <a:moveTo>
                  <a:pt x="445" y="112"/>
                </a:moveTo>
                <a:cubicBezTo>
                  <a:pt x="446" y="111"/>
                  <a:pt x="446" y="112"/>
                  <a:pt x="447" y="111"/>
                </a:cubicBezTo>
                <a:cubicBezTo>
                  <a:pt x="447" y="111"/>
                  <a:pt x="446" y="112"/>
                  <a:pt x="445" y="112"/>
                </a:cubicBezTo>
                <a:close/>
                <a:moveTo>
                  <a:pt x="449" y="53"/>
                </a:moveTo>
                <a:cubicBezTo>
                  <a:pt x="449" y="54"/>
                  <a:pt x="449" y="55"/>
                  <a:pt x="448" y="55"/>
                </a:cubicBezTo>
                <a:cubicBezTo>
                  <a:pt x="446" y="55"/>
                  <a:pt x="448" y="51"/>
                  <a:pt x="449" y="53"/>
                </a:cubicBezTo>
                <a:close/>
                <a:moveTo>
                  <a:pt x="448" y="50"/>
                </a:moveTo>
                <a:cubicBezTo>
                  <a:pt x="447" y="51"/>
                  <a:pt x="446" y="51"/>
                  <a:pt x="445" y="52"/>
                </a:cubicBezTo>
                <a:cubicBezTo>
                  <a:pt x="445" y="51"/>
                  <a:pt x="447" y="50"/>
                  <a:pt x="448" y="50"/>
                </a:cubicBezTo>
                <a:close/>
                <a:moveTo>
                  <a:pt x="444" y="51"/>
                </a:moveTo>
                <a:cubicBezTo>
                  <a:pt x="444" y="51"/>
                  <a:pt x="445" y="50"/>
                  <a:pt x="445" y="51"/>
                </a:cubicBezTo>
                <a:cubicBezTo>
                  <a:pt x="445" y="51"/>
                  <a:pt x="444" y="52"/>
                  <a:pt x="444" y="51"/>
                </a:cubicBezTo>
                <a:close/>
                <a:moveTo>
                  <a:pt x="444" y="112"/>
                </a:moveTo>
                <a:cubicBezTo>
                  <a:pt x="444" y="112"/>
                  <a:pt x="445" y="112"/>
                  <a:pt x="445" y="112"/>
                </a:cubicBezTo>
                <a:cubicBezTo>
                  <a:pt x="445" y="114"/>
                  <a:pt x="442" y="111"/>
                  <a:pt x="444" y="112"/>
                </a:cubicBezTo>
                <a:close/>
                <a:moveTo>
                  <a:pt x="443" y="52"/>
                </a:moveTo>
                <a:cubicBezTo>
                  <a:pt x="445" y="51"/>
                  <a:pt x="441" y="52"/>
                  <a:pt x="443" y="52"/>
                </a:cubicBezTo>
                <a:close/>
                <a:moveTo>
                  <a:pt x="445" y="115"/>
                </a:moveTo>
                <a:cubicBezTo>
                  <a:pt x="453" y="112"/>
                  <a:pt x="454" y="123"/>
                  <a:pt x="446" y="122"/>
                </a:cubicBezTo>
                <a:cubicBezTo>
                  <a:pt x="445" y="122"/>
                  <a:pt x="442" y="121"/>
                  <a:pt x="442" y="118"/>
                </a:cubicBezTo>
                <a:cubicBezTo>
                  <a:pt x="443" y="119"/>
                  <a:pt x="444" y="116"/>
                  <a:pt x="445" y="115"/>
                </a:cubicBezTo>
                <a:close/>
                <a:moveTo>
                  <a:pt x="450" y="112"/>
                </a:moveTo>
                <a:cubicBezTo>
                  <a:pt x="451" y="113"/>
                  <a:pt x="449" y="113"/>
                  <a:pt x="449" y="113"/>
                </a:cubicBezTo>
                <a:cubicBezTo>
                  <a:pt x="449" y="113"/>
                  <a:pt x="449" y="112"/>
                  <a:pt x="450" y="112"/>
                </a:cubicBezTo>
                <a:close/>
                <a:moveTo>
                  <a:pt x="456" y="102"/>
                </a:moveTo>
                <a:cubicBezTo>
                  <a:pt x="456" y="104"/>
                  <a:pt x="453" y="105"/>
                  <a:pt x="452" y="103"/>
                </a:cubicBezTo>
                <a:cubicBezTo>
                  <a:pt x="450" y="102"/>
                  <a:pt x="456" y="100"/>
                  <a:pt x="456" y="102"/>
                </a:cubicBezTo>
                <a:close/>
                <a:moveTo>
                  <a:pt x="452" y="90"/>
                </a:moveTo>
                <a:cubicBezTo>
                  <a:pt x="452" y="89"/>
                  <a:pt x="454" y="89"/>
                  <a:pt x="454" y="89"/>
                </a:cubicBezTo>
                <a:cubicBezTo>
                  <a:pt x="455" y="90"/>
                  <a:pt x="453" y="91"/>
                  <a:pt x="452" y="90"/>
                </a:cubicBezTo>
                <a:close/>
                <a:moveTo>
                  <a:pt x="454" y="91"/>
                </a:moveTo>
                <a:cubicBezTo>
                  <a:pt x="455" y="89"/>
                  <a:pt x="456" y="92"/>
                  <a:pt x="454" y="91"/>
                </a:cubicBezTo>
                <a:close/>
                <a:moveTo>
                  <a:pt x="456" y="169"/>
                </a:moveTo>
                <a:cubicBezTo>
                  <a:pt x="461" y="172"/>
                  <a:pt x="453" y="179"/>
                  <a:pt x="448" y="175"/>
                </a:cubicBezTo>
                <a:cubicBezTo>
                  <a:pt x="450" y="175"/>
                  <a:pt x="449" y="174"/>
                  <a:pt x="447" y="173"/>
                </a:cubicBezTo>
                <a:cubicBezTo>
                  <a:pt x="448" y="170"/>
                  <a:pt x="452" y="167"/>
                  <a:pt x="456" y="169"/>
                </a:cubicBezTo>
                <a:close/>
                <a:moveTo>
                  <a:pt x="461" y="136"/>
                </a:moveTo>
                <a:cubicBezTo>
                  <a:pt x="465" y="134"/>
                  <a:pt x="460" y="140"/>
                  <a:pt x="457" y="139"/>
                </a:cubicBezTo>
                <a:cubicBezTo>
                  <a:pt x="458" y="138"/>
                  <a:pt x="460" y="136"/>
                  <a:pt x="461" y="136"/>
                </a:cubicBezTo>
                <a:close/>
                <a:moveTo>
                  <a:pt x="459" y="124"/>
                </a:moveTo>
                <a:cubicBezTo>
                  <a:pt x="458" y="124"/>
                  <a:pt x="460" y="124"/>
                  <a:pt x="459" y="124"/>
                </a:cubicBezTo>
                <a:close/>
                <a:moveTo>
                  <a:pt x="463" y="74"/>
                </a:moveTo>
                <a:cubicBezTo>
                  <a:pt x="462" y="74"/>
                  <a:pt x="463" y="73"/>
                  <a:pt x="464" y="74"/>
                </a:cubicBezTo>
                <a:cubicBezTo>
                  <a:pt x="464" y="74"/>
                  <a:pt x="463" y="75"/>
                  <a:pt x="463" y="74"/>
                </a:cubicBezTo>
                <a:close/>
                <a:moveTo>
                  <a:pt x="463" y="76"/>
                </a:moveTo>
                <a:cubicBezTo>
                  <a:pt x="464" y="74"/>
                  <a:pt x="465" y="76"/>
                  <a:pt x="463" y="76"/>
                </a:cubicBezTo>
                <a:close/>
                <a:moveTo>
                  <a:pt x="464" y="82"/>
                </a:moveTo>
                <a:cubicBezTo>
                  <a:pt x="464" y="84"/>
                  <a:pt x="459" y="84"/>
                  <a:pt x="460" y="81"/>
                </a:cubicBezTo>
                <a:cubicBezTo>
                  <a:pt x="460" y="80"/>
                  <a:pt x="464" y="81"/>
                  <a:pt x="464" y="82"/>
                </a:cubicBezTo>
                <a:close/>
                <a:moveTo>
                  <a:pt x="462" y="133"/>
                </a:moveTo>
                <a:cubicBezTo>
                  <a:pt x="463" y="134"/>
                  <a:pt x="461" y="135"/>
                  <a:pt x="461" y="135"/>
                </a:cubicBezTo>
                <a:cubicBezTo>
                  <a:pt x="460" y="134"/>
                  <a:pt x="462" y="133"/>
                  <a:pt x="462" y="133"/>
                </a:cubicBezTo>
                <a:close/>
                <a:moveTo>
                  <a:pt x="460" y="102"/>
                </a:moveTo>
                <a:cubicBezTo>
                  <a:pt x="460" y="102"/>
                  <a:pt x="461" y="102"/>
                  <a:pt x="461" y="102"/>
                </a:cubicBezTo>
                <a:cubicBezTo>
                  <a:pt x="463" y="99"/>
                  <a:pt x="462" y="103"/>
                  <a:pt x="460" y="102"/>
                </a:cubicBezTo>
                <a:close/>
                <a:moveTo>
                  <a:pt x="460" y="130"/>
                </a:moveTo>
                <a:cubicBezTo>
                  <a:pt x="460" y="130"/>
                  <a:pt x="460" y="131"/>
                  <a:pt x="460" y="131"/>
                </a:cubicBezTo>
                <a:cubicBezTo>
                  <a:pt x="459" y="131"/>
                  <a:pt x="460" y="130"/>
                  <a:pt x="460" y="130"/>
                </a:cubicBezTo>
                <a:close/>
                <a:moveTo>
                  <a:pt x="466" y="137"/>
                </a:moveTo>
                <a:cubicBezTo>
                  <a:pt x="466" y="138"/>
                  <a:pt x="464" y="138"/>
                  <a:pt x="464" y="138"/>
                </a:cubicBezTo>
                <a:cubicBezTo>
                  <a:pt x="464" y="137"/>
                  <a:pt x="466" y="136"/>
                  <a:pt x="466" y="137"/>
                </a:cubicBezTo>
                <a:close/>
                <a:moveTo>
                  <a:pt x="465" y="123"/>
                </a:moveTo>
                <a:cubicBezTo>
                  <a:pt x="467" y="122"/>
                  <a:pt x="467" y="123"/>
                  <a:pt x="465" y="123"/>
                </a:cubicBezTo>
                <a:close/>
                <a:moveTo>
                  <a:pt x="469" y="145"/>
                </a:moveTo>
                <a:cubicBezTo>
                  <a:pt x="469" y="145"/>
                  <a:pt x="468" y="147"/>
                  <a:pt x="468" y="147"/>
                </a:cubicBezTo>
                <a:cubicBezTo>
                  <a:pt x="467" y="148"/>
                  <a:pt x="467" y="149"/>
                  <a:pt x="465" y="148"/>
                </a:cubicBezTo>
                <a:cubicBezTo>
                  <a:pt x="465" y="148"/>
                  <a:pt x="465" y="147"/>
                  <a:pt x="465" y="147"/>
                </a:cubicBezTo>
                <a:cubicBezTo>
                  <a:pt x="465" y="147"/>
                  <a:pt x="462" y="146"/>
                  <a:pt x="462" y="145"/>
                </a:cubicBezTo>
                <a:cubicBezTo>
                  <a:pt x="462" y="142"/>
                  <a:pt x="469" y="144"/>
                  <a:pt x="469" y="145"/>
                </a:cubicBezTo>
                <a:close/>
                <a:moveTo>
                  <a:pt x="476" y="189"/>
                </a:moveTo>
                <a:cubicBezTo>
                  <a:pt x="475" y="192"/>
                  <a:pt x="472" y="193"/>
                  <a:pt x="470" y="195"/>
                </a:cubicBezTo>
                <a:cubicBezTo>
                  <a:pt x="471" y="193"/>
                  <a:pt x="474" y="191"/>
                  <a:pt x="476" y="189"/>
                </a:cubicBezTo>
                <a:close/>
                <a:moveTo>
                  <a:pt x="474" y="164"/>
                </a:moveTo>
                <a:cubicBezTo>
                  <a:pt x="476" y="162"/>
                  <a:pt x="475" y="166"/>
                  <a:pt x="473" y="165"/>
                </a:cubicBezTo>
                <a:cubicBezTo>
                  <a:pt x="473" y="165"/>
                  <a:pt x="474" y="164"/>
                  <a:pt x="474" y="164"/>
                </a:cubicBezTo>
                <a:close/>
                <a:moveTo>
                  <a:pt x="478" y="618"/>
                </a:moveTo>
                <a:cubicBezTo>
                  <a:pt x="478" y="617"/>
                  <a:pt x="481" y="616"/>
                  <a:pt x="482" y="618"/>
                </a:cubicBezTo>
                <a:cubicBezTo>
                  <a:pt x="483" y="621"/>
                  <a:pt x="477" y="622"/>
                  <a:pt x="478" y="618"/>
                </a:cubicBezTo>
                <a:close/>
                <a:moveTo>
                  <a:pt x="479" y="669"/>
                </a:moveTo>
                <a:cubicBezTo>
                  <a:pt x="479" y="669"/>
                  <a:pt x="477" y="670"/>
                  <a:pt x="477" y="669"/>
                </a:cubicBezTo>
                <a:cubicBezTo>
                  <a:pt x="476" y="667"/>
                  <a:pt x="479" y="668"/>
                  <a:pt x="479" y="669"/>
                </a:cubicBezTo>
                <a:close/>
                <a:moveTo>
                  <a:pt x="477" y="598"/>
                </a:moveTo>
                <a:cubicBezTo>
                  <a:pt x="477" y="597"/>
                  <a:pt x="480" y="596"/>
                  <a:pt x="481" y="594"/>
                </a:cubicBezTo>
                <a:cubicBezTo>
                  <a:pt x="481" y="596"/>
                  <a:pt x="478" y="597"/>
                  <a:pt x="477" y="598"/>
                </a:cubicBezTo>
                <a:close/>
                <a:moveTo>
                  <a:pt x="478" y="310"/>
                </a:moveTo>
                <a:cubicBezTo>
                  <a:pt x="480" y="308"/>
                  <a:pt x="480" y="313"/>
                  <a:pt x="478" y="312"/>
                </a:cubicBezTo>
                <a:cubicBezTo>
                  <a:pt x="477" y="311"/>
                  <a:pt x="478" y="310"/>
                  <a:pt x="478" y="310"/>
                </a:cubicBezTo>
                <a:close/>
                <a:moveTo>
                  <a:pt x="478" y="226"/>
                </a:moveTo>
                <a:cubicBezTo>
                  <a:pt x="479" y="224"/>
                  <a:pt x="480" y="227"/>
                  <a:pt x="478" y="227"/>
                </a:cubicBezTo>
                <a:cubicBezTo>
                  <a:pt x="478" y="226"/>
                  <a:pt x="478" y="226"/>
                  <a:pt x="478" y="226"/>
                </a:cubicBezTo>
                <a:close/>
                <a:moveTo>
                  <a:pt x="476" y="210"/>
                </a:moveTo>
                <a:cubicBezTo>
                  <a:pt x="475" y="208"/>
                  <a:pt x="480" y="205"/>
                  <a:pt x="480" y="209"/>
                </a:cubicBezTo>
                <a:cubicBezTo>
                  <a:pt x="481" y="210"/>
                  <a:pt x="476" y="211"/>
                  <a:pt x="476" y="210"/>
                </a:cubicBezTo>
                <a:close/>
                <a:moveTo>
                  <a:pt x="473" y="217"/>
                </a:moveTo>
                <a:cubicBezTo>
                  <a:pt x="472" y="219"/>
                  <a:pt x="467" y="225"/>
                  <a:pt x="465" y="226"/>
                </a:cubicBezTo>
                <a:cubicBezTo>
                  <a:pt x="462" y="227"/>
                  <a:pt x="466" y="224"/>
                  <a:pt x="467" y="223"/>
                </a:cubicBezTo>
                <a:cubicBezTo>
                  <a:pt x="469" y="222"/>
                  <a:pt x="471" y="218"/>
                  <a:pt x="472" y="215"/>
                </a:cubicBezTo>
                <a:cubicBezTo>
                  <a:pt x="472" y="216"/>
                  <a:pt x="472" y="216"/>
                  <a:pt x="472" y="215"/>
                </a:cubicBezTo>
                <a:cubicBezTo>
                  <a:pt x="472" y="215"/>
                  <a:pt x="472" y="215"/>
                  <a:pt x="473" y="215"/>
                </a:cubicBezTo>
                <a:cubicBezTo>
                  <a:pt x="473" y="215"/>
                  <a:pt x="473" y="215"/>
                  <a:pt x="473" y="215"/>
                </a:cubicBezTo>
                <a:cubicBezTo>
                  <a:pt x="474" y="214"/>
                  <a:pt x="474" y="213"/>
                  <a:pt x="475" y="212"/>
                </a:cubicBezTo>
                <a:cubicBezTo>
                  <a:pt x="475" y="212"/>
                  <a:pt x="476" y="213"/>
                  <a:pt x="476" y="213"/>
                </a:cubicBezTo>
                <a:cubicBezTo>
                  <a:pt x="476" y="213"/>
                  <a:pt x="474" y="215"/>
                  <a:pt x="473" y="217"/>
                </a:cubicBezTo>
                <a:close/>
                <a:moveTo>
                  <a:pt x="475" y="228"/>
                </a:moveTo>
                <a:cubicBezTo>
                  <a:pt x="474" y="227"/>
                  <a:pt x="475" y="227"/>
                  <a:pt x="475" y="227"/>
                </a:cubicBezTo>
                <a:cubicBezTo>
                  <a:pt x="476" y="227"/>
                  <a:pt x="475" y="229"/>
                  <a:pt x="475" y="228"/>
                </a:cubicBezTo>
                <a:close/>
                <a:moveTo>
                  <a:pt x="473" y="638"/>
                </a:moveTo>
                <a:cubicBezTo>
                  <a:pt x="473" y="638"/>
                  <a:pt x="474" y="637"/>
                  <a:pt x="474" y="638"/>
                </a:cubicBezTo>
                <a:cubicBezTo>
                  <a:pt x="475" y="639"/>
                  <a:pt x="472" y="640"/>
                  <a:pt x="473" y="638"/>
                </a:cubicBezTo>
                <a:close/>
                <a:moveTo>
                  <a:pt x="471" y="623"/>
                </a:moveTo>
                <a:cubicBezTo>
                  <a:pt x="471" y="622"/>
                  <a:pt x="473" y="622"/>
                  <a:pt x="473" y="623"/>
                </a:cubicBezTo>
                <a:cubicBezTo>
                  <a:pt x="473" y="624"/>
                  <a:pt x="471" y="624"/>
                  <a:pt x="471" y="623"/>
                </a:cubicBezTo>
                <a:close/>
                <a:moveTo>
                  <a:pt x="469" y="613"/>
                </a:moveTo>
                <a:cubicBezTo>
                  <a:pt x="465" y="614"/>
                  <a:pt x="462" y="616"/>
                  <a:pt x="459" y="615"/>
                </a:cubicBezTo>
                <a:cubicBezTo>
                  <a:pt x="460" y="612"/>
                  <a:pt x="468" y="613"/>
                  <a:pt x="470" y="613"/>
                </a:cubicBezTo>
                <a:cubicBezTo>
                  <a:pt x="471" y="613"/>
                  <a:pt x="476" y="611"/>
                  <a:pt x="475" y="613"/>
                </a:cubicBezTo>
                <a:cubicBezTo>
                  <a:pt x="474" y="614"/>
                  <a:pt x="469" y="613"/>
                  <a:pt x="469" y="613"/>
                </a:cubicBezTo>
                <a:close/>
                <a:moveTo>
                  <a:pt x="470" y="623"/>
                </a:moveTo>
                <a:cubicBezTo>
                  <a:pt x="470" y="623"/>
                  <a:pt x="469" y="623"/>
                  <a:pt x="469" y="623"/>
                </a:cubicBezTo>
                <a:cubicBezTo>
                  <a:pt x="469" y="623"/>
                  <a:pt x="470" y="622"/>
                  <a:pt x="470" y="623"/>
                </a:cubicBezTo>
                <a:close/>
                <a:moveTo>
                  <a:pt x="467" y="625"/>
                </a:moveTo>
                <a:cubicBezTo>
                  <a:pt x="467" y="625"/>
                  <a:pt x="467" y="624"/>
                  <a:pt x="468" y="624"/>
                </a:cubicBezTo>
                <a:cubicBezTo>
                  <a:pt x="468" y="624"/>
                  <a:pt x="467" y="625"/>
                  <a:pt x="467" y="625"/>
                </a:cubicBezTo>
                <a:close/>
                <a:moveTo>
                  <a:pt x="465" y="683"/>
                </a:moveTo>
                <a:cubicBezTo>
                  <a:pt x="465" y="682"/>
                  <a:pt x="469" y="682"/>
                  <a:pt x="469" y="684"/>
                </a:cubicBezTo>
                <a:cubicBezTo>
                  <a:pt x="469" y="686"/>
                  <a:pt x="464" y="686"/>
                  <a:pt x="465" y="683"/>
                </a:cubicBezTo>
                <a:close/>
                <a:moveTo>
                  <a:pt x="468" y="686"/>
                </a:moveTo>
                <a:cubicBezTo>
                  <a:pt x="467" y="688"/>
                  <a:pt x="465" y="686"/>
                  <a:pt x="468" y="686"/>
                </a:cubicBezTo>
                <a:close/>
                <a:moveTo>
                  <a:pt x="465" y="727"/>
                </a:moveTo>
                <a:cubicBezTo>
                  <a:pt x="464" y="728"/>
                  <a:pt x="464" y="727"/>
                  <a:pt x="464" y="727"/>
                </a:cubicBezTo>
                <a:cubicBezTo>
                  <a:pt x="464" y="727"/>
                  <a:pt x="466" y="727"/>
                  <a:pt x="465" y="727"/>
                </a:cubicBezTo>
                <a:close/>
                <a:moveTo>
                  <a:pt x="459" y="730"/>
                </a:moveTo>
                <a:cubicBezTo>
                  <a:pt x="460" y="729"/>
                  <a:pt x="461" y="729"/>
                  <a:pt x="463" y="729"/>
                </a:cubicBezTo>
                <a:cubicBezTo>
                  <a:pt x="461" y="729"/>
                  <a:pt x="460" y="730"/>
                  <a:pt x="459" y="730"/>
                </a:cubicBezTo>
                <a:close/>
                <a:moveTo>
                  <a:pt x="462" y="732"/>
                </a:moveTo>
                <a:cubicBezTo>
                  <a:pt x="461" y="733"/>
                  <a:pt x="460" y="733"/>
                  <a:pt x="459" y="733"/>
                </a:cubicBezTo>
                <a:cubicBezTo>
                  <a:pt x="459" y="732"/>
                  <a:pt x="461" y="732"/>
                  <a:pt x="462" y="732"/>
                </a:cubicBezTo>
                <a:close/>
                <a:moveTo>
                  <a:pt x="459" y="679"/>
                </a:moveTo>
                <a:cubicBezTo>
                  <a:pt x="459" y="679"/>
                  <a:pt x="462" y="677"/>
                  <a:pt x="463" y="678"/>
                </a:cubicBezTo>
                <a:cubicBezTo>
                  <a:pt x="462" y="679"/>
                  <a:pt x="460" y="679"/>
                  <a:pt x="459" y="679"/>
                </a:cubicBezTo>
                <a:close/>
                <a:moveTo>
                  <a:pt x="457" y="618"/>
                </a:moveTo>
                <a:cubicBezTo>
                  <a:pt x="457" y="618"/>
                  <a:pt x="456" y="618"/>
                  <a:pt x="456" y="618"/>
                </a:cubicBezTo>
                <a:cubicBezTo>
                  <a:pt x="454" y="616"/>
                  <a:pt x="460" y="616"/>
                  <a:pt x="457" y="618"/>
                </a:cubicBezTo>
                <a:close/>
                <a:moveTo>
                  <a:pt x="457" y="670"/>
                </a:moveTo>
                <a:cubicBezTo>
                  <a:pt x="457" y="670"/>
                  <a:pt x="457" y="670"/>
                  <a:pt x="456" y="670"/>
                </a:cubicBezTo>
                <a:cubicBezTo>
                  <a:pt x="456" y="669"/>
                  <a:pt x="458" y="670"/>
                  <a:pt x="457" y="670"/>
                </a:cubicBezTo>
                <a:close/>
                <a:moveTo>
                  <a:pt x="440" y="664"/>
                </a:moveTo>
                <a:cubicBezTo>
                  <a:pt x="436" y="659"/>
                  <a:pt x="445" y="655"/>
                  <a:pt x="449" y="659"/>
                </a:cubicBezTo>
                <a:cubicBezTo>
                  <a:pt x="448" y="660"/>
                  <a:pt x="448" y="661"/>
                  <a:pt x="449" y="661"/>
                </a:cubicBezTo>
                <a:cubicBezTo>
                  <a:pt x="448" y="664"/>
                  <a:pt x="443" y="666"/>
                  <a:pt x="440" y="664"/>
                </a:cubicBezTo>
                <a:close/>
                <a:moveTo>
                  <a:pt x="447" y="703"/>
                </a:moveTo>
                <a:cubicBezTo>
                  <a:pt x="447" y="703"/>
                  <a:pt x="445" y="703"/>
                  <a:pt x="445" y="703"/>
                </a:cubicBezTo>
                <a:cubicBezTo>
                  <a:pt x="444" y="702"/>
                  <a:pt x="447" y="702"/>
                  <a:pt x="447" y="703"/>
                </a:cubicBezTo>
                <a:close/>
                <a:moveTo>
                  <a:pt x="435" y="744"/>
                </a:moveTo>
                <a:cubicBezTo>
                  <a:pt x="435" y="743"/>
                  <a:pt x="435" y="743"/>
                  <a:pt x="436" y="742"/>
                </a:cubicBezTo>
                <a:cubicBezTo>
                  <a:pt x="436" y="739"/>
                  <a:pt x="440" y="739"/>
                  <a:pt x="441" y="741"/>
                </a:cubicBezTo>
                <a:cubicBezTo>
                  <a:pt x="441" y="741"/>
                  <a:pt x="441" y="741"/>
                  <a:pt x="441" y="741"/>
                </a:cubicBezTo>
                <a:cubicBezTo>
                  <a:pt x="441" y="741"/>
                  <a:pt x="441" y="741"/>
                  <a:pt x="442" y="741"/>
                </a:cubicBezTo>
                <a:cubicBezTo>
                  <a:pt x="445" y="742"/>
                  <a:pt x="439" y="750"/>
                  <a:pt x="435" y="744"/>
                </a:cubicBezTo>
                <a:close/>
                <a:moveTo>
                  <a:pt x="437" y="748"/>
                </a:moveTo>
                <a:cubicBezTo>
                  <a:pt x="436" y="747"/>
                  <a:pt x="438" y="748"/>
                  <a:pt x="437" y="748"/>
                </a:cubicBezTo>
                <a:close/>
                <a:moveTo>
                  <a:pt x="415" y="747"/>
                </a:moveTo>
                <a:cubicBezTo>
                  <a:pt x="415" y="748"/>
                  <a:pt x="411" y="747"/>
                  <a:pt x="411" y="746"/>
                </a:cubicBezTo>
                <a:cubicBezTo>
                  <a:pt x="412" y="744"/>
                  <a:pt x="417" y="745"/>
                  <a:pt x="415" y="747"/>
                </a:cubicBezTo>
                <a:close/>
                <a:moveTo>
                  <a:pt x="412" y="734"/>
                </a:moveTo>
                <a:cubicBezTo>
                  <a:pt x="413" y="733"/>
                  <a:pt x="413" y="735"/>
                  <a:pt x="412" y="734"/>
                </a:cubicBezTo>
                <a:close/>
                <a:moveTo>
                  <a:pt x="409" y="732"/>
                </a:moveTo>
                <a:cubicBezTo>
                  <a:pt x="407" y="731"/>
                  <a:pt x="406" y="729"/>
                  <a:pt x="409" y="727"/>
                </a:cubicBezTo>
                <a:cubicBezTo>
                  <a:pt x="410" y="726"/>
                  <a:pt x="412" y="726"/>
                  <a:pt x="413" y="727"/>
                </a:cubicBezTo>
                <a:cubicBezTo>
                  <a:pt x="415" y="727"/>
                  <a:pt x="417" y="727"/>
                  <a:pt x="417" y="727"/>
                </a:cubicBezTo>
                <a:cubicBezTo>
                  <a:pt x="417" y="727"/>
                  <a:pt x="416" y="728"/>
                  <a:pt x="416" y="728"/>
                </a:cubicBezTo>
                <a:cubicBezTo>
                  <a:pt x="416" y="728"/>
                  <a:pt x="417" y="728"/>
                  <a:pt x="417" y="728"/>
                </a:cubicBezTo>
                <a:cubicBezTo>
                  <a:pt x="417" y="728"/>
                  <a:pt x="417" y="728"/>
                  <a:pt x="417" y="728"/>
                </a:cubicBezTo>
                <a:cubicBezTo>
                  <a:pt x="418" y="730"/>
                  <a:pt x="411" y="733"/>
                  <a:pt x="409" y="732"/>
                </a:cubicBezTo>
                <a:close/>
                <a:moveTo>
                  <a:pt x="411" y="754"/>
                </a:moveTo>
                <a:cubicBezTo>
                  <a:pt x="411" y="755"/>
                  <a:pt x="410" y="754"/>
                  <a:pt x="409" y="754"/>
                </a:cubicBezTo>
                <a:cubicBezTo>
                  <a:pt x="409" y="753"/>
                  <a:pt x="411" y="753"/>
                  <a:pt x="411" y="754"/>
                </a:cubicBezTo>
                <a:close/>
                <a:moveTo>
                  <a:pt x="411" y="752"/>
                </a:moveTo>
                <a:cubicBezTo>
                  <a:pt x="409" y="753"/>
                  <a:pt x="409" y="751"/>
                  <a:pt x="411" y="752"/>
                </a:cubicBezTo>
                <a:close/>
                <a:moveTo>
                  <a:pt x="408" y="748"/>
                </a:moveTo>
                <a:cubicBezTo>
                  <a:pt x="408" y="749"/>
                  <a:pt x="407" y="748"/>
                  <a:pt x="407" y="747"/>
                </a:cubicBezTo>
                <a:cubicBezTo>
                  <a:pt x="407" y="746"/>
                  <a:pt x="409" y="747"/>
                  <a:pt x="408" y="748"/>
                </a:cubicBezTo>
                <a:close/>
                <a:moveTo>
                  <a:pt x="408" y="709"/>
                </a:moveTo>
                <a:cubicBezTo>
                  <a:pt x="409" y="709"/>
                  <a:pt x="408" y="710"/>
                  <a:pt x="408" y="710"/>
                </a:cubicBezTo>
                <a:cubicBezTo>
                  <a:pt x="407" y="709"/>
                  <a:pt x="408" y="709"/>
                  <a:pt x="408" y="709"/>
                </a:cubicBezTo>
                <a:close/>
                <a:moveTo>
                  <a:pt x="412" y="720"/>
                </a:moveTo>
                <a:cubicBezTo>
                  <a:pt x="413" y="721"/>
                  <a:pt x="412" y="722"/>
                  <a:pt x="411" y="721"/>
                </a:cubicBezTo>
                <a:cubicBezTo>
                  <a:pt x="411" y="721"/>
                  <a:pt x="412" y="720"/>
                  <a:pt x="412" y="720"/>
                </a:cubicBezTo>
                <a:close/>
                <a:moveTo>
                  <a:pt x="412" y="701"/>
                </a:moveTo>
                <a:cubicBezTo>
                  <a:pt x="413" y="700"/>
                  <a:pt x="415" y="699"/>
                  <a:pt x="417" y="700"/>
                </a:cubicBezTo>
                <a:cubicBezTo>
                  <a:pt x="417" y="699"/>
                  <a:pt x="416" y="699"/>
                  <a:pt x="417" y="698"/>
                </a:cubicBezTo>
                <a:cubicBezTo>
                  <a:pt x="417" y="697"/>
                  <a:pt x="420" y="698"/>
                  <a:pt x="420" y="698"/>
                </a:cubicBezTo>
                <a:cubicBezTo>
                  <a:pt x="420" y="699"/>
                  <a:pt x="419" y="700"/>
                  <a:pt x="418" y="700"/>
                </a:cubicBezTo>
                <a:cubicBezTo>
                  <a:pt x="418" y="700"/>
                  <a:pt x="418" y="700"/>
                  <a:pt x="418" y="700"/>
                </a:cubicBezTo>
                <a:cubicBezTo>
                  <a:pt x="416" y="701"/>
                  <a:pt x="414" y="700"/>
                  <a:pt x="412" y="701"/>
                </a:cubicBezTo>
                <a:close/>
                <a:moveTo>
                  <a:pt x="419" y="727"/>
                </a:moveTo>
                <a:cubicBezTo>
                  <a:pt x="420" y="728"/>
                  <a:pt x="419" y="728"/>
                  <a:pt x="419" y="728"/>
                </a:cubicBezTo>
                <a:cubicBezTo>
                  <a:pt x="416" y="729"/>
                  <a:pt x="418" y="726"/>
                  <a:pt x="419" y="727"/>
                </a:cubicBezTo>
                <a:close/>
                <a:moveTo>
                  <a:pt x="420" y="706"/>
                </a:moveTo>
                <a:cubicBezTo>
                  <a:pt x="418" y="707"/>
                  <a:pt x="419" y="705"/>
                  <a:pt x="420" y="706"/>
                </a:cubicBezTo>
                <a:close/>
                <a:moveTo>
                  <a:pt x="415" y="681"/>
                </a:moveTo>
                <a:cubicBezTo>
                  <a:pt x="418" y="679"/>
                  <a:pt x="422" y="679"/>
                  <a:pt x="425" y="679"/>
                </a:cubicBezTo>
                <a:cubicBezTo>
                  <a:pt x="422" y="681"/>
                  <a:pt x="419" y="680"/>
                  <a:pt x="415" y="681"/>
                </a:cubicBezTo>
                <a:close/>
                <a:moveTo>
                  <a:pt x="414" y="562"/>
                </a:moveTo>
                <a:cubicBezTo>
                  <a:pt x="412" y="562"/>
                  <a:pt x="415" y="560"/>
                  <a:pt x="414" y="562"/>
                </a:cubicBezTo>
                <a:cubicBezTo>
                  <a:pt x="414" y="562"/>
                  <a:pt x="414" y="562"/>
                  <a:pt x="414" y="562"/>
                </a:cubicBezTo>
                <a:close/>
                <a:moveTo>
                  <a:pt x="413" y="170"/>
                </a:moveTo>
                <a:cubicBezTo>
                  <a:pt x="413" y="168"/>
                  <a:pt x="418" y="167"/>
                  <a:pt x="419" y="169"/>
                </a:cubicBezTo>
                <a:cubicBezTo>
                  <a:pt x="420" y="173"/>
                  <a:pt x="413" y="172"/>
                  <a:pt x="413" y="170"/>
                </a:cubicBezTo>
                <a:close/>
                <a:moveTo>
                  <a:pt x="416" y="113"/>
                </a:moveTo>
                <a:cubicBezTo>
                  <a:pt x="417" y="112"/>
                  <a:pt x="418" y="113"/>
                  <a:pt x="417" y="113"/>
                </a:cubicBezTo>
                <a:cubicBezTo>
                  <a:pt x="417" y="114"/>
                  <a:pt x="416" y="114"/>
                  <a:pt x="416" y="113"/>
                </a:cubicBezTo>
                <a:close/>
                <a:moveTo>
                  <a:pt x="414" y="113"/>
                </a:moveTo>
                <a:cubicBezTo>
                  <a:pt x="414" y="112"/>
                  <a:pt x="416" y="111"/>
                  <a:pt x="417" y="111"/>
                </a:cubicBezTo>
                <a:cubicBezTo>
                  <a:pt x="416" y="112"/>
                  <a:pt x="415" y="112"/>
                  <a:pt x="414" y="113"/>
                </a:cubicBezTo>
                <a:close/>
                <a:moveTo>
                  <a:pt x="420" y="274"/>
                </a:moveTo>
                <a:cubicBezTo>
                  <a:pt x="421" y="276"/>
                  <a:pt x="418" y="277"/>
                  <a:pt x="417" y="278"/>
                </a:cubicBezTo>
                <a:cubicBezTo>
                  <a:pt x="417" y="277"/>
                  <a:pt x="419" y="276"/>
                  <a:pt x="420" y="274"/>
                </a:cubicBezTo>
                <a:close/>
                <a:moveTo>
                  <a:pt x="420" y="122"/>
                </a:moveTo>
                <a:cubicBezTo>
                  <a:pt x="419" y="122"/>
                  <a:pt x="420" y="122"/>
                  <a:pt x="420" y="122"/>
                </a:cubicBezTo>
                <a:close/>
                <a:moveTo>
                  <a:pt x="421" y="543"/>
                </a:moveTo>
                <a:cubicBezTo>
                  <a:pt x="422" y="545"/>
                  <a:pt x="417" y="547"/>
                  <a:pt x="417" y="544"/>
                </a:cubicBezTo>
                <a:cubicBezTo>
                  <a:pt x="416" y="542"/>
                  <a:pt x="421" y="541"/>
                  <a:pt x="421" y="543"/>
                </a:cubicBezTo>
                <a:close/>
                <a:moveTo>
                  <a:pt x="416" y="450"/>
                </a:moveTo>
                <a:cubicBezTo>
                  <a:pt x="416" y="449"/>
                  <a:pt x="418" y="450"/>
                  <a:pt x="416" y="450"/>
                </a:cubicBezTo>
                <a:close/>
                <a:moveTo>
                  <a:pt x="419" y="512"/>
                </a:moveTo>
                <a:cubicBezTo>
                  <a:pt x="418" y="511"/>
                  <a:pt x="420" y="511"/>
                  <a:pt x="419" y="512"/>
                </a:cubicBezTo>
                <a:close/>
                <a:moveTo>
                  <a:pt x="421" y="496"/>
                </a:moveTo>
                <a:cubicBezTo>
                  <a:pt x="422" y="496"/>
                  <a:pt x="421" y="497"/>
                  <a:pt x="420" y="497"/>
                </a:cubicBezTo>
                <a:cubicBezTo>
                  <a:pt x="419" y="498"/>
                  <a:pt x="420" y="495"/>
                  <a:pt x="421" y="496"/>
                </a:cubicBezTo>
                <a:close/>
                <a:moveTo>
                  <a:pt x="416" y="391"/>
                </a:moveTo>
                <a:cubicBezTo>
                  <a:pt x="416" y="390"/>
                  <a:pt x="419" y="387"/>
                  <a:pt x="421" y="386"/>
                </a:cubicBezTo>
                <a:cubicBezTo>
                  <a:pt x="420" y="388"/>
                  <a:pt x="414" y="394"/>
                  <a:pt x="416" y="391"/>
                </a:cubicBezTo>
                <a:close/>
                <a:moveTo>
                  <a:pt x="414" y="228"/>
                </a:moveTo>
                <a:cubicBezTo>
                  <a:pt x="414" y="227"/>
                  <a:pt x="417" y="226"/>
                  <a:pt x="417" y="228"/>
                </a:cubicBezTo>
                <a:cubicBezTo>
                  <a:pt x="417" y="229"/>
                  <a:pt x="414" y="229"/>
                  <a:pt x="414" y="228"/>
                </a:cubicBezTo>
                <a:close/>
                <a:moveTo>
                  <a:pt x="417" y="173"/>
                </a:moveTo>
                <a:cubicBezTo>
                  <a:pt x="417" y="173"/>
                  <a:pt x="418" y="172"/>
                  <a:pt x="419" y="173"/>
                </a:cubicBezTo>
                <a:cubicBezTo>
                  <a:pt x="420" y="174"/>
                  <a:pt x="417" y="174"/>
                  <a:pt x="417" y="173"/>
                </a:cubicBezTo>
                <a:close/>
                <a:moveTo>
                  <a:pt x="417" y="151"/>
                </a:moveTo>
                <a:cubicBezTo>
                  <a:pt x="418" y="150"/>
                  <a:pt x="418" y="150"/>
                  <a:pt x="419" y="149"/>
                </a:cubicBezTo>
                <a:cubicBezTo>
                  <a:pt x="419" y="150"/>
                  <a:pt x="418" y="151"/>
                  <a:pt x="417" y="151"/>
                </a:cubicBezTo>
                <a:close/>
                <a:moveTo>
                  <a:pt x="415" y="454"/>
                </a:moveTo>
                <a:cubicBezTo>
                  <a:pt x="415" y="454"/>
                  <a:pt x="415" y="455"/>
                  <a:pt x="414" y="454"/>
                </a:cubicBezTo>
                <a:cubicBezTo>
                  <a:pt x="413" y="453"/>
                  <a:pt x="417" y="452"/>
                  <a:pt x="415" y="454"/>
                </a:cubicBezTo>
                <a:close/>
                <a:moveTo>
                  <a:pt x="417" y="583"/>
                </a:moveTo>
                <a:cubicBezTo>
                  <a:pt x="416" y="584"/>
                  <a:pt x="416" y="583"/>
                  <a:pt x="415" y="583"/>
                </a:cubicBezTo>
                <a:cubicBezTo>
                  <a:pt x="415" y="583"/>
                  <a:pt x="417" y="582"/>
                  <a:pt x="417" y="583"/>
                </a:cubicBezTo>
                <a:close/>
                <a:moveTo>
                  <a:pt x="416" y="610"/>
                </a:moveTo>
                <a:cubicBezTo>
                  <a:pt x="416" y="610"/>
                  <a:pt x="417" y="610"/>
                  <a:pt x="417" y="610"/>
                </a:cubicBezTo>
                <a:cubicBezTo>
                  <a:pt x="417" y="611"/>
                  <a:pt x="415" y="610"/>
                  <a:pt x="416" y="610"/>
                </a:cubicBezTo>
                <a:close/>
                <a:moveTo>
                  <a:pt x="416" y="575"/>
                </a:moveTo>
                <a:cubicBezTo>
                  <a:pt x="417" y="573"/>
                  <a:pt x="419" y="568"/>
                  <a:pt x="422" y="567"/>
                </a:cubicBezTo>
                <a:cubicBezTo>
                  <a:pt x="419" y="570"/>
                  <a:pt x="419" y="573"/>
                  <a:pt x="416" y="575"/>
                </a:cubicBezTo>
                <a:close/>
                <a:moveTo>
                  <a:pt x="423" y="167"/>
                </a:moveTo>
                <a:cubicBezTo>
                  <a:pt x="423" y="167"/>
                  <a:pt x="422" y="168"/>
                  <a:pt x="422" y="167"/>
                </a:cubicBezTo>
                <a:cubicBezTo>
                  <a:pt x="421" y="166"/>
                  <a:pt x="423" y="165"/>
                  <a:pt x="423" y="167"/>
                </a:cubicBezTo>
                <a:close/>
                <a:moveTo>
                  <a:pt x="422" y="155"/>
                </a:moveTo>
                <a:cubicBezTo>
                  <a:pt x="421" y="154"/>
                  <a:pt x="424" y="155"/>
                  <a:pt x="422" y="155"/>
                </a:cubicBezTo>
                <a:close/>
                <a:moveTo>
                  <a:pt x="427" y="156"/>
                </a:moveTo>
                <a:cubicBezTo>
                  <a:pt x="427" y="157"/>
                  <a:pt x="423" y="158"/>
                  <a:pt x="423" y="156"/>
                </a:cubicBezTo>
                <a:cubicBezTo>
                  <a:pt x="422" y="154"/>
                  <a:pt x="427" y="153"/>
                  <a:pt x="427" y="156"/>
                </a:cubicBezTo>
                <a:close/>
                <a:moveTo>
                  <a:pt x="424" y="154"/>
                </a:moveTo>
                <a:cubicBezTo>
                  <a:pt x="424" y="152"/>
                  <a:pt x="426" y="153"/>
                  <a:pt x="424" y="154"/>
                </a:cubicBezTo>
                <a:close/>
                <a:moveTo>
                  <a:pt x="441" y="90"/>
                </a:moveTo>
                <a:cubicBezTo>
                  <a:pt x="442" y="90"/>
                  <a:pt x="441" y="91"/>
                  <a:pt x="441" y="92"/>
                </a:cubicBezTo>
                <a:cubicBezTo>
                  <a:pt x="441" y="95"/>
                  <a:pt x="437" y="95"/>
                  <a:pt x="436" y="94"/>
                </a:cubicBezTo>
                <a:cubicBezTo>
                  <a:pt x="436" y="94"/>
                  <a:pt x="436" y="94"/>
                  <a:pt x="436" y="94"/>
                </a:cubicBezTo>
                <a:cubicBezTo>
                  <a:pt x="436" y="94"/>
                  <a:pt x="436" y="94"/>
                  <a:pt x="436" y="94"/>
                </a:cubicBezTo>
                <a:cubicBezTo>
                  <a:pt x="432" y="94"/>
                  <a:pt x="437" y="85"/>
                  <a:pt x="441" y="90"/>
                </a:cubicBezTo>
                <a:close/>
                <a:moveTo>
                  <a:pt x="439" y="86"/>
                </a:moveTo>
                <a:cubicBezTo>
                  <a:pt x="439" y="87"/>
                  <a:pt x="438" y="86"/>
                  <a:pt x="439" y="86"/>
                </a:cubicBezTo>
                <a:close/>
                <a:moveTo>
                  <a:pt x="443" y="128"/>
                </a:moveTo>
                <a:cubicBezTo>
                  <a:pt x="443" y="127"/>
                  <a:pt x="445" y="126"/>
                  <a:pt x="446" y="128"/>
                </a:cubicBezTo>
                <a:cubicBezTo>
                  <a:pt x="447" y="130"/>
                  <a:pt x="443" y="129"/>
                  <a:pt x="443" y="128"/>
                </a:cubicBezTo>
                <a:close/>
                <a:moveTo>
                  <a:pt x="447" y="192"/>
                </a:moveTo>
                <a:cubicBezTo>
                  <a:pt x="448" y="193"/>
                  <a:pt x="447" y="194"/>
                  <a:pt x="447" y="194"/>
                </a:cubicBezTo>
                <a:cubicBezTo>
                  <a:pt x="444" y="194"/>
                  <a:pt x="446" y="191"/>
                  <a:pt x="447" y="192"/>
                </a:cubicBezTo>
                <a:close/>
                <a:moveTo>
                  <a:pt x="449" y="220"/>
                </a:moveTo>
                <a:cubicBezTo>
                  <a:pt x="449" y="223"/>
                  <a:pt x="441" y="225"/>
                  <a:pt x="439" y="225"/>
                </a:cubicBezTo>
                <a:cubicBezTo>
                  <a:pt x="438" y="225"/>
                  <a:pt x="434" y="228"/>
                  <a:pt x="434" y="226"/>
                </a:cubicBezTo>
                <a:cubicBezTo>
                  <a:pt x="434" y="225"/>
                  <a:pt x="440" y="225"/>
                  <a:pt x="440" y="225"/>
                </a:cubicBezTo>
                <a:cubicBezTo>
                  <a:pt x="443" y="223"/>
                  <a:pt x="446" y="220"/>
                  <a:pt x="449" y="220"/>
                </a:cubicBezTo>
                <a:close/>
                <a:moveTo>
                  <a:pt x="448" y="177"/>
                </a:moveTo>
                <a:cubicBezTo>
                  <a:pt x="449" y="177"/>
                  <a:pt x="449" y="177"/>
                  <a:pt x="449" y="177"/>
                </a:cubicBezTo>
                <a:cubicBezTo>
                  <a:pt x="449" y="179"/>
                  <a:pt x="446" y="175"/>
                  <a:pt x="448" y="177"/>
                </a:cubicBezTo>
                <a:close/>
                <a:moveTo>
                  <a:pt x="451" y="187"/>
                </a:moveTo>
                <a:cubicBezTo>
                  <a:pt x="452" y="188"/>
                  <a:pt x="450" y="189"/>
                  <a:pt x="449" y="188"/>
                </a:cubicBezTo>
                <a:cubicBezTo>
                  <a:pt x="448" y="187"/>
                  <a:pt x="451" y="185"/>
                  <a:pt x="451" y="187"/>
                </a:cubicBezTo>
                <a:close/>
                <a:moveTo>
                  <a:pt x="442" y="608"/>
                </a:moveTo>
                <a:cubicBezTo>
                  <a:pt x="441" y="609"/>
                  <a:pt x="438" y="612"/>
                  <a:pt x="435" y="614"/>
                </a:cubicBezTo>
                <a:cubicBezTo>
                  <a:pt x="436" y="614"/>
                  <a:pt x="436" y="614"/>
                  <a:pt x="436" y="615"/>
                </a:cubicBezTo>
                <a:cubicBezTo>
                  <a:pt x="436" y="615"/>
                  <a:pt x="435" y="615"/>
                  <a:pt x="435" y="615"/>
                </a:cubicBezTo>
                <a:cubicBezTo>
                  <a:pt x="435" y="615"/>
                  <a:pt x="435" y="615"/>
                  <a:pt x="435" y="615"/>
                </a:cubicBezTo>
                <a:cubicBezTo>
                  <a:pt x="434" y="616"/>
                  <a:pt x="433" y="617"/>
                  <a:pt x="432" y="617"/>
                </a:cubicBezTo>
                <a:cubicBezTo>
                  <a:pt x="432" y="617"/>
                  <a:pt x="431" y="616"/>
                  <a:pt x="431" y="616"/>
                </a:cubicBezTo>
                <a:cubicBezTo>
                  <a:pt x="431" y="615"/>
                  <a:pt x="434" y="614"/>
                  <a:pt x="435" y="613"/>
                </a:cubicBezTo>
                <a:cubicBezTo>
                  <a:pt x="437" y="612"/>
                  <a:pt x="443" y="606"/>
                  <a:pt x="445" y="606"/>
                </a:cubicBezTo>
                <a:cubicBezTo>
                  <a:pt x="448" y="605"/>
                  <a:pt x="443" y="608"/>
                  <a:pt x="442" y="608"/>
                </a:cubicBezTo>
                <a:close/>
                <a:moveTo>
                  <a:pt x="444" y="648"/>
                </a:moveTo>
                <a:cubicBezTo>
                  <a:pt x="444" y="648"/>
                  <a:pt x="442" y="648"/>
                  <a:pt x="442" y="648"/>
                </a:cubicBezTo>
                <a:cubicBezTo>
                  <a:pt x="442" y="647"/>
                  <a:pt x="444" y="647"/>
                  <a:pt x="444" y="648"/>
                </a:cubicBezTo>
                <a:close/>
                <a:moveTo>
                  <a:pt x="442" y="648"/>
                </a:moveTo>
                <a:cubicBezTo>
                  <a:pt x="440" y="649"/>
                  <a:pt x="440" y="646"/>
                  <a:pt x="442" y="648"/>
                </a:cubicBezTo>
                <a:close/>
                <a:moveTo>
                  <a:pt x="429" y="656"/>
                </a:moveTo>
                <a:cubicBezTo>
                  <a:pt x="429" y="655"/>
                  <a:pt x="431" y="655"/>
                  <a:pt x="431" y="656"/>
                </a:cubicBezTo>
                <a:cubicBezTo>
                  <a:pt x="431" y="657"/>
                  <a:pt x="430" y="657"/>
                  <a:pt x="429" y="656"/>
                </a:cubicBezTo>
                <a:close/>
                <a:moveTo>
                  <a:pt x="430" y="686"/>
                </a:moveTo>
                <a:cubicBezTo>
                  <a:pt x="429" y="689"/>
                  <a:pt x="427" y="687"/>
                  <a:pt x="430" y="686"/>
                </a:cubicBezTo>
                <a:close/>
                <a:moveTo>
                  <a:pt x="436" y="241"/>
                </a:moveTo>
                <a:cubicBezTo>
                  <a:pt x="436" y="242"/>
                  <a:pt x="434" y="244"/>
                  <a:pt x="432" y="246"/>
                </a:cubicBezTo>
                <a:cubicBezTo>
                  <a:pt x="433" y="244"/>
                  <a:pt x="435" y="242"/>
                  <a:pt x="436" y="241"/>
                </a:cubicBezTo>
                <a:close/>
                <a:moveTo>
                  <a:pt x="434" y="216"/>
                </a:moveTo>
                <a:cubicBezTo>
                  <a:pt x="434" y="215"/>
                  <a:pt x="435" y="215"/>
                  <a:pt x="436" y="216"/>
                </a:cubicBezTo>
                <a:cubicBezTo>
                  <a:pt x="436" y="217"/>
                  <a:pt x="434" y="217"/>
                  <a:pt x="434" y="216"/>
                </a:cubicBezTo>
                <a:close/>
                <a:moveTo>
                  <a:pt x="436" y="602"/>
                </a:moveTo>
                <a:cubicBezTo>
                  <a:pt x="436" y="602"/>
                  <a:pt x="436" y="602"/>
                  <a:pt x="435" y="602"/>
                </a:cubicBezTo>
                <a:cubicBezTo>
                  <a:pt x="435" y="602"/>
                  <a:pt x="436" y="601"/>
                  <a:pt x="436" y="602"/>
                </a:cubicBezTo>
                <a:close/>
                <a:moveTo>
                  <a:pt x="435" y="529"/>
                </a:moveTo>
                <a:cubicBezTo>
                  <a:pt x="434" y="529"/>
                  <a:pt x="435" y="527"/>
                  <a:pt x="436" y="528"/>
                </a:cubicBezTo>
                <a:cubicBezTo>
                  <a:pt x="436" y="529"/>
                  <a:pt x="435" y="529"/>
                  <a:pt x="435" y="529"/>
                </a:cubicBezTo>
                <a:close/>
                <a:moveTo>
                  <a:pt x="433" y="340"/>
                </a:moveTo>
                <a:cubicBezTo>
                  <a:pt x="433" y="341"/>
                  <a:pt x="432" y="342"/>
                  <a:pt x="431" y="342"/>
                </a:cubicBezTo>
                <a:cubicBezTo>
                  <a:pt x="431" y="341"/>
                  <a:pt x="432" y="341"/>
                  <a:pt x="433" y="340"/>
                </a:cubicBezTo>
                <a:close/>
                <a:moveTo>
                  <a:pt x="432" y="603"/>
                </a:moveTo>
                <a:cubicBezTo>
                  <a:pt x="431" y="604"/>
                  <a:pt x="431" y="601"/>
                  <a:pt x="432" y="602"/>
                </a:cubicBezTo>
                <a:cubicBezTo>
                  <a:pt x="433" y="602"/>
                  <a:pt x="432" y="603"/>
                  <a:pt x="432" y="603"/>
                </a:cubicBezTo>
                <a:close/>
                <a:moveTo>
                  <a:pt x="431" y="437"/>
                </a:moveTo>
                <a:cubicBezTo>
                  <a:pt x="433" y="438"/>
                  <a:pt x="430" y="440"/>
                  <a:pt x="429" y="441"/>
                </a:cubicBezTo>
                <a:cubicBezTo>
                  <a:pt x="426" y="442"/>
                  <a:pt x="430" y="435"/>
                  <a:pt x="431" y="437"/>
                </a:cubicBezTo>
                <a:close/>
                <a:moveTo>
                  <a:pt x="428" y="504"/>
                </a:moveTo>
                <a:cubicBezTo>
                  <a:pt x="429" y="503"/>
                  <a:pt x="427" y="506"/>
                  <a:pt x="428" y="504"/>
                </a:cubicBezTo>
                <a:close/>
                <a:moveTo>
                  <a:pt x="429" y="250"/>
                </a:moveTo>
                <a:cubicBezTo>
                  <a:pt x="429" y="252"/>
                  <a:pt x="427" y="251"/>
                  <a:pt x="429" y="250"/>
                </a:cubicBezTo>
                <a:close/>
                <a:moveTo>
                  <a:pt x="430" y="247"/>
                </a:moveTo>
                <a:cubicBezTo>
                  <a:pt x="430" y="247"/>
                  <a:pt x="429" y="248"/>
                  <a:pt x="429" y="248"/>
                </a:cubicBezTo>
                <a:cubicBezTo>
                  <a:pt x="428" y="247"/>
                  <a:pt x="430" y="246"/>
                  <a:pt x="430" y="247"/>
                </a:cubicBezTo>
                <a:close/>
                <a:moveTo>
                  <a:pt x="429" y="202"/>
                </a:moveTo>
                <a:cubicBezTo>
                  <a:pt x="428" y="201"/>
                  <a:pt x="430" y="200"/>
                  <a:pt x="431" y="202"/>
                </a:cubicBezTo>
                <a:cubicBezTo>
                  <a:pt x="431" y="202"/>
                  <a:pt x="430" y="203"/>
                  <a:pt x="429" y="202"/>
                </a:cubicBezTo>
                <a:close/>
                <a:moveTo>
                  <a:pt x="430" y="222"/>
                </a:moveTo>
                <a:cubicBezTo>
                  <a:pt x="430" y="223"/>
                  <a:pt x="428" y="225"/>
                  <a:pt x="426" y="223"/>
                </a:cubicBezTo>
                <a:cubicBezTo>
                  <a:pt x="425" y="221"/>
                  <a:pt x="430" y="218"/>
                  <a:pt x="430" y="222"/>
                </a:cubicBezTo>
                <a:close/>
                <a:moveTo>
                  <a:pt x="426" y="246"/>
                </a:moveTo>
                <a:cubicBezTo>
                  <a:pt x="423" y="248"/>
                  <a:pt x="426" y="241"/>
                  <a:pt x="427" y="243"/>
                </a:cubicBezTo>
                <a:cubicBezTo>
                  <a:pt x="428" y="243"/>
                  <a:pt x="426" y="246"/>
                  <a:pt x="426" y="246"/>
                </a:cubicBezTo>
                <a:close/>
                <a:moveTo>
                  <a:pt x="426" y="268"/>
                </a:moveTo>
                <a:cubicBezTo>
                  <a:pt x="426" y="267"/>
                  <a:pt x="427" y="267"/>
                  <a:pt x="427" y="266"/>
                </a:cubicBezTo>
                <a:cubicBezTo>
                  <a:pt x="428" y="266"/>
                  <a:pt x="427" y="268"/>
                  <a:pt x="426" y="268"/>
                </a:cubicBezTo>
                <a:close/>
                <a:moveTo>
                  <a:pt x="424" y="181"/>
                </a:moveTo>
                <a:cubicBezTo>
                  <a:pt x="424" y="180"/>
                  <a:pt x="426" y="180"/>
                  <a:pt x="426" y="180"/>
                </a:cubicBezTo>
                <a:cubicBezTo>
                  <a:pt x="426" y="180"/>
                  <a:pt x="425" y="182"/>
                  <a:pt x="424" y="181"/>
                </a:cubicBezTo>
                <a:close/>
                <a:moveTo>
                  <a:pt x="428" y="378"/>
                </a:moveTo>
                <a:cubicBezTo>
                  <a:pt x="428" y="380"/>
                  <a:pt x="425" y="382"/>
                  <a:pt x="424" y="383"/>
                </a:cubicBezTo>
                <a:cubicBezTo>
                  <a:pt x="425" y="381"/>
                  <a:pt x="426" y="379"/>
                  <a:pt x="428" y="378"/>
                </a:cubicBezTo>
                <a:close/>
                <a:moveTo>
                  <a:pt x="425" y="431"/>
                </a:moveTo>
                <a:cubicBezTo>
                  <a:pt x="425" y="432"/>
                  <a:pt x="423" y="432"/>
                  <a:pt x="423" y="433"/>
                </a:cubicBezTo>
                <a:cubicBezTo>
                  <a:pt x="422" y="432"/>
                  <a:pt x="424" y="432"/>
                  <a:pt x="425" y="431"/>
                </a:cubicBezTo>
                <a:close/>
                <a:moveTo>
                  <a:pt x="424" y="448"/>
                </a:moveTo>
                <a:cubicBezTo>
                  <a:pt x="425" y="449"/>
                  <a:pt x="423" y="449"/>
                  <a:pt x="424" y="448"/>
                </a:cubicBezTo>
                <a:close/>
                <a:moveTo>
                  <a:pt x="431" y="549"/>
                </a:moveTo>
                <a:cubicBezTo>
                  <a:pt x="428" y="552"/>
                  <a:pt x="425" y="556"/>
                  <a:pt x="423" y="558"/>
                </a:cubicBezTo>
                <a:cubicBezTo>
                  <a:pt x="424" y="556"/>
                  <a:pt x="428" y="550"/>
                  <a:pt x="431" y="549"/>
                </a:cubicBezTo>
                <a:close/>
                <a:moveTo>
                  <a:pt x="426" y="585"/>
                </a:moveTo>
                <a:cubicBezTo>
                  <a:pt x="425" y="583"/>
                  <a:pt x="429" y="585"/>
                  <a:pt x="426" y="585"/>
                </a:cubicBezTo>
                <a:close/>
                <a:moveTo>
                  <a:pt x="427" y="565"/>
                </a:moveTo>
                <a:cubicBezTo>
                  <a:pt x="427" y="564"/>
                  <a:pt x="428" y="564"/>
                  <a:pt x="428" y="564"/>
                </a:cubicBezTo>
                <a:cubicBezTo>
                  <a:pt x="428" y="564"/>
                  <a:pt x="427" y="565"/>
                  <a:pt x="427" y="565"/>
                </a:cubicBezTo>
                <a:close/>
                <a:moveTo>
                  <a:pt x="431" y="619"/>
                </a:moveTo>
                <a:cubicBezTo>
                  <a:pt x="431" y="621"/>
                  <a:pt x="425" y="622"/>
                  <a:pt x="426" y="619"/>
                </a:cubicBezTo>
                <a:cubicBezTo>
                  <a:pt x="426" y="618"/>
                  <a:pt x="431" y="617"/>
                  <a:pt x="431" y="619"/>
                </a:cubicBezTo>
                <a:close/>
                <a:moveTo>
                  <a:pt x="433" y="635"/>
                </a:moveTo>
                <a:cubicBezTo>
                  <a:pt x="431" y="637"/>
                  <a:pt x="428" y="638"/>
                  <a:pt x="425" y="639"/>
                </a:cubicBezTo>
                <a:cubicBezTo>
                  <a:pt x="427" y="637"/>
                  <a:pt x="431" y="636"/>
                  <a:pt x="433" y="635"/>
                </a:cubicBezTo>
                <a:close/>
                <a:moveTo>
                  <a:pt x="432" y="642"/>
                </a:moveTo>
                <a:cubicBezTo>
                  <a:pt x="432" y="643"/>
                  <a:pt x="431" y="642"/>
                  <a:pt x="431" y="642"/>
                </a:cubicBezTo>
                <a:cubicBezTo>
                  <a:pt x="430" y="641"/>
                  <a:pt x="432" y="641"/>
                  <a:pt x="432" y="642"/>
                </a:cubicBezTo>
                <a:close/>
                <a:moveTo>
                  <a:pt x="431" y="686"/>
                </a:moveTo>
                <a:cubicBezTo>
                  <a:pt x="431" y="686"/>
                  <a:pt x="431" y="686"/>
                  <a:pt x="431" y="686"/>
                </a:cubicBezTo>
                <a:cubicBezTo>
                  <a:pt x="430" y="686"/>
                  <a:pt x="431" y="685"/>
                  <a:pt x="431" y="686"/>
                </a:cubicBezTo>
                <a:close/>
                <a:moveTo>
                  <a:pt x="431" y="678"/>
                </a:moveTo>
                <a:cubicBezTo>
                  <a:pt x="431" y="677"/>
                  <a:pt x="435" y="677"/>
                  <a:pt x="436" y="678"/>
                </a:cubicBezTo>
                <a:cubicBezTo>
                  <a:pt x="436" y="679"/>
                  <a:pt x="431" y="680"/>
                  <a:pt x="431" y="678"/>
                </a:cubicBezTo>
                <a:close/>
                <a:moveTo>
                  <a:pt x="433" y="675"/>
                </a:moveTo>
                <a:cubicBezTo>
                  <a:pt x="432" y="677"/>
                  <a:pt x="434" y="674"/>
                  <a:pt x="433" y="675"/>
                </a:cubicBezTo>
                <a:close/>
                <a:moveTo>
                  <a:pt x="431" y="649"/>
                </a:moveTo>
                <a:cubicBezTo>
                  <a:pt x="431" y="646"/>
                  <a:pt x="437" y="647"/>
                  <a:pt x="437" y="650"/>
                </a:cubicBezTo>
                <a:cubicBezTo>
                  <a:pt x="437" y="652"/>
                  <a:pt x="430" y="652"/>
                  <a:pt x="431" y="649"/>
                </a:cubicBezTo>
                <a:close/>
                <a:moveTo>
                  <a:pt x="436" y="638"/>
                </a:moveTo>
                <a:cubicBezTo>
                  <a:pt x="437" y="639"/>
                  <a:pt x="436" y="640"/>
                  <a:pt x="435" y="640"/>
                </a:cubicBezTo>
                <a:cubicBezTo>
                  <a:pt x="433" y="642"/>
                  <a:pt x="435" y="636"/>
                  <a:pt x="436" y="638"/>
                </a:cubicBezTo>
                <a:close/>
                <a:moveTo>
                  <a:pt x="433" y="635"/>
                </a:moveTo>
                <a:cubicBezTo>
                  <a:pt x="435" y="635"/>
                  <a:pt x="436" y="633"/>
                  <a:pt x="437" y="634"/>
                </a:cubicBezTo>
                <a:cubicBezTo>
                  <a:pt x="436" y="635"/>
                  <a:pt x="435" y="635"/>
                  <a:pt x="433" y="635"/>
                </a:cubicBezTo>
                <a:close/>
                <a:moveTo>
                  <a:pt x="438" y="700"/>
                </a:moveTo>
                <a:cubicBezTo>
                  <a:pt x="438" y="701"/>
                  <a:pt x="437" y="700"/>
                  <a:pt x="437" y="700"/>
                </a:cubicBezTo>
                <a:cubicBezTo>
                  <a:pt x="437" y="699"/>
                  <a:pt x="438" y="700"/>
                  <a:pt x="438" y="700"/>
                </a:cubicBezTo>
                <a:close/>
                <a:moveTo>
                  <a:pt x="446" y="410"/>
                </a:moveTo>
                <a:cubicBezTo>
                  <a:pt x="444" y="411"/>
                  <a:pt x="441" y="414"/>
                  <a:pt x="438" y="415"/>
                </a:cubicBezTo>
                <a:cubicBezTo>
                  <a:pt x="440" y="413"/>
                  <a:pt x="443" y="411"/>
                  <a:pt x="446" y="410"/>
                </a:cubicBezTo>
                <a:close/>
                <a:moveTo>
                  <a:pt x="442" y="225"/>
                </a:moveTo>
                <a:cubicBezTo>
                  <a:pt x="442" y="225"/>
                  <a:pt x="444" y="224"/>
                  <a:pt x="445" y="224"/>
                </a:cubicBezTo>
                <a:cubicBezTo>
                  <a:pt x="445" y="225"/>
                  <a:pt x="443" y="226"/>
                  <a:pt x="442" y="225"/>
                </a:cubicBezTo>
                <a:close/>
                <a:moveTo>
                  <a:pt x="446" y="565"/>
                </a:moveTo>
                <a:cubicBezTo>
                  <a:pt x="445" y="565"/>
                  <a:pt x="445" y="565"/>
                  <a:pt x="445" y="565"/>
                </a:cubicBezTo>
                <a:cubicBezTo>
                  <a:pt x="445" y="565"/>
                  <a:pt x="445" y="565"/>
                  <a:pt x="445" y="565"/>
                </a:cubicBezTo>
                <a:cubicBezTo>
                  <a:pt x="445" y="565"/>
                  <a:pt x="445" y="565"/>
                  <a:pt x="446" y="565"/>
                </a:cubicBezTo>
                <a:close/>
                <a:moveTo>
                  <a:pt x="442" y="577"/>
                </a:moveTo>
                <a:cubicBezTo>
                  <a:pt x="442" y="578"/>
                  <a:pt x="441" y="578"/>
                  <a:pt x="441" y="577"/>
                </a:cubicBezTo>
                <a:cubicBezTo>
                  <a:pt x="440" y="575"/>
                  <a:pt x="443" y="576"/>
                  <a:pt x="442" y="577"/>
                </a:cubicBezTo>
                <a:close/>
                <a:moveTo>
                  <a:pt x="440" y="539"/>
                </a:moveTo>
                <a:cubicBezTo>
                  <a:pt x="441" y="539"/>
                  <a:pt x="442" y="540"/>
                  <a:pt x="441" y="540"/>
                </a:cubicBezTo>
                <a:cubicBezTo>
                  <a:pt x="440" y="541"/>
                  <a:pt x="440" y="540"/>
                  <a:pt x="440" y="539"/>
                </a:cubicBezTo>
                <a:close/>
                <a:moveTo>
                  <a:pt x="438" y="393"/>
                </a:moveTo>
                <a:cubicBezTo>
                  <a:pt x="439" y="392"/>
                  <a:pt x="437" y="395"/>
                  <a:pt x="438" y="393"/>
                </a:cubicBezTo>
                <a:close/>
                <a:moveTo>
                  <a:pt x="438" y="497"/>
                </a:moveTo>
                <a:cubicBezTo>
                  <a:pt x="438" y="497"/>
                  <a:pt x="438" y="497"/>
                  <a:pt x="438" y="497"/>
                </a:cubicBezTo>
                <a:cubicBezTo>
                  <a:pt x="438" y="497"/>
                  <a:pt x="438" y="497"/>
                  <a:pt x="438" y="497"/>
                </a:cubicBezTo>
                <a:close/>
                <a:moveTo>
                  <a:pt x="437" y="241"/>
                </a:moveTo>
                <a:cubicBezTo>
                  <a:pt x="437" y="241"/>
                  <a:pt x="437" y="239"/>
                  <a:pt x="438" y="239"/>
                </a:cubicBezTo>
                <a:cubicBezTo>
                  <a:pt x="439" y="239"/>
                  <a:pt x="437" y="241"/>
                  <a:pt x="437" y="241"/>
                </a:cubicBezTo>
                <a:close/>
                <a:moveTo>
                  <a:pt x="438" y="174"/>
                </a:moveTo>
                <a:cubicBezTo>
                  <a:pt x="439" y="175"/>
                  <a:pt x="437" y="175"/>
                  <a:pt x="437" y="175"/>
                </a:cubicBezTo>
                <a:cubicBezTo>
                  <a:pt x="436" y="174"/>
                  <a:pt x="438" y="174"/>
                  <a:pt x="438" y="174"/>
                </a:cubicBezTo>
                <a:close/>
                <a:moveTo>
                  <a:pt x="435" y="167"/>
                </a:moveTo>
                <a:cubicBezTo>
                  <a:pt x="435" y="166"/>
                  <a:pt x="437" y="165"/>
                  <a:pt x="437" y="167"/>
                </a:cubicBezTo>
                <a:cubicBezTo>
                  <a:pt x="437" y="168"/>
                  <a:pt x="435" y="168"/>
                  <a:pt x="435" y="167"/>
                </a:cubicBezTo>
                <a:close/>
                <a:moveTo>
                  <a:pt x="441" y="117"/>
                </a:moveTo>
                <a:cubicBezTo>
                  <a:pt x="441" y="118"/>
                  <a:pt x="437" y="119"/>
                  <a:pt x="437" y="117"/>
                </a:cubicBezTo>
                <a:cubicBezTo>
                  <a:pt x="437" y="117"/>
                  <a:pt x="441" y="115"/>
                  <a:pt x="441" y="117"/>
                </a:cubicBezTo>
                <a:close/>
                <a:moveTo>
                  <a:pt x="439" y="97"/>
                </a:moveTo>
                <a:cubicBezTo>
                  <a:pt x="439" y="97"/>
                  <a:pt x="438" y="98"/>
                  <a:pt x="437" y="97"/>
                </a:cubicBezTo>
                <a:cubicBezTo>
                  <a:pt x="437" y="96"/>
                  <a:pt x="438" y="96"/>
                  <a:pt x="439" y="97"/>
                </a:cubicBezTo>
                <a:close/>
                <a:moveTo>
                  <a:pt x="442" y="132"/>
                </a:moveTo>
                <a:cubicBezTo>
                  <a:pt x="442" y="132"/>
                  <a:pt x="440" y="133"/>
                  <a:pt x="440" y="133"/>
                </a:cubicBezTo>
                <a:cubicBezTo>
                  <a:pt x="440" y="132"/>
                  <a:pt x="442" y="132"/>
                  <a:pt x="442" y="132"/>
                </a:cubicBezTo>
                <a:close/>
                <a:moveTo>
                  <a:pt x="439" y="214"/>
                </a:moveTo>
                <a:cubicBezTo>
                  <a:pt x="438" y="214"/>
                  <a:pt x="439" y="213"/>
                  <a:pt x="439" y="213"/>
                </a:cubicBezTo>
                <a:cubicBezTo>
                  <a:pt x="440" y="213"/>
                  <a:pt x="439" y="214"/>
                  <a:pt x="439" y="214"/>
                </a:cubicBezTo>
                <a:close/>
                <a:moveTo>
                  <a:pt x="439" y="166"/>
                </a:moveTo>
                <a:cubicBezTo>
                  <a:pt x="439" y="167"/>
                  <a:pt x="437" y="167"/>
                  <a:pt x="438" y="166"/>
                </a:cubicBezTo>
                <a:cubicBezTo>
                  <a:pt x="438" y="166"/>
                  <a:pt x="438" y="166"/>
                  <a:pt x="439" y="166"/>
                </a:cubicBezTo>
                <a:close/>
                <a:moveTo>
                  <a:pt x="437" y="216"/>
                </a:moveTo>
                <a:cubicBezTo>
                  <a:pt x="437" y="216"/>
                  <a:pt x="438" y="215"/>
                  <a:pt x="438" y="215"/>
                </a:cubicBezTo>
                <a:cubicBezTo>
                  <a:pt x="438" y="215"/>
                  <a:pt x="437" y="217"/>
                  <a:pt x="437" y="216"/>
                </a:cubicBezTo>
                <a:close/>
                <a:moveTo>
                  <a:pt x="441" y="121"/>
                </a:moveTo>
                <a:cubicBezTo>
                  <a:pt x="441" y="121"/>
                  <a:pt x="442" y="121"/>
                  <a:pt x="442" y="121"/>
                </a:cubicBezTo>
                <a:cubicBezTo>
                  <a:pt x="443" y="122"/>
                  <a:pt x="441" y="122"/>
                  <a:pt x="441" y="121"/>
                </a:cubicBezTo>
                <a:close/>
                <a:moveTo>
                  <a:pt x="442" y="79"/>
                </a:moveTo>
                <a:cubicBezTo>
                  <a:pt x="441" y="80"/>
                  <a:pt x="441" y="79"/>
                  <a:pt x="442" y="79"/>
                </a:cubicBezTo>
                <a:close/>
                <a:moveTo>
                  <a:pt x="435" y="194"/>
                </a:moveTo>
                <a:cubicBezTo>
                  <a:pt x="435" y="194"/>
                  <a:pt x="437" y="193"/>
                  <a:pt x="436" y="194"/>
                </a:cubicBezTo>
                <a:cubicBezTo>
                  <a:pt x="434" y="197"/>
                  <a:pt x="430" y="199"/>
                  <a:pt x="426" y="200"/>
                </a:cubicBezTo>
                <a:cubicBezTo>
                  <a:pt x="429" y="198"/>
                  <a:pt x="433" y="195"/>
                  <a:pt x="435" y="194"/>
                </a:cubicBezTo>
                <a:close/>
                <a:moveTo>
                  <a:pt x="430" y="161"/>
                </a:moveTo>
                <a:cubicBezTo>
                  <a:pt x="431" y="159"/>
                  <a:pt x="433" y="159"/>
                  <a:pt x="434" y="158"/>
                </a:cubicBezTo>
                <a:cubicBezTo>
                  <a:pt x="434" y="159"/>
                  <a:pt x="432" y="161"/>
                  <a:pt x="430" y="161"/>
                </a:cubicBezTo>
                <a:close/>
                <a:moveTo>
                  <a:pt x="429" y="81"/>
                </a:moveTo>
                <a:cubicBezTo>
                  <a:pt x="431" y="80"/>
                  <a:pt x="432" y="79"/>
                  <a:pt x="434" y="78"/>
                </a:cubicBezTo>
                <a:cubicBezTo>
                  <a:pt x="434" y="80"/>
                  <a:pt x="431" y="81"/>
                  <a:pt x="429" y="81"/>
                </a:cubicBezTo>
                <a:close/>
                <a:moveTo>
                  <a:pt x="428" y="135"/>
                </a:moveTo>
                <a:cubicBezTo>
                  <a:pt x="431" y="133"/>
                  <a:pt x="432" y="135"/>
                  <a:pt x="428" y="135"/>
                </a:cubicBezTo>
                <a:close/>
                <a:moveTo>
                  <a:pt x="430" y="177"/>
                </a:moveTo>
                <a:cubicBezTo>
                  <a:pt x="430" y="178"/>
                  <a:pt x="428" y="179"/>
                  <a:pt x="427" y="179"/>
                </a:cubicBezTo>
                <a:cubicBezTo>
                  <a:pt x="428" y="178"/>
                  <a:pt x="429" y="178"/>
                  <a:pt x="430" y="177"/>
                </a:cubicBezTo>
                <a:close/>
                <a:moveTo>
                  <a:pt x="422" y="541"/>
                </a:moveTo>
                <a:cubicBezTo>
                  <a:pt x="421" y="543"/>
                  <a:pt x="423" y="540"/>
                  <a:pt x="422" y="541"/>
                </a:cubicBezTo>
                <a:close/>
                <a:moveTo>
                  <a:pt x="422" y="384"/>
                </a:moveTo>
                <a:cubicBezTo>
                  <a:pt x="422" y="384"/>
                  <a:pt x="422" y="384"/>
                  <a:pt x="422" y="384"/>
                </a:cubicBezTo>
                <a:cubicBezTo>
                  <a:pt x="422" y="384"/>
                  <a:pt x="423" y="384"/>
                  <a:pt x="423" y="384"/>
                </a:cubicBezTo>
                <a:cubicBezTo>
                  <a:pt x="422" y="384"/>
                  <a:pt x="422" y="384"/>
                  <a:pt x="422" y="384"/>
                </a:cubicBezTo>
                <a:close/>
                <a:moveTo>
                  <a:pt x="422" y="617"/>
                </a:moveTo>
                <a:cubicBezTo>
                  <a:pt x="422" y="618"/>
                  <a:pt x="421" y="617"/>
                  <a:pt x="421" y="617"/>
                </a:cubicBezTo>
                <a:cubicBezTo>
                  <a:pt x="420" y="617"/>
                  <a:pt x="422" y="616"/>
                  <a:pt x="422" y="617"/>
                </a:cubicBezTo>
                <a:close/>
                <a:moveTo>
                  <a:pt x="421" y="588"/>
                </a:moveTo>
                <a:cubicBezTo>
                  <a:pt x="420" y="588"/>
                  <a:pt x="419" y="589"/>
                  <a:pt x="420" y="587"/>
                </a:cubicBezTo>
                <a:cubicBezTo>
                  <a:pt x="420" y="587"/>
                  <a:pt x="421" y="587"/>
                  <a:pt x="421" y="588"/>
                </a:cubicBezTo>
                <a:close/>
                <a:moveTo>
                  <a:pt x="422" y="663"/>
                </a:moveTo>
                <a:cubicBezTo>
                  <a:pt x="423" y="663"/>
                  <a:pt x="422" y="664"/>
                  <a:pt x="421" y="664"/>
                </a:cubicBezTo>
                <a:cubicBezTo>
                  <a:pt x="419" y="665"/>
                  <a:pt x="421" y="662"/>
                  <a:pt x="422" y="663"/>
                </a:cubicBezTo>
                <a:close/>
                <a:moveTo>
                  <a:pt x="424" y="741"/>
                </a:moveTo>
                <a:cubicBezTo>
                  <a:pt x="424" y="742"/>
                  <a:pt x="423" y="742"/>
                  <a:pt x="423" y="741"/>
                </a:cubicBezTo>
                <a:cubicBezTo>
                  <a:pt x="422" y="740"/>
                  <a:pt x="424" y="740"/>
                  <a:pt x="424" y="741"/>
                </a:cubicBezTo>
                <a:close/>
                <a:moveTo>
                  <a:pt x="423" y="739"/>
                </a:moveTo>
                <a:cubicBezTo>
                  <a:pt x="422" y="741"/>
                  <a:pt x="421" y="738"/>
                  <a:pt x="423" y="739"/>
                </a:cubicBezTo>
                <a:close/>
                <a:moveTo>
                  <a:pt x="423" y="692"/>
                </a:moveTo>
                <a:cubicBezTo>
                  <a:pt x="422" y="691"/>
                  <a:pt x="425" y="691"/>
                  <a:pt x="425" y="692"/>
                </a:cubicBezTo>
                <a:cubicBezTo>
                  <a:pt x="425" y="692"/>
                  <a:pt x="423" y="693"/>
                  <a:pt x="423" y="692"/>
                </a:cubicBezTo>
                <a:close/>
                <a:moveTo>
                  <a:pt x="422" y="683"/>
                </a:moveTo>
                <a:cubicBezTo>
                  <a:pt x="422" y="683"/>
                  <a:pt x="423" y="682"/>
                  <a:pt x="423" y="682"/>
                </a:cubicBezTo>
                <a:cubicBezTo>
                  <a:pt x="424" y="681"/>
                  <a:pt x="425" y="680"/>
                  <a:pt x="426" y="682"/>
                </a:cubicBezTo>
                <a:cubicBezTo>
                  <a:pt x="426" y="682"/>
                  <a:pt x="426" y="682"/>
                  <a:pt x="425" y="683"/>
                </a:cubicBezTo>
                <a:cubicBezTo>
                  <a:pt x="426" y="683"/>
                  <a:pt x="428" y="684"/>
                  <a:pt x="428" y="685"/>
                </a:cubicBezTo>
                <a:cubicBezTo>
                  <a:pt x="428" y="688"/>
                  <a:pt x="422" y="684"/>
                  <a:pt x="422" y="683"/>
                </a:cubicBezTo>
                <a:close/>
                <a:moveTo>
                  <a:pt x="427" y="688"/>
                </a:moveTo>
                <a:cubicBezTo>
                  <a:pt x="428" y="689"/>
                  <a:pt x="426" y="688"/>
                  <a:pt x="426" y="689"/>
                </a:cubicBezTo>
                <a:cubicBezTo>
                  <a:pt x="425" y="688"/>
                  <a:pt x="427" y="688"/>
                  <a:pt x="427" y="688"/>
                </a:cubicBezTo>
                <a:close/>
                <a:moveTo>
                  <a:pt x="427" y="696"/>
                </a:moveTo>
                <a:cubicBezTo>
                  <a:pt x="427" y="696"/>
                  <a:pt x="426" y="697"/>
                  <a:pt x="425" y="696"/>
                </a:cubicBezTo>
                <a:cubicBezTo>
                  <a:pt x="425" y="696"/>
                  <a:pt x="427" y="695"/>
                  <a:pt x="427" y="696"/>
                </a:cubicBezTo>
                <a:close/>
                <a:moveTo>
                  <a:pt x="427" y="699"/>
                </a:moveTo>
                <a:cubicBezTo>
                  <a:pt x="428" y="700"/>
                  <a:pt x="427" y="700"/>
                  <a:pt x="427" y="700"/>
                </a:cubicBezTo>
                <a:cubicBezTo>
                  <a:pt x="426" y="700"/>
                  <a:pt x="427" y="699"/>
                  <a:pt x="427" y="699"/>
                </a:cubicBezTo>
                <a:close/>
                <a:moveTo>
                  <a:pt x="426" y="706"/>
                </a:moveTo>
                <a:cubicBezTo>
                  <a:pt x="427" y="707"/>
                  <a:pt x="425" y="707"/>
                  <a:pt x="426" y="706"/>
                </a:cubicBezTo>
                <a:close/>
                <a:moveTo>
                  <a:pt x="427" y="706"/>
                </a:moveTo>
                <a:cubicBezTo>
                  <a:pt x="430" y="703"/>
                  <a:pt x="428" y="709"/>
                  <a:pt x="426" y="708"/>
                </a:cubicBezTo>
                <a:cubicBezTo>
                  <a:pt x="426" y="708"/>
                  <a:pt x="427" y="707"/>
                  <a:pt x="427" y="706"/>
                </a:cubicBezTo>
                <a:close/>
                <a:moveTo>
                  <a:pt x="427" y="695"/>
                </a:moveTo>
                <a:cubicBezTo>
                  <a:pt x="423" y="695"/>
                  <a:pt x="429" y="691"/>
                  <a:pt x="432" y="692"/>
                </a:cubicBezTo>
                <a:cubicBezTo>
                  <a:pt x="430" y="693"/>
                  <a:pt x="428" y="694"/>
                  <a:pt x="427" y="695"/>
                </a:cubicBezTo>
                <a:close/>
                <a:moveTo>
                  <a:pt x="432" y="754"/>
                </a:moveTo>
                <a:cubicBezTo>
                  <a:pt x="433" y="753"/>
                  <a:pt x="433" y="755"/>
                  <a:pt x="432" y="754"/>
                </a:cubicBezTo>
                <a:close/>
                <a:moveTo>
                  <a:pt x="432" y="720"/>
                </a:moveTo>
                <a:cubicBezTo>
                  <a:pt x="431" y="719"/>
                  <a:pt x="433" y="719"/>
                  <a:pt x="433" y="719"/>
                </a:cubicBezTo>
                <a:cubicBezTo>
                  <a:pt x="434" y="719"/>
                  <a:pt x="433" y="720"/>
                  <a:pt x="432" y="720"/>
                </a:cubicBezTo>
                <a:close/>
                <a:moveTo>
                  <a:pt x="438" y="712"/>
                </a:moveTo>
                <a:cubicBezTo>
                  <a:pt x="440" y="712"/>
                  <a:pt x="442" y="714"/>
                  <a:pt x="442" y="717"/>
                </a:cubicBezTo>
                <a:cubicBezTo>
                  <a:pt x="441" y="715"/>
                  <a:pt x="439" y="718"/>
                  <a:pt x="438" y="718"/>
                </a:cubicBezTo>
                <a:cubicBezTo>
                  <a:pt x="429" y="720"/>
                  <a:pt x="431" y="709"/>
                  <a:pt x="438" y="712"/>
                </a:cubicBezTo>
                <a:close/>
                <a:moveTo>
                  <a:pt x="441" y="738"/>
                </a:moveTo>
                <a:cubicBezTo>
                  <a:pt x="441" y="738"/>
                  <a:pt x="439" y="738"/>
                  <a:pt x="439" y="738"/>
                </a:cubicBezTo>
                <a:cubicBezTo>
                  <a:pt x="439" y="737"/>
                  <a:pt x="440" y="737"/>
                  <a:pt x="441" y="738"/>
                </a:cubicBezTo>
                <a:close/>
                <a:moveTo>
                  <a:pt x="438" y="721"/>
                </a:moveTo>
                <a:cubicBezTo>
                  <a:pt x="438" y="721"/>
                  <a:pt x="437" y="721"/>
                  <a:pt x="437" y="721"/>
                </a:cubicBezTo>
                <a:cubicBezTo>
                  <a:pt x="437" y="719"/>
                  <a:pt x="439" y="723"/>
                  <a:pt x="438" y="721"/>
                </a:cubicBezTo>
                <a:close/>
                <a:moveTo>
                  <a:pt x="437" y="722"/>
                </a:moveTo>
                <a:cubicBezTo>
                  <a:pt x="436" y="722"/>
                  <a:pt x="436" y="721"/>
                  <a:pt x="435" y="722"/>
                </a:cubicBezTo>
                <a:cubicBezTo>
                  <a:pt x="434" y="722"/>
                  <a:pt x="436" y="721"/>
                  <a:pt x="437" y="722"/>
                </a:cubicBezTo>
                <a:close/>
                <a:moveTo>
                  <a:pt x="440" y="706"/>
                </a:moveTo>
                <a:cubicBezTo>
                  <a:pt x="440" y="704"/>
                  <a:pt x="443" y="705"/>
                  <a:pt x="443" y="706"/>
                </a:cubicBezTo>
                <a:cubicBezTo>
                  <a:pt x="443" y="708"/>
                  <a:pt x="440" y="707"/>
                  <a:pt x="440" y="706"/>
                </a:cubicBezTo>
                <a:close/>
                <a:moveTo>
                  <a:pt x="443" y="713"/>
                </a:moveTo>
                <a:cubicBezTo>
                  <a:pt x="443" y="713"/>
                  <a:pt x="442" y="713"/>
                  <a:pt x="442" y="713"/>
                </a:cubicBezTo>
                <a:cubicBezTo>
                  <a:pt x="442" y="712"/>
                  <a:pt x="443" y="713"/>
                  <a:pt x="443" y="713"/>
                </a:cubicBezTo>
                <a:close/>
                <a:moveTo>
                  <a:pt x="449" y="658"/>
                </a:moveTo>
                <a:cubicBezTo>
                  <a:pt x="449" y="658"/>
                  <a:pt x="449" y="658"/>
                  <a:pt x="449" y="658"/>
                </a:cubicBezTo>
                <a:cubicBezTo>
                  <a:pt x="449" y="655"/>
                  <a:pt x="451" y="660"/>
                  <a:pt x="449" y="658"/>
                </a:cubicBezTo>
                <a:close/>
                <a:moveTo>
                  <a:pt x="446" y="653"/>
                </a:moveTo>
                <a:cubicBezTo>
                  <a:pt x="447" y="652"/>
                  <a:pt x="449" y="651"/>
                  <a:pt x="450" y="651"/>
                </a:cubicBezTo>
                <a:cubicBezTo>
                  <a:pt x="449" y="652"/>
                  <a:pt x="448" y="653"/>
                  <a:pt x="446" y="653"/>
                </a:cubicBezTo>
                <a:close/>
                <a:moveTo>
                  <a:pt x="449" y="647"/>
                </a:moveTo>
                <a:cubicBezTo>
                  <a:pt x="449" y="646"/>
                  <a:pt x="451" y="645"/>
                  <a:pt x="451" y="646"/>
                </a:cubicBezTo>
                <a:cubicBezTo>
                  <a:pt x="452" y="647"/>
                  <a:pt x="449" y="649"/>
                  <a:pt x="449" y="647"/>
                </a:cubicBezTo>
                <a:close/>
                <a:moveTo>
                  <a:pt x="451" y="217"/>
                </a:moveTo>
                <a:cubicBezTo>
                  <a:pt x="451" y="217"/>
                  <a:pt x="451" y="217"/>
                  <a:pt x="451" y="217"/>
                </a:cubicBezTo>
                <a:cubicBezTo>
                  <a:pt x="454" y="218"/>
                  <a:pt x="448" y="220"/>
                  <a:pt x="451" y="217"/>
                </a:cubicBezTo>
                <a:close/>
                <a:moveTo>
                  <a:pt x="449" y="184"/>
                </a:moveTo>
                <a:cubicBezTo>
                  <a:pt x="450" y="182"/>
                  <a:pt x="451" y="181"/>
                  <a:pt x="453" y="181"/>
                </a:cubicBezTo>
                <a:cubicBezTo>
                  <a:pt x="452" y="182"/>
                  <a:pt x="451" y="183"/>
                  <a:pt x="449" y="184"/>
                </a:cubicBezTo>
                <a:close/>
                <a:moveTo>
                  <a:pt x="459" y="243"/>
                </a:moveTo>
                <a:cubicBezTo>
                  <a:pt x="458" y="244"/>
                  <a:pt x="455" y="246"/>
                  <a:pt x="452" y="247"/>
                </a:cubicBezTo>
                <a:cubicBezTo>
                  <a:pt x="454" y="245"/>
                  <a:pt x="457" y="244"/>
                  <a:pt x="459" y="243"/>
                </a:cubicBezTo>
                <a:close/>
                <a:moveTo>
                  <a:pt x="456" y="185"/>
                </a:moveTo>
                <a:cubicBezTo>
                  <a:pt x="456" y="185"/>
                  <a:pt x="458" y="184"/>
                  <a:pt x="458" y="185"/>
                </a:cubicBezTo>
                <a:cubicBezTo>
                  <a:pt x="458" y="185"/>
                  <a:pt x="456" y="186"/>
                  <a:pt x="456" y="185"/>
                </a:cubicBezTo>
                <a:close/>
                <a:moveTo>
                  <a:pt x="457" y="243"/>
                </a:moveTo>
                <a:cubicBezTo>
                  <a:pt x="457" y="245"/>
                  <a:pt x="457" y="241"/>
                  <a:pt x="457" y="243"/>
                </a:cubicBezTo>
                <a:close/>
                <a:moveTo>
                  <a:pt x="458" y="185"/>
                </a:moveTo>
                <a:cubicBezTo>
                  <a:pt x="459" y="183"/>
                  <a:pt x="460" y="185"/>
                  <a:pt x="458" y="185"/>
                </a:cubicBezTo>
                <a:close/>
                <a:moveTo>
                  <a:pt x="460" y="254"/>
                </a:moveTo>
                <a:cubicBezTo>
                  <a:pt x="460" y="255"/>
                  <a:pt x="456" y="257"/>
                  <a:pt x="456" y="255"/>
                </a:cubicBezTo>
                <a:cubicBezTo>
                  <a:pt x="455" y="252"/>
                  <a:pt x="460" y="252"/>
                  <a:pt x="460" y="254"/>
                </a:cubicBezTo>
                <a:close/>
                <a:moveTo>
                  <a:pt x="460" y="156"/>
                </a:moveTo>
                <a:cubicBezTo>
                  <a:pt x="461" y="154"/>
                  <a:pt x="459" y="157"/>
                  <a:pt x="460" y="156"/>
                </a:cubicBezTo>
                <a:close/>
                <a:moveTo>
                  <a:pt x="461" y="243"/>
                </a:moveTo>
                <a:cubicBezTo>
                  <a:pt x="462" y="243"/>
                  <a:pt x="461" y="244"/>
                  <a:pt x="461" y="244"/>
                </a:cubicBezTo>
                <a:cubicBezTo>
                  <a:pt x="461" y="244"/>
                  <a:pt x="461" y="243"/>
                  <a:pt x="461" y="243"/>
                </a:cubicBezTo>
                <a:close/>
                <a:moveTo>
                  <a:pt x="461" y="144"/>
                </a:moveTo>
                <a:cubicBezTo>
                  <a:pt x="461" y="142"/>
                  <a:pt x="463" y="143"/>
                  <a:pt x="461" y="144"/>
                </a:cubicBezTo>
                <a:close/>
                <a:moveTo>
                  <a:pt x="460" y="266"/>
                </a:moveTo>
                <a:cubicBezTo>
                  <a:pt x="459" y="267"/>
                  <a:pt x="463" y="264"/>
                  <a:pt x="460" y="266"/>
                </a:cubicBezTo>
                <a:close/>
                <a:moveTo>
                  <a:pt x="458" y="550"/>
                </a:moveTo>
                <a:cubicBezTo>
                  <a:pt x="457" y="550"/>
                  <a:pt x="459" y="549"/>
                  <a:pt x="458" y="550"/>
                </a:cubicBezTo>
                <a:cubicBezTo>
                  <a:pt x="458" y="550"/>
                  <a:pt x="458" y="550"/>
                  <a:pt x="458" y="550"/>
                </a:cubicBezTo>
                <a:close/>
                <a:moveTo>
                  <a:pt x="459" y="569"/>
                </a:moveTo>
                <a:cubicBezTo>
                  <a:pt x="460" y="568"/>
                  <a:pt x="456" y="570"/>
                  <a:pt x="459" y="569"/>
                </a:cubicBezTo>
                <a:close/>
                <a:moveTo>
                  <a:pt x="461" y="580"/>
                </a:moveTo>
                <a:cubicBezTo>
                  <a:pt x="461" y="583"/>
                  <a:pt x="456" y="582"/>
                  <a:pt x="456" y="580"/>
                </a:cubicBezTo>
                <a:cubicBezTo>
                  <a:pt x="456" y="579"/>
                  <a:pt x="461" y="578"/>
                  <a:pt x="461" y="580"/>
                </a:cubicBezTo>
                <a:close/>
                <a:moveTo>
                  <a:pt x="462" y="589"/>
                </a:moveTo>
                <a:cubicBezTo>
                  <a:pt x="460" y="590"/>
                  <a:pt x="457" y="590"/>
                  <a:pt x="454" y="591"/>
                </a:cubicBezTo>
                <a:cubicBezTo>
                  <a:pt x="456" y="590"/>
                  <a:pt x="460" y="589"/>
                  <a:pt x="462" y="589"/>
                </a:cubicBezTo>
                <a:close/>
                <a:moveTo>
                  <a:pt x="457" y="591"/>
                </a:moveTo>
                <a:cubicBezTo>
                  <a:pt x="457" y="590"/>
                  <a:pt x="456" y="593"/>
                  <a:pt x="457" y="591"/>
                </a:cubicBezTo>
                <a:close/>
                <a:moveTo>
                  <a:pt x="460" y="671"/>
                </a:moveTo>
                <a:cubicBezTo>
                  <a:pt x="460" y="671"/>
                  <a:pt x="457" y="672"/>
                  <a:pt x="458" y="670"/>
                </a:cubicBezTo>
                <a:cubicBezTo>
                  <a:pt x="458" y="669"/>
                  <a:pt x="460" y="669"/>
                  <a:pt x="460" y="671"/>
                </a:cubicBezTo>
                <a:close/>
                <a:moveTo>
                  <a:pt x="460" y="662"/>
                </a:moveTo>
                <a:cubicBezTo>
                  <a:pt x="460" y="663"/>
                  <a:pt x="459" y="663"/>
                  <a:pt x="459" y="663"/>
                </a:cubicBezTo>
                <a:cubicBezTo>
                  <a:pt x="458" y="662"/>
                  <a:pt x="460" y="662"/>
                  <a:pt x="460" y="662"/>
                </a:cubicBezTo>
                <a:close/>
                <a:moveTo>
                  <a:pt x="467" y="612"/>
                </a:moveTo>
                <a:cubicBezTo>
                  <a:pt x="467" y="613"/>
                  <a:pt x="465" y="613"/>
                  <a:pt x="465" y="613"/>
                </a:cubicBezTo>
                <a:cubicBezTo>
                  <a:pt x="464" y="612"/>
                  <a:pt x="467" y="612"/>
                  <a:pt x="467" y="612"/>
                </a:cubicBezTo>
                <a:close/>
                <a:moveTo>
                  <a:pt x="466" y="284"/>
                </a:moveTo>
                <a:cubicBezTo>
                  <a:pt x="466" y="284"/>
                  <a:pt x="466" y="283"/>
                  <a:pt x="466" y="283"/>
                </a:cubicBezTo>
                <a:cubicBezTo>
                  <a:pt x="467" y="284"/>
                  <a:pt x="466" y="285"/>
                  <a:pt x="466" y="284"/>
                </a:cubicBezTo>
                <a:close/>
                <a:moveTo>
                  <a:pt x="474" y="600"/>
                </a:moveTo>
                <a:cubicBezTo>
                  <a:pt x="474" y="599"/>
                  <a:pt x="476" y="598"/>
                  <a:pt x="476" y="598"/>
                </a:cubicBezTo>
                <a:cubicBezTo>
                  <a:pt x="476" y="599"/>
                  <a:pt x="475" y="600"/>
                  <a:pt x="474" y="600"/>
                </a:cubicBezTo>
                <a:close/>
                <a:moveTo>
                  <a:pt x="475" y="266"/>
                </a:moveTo>
                <a:cubicBezTo>
                  <a:pt x="475" y="266"/>
                  <a:pt x="474" y="266"/>
                  <a:pt x="474" y="266"/>
                </a:cubicBezTo>
                <a:cubicBezTo>
                  <a:pt x="475" y="266"/>
                  <a:pt x="475" y="265"/>
                  <a:pt x="475" y="265"/>
                </a:cubicBezTo>
                <a:cubicBezTo>
                  <a:pt x="475" y="265"/>
                  <a:pt x="475" y="265"/>
                  <a:pt x="475" y="266"/>
                </a:cubicBezTo>
                <a:close/>
                <a:moveTo>
                  <a:pt x="466" y="190"/>
                </a:moveTo>
                <a:cubicBezTo>
                  <a:pt x="469" y="188"/>
                  <a:pt x="468" y="194"/>
                  <a:pt x="466" y="192"/>
                </a:cubicBezTo>
                <a:cubicBezTo>
                  <a:pt x="465" y="192"/>
                  <a:pt x="466" y="191"/>
                  <a:pt x="466" y="190"/>
                </a:cubicBezTo>
                <a:close/>
                <a:moveTo>
                  <a:pt x="469" y="188"/>
                </a:moveTo>
                <a:cubicBezTo>
                  <a:pt x="468" y="187"/>
                  <a:pt x="470" y="187"/>
                  <a:pt x="470" y="188"/>
                </a:cubicBezTo>
                <a:cubicBezTo>
                  <a:pt x="471" y="188"/>
                  <a:pt x="469" y="189"/>
                  <a:pt x="469" y="188"/>
                </a:cubicBezTo>
                <a:close/>
                <a:moveTo>
                  <a:pt x="469" y="195"/>
                </a:moveTo>
                <a:cubicBezTo>
                  <a:pt x="468" y="196"/>
                  <a:pt x="467" y="197"/>
                  <a:pt x="466" y="197"/>
                </a:cubicBezTo>
                <a:cubicBezTo>
                  <a:pt x="467" y="196"/>
                  <a:pt x="468" y="195"/>
                  <a:pt x="469" y="195"/>
                </a:cubicBezTo>
                <a:close/>
                <a:moveTo>
                  <a:pt x="463" y="182"/>
                </a:moveTo>
                <a:cubicBezTo>
                  <a:pt x="462" y="180"/>
                  <a:pt x="468" y="178"/>
                  <a:pt x="469" y="181"/>
                </a:cubicBezTo>
                <a:cubicBezTo>
                  <a:pt x="469" y="184"/>
                  <a:pt x="463" y="184"/>
                  <a:pt x="463" y="182"/>
                </a:cubicBezTo>
                <a:close/>
                <a:moveTo>
                  <a:pt x="466" y="174"/>
                </a:moveTo>
                <a:cubicBezTo>
                  <a:pt x="466" y="174"/>
                  <a:pt x="468" y="173"/>
                  <a:pt x="468" y="174"/>
                </a:cubicBezTo>
                <a:cubicBezTo>
                  <a:pt x="469" y="174"/>
                  <a:pt x="466" y="175"/>
                  <a:pt x="466" y="174"/>
                </a:cubicBezTo>
                <a:close/>
                <a:moveTo>
                  <a:pt x="462" y="142"/>
                </a:moveTo>
                <a:cubicBezTo>
                  <a:pt x="462" y="141"/>
                  <a:pt x="464" y="141"/>
                  <a:pt x="464" y="141"/>
                </a:cubicBezTo>
                <a:cubicBezTo>
                  <a:pt x="464" y="141"/>
                  <a:pt x="463" y="142"/>
                  <a:pt x="462" y="142"/>
                </a:cubicBezTo>
                <a:close/>
                <a:moveTo>
                  <a:pt x="459" y="145"/>
                </a:moveTo>
                <a:cubicBezTo>
                  <a:pt x="459" y="145"/>
                  <a:pt x="460" y="145"/>
                  <a:pt x="460" y="145"/>
                </a:cubicBezTo>
                <a:cubicBezTo>
                  <a:pt x="460" y="145"/>
                  <a:pt x="459" y="146"/>
                  <a:pt x="459" y="145"/>
                </a:cubicBezTo>
                <a:close/>
                <a:moveTo>
                  <a:pt x="458" y="124"/>
                </a:moveTo>
                <a:cubicBezTo>
                  <a:pt x="456" y="128"/>
                  <a:pt x="457" y="122"/>
                  <a:pt x="459" y="122"/>
                </a:cubicBezTo>
                <a:cubicBezTo>
                  <a:pt x="459" y="123"/>
                  <a:pt x="459" y="124"/>
                  <a:pt x="458" y="124"/>
                </a:cubicBezTo>
                <a:close/>
                <a:moveTo>
                  <a:pt x="461" y="153"/>
                </a:moveTo>
                <a:cubicBezTo>
                  <a:pt x="461" y="154"/>
                  <a:pt x="457" y="155"/>
                  <a:pt x="457" y="154"/>
                </a:cubicBezTo>
                <a:cubicBezTo>
                  <a:pt x="456" y="153"/>
                  <a:pt x="460" y="151"/>
                  <a:pt x="461" y="153"/>
                </a:cubicBezTo>
                <a:close/>
                <a:moveTo>
                  <a:pt x="449" y="133"/>
                </a:moveTo>
                <a:cubicBezTo>
                  <a:pt x="448" y="132"/>
                  <a:pt x="450" y="133"/>
                  <a:pt x="450" y="133"/>
                </a:cubicBezTo>
                <a:cubicBezTo>
                  <a:pt x="451" y="133"/>
                  <a:pt x="449" y="133"/>
                  <a:pt x="449" y="133"/>
                </a:cubicBezTo>
                <a:close/>
                <a:moveTo>
                  <a:pt x="434" y="47"/>
                </a:moveTo>
                <a:cubicBezTo>
                  <a:pt x="435" y="47"/>
                  <a:pt x="436" y="47"/>
                  <a:pt x="436" y="47"/>
                </a:cubicBezTo>
                <a:cubicBezTo>
                  <a:pt x="436" y="47"/>
                  <a:pt x="435" y="48"/>
                  <a:pt x="434" y="47"/>
                </a:cubicBezTo>
                <a:close/>
                <a:moveTo>
                  <a:pt x="433" y="61"/>
                </a:moveTo>
                <a:cubicBezTo>
                  <a:pt x="434" y="60"/>
                  <a:pt x="435" y="62"/>
                  <a:pt x="433" y="61"/>
                </a:cubicBezTo>
                <a:close/>
                <a:moveTo>
                  <a:pt x="432" y="54"/>
                </a:moveTo>
                <a:cubicBezTo>
                  <a:pt x="432" y="53"/>
                  <a:pt x="433" y="53"/>
                  <a:pt x="433" y="53"/>
                </a:cubicBezTo>
                <a:cubicBezTo>
                  <a:pt x="434" y="54"/>
                  <a:pt x="432" y="54"/>
                  <a:pt x="432" y="54"/>
                </a:cubicBezTo>
                <a:close/>
                <a:moveTo>
                  <a:pt x="432" y="47"/>
                </a:moveTo>
                <a:cubicBezTo>
                  <a:pt x="431" y="47"/>
                  <a:pt x="432" y="46"/>
                  <a:pt x="432" y="46"/>
                </a:cubicBezTo>
                <a:cubicBezTo>
                  <a:pt x="433" y="47"/>
                  <a:pt x="432" y="47"/>
                  <a:pt x="432" y="47"/>
                </a:cubicBezTo>
                <a:close/>
                <a:moveTo>
                  <a:pt x="435" y="69"/>
                </a:moveTo>
                <a:cubicBezTo>
                  <a:pt x="435" y="72"/>
                  <a:pt x="431" y="71"/>
                  <a:pt x="431" y="69"/>
                </a:cubicBezTo>
                <a:cubicBezTo>
                  <a:pt x="431" y="67"/>
                  <a:pt x="435" y="66"/>
                  <a:pt x="435" y="69"/>
                </a:cubicBezTo>
                <a:close/>
                <a:moveTo>
                  <a:pt x="426" y="60"/>
                </a:moveTo>
                <a:cubicBezTo>
                  <a:pt x="425" y="58"/>
                  <a:pt x="430" y="57"/>
                  <a:pt x="431" y="59"/>
                </a:cubicBezTo>
                <a:cubicBezTo>
                  <a:pt x="432" y="62"/>
                  <a:pt x="427" y="61"/>
                  <a:pt x="426" y="60"/>
                </a:cubicBezTo>
                <a:close/>
                <a:moveTo>
                  <a:pt x="426" y="47"/>
                </a:moveTo>
                <a:cubicBezTo>
                  <a:pt x="426" y="47"/>
                  <a:pt x="426" y="47"/>
                  <a:pt x="426" y="47"/>
                </a:cubicBezTo>
                <a:cubicBezTo>
                  <a:pt x="427" y="48"/>
                  <a:pt x="424" y="45"/>
                  <a:pt x="426" y="47"/>
                </a:cubicBezTo>
                <a:close/>
                <a:moveTo>
                  <a:pt x="426" y="48"/>
                </a:moveTo>
                <a:cubicBezTo>
                  <a:pt x="426" y="50"/>
                  <a:pt x="424" y="49"/>
                  <a:pt x="424" y="49"/>
                </a:cubicBezTo>
                <a:cubicBezTo>
                  <a:pt x="424" y="48"/>
                  <a:pt x="425" y="48"/>
                  <a:pt x="426" y="48"/>
                </a:cubicBezTo>
                <a:close/>
                <a:moveTo>
                  <a:pt x="428" y="81"/>
                </a:moveTo>
                <a:cubicBezTo>
                  <a:pt x="426" y="82"/>
                  <a:pt x="425" y="83"/>
                  <a:pt x="423" y="83"/>
                </a:cubicBezTo>
                <a:cubicBezTo>
                  <a:pt x="424" y="83"/>
                  <a:pt x="426" y="81"/>
                  <a:pt x="428" y="81"/>
                </a:cubicBezTo>
                <a:close/>
                <a:moveTo>
                  <a:pt x="425" y="98"/>
                </a:moveTo>
                <a:cubicBezTo>
                  <a:pt x="424" y="101"/>
                  <a:pt x="421" y="99"/>
                  <a:pt x="425" y="98"/>
                </a:cubicBezTo>
                <a:close/>
                <a:moveTo>
                  <a:pt x="424" y="146"/>
                </a:moveTo>
                <a:cubicBezTo>
                  <a:pt x="424" y="148"/>
                  <a:pt x="422" y="148"/>
                  <a:pt x="421" y="149"/>
                </a:cubicBezTo>
                <a:cubicBezTo>
                  <a:pt x="421" y="147"/>
                  <a:pt x="423" y="147"/>
                  <a:pt x="424" y="146"/>
                </a:cubicBezTo>
                <a:close/>
                <a:moveTo>
                  <a:pt x="418" y="110"/>
                </a:moveTo>
                <a:cubicBezTo>
                  <a:pt x="419" y="110"/>
                  <a:pt x="420" y="109"/>
                  <a:pt x="422" y="109"/>
                </a:cubicBezTo>
                <a:cubicBezTo>
                  <a:pt x="421" y="110"/>
                  <a:pt x="419" y="111"/>
                  <a:pt x="418" y="110"/>
                </a:cubicBezTo>
                <a:close/>
                <a:moveTo>
                  <a:pt x="418" y="108"/>
                </a:moveTo>
                <a:cubicBezTo>
                  <a:pt x="419" y="106"/>
                  <a:pt x="420" y="106"/>
                  <a:pt x="421" y="106"/>
                </a:cubicBezTo>
                <a:cubicBezTo>
                  <a:pt x="421" y="107"/>
                  <a:pt x="419" y="108"/>
                  <a:pt x="418" y="108"/>
                </a:cubicBezTo>
                <a:close/>
                <a:moveTo>
                  <a:pt x="420" y="89"/>
                </a:moveTo>
                <a:cubicBezTo>
                  <a:pt x="420" y="89"/>
                  <a:pt x="420" y="89"/>
                  <a:pt x="420" y="89"/>
                </a:cubicBezTo>
                <a:cubicBezTo>
                  <a:pt x="420" y="89"/>
                  <a:pt x="420" y="89"/>
                  <a:pt x="420" y="89"/>
                </a:cubicBezTo>
                <a:cubicBezTo>
                  <a:pt x="420" y="89"/>
                  <a:pt x="420" y="89"/>
                  <a:pt x="420" y="89"/>
                </a:cubicBezTo>
                <a:close/>
                <a:moveTo>
                  <a:pt x="421" y="89"/>
                </a:moveTo>
                <a:cubicBezTo>
                  <a:pt x="421" y="89"/>
                  <a:pt x="421" y="88"/>
                  <a:pt x="421" y="89"/>
                </a:cubicBezTo>
                <a:close/>
                <a:moveTo>
                  <a:pt x="418" y="85"/>
                </a:moveTo>
                <a:cubicBezTo>
                  <a:pt x="418" y="84"/>
                  <a:pt x="420" y="84"/>
                  <a:pt x="421" y="84"/>
                </a:cubicBezTo>
                <a:cubicBezTo>
                  <a:pt x="421" y="85"/>
                  <a:pt x="418" y="86"/>
                  <a:pt x="418" y="85"/>
                </a:cubicBezTo>
                <a:close/>
                <a:moveTo>
                  <a:pt x="416" y="78"/>
                </a:moveTo>
                <a:cubicBezTo>
                  <a:pt x="416" y="78"/>
                  <a:pt x="418" y="77"/>
                  <a:pt x="419" y="78"/>
                </a:cubicBezTo>
                <a:cubicBezTo>
                  <a:pt x="420" y="80"/>
                  <a:pt x="416" y="80"/>
                  <a:pt x="416" y="78"/>
                </a:cubicBezTo>
                <a:close/>
                <a:moveTo>
                  <a:pt x="420" y="96"/>
                </a:moveTo>
                <a:cubicBezTo>
                  <a:pt x="420" y="98"/>
                  <a:pt x="417" y="99"/>
                  <a:pt x="415" y="98"/>
                </a:cubicBezTo>
                <a:cubicBezTo>
                  <a:pt x="411" y="95"/>
                  <a:pt x="420" y="92"/>
                  <a:pt x="420" y="96"/>
                </a:cubicBezTo>
                <a:close/>
                <a:moveTo>
                  <a:pt x="415" y="101"/>
                </a:moveTo>
                <a:cubicBezTo>
                  <a:pt x="417" y="103"/>
                  <a:pt x="410" y="105"/>
                  <a:pt x="413" y="102"/>
                </a:cubicBezTo>
                <a:cubicBezTo>
                  <a:pt x="413" y="101"/>
                  <a:pt x="414" y="101"/>
                  <a:pt x="415" y="101"/>
                </a:cubicBezTo>
                <a:close/>
                <a:moveTo>
                  <a:pt x="414" y="157"/>
                </a:moveTo>
                <a:cubicBezTo>
                  <a:pt x="414" y="158"/>
                  <a:pt x="412" y="159"/>
                  <a:pt x="410" y="159"/>
                </a:cubicBezTo>
                <a:cubicBezTo>
                  <a:pt x="411" y="158"/>
                  <a:pt x="413" y="158"/>
                  <a:pt x="414" y="157"/>
                </a:cubicBezTo>
                <a:close/>
                <a:moveTo>
                  <a:pt x="413" y="544"/>
                </a:moveTo>
                <a:cubicBezTo>
                  <a:pt x="412" y="547"/>
                  <a:pt x="410" y="546"/>
                  <a:pt x="413" y="544"/>
                </a:cubicBezTo>
                <a:close/>
                <a:moveTo>
                  <a:pt x="411" y="281"/>
                </a:moveTo>
                <a:cubicBezTo>
                  <a:pt x="413" y="282"/>
                  <a:pt x="410" y="282"/>
                  <a:pt x="411" y="281"/>
                </a:cubicBezTo>
                <a:close/>
                <a:moveTo>
                  <a:pt x="417" y="620"/>
                </a:moveTo>
                <a:cubicBezTo>
                  <a:pt x="418" y="619"/>
                  <a:pt x="419" y="618"/>
                  <a:pt x="420" y="619"/>
                </a:cubicBezTo>
                <a:cubicBezTo>
                  <a:pt x="420" y="620"/>
                  <a:pt x="420" y="620"/>
                  <a:pt x="420" y="620"/>
                </a:cubicBezTo>
                <a:cubicBezTo>
                  <a:pt x="420" y="620"/>
                  <a:pt x="420" y="620"/>
                  <a:pt x="420" y="620"/>
                </a:cubicBezTo>
                <a:cubicBezTo>
                  <a:pt x="421" y="620"/>
                  <a:pt x="420" y="621"/>
                  <a:pt x="420" y="621"/>
                </a:cubicBezTo>
                <a:cubicBezTo>
                  <a:pt x="418" y="622"/>
                  <a:pt x="418" y="621"/>
                  <a:pt x="418" y="620"/>
                </a:cubicBezTo>
                <a:cubicBezTo>
                  <a:pt x="417" y="620"/>
                  <a:pt x="416" y="620"/>
                  <a:pt x="416" y="620"/>
                </a:cubicBezTo>
                <a:cubicBezTo>
                  <a:pt x="415" y="621"/>
                  <a:pt x="408" y="625"/>
                  <a:pt x="407" y="624"/>
                </a:cubicBezTo>
                <a:cubicBezTo>
                  <a:pt x="406" y="622"/>
                  <a:pt x="416" y="620"/>
                  <a:pt x="417" y="620"/>
                </a:cubicBezTo>
                <a:close/>
                <a:moveTo>
                  <a:pt x="408" y="668"/>
                </a:moveTo>
                <a:cubicBezTo>
                  <a:pt x="408" y="669"/>
                  <a:pt x="410" y="667"/>
                  <a:pt x="410" y="668"/>
                </a:cubicBezTo>
                <a:cubicBezTo>
                  <a:pt x="410" y="669"/>
                  <a:pt x="408" y="670"/>
                  <a:pt x="408" y="668"/>
                </a:cubicBezTo>
                <a:close/>
                <a:moveTo>
                  <a:pt x="409" y="676"/>
                </a:moveTo>
                <a:cubicBezTo>
                  <a:pt x="409" y="676"/>
                  <a:pt x="409" y="677"/>
                  <a:pt x="408" y="676"/>
                </a:cubicBezTo>
                <a:cubicBezTo>
                  <a:pt x="407" y="676"/>
                  <a:pt x="410" y="675"/>
                  <a:pt x="409" y="676"/>
                </a:cubicBezTo>
                <a:close/>
                <a:moveTo>
                  <a:pt x="400" y="518"/>
                </a:moveTo>
                <a:cubicBezTo>
                  <a:pt x="397" y="519"/>
                  <a:pt x="400" y="515"/>
                  <a:pt x="401" y="517"/>
                </a:cubicBezTo>
                <a:cubicBezTo>
                  <a:pt x="401" y="518"/>
                  <a:pt x="401" y="518"/>
                  <a:pt x="400" y="518"/>
                </a:cubicBezTo>
                <a:close/>
                <a:moveTo>
                  <a:pt x="400" y="648"/>
                </a:moveTo>
                <a:cubicBezTo>
                  <a:pt x="400" y="647"/>
                  <a:pt x="400" y="647"/>
                  <a:pt x="400" y="647"/>
                </a:cubicBezTo>
                <a:cubicBezTo>
                  <a:pt x="400" y="647"/>
                  <a:pt x="400" y="647"/>
                  <a:pt x="400" y="647"/>
                </a:cubicBezTo>
                <a:cubicBezTo>
                  <a:pt x="400" y="647"/>
                  <a:pt x="400" y="647"/>
                  <a:pt x="400" y="648"/>
                </a:cubicBezTo>
                <a:close/>
                <a:moveTo>
                  <a:pt x="392" y="551"/>
                </a:moveTo>
                <a:cubicBezTo>
                  <a:pt x="393" y="549"/>
                  <a:pt x="397" y="551"/>
                  <a:pt x="396" y="553"/>
                </a:cubicBezTo>
                <a:cubicBezTo>
                  <a:pt x="395" y="555"/>
                  <a:pt x="390" y="554"/>
                  <a:pt x="392" y="551"/>
                </a:cubicBezTo>
                <a:close/>
                <a:moveTo>
                  <a:pt x="393" y="587"/>
                </a:moveTo>
                <a:cubicBezTo>
                  <a:pt x="390" y="588"/>
                  <a:pt x="394" y="586"/>
                  <a:pt x="393" y="587"/>
                </a:cubicBezTo>
                <a:close/>
                <a:moveTo>
                  <a:pt x="394" y="493"/>
                </a:moveTo>
                <a:cubicBezTo>
                  <a:pt x="394" y="493"/>
                  <a:pt x="393" y="494"/>
                  <a:pt x="393" y="493"/>
                </a:cubicBezTo>
                <a:cubicBezTo>
                  <a:pt x="391" y="492"/>
                  <a:pt x="396" y="491"/>
                  <a:pt x="394" y="493"/>
                </a:cubicBezTo>
                <a:close/>
                <a:moveTo>
                  <a:pt x="394" y="530"/>
                </a:moveTo>
                <a:cubicBezTo>
                  <a:pt x="394" y="530"/>
                  <a:pt x="394" y="531"/>
                  <a:pt x="394" y="530"/>
                </a:cubicBezTo>
                <a:cubicBezTo>
                  <a:pt x="393" y="530"/>
                  <a:pt x="395" y="529"/>
                  <a:pt x="394" y="530"/>
                </a:cubicBezTo>
                <a:close/>
                <a:moveTo>
                  <a:pt x="397" y="543"/>
                </a:moveTo>
                <a:cubicBezTo>
                  <a:pt x="397" y="543"/>
                  <a:pt x="396" y="544"/>
                  <a:pt x="396" y="543"/>
                </a:cubicBezTo>
                <a:cubicBezTo>
                  <a:pt x="395" y="543"/>
                  <a:pt x="398" y="542"/>
                  <a:pt x="397" y="543"/>
                </a:cubicBezTo>
                <a:close/>
                <a:moveTo>
                  <a:pt x="396" y="585"/>
                </a:moveTo>
                <a:cubicBezTo>
                  <a:pt x="396" y="586"/>
                  <a:pt x="396" y="586"/>
                  <a:pt x="396" y="586"/>
                </a:cubicBezTo>
                <a:cubicBezTo>
                  <a:pt x="394" y="587"/>
                  <a:pt x="396" y="586"/>
                  <a:pt x="396" y="585"/>
                </a:cubicBezTo>
                <a:close/>
                <a:moveTo>
                  <a:pt x="396" y="601"/>
                </a:moveTo>
                <a:cubicBezTo>
                  <a:pt x="397" y="601"/>
                  <a:pt x="396" y="602"/>
                  <a:pt x="395" y="603"/>
                </a:cubicBezTo>
                <a:cubicBezTo>
                  <a:pt x="395" y="602"/>
                  <a:pt x="396" y="601"/>
                  <a:pt x="396" y="601"/>
                </a:cubicBezTo>
                <a:close/>
                <a:moveTo>
                  <a:pt x="399" y="645"/>
                </a:moveTo>
                <a:cubicBezTo>
                  <a:pt x="399" y="646"/>
                  <a:pt x="396" y="647"/>
                  <a:pt x="397" y="645"/>
                </a:cubicBezTo>
                <a:cubicBezTo>
                  <a:pt x="397" y="643"/>
                  <a:pt x="399" y="644"/>
                  <a:pt x="399" y="645"/>
                </a:cubicBezTo>
                <a:close/>
                <a:moveTo>
                  <a:pt x="398" y="622"/>
                </a:moveTo>
                <a:cubicBezTo>
                  <a:pt x="395" y="624"/>
                  <a:pt x="397" y="618"/>
                  <a:pt x="399" y="619"/>
                </a:cubicBezTo>
                <a:cubicBezTo>
                  <a:pt x="401" y="620"/>
                  <a:pt x="399" y="622"/>
                  <a:pt x="398" y="622"/>
                </a:cubicBezTo>
                <a:close/>
                <a:moveTo>
                  <a:pt x="397" y="513"/>
                </a:moveTo>
                <a:cubicBezTo>
                  <a:pt x="397" y="513"/>
                  <a:pt x="399" y="513"/>
                  <a:pt x="399" y="513"/>
                </a:cubicBezTo>
                <a:cubicBezTo>
                  <a:pt x="399" y="514"/>
                  <a:pt x="397" y="514"/>
                  <a:pt x="397" y="513"/>
                </a:cubicBezTo>
                <a:close/>
                <a:moveTo>
                  <a:pt x="397" y="606"/>
                </a:moveTo>
                <a:cubicBezTo>
                  <a:pt x="397" y="605"/>
                  <a:pt x="397" y="605"/>
                  <a:pt x="398" y="605"/>
                </a:cubicBezTo>
                <a:cubicBezTo>
                  <a:pt x="399" y="605"/>
                  <a:pt x="398" y="607"/>
                  <a:pt x="397" y="606"/>
                </a:cubicBezTo>
                <a:close/>
                <a:moveTo>
                  <a:pt x="397" y="461"/>
                </a:moveTo>
                <a:cubicBezTo>
                  <a:pt x="398" y="459"/>
                  <a:pt x="400" y="459"/>
                  <a:pt x="402" y="458"/>
                </a:cubicBezTo>
                <a:cubicBezTo>
                  <a:pt x="401" y="460"/>
                  <a:pt x="399" y="460"/>
                  <a:pt x="397" y="461"/>
                </a:cubicBezTo>
                <a:close/>
                <a:moveTo>
                  <a:pt x="401" y="364"/>
                </a:moveTo>
                <a:cubicBezTo>
                  <a:pt x="399" y="366"/>
                  <a:pt x="401" y="361"/>
                  <a:pt x="402" y="362"/>
                </a:cubicBezTo>
                <a:cubicBezTo>
                  <a:pt x="403" y="362"/>
                  <a:pt x="401" y="364"/>
                  <a:pt x="401" y="364"/>
                </a:cubicBezTo>
                <a:close/>
                <a:moveTo>
                  <a:pt x="400" y="245"/>
                </a:moveTo>
                <a:cubicBezTo>
                  <a:pt x="401" y="244"/>
                  <a:pt x="399" y="246"/>
                  <a:pt x="400" y="245"/>
                </a:cubicBezTo>
                <a:close/>
                <a:moveTo>
                  <a:pt x="402" y="477"/>
                </a:moveTo>
                <a:cubicBezTo>
                  <a:pt x="401" y="478"/>
                  <a:pt x="403" y="476"/>
                  <a:pt x="402" y="477"/>
                </a:cubicBezTo>
                <a:close/>
                <a:moveTo>
                  <a:pt x="402" y="458"/>
                </a:moveTo>
                <a:cubicBezTo>
                  <a:pt x="401" y="457"/>
                  <a:pt x="406" y="457"/>
                  <a:pt x="404" y="458"/>
                </a:cubicBezTo>
                <a:cubicBezTo>
                  <a:pt x="403" y="458"/>
                  <a:pt x="403" y="459"/>
                  <a:pt x="402" y="458"/>
                </a:cubicBezTo>
                <a:close/>
                <a:moveTo>
                  <a:pt x="406" y="578"/>
                </a:moveTo>
                <a:cubicBezTo>
                  <a:pt x="406" y="578"/>
                  <a:pt x="408" y="577"/>
                  <a:pt x="409" y="578"/>
                </a:cubicBezTo>
                <a:cubicBezTo>
                  <a:pt x="409" y="579"/>
                  <a:pt x="406" y="580"/>
                  <a:pt x="406" y="578"/>
                </a:cubicBezTo>
                <a:close/>
                <a:moveTo>
                  <a:pt x="409" y="606"/>
                </a:moveTo>
                <a:cubicBezTo>
                  <a:pt x="408" y="607"/>
                  <a:pt x="407" y="606"/>
                  <a:pt x="409" y="606"/>
                </a:cubicBezTo>
                <a:close/>
                <a:moveTo>
                  <a:pt x="408" y="313"/>
                </a:moveTo>
                <a:cubicBezTo>
                  <a:pt x="407" y="314"/>
                  <a:pt x="409" y="312"/>
                  <a:pt x="408" y="313"/>
                </a:cubicBezTo>
                <a:close/>
                <a:moveTo>
                  <a:pt x="407" y="275"/>
                </a:moveTo>
                <a:cubicBezTo>
                  <a:pt x="407" y="273"/>
                  <a:pt x="410" y="273"/>
                  <a:pt x="407" y="275"/>
                </a:cubicBezTo>
                <a:close/>
                <a:moveTo>
                  <a:pt x="408" y="442"/>
                </a:moveTo>
                <a:cubicBezTo>
                  <a:pt x="408" y="443"/>
                  <a:pt x="407" y="443"/>
                  <a:pt x="406" y="443"/>
                </a:cubicBezTo>
                <a:cubicBezTo>
                  <a:pt x="406" y="443"/>
                  <a:pt x="407" y="442"/>
                  <a:pt x="408" y="442"/>
                </a:cubicBezTo>
                <a:close/>
                <a:moveTo>
                  <a:pt x="406" y="543"/>
                </a:moveTo>
                <a:cubicBezTo>
                  <a:pt x="406" y="544"/>
                  <a:pt x="405" y="543"/>
                  <a:pt x="405" y="543"/>
                </a:cubicBezTo>
                <a:cubicBezTo>
                  <a:pt x="406" y="542"/>
                  <a:pt x="406" y="543"/>
                  <a:pt x="406" y="543"/>
                </a:cubicBezTo>
                <a:close/>
                <a:moveTo>
                  <a:pt x="405" y="445"/>
                </a:moveTo>
                <a:cubicBezTo>
                  <a:pt x="404" y="444"/>
                  <a:pt x="406" y="443"/>
                  <a:pt x="405" y="445"/>
                </a:cubicBezTo>
                <a:close/>
                <a:moveTo>
                  <a:pt x="404" y="396"/>
                </a:moveTo>
                <a:cubicBezTo>
                  <a:pt x="404" y="395"/>
                  <a:pt x="405" y="395"/>
                  <a:pt x="406" y="395"/>
                </a:cubicBezTo>
                <a:cubicBezTo>
                  <a:pt x="405" y="395"/>
                  <a:pt x="405" y="396"/>
                  <a:pt x="404" y="396"/>
                </a:cubicBezTo>
                <a:close/>
                <a:moveTo>
                  <a:pt x="403" y="318"/>
                </a:moveTo>
                <a:cubicBezTo>
                  <a:pt x="403" y="317"/>
                  <a:pt x="404" y="317"/>
                  <a:pt x="404" y="316"/>
                </a:cubicBezTo>
                <a:cubicBezTo>
                  <a:pt x="405" y="316"/>
                  <a:pt x="403" y="318"/>
                  <a:pt x="403" y="318"/>
                </a:cubicBezTo>
                <a:close/>
                <a:moveTo>
                  <a:pt x="404" y="524"/>
                </a:moveTo>
                <a:cubicBezTo>
                  <a:pt x="404" y="524"/>
                  <a:pt x="404" y="523"/>
                  <a:pt x="404" y="523"/>
                </a:cubicBezTo>
                <a:cubicBezTo>
                  <a:pt x="404" y="521"/>
                  <a:pt x="406" y="524"/>
                  <a:pt x="404" y="524"/>
                </a:cubicBezTo>
                <a:close/>
                <a:moveTo>
                  <a:pt x="405" y="525"/>
                </a:moveTo>
                <a:cubicBezTo>
                  <a:pt x="405" y="525"/>
                  <a:pt x="405" y="525"/>
                  <a:pt x="405" y="525"/>
                </a:cubicBezTo>
                <a:cubicBezTo>
                  <a:pt x="405" y="525"/>
                  <a:pt x="405" y="525"/>
                  <a:pt x="405" y="525"/>
                </a:cubicBezTo>
                <a:close/>
                <a:moveTo>
                  <a:pt x="404" y="655"/>
                </a:moveTo>
                <a:cubicBezTo>
                  <a:pt x="405" y="653"/>
                  <a:pt x="407" y="655"/>
                  <a:pt x="404" y="655"/>
                </a:cubicBezTo>
                <a:close/>
                <a:moveTo>
                  <a:pt x="407" y="684"/>
                </a:moveTo>
                <a:cubicBezTo>
                  <a:pt x="407" y="684"/>
                  <a:pt x="405" y="685"/>
                  <a:pt x="405" y="683"/>
                </a:cubicBezTo>
                <a:cubicBezTo>
                  <a:pt x="405" y="683"/>
                  <a:pt x="407" y="683"/>
                  <a:pt x="407" y="684"/>
                </a:cubicBezTo>
                <a:close/>
                <a:moveTo>
                  <a:pt x="409" y="608"/>
                </a:moveTo>
                <a:cubicBezTo>
                  <a:pt x="410" y="608"/>
                  <a:pt x="408" y="610"/>
                  <a:pt x="407" y="609"/>
                </a:cubicBezTo>
                <a:cubicBezTo>
                  <a:pt x="407" y="609"/>
                  <a:pt x="409" y="608"/>
                  <a:pt x="409" y="608"/>
                </a:cubicBezTo>
                <a:close/>
                <a:moveTo>
                  <a:pt x="410" y="568"/>
                </a:moveTo>
                <a:cubicBezTo>
                  <a:pt x="410" y="568"/>
                  <a:pt x="409" y="568"/>
                  <a:pt x="409" y="568"/>
                </a:cubicBezTo>
                <a:cubicBezTo>
                  <a:pt x="408" y="567"/>
                  <a:pt x="411" y="566"/>
                  <a:pt x="410" y="568"/>
                </a:cubicBezTo>
                <a:close/>
                <a:moveTo>
                  <a:pt x="409" y="52"/>
                </a:moveTo>
                <a:cubicBezTo>
                  <a:pt x="410" y="51"/>
                  <a:pt x="412" y="49"/>
                  <a:pt x="414" y="50"/>
                </a:cubicBezTo>
                <a:cubicBezTo>
                  <a:pt x="416" y="51"/>
                  <a:pt x="411" y="53"/>
                  <a:pt x="409" y="52"/>
                </a:cubicBezTo>
                <a:close/>
                <a:moveTo>
                  <a:pt x="409" y="237"/>
                </a:moveTo>
                <a:cubicBezTo>
                  <a:pt x="409" y="239"/>
                  <a:pt x="407" y="238"/>
                  <a:pt x="409" y="237"/>
                </a:cubicBezTo>
                <a:close/>
                <a:moveTo>
                  <a:pt x="408" y="55"/>
                </a:moveTo>
                <a:cubicBezTo>
                  <a:pt x="408" y="55"/>
                  <a:pt x="408" y="55"/>
                  <a:pt x="409" y="55"/>
                </a:cubicBezTo>
                <a:cubicBezTo>
                  <a:pt x="409" y="57"/>
                  <a:pt x="406" y="53"/>
                  <a:pt x="408" y="55"/>
                </a:cubicBezTo>
                <a:close/>
                <a:moveTo>
                  <a:pt x="406" y="162"/>
                </a:moveTo>
                <a:cubicBezTo>
                  <a:pt x="404" y="163"/>
                  <a:pt x="403" y="163"/>
                  <a:pt x="401" y="163"/>
                </a:cubicBezTo>
                <a:cubicBezTo>
                  <a:pt x="401" y="164"/>
                  <a:pt x="400" y="164"/>
                  <a:pt x="400" y="164"/>
                </a:cubicBezTo>
                <a:cubicBezTo>
                  <a:pt x="400" y="164"/>
                  <a:pt x="401" y="164"/>
                  <a:pt x="401" y="163"/>
                </a:cubicBezTo>
                <a:cubicBezTo>
                  <a:pt x="403" y="162"/>
                  <a:pt x="406" y="160"/>
                  <a:pt x="407" y="159"/>
                </a:cubicBezTo>
                <a:cubicBezTo>
                  <a:pt x="410" y="159"/>
                  <a:pt x="406" y="162"/>
                  <a:pt x="406" y="162"/>
                </a:cubicBezTo>
                <a:close/>
                <a:moveTo>
                  <a:pt x="393" y="311"/>
                </a:moveTo>
                <a:cubicBezTo>
                  <a:pt x="391" y="311"/>
                  <a:pt x="394" y="305"/>
                  <a:pt x="395" y="306"/>
                </a:cubicBezTo>
                <a:cubicBezTo>
                  <a:pt x="397" y="307"/>
                  <a:pt x="394" y="311"/>
                  <a:pt x="393" y="311"/>
                </a:cubicBezTo>
                <a:close/>
                <a:moveTo>
                  <a:pt x="396" y="305"/>
                </a:moveTo>
                <a:cubicBezTo>
                  <a:pt x="397" y="304"/>
                  <a:pt x="395" y="306"/>
                  <a:pt x="396" y="305"/>
                </a:cubicBezTo>
                <a:close/>
                <a:moveTo>
                  <a:pt x="394" y="421"/>
                </a:moveTo>
                <a:cubicBezTo>
                  <a:pt x="395" y="422"/>
                  <a:pt x="393" y="423"/>
                  <a:pt x="394" y="421"/>
                </a:cubicBezTo>
                <a:close/>
                <a:moveTo>
                  <a:pt x="393" y="423"/>
                </a:moveTo>
                <a:cubicBezTo>
                  <a:pt x="393" y="424"/>
                  <a:pt x="392" y="424"/>
                  <a:pt x="391" y="424"/>
                </a:cubicBezTo>
                <a:cubicBezTo>
                  <a:pt x="391" y="423"/>
                  <a:pt x="392" y="423"/>
                  <a:pt x="393" y="423"/>
                </a:cubicBezTo>
                <a:close/>
                <a:moveTo>
                  <a:pt x="391" y="240"/>
                </a:moveTo>
                <a:cubicBezTo>
                  <a:pt x="390" y="240"/>
                  <a:pt x="392" y="238"/>
                  <a:pt x="391" y="240"/>
                </a:cubicBezTo>
                <a:close/>
                <a:moveTo>
                  <a:pt x="392" y="270"/>
                </a:moveTo>
                <a:cubicBezTo>
                  <a:pt x="391" y="270"/>
                  <a:pt x="393" y="269"/>
                  <a:pt x="393" y="268"/>
                </a:cubicBezTo>
                <a:cubicBezTo>
                  <a:pt x="394" y="269"/>
                  <a:pt x="392" y="269"/>
                  <a:pt x="392" y="270"/>
                </a:cubicBezTo>
                <a:close/>
                <a:moveTo>
                  <a:pt x="392" y="138"/>
                </a:moveTo>
                <a:cubicBezTo>
                  <a:pt x="394" y="139"/>
                  <a:pt x="391" y="137"/>
                  <a:pt x="392" y="138"/>
                </a:cubicBezTo>
                <a:close/>
                <a:moveTo>
                  <a:pt x="390" y="132"/>
                </a:moveTo>
                <a:cubicBezTo>
                  <a:pt x="391" y="132"/>
                  <a:pt x="392" y="132"/>
                  <a:pt x="392" y="132"/>
                </a:cubicBezTo>
                <a:cubicBezTo>
                  <a:pt x="392" y="132"/>
                  <a:pt x="391" y="133"/>
                  <a:pt x="390" y="132"/>
                </a:cubicBezTo>
                <a:close/>
                <a:moveTo>
                  <a:pt x="384" y="595"/>
                </a:moveTo>
                <a:cubicBezTo>
                  <a:pt x="392" y="593"/>
                  <a:pt x="390" y="603"/>
                  <a:pt x="384" y="604"/>
                </a:cubicBezTo>
                <a:cubicBezTo>
                  <a:pt x="378" y="604"/>
                  <a:pt x="379" y="597"/>
                  <a:pt x="384" y="595"/>
                </a:cubicBezTo>
                <a:close/>
                <a:moveTo>
                  <a:pt x="380" y="627"/>
                </a:moveTo>
                <a:cubicBezTo>
                  <a:pt x="380" y="627"/>
                  <a:pt x="379" y="627"/>
                  <a:pt x="379" y="627"/>
                </a:cubicBezTo>
                <a:cubicBezTo>
                  <a:pt x="379" y="624"/>
                  <a:pt x="381" y="628"/>
                  <a:pt x="380" y="627"/>
                </a:cubicBezTo>
                <a:close/>
                <a:moveTo>
                  <a:pt x="387" y="569"/>
                </a:moveTo>
                <a:cubicBezTo>
                  <a:pt x="387" y="569"/>
                  <a:pt x="387" y="569"/>
                  <a:pt x="387" y="569"/>
                </a:cubicBezTo>
                <a:cubicBezTo>
                  <a:pt x="388" y="569"/>
                  <a:pt x="388" y="569"/>
                  <a:pt x="388" y="569"/>
                </a:cubicBezTo>
                <a:cubicBezTo>
                  <a:pt x="388" y="569"/>
                  <a:pt x="388" y="569"/>
                  <a:pt x="389" y="569"/>
                </a:cubicBezTo>
                <a:cubicBezTo>
                  <a:pt x="388" y="569"/>
                  <a:pt x="388" y="569"/>
                  <a:pt x="388" y="569"/>
                </a:cubicBezTo>
                <a:cubicBezTo>
                  <a:pt x="388" y="569"/>
                  <a:pt x="387" y="569"/>
                  <a:pt x="387" y="569"/>
                </a:cubicBezTo>
                <a:close/>
                <a:moveTo>
                  <a:pt x="380" y="511"/>
                </a:moveTo>
                <a:cubicBezTo>
                  <a:pt x="380" y="511"/>
                  <a:pt x="380" y="512"/>
                  <a:pt x="380" y="512"/>
                </a:cubicBezTo>
                <a:cubicBezTo>
                  <a:pt x="379" y="511"/>
                  <a:pt x="381" y="510"/>
                  <a:pt x="380" y="511"/>
                </a:cubicBezTo>
                <a:close/>
                <a:moveTo>
                  <a:pt x="379" y="533"/>
                </a:moveTo>
                <a:cubicBezTo>
                  <a:pt x="380" y="532"/>
                  <a:pt x="381" y="533"/>
                  <a:pt x="379" y="533"/>
                </a:cubicBezTo>
                <a:close/>
                <a:moveTo>
                  <a:pt x="379" y="572"/>
                </a:moveTo>
                <a:cubicBezTo>
                  <a:pt x="379" y="572"/>
                  <a:pt x="379" y="572"/>
                  <a:pt x="379" y="572"/>
                </a:cubicBezTo>
                <a:cubicBezTo>
                  <a:pt x="379" y="572"/>
                  <a:pt x="379" y="572"/>
                  <a:pt x="379" y="572"/>
                </a:cubicBezTo>
                <a:cubicBezTo>
                  <a:pt x="379" y="572"/>
                  <a:pt x="379" y="572"/>
                  <a:pt x="379" y="572"/>
                </a:cubicBezTo>
                <a:close/>
                <a:moveTo>
                  <a:pt x="380" y="590"/>
                </a:moveTo>
                <a:cubicBezTo>
                  <a:pt x="380" y="590"/>
                  <a:pt x="379" y="591"/>
                  <a:pt x="379" y="591"/>
                </a:cubicBezTo>
                <a:cubicBezTo>
                  <a:pt x="378" y="592"/>
                  <a:pt x="379" y="589"/>
                  <a:pt x="380" y="590"/>
                </a:cubicBezTo>
                <a:close/>
                <a:moveTo>
                  <a:pt x="381" y="633"/>
                </a:moveTo>
                <a:cubicBezTo>
                  <a:pt x="382" y="633"/>
                  <a:pt x="384" y="632"/>
                  <a:pt x="384" y="632"/>
                </a:cubicBezTo>
                <a:cubicBezTo>
                  <a:pt x="385" y="633"/>
                  <a:pt x="381" y="634"/>
                  <a:pt x="381" y="633"/>
                </a:cubicBezTo>
                <a:close/>
                <a:moveTo>
                  <a:pt x="382" y="620"/>
                </a:moveTo>
                <a:cubicBezTo>
                  <a:pt x="379" y="617"/>
                  <a:pt x="382" y="612"/>
                  <a:pt x="386" y="611"/>
                </a:cubicBezTo>
                <a:cubicBezTo>
                  <a:pt x="387" y="610"/>
                  <a:pt x="390" y="611"/>
                  <a:pt x="392" y="611"/>
                </a:cubicBezTo>
                <a:cubicBezTo>
                  <a:pt x="395" y="611"/>
                  <a:pt x="393" y="611"/>
                  <a:pt x="395" y="613"/>
                </a:cubicBezTo>
                <a:cubicBezTo>
                  <a:pt x="397" y="616"/>
                  <a:pt x="396" y="621"/>
                  <a:pt x="392" y="620"/>
                </a:cubicBezTo>
                <a:cubicBezTo>
                  <a:pt x="394" y="614"/>
                  <a:pt x="391" y="621"/>
                  <a:pt x="389" y="622"/>
                </a:cubicBezTo>
                <a:cubicBezTo>
                  <a:pt x="388" y="622"/>
                  <a:pt x="383" y="621"/>
                  <a:pt x="382" y="620"/>
                </a:cubicBezTo>
                <a:close/>
                <a:moveTo>
                  <a:pt x="388" y="623"/>
                </a:moveTo>
                <a:cubicBezTo>
                  <a:pt x="389" y="623"/>
                  <a:pt x="397" y="619"/>
                  <a:pt x="396" y="622"/>
                </a:cubicBezTo>
                <a:cubicBezTo>
                  <a:pt x="396" y="623"/>
                  <a:pt x="390" y="624"/>
                  <a:pt x="388" y="623"/>
                </a:cubicBezTo>
                <a:close/>
                <a:moveTo>
                  <a:pt x="394" y="625"/>
                </a:moveTo>
                <a:cubicBezTo>
                  <a:pt x="394" y="626"/>
                  <a:pt x="393" y="626"/>
                  <a:pt x="392" y="625"/>
                </a:cubicBezTo>
                <a:cubicBezTo>
                  <a:pt x="392" y="624"/>
                  <a:pt x="395" y="625"/>
                  <a:pt x="394" y="625"/>
                </a:cubicBezTo>
                <a:close/>
                <a:moveTo>
                  <a:pt x="392" y="698"/>
                </a:moveTo>
                <a:cubicBezTo>
                  <a:pt x="392" y="698"/>
                  <a:pt x="394" y="697"/>
                  <a:pt x="394" y="698"/>
                </a:cubicBezTo>
                <a:cubicBezTo>
                  <a:pt x="394" y="699"/>
                  <a:pt x="393" y="698"/>
                  <a:pt x="392" y="698"/>
                </a:cubicBezTo>
                <a:close/>
                <a:moveTo>
                  <a:pt x="392" y="637"/>
                </a:moveTo>
                <a:cubicBezTo>
                  <a:pt x="392" y="636"/>
                  <a:pt x="394" y="636"/>
                  <a:pt x="394" y="637"/>
                </a:cubicBezTo>
                <a:cubicBezTo>
                  <a:pt x="395" y="638"/>
                  <a:pt x="392" y="637"/>
                  <a:pt x="392" y="637"/>
                </a:cubicBezTo>
                <a:close/>
                <a:moveTo>
                  <a:pt x="395" y="671"/>
                </a:moveTo>
                <a:cubicBezTo>
                  <a:pt x="394" y="671"/>
                  <a:pt x="396" y="670"/>
                  <a:pt x="397" y="671"/>
                </a:cubicBezTo>
                <a:cubicBezTo>
                  <a:pt x="397" y="672"/>
                  <a:pt x="395" y="672"/>
                  <a:pt x="395" y="671"/>
                </a:cubicBezTo>
                <a:close/>
                <a:moveTo>
                  <a:pt x="396" y="648"/>
                </a:moveTo>
                <a:cubicBezTo>
                  <a:pt x="396" y="647"/>
                  <a:pt x="397" y="647"/>
                  <a:pt x="398" y="648"/>
                </a:cubicBezTo>
                <a:cubicBezTo>
                  <a:pt x="397" y="648"/>
                  <a:pt x="397" y="648"/>
                  <a:pt x="396" y="648"/>
                </a:cubicBezTo>
                <a:close/>
                <a:moveTo>
                  <a:pt x="400" y="692"/>
                </a:moveTo>
                <a:cubicBezTo>
                  <a:pt x="399" y="692"/>
                  <a:pt x="397" y="692"/>
                  <a:pt x="397" y="691"/>
                </a:cubicBezTo>
                <a:cubicBezTo>
                  <a:pt x="397" y="689"/>
                  <a:pt x="400" y="691"/>
                  <a:pt x="400" y="692"/>
                </a:cubicBezTo>
                <a:close/>
                <a:moveTo>
                  <a:pt x="401" y="665"/>
                </a:moveTo>
                <a:cubicBezTo>
                  <a:pt x="401" y="663"/>
                  <a:pt x="401" y="666"/>
                  <a:pt x="401" y="665"/>
                </a:cubicBezTo>
                <a:close/>
                <a:moveTo>
                  <a:pt x="400" y="653"/>
                </a:moveTo>
                <a:cubicBezTo>
                  <a:pt x="400" y="650"/>
                  <a:pt x="404" y="652"/>
                  <a:pt x="403" y="653"/>
                </a:cubicBezTo>
                <a:cubicBezTo>
                  <a:pt x="403" y="655"/>
                  <a:pt x="400" y="654"/>
                  <a:pt x="400" y="653"/>
                </a:cubicBezTo>
                <a:close/>
                <a:moveTo>
                  <a:pt x="402" y="661"/>
                </a:moveTo>
                <a:cubicBezTo>
                  <a:pt x="401" y="660"/>
                  <a:pt x="403" y="660"/>
                  <a:pt x="403" y="660"/>
                </a:cubicBezTo>
                <a:cubicBezTo>
                  <a:pt x="403" y="661"/>
                  <a:pt x="402" y="661"/>
                  <a:pt x="402" y="661"/>
                </a:cubicBezTo>
                <a:close/>
                <a:moveTo>
                  <a:pt x="405" y="663"/>
                </a:moveTo>
                <a:cubicBezTo>
                  <a:pt x="404" y="664"/>
                  <a:pt x="404" y="664"/>
                  <a:pt x="403" y="663"/>
                </a:cubicBezTo>
                <a:cubicBezTo>
                  <a:pt x="403" y="662"/>
                  <a:pt x="406" y="662"/>
                  <a:pt x="405" y="663"/>
                </a:cubicBezTo>
                <a:close/>
                <a:moveTo>
                  <a:pt x="404" y="703"/>
                </a:moveTo>
                <a:cubicBezTo>
                  <a:pt x="405" y="701"/>
                  <a:pt x="409" y="701"/>
                  <a:pt x="411" y="701"/>
                </a:cubicBezTo>
                <a:cubicBezTo>
                  <a:pt x="409" y="702"/>
                  <a:pt x="406" y="702"/>
                  <a:pt x="404" y="703"/>
                </a:cubicBezTo>
                <a:close/>
                <a:moveTo>
                  <a:pt x="407" y="752"/>
                </a:moveTo>
                <a:cubicBezTo>
                  <a:pt x="407" y="753"/>
                  <a:pt x="406" y="751"/>
                  <a:pt x="406" y="751"/>
                </a:cubicBezTo>
                <a:cubicBezTo>
                  <a:pt x="406" y="750"/>
                  <a:pt x="409" y="751"/>
                  <a:pt x="407" y="752"/>
                </a:cubicBezTo>
                <a:close/>
                <a:moveTo>
                  <a:pt x="404" y="753"/>
                </a:moveTo>
                <a:cubicBezTo>
                  <a:pt x="405" y="752"/>
                  <a:pt x="406" y="753"/>
                  <a:pt x="407" y="753"/>
                </a:cubicBezTo>
                <a:cubicBezTo>
                  <a:pt x="406" y="754"/>
                  <a:pt x="405" y="753"/>
                  <a:pt x="404" y="753"/>
                </a:cubicBezTo>
                <a:close/>
                <a:moveTo>
                  <a:pt x="413" y="782"/>
                </a:moveTo>
                <a:cubicBezTo>
                  <a:pt x="412" y="781"/>
                  <a:pt x="415" y="781"/>
                  <a:pt x="415" y="782"/>
                </a:cubicBezTo>
                <a:cubicBezTo>
                  <a:pt x="415" y="782"/>
                  <a:pt x="413" y="783"/>
                  <a:pt x="413" y="782"/>
                </a:cubicBezTo>
                <a:close/>
                <a:moveTo>
                  <a:pt x="415" y="790"/>
                </a:moveTo>
                <a:cubicBezTo>
                  <a:pt x="415" y="790"/>
                  <a:pt x="416" y="791"/>
                  <a:pt x="416" y="791"/>
                </a:cubicBezTo>
                <a:cubicBezTo>
                  <a:pt x="416" y="792"/>
                  <a:pt x="414" y="791"/>
                  <a:pt x="415" y="790"/>
                </a:cubicBezTo>
                <a:close/>
                <a:moveTo>
                  <a:pt x="416" y="769"/>
                </a:moveTo>
                <a:cubicBezTo>
                  <a:pt x="415" y="771"/>
                  <a:pt x="412" y="767"/>
                  <a:pt x="409" y="767"/>
                </a:cubicBezTo>
                <a:cubicBezTo>
                  <a:pt x="408" y="767"/>
                  <a:pt x="403" y="768"/>
                  <a:pt x="402" y="766"/>
                </a:cubicBezTo>
                <a:cubicBezTo>
                  <a:pt x="402" y="764"/>
                  <a:pt x="408" y="766"/>
                  <a:pt x="409" y="765"/>
                </a:cubicBezTo>
                <a:cubicBezTo>
                  <a:pt x="409" y="765"/>
                  <a:pt x="407" y="761"/>
                  <a:pt x="407" y="760"/>
                </a:cubicBezTo>
                <a:cubicBezTo>
                  <a:pt x="407" y="752"/>
                  <a:pt x="419" y="758"/>
                  <a:pt x="422" y="761"/>
                </a:cubicBezTo>
                <a:cubicBezTo>
                  <a:pt x="426" y="765"/>
                  <a:pt x="417" y="761"/>
                  <a:pt x="419" y="766"/>
                </a:cubicBezTo>
                <a:cubicBezTo>
                  <a:pt x="416" y="764"/>
                  <a:pt x="417" y="769"/>
                  <a:pt x="416" y="769"/>
                </a:cubicBezTo>
                <a:close/>
                <a:moveTo>
                  <a:pt x="420" y="776"/>
                </a:moveTo>
                <a:cubicBezTo>
                  <a:pt x="422" y="777"/>
                  <a:pt x="419" y="780"/>
                  <a:pt x="419" y="777"/>
                </a:cubicBezTo>
                <a:cubicBezTo>
                  <a:pt x="419" y="777"/>
                  <a:pt x="419" y="776"/>
                  <a:pt x="420" y="776"/>
                </a:cubicBezTo>
                <a:close/>
                <a:moveTo>
                  <a:pt x="419" y="781"/>
                </a:moveTo>
                <a:cubicBezTo>
                  <a:pt x="420" y="780"/>
                  <a:pt x="421" y="780"/>
                  <a:pt x="423" y="780"/>
                </a:cubicBezTo>
                <a:cubicBezTo>
                  <a:pt x="422" y="781"/>
                  <a:pt x="420" y="781"/>
                  <a:pt x="419" y="781"/>
                </a:cubicBezTo>
                <a:close/>
                <a:moveTo>
                  <a:pt x="422" y="781"/>
                </a:moveTo>
                <a:cubicBezTo>
                  <a:pt x="422" y="780"/>
                  <a:pt x="423" y="780"/>
                  <a:pt x="423" y="781"/>
                </a:cubicBezTo>
                <a:cubicBezTo>
                  <a:pt x="423" y="781"/>
                  <a:pt x="422" y="782"/>
                  <a:pt x="422" y="781"/>
                </a:cubicBezTo>
                <a:close/>
                <a:moveTo>
                  <a:pt x="424" y="780"/>
                </a:moveTo>
                <a:cubicBezTo>
                  <a:pt x="423" y="780"/>
                  <a:pt x="426" y="781"/>
                  <a:pt x="424" y="780"/>
                </a:cubicBezTo>
                <a:close/>
                <a:moveTo>
                  <a:pt x="428" y="750"/>
                </a:moveTo>
                <a:cubicBezTo>
                  <a:pt x="427" y="750"/>
                  <a:pt x="427" y="749"/>
                  <a:pt x="428" y="750"/>
                </a:cubicBezTo>
                <a:close/>
                <a:moveTo>
                  <a:pt x="424" y="728"/>
                </a:moveTo>
                <a:cubicBezTo>
                  <a:pt x="424" y="727"/>
                  <a:pt x="428" y="726"/>
                  <a:pt x="428" y="728"/>
                </a:cubicBezTo>
                <a:cubicBezTo>
                  <a:pt x="429" y="730"/>
                  <a:pt x="424" y="731"/>
                  <a:pt x="424" y="728"/>
                </a:cubicBezTo>
                <a:close/>
                <a:moveTo>
                  <a:pt x="429" y="774"/>
                </a:moveTo>
                <a:cubicBezTo>
                  <a:pt x="429" y="773"/>
                  <a:pt x="431" y="773"/>
                  <a:pt x="431" y="773"/>
                </a:cubicBezTo>
                <a:cubicBezTo>
                  <a:pt x="432" y="774"/>
                  <a:pt x="429" y="775"/>
                  <a:pt x="429" y="774"/>
                </a:cubicBezTo>
                <a:close/>
                <a:moveTo>
                  <a:pt x="436" y="765"/>
                </a:moveTo>
                <a:cubicBezTo>
                  <a:pt x="437" y="763"/>
                  <a:pt x="441" y="765"/>
                  <a:pt x="441" y="767"/>
                </a:cubicBezTo>
                <a:cubicBezTo>
                  <a:pt x="440" y="769"/>
                  <a:pt x="435" y="768"/>
                  <a:pt x="436" y="765"/>
                </a:cubicBezTo>
                <a:close/>
                <a:moveTo>
                  <a:pt x="430" y="758"/>
                </a:moveTo>
                <a:cubicBezTo>
                  <a:pt x="432" y="757"/>
                  <a:pt x="442" y="760"/>
                  <a:pt x="441" y="760"/>
                </a:cubicBezTo>
                <a:cubicBezTo>
                  <a:pt x="440" y="761"/>
                  <a:pt x="433" y="758"/>
                  <a:pt x="430" y="758"/>
                </a:cubicBezTo>
                <a:close/>
                <a:moveTo>
                  <a:pt x="439" y="757"/>
                </a:moveTo>
                <a:cubicBezTo>
                  <a:pt x="440" y="755"/>
                  <a:pt x="443" y="755"/>
                  <a:pt x="445" y="756"/>
                </a:cubicBezTo>
                <a:cubicBezTo>
                  <a:pt x="443" y="756"/>
                  <a:pt x="441" y="757"/>
                  <a:pt x="439" y="757"/>
                </a:cubicBezTo>
                <a:close/>
                <a:moveTo>
                  <a:pt x="442" y="718"/>
                </a:moveTo>
                <a:cubicBezTo>
                  <a:pt x="442" y="716"/>
                  <a:pt x="446" y="716"/>
                  <a:pt x="446" y="718"/>
                </a:cubicBezTo>
                <a:cubicBezTo>
                  <a:pt x="446" y="718"/>
                  <a:pt x="442" y="720"/>
                  <a:pt x="442" y="718"/>
                </a:cubicBezTo>
                <a:close/>
                <a:moveTo>
                  <a:pt x="446" y="755"/>
                </a:moveTo>
                <a:cubicBezTo>
                  <a:pt x="448" y="755"/>
                  <a:pt x="450" y="754"/>
                  <a:pt x="452" y="755"/>
                </a:cubicBezTo>
                <a:cubicBezTo>
                  <a:pt x="450" y="755"/>
                  <a:pt x="448" y="756"/>
                  <a:pt x="446" y="755"/>
                </a:cubicBezTo>
                <a:close/>
                <a:moveTo>
                  <a:pt x="453" y="520"/>
                </a:moveTo>
                <a:cubicBezTo>
                  <a:pt x="454" y="520"/>
                  <a:pt x="453" y="521"/>
                  <a:pt x="453" y="521"/>
                </a:cubicBezTo>
                <a:cubicBezTo>
                  <a:pt x="450" y="523"/>
                  <a:pt x="452" y="518"/>
                  <a:pt x="453" y="520"/>
                </a:cubicBezTo>
                <a:close/>
                <a:moveTo>
                  <a:pt x="453" y="590"/>
                </a:moveTo>
                <a:cubicBezTo>
                  <a:pt x="452" y="590"/>
                  <a:pt x="453" y="590"/>
                  <a:pt x="453" y="590"/>
                </a:cubicBezTo>
                <a:cubicBezTo>
                  <a:pt x="454" y="590"/>
                  <a:pt x="453" y="590"/>
                  <a:pt x="453" y="590"/>
                </a:cubicBezTo>
                <a:close/>
                <a:moveTo>
                  <a:pt x="455" y="750"/>
                </a:moveTo>
                <a:cubicBezTo>
                  <a:pt x="455" y="750"/>
                  <a:pt x="454" y="750"/>
                  <a:pt x="455" y="750"/>
                </a:cubicBezTo>
                <a:close/>
                <a:moveTo>
                  <a:pt x="455" y="750"/>
                </a:moveTo>
                <a:cubicBezTo>
                  <a:pt x="455" y="750"/>
                  <a:pt x="455" y="750"/>
                  <a:pt x="455" y="750"/>
                </a:cubicBezTo>
                <a:cubicBezTo>
                  <a:pt x="455" y="750"/>
                  <a:pt x="455" y="750"/>
                  <a:pt x="455" y="750"/>
                </a:cubicBezTo>
                <a:cubicBezTo>
                  <a:pt x="455" y="750"/>
                  <a:pt x="455" y="750"/>
                  <a:pt x="455" y="750"/>
                </a:cubicBezTo>
                <a:close/>
                <a:moveTo>
                  <a:pt x="453" y="740"/>
                </a:moveTo>
                <a:cubicBezTo>
                  <a:pt x="455" y="737"/>
                  <a:pt x="457" y="739"/>
                  <a:pt x="453" y="740"/>
                </a:cubicBezTo>
                <a:close/>
                <a:moveTo>
                  <a:pt x="454" y="643"/>
                </a:moveTo>
                <a:cubicBezTo>
                  <a:pt x="454" y="642"/>
                  <a:pt x="455" y="641"/>
                  <a:pt x="455" y="641"/>
                </a:cubicBezTo>
                <a:cubicBezTo>
                  <a:pt x="458" y="642"/>
                  <a:pt x="455" y="645"/>
                  <a:pt x="454" y="643"/>
                </a:cubicBezTo>
                <a:close/>
                <a:moveTo>
                  <a:pt x="459" y="703"/>
                </a:moveTo>
                <a:cubicBezTo>
                  <a:pt x="456" y="704"/>
                  <a:pt x="455" y="702"/>
                  <a:pt x="459" y="703"/>
                </a:cubicBezTo>
                <a:close/>
                <a:moveTo>
                  <a:pt x="457" y="743"/>
                </a:moveTo>
                <a:cubicBezTo>
                  <a:pt x="458" y="741"/>
                  <a:pt x="461" y="740"/>
                  <a:pt x="462" y="742"/>
                </a:cubicBezTo>
                <a:cubicBezTo>
                  <a:pt x="465" y="746"/>
                  <a:pt x="457" y="747"/>
                  <a:pt x="457" y="743"/>
                </a:cubicBezTo>
                <a:close/>
                <a:moveTo>
                  <a:pt x="464" y="717"/>
                </a:moveTo>
                <a:cubicBezTo>
                  <a:pt x="463" y="717"/>
                  <a:pt x="463" y="717"/>
                  <a:pt x="464" y="717"/>
                </a:cubicBezTo>
                <a:close/>
                <a:moveTo>
                  <a:pt x="466" y="739"/>
                </a:moveTo>
                <a:cubicBezTo>
                  <a:pt x="465" y="739"/>
                  <a:pt x="464" y="740"/>
                  <a:pt x="464" y="739"/>
                </a:cubicBezTo>
                <a:cubicBezTo>
                  <a:pt x="462" y="736"/>
                  <a:pt x="469" y="737"/>
                  <a:pt x="466" y="739"/>
                </a:cubicBezTo>
                <a:close/>
                <a:moveTo>
                  <a:pt x="464" y="729"/>
                </a:moveTo>
                <a:cubicBezTo>
                  <a:pt x="465" y="728"/>
                  <a:pt x="466" y="728"/>
                  <a:pt x="467" y="728"/>
                </a:cubicBezTo>
                <a:cubicBezTo>
                  <a:pt x="467" y="729"/>
                  <a:pt x="465" y="729"/>
                  <a:pt x="464" y="729"/>
                </a:cubicBezTo>
                <a:close/>
                <a:moveTo>
                  <a:pt x="465" y="693"/>
                </a:moveTo>
                <a:cubicBezTo>
                  <a:pt x="466" y="692"/>
                  <a:pt x="468" y="692"/>
                  <a:pt x="469" y="692"/>
                </a:cubicBezTo>
                <a:cubicBezTo>
                  <a:pt x="469" y="693"/>
                  <a:pt x="466" y="692"/>
                  <a:pt x="465" y="693"/>
                </a:cubicBezTo>
                <a:close/>
                <a:moveTo>
                  <a:pt x="470" y="685"/>
                </a:moveTo>
                <a:cubicBezTo>
                  <a:pt x="470" y="686"/>
                  <a:pt x="468" y="685"/>
                  <a:pt x="470" y="685"/>
                </a:cubicBezTo>
                <a:close/>
                <a:moveTo>
                  <a:pt x="467" y="662"/>
                </a:moveTo>
                <a:cubicBezTo>
                  <a:pt x="468" y="661"/>
                  <a:pt x="470" y="660"/>
                  <a:pt x="471" y="661"/>
                </a:cubicBezTo>
                <a:cubicBezTo>
                  <a:pt x="470" y="661"/>
                  <a:pt x="468" y="662"/>
                  <a:pt x="467" y="662"/>
                </a:cubicBezTo>
                <a:close/>
                <a:moveTo>
                  <a:pt x="471" y="692"/>
                </a:moveTo>
                <a:cubicBezTo>
                  <a:pt x="471" y="691"/>
                  <a:pt x="473" y="690"/>
                  <a:pt x="473" y="691"/>
                </a:cubicBezTo>
                <a:cubicBezTo>
                  <a:pt x="473" y="691"/>
                  <a:pt x="472" y="691"/>
                  <a:pt x="471" y="692"/>
                </a:cubicBezTo>
                <a:close/>
                <a:moveTo>
                  <a:pt x="472" y="674"/>
                </a:moveTo>
                <a:cubicBezTo>
                  <a:pt x="472" y="673"/>
                  <a:pt x="472" y="673"/>
                  <a:pt x="473" y="674"/>
                </a:cubicBezTo>
                <a:cubicBezTo>
                  <a:pt x="474" y="674"/>
                  <a:pt x="471" y="676"/>
                  <a:pt x="472" y="674"/>
                </a:cubicBezTo>
                <a:close/>
                <a:moveTo>
                  <a:pt x="472" y="660"/>
                </a:moveTo>
                <a:cubicBezTo>
                  <a:pt x="472" y="660"/>
                  <a:pt x="473" y="659"/>
                  <a:pt x="474" y="660"/>
                </a:cubicBezTo>
                <a:cubicBezTo>
                  <a:pt x="474" y="660"/>
                  <a:pt x="472" y="660"/>
                  <a:pt x="472" y="660"/>
                </a:cubicBezTo>
                <a:close/>
                <a:moveTo>
                  <a:pt x="466" y="644"/>
                </a:moveTo>
                <a:cubicBezTo>
                  <a:pt x="466" y="644"/>
                  <a:pt x="464" y="645"/>
                  <a:pt x="465" y="644"/>
                </a:cubicBezTo>
                <a:cubicBezTo>
                  <a:pt x="468" y="641"/>
                  <a:pt x="473" y="641"/>
                  <a:pt x="476" y="640"/>
                </a:cubicBezTo>
                <a:cubicBezTo>
                  <a:pt x="473" y="642"/>
                  <a:pt x="468" y="644"/>
                  <a:pt x="466" y="644"/>
                </a:cubicBezTo>
                <a:close/>
                <a:moveTo>
                  <a:pt x="475" y="253"/>
                </a:moveTo>
                <a:cubicBezTo>
                  <a:pt x="475" y="253"/>
                  <a:pt x="476" y="252"/>
                  <a:pt x="476" y="253"/>
                </a:cubicBezTo>
                <a:cubicBezTo>
                  <a:pt x="477" y="255"/>
                  <a:pt x="474" y="255"/>
                  <a:pt x="475" y="253"/>
                </a:cubicBezTo>
                <a:close/>
                <a:moveTo>
                  <a:pt x="478" y="685"/>
                </a:moveTo>
                <a:cubicBezTo>
                  <a:pt x="478" y="684"/>
                  <a:pt x="481" y="684"/>
                  <a:pt x="482" y="684"/>
                </a:cubicBezTo>
                <a:cubicBezTo>
                  <a:pt x="482" y="685"/>
                  <a:pt x="479" y="685"/>
                  <a:pt x="478" y="685"/>
                </a:cubicBezTo>
                <a:close/>
                <a:moveTo>
                  <a:pt x="476" y="672"/>
                </a:moveTo>
                <a:cubicBezTo>
                  <a:pt x="476" y="668"/>
                  <a:pt x="483" y="671"/>
                  <a:pt x="482" y="673"/>
                </a:cubicBezTo>
                <a:cubicBezTo>
                  <a:pt x="482" y="675"/>
                  <a:pt x="476" y="675"/>
                  <a:pt x="476" y="672"/>
                </a:cubicBezTo>
                <a:close/>
                <a:moveTo>
                  <a:pt x="484" y="112"/>
                </a:moveTo>
                <a:cubicBezTo>
                  <a:pt x="484" y="111"/>
                  <a:pt x="486" y="111"/>
                  <a:pt x="486" y="111"/>
                </a:cubicBezTo>
                <a:cubicBezTo>
                  <a:pt x="488" y="111"/>
                  <a:pt x="489" y="111"/>
                  <a:pt x="489" y="113"/>
                </a:cubicBezTo>
                <a:cubicBezTo>
                  <a:pt x="489" y="114"/>
                  <a:pt x="484" y="115"/>
                  <a:pt x="483" y="114"/>
                </a:cubicBezTo>
                <a:cubicBezTo>
                  <a:pt x="483" y="113"/>
                  <a:pt x="484" y="113"/>
                  <a:pt x="484" y="112"/>
                </a:cubicBezTo>
                <a:cubicBezTo>
                  <a:pt x="484" y="112"/>
                  <a:pt x="484" y="112"/>
                  <a:pt x="484" y="112"/>
                </a:cubicBezTo>
                <a:close/>
                <a:moveTo>
                  <a:pt x="483" y="110"/>
                </a:moveTo>
                <a:cubicBezTo>
                  <a:pt x="483" y="111"/>
                  <a:pt x="482" y="111"/>
                  <a:pt x="481" y="111"/>
                </a:cubicBezTo>
                <a:cubicBezTo>
                  <a:pt x="481" y="110"/>
                  <a:pt x="483" y="111"/>
                  <a:pt x="483" y="110"/>
                </a:cubicBezTo>
                <a:close/>
                <a:moveTo>
                  <a:pt x="476" y="116"/>
                </a:moveTo>
                <a:cubicBezTo>
                  <a:pt x="477" y="116"/>
                  <a:pt x="476" y="117"/>
                  <a:pt x="476" y="117"/>
                </a:cubicBezTo>
                <a:cubicBezTo>
                  <a:pt x="475" y="117"/>
                  <a:pt x="476" y="116"/>
                  <a:pt x="476" y="116"/>
                </a:cubicBezTo>
                <a:close/>
                <a:moveTo>
                  <a:pt x="482" y="122"/>
                </a:moveTo>
                <a:cubicBezTo>
                  <a:pt x="481" y="124"/>
                  <a:pt x="477" y="125"/>
                  <a:pt x="475" y="126"/>
                </a:cubicBezTo>
                <a:cubicBezTo>
                  <a:pt x="477" y="124"/>
                  <a:pt x="479" y="123"/>
                  <a:pt x="482" y="122"/>
                </a:cubicBezTo>
                <a:close/>
                <a:moveTo>
                  <a:pt x="476" y="146"/>
                </a:moveTo>
                <a:cubicBezTo>
                  <a:pt x="474" y="149"/>
                  <a:pt x="470" y="149"/>
                  <a:pt x="467" y="150"/>
                </a:cubicBezTo>
                <a:cubicBezTo>
                  <a:pt x="469" y="148"/>
                  <a:pt x="473" y="148"/>
                  <a:pt x="476" y="146"/>
                </a:cubicBezTo>
                <a:close/>
                <a:moveTo>
                  <a:pt x="474" y="126"/>
                </a:moveTo>
                <a:cubicBezTo>
                  <a:pt x="473" y="127"/>
                  <a:pt x="471" y="128"/>
                  <a:pt x="469" y="128"/>
                </a:cubicBezTo>
                <a:cubicBezTo>
                  <a:pt x="470" y="128"/>
                  <a:pt x="471" y="129"/>
                  <a:pt x="470" y="130"/>
                </a:cubicBezTo>
                <a:cubicBezTo>
                  <a:pt x="470" y="131"/>
                  <a:pt x="467" y="131"/>
                  <a:pt x="467" y="130"/>
                </a:cubicBezTo>
                <a:cubicBezTo>
                  <a:pt x="467" y="129"/>
                  <a:pt x="468" y="129"/>
                  <a:pt x="469" y="128"/>
                </a:cubicBezTo>
                <a:cubicBezTo>
                  <a:pt x="469" y="128"/>
                  <a:pt x="468" y="128"/>
                  <a:pt x="468" y="128"/>
                </a:cubicBezTo>
                <a:cubicBezTo>
                  <a:pt x="470" y="127"/>
                  <a:pt x="472" y="127"/>
                  <a:pt x="474" y="126"/>
                </a:cubicBezTo>
                <a:close/>
                <a:moveTo>
                  <a:pt x="470" y="106"/>
                </a:moveTo>
                <a:cubicBezTo>
                  <a:pt x="470" y="106"/>
                  <a:pt x="470" y="107"/>
                  <a:pt x="469" y="107"/>
                </a:cubicBezTo>
                <a:cubicBezTo>
                  <a:pt x="469" y="107"/>
                  <a:pt x="469" y="106"/>
                  <a:pt x="470" y="106"/>
                </a:cubicBezTo>
                <a:close/>
                <a:moveTo>
                  <a:pt x="469" y="74"/>
                </a:moveTo>
                <a:cubicBezTo>
                  <a:pt x="468" y="74"/>
                  <a:pt x="467" y="74"/>
                  <a:pt x="466" y="74"/>
                </a:cubicBezTo>
                <a:cubicBezTo>
                  <a:pt x="467" y="73"/>
                  <a:pt x="468" y="73"/>
                  <a:pt x="469" y="74"/>
                </a:cubicBezTo>
                <a:close/>
                <a:moveTo>
                  <a:pt x="466" y="75"/>
                </a:moveTo>
                <a:cubicBezTo>
                  <a:pt x="466" y="75"/>
                  <a:pt x="468" y="76"/>
                  <a:pt x="468" y="75"/>
                </a:cubicBezTo>
                <a:cubicBezTo>
                  <a:pt x="468" y="77"/>
                  <a:pt x="465" y="76"/>
                  <a:pt x="466" y="75"/>
                </a:cubicBezTo>
                <a:close/>
                <a:moveTo>
                  <a:pt x="468" y="80"/>
                </a:moveTo>
                <a:cubicBezTo>
                  <a:pt x="468" y="81"/>
                  <a:pt x="466" y="81"/>
                  <a:pt x="466" y="79"/>
                </a:cubicBezTo>
                <a:cubicBezTo>
                  <a:pt x="467" y="79"/>
                  <a:pt x="468" y="79"/>
                  <a:pt x="468" y="80"/>
                </a:cubicBezTo>
                <a:close/>
                <a:moveTo>
                  <a:pt x="466" y="93"/>
                </a:moveTo>
                <a:cubicBezTo>
                  <a:pt x="466" y="95"/>
                  <a:pt x="465" y="93"/>
                  <a:pt x="466" y="93"/>
                </a:cubicBezTo>
                <a:close/>
                <a:moveTo>
                  <a:pt x="470" y="95"/>
                </a:moveTo>
                <a:cubicBezTo>
                  <a:pt x="472" y="95"/>
                  <a:pt x="473" y="98"/>
                  <a:pt x="471" y="100"/>
                </a:cubicBezTo>
                <a:cubicBezTo>
                  <a:pt x="470" y="101"/>
                  <a:pt x="468" y="101"/>
                  <a:pt x="467" y="101"/>
                </a:cubicBezTo>
                <a:cubicBezTo>
                  <a:pt x="465" y="101"/>
                  <a:pt x="463" y="102"/>
                  <a:pt x="463" y="101"/>
                </a:cubicBezTo>
                <a:cubicBezTo>
                  <a:pt x="463" y="101"/>
                  <a:pt x="463" y="101"/>
                  <a:pt x="464" y="101"/>
                </a:cubicBezTo>
                <a:cubicBezTo>
                  <a:pt x="463" y="101"/>
                  <a:pt x="463" y="101"/>
                  <a:pt x="463" y="101"/>
                </a:cubicBezTo>
                <a:cubicBezTo>
                  <a:pt x="463" y="101"/>
                  <a:pt x="462" y="100"/>
                  <a:pt x="462" y="101"/>
                </a:cubicBezTo>
                <a:cubicBezTo>
                  <a:pt x="461" y="99"/>
                  <a:pt x="467" y="94"/>
                  <a:pt x="470" y="95"/>
                </a:cubicBezTo>
                <a:close/>
                <a:moveTo>
                  <a:pt x="470" y="59"/>
                </a:moveTo>
                <a:cubicBezTo>
                  <a:pt x="470" y="59"/>
                  <a:pt x="470" y="60"/>
                  <a:pt x="470" y="59"/>
                </a:cubicBezTo>
                <a:cubicBezTo>
                  <a:pt x="469" y="59"/>
                  <a:pt x="470" y="58"/>
                  <a:pt x="470" y="59"/>
                </a:cubicBezTo>
                <a:close/>
                <a:moveTo>
                  <a:pt x="453" y="60"/>
                </a:moveTo>
                <a:cubicBezTo>
                  <a:pt x="455" y="59"/>
                  <a:pt x="458" y="61"/>
                  <a:pt x="461" y="61"/>
                </a:cubicBezTo>
                <a:cubicBezTo>
                  <a:pt x="462" y="61"/>
                  <a:pt x="467" y="59"/>
                  <a:pt x="468" y="61"/>
                </a:cubicBezTo>
                <a:cubicBezTo>
                  <a:pt x="468" y="62"/>
                  <a:pt x="462" y="62"/>
                  <a:pt x="462" y="62"/>
                </a:cubicBezTo>
                <a:cubicBezTo>
                  <a:pt x="462" y="63"/>
                  <a:pt x="465" y="66"/>
                  <a:pt x="465" y="67"/>
                </a:cubicBezTo>
                <a:cubicBezTo>
                  <a:pt x="467" y="75"/>
                  <a:pt x="454" y="72"/>
                  <a:pt x="450" y="70"/>
                </a:cubicBezTo>
                <a:cubicBezTo>
                  <a:pt x="445" y="67"/>
                  <a:pt x="455" y="69"/>
                  <a:pt x="451" y="64"/>
                </a:cubicBezTo>
                <a:cubicBezTo>
                  <a:pt x="455" y="66"/>
                  <a:pt x="453" y="61"/>
                  <a:pt x="453" y="60"/>
                </a:cubicBezTo>
                <a:close/>
                <a:moveTo>
                  <a:pt x="454" y="47"/>
                </a:moveTo>
                <a:cubicBezTo>
                  <a:pt x="455" y="48"/>
                  <a:pt x="452" y="49"/>
                  <a:pt x="452" y="48"/>
                </a:cubicBezTo>
                <a:cubicBezTo>
                  <a:pt x="452" y="47"/>
                  <a:pt x="454" y="47"/>
                  <a:pt x="454" y="47"/>
                </a:cubicBezTo>
                <a:close/>
                <a:moveTo>
                  <a:pt x="455" y="21"/>
                </a:moveTo>
                <a:cubicBezTo>
                  <a:pt x="456" y="22"/>
                  <a:pt x="453" y="22"/>
                  <a:pt x="453" y="21"/>
                </a:cubicBezTo>
                <a:cubicBezTo>
                  <a:pt x="453" y="20"/>
                  <a:pt x="455" y="20"/>
                  <a:pt x="455" y="21"/>
                </a:cubicBezTo>
                <a:close/>
                <a:moveTo>
                  <a:pt x="454" y="23"/>
                </a:moveTo>
                <a:cubicBezTo>
                  <a:pt x="454" y="25"/>
                  <a:pt x="450" y="24"/>
                  <a:pt x="450" y="23"/>
                </a:cubicBezTo>
                <a:cubicBezTo>
                  <a:pt x="450" y="22"/>
                  <a:pt x="454" y="21"/>
                  <a:pt x="454" y="23"/>
                </a:cubicBezTo>
                <a:close/>
                <a:moveTo>
                  <a:pt x="447" y="8"/>
                </a:moveTo>
                <a:cubicBezTo>
                  <a:pt x="448" y="9"/>
                  <a:pt x="446" y="9"/>
                  <a:pt x="446" y="9"/>
                </a:cubicBezTo>
                <a:cubicBezTo>
                  <a:pt x="446" y="8"/>
                  <a:pt x="447" y="8"/>
                  <a:pt x="447" y="8"/>
                </a:cubicBezTo>
                <a:close/>
                <a:moveTo>
                  <a:pt x="446" y="11"/>
                </a:moveTo>
                <a:cubicBezTo>
                  <a:pt x="447" y="11"/>
                  <a:pt x="450" y="8"/>
                  <a:pt x="451" y="10"/>
                </a:cubicBezTo>
                <a:cubicBezTo>
                  <a:pt x="453" y="14"/>
                  <a:pt x="448" y="13"/>
                  <a:pt x="447" y="13"/>
                </a:cubicBezTo>
                <a:cubicBezTo>
                  <a:pt x="447" y="13"/>
                  <a:pt x="447" y="13"/>
                  <a:pt x="446" y="13"/>
                </a:cubicBezTo>
                <a:cubicBezTo>
                  <a:pt x="446" y="14"/>
                  <a:pt x="444" y="14"/>
                  <a:pt x="444" y="13"/>
                </a:cubicBezTo>
                <a:cubicBezTo>
                  <a:pt x="444" y="13"/>
                  <a:pt x="444" y="13"/>
                  <a:pt x="444" y="13"/>
                </a:cubicBezTo>
                <a:cubicBezTo>
                  <a:pt x="444" y="12"/>
                  <a:pt x="444" y="12"/>
                  <a:pt x="444" y="12"/>
                </a:cubicBezTo>
                <a:cubicBezTo>
                  <a:pt x="444" y="12"/>
                  <a:pt x="444" y="11"/>
                  <a:pt x="444" y="12"/>
                </a:cubicBezTo>
                <a:cubicBezTo>
                  <a:pt x="444" y="11"/>
                  <a:pt x="445" y="11"/>
                  <a:pt x="445" y="11"/>
                </a:cubicBezTo>
                <a:cubicBezTo>
                  <a:pt x="446" y="11"/>
                  <a:pt x="446" y="11"/>
                  <a:pt x="446" y="11"/>
                </a:cubicBezTo>
                <a:close/>
                <a:moveTo>
                  <a:pt x="442" y="4"/>
                </a:moveTo>
                <a:cubicBezTo>
                  <a:pt x="444" y="3"/>
                  <a:pt x="444" y="5"/>
                  <a:pt x="442" y="4"/>
                </a:cubicBezTo>
                <a:close/>
                <a:moveTo>
                  <a:pt x="442" y="6"/>
                </a:moveTo>
                <a:cubicBezTo>
                  <a:pt x="442" y="6"/>
                  <a:pt x="443" y="7"/>
                  <a:pt x="443" y="7"/>
                </a:cubicBezTo>
                <a:cubicBezTo>
                  <a:pt x="444" y="9"/>
                  <a:pt x="440" y="7"/>
                  <a:pt x="442" y="6"/>
                </a:cubicBezTo>
                <a:close/>
                <a:moveTo>
                  <a:pt x="442" y="12"/>
                </a:moveTo>
                <a:cubicBezTo>
                  <a:pt x="441" y="12"/>
                  <a:pt x="442" y="11"/>
                  <a:pt x="442" y="12"/>
                </a:cubicBezTo>
                <a:cubicBezTo>
                  <a:pt x="443" y="12"/>
                  <a:pt x="442" y="12"/>
                  <a:pt x="442" y="12"/>
                </a:cubicBezTo>
                <a:close/>
                <a:moveTo>
                  <a:pt x="442" y="23"/>
                </a:moveTo>
                <a:cubicBezTo>
                  <a:pt x="442" y="23"/>
                  <a:pt x="441" y="24"/>
                  <a:pt x="441" y="23"/>
                </a:cubicBezTo>
                <a:cubicBezTo>
                  <a:pt x="441" y="23"/>
                  <a:pt x="442" y="23"/>
                  <a:pt x="442" y="23"/>
                </a:cubicBezTo>
                <a:close/>
                <a:moveTo>
                  <a:pt x="440" y="7"/>
                </a:moveTo>
                <a:cubicBezTo>
                  <a:pt x="441" y="7"/>
                  <a:pt x="439" y="7"/>
                  <a:pt x="439" y="7"/>
                </a:cubicBezTo>
                <a:cubicBezTo>
                  <a:pt x="439" y="6"/>
                  <a:pt x="440" y="6"/>
                  <a:pt x="440" y="7"/>
                </a:cubicBezTo>
                <a:close/>
                <a:moveTo>
                  <a:pt x="441" y="16"/>
                </a:moveTo>
                <a:cubicBezTo>
                  <a:pt x="441" y="17"/>
                  <a:pt x="438" y="17"/>
                  <a:pt x="439" y="16"/>
                </a:cubicBezTo>
                <a:cubicBezTo>
                  <a:pt x="439" y="15"/>
                  <a:pt x="440" y="16"/>
                  <a:pt x="441" y="16"/>
                </a:cubicBezTo>
                <a:close/>
                <a:moveTo>
                  <a:pt x="439" y="25"/>
                </a:moveTo>
                <a:cubicBezTo>
                  <a:pt x="440" y="26"/>
                  <a:pt x="437" y="27"/>
                  <a:pt x="437" y="26"/>
                </a:cubicBezTo>
                <a:cubicBezTo>
                  <a:pt x="436" y="25"/>
                  <a:pt x="439" y="25"/>
                  <a:pt x="439" y="25"/>
                </a:cubicBezTo>
                <a:close/>
                <a:moveTo>
                  <a:pt x="436" y="30"/>
                </a:moveTo>
                <a:cubicBezTo>
                  <a:pt x="437" y="29"/>
                  <a:pt x="438" y="31"/>
                  <a:pt x="436" y="30"/>
                </a:cubicBezTo>
                <a:close/>
                <a:moveTo>
                  <a:pt x="434" y="10"/>
                </a:moveTo>
                <a:cubicBezTo>
                  <a:pt x="435" y="11"/>
                  <a:pt x="433" y="11"/>
                  <a:pt x="433" y="11"/>
                </a:cubicBezTo>
                <a:cubicBezTo>
                  <a:pt x="432" y="11"/>
                  <a:pt x="434" y="10"/>
                  <a:pt x="434" y="10"/>
                </a:cubicBezTo>
                <a:close/>
                <a:moveTo>
                  <a:pt x="432" y="13"/>
                </a:moveTo>
                <a:cubicBezTo>
                  <a:pt x="433" y="14"/>
                  <a:pt x="429" y="15"/>
                  <a:pt x="430" y="13"/>
                </a:cubicBezTo>
                <a:cubicBezTo>
                  <a:pt x="430" y="13"/>
                  <a:pt x="431" y="12"/>
                  <a:pt x="432" y="13"/>
                </a:cubicBezTo>
                <a:close/>
                <a:moveTo>
                  <a:pt x="430" y="16"/>
                </a:moveTo>
                <a:cubicBezTo>
                  <a:pt x="430" y="16"/>
                  <a:pt x="431" y="15"/>
                  <a:pt x="432" y="16"/>
                </a:cubicBezTo>
                <a:cubicBezTo>
                  <a:pt x="432" y="17"/>
                  <a:pt x="430" y="17"/>
                  <a:pt x="430" y="16"/>
                </a:cubicBezTo>
                <a:close/>
                <a:moveTo>
                  <a:pt x="432" y="26"/>
                </a:moveTo>
                <a:cubicBezTo>
                  <a:pt x="431" y="26"/>
                  <a:pt x="430" y="27"/>
                  <a:pt x="429" y="26"/>
                </a:cubicBezTo>
                <a:cubicBezTo>
                  <a:pt x="430" y="25"/>
                  <a:pt x="431" y="25"/>
                  <a:pt x="432" y="26"/>
                </a:cubicBezTo>
                <a:close/>
                <a:moveTo>
                  <a:pt x="428" y="27"/>
                </a:moveTo>
                <a:cubicBezTo>
                  <a:pt x="428" y="27"/>
                  <a:pt x="427" y="28"/>
                  <a:pt x="426" y="27"/>
                </a:cubicBezTo>
                <a:cubicBezTo>
                  <a:pt x="426" y="26"/>
                  <a:pt x="427" y="26"/>
                  <a:pt x="428" y="27"/>
                </a:cubicBezTo>
                <a:close/>
                <a:moveTo>
                  <a:pt x="426" y="23"/>
                </a:moveTo>
                <a:cubicBezTo>
                  <a:pt x="425" y="22"/>
                  <a:pt x="428" y="23"/>
                  <a:pt x="426" y="23"/>
                </a:cubicBezTo>
                <a:close/>
                <a:moveTo>
                  <a:pt x="426" y="37"/>
                </a:moveTo>
                <a:cubicBezTo>
                  <a:pt x="428" y="33"/>
                  <a:pt x="436" y="29"/>
                  <a:pt x="439" y="33"/>
                </a:cubicBezTo>
                <a:cubicBezTo>
                  <a:pt x="440" y="35"/>
                  <a:pt x="438" y="39"/>
                  <a:pt x="437" y="39"/>
                </a:cubicBezTo>
                <a:cubicBezTo>
                  <a:pt x="436" y="39"/>
                  <a:pt x="435" y="39"/>
                  <a:pt x="434" y="39"/>
                </a:cubicBezTo>
                <a:cubicBezTo>
                  <a:pt x="433" y="39"/>
                  <a:pt x="433" y="40"/>
                  <a:pt x="433" y="40"/>
                </a:cubicBezTo>
                <a:cubicBezTo>
                  <a:pt x="431" y="41"/>
                  <a:pt x="429" y="40"/>
                  <a:pt x="427" y="40"/>
                </a:cubicBezTo>
                <a:cubicBezTo>
                  <a:pt x="426" y="39"/>
                  <a:pt x="426" y="40"/>
                  <a:pt x="425" y="40"/>
                </a:cubicBezTo>
                <a:cubicBezTo>
                  <a:pt x="425" y="39"/>
                  <a:pt x="426" y="37"/>
                  <a:pt x="426" y="37"/>
                </a:cubicBezTo>
                <a:close/>
                <a:moveTo>
                  <a:pt x="426" y="42"/>
                </a:moveTo>
                <a:cubicBezTo>
                  <a:pt x="426" y="43"/>
                  <a:pt x="423" y="43"/>
                  <a:pt x="423" y="43"/>
                </a:cubicBezTo>
                <a:cubicBezTo>
                  <a:pt x="422" y="41"/>
                  <a:pt x="425" y="41"/>
                  <a:pt x="426" y="42"/>
                </a:cubicBezTo>
                <a:close/>
                <a:moveTo>
                  <a:pt x="421" y="63"/>
                </a:moveTo>
                <a:cubicBezTo>
                  <a:pt x="418" y="65"/>
                  <a:pt x="413" y="66"/>
                  <a:pt x="411" y="64"/>
                </a:cubicBezTo>
                <a:cubicBezTo>
                  <a:pt x="410" y="64"/>
                  <a:pt x="410" y="61"/>
                  <a:pt x="412" y="62"/>
                </a:cubicBezTo>
                <a:cubicBezTo>
                  <a:pt x="413" y="62"/>
                  <a:pt x="413" y="64"/>
                  <a:pt x="413" y="64"/>
                </a:cubicBezTo>
                <a:cubicBezTo>
                  <a:pt x="414" y="64"/>
                  <a:pt x="415" y="62"/>
                  <a:pt x="415" y="62"/>
                </a:cubicBezTo>
                <a:cubicBezTo>
                  <a:pt x="415" y="61"/>
                  <a:pt x="413" y="61"/>
                  <a:pt x="414" y="60"/>
                </a:cubicBezTo>
                <a:cubicBezTo>
                  <a:pt x="413" y="61"/>
                  <a:pt x="412" y="60"/>
                  <a:pt x="414" y="60"/>
                </a:cubicBezTo>
                <a:cubicBezTo>
                  <a:pt x="414" y="59"/>
                  <a:pt x="415" y="60"/>
                  <a:pt x="416" y="60"/>
                </a:cubicBezTo>
                <a:cubicBezTo>
                  <a:pt x="417" y="59"/>
                  <a:pt x="417" y="59"/>
                  <a:pt x="419" y="59"/>
                </a:cubicBezTo>
                <a:cubicBezTo>
                  <a:pt x="420" y="59"/>
                  <a:pt x="424" y="62"/>
                  <a:pt x="421" y="63"/>
                </a:cubicBezTo>
                <a:close/>
                <a:moveTo>
                  <a:pt x="422" y="29"/>
                </a:moveTo>
                <a:cubicBezTo>
                  <a:pt x="422" y="31"/>
                  <a:pt x="418" y="31"/>
                  <a:pt x="417" y="30"/>
                </a:cubicBezTo>
                <a:cubicBezTo>
                  <a:pt x="416" y="29"/>
                  <a:pt x="421" y="27"/>
                  <a:pt x="422" y="29"/>
                </a:cubicBezTo>
                <a:close/>
                <a:moveTo>
                  <a:pt x="416" y="12"/>
                </a:moveTo>
                <a:cubicBezTo>
                  <a:pt x="415" y="12"/>
                  <a:pt x="417" y="13"/>
                  <a:pt x="416" y="12"/>
                </a:cubicBezTo>
                <a:close/>
                <a:moveTo>
                  <a:pt x="414" y="18"/>
                </a:moveTo>
                <a:cubicBezTo>
                  <a:pt x="414" y="19"/>
                  <a:pt x="413" y="19"/>
                  <a:pt x="412" y="18"/>
                </a:cubicBezTo>
                <a:cubicBezTo>
                  <a:pt x="411" y="18"/>
                  <a:pt x="414" y="17"/>
                  <a:pt x="414" y="18"/>
                </a:cubicBezTo>
                <a:close/>
                <a:moveTo>
                  <a:pt x="410" y="17"/>
                </a:moveTo>
                <a:cubicBezTo>
                  <a:pt x="412" y="16"/>
                  <a:pt x="413" y="18"/>
                  <a:pt x="410" y="17"/>
                </a:cubicBezTo>
                <a:close/>
                <a:moveTo>
                  <a:pt x="409" y="31"/>
                </a:moveTo>
                <a:cubicBezTo>
                  <a:pt x="411" y="29"/>
                  <a:pt x="412" y="33"/>
                  <a:pt x="409" y="31"/>
                </a:cubicBezTo>
                <a:close/>
                <a:moveTo>
                  <a:pt x="410" y="38"/>
                </a:moveTo>
                <a:cubicBezTo>
                  <a:pt x="409" y="37"/>
                  <a:pt x="411" y="38"/>
                  <a:pt x="410" y="38"/>
                </a:cubicBezTo>
                <a:close/>
                <a:moveTo>
                  <a:pt x="410" y="14"/>
                </a:moveTo>
                <a:cubicBezTo>
                  <a:pt x="410" y="15"/>
                  <a:pt x="410" y="15"/>
                  <a:pt x="409" y="15"/>
                </a:cubicBezTo>
                <a:cubicBezTo>
                  <a:pt x="407" y="16"/>
                  <a:pt x="409" y="12"/>
                  <a:pt x="410" y="14"/>
                </a:cubicBezTo>
                <a:close/>
                <a:moveTo>
                  <a:pt x="410" y="23"/>
                </a:moveTo>
                <a:cubicBezTo>
                  <a:pt x="411" y="24"/>
                  <a:pt x="408" y="25"/>
                  <a:pt x="408" y="24"/>
                </a:cubicBezTo>
                <a:cubicBezTo>
                  <a:pt x="407" y="23"/>
                  <a:pt x="410" y="22"/>
                  <a:pt x="410" y="23"/>
                </a:cubicBezTo>
                <a:close/>
                <a:moveTo>
                  <a:pt x="406" y="35"/>
                </a:moveTo>
                <a:cubicBezTo>
                  <a:pt x="405" y="35"/>
                  <a:pt x="404" y="34"/>
                  <a:pt x="404" y="34"/>
                </a:cubicBezTo>
                <a:cubicBezTo>
                  <a:pt x="402" y="31"/>
                  <a:pt x="411" y="34"/>
                  <a:pt x="406" y="35"/>
                </a:cubicBezTo>
                <a:close/>
                <a:moveTo>
                  <a:pt x="406" y="37"/>
                </a:moveTo>
                <a:cubicBezTo>
                  <a:pt x="405" y="36"/>
                  <a:pt x="406" y="37"/>
                  <a:pt x="407" y="36"/>
                </a:cubicBezTo>
                <a:cubicBezTo>
                  <a:pt x="407" y="37"/>
                  <a:pt x="406" y="37"/>
                  <a:pt x="406" y="37"/>
                </a:cubicBezTo>
                <a:close/>
                <a:moveTo>
                  <a:pt x="394" y="46"/>
                </a:moveTo>
                <a:cubicBezTo>
                  <a:pt x="400" y="45"/>
                  <a:pt x="404" y="44"/>
                  <a:pt x="409" y="43"/>
                </a:cubicBezTo>
                <a:cubicBezTo>
                  <a:pt x="411" y="43"/>
                  <a:pt x="417" y="42"/>
                  <a:pt x="418" y="43"/>
                </a:cubicBezTo>
                <a:cubicBezTo>
                  <a:pt x="419" y="44"/>
                  <a:pt x="410" y="45"/>
                  <a:pt x="407" y="45"/>
                </a:cubicBezTo>
                <a:cubicBezTo>
                  <a:pt x="403" y="46"/>
                  <a:pt x="401" y="46"/>
                  <a:pt x="398" y="47"/>
                </a:cubicBezTo>
                <a:cubicBezTo>
                  <a:pt x="400" y="47"/>
                  <a:pt x="403" y="48"/>
                  <a:pt x="402" y="51"/>
                </a:cubicBezTo>
                <a:cubicBezTo>
                  <a:pt x="402" y="56"/>
                  <a:pt x="394" y="55"/>
                  <a:pt x="390" y="53"/>
                </a:cubicBezTo>
                <a:cubicBezTo>
                  <a:pt x="390" y="53"/>
                  <a:pt x="390" y="52"/>
                  <a:pt x="390" y="52"/>
                </a:cubicBezTo>
                <a:cubicBezTo>
                  <a:pt x="389" y="51"/>
                  <a:pt x="392" y="48"/>
                  <a:pt x="394" y="47"/>
                </a:cubicBezTo>
                <a:cubicBezTo>
                  <a:pt x="393" y="48"/>
                  <a:pt x="391" y="48"/>
                  <a:pt x="390" y="48"/>
                </a:cubicBezTo>
                <a:cubicBezTo>
                  <a:pt x="385" y="48"/>
                  <a:pt x="394" y="46"/>
                  <a:pt x="394" y="46"/>
                </a:cubicBezTo>
                <a:close/>
                <a:moveTo>
                  <a:pt x="393" y="64"/>
                </a:moveTo>
                <a:cubicBezTo>
                  <a:pt x="392" y="65"/>
                  <a:pt x="389" y="66"/>
                  <a:pt x="387" y="66"/>
                </a:cubicBezTo>
                <a:cubicBezTo>
                  <a:pt x="389" y="64"/>
                  <a:pt x="391" y="65"/>
                  <a:pt x="393" y="64"/>
                </a:cubicBezTo>
                <a:close/>
                <a:moveTo>
                  <a:pt x="388" y="66"/>
                </a:moveTo>
                <a:cubicBezTo>
                  <a:pt x="389" y="66"/>
                  <a:pt x="387" y="68"/>
                  <a:pt x="387" y="67"/>
                </a:cubicBezTo>
                <a:cubicBezTo>
                  <a:pt x="387" y="66"/>
                  <a:pt x="388" y="66"/>
                  <a:pt x="388" y="66"/>
                </a:cubicBezTo>
                <a:close/>
                <a:moveTo>
                  <a:pt x="387" y="116"/>
                </a:moveTo>
                <a:cubicBezTo>
                  <a:pt x="387" y="116"/>
                  <a:pt x="387" y="116"/>
                  <a:pt x="387" y="116"/>
                </a:cubicBezTo>
                <a:cubicBezTo>
                  <a:pt x="388" y="116"/>
                  <a:pt x="387" y="116"/>
                  <a:pt x="387" y="116"/>
                </a:cubicBezTo>
                <a:close/>
                <a:moveTo>
                  <a:pt x="388" y="136"/>
                </a:moveTo>
                <a:cubicBezTo>
                  <a:pt x="387" y="137"/>
                  <a:pt x="386" y="135"/>
                  <a:pt x="388" y="136"/>
                </a:cubicBezTo>
                <a:close/>
                <a:moveTo>
                  <a:pt x="386" y="125"/>
                </a:moveTo>
                <a:cubicBezTo>
                  <a:pt x="385" y="126"/>
                  <a:pt x="381" y="127"/>
                  <a:pt x="381" y="126"/>
                </a:cubicBezTo>
                <a:cubicBezTo>
                  <a:pt x="383" y="126"/>
                  <a:pt x="384" y="124"/>
                  <a:pt x="386" y="125"/>
                </a:cubicBezTo>
                <a:close/>
                <a:moveTo>
                  <a:pt x="382" y="167"/>
                </a:moveTo>
                <a:cubicBezTo>
                  <a:pt x="382" y="165"/>
                  <a:pt x="384" y="165"/>
                  <a:pt x="385" y="166"/>
                </a:cubicBezTo>
                <a:cubicBezTo>
                  <a:pt x="385" y="168"/>
                  <a:pt x="382" y="168"/>
                  <a:pt x="382" y="167"/>
                </a:cubicBezTo>
                <a:close/>
                <a:moveTo>
                  <a:pt x="384" y="66"/>
                </a:moveTo>
                <a:cubicBezTo>
                  <a:pt x="385" y="65"/>
                  <a:pt x="386" y="67"/>
                  <a:pt x="384" y="66"/>
                </a:cubicBezTo>
                <a:close/>
                <a:moveTo>
                  <a:pt x="383" y="67"/>
                </a:moveTo>
                <a:cubicBezTo>
                  <a:pt x="382" y="67"/>
                  <a:pt x="381" y="68"/>
                  <a:pt x="380" y="68"/>
                </a:cubicBezTo>
                <a:cubicBezTo>
                  <a:pt x="380" y="66"/>
                  <a:pt x="382" y="67"/>
                  <a:pt x="383" y="67"/>
                </a:cubicBezTo>
                <a:close/>
                <a:moveTo>
                  <a:pt x="386" y="172"/>
                </a:moveTo>
                <a:cubicBezTo>
                  <a:pt x="387" y="176"/>
                  <a:pt x="379" y="176"/>
                  <a:pt x="379" y="173"/>
                </a:cubicBezTo>
                <a:cubicBezTo>
                  <a:pt x="378" y="170"/>
                  <a:pt x="386" y="168"/>
                  <a:pt x="386" y="172"/>
                </a:cubicBezTo>
                <a:close/>
                <a:moveTo>
                  <a:pt x="379" y="127"/>
                </a:moveTo>
                <a:cubicBezTo>
                  <a:pt x="380" y="127"/>
                  <a:pt x="377" y="128"/>
                  <a:pt x="377" y="128"/>
                </a:cubicBezTo>
                <a:cubicBezTo>
                  <a:pt x="377" y="128"/>
                  <a:pt x="378" y="127"/>
                  <a:pt x="379" y="127"/>
                </a:cubicBezTo>
                <a:close/>
                <a:moveTo>
                  <a:pt x="377" y="223"/>
                </a:moveTo>
                <a:cubicBezTo>
                  <a:pt x="376" y="224"/>
                  <a:pt x="373" y="225"/>
                  <a:pt x="372" y="227"/>
                </a:cubicBezTo>
                <a:cubicBezTo>
                  <a:pt x="372" y="225"/>
                  <a:pt x="375" y="224"/>
                  <a:pt x="377" y="223"/>
                </a:cubicBezTo>
                <a:close/>
                <a:moveTo>
                  <a:pt x="376" y="378"/>
                </a:moveTo>
                <a:cubicBezTo>
                  <a:pt x="376" y="378"/>
                  <a:pt x="375" y="379"/>
                  <a:pt x="376" y="378"/>
                </a:cubicBezTo>
                <a:cubicBezTo>
                  <a:pt x="376" y="378"/>
                  <a:pt x="376" y="378"/>
                  <a:pt x="376" y="378"/>
                </a:cubicBezTo>
                <a:close/>
                <a:moveTo>
                  <a:pt x="375" y="462"/>
                </a:moveTo>
                <a:cubicBezTo>
                  <a:pt x="376" y="462"/>
                  <a:pt x="375" y="464"/>
                  <a:pt x="375" y="464"/>
                </a:cubicBezTo>
                <a:cubicBezTo>
                  <a:pt x="372" y="466"/>
                  <a:pt x="374" y="460"/>
                  <a:pt x="375" y="462"/>
                </a:cubicBezTo>
                <a:close/>
                <a:moveTo>
                  <a:pt x="374" y="451"/>
                </a:moveTo>
                <a:cubicBezTo>
                  <a:pt x="374" y="451"/>
                  <a:pt x="374" y="451"/>
                  <a:pt x="374" y="451"/>
                </a:cubicBezTo>
                <a:cubicBezTo>
                  <a:pt x="373" y="451"/>
                  <a:pt x="374" y="451"/>
                  <a:pt x="374" y="451"/>
                </a:cubicBezTo>
                <a:close/>
                <a:moveTo>
                  <a:pt x="369" y="182"/>
                </a:moveTo>
                <a:cubicBezTo>
                  <a:pt x="369" y="182"/>
                  <a:pt x="369" y="182"/>
                  <a:pt x="369" y="182"/>
                </a:cubicBezTo>
                <a:cubicBezTo>
                  <a:pt x="369" y="182"/>
                  <a:pt x="369" y="182"/>
                  <a:pt x="369" y="182"/>
                </a:cubicBezTo>
                <a:cubicBezTo>
                  <a:pt x="369" y="182"/>
                  <a:pt x="369" y="182"/>
                  <a:pt x="369" y="182"/>
                </a:cubicBezTo>
                <a:close/>
                <a:moveTo>
                  <a:pt x="375" y="371"/>
                </a:moveTo>
                <a:cubicBezTo>
                  <a:pt x="375" y="372"/>
                  <a:pt x="374" y="373"/>
                  <a:pt x="372" y="373"/>
                </a:cubicBezTo>
                <a:cubicBezTo>
                  <a:pt x="371" y="374"/>
                  <a:pt x="370" y="374"/>
                  <a:pt x="370" y="372"/>
                </a:cubicBezTo>
                <a:cubicBezTo>
                  <a:pt x="368" y="368"/>
                  <a:pt x="375" y="367"/>
                  <a:pt x="375" y="371"/>
                </a:cubicBezTo>
                <a:close/>
                <a:moveTo>
                  <a:pt x="374" y="472"/>
                </a:moveTo>
                <a:cubicBezTo>
                  <a:pt x="373" y="473"/>
                  <a:pt x="371" y="475"/>
                  <a:pt x="369" y="475"/>
                </a:cubicBezTo>
                <a:cubicBezTo>
                  <a:pt x="370" y="474"/>
                  <a:pt x="372" y="473"/>
                  <a:pt x="374" y="472"/>
                </a:cubicBezTo>
                <a:close/>
                <a:moveTo>
                  <a:pt x="369" y="228"/>
                </a:moveTo>
                <a:cubicBezTo>
                  <a:pt x="367" y="231"/>
                  <a:pt x="366" y="228"/>
                  <a:pt x="369" y="228"/>
                </a:cubicBezTo>
                <a:close/>
                <a:moveTo>
                  <a:pt x="368" y="370"/>
                </a:moveTo>
                <a:cubicBezTo>
                  <a:pt x="367" y="371"/>
                  <a:pt x="370" y="369"/>
                  <a:pt x="368" y="370"/>
                </a:cubicBezTo>
                <a:close/>
                <a:moveTo>
                  <a:pt x="368" y="319"/>
                </a:moveTo>
                <a:cubicBezTo>
                  <a:pt x="369" y="319"/>
                  <a:pt x="368" y="320"/>
                  <a:pt x="368" y="320"/>
                </a:cubicBezTo>
                <a:cubicBezTo>
                  <a:pt x="367" y="322"/>
                  <a:pt x="367" y="318"/>
                  <a:pt x="368" y="319"/>
                </a:cubicBezTo>
                <a:close/>
                <a:moveTo>
                  <a:pt x="367" y="94"/>
                </a:moveTo>
                <a:cubicBezTo>
                  <a:pt x="366" y="92"/>
                  <a:pt x="368" y="94"/>
                  <a:pt x="367" y="94"/>
                </a:cubicBezTo>
                <a:close/>
                <a:moveTo>
                  <a:pt x="374" y="488"/>
                </a:moveTo>
                <a:cubicBezTo>
                  <a:pt x="375" y="486"/>
                  <a:pt x="380" y="483"/>
                  <a:pt x="383" y="481"/>
                </a:cubicBezTo>
                <a:cubicBezTo>
                  <a:pt x="383" y="481"/>
                  <a:pt x="383" y="479"/>
                  <a:pt x="384" y="480"/>
                </a:cubicBezTo>
                <a:cubicBezTo>
                  <a:pt x="385" y="481"/>
                  <a:pt x="382" y="484"/>
                  <a:pt x="382" y="484"/>
                </a:cubicBezTo>
                <a:cubicBezTo>
                  <a:pt x="380" y="485"/>
                  <a:pt x="378" y="486"/>
                  <a:pt x="376" y="487"/>
                </a:cubicBezTo>
                <a:cubicBezTo>
                  <a:pt x="372" y="489"/>
                  <a:pt x="369" y="494"/>
                  <a:pt x="365" y="496"/>
                </a:cubicBezTo>
                <a:cubicBezTo>
                  <a:pt x="365" y="492"/>
                  <a:pt x="372" y="491"/>
                  <a:pt x="374" y="488"/>
                </a:cubicBezTo>
                <a:close/>
                <a:moveTo>
                  <a:pt x="365" y="407"/>
                </a:moveTo>
                <a:cubicBezTo>
                  <a:pt x="366" y="406"/>
                  <a:pt x="364" y="408"/>
                  <a:pt x="365" y="407"/>
                </a:cubicBezTo>
                <a:close/>
                <a:moveTo>
                  <a:pt x="354" y="444"/>
                </a:moveTo>
                <a:cubicBezTo>
                  <a:pt x="356" y="441"/>
                  <a:pt x="360" y="438"/>
                  <a:pt x="365" y="437"/>
                </a:cubicBezTo>
                <a:cubicBezTo>
                  <a:pt x="361" y="439"/>
                  <a:pt x="358" y="442"/>
                  <a:pt x="354" y="444"/>
                </a:cubicBezTo>
                <a:close/>
                <a:moveTo>
                  <a:pt x="354" y="419"/>
                </a:moveTo>
                <a:cubicBezTo>
                  <a:pt x="353" y="419"/>
                  <a:pt x="356" y="417"/>
                  <a:pt x="354" y="419"/>
                </a:cubicBezTo>
                <a:close/>
                <a:moveTo>
                  <a:pt x="358" y="413"/>
                </a:moveTo>
                <a:cubicBezTo>
                  <a:pt x="358" y="414"/>
                  <a:pt x="357" y="415"/>
                  <a:pt x="356" y="415"/>
                </a:cubicBezTo>
                <a:cubicBezTo>
                  <a:pt x="356" y="414"/>
                  <a:pt x="357" y="414"/>
                  <a:pt x="358" y="413"/>
                </a:cubicBezTo>
                <a:close/>
                <a:moveTo>
                  <a:pt x="358" y="130"/>
                </a:moveTo>
                <a:cubicBezTo>
                  <a:pt x="357" y="129"/>
                  <a:pt x="358" y="132"/>
                  <a:pt x="358" y="130"/>
                </a:cubicBezTo>
                <a:close/>
                <a:moveTo>
                  <a:pt x="359" y="414"/>
                </a:moveTo>
                <a:cubicBezTo>
                  <a:pt x="358" y="415"/>
                  <a:pt x="358" y="416"/>
                  <a:pt x="357" y="416"/>
                </a:cubicBezTo>
                <a:cubicBezTo>
                  <a:pt x="358" y="415"/>
                  <a:pt x="358" y="414"/>
                  <a:pt x="359" y="414"/>
                </a:cubicBezTo>
                <a:close/>
                <a:moveTo>
                  <a:pt x="357" y="416"/>
                </a:moveTo>
                <a:cubicBezTo>
                  <a:pt x="357" y="417"/>
                  <a:pt x="356" y="417"/>
                  <a:pt x="355" y="418"/>
                </a:cubicBezTo>
                <a:cubicBezTo>
                  <a:pt x="355" y="417"/>
                  <a:pt x="356" y="416"/>
                  <a:pt x="357" y="416"/>
                </a:cubicBezTo>
                <a:close/>
                <a:moveTo>
                  <a:pt x="360" y="312"/>
                </a:moveTo>
                <a:cubicBezTo>
                  <a:pt x="360" y="312"/>
                  <a:pt x="360" y="313"/>
                  <a:pt x="359" y="313"/>
                </a:cubicBezTo>
                <a:cubicBezTo>
                  <a:pt x="359" y="312"/>
                  <a:pt x="361" y="311"/>
                  <a:pt x="360" y="312"/>
                </a:cubicBezTo>
                <a:close/>
                <a:moveTo>
                  <a:pt x="360" y="411"/>
                </a:moveTo>
                <a:cubicBezTo>
                  <a:pt x="359" y="413"/>
                  <a:pt x="361" y="411"/>
                  <a:pt x="360" y="411"/>
                </a:cubicBezTo>
                <a:close/>
                <a:moveTo>
                  <a:pt x="359" y="414"/>
                </a:moveTo>
                <a:cubicBezTo>
                  <a:pt x="360" y="412"/>
                  <a:pt x="361" y="414"/>
                  <a:pt x="359" y="414"/>
                </a:cubicBezTo>
                <a:close/>
                <a:moveTo>
                  <a:pt x="361" y="412"/>
                </a:moveTo>
                <a:cubicBezTo>
                  <a:pt x="362" y="411"/>
                  <a:pt x="362" y="410"/>
                  <a:pt x="364" y="410"/>
                </a:cubicBezTo>
                <a:cubicBezTo>
                  <a:pt x="363" y="411"/>
                  <a:pt x="363" y="412"/>
                  <a:pt x="361" y="412"/>
                </a:cubicBezTo>
                <a:close/>
                <a:moveTo>
                  <a:pt x="364" y="204"/>
                </a:moveTo>
                <a:cubicBezTo>
                  <a:pt x="364" y="203"/>
                  <a:pt x="365" y="205"/>
                  <a:pt x="364" y="204"/>
                </a:cubicBezTo>
                <a:close/>
                <a:moveTo>
                  <a:pt x="363" y="409"/>
                </a:moveTo>
                <a:cubicBezTo>
                  <a:pt x="362" y="409"/>
                  <a:pt x="366" y="407"/>
                  <a:pt x="363" y="409"/>
                </a:cubicBezTo>
                <a:close/>
                <a:moveTo>
                  <a:pt x="362" y="253"/>
                </a:moveTo>
                <a:cubicBezTo>
                  <a:pt x="361" y="253"/>
                  <a:pt x="361" y="254"/>
                  <a:pt x="360" y="253"/>
                </a:cubicBezTo>
                <a:cubicBezTo>
                  <a:pt x="358" y="249"/>
                  <a:pt x="366" y="251"/>
                  <a:pt x="362" y="253"/>
                </a:cubicBezTo>
                <a:close/>
                <a:moveTo>
                  <a:pt x="362" y="67"/>
                </a:moveTo>
                <a:cubicBezTo>
                  <a:pt x="362" y="68"/>
                  <a:pt x="361" y="68"/>
                  <a:pt x="360" y="68"/>
                </a:cubicBezTo>
                <a:cubicBezTo>
                  <a:pt x="360" y="67"/>
                  <a:pt x="362" y="67"/>
                  <a:pt x="362" y="67"/>
                </a:cubicBezTo>
                <a:close/>
                <a:moveTo>
                  <a:pt x="363" y="73"/>
                </a:moveTo>
                <a:cubicBezTo>
                  <a:pt x="363" y="73"/>
                  <a:pt x="360" y="73"/>
                  <a:pt x="359" y="73"/>
                </a:cubicBezTo>
                <a:cubicBezTo>
                  <a:pt x="359" y="72"/>
                  <a:pt x="363" y="70"/>
                  <a:pt x="363" y="73"/>
                </a:cubicBezTo>
                <a:close/>
                <a:moveTo>
                  <a:pt x="359" y="40"/>
                </a:moveTo>
                <a:cubicBezTo>
                  <a:pt x="360" y="40"/>
                  <a:pt x="359" y="41"/>
                  <a:pt x="358" y="40"/>
                </a:cubicBezTo>
                <a:cubicBezTo>
                  <a:pt x="358" y="40"/>
                  <a:pt x="358" y="39"/>
                  <a:pt x="359" y="40"/>
                </a:cubicBezTo>
                <a:close/>
                <a:moveTo>
                  <a:pt x="359" y="47"/>
                </a:moveTo>
                <a:cubicBezTo>
                  <a:pt x="359" y="47"/>
                  <a:pt x="357" y="47"/>
                  <a:pt x="357" y="46"/>
                </a:cubicBezTo>
                <a:cubicBezTo>
                  <a:pt x="357" y="46"/>
                  <a:pt x="358" y="46"/>
                  <a:pt x="359" y="47"/>
                </a:cubicBezTo>
                <a:close/>
                <a:moveTo>
                  <a:pt x="350" y="49"/>
                </a:moveTo>
                <a:cubicBezTo>
                  <a:pt x="350" y="49"/>
                  <a:pt x="350" y="50"/>
                  <a:pt x="349" y="50"/>
                </a:cubicBezTo>
                <a:cubicBezTo>
                  <a:pt x="348" y="49"/>
                  <a:pt x="350" y="48"/>
                  <a:pt x="350" y="49"/>
                </a:cubicBezTo>
                <a:close/>
                <a:moveTo>
                  <a:pt x="347" y="81"/>
                </a:moveTo>
                <a:cubicBezTo>
                  <a:pt x="347" y="82"/>
                  <a:pt x="346" y="82"/>
                  <a:pt x="346" y="82"/>
                </a:cubicBezTo>
                <a:cubicBezTo>
                  <a:pt x="345" y="81"/>
                  <a:pt x="347" y="80"/>
                  <a:pt x="347" y="81"/>
                </a:cubicBezTo>
                <a:close/>
                <a:moveTo>
                  <a:pt x="346" y="127"/>
                </a:moveTo>
                <a:cubicBezTo>
                  <a:pt x="348" y="124"/>
                  <a:pt x="357" y="125"/>
                  <a:pt x="357" y="129"/>
                </a:cubicBezTo>
                <a:cubicBezTo>
                  <a:pt x="356" y="136"/>
                  <a:pt x="342" y="134"/>
                  <a:pt x="346" y="127"/>
                </a:cubicBezTo>
                <a:close/>
                <a:moveTo>
                  <a:pt x="353" y="149"/>
                </a:moveTo>
                <a:cubicBezTo>
                  <a:pt x="354" y="147"/>
                  <a:pt x="357" y="148"/>
                  <a:pt x="353" y="149"/>
                </a:cubicBezTo>
                <a:close/>
                <a:moveTo>
                  <a:pt x="345" y="114"/>
                </a:moveTo>
                <a:cubicBezTo>
                  <a:pt x="345" y="115"/>
                  <a:pt x="343" y="114"/>
                  <a:pt x="345" y="114"/>
                </a:cubicBezTo>
                <a:close/>
                <a:moveTo>
                  <a:pt x="344" y="85"/>
                </a:moveTo>
                <a:cubicBezTo>
                  <a:pt x="343" y="85"/>
                  <a:pt x="343" y="84"/>
                  <a:pt x="343" y="84"/>
                </a:cubicBezTo>
                <a:cubicBezTo>
                  <a:pt x="342" y="82"/>
                  <a:pt x="345" y="84"/>
                  <a:pt x="344" y="85"/>
                </a:cubicBezTo>
                <a:close/>
                <a:moveTo>
                  <a:pt x="347" y="145"/>
                </a:moveTo>
                <a:cubicBezTo>
                  <a:pt x="345" y="147"/>
                  <a:pt x="341" y="149"/>
                  <a:pt x="338" y="149"/>
                </a:cubicBezTo>
                <a:cubicBezTo>
                  <a:pt x="340" y="148"/>
                  <a:pt x="344" y="147"/>
                  <a:pt x="347" y="145"/>
                </a:cubicBezTo>
                <a:close/>
                <a:moveTo>
                  <a:pt x="339" y="111"/>
                </a:moveTo>
                <a:cubicBezTo>
                  <a:pt x="339" y="111"/>
                  <a:pt x="338" y="112"/>
                  <a:pt x="338" y="112"/>
                </a:cubicBezTo>
                <a:cubicBezTo>
                  <a:pt x="337" y="111"/>
                  <a:pt x="338" y="111"/>
                  <a:pt x="339" y="111"/>
                </a:cubicBezTo>
                <a:close/>
                <a:moveTo>
                  <a:pt x="340" y="58"/>
                </a:moveTo>
                <a:cubicBezTo>
                  <a:pt x="340" y="58"/>
                  <a:pt x="338" y="59"/>
                  <a:pt x="338" y="58"/>
                </a:cubicBezTo>
                <a:cubicBezTo>
                  <a:pt x="338" y="58"/>
                  <a:pt x="340" y="57"/>
                  <a:pt x="340" y="58"/>
                </a:cubicBezTo>
                <a:close/>
                <a:moveTo>
                  <a:pt x="338" y="85"/>
                </a:moveTo>
                <a:cubicBezTo>
                  <a:pt x="337" y="85"/>
                  <a:pt x="337" y="86"/>
                  <a:pt x="336" y="85"/>
                </a:cubicBezTo>
                <a:cubicBezTo>
                  <a:pt x="336" y="85"/>
                  <a:pt x="337" y="85"/>
                  <a:pt x="338" y="85"/>
                </a:cubicBezTo>
                <a:close/>
                <a:moveTo>
                  <a:pt x="336" y="151"/>
                </a:moveTo>
                <a:cubicBezTo>
                  <a:pt x="336" y="151"/>
                  <a:pt x="336" y="150"/>
                  <a:pt x="337" y="150"/>
                </a:cubicBezTo>
                <a:cubicBezTo>
                  <a:pt x="337" y="150"/>
                  <a:pt x="336" y="151"/>
                  <a:pt x="336" y="151"/>
                </a:cubicBezTo>
                <a:close/>
                <a:moveTo>
                  <a:pt x="337" y="161"/>
                </a:moveTo>
                <a:cubicBezTo>
                  <a:pt x="337" y="162"/>
                  <a:pt x="335" y="163"/>
                  <a:pt x="335" y="161"/>
                </a:cubicBezTo>
                <a:cubicBezTo>
                  <a:pt x="335" y="160"/>
                  <a:pt x="337" y="161"/>
                  <a:pt x="337" y="161"/>
                </a:cubicBezTo>
                <a:close/>
                <a:moveTo>
                  <a:pt x="335" y="151"/>
                </a:moveTo>
                <a:cubicBezTo>
                  <a:pt x="336" y="151"/>
                  <a:pt x="333" y="153"/>
                  <a:pt x="333" y="152"/>
                </a:cubicBezTo>
                <a:cubicBezTo>
                  <a:pt x="333" y="151"/>
                  <a:pt x="335" y="151"/>
                  <a:pt x="335" y="151"/>
                </a:cubicBezTo>
                <a:close/>
                <a:moveTo>
                  <a:pt x="334" y="65"/>
                </a:moveTo>
                <a:cubicBezTo>
                  <a:pt x="333" y="65"/>
                  <a:pt x="333" y="65"/>
                  <a:pt x="332" y="65"/>
                </a:cubicBezTo>
                <a:cubicBezTo>
                  <a:pt x="332" y="65"/>
                  <a:pt x="333" y="64"/>
                  <a:pt x="334" y="65"/>
                </a:cubicBezTo>
                <a:close/>
                <a:moveTo>
                  <a:pt x="356" y="172"/>
                </a:moveTo>
                <a:cubicBezTo>
                  <a:pt x="348" y="177"/>
                  <a:pt x="339" y="182"/>
                  <a:pt x="329" y="187"/>
                </a:cubicBezTo>
                <a:cubicBezTo>
                  <a:pt x="329" y="187"/>
                  <a:pt x="327" y="189"/>
                  <a:pt x="326" y="188"/>
                </a:cubicBezTo>
                <a:cubicBezTo>
                  <a:pt x="325" y="187"/>
                  <a:pt x="329" y="186"/>
                  <a:pt x="327" y="187"/>
                </a:cubicBezTo>
                <a:cubicBezTo>
                  <a:pt x="336" y="181"/>
                  <a:pt x="347" y="175"/>
                  <a:pt x="356" y="172"/>
                </a:cubicBezTo>
                <a:close/>
                <a:moveTo>
                  <a:pt x="331" y="92"/>
                </a:moveTo>
                <a:cubicBezTo>
                  <a:pt x="331" y="94"/>
                  <a:pt x="328" y="93"/>
                  <a:pt x="328" y="92"/>
                </a:cubicBezTo>
                <a:cubicBezTo>
                  <a:pt x="329" y="91"/>
                  <a:pt x="330" y="91"/>
                  <a:pt x="331" y="92"/>
                </a:cubicBezTo>
                <a:close/>
                <a:moveTo>
                  <a:pt x="326" y="66"/>
                </a:moveTo>
                <a:cubicBezTo>
                  <a:pt x="325" y="67"/>
                  <a:pt x="324" y="66"/>
                  <a:pt x="323" y="66"/>
                </a:cubicBezTo>
                <a:cubicBezTo>
                  <a:pt x="323" y="65"/>
                  <a:pt x="325" y="66"/>
                  <a:pt x="326" y="66"/>
                </a:cubicBezTo>
                <a:close/>
                <a:moveTo>
                  <a:pt x="323" y="101"/>
                </a:moveTo>
                <a:cubicBezTo>
                  <a:pt x="323" y="101"/>
                  <a:pt x="325" y="99"/>
                  <a:pt x="325" y="101"/>
                </a:cubicBezTo>
                <a:cubicBezTo>
                  <a:pt x="326" y="102"/>
                  <a:pt x="322" y="103"/>
                  <a:pt x="323" y="101"/>
                </a:cubicBezTo>
                <a:close/>
                <a:moveTo>
                  <a:pt x="320" y="102"/>
                </a:moveTo>
                <a:cubicBezTo>
                  <a:pt x="321" y="100"/>
                  <a:pt x="323" y="102"/>
                  <a:pt x="320" y="102"/>
                </a:cubicBezTo>
                <a:close/>
                <a:moveTo>
                  <a:pt x="313" y="98"/>
                </a:moveTo>
                <a:cubicBezTo>
                  <a:pt x="313" y="98"/>
                  <a:pt x="316" y="96"/>
                  <a:pt x="317" y="98"/>
                </a:cubicBezTo>
                <a:cubicBezTo>
                  <a:pt x="317" y="99"/>
                  <a:pt x="313" y="99"/>
                  <a:pt x="313" y="98"/>
                </a:cubicBezTo>
                <a:close/>
                <a:moveTo>
                  <a:pt x="316" y="67"/>
                </a:moveTo>
                <a:cubicBezTo>
                  <a:pt x="317" y="67"/>
                  <a:pt x="315" y="68"/>
                  <a:pt x="314" y="68"/>
                </a:cubicBezTo>
                <a:cubicBezTo>
                  <a:pt x="315" y="67"/>
                  <a:pt x="315" y="67"/>
                  <a:pt x="316" y="67"/>
                </a:cubicBezTo>
                <a:close/>
                <a:moveTo>
                  <a:pt x="313" y="68"/>
                </a:moveTo>
                <a:cubicBezTo>
                  <a:pt x="313" y="68"/>
                  <a:pt x="312" y="68"/>
                  <a:pt x="311" y="68"/>
                </a:cubicBezTo>
                <a:cubicBezTo>
                  <a:pt x="311" y="68"/>
                  <a:pt x="313" y="67"/>
                  <a:pt x="313" y="68"/>
                </a:cubicBezTo>
                <a:close/>
                <a:moveTo>
                  <a:pt x="300" y="82"/>
                </a:moveTo>
                <a:cubicBezTo>
                  <a:pt x="298" y="83"/>
                  <a:pt x="298" y="82"/>
                  <a:pt x="300" y="82"/>
                </a:cubicBezTo>
                <a:close/>
                <a:moveTo>
                  <a:pt x="299" y="99"/>
                </a:moveTo>
                <a:cubicBezTo>
                  <a:pt x="298" y="100"/>
                  <a:pt x="294" y="100"/>
                  <a:pt x="294" y="100"/>
                </a:cubicBezTo>
                <a:cubicBezTo>
                  <a:pt x="293" y="100"/>
                  <a:pt x="293" y="99"/>
                  <a:pt x="293" y="99"/>
                </a:cubicBezTo>
                <a:cubicBezTo>
                  <a:pt x="293" y="99"/>
                  <a:pt x="291" y="101"/>
                  <a:pt x="291" y="99"/>
                </a:cubicBezTo>
                <a:cubicBezTo>
                  <a:pt x="290" y="98"/>
                  <a:pt x="300" y="95"/>
                  <a:pt x="299" y="99"/>
                </a:cubicBezTo>
                <a:close/>
                <a:moveTo>
                  <a:pt x="293" y="116"/>
                </a:moveTo>
                <a:cubicBezTo>
                  <a:pt x="299" y="113"/>
                  <a:pt x="305" y="113"/>
                  <a:pt x="311" y="110"/>
                </a:cubicBezTo>
                <a:cubicBezTo>
                  <a:pt x="316" y="108"/>
                  <a:pt x="321" y="105"/>
                  <a:pt x="327" y="105"/>
                </a:cubicBezTo>
                <a:cubicBezTo>
                  <a:pt x="327" y="105"/>
                  <a:pt x="328" y="105"/>
                  <a:pt x="328" y="106"/>
                </a:cubicBezTo>
                <a:cubicBezTo>
                  <a:pt x="328" y="107"/>
                  <a:pt x="318" y="110"/>
                  <a:pt x="315" y="111"/>
                </a:cubicBezTo>
                <a:cubicBezTo>
                  <a:pt x="310" y="112"/>
                  <a:pt x="306" y="113"/>
                  <a:pt x="301" y="114"/>
                </a:cubicBezTo>
                <a:cubicBezTo>
                  <a:pt x="299" y="115"/>
                  <a:pt x="294" y="118"/>
                  <a:pt x="292" y="118"/>
                </a:cubicBezTo>
                <a:cubicBezTo>
                  <a:pt x="288" y="118"/>
                  <a:pt x="293" y="116"/>
                  <a:pt x="293" y="116"/>
                </a:cubicBezTo>
                <a:close/>
                <a:moveTo>
                  <a:pt x="294" y="382"/>
                </a:moveTo>
                <a:cubicBezTo>
                  <a:pt x="294" y="382"/>
                  <a:pt x="293" y="382"/>
                  <a:pt x="292" y="384"/>
                </a:cubicBezTo>
                <a:cubicBezTo>
                  <a:pt x="289" y="386"/>
                  <a:pt x="286" y="391"/>
                  <a:pt x="283" y="396"/>
                </a:cubicBezTo>
                <a:cubicBezTo>
                  <a:pt x="281" y="399"/>
                  <a:pt x="280" y="403"/>
                  <a:pt x="278" y="405"/>
                </a:cubicBezTo>
                <a:cubicBezTo>
                  <a:pt x="278" y="406"/>
                  <a:pt x="277" y="406"/>
                  <a:pt x="277" y="406"/>
                </a:cubicBezTo>
                <a:cubicBezTo>
                  <a:pt x="276" y="406"/>
                  <a:pt x="280" y="399"/>
                  <a:pt x="281" y="398"/>
                </a:cubicBezTo>
                <a:cubicBezTo>
                  <a:pt x="283" y="395"/>
                  <a:pt x="284" y="392"/>
                  <a:pt x="286" y="390"/>
                </a:cubicBezTo>
                <a:cubicBezTo>
                  <a:pt x="287" y="388"/>
                  <a:pt x="291" y="385"/>
                  <a:pt x="291" y="382"/>
                </a:cubicBezTo>
                <a:cubicBezTo>
                  <a:pt x="291" y="382"/>
                  <a:pt x="290" y="380"/>
                  <a:pt x="290" y="379"/>
                </a:cubicBezTo>
                <a:cubicBezTo>
                  <a:pt x="290" y="375"/>
                  <a:pt x="298" y="376"/>
                  <a:pt x="294" y="382"/>
                </a:cubicBezTo>
                <a:close/>
                <a:moveTo>
                  <a:pt x="286" y="197"/>
                </a:moveTo>
                <a:cubicBezTo>
                  <a:pt x="286" y="197"/>
                  <a:pt x="286" y="198"/>
                  <a:pt x="286" y="198"/>
                </a:cubicBezTo>
                <a:cubicBezTo>
                  <a:pt x="285" y="198"/>
                  <a:pt x="285" y="196"/>
                  <a:pt x="286" y="197"/>
                </a:cubicBezTo>
                <a:close/>
                <a:moveTo>
                  <a:pt x="286" y="346"/>
                </a:moveTo>
                <a:cubicBezTo>
                  <a:pt x="287" y="346"/>
                  <a:pt x="286" y="347"/>
                  <a:pt x="286" y="348"/>
                </a:cubicBezTo>
                <a:cubicBezTo>
                  <a:pt x="284" y="350"/>
                  <a:pt x="284" y="344"/>
                  <a:pt x="286" y="346"/>
                </a:cubicBezTo>
                <a:close/>
                <a:moveTo>
                  <a:pt x="284" y="385"/>
                </a:moveTo>
                <a:cubicBezTo>
                  <a:pt x="284" y="386"/>
                  <a:pt x="283" y="386"/>
                  <a:pt x="283" y="386"/>
                </a:cubicBezTo>
                <a:cubicBezTo>
                  <a:pt x="282" y="386"/>
                  <a:pt x="284" y="385"/>
                  <a:pt x="284" y="385"/>
                </a:cubicBezTo>
                <a:close/>
                <a:moveTo>
                  <a:pt x="281" y="387"/>
                </a:moveTo>
                <a:cubicBezTo>
                  <a:pt x="283" y="388"/>
                  <a:pt x="280" y="390"/>
                  <a:pt x="279" y="391"/>
                </a:cubicBezTo>
                <a:cubicBezTo>
                  <a:pt x="280" y="389"/>
                  <a:pt x="281" y="388"/>
                  <a:pt x="281" y="387"/>
                </a:cubicBezTo>
                <a:close/>
                <a:moveTo>
                  <a:pt x="278" y="392"/>
                </a:moveTo>
                <a:cubicBezTo>
                  <a:pt x="278" y="393"/>
                  <a:pt x="277" y="393"/>
                  <a:pt x="277" y="394"/>
                </a:cubicBezTo>
                <a:cubicBezTo>
                  <a:pt x="276" y="394"/>
                  <a:pt x="277" y="392"/>
                  <a:pt x="278" y="392"/>
                </a:cubicBezTo>
                <a:close/>
                <a:moveTo>
                  <a:pt x="275" y="342"/>
                </a:moveTo>
                <a:cubicBezTo>
                  <a:pt x="274" y="343"/>
                  <a:pt x="274" y="343"/>
                  <a:pt x="273" y="344"/>
                </a:cubicBezTo>
                <a:cubicBezTo>
                  <a:pt x="273" y="344"/>
                  <a:pt x="274" y="342"/>
                  <a:pt x="275" y="342"/>
                </a:cubicBezTo>
                <a:close/>
                <a:moveTo>
                  <a:pt x="273" y="119"/>
                </a:moveTo>
                <a:cubicBezTo>
                  <a:pt x="273" y="120"/>
                  <a:pt x="272" y="119"/>
                  <a:pt x="271" y="120"/>
                </a:cubicBezTo>
                <a:cubicBezTo>
                  <a:pt x="271" y="119"/>
                  <a:pt x="273" y="119"/>
                  <a:pt x="273" y="119"/>
                </a:cubicBezTo>
                <a:close/>
                <a:moveTo>
                  <a:pt x="272" y="481"/>
                </a:moveTo>
                <a:cubicBezTo>
                  <a:pt x="273" y="482"/>
                  <a:pt x="271" y="483"/>
                  <a:pt x="271" y="483"/>
                </a:cubicBezTo>
                <a:cubicBezTo>
                  <a:pt x="269" y="483"/>
                  <a:pt x="271" y="480"/>
                  <a:pt x="272" y="481"/>
                </a:cubicBezTo>
                <a:close/>
                <a:moveTo>
                  <a:pt x="270" y="120"/>
                </a:moveTo>
                <a:cubicBezTo>
                  <a:pt x="269" y="119"/>
                  <a:pt x="271" y="121"/>
                  <a:pt x="270" y="120"/>
                </a:cubicBezTo>
                <a:close/>
                <a:moveTo>
                  <a:pt x="270" y="409"/>
                </a:moveTo>
                <a:cubicBezTo>
                  <a:pt x="270" y="410"/>
                  <a:pt x="269" y="410"/>
                  <a:pt x="269" y="411"/>
                </a:cubicBezTo>
                <a:cubicBezTo>
                  <a:pt x="268" y="410"/>
                  <a:pt x="270" y="409"/>
                  <a:pt x="270" y="409"/>
                </a:cubicBezTo>
                <a:close/>
                <a:moveTo>
                  <a:pt x="269" y="378"/>
                </a:moveTo>
                <a:cubicBezTo>
                  <a:pt x="269" y="380"/>
                  <a:pt x="267" y="379"/>
                  <a:pt x="266" y="380"/>
                </a:cubicBezTo>
                <a:cubicBezTo>
                  <a:pt x="266" y="379"/>
                  <a:pt x="268" y="379"/>
                  <a:pt x="269" y="378"/>
                </a:cubicBezTo>
                <a:close/>
                <a:moveTo>
                  <a:pt x="267" y="407"/>
                </a:moveTo>
                <a:cubicBezTo>
                  <a:pt x="269" y="408"/>
                  <a:pt x="267" y="411"/>
                  <a:pt x="266" y="411"/>
                </a:cubicBezTo>
                <a:cubicBezTo>
                  <a:pt x="263" y="412"/>
                  <a:pt x="265" y="406"/>
                  <a:pt x="267" y="407"/>
                </a:cubicBezTo>
                <a:close/>
                <a:moveTo>
                  <a:pt x="264" y="422"/>
                </a:moveTo>
                <a:cubicBezTo>
                  <a:pt x="265" y="423"/>
                  <a:pt x="264" y="423"/>
                  <a:pt x="264" y="423"/>
                </a:cubicBezTo>
                <a:cubicBezTo>
                  <a:pt x="263" y="424"/>
                  <a:pt x="264" y="422"/>
                  <a:pt x="264" y="422"/>
                </a:cubicBezTo>
                <a:close/>
                <a:moveTo>
                  <a:pt x="264" y="455"/>
                </a:moveTo>
                <a:cubicBezTo>
                  <a:pt x="266" y="456"/>
                  <a:pt x="265" y="457"/>
                  <a:pt x="264" y="458"/>
                </a:cubicBezTo>
                <a:cubicBezTo>
                  <a:pt x="262" y="459"/>
                  <a:pt x="262" y="454"/>
                  <a:pt x="264" y="455"/>
                </a:cubicBezTo>
                <a:close/>
                <a:moveTo>
                  <a:pt x="262" y="487"/>
                </a:moveTo>
                <a:cubicBezTo>
                  <a:pt x="263" y="486"/>
                  <a:pt x="262" y="487"/>
                  <a:pt x="262" y="487"/>
                </a:cubicBezTo>
                <a:cubicBezTo>
                  <a:pt x="262" y="487"/>
                  <a:pt x="262" y="487"/>
                  <a:pt x="262" y="487"/>
                </a:cubicBezTo>
                <a:close/>
                <a:moveTo>
                  <a:pt x="262" y="390"/>
                </a:moveTo>
                <a:cubicBezTo>
                  <a:pt x="262" y="390"/>
                  <a:pt x="261" y="391"/>
                  <a:pt x="261" y="391"/>
                </a:cubicBezTo>
                <a:cubicBezTo>
                  <a:pt x="260" y="392"/>
                  <a:pt x="261" y="389"/>
                  <a:pt x="262" y="390"/>
                </a:cubicBezTo>
                <a:close/>
                <a:moveTo>
                  <a:pt x="261" y="409"/>
                </a:moveTo>
                <a:cubicBezTo>
                  <a:pt x="262" y="410"/>
                  <a:pt x="261" y="412"/>
                  <a:pt x="261" y="412"/>
                </a:cubicBezTo>
                <a:cubicBezTo>
                  <a:pt x="258" y="415"/>
                  <a:pt x="259" y="408"/>
                  <a:pt x="261" y="409"/>
                </a:cubicBezTo>
                <a:close/>
                <a:moveTo>
                  <a:pt x="260" y="161"/>
                </a:moveTo>
                <a:cubicBezTo>
                  <a:pt x="259" y="162"/>
                  <a:pt x="258" y="162"/>
                  <a:pt x="257" y="162"/>
                </a:cubicBezTo>
                <a:cubicBezTo>
                  <a:pt x="258" y="161"/>
                  <a:pt x="259" y="161"/>
                  <a:pt x="260" y="161"/>
                </a:cubicBezTo>
                <a:close/>
                <a:moveTo>
                  <a:pt x="256" y="236"/>
                </a:moveTo>
                <a:cubicBezTo>
                  <a:pt x="257" y="236"/>
                  <a:pt x="257" y="237"/>
                  <a:pt x="257" y="237"/>
                </a:cubicBezTo>
                <a:cubicBezTo>
                  <a:pt x="255" y="239"/>
                  <a:pt x="255" y="235"/>
                  <a:pt x="256" y="236"/>
                </a:cubicBezTo>
                <a:close/>
                <a:moveTo>
                  <a:pt x="220" y="484"/>
                </a:moveTo>
                <a:cubicBezTo>
                  <a:pt x="219" y="485"/>
                  <a:pt x="219" y="482"/>
                  <a:pt x="220" y="482"/>
                </a:cubicBezTo>
                <a:cubicBezTo>
                  <a:pt x="220" y="483"/>
                  <a:pt x="220" y="483"/>
                  <a:pt x="220" y="484"/>
                </a:cubicBezTo>
                <a:close/>
                <a:moveTo>
                  <a:pt x="219" y="482"/>
                </a:moveTo>
                <a:cubicBezTo>
                  <a:pt x="218" y="481"/>
                  <a:pt x="220" y="479"/>
                  <a:pt x="220" y="480"/>
                </a:cubicBezTo>
                <a:cubicBezTo>
                  <a:pt x="221" y="482"/>
                  <a:pt x="219" y="483"/>
                  <a:pt x="219" y="482"/>
                </a:cubicBezTo>
                <a:close/>
                <a:moveTo>
                  <a:pt x="223" y="478"/>
                </a:moveTo>
                <a:cubicBezTo>
                  <a:pt x="219" y="481"/>
                  <a:pt x="218" y="471"/>
                  <a:pt x="222" y="470"/>
                </a:cubicBezTo>
                <a:cubicBezTo>
                  <a:pt x="220" y="474"/>
                  <a:pt x="224" y="473"/>
                  <a:pt x="224" y="475"/>
                </a:cubicBezTo>
                <a:cubicBezTo>
                  <a:pt x="224" y="475"/>
                  <a:pt x="223" y="477"/>
                  <a:pt x="223" y="478"/>
                </a:cubicBezTo>
                <a:close/>
                <a:moveTo>
                  <a:pt x="226" y="519"/>
                </a:moveTo>
                <a:cubicBezTo>
                  <a:pt x="226" y="519"/>
                  <a:pt x="226" y="519"/>
                  <a:pt x="226" y="519"/>
                </a:cubicBezTo>
                <a:cubicBezTo>
                  <a:pt x="226" y="518"/>
                  <a:pt x="227" y="518"/>
                  <a:pt x="227" y="518"/>
                </a:cubicBezTo>
                <a:cubicBezTo>
                  <a:pt x="226" y="518"/>
                  <a:pt x="226" y="519"/>
                  <a:pt x="226" y="519"/>
                </a:cubicBezTo>
                <a:close/>
                <a:moveTo>
                  <a:pt x="231" y="488"/>
                </a:moveTo>
                <a:cubicBezTo>
                  <a:pt x="232" y="486"/>
                  <a:pt x="234" y="487"/>
                  <a:pt x="231" y="488"/>
                </a:cubicBezTo>
                <a:close/>
                <a:moveTo>
                  <a:pt x="236" y="473"/>
                </a:moveTo>
                <a:cubicBezTo>
                  <a:pt x="236" y="474"/>
                  <a:pt x="238" y="474"/>
                  <a:pt x="236" y="476"/>
                </a:cubicBezTo>
                <a:cubicBezTo>
                  <a:pt x="237" y="475"/>
                  <a:pt x="234" y="476"/>
                  <a:pt x="234" y="476"/>
                </a:cubicBezTo>
                <a:cubicBezTo>
                  <a:pt x="233" y="475"/>
                  <a:pt x="233" y="474"/>
                  <a:pt x="235" y="473"/>
                </a:cubicBezTo>
                <a:cubicBezTo>
                  <a:pt x="233" y="473"/>
                  <a:pt x="231" y="472"/>
                  <a:pt x="231" y="470"/>
                </a:cubicBezTo>
                <a:cubicBezTo>
                  <a:pt x="231" y="467"/>
                  <a:pt x="233" y="465"/>
                  <a:pt x="236" y="464"/>
                </a:cubicBezTo>
                <a:cubicBezTo>
                  <a:pt x="236" y="464"/>
                  <a:pt x="236" y="464"/>
                  <a:pt x="236" y="464"/>
                </a:cubicBezTo>
                <a:cubicBezTo>
                  <a:pt x="237" y="464"/>
                  <a:pt x="238" y="466"/>
                  <a:pt x="238" y="466"/>
                </a:cubicBezTo>
                <a:cubicBezTo>
                  <a:pt x="240" y="467"/>
                  <a:pt x="239" y="462"/>
                  <a:pt x="241" y="463"/>
                </a:cubicBezTo>
                <a:cubicBezTo>
                  <a:pt x="244" y="463"/>
                  <a:pt x="241" y="465"/>
                  <a:pt x="241" y="466"/>
                </a:cubicBezTo>
                <a:cubicBezTo>
                  <a:pt x="240" y="468"/>
                  <a:pt x="242" y="468"/>
                  <a:pt x="239" y="470"/>
                </a:cubicBezTo>
                <a:cubicBezTo>
                  <a:pt x="238" y="470"/>
                  <a:pt x="236" y="473"/>
                  <a:pt x="236" y="473"/>
                </a:cubicBezTo>
                <a:close/>
                <a:moveTo>
                  <a:pt x="232" y="444"/>
                </a:moveTo>
                <a:cubicBezTo>
                  <a:pt x="233" y="444"/>
                  <a:pt x="233" y="443"/>
                  <a:pt x="233" y="444"/>
                </a:cubicBezTo>
                <a:cubicBezTo>
                  <a:pt x="232" y="444"/>
                  <a:pt x="232" y="444"/>
                  <a:pt x="232" y="444"/>
                </a:cubicBezTo>
                <a:close/>
                <a:moveTo>
                  <a:pt x="237" y="453"/>
                </a:moveTo>
                <a:cubicBezTo>
                  <a:pt x="239" y="450"/>
                  <a:pt x="241" y="447"/>
                  <a:pt x="243" y="445"/>
                </a:cubicBezTo>
                <a:cubicBezTo>
                  <a:pt x="242" y="448"/>
                  <a:pt x="240" y="450"/>
                  <a:pt x="237" y="453"/>
                </a:cubicBezTo>
                <a:close/>
                <a:moveTo>
                  <a:pt x="243" y="461"/>
                </a:moveTo>
                <a:cubicBezTo>
                  <a:pt x="242" y="462"/>
                  <a:pt x="243" y="460"/>
                  <a:pt x="243" y="460"/>
                </a:cubicBezTo>
                <a:cubicBezTo>
                  <a:pt x="244" y="460"/>
                  <a:pt x="244" y="461"/>
                  <a:pt x="243" y="461"/>
                </a:cubicBezTo>
                <a:close/>
                <a:moveTo>
                  <a:pt x="238" y="463"/>
                </a:moveTo>
                <a:cubicBezTo>
                  <a:pt x="237" y="462"/>
                  <a:pt x="239" y="461"/>
                  <a:pt x="239" y="462"/>
                </a:cubicBezTo>
                <a:cubicBezTo>
                  <a:pt x="241" y="463"/>
                  <a:pt x="238" y="465"/>
                  <a:pt x="238" y="463"/>
                </a:cubicBezTo>
                <a:close/>
                <a:moveTo>
                  <a:pt x="237" y="446"/>
                </a:moveTo>
                <a:cubicBezTo>
                  <a:pt x="234" y="447"/>
                  <a:pt x="235" y="441"/>
                  <a:pt x="238" y="443"/>
                </a:cubicBezTo>
                <a:cubicBezTo>
                  <a:pt x="239" y="443"/>
                  <a:pt x="237" y="445"/>
                  <a:pt x="237" y="446"/>
                </a:cubicBezTo>
                <a:close/>
                <a:moveTo>
                  <a:pt x="236" y="453"/>
                </a:moveTo>
                <a:cubicBezTo>
                  <a:pt x="236" y="455"/>
                  <a:pt x="234" y="458"/>
                  <a:pt x="233" y="458"/>
                </a:cubicBezTo>
                <a:cubicBezTo>
                  <a:pt x="233" y="458"/>
                  <a:pt x="235" y="454"/>
                  <a:pt x="236" y="453"/>
                </a:cubicBezTo>
                <a:close/>
                <a:moveTo>
                  <a:pt x="234" y="464"/>
                </a:moveTo>
                <a:cubicBezTo>
                  <a:pt x="235" y="462"/>
                  <a:pt x="233" y="465"/>
                  <a:pt x="234" y="464"/>
                </a:cubicBezTo>
                <a:close/>
                <a:moveTo>
                  <a:pt x="241" y="500"/>
                </a:moveTo>
                <a:cubicBezTo>
                  <a:pt x="240" y="501"/>
                  <a:pt x="241" y="499"/>
                  <a:pt x="241" y="499"/>
                </a:cubicBezTo>
                <a:cubicBezTo>
                  <a:pt x="242" y="499"/>
                  <a:pt x="242" y="500"/>
                  <a:pt x="241" y="500"/>
                </a:cubicBezTo>
                <a:close/>
                <a:moveTo>
                  <a:pt x="243" y="497"/>
                </a:moveTo>
                <a:cubicBezTo>
                  <a:pt x="241" y="498"/>
                  <a:pt x="243" y="494"/>
                  <a:pt x="244" y="496"/>
                </a:cubicBezTo>
                <a:cubicBezTo>
                  <a:pt x="244" y="496"/>
                  <a:pt x="243" y="497"/>
                  <a:pt x="243" y="497"/>
                </a:cubicBezTo>
                <a:close/>
                <a:moveTo>
                  <a:pt x="245" y="513"/>
                </a:moveTo>
                <a:cubicBezTo>
                  <a:pt x="246" y="513"/>
                  <a:pt x="244" y="514"/>
                  <a:pt x="245" y="513"/>
                </a:cubicBezTo>
                <a:close/>
                <a:moveTo>
                  <a:pt x="244" y="494"/>
                </a:moveTo>
                <a:cubicBezTo>
                  <a:pt x="245" y="492"/>
                  <a:pt x="249" y="492"/>
                  <a:pt x="248" y="495"/>
                </a:cubicBezTo>
                <a:cubicBezTo>
                  <a:pt x="248" y="497"/>
                  <a:pt x="242" y="497"/>
                  <a:pt x="244" y="494"/>
                </a:cubicBezTo>
                <a:close/>
                <a:moveTo>
                  <a:pt x="248" y="489"/>
                </a:moveTo>
                <a:cubicBezTo>
                  <a:pt x="247" y="488"/>
                  <a:pt x="249" y="488"/>
                  <a:pt x="248" y="489"/>
                </a:cubicBezTo>
                <a:close/>
                <a:moveTo>
                  <a:pt x="249" y="485"/>
                </a:moveTo>
                <a:cubicBezTo>
                  <a:pt x="248" y="486"/>
                  <a:pt x="249" y="483"/>
                  <a:pt x="249" y="484"/>
                </a:cubicBezTo>
                <a:cubicBezTo>
                  <a:pt x="250" y="484"/>
                  <a:pt x="249" y="485"/>
                  <a:pt x="249" y="485"/>
                </a:cubicBezTo>
                <a:close/>
                <a:moveTo>
                  <a:pt x="251" y="501"/>
                </a:moveTo>
                <a:cubicBezTo>
                  <a:pt x="251" y="501"/>
                  <a:pt x="251" y="501"/>
                  <a:pt x="251" y="501"/>
                </a:cubicBezTo>
                <a:cubicBezTo>
                  <a:pt x="251" y="499"/>
                  <a:pt x="252" y="503"/>
                  <a:pt x="251" y="501"/>
                </a:cubicBezTo>
                <a:close/>
                <a:moveTo>
                  <a:pt x="252" y="488"/>
                </a:moveTo>
                <a:cubicBezTo>
                  <a:pt x="252" y="488"/>
                  <a:pt x="251" y="489"/>
                  <a:pt x="251" y="488"/>
                </a:cubicBezTo>
                <a:cubicBezTo>
                  <a:pt x="248" y="485"/>
                  <a:pt x="256" y="486"/>
                  <a:pt x="252" y="488"/>
                </a:cubicBezTo>
                <a:close/>
                <a:moveTo>
                  <a:pt x="252" y="480"/>
                </a:moveTo>
                <a:cubicBezTo>
                  <a:pt x="251" y="480"/>
                  <a:pt x="251" y="480"/>
                  <a:pt x="251" y="480"/>
                </a:cubicBezTo>
                <a:cubicBezTo>
                  <a:pt x="250" y="480"/>
                  <a:pt x="252" y="479"/>
                  <a:pt x="252" y="480"/>
                </a:cubicBezTo>
                <a:close/>
                <a:moveTo>
                  <a:pt x="250" y="475"/>
                </a:moveTo>
                <a:cubicBezTo>
                  <a:pt x="248" y="477"/>
                  <a:pt x="245" y="480"/>
                  <a:pt x="244" y="481"/>
                </a:cubicBezTo>
                <a:cubicBezTo>
                  <a:pt x="242" y="482"/>
                  <a:pt x="241" y="485"/>
                  <a:pt x="239" y="485"/>
                </a:cubicBezTo>
                <a:cubicBezTo>
                  <a:pt x="243" y="480"/>
                  <a:pt x="249" y="474"/>
                  <a:pt x="253" y="470"/>
                </a:cubicBezTo>
                <a:cubicBezTo>
                  <a:pt x="256" y="466"/>
                  <a:pt x="251" y="474"/>
                  <a:pt x="250" y="475"/>
                </a:cubicBezTo>
                <a:close/>
                <a:moveTo>
                  <a:pt x="251" y="410"/>
                </a:moveTo>
                <a:cubicBezTo>
                  <a:pt x="252" y="411"/>
                  <a:pt x="251" y="412"/>
                  <a:pt x="250" y="412"/>
                </a:cubicBezTo>
                <a:cubicBezTo>
                  <a:pt x="248" y="414"/>
                  <a:pt x="248" y="409"/>
                  <a:pt x="251" y="410"/>
                </a:cubicBezTo>
                <a:close/>
                <a:moveTo>
                  <a:pt x="249" y="314"/>
                </a:moveTo>
                <a:cubicBezTo>
                  <a:pt x="250" y="313"/>
                  <a:pt x="251" y="314"/>
                  <a:pt x="251" y="314"/>
                </a:cubicBezTo>
                <a:cubicBezTo>
                  <a:pt x="250" y="315"/>
                  <a:pt x="249" y="314"/>
                  <a:pt x="249" y="314"/>
                </a:cubicBezTo>
                <a:close/>
                <a:moveTo>
                  <a:pt x="250" y="459"/>
                </a:moveTo>
                <a:cubicBezTo>
                  <a:pt x="251" y="458"/>
                  <a:pt x="248" y="460"/>
                  <a:pt x="250" y="459"/>
                </a:cubicBezTo>
                <a:close/>
                <a:moveTo>
                  <a:pt x="254" y="448"/>
                </a:moveTo>
                <a:cubicBezTo>
                  <a:pt x="254" y="447"/>
                  <a:pt x="254" y="450"/>
                  <a:pt x="254" y="448"/>
                </a:cubicBezTo>
                <a:close/>
                <a:moveTo>
                  <a:pt x="254" y="252"/>
                </a:moveTo>
                <a:cubicBezTo>
                  <a:pt x="255" y="252"/>
                  <a:pt x="254" y="253"/>
                  <a:pt x="254" y="254"/>
                </a:cubicBezTo>
                <a:cubicBezTo>
                  <a:pt x="253" y="255"/>
                  <a:pt x="253" y="252"/>
                  <a:pt x="254" y="252"/>
                </a:cubicBezTo>
                <a:close/>
                <a:moveTo>
                  <a:pt x="253" y="418"/>
                </a:moveTo>
                <a:cubicBezTo>
                  <a:pt x="254" y="416"/>
                  <a:pt x="255" y="417"/>
                  <a:pt x="253" y="418"/>
                </a:cubicBezTo>
                <a:close/>
                <a:moveTo>
                  <a:pt x="253" y="419"/>
                </a:moveTo>
                <a:cubicBezTo>
                  <a:pt x="253" y="421"/>
                  <a:pt x="252" y="419"/>
                  <a:pt x="253" y="419"/>
                </a:cubicBezTo>
                <a:close/>
                <a:moveTo>
                  <a:pt x="251" y="212"/>
                </a:moveTo>
                <a:cubicBezTo>
                  <a:pt x="252" y="213"/>
                  <a:pt x="251" y="213"/>
                  <a:pt x="251" y="214"/>
                </a:cubicBezTo>
                <a:cubicBezTo>
                  <a:pt x="250" y="214"/>
                  <a:pt x="251" y="213"/>
                  <a:pt x="251" y="212"/>
                </a:cubicBezTo>
                <a:close/>
                <a:moveTo>
                  <a:pt x="250" y="272"/>
                </a:moveTo>
                <a:cubicBezTo>
                  <a:pt x="250" y="273"/>
                  <a:pt x="250" y="273"/>
                  <a:pt x="249" y="274"/>
                </a:cubicBezTo>
                <a:cubicBezTo>
                  <a:pt x="248" y="275"/>
                  <a:pt x="250" y="272"/>
                  <a:pt x="250" y="272"/>
                </a:cubicBezTo>
                <a:close/>
                <a:moveTo>
                  <a:pt x="249" y="219"/>
                </a:moveTo>
                <a:cubicBezTo>
                  <a:pt x="248" y="218"/>
                  <a:pt x="250" y="217"/>
                  <a:pt x="249" y="219"/>
                </a:cubicBezTo>
                <a:close/>
                <a:moveTo>
                  <a:pt x="250" y="374"/>
                </a:moveTo>
                <a:cubicBezTo>
                  <a:pt x="250" y="374"/>
                  <a:pt x="250" y="376"/>
                  <a:pt x="249" y="376"/>
                </a:cubicBezTo>
                <a:cubicBezTo>
                  <a:pt x="248" y="377"/>
                  <a:pt x="248" y="374"/>
                  <a:pt x="250" y="374"/>
                </a:cubicBezTo>
                <a:close/>
                <a:moveTo>
                  <a:pt x="245" y="428"/>
                </a:moveTo>
                <a:cubicBezTo>
                  <a:pt x="246" y="428"/>
                  <a:pt x="245" y="428"/>
                  <a:pt x="245" y="429"/>
                </a:cubicBezTo>
                <a:cubicBezTo>
                  <a:pt x="244" y="430"/>
                  <a:pt x="244" y="427"/>
                  <a:pt x="245" y="428"/>
                </a:cubicBezTo>
                <a:close/>
                <a:moveTo>
                  <a:pt x="244" y="378"/>
                </a:moveTo>
                <a:cubicBezTo>
                  <a:pt x="245" y="378"/>
                  <a:pt x="244" y="379"/>
                  <a:pt x="243" y="379"/>
                </a:cubicBezTo>
                <a:cubicBezTo>
                  <a:pt x="243" y="378"/>
                  <a:pt x="244" y="378"/>
                  <a:pt x="244" y="378"/>
                </a:cubicBezTo>
                <a:close/>
                <a:moveTo>
                  <a:pt x="243" y="406"/>
                </a:moveTo>
                <a:cubicBezTo>
                  <a:pt x="246" y="408"/>
                  <a:pt x="243" y="412"/>
                  <a:pt x="242" y="413"/>
                </a:cubicBezTo>
                <a:cubicBezTo>
                  <a:pt x="237" y="414"/>
                  <a:pt x="239" y="404"/>
                  <a:pt x="243" y="406"/>
                </a:cubicBezTo>
                <a:close/>
                <a:moveTo>
                  <a:pt x="236" y="275"/>
                </a:moveTo>
                <a:cubicBezTo>
                  <a:pt x="237" y="275"/>
                  <a:pt x="237" y="277"/>
                  <a:pt x="236" y="278"/>
                </a:cubicBezTo>
                <a:cubicBezTo>
                  <a:pt x="235" y="279"/>
                  <a:pt x="235" y="275"/>
                  <a:pt x="236" y="275"/>
                </a:cubicBezTo>
                <a:close/>
                <a:moveTo>
                  <a:pt x="236" y="430"/>
                </a:moveTo>
                <a:cubicBezTo>
                  <a:pt x="235" y="431"/>
                  <a:pt x="235" y="429"/>
                  <a:pt x="236" y="429"/>
                </a:cubicBezTo>
                <a:cubicBezTo>
                  <a:pt x="237" y="429"/>
                  <a:pt x="236" y="430"/>
                  <a:pt x="236" y="430"/>
                </a:cubicBezTo>
                <a:close/>
                <a:moveTo>
                  <a:pt x="236" y="371"/>
                </a:moveTo>
                <a:cubicBezTo>
                  <a:pt x="237" y="370"/>
                  <a:pt x="235" y="372"/>
                  <a:pt x="236" y="371"/>
                </a:cubicBezTo>
                <a:close/>
                <a:moveTo>
                  <a:pt x="236" y="412"/>
                </a:moveTo>
                <a:cubicBezTo>
                  <a:pt x="237" y="413"/>
                  <a:pt x="235" y="414"/>
                  <a:pt x="235" y="415"/>
                </a:cubicBezTo>
                <a:cubicBezTo>
                  <a:pt x="234" y="416"/>
                  <a:pt x="235" y="411"/>
                  <a:pt x="236" y="412"/>
                </a:cubicBezTo>
                <a:close/>
                <a:moveTo>
                  <a:pt x="236" y="431"/>
                </a:moveTo>
                <a:cubicBezTo>
                  <a:pt x="240" y="431"/>
                  <a:pt x="238" y="437"/>
                  <a:pt x="234" y="438"/>
                </a:cubicBezTo>
                <a:cubicBezTo>
                  <a:pt x="233" y="438"/>
                  <a:pt x="230" y="438"/>
                  <a:pt x="231" y="435"/>
                </a:cubicBezTo>
                <a:cubicBezTo>
                  <a:pt x="231" y="433"/>
                  <a:pt x="232" y="434"/>
                  <a:pt x="234" y="433"/>
                </a:cubicBezTo>
                <a:cubicBezTo>
                  <a:pt x="234" y="432"/>
                  <a:pt x="234" y="431"/>
                  <a:pt x="236" y="431"/>
                </a:cubicBezTo>
                <a:close/>
                <a:moveTo>
                  <a:pt x="234" y="353"/>
                </a:moveTo>
                <a:cubicBezTo>
                  <a:pt x="232" y="355"/>
                  <a:pt x="235" y="352"/>
                  <a:pt x="234" y="353"/>
                </a:cubicBezTo>
                <a:close/>
                <a:moveTo>
                  <a:pt x="233" y="336"/>
                </a:moveTo>
                <a:cubicBezTo>
                  <a:pt x="233" y="336"/>
                  <a:pt x="233" y="337"/>
                  <a:pt x="232" y="337"/>
                </a:cubicBezTo>
                <a:cubicBezTo>
                  <a:pt x="231" y="338"/>
                  <a:pt x="232" y="335"/>
                  <a:pt x="233" y="336"/>
                </a:cubicBezTo>
                <a:close/>
                <a:moveTo>
                  <a:pt x="232" y="409"/>
                </a:moveTo>
                <a:cubicBezTo>
                  <a:pt x="232" y="409"/>
                  <a:pt x="232" y="409"/>
                  <a:pt x="232" y="409"/>
                </a:cubicBezTo>
                <a:cubicBezTo>
                  <a:pt x="230" y="410"/>
                  <a:pt x="233" y="407"/>
                  <a:pt x="232" y="409"/>
                </a:cubicBezTo>
                <a:close/>
                <a:moveTo>
                  <a:pt x="230" y="395"/>
                </a:moveTo>
                <a:cubicBezTo>
                  <a:pt x="231" y="394"/>
                  <a:pt x="231" y="395"/>
                  <a:pt x="231" y="395"/>
                </a:cubicBezTo>
                <a:cubicBezTo>
                  <a:pt x="231" y="395"/>
                  <a:pt x="230" y="395"/>
                  <a:pt x="230" y="395"/>
                </a:cubicBezTo>
                <a:close/>
                <a:moveTo>
                  <a:pt x="230" y="490"/>
                </a:moveTo>
                <a:cubicBezTo>
                  <a:pt x="230" y="490"/>
                  <a:pt x="230" y="490"/>
                  <a:pt x="230" y="490"/>
                </a:cubicBezTo>
                <a:cubicBezTo>
                  <a:pt x="230" y="490"/>
                  <a:pt x="231" y="489"/>
                  <a:pt x="230" y="490"/>
                </a:cubicBezTo>
                <a:close/>
                <a:moveTo>
                  <a:pt x="230" y="495"/>
                </a:moveTo>
                <a:cubicBezTo>
                  <a:pt x="230" y="498"/>
                  <a:pt x="226" y="498"/>
                  <a:pt x="225" y="501"/>
                </a:cubicBezTo>
                <a:cubicBezTo>
                  <a:pt x="225" y="498"/>
                  <a:pt x="228" y="496"/>
                  <a:pt x="230" y="495"/>
                </a:cubicBezTo>
                <a:close/>
                <a:moveTo>
                  <a:pt x="225" y="486"/>
                </a:moveTo>
                <a:cubicBezTo>
                  <a:pt x="226" y="485"/>
                  <a:pt x="227" y="487"/>
                  <a:pt x="225" y="486"/>
                </a:cubicBezTo>
                <a:close/>
                <a:moveTo>
                  <a:pt x="223" y="437"/>
                </a:moveTo>
                <a:cubicBezTo>
                  <a:pt x="222" y="438"/>
                  <a:pt x="223" y="435"/>
                  <a:pt x="223" y="435"/>
                </a:cubicBezTo>
                <a:cubicBezTo>
                  <a:pt x="224" y="436"/>
                  <a:pt x="223" y="437"/>
                  <a:pt x="223" y="437"/>
                </a:cubicBezTo>
                <a:close/>
                <a:moveTo>
                  <a:pt x="223" y="313"/>
                </a:moveTo>
                <a:cubicBezTo>
                  <a:pt x="224" y="313"/>
                  <a:pt x="223" y="315"/>
                  <a:pt x="223" y="316"/>
                </a:cubicBezTo>
                <a:cubicBezTo>
                  <a:pt x="219" y="317"/>
                  <a:pt x="220" y="312"/>
                  <a:pt x="223" y="313"/>
                </a:cubicBezTo>
                <a:close/>
                <a:moveTo>
                  <a:pt x="219" y="387"/>
                </a:moveTo>
                <a:cubicBezTo>
                  <a:pt x="219" y="389"/>
                  <a:pt x="220" y="388"/>
                  <a:pt x="220" y="389"/>
                </a:cubicBezTo>
                <a:cubicBezTo>
                  <a:pt x="222" y="391"/>
                  <a:pt x="219" y="394"/>
                  <a:pt x="218" y="392"/>
                </a:cubicBezTo>
                <a:cubicBezTo>
                  <a:pt x="216" y="391"/>
                  <a:pt x="218" y="389"/>
                  <a:pt x="219" y="387"/>
                </a:cubicBezTo>
                <a:close/>
                <a:moveTo>
                  <a:pt x="213" y="346"/>
                </a:moveTo>
                <a:cubicBezTo>
                  <a:pt x="213" y="348"/>
                  <a:pt x="211" y="346"/>
                  <a:pt x="213" y="346"/>
                </a:cubicBezTo>
                <a:close/>
                <a:moveTo>
                  <a:pt x="216" y="395"/>
                </a:moveTo>
                <a:cubicBezTo>
                  <a:pt x="215" y="395"/>
                  <a:pt x="215" y="396"/>
                  <a:pt x="215" y="396"/>
                </a:cubicBezTo>
                <a:cubicBezTo>
                  <a:pt x="214" y="396"/>
                  <a:pt x="215" y="394"/>
                  <a:pt x="216" y="395"/>
                </a:cubicBezTo>
                <a:close/>
                <a:moveTo>
                  <a:pt x="214" y="449"/>
                </a:moveTo>
                <a:cubicBezTo>
                  <a:pt x="214" y="450"/>
                  <a:pt x="215" y="447"/>
                  <a:pt x="214" y="449"/>
                </a:cubicBezTo>
                <a:close/>
                <a:moveTo>
                  <a:pt x="214" y="417"/>
                </a:moveTo>
                <a:cubicBezTo>
                  <a:pt x="215" y="418"/>
                  <a:pt x="213" y="419"/>
                  <a:pt x="214" y="417"/>
                </a:cubicBezTo>
                <a:close/>
                <a:moveTo>
                  <a:pt x="213" y="341"/>
                </a:moveTo>
                <a:cubicBezTo>
                  <a:pt x="213" y="343"/>
                  <a:pt x="211" y="341"/>
                  <a:pt x="213" y="341"/>
                </a:cubicBezTo>
                <a:close/>
                <a:moveTo>
                  <a:pt x="211" y="453"/>
                </a:moveTo>
                <a:cubicBezTo>
                  <a:pt x="211" y="454"/>
                  <a:pt x="210" y="451"/>
                  <a:pt x="211" y="451"/>
                </a:cubicBezTo>
                <a:cubicBezTo>
                  <a:pt x="211" y="451"/>
                  <a:pt x="212" y="452"/>
                  <a:pt x="211" y="453"/>
                </a:cubicBezTo>
                <a:close/>
                <a:moveTo>
                  <a:pt x="211" y="238"/>
                </a:moveTo>
                <a:cubicBezTo>
                  <a:pt x="211" y="238"/>
                  <a:pt x="211" y="238"/>
                  <a:pt x="211" y="238"/>
                </a:cubicBezTo>
                <a:cubicBezTo>
                  <a:pt x="211" y="238"/>
                  <a:pt x="212" y="237"/>
                  <a:pt x="211" y="238"/>
                </a:cubicBezTo>
                <a:close/>
                <a:moveTo>
                  <a:pt x="211" y="409"/>
                </a:moveTo>
                <a:cubicBezTo>
                  <a:pt x="210" y="408"/>
                  <a:pt x="212" y="408"/>
                  <a:pt x="211" y="409"/>
                </a:cubicBezTo>
                <a:close/>
                <a:moveTo>
                  <a:pt x="210" y="299"/>
                </a:moveTo>
                <a:cubicBezTo>
                  <a:pt x="210" y="299"/>
                  <a:pt x="210" y="299"/>
                  <a:pt x="210" y="298"/>
                </a:cubicBezTo>
                <a:cubicBezTo>
                  <a:pt x="210" y="299"/>
                  <a:pt x="209" y="299"/>
                  <a:pt x="209" y="299"/>
                </a:cubicBezTo>
                <a:cubicBezTo>
                  <a:pt x="209" y="299"/>
                  <a:pt x="210" y="299"/>
                  <a:pt x="210" y="299"/>
                </a:cubicBezTo>
                <a:close/>
                <a:moveTo>
                  <a:pt x="209" y="464"/>
                </a:moveTo>
                <a:cubicBezTo>
                  <a:pt x="209" y="465"/>
                  <a:pt x="209" y="462"/>
                  <a:pt x="209" y="464"/>
                </a:cubicBezTo>
                <a:close/>
                <a:moveTo>
                  <a:pt x="201" y="445"/>
                </a:moveTo>
                <a:cubicBezTo>
                  <a:pt x="200" y="446"/>
                  <a:pt x="200" y="443"/>
                  <a:pt x="201" y="443"/>
                </a:cubicBezTo>
                <a:cubicBezTo>
                  <a:pt x="202" y="443"/>
                  <a:pt x="201" y="444"/>
                  <a:pt x="201" y="445"/>
                </a:cubicBezTo>
                <a:close/>
                <a:moveTo>
                  <a:pt x="202" y="438"/>
                </a:moveTo>
                <a:cubicBezTo>
                  <a:pt x="201" y="438"/>
                  <a:pt x="202" y="437"/>
                  <a:pt x="203" y="437"/>
                </a:cubicBezTo>
                <a:cubicBezTo>
                  <a:pt x="203" y="437"/>
                  <a:pt x="203" y="438"/>
                  <a:pt x="202" y="438"/>
                </a:cubicBezTo>
                <a:close/>
                <a:moveTo>
                  <a:pt x="201" y="428"/>
                </a:moveTo>
                <a:cubicBezTo>
                  <a:pt x="201" y="430"/>
                  <a:pt x="201" y="435"/>
                  <a:pt x="199" y="435"/>
                </a:cubicBezTo>
                <a:cubicBezTo>
                  <a:pt x="198" y="436"/>
                  <a:pt x="197" y="436"/>
                  <a:pt x="197" y="434"/>
                </a:cubicBezTo>
                <a:cubicBezTo>
                  <a:pt x="198" y="432"/>
                  <a:pt x="203" y="423"/>
                  <a:pt x="203" y="423"/>
                </a:cubicBezTo>
                <a:cubicBezTo>
                  <a:pt x="205" y="424"/>
                  <a:pt x="202" y="427"/>
                  <a:pt x="201" y="428"/>
                </a:cubicBezTo>
                <a:close/>
                <a:moveTo>
                  <a:pt x="204" y="400"/>
                </a:moveTo>
                <a:cubicBezTo>
                  <a:pt x="202" y="401"/>
                  <a:pt x="203" y="398"/>
                  <a:pt x="204" y="399"/>
                </a:cubicBezTo>
                <a:cubicBezTo>
                  <a:pt x="204" y="399"/>
                  <a:pt x="204" y="400"/>
                  <a:pt x="204" y="400"/>
                </a:cubicBezTo>
                <a:close/>
                <a:moveTo>
                  <a:pt x="204" y="455"/>
                </a:moveTo>
                <a:cubicBezTo>
                  <a:pt x="204" y="455"/>
                  <a:pt x="206" y="455"/>
                  <a:pt x="205" y="456"/>
                </a:cubicBezTo>
                <a:cubicBezTo>
                  <a:pt x="205" y="457"/>
                  <a:pt x="204" y="456"/>
                  <a:pt x="204" y="455"/>
                </a:cubicBezTo>
                <a:close/>
                <a:moveTo>
                  <a:pt x="205" y="428"/>
                </a:moveTo>
                <a:cubicBezTo>
                  <a:pt x="206" y="428"/>
                  <a:pt x="206" y="429"/>
                  <a:pt x="205" y="430"/>
                </a:cubicBezTo>
                <a:cubicBezTo>
                  <a:pt x="204" y="430"/>
                  <a:pt x="205" y="428"/>
                  <a:pt x="205" y="428"/>
                </a:cubicBezTo>
                <a:close/>
                <a:moveTo>
                  <a:pt x="206" y="456"/>
                </a:moveTo>
                <a:cubicBezTo>
                  <a:pt x="207" y="456"/>
                  <a:pt x="206" y="457"/>
                  <a:pt x="206" y="457"/>
                </a:cubicBezTo>
                <a:cubicBezTo>
                  <a:pt x="205" y="457"/>
                  <a:pt x="206" y="456"/>
                  <a:pt x="206" y="456"/>
                </a:cubicBezTo>
                <a:close/>
                <a:moveTo>
                  <a:pt x="206" y="467"/>
                </a:moveTo>
                <a:cubicBezTo>
                  <a:pt x="207" y="468"/>
                  <a:pt x="205" y="469"/>
                  <a:pt x="206" y="467"/>
                </a:cubicBezTo>
                <a:close/>
                <a:moveTo>
                  <a:pt x="206" y="465"/>
                </a:moveTo>
                <a:cubicBezTo>
                  <a:pt x="206" y="465"/>
                  <a:pt x="208" y="465"/>
                  <a:pt x="208" y="465"/>
                </a:cubicBezTo>
                <a:cubicBezTo>
                  <a:pt x="208" y="466"/>
                  <a:pt x="205" y="466"/>
                  <a:pt x="206" y="465"/>
                </a:cubicBezTo>
                <a:close/>
                <a:moveTo>
                  <a:pt x="207" y="448"/>
                </a:moveTo>
                <a:cubicBezTo>
                  <a:pt x="208" y="447"/>
                  <a:pt x="208" y="448"/>
                  <a:pt x="208" y="449"/>
                </a:cubicBezTo>
                <a:cubicBezTo>
                  <a:pt x="208" y="450"/>
                  <a:pt x="207" y="448"/>
                  <a:pt x="207" y="448"/>
                </a:cubicBezTo>
                <a:close/>
                <a:moveTo>
                  <a:pt x="206" y="415"/>
                </a:moveTo>
                <a:cubicBezTo>
                  <a:pt x="205" y="416"/>
                  <a:pt x="207" y="413"/>
                  <a:pt x="206" y="415"/>
                </a:cubicBezTo>
                <a:close/>
                <a:moveTo>
                  <a:pt x="204" y="380"/>
                </a:moveTo>
                <a:cubicBezTo>
                  <a:pt x="206" y="379"/>
                  <a:pt x="207" y="384"/>
                  <a:pt x="205" y="385"/>
                </a:cubicBezTo>
                <a:cubicBezTo>
                  <a:pt x="202" y="386"/>
                  <a:pt x="202" y="381"/>
                  <a:pt x="204" y="380"/>
                </a:cubicBezTo>
                <a:close/>
                <a:moveTo>
                  <a:pt x="203" y="416"/>
                </a:moveTo>
                <a:cubicBezTo>
                  <a:pt x="203" y="417"/>
                  <a:pt x="203" y="417"/>
                  <a:pt x="202" y="418"/>
                </a:cubicBezTo>
                <a:cubicBezTo>
                  <a:pt x="201" y="419"/>
                  <a:pt x="202" y="416"/>
                  <a:pt x="203" y="416"/>
                </a:cubicBezTo>
                <a:close/>
                <a:moveTo>
                  <a:pt x="202" y="401"/>
                </a:moveTo>
                <a:cubicBezTo>
                  <a:pt x="202" y="402"/>
                  <a:pt x="201" y="403"/>
                  <a:pt x="201" y="403"/>
                </a:cubicBezTo>
                <a:cubicBezTo>
                  <a:pt x="200" y="404"/>
                  <a:pt x="201" y="401"/>
                  <a:pt x="202" y="401"/>
                </a:cubicBezTo>
                <a:close/>
                <a:moveTo>
                  <a:pt x="200" y="405"/>
                </a:moveTo>
                <a:cubicBezTo>
                  <a:pt x="200" y="406"/>
                  <a:pt x="200" y="406"/>
                  <a:pt x="199" y="407"/>
                </a:cubicBezTo>
                <a:cubicBezTo>
                  <a:pt x="199" y="407"/>
                  <a:pt x="199" y="405"/>
                  <a:pt x="200" y="405"/>
                </a:cubicBezTo>
                <a:close/>
                <a:moveTo>
                  <a:pt x="198" y="419"/>
                </a:moveTo>
                <a:cubicBezTo>
                  <a:pt x="197" y="421"/>
                  <a:pt x="198" y="418"/>
                  <a:pt x="198" y="418"/>
                </a:cubicBezTo>
                <a:cubicBezTo>
                  <a:pt x="198" y="418"/>
                  <a:pt x="198" y="419"/>
                  <a:pt x="198" y="419"/>
                </a:cubicBezTo>
                <a:close/>
                <a:moveTo>
                  <a:pt x="198" y="411"/>
                </a:moveTo>
                <a:cubicBezTo>
                  <a:pt x="198" y="413"/>
                  <a:pt x="197" y="415"/>
                  <a:pt x="196" y="416"/>
                </a:cubicBezTo>
                <a:cubicBezTo>
                  <a:pt x="195" y="415"/>
                  <a:pt x="197" y="412"/>
                  <a:pt x="198" y="411"/>
                </a:cubicBezTo>
                <a:close/>
                <a:moveTo>
                  <a:pt x="196" y="426"/>
                </a:moveTo>
                <a:cubicBezTo>
                  <a:pt x="196" y="426"/>
                  <a:pt x="196" y="427"/>
                  <a:pt x="195" y="427"/>
                </a:cubicBezTo>
                <a:cubicBezTo>
                  <a:pt x="194" y="428"/>
                  <a:pt x="195" y="426"/>
                  <a:pt x="196" y="426"/>
                </a:cubicBezTo>
                <a:close/>
                <a:moveTo>
                  <a:pt x="75" y="451"/>
                </a:moveTo>
                <a:cubicBezTo>
                  <a:pt x="74" y="451"/>
                  <a:pt x="74" y="449"/>
                  <a:pt x="75" y="449"/>
                </a:cubicBezTo>
                <a:cubicBezTo>
                  <a:pt x="75" y="450"/>
                  <a:pt x="75" y="450"/>
                  <a:pt x="75" y="451"/>
                </a:cubicBezTo>
                <a:close/>
                <a:moveTo>
                  <a:pt x="84" y="417"/>
                </a:moveTo>
                <a:cubicBezTo>
                  <a:pt x="86" y="416"/>
                  <a:pt x="89" y="422"/>
                  <a:pt x="86" y="423"/>
                </a:cubicBezTo>
                <a:cubicBezTo>
                  <a:pt x="82" y="425"/>
                  <a:pt x="82" y="417"/>
                  <a:pt x="84" y="417"/>
                </a:cubicBezTo>
                <a:close/>
                <a:moveTo>
                  <a:pt x="82" y="401"/>
                </a:moveTo>
                <a:cubicBezTo>
                  <a:pt x="82" y="402"/>
                  <a:pt x="83" y="398"/>
                  <a:pt x="82" y="401"/>
                </a:cubicBezTo>
                <a:close/>
                <a:moveTo>
                  <a:pt x="88" y="429"/>
                </a:moveTo>
                <a:cubicBezTo>
                  <a:pt x="88" y="428"/>
                  <a:pt x="88" y="428"/>
                  <a:pt x="88" y="427"/>
                </a:cubicBezTo>
                <a:cubicBezTo>
                  <a:pt x="87" y="427"/>
                  <a:pt x="86" y="427"/>
                  <a:pt x="87" y="426"/>
                </a:cubicBezTo>
                <a:cubicBezTo>
                  <a:pt x="87" y="426"/>
                  <a:pt x="87" y="426"/>
                  <a:pt x="88" y="426"/>
                </a:cubicBezTo>
                <a:cubicBezTo>
                  <a:pt x="88" y="423"/>
                  <a:pt x="90" y="418"/>
                  <a:pt x="90" y="418"/>
                </a:cubicBezTo>
                <a:cubicBezTo>
                  <a:pt x="91" y="419"/>
                  <a:pt x="88" y="426"/>
                  <a:pt x="88" y="429"/>
                </a:cubicBezTo>
                <a:close/>
                <a:moveTo>
                  <a:pt x="88" y="449"/>
                </a:moveTo>
                <a:cubicBezTo>
                  <a:pt x="87" y="449"/>
                  <a:pt x="89" y="448"/>
                  <a:pt x="88" y="449"/>
                </a:cubicBezTo>
                <a:close/>
                <a:moveTo>
                  <a:pt x="85" y="448"/>
                </a:moveTo>
                <a:cubicBezTo>
                  <a:pt x="84" y="450"/>
                  <a:pt x="84" y="446"/>
                  <a:pt x="85" y="446"/>
                </a:cubicBezTo>
                <a:cubicBezTo>
                  <a:pt x="86" y="447"/>
                  <a:pt x="86" y="448"/>
                  <a:pt x="85" y="448"/>
                </a:cubicBezTo>
                <a:close/>
                <a:moveTo>
                  <a:pt x="86" y="437"/>
                </a:moveTo>
                <a:cubicBezTo>
                  <a:pt x="83" y="434"/>
                  <a:pt x="90" y="436"/>
                  <a:pt x="86" y="437"/>
                </a:cubicBezTo>
                <a:cubicBezTo>
                  <a:pt x="86" y="437"/>
                  <a:pt x="86" y="438"/>
                  <a:pt x="86" y="437"/>
                </a:cubicBezTo>
                <a:close/>
                <a:moveTo>
                  <a:pt x="88" y="451"/>
                </a:moveTo>
                <a:cubicBezTo>
                  <a:pt x="88" y="451"/>
                  <a:pt x="88" y="452"/>
                  <a:pt x="88" y="452"/>
                </a:cubicBezTo>
                <a:cubicBezTo>
                  <a:pt x="87" y="453"/>
                  <a:pt x="87" y="451"/>
                  <a:pt x="88" y="451"/>
                </a:cubicBezTo>
                <a:close/>
                <a:moveTo>
                  <a:pt x="88" y="462"/>
                </a:moveTo>
                <a:cubicBezTo>
                  <a:pt x="88" y="460"/>
                  <a:pt x="86" y="457"/>
                  <a:pt x="89" y="457"/>
                </a:cubicBezTo>
                <a:cubicBezTo>
                  <a:pt x="93" y="456"/>
                  <a:pt x="88" y="463"/>
                  <a:pt x="88" y="462"/>
                </a:cubicBezTo>
                <a:close/>
                <a:moveTo>
                  <a:pt x="91" y="450"/>
                </a:moveTo>
                <a:cubicBezTo>
                  <a:pt x="90" y="451"/>
                  <a:pt x="90" y="450"/>
                  <a:pt x="90" y="449"/>
                </a:cubicBezTo>
                <a:cubicBezTo>
                  <a:pt x="90" y="449"/>
                  <a:pt x="91" y="450"/>
                  <a:pt x="91" y="450"/>
                </a:cubicBezTo>
                <a:close/>
                <a:moveTo>
                  <a:pt x="92" y="442"/>
                </a:moveTo>
                <a:cubicBezTo>
                  <a:pt x="91" y="443"/>
                  <a:pt x="89" y="440"/>
                  <a:pt x="90" y="440"/>
                </a:cubicBezTo>
                <a:cubicBezTo>
                  <a:pt x="91" y="439"/>
                  <a:pt x="93" y="441"/>
                  <a:pt x="92" y="442"/>
                </a:cubicBezTo>
                <a:close/>
                <a:moveTo>
                  <a:pt x="92" y="428"/>
                </a:moveTo>
                <a:cubicBezTo>
                  <a:pt x="93" y="429"/>
                  <a:pt x="93" y="430"/>
                  <a:pt x="93" y="431"/>
                </a:cubicBezTo>
                <a:cubicBezTo>
                  <a:pt x="91" y="432"/>
                  <a:pt x="91" y="428"/>
                  <a:pt x="92" y="428"/>
                </a:cubicBezTo>
                <a:close/>
                <a:moveTo>
                  <a:pt x="92" y="416"/>
                </a:moveTo>
                <a:cubicBezTo>
                  <a:pt x="93" y="416"/>
                  <a:pt x="93" y="417"/>
                  <a:pt x="93" y="417"/>
                </a:cubicBezTo>
                <a:cubicBezTo>
                  <a:pt x="92" y="418"/>
                  <a:pt x="92" y="416"/>
                  <a:pt x="92" y="416"/>
                </a:cubicBezTo>
                <a:close/>
                <a:moveTo>
                  <a:pt x="97" y="465"/>
                </a:moveTo>
                <a:cubicBezTo>
                  <a:pt x="96" y="466"/>
                  <a:pt x="96" y="463"/>
                  <a:pt x="97" y="463"/>
                </a:cubicBezTo>
                <a:cubicBezTo>
                  <a:pt x="98" y="463"/>
                  <a:pt x="98" y="465"/>
                  <a:pt x="97" y="465"/>
                </a:cubicBezTo>
                <a:close/>
                <a:moveTo>
                  <a:pt x="95" y="461"/>
                </a:moveTo>
                <a:cubicBezTo>
                  <a:pt x="96" y="462"/>
                  <a:pt x="99" y="462"/>
                  <a:pt x="96" y="463"/>
                </a:cubicBezTo>
                <a:cubicBezTo>
                  <a:pt x="95" y="463"/>
                  <a:pt x="94" y="463"/>
                  <a:pt x="93" y="462"/>
                </a:cubicBezTo>
                <a:cubicBezTo>
                  <a:pt x="93" y="462"/>
                  <a:pt x="94" y="459"/>
                  <a:pt x="94" y="460"/>
                </a:cubicBezTo>
                <a:cubicBezTo>
                  <a:pt x="96" y="458"/>
                  <a:pt x="95" y="461"/>
                  <a:pt x="95" y="461"/>
                </a:cubicBezTo>
                <a:close/>
                <a:moveTo>
                  <a:pt x="103" y="430"/>
                </a:moveTo>
                <a:cubicBezTo>
                  <a:pt x="104" y="431"/>
                  <a:pt x="101" y="432"/>
                  <a:pt x="103" y="430"/>
                </a:cubicBezTo>
                <a:close/>
                <a:moveTo>
                  <a:pt x="107" y="428"/>
                </a:moveTo>
                <a:cubicBezTo>
                  <a:pt x="106" y="429"/>
                  <a:pt x="105" y="426"/>
                  <a:pt x="107" y="427"/>
                </a:cubicBezTo>
                <a:cubicBezTo>
                  <a:pt x="108" y="427"/>
                  <a:pt x="107" y="428"/>
                  <a:pt x="107" y="428"/>
                </a:cubicBezTo>
                <a:close/>
                <a:moveTo>
                  <a:pt x="112" y="444"/>
                </a:moveTo>
                <a:cubicBezTo>
                  <a:pt x="111" y="442"/>
                  <a:pt x="112" y="441"/>
                  <a:pt x="112" y="444"/>
                </a:cubicBezTo>
                <a:close/>
                <a:moveTo>
                  <a:pt x="113" y="428"/>
                </a:moveTo>
                <a:cubicBezTo>
                  <a:pt x="112" y="429"/>
                  <a:pt x="112" y="426"/>
                  <a:pt x="113" y="427"/>
                </a:cubicBezTo>
                <a:cubicBezTo>
                  <a:pt x="113" y="427"/>
                  <a:pt x="113" y="428"/>
                  <a:pt x="113" y="428"/>
                </a:cubicBezTo>
                <a:close/>
                <a:moveTo>
                  <a:pt x="114" y="420"/>
                </a:moveTo>
                <a:cubicBezTo>
                  <a:pt x="112" y="420"/>
                  <a:pt x="113" y="419"/>
                  <a:pt x="112" y="418"/>
                </a:cubicBezTo>
                <a:cubicBezTo>
                  <a:pt x="111" y="418"/>
                  <a:pt x="111" y="419"/>
                  <a:pt x="110" y="419"/>
                </a:cubicBezTo>
                <a:cubicBezTo>
                  <a:pt x="109" y="417"/>
                  <a:pt x="108" y="407"/>
                  <a:pt x="111" y="406"/>
                </a:cubicBezTo>
                <a:cubicBezTo>
                  <a:pt x="111" y="406"/>
                  <a:pt x="113" y="408"/>
                  <a:pt x="114" y="406"/>
                </a:cubicBezTo>
                <a:cubicBezTo>
                  <a:pt x="114" y="404"/>
                  <a:pt x="117" y="415"/>
                  <a:pt x="117" y="418"/>
                </a:cubicBezTo>
                <a:cubicBezTo>
                  <a:pt x="115" y="416"/>
                  <a:pt x="114" y="420"/>
                  <a:pt x="114" y="420"/>
                </a:cubicBezTo>
                <a:close/>
                <a:moveTo>
                  <a:pt x="108" y="393"/>
                </a:moveTo>
                <a:cubicBezTo>
                  <a:pt x="110" y="393"/>
                  <a:pt x="112" y="398"/>
                  <a:pt x="109" y="399"/>
                </a:cubicBezTo>
                <a:cubicBezTo>
                  <a:pt x="106" y="401"/>
                  <a:pt x="106" y="394"/>
                  <a:pt x="108" y="393"/>
                </a:cubicBezTo>
                <a:close/>
                <a:moveTo>
                  <a:pt x="113" y="402"/>
                </a:moveTo>
                <a:cubicBezTo>
                  <a:pt x="112" y="403"/>
                  <a:pt x="112" y="405"/>
                  <a:pt x="111" y="406"/>
                </a:cubicBezTo>
                <a:cubicBezTo>
                  <a:pt x="110" y="405"/>
                  <a:pt x="111" y="402"/>
                  <a:pt x="113" y="402"/>
                </a:cubicBezTo>
                <a:close/>
                <a:moveTo>
                  <a:pt x="112" y="359"/>
                </a:moveTo>
                <a:cubicBezTo>
                  <a:pt x="110" y="359"/>
                  <a:pt x="113" y="358"/>
                  <a:pt x="112" y="359"/>
                </a:cubicBezTo>
                <a:close/>
                <a:moveTo>
                  <a:pt x="115" y="382"/>
                </a:moveTo>
                <a:cubicBezTo>
                  <a:pt x="115" y="382"/>
                  <a:pt x="117" y="385"/>
                  <a:pt x="116" y="386"/>
                </a:cubicBezTo>
                <a:cubicBezTo>
                  <a:pt x="116" y="389"/>
                  <a:pt x="113" y="387"/>
                  <a:pt x="114" y="390"/>
                </a:cubicBezTo>
                <a:cubicBezTo>
                  <a:pt x="113" y="390"/>
                  <a:pt x="113" y="390"/>
                  <a:pt x="113" y="390"/>
                </a:cubicBezTo>
                <a:cubicBezTo>
                  <a:pt x="113" y="387"/>
                  <a:pt x="111" y="381"/>
                  <a:pt x="115" y="382"/>
                </a:cubicBezTo>
                <a:close/>
                <a:moveTo>
                  <a:pt x="113" y="361"/>
                </a:moveTo>
                <a:cubicBezTo>
                  <a:pt x="114" y="362"/>
                  <a:pt x="112" y="363"/>
                  <a:pt x="113" y="361"/>
                </a:cubicBezTo>
                <a:close/>
                <a:moveTo>
                  <a:pt x="117" y="394"/>
                </a:moveTo>
                <a:cubicBezTo>
                  <a:pt x="116" y="395"/>
                  <a:pt x="116" y="393"/>
                  <a:pt x="116" y="393"/>
                </a:cubicBezTo>
                <a:cubicBezTo>
                  <a:pt x="117" y="392"/>
                  <a:pt x="117" y="394"/>
                  <a:pt x="117" y="394"/>
                </a:cubicBezTo>
                <a:close/>
                <a:moveTo>
                  <a:pt x="115" y="440"/>
                </a:moveTo>
                <a:cubicBezTo>
                  <a:pt x="114" y="439"/>
                  <a:pt x="116" y="439"/>
                  <a:pt x="115" y="440"/>
                </a:cubicBezTo>
                <a:close/>
                <a:moveTo>
                  <a:pt x="117" y="429"/>
                </a:moveTo>
                <a:cubicBezTo>
                  <a:pt x="116" y="430"/>
                  <a:pt x="115" y="424"/>
                  <a:pt x="116" y="423"/>
                </a:cubicBezTo>
                <a:cubicBezTo>
                  <a:pt x="117" y="424"/>
                  <a:pt x="118" y="429"/>
                  <a:pt x="117" y="429"/>
                </a:cubicBezTo>
                <a:close/>
                <a:moveTo>
                  <a:pt x="122" y="437"/>
                </a:moveTo>
                <a:cubicBezTo>
                  <a:pt x="121" y="438"/>
                  <a:pt x="123" y="435"/>
                  <a:pt x="122" y="437"/>
                </a:cubicBezTo>
                <a:close/>
                <a:moveTo>
                  <a:pt x="121" y="400"/>
                </a:moveTo>
                <a:cubicBezTo>
                  <a:pt x="122" y="400"/>
                  <a:pt x="123" y="405"/>
                  <a:pt x="122" y="406"/>
                </a:cubicBezTo>
                <a:cubicBezTo>
                  <a:pt x="119" y="407"/>
                  <a:pt x="121" y="400"/>
                  <a:pt x="121" y="400"/>
                </a:cubicBezTo>
                <a:close/>
                <a:moveTo>
                  <a:pt x="124" y="434"/>
                </a:moveTo>
                <a:cubicBezTo>
                  <a:pt x="124" y="432"/>
                  <a:pt x="124" y="436"/>
                  <a:pt x="124" y="434"/>
                </a:cubicBezTo>
                <a:close/>
                <a:moveTo>
                  <a:pt x="124" y="420"/>
                </a:moveTo>
                <a:cubicBezTo>
                  <a:pt x="123" y="418"/>
                  <a:pt x="124" y="417"/>
                  <a:pt x="122" y="417"/>
                </a:cubicBezTo>
                <a:cubicBezTo>
                  <a:pt x="124" y="417"/>
                  <a:pt x="124" y="408"/>
                  <a:pt x="127" y="412"/>
                </a:cubicBezTo>
                <a:cubicBezTo>
                  <a:pt x="128" y="413"/>
                  <a:pt x="128" y="416"/>
                  <a:pt x="127" y="416"/>
                </a:cubicBezTo>
                <a:cubicBezTo>
                  <a:pt x="125" y="417"/>
                  <a:pt x="124" y="415"/>
                  <a:pt x="124" y="420"/>
                </a:cubicBezTo>
                <a:close/>
                <a:moveTo>
                  <a:pt x="125" y="428"/>
                </a:moveTo>
                <a:cubicBezTo>
                  <a:pt x="125" y="430"/>
                  <a:pt x="124" y="426"/>
                  <a:pt x="125" y="427"/>
                </a:cubicBezTo>
                <a:cubicBezTo>
                  <a:pt x="125" y="427"/>
                  <a:pt x="125" y="428"/>
                  <a:pt x="125" y="428"/>
                </a:cubicBezTo>
                <a:close/>
                <a:moveTo>
                  <a:pt x="128" y="431"/>
                </a:moveTo>
                <a:cubicBezTo>
                  <a:pt x="127" y="433"/>
                  <a:pt x="128" y="440"/>
                  <a:pt x="126" y="440"/>
                </a:cubicBezTo>
                <a:cubicBezTo>
                  <a:pt x="127" y="437"/>
                  <a:pt x="126" y="433"/>
                  <a:pt x="127" y="429"/>
                </a:cubicBezTo>
                <a:cubicBezTo>
                  <a:pt x="128" y="425"/>
                  <a:pt x="128" y="429"/>
                  <a:pt x="128" y="431"/>
                </a:cubicBezTo>
                <a:close/>
                <a:moveTo>
                  <a:pt x="128" y="426"/>
                </a:moveTo>
                <a:cubicBezTo>
                  <a:pt x="129" y="425"/>
                  <a:pt x="128" y="422"/>
                  <a:pt x="129" y="421"/>
                </a:cubicBezTo>
                <a:cubicBezTo>
                  <a:pt x="129" y="423"/>
                  <a:pt x="129" y="425"/>
                  <a:pt x="128" y="426"/>
                </a:cubicBezTo>
                <a:close/>
                <a:moveTo>
                  <a:pt x="129" y="421"/>
                </a:moveTo>
                <a:cubicBezTo>
                  <a:pt x="128" y="420"/>
                  <a:pt x="129" y="418"/>
                  <a:pt x="130" y="417"/>
                </a:cubicBezTo>
                <a:cubicBezTo>
                  <a:pt x="130" y="418"/>
                  <a:pt x="129" y="420"/>
                  <a:pt x="129" y="421"/>
                </a:cubicBezTo>
                <a:close/>
                <a:moveTo>
                  <a:pt x="130" y="416"/>
                </a:moveTo>
                <a:cubicBezTo>
                  <a:pt x="130" y="417"/>
                  <a:pt x="129" y="415"/>
                  <a:pt x="130" y="415"/>
                </a:cubicBezTo>
                <a:cubicBezTo>
                  <a:pt x="130" y="414"/>
                  <a:pt x="131" y="415"/>
                  <a:pt x="130" y="416"/>
                </a:cubicBezTo>
                <a:close/>
                <a:moveTo>
                  <a:pt x="129" y="392"/>
                </a:moveTo>
                <a:cubicBezTo>
                  <a:pt x="127" y="393"/>
                  <a:pt x="127" y="398"/>
                  <a:pt x="126" y="400"/>
                </a:cubicBezTo>
                <a:cubicBezTo>
                  <a:pt x="125" y="404"/>
                  <a:pt x="124" y="407"/>
                  <a:pt x="122" y="410"/>
                </a:cubicBezTo>
                <a:cubicBezTo>
                  <a:pt x="121" y="405"/>
                  <a:pt x="128" y="396"/>
                  <a:pt x="128" y="391"/>
                </a:cubicBezTo>
                <a:cubicBezTo>
                  <a:pt x="128" y="387"/>
                  <a:pt x="126" y="384"/>
                  <a:pt x="132" y="383"/>
                </a:cubicBezTo>
                <a:cubicBezTo>
                  <a:pt x="131" y="386"/>
                  <a:pt x="135" y="390"/>
                  <a:pt x="131" y="392"/>
                </a:cubicBezTo>
                <a:cubicBezTo>
                  <a:pt x="131" y="392"/>
                  <a:pt x="129" y="391"/>
                  <a:pt x="129" y="392"/>
                </a:cubicBezTo>
                <a:close/>
                <a:moveTo>
                  <a:pt x="124" y="396"/>
                </a:moveTo>
                <a:cubicBezTo>
                  <a:pt x="125" y="396"/>
                  <a:pt x="124" y="398"/>
                  <a:pt x="124" y="398"/>
                </a:cubicBezTo>
                <a:cubicBezTo>
                  <a:pt x="124" y="398"/>
                  <a:pt x="124" y="397"/>
                  <a:pt x="124" y="396"/>
                </a:cubicBezTo>
                <a:close/>
                <a:moveTo>
                  <a:pt x="125" y="394"/>
                </a:moveTo>
                <a:cubicBezTo>
                  <a:pt x="125" y="395"/>
                  <a:pt x="125" y="395"/>
                  <a:pt x="125" y="395"/>
                </a:cubicBezTo>
                <a:cubicBezTo>
                  <a:pt x="125" y="396"/>
                  <a:pt x="125" y="395"/>
                  <a:pt x="125" y="394"/>
                </a:cubicBezTo>
                <a:close/>
                <a:moveTo>
                  <a:pt x="132" y="409"/>
                </a:moveTo>
                <a:cubicBezTo>
                  <a:pt x="133" y="408"/>
                  <a:pt x="136" y="412"/>
                  <a:pt x="133" y="412"/>
                </a:cubicBezTo>
                <a:cubicBezTo>
                  <a:pt x="132" y="413"/>
                  <a:pt x="130" y="410"/>
                  <a:pt x="132" y="409"/>
                </a:cubicBezTo>
                <a:close/>
                <a:moveTo>
                  <a:pt x="133" y="420"/>
                </a:moveTo>
                <a:cubicBezTo>
                  <a:pt x="134" y="422"/>
                  <a:pt x="131" y="422"/>
                  <a:pt x="133" y="420"/>
                </a:cubicBezTo>
                <a:close/>
                <a:moveTo>
                  <a:pt x="133" y="456"/>
                </a:moveTo>
                <a:cubicBezTo>
                  <a:pt x="134" y="455"/>
                  <a:pt x="135" y="459"/>
                  <a:pt x="135" y="460"/>
                </a:cubicBezTo>
                <a:cubicBezTo>
                  <a:pt x="134" y="461"/>
                  <a:pt x="132" y="456"/>
                  <a:pt x="133" y="456"/>
                </a:cubicBezTo>
                <a:close/>
                <a:moveTo>
                  <a:pt x="135" y="433"/>
                </a:moveTo>
                <a:cubicBezTo>
                  <a:pt x="135" y="433"/>
                  <a:pt x="136" y="433"/>
                  <a:pt x="135" y="433"/>
                </a:cubicBezTo>
                <a:cubicBezTo>
                  <a:pt x="133" y="433"/>
                  <a:pt x="137" y="431"/>
                  <a:pt x="135" y="433"/>
                </a:cubicBezTo>
                <a:close/>
                <a:moveTo>
                  <a:pt x="136" y="461"/>
                </a:moveTo>
                <a:cubicBezTo>
                  <a:pt x="134" y="461"/>
                  <a:pt x="137" y="460"/>
                  <a:pt x="136" y="461"/>
                </a:cubicBezTo>
                <a:close/>
                <a:moveTo>
                  <a:pt x="140" y="485"/>
                </a:moveTo>
                <a:cubicBezTo>
                  <a:pt x="138" y="486"/>
                  <a:pt x="139" y="481"/>
                  <a:pt x="141" y="482"/>
                </a:cubicBezTo>
                <a:cubicBezTo>
                  <a:pt x="141" y="483"/>
                  <a:pt x="141" y="484"/>
                  <a:pt x="140" y="485"/>
                </a:cubicBezTo>
                <a:close/>
                <a:moveTo>
                  <a:pt x="139" y="447"/>
                </a:moveTo>
                <a:cubicBezTo>
                  <a:pt x="140" y="447"/>
                  <a:pt x="140" y="447"/>
                  <a:pt x="140" y="447"/>
                </a:cubicBezTo>
                <a:cubicBezTo>
                  <a:pt x="141" y="448"/>
                  <a:pt x="139" y="448"/>
                  <a:pt x="139" y="447"/>
                </a:cubicBezTo>
                <a:close/>
                <a:moveTo>
                  <a:pt x="143" y="469"/>
                </a:moveTo>
                <a:cubicBezTo>
                  <a:pt x="143" y="469"/>
                  <a:pt x="142" y="470"/>
                  <a:pt x="142" y="470"/>
                </a:cubicBezTo>
                <a:cubicBezTo>
                  <a:pt x="141" y="469"/>
                  <a:pt x="143" y="469"/>
                  <a:pt x="143" y="469"/>
                </a:cubicBezTo>
                <a:close/>
                <a:moveTo>
                  <a:pt x="143" y="464"/>
                </a:moveTo>
                <a:cubicBezTo>
                  <a:pt x="141" y="466"/>
                  <a:pt x="140" y="460"/>
                  <a:pt x="142" y="461"/>
                </a:cubicBezTo>
                <a:cubicBezTo>
                  <a:pt x="144" y="461"/>
                  <a:pt x="143" y="464"/>
                  <a:pt x="143" y="464"/>
                </a:cubicBezTo>
                <a:close/>
                <a:moveTo>
                  <a:pt x="145" y="481"/>
                </a:moveTo>
                <a:cubicBezTo>
                  <a:pt x="144" y="483"/>
                  <a:pt x="143" y="479"/>
                  <a:pt x="144" y="479"/>
                </a:cubicBezTo>
                <a:cubicBezTo>
                  <a:pt x="144" y="479"/>
                  <a:pt x="145" y="479"/>
                  <a:pt x="145" y="481"/>
                </a:cubicBezTo>
                <a:close/>
                <a:moveTo>
                  <a:pt x="147" y="486"/>
                </a:moveTo>
                <a:cubicBezTo>
                  <a:pt x="147" y="486"/>
                  <a:pt x="147" y="486"/>
                  <a:pt x="147" y="486"/>
                </a:cubicBezTo>
                <a:cubicBezTo>
                  <a:pt x="147" y="486"/>
                  <a:pt x="147" y="486"/>
                  <a:pt x="147" y="486"/>
                </a:cubicBezTo>
                <a:cubicBezTo>
                  <a:pt x="147" y="486"/>
                  <a:pt x="147" y="486"/>
                  <a:pt x="147" y="486"/>
                </a:cubicBezTo>
                <a:close/>
                <a:moveTo>
                  <a:pt x="147" y="483"/>
                </a:moveTo>
                <a:cubicBezTo>
                  <a:pt x="145" y="484"/>
                  <a:pt x="145" y="480"/>
                  <a:pt x="147" y="481"/>
                </a:cubicBezTo>
                <a:cubicBezTo>
                  <a:pt x="148" y="481"/>
                  <a:pt x="147" y="483"/>
                  <a:pt x="147" y="483"/>
                </a:cubicBezTo>
                <a:close/>
                <a:moveTo>
                  <a:pt x="148" y="479"/>
                </a:moveTo>
                <a:cubicBezTo>
                  <a:pt x="147" y="480"/>
                  <a:pt x="146" y="478"/>
                  <a:pt x="147" y="478"/>
                </a:cubicBezTo>
                <a:cubicBezTo>
                  <a:pt x="147" y="478"/>
                  <a:pt x="148" y="479"/>
                  <a:pt x="148" y="479"/>
                </a:cubicBezTo>
                <a:close/>
                <a:moveTo>
                  <a:pt x="151" y="479"/>
                </a:moveTo>
                <a:cubicBezTo>
                  <a:pt x="151" y="479"/>
                  <a:pt x="148" y="478"/>
                  <a:pt x="147" y="478"/>
                </a:cubicBezTo>
                <a:cubicBezTo>
                  <a:pt x="146" y="473"/>
                  <a:pt x="153" y="476"/>
                  <a:pt x="151" y="479"/>
                </a:cubicBezTo>
                <a:close/>
                <a:moveTo>
                  <a:pt x="149" y="487"/>
                </a:moveTo>
                <a:cubicBezTo>
                  <a:pt x="148" y="486"/>
                  <a:pt x="147" y="482"/>
                  <a:pt x="150" y="484"/>
                </a:cubicBezTo>
                <a:cubicBezTo>
                  <a:pt x="148" y="481"/>
                  <a:pt x="152" y="481"/>
                  <a:pt x="151" y="484"/>
                </a:cubicBezTo>
                <a:cubicBezTo>
                  <a:pt x="151" y="484"/>
                  <a:pt x="149" y="487"/>
                  <a:pt x="149" y="487"/>
                </a:cubicBezTo>
                <a:close/>
                <a:moveTo>
                  <a:pt x="151" y="488"/>
                </a:moveTo>
                <a:cubicBezTo>
                  <a:pt x="151" y="488"/>
                  <a:pt x="151" y="488"/>
                  <a:pt x="151" y="488"/>
                </a:cubicBezTo>
                <a:cubicBezTo>
                  <a:pt x="151" y="488"/>
                  <a:pt x="151" y="488"/>
                  <a:pt x="152" y="487"/>
                </a:cubicBezTo>
                <a:cubicBezTo>
                  <a:pt x="152" y="487"/>
                  <a:pt x="152" y="487"/>
                  <a:pt x="151" y="488"/>
                </a:cubicBezTo>
                <a:close/>
                <a:moveTo>
                  <a:pt x="153" y="489"/>
                </a:moveTo>
                <a:cubicBezTo>
                  <a:pt x="153" y="489"/>
                  <a:pt x="153" y="488"/>
                  <a:pt x="153" y="488"/>
                </a:cubicBezTo>
                <a:cubicBezTo>
                  <a:pt x="153" y="489"/>
                  <a:pt x="152" y="489"/>
                  <a:pt x="153" y="489"/>
                </a:cubicBezTo>
                <a:close/>
                <a:moveTo>
                  <a:pt x="153" y="459"/>
                </a:moveTo>
                <a:cubicBezTo>
                  <a:pt x="152" y="459"/>
                  <a:pt x="144" y="455"/>
                  <a:pt x="145" y="452"/>
                </a:cubicBezTo>
                <a:cubicBezTo>
                  <a:pt x="145" y="451"/>
                  <a:pt x="146" y="452"/>
                  <a:pt x="146" y="451"/>
                </a:cubicBezTo>
                <a:cubicBezTo>
                  <a:pt x="147" y="449"/>
                  <a:pt x="145" y="449"/>
                  <a:pt x="145" y="447"/>
                </a:cubicBezTo>
                <a:cubicBezTo>
                  <a:pt x="149" y="452"/>
                  <a:pt x="148" y="440"/>
                  <a:pt x="152" y="443"/>
                </a:cubicBezTo>
                <a:cubicBezTo>
                  <a:pt x="154" y="444"/>
                  <a:pt x="152" y="448"/>
                  <a:pt x="155" y="446"/>
                </a:cubicBezTo>
                <a:cubicBezTo>
                  <a:pt x="152" y="448"/>
                  <a:pt x="158" y="450"/>
                  <a:pt x="157" y="454"/>
                </a:cubicBezTo>
                <a:cubicBezTo>
                  <a:pt x="157" y="457"/>
                  <a:pt x="155" y="459"/>
                  <a:pt x="153" y="459"/>
                </a:cubicBezTo>
                <a:close/>
                <a:moveTo>
                  <a:pt x="152" y="394"/>
                </a:moveTo>
                <a:cubicBezTo>
                  <a:pt x="150" y="396"/>
                  <a:pt x="150" y="391"/>
                  <a:pt x="151" y="391"/>
                </a:cubicBezTo>
                <a:cubicBezTo>
                  <a:pt x="152" y="391"/>
                  <a:pt x="152" y="394"/>
                  <a:pt x="152" y="394"/>
                </a:cubicBezTo>
                <a:close/>
                <a:moveTo>
                  <a:pt x="153" y="410"/>
                </a:moveTo>
                <a:cubicBezTo>
                  <a:pt x="153" y="411"/>
                  <a:pt x="153" y="411"/>
                  <a:pt x="153" y="411"/>
                </a:cubicBezTo>
                <a:cubicBezTo>
                  <a:pt x="151" y="412"/>
                  <a:pt x="152" y="410"/>
                  <a:pt x="153" y="410"/>
                </a:cubicBezTo>
                <a:close/>
                <a:moveTo>
                  <a:pt x="151" y="434"/>
                </a:moveTo>
                <a:cubicBezTo>
                  <a:pt x="150" y="435"/>
                  <a:pt x="148" y="434"/>
                  <a:pt x="149" y="432"/>
                </a:cubicBezTo>
                <a:cubicBezTo>
                  <a:pt x="150" y="432"/>
                  <a:pt x="153" y="433"/>
                  <a:pt x="151" y="434"/>
                </a:cubicBezTo>
                <a:close/>
                <a:moveTo>
                  <a:pt x="149" y="411"/>
                </a:moveTo>
                <a:cubicBezTo>
                  <a:pt x="148" y="413"/>
                  <a:pt x="148" y="428"/>
                  <a:pt x="146" y="429"/>
                </a:cubicBezTo>
                <a:cubicBezTo>
                  <a:pt x="144" y="430"/>
                  <a:pt x="145" y="425"/>
                  <a:pt x="145" y="424"/>
                </a:cubicBezTo>
                <a:cubicBezTo>
                  <a:pt x="146" y="422"/>
                  <a:pt x="148" y="407"/>
                  <a:pt x="149" y="406"/>
                </a:cubicBezTo>
                <a:cubicBezTo>
                  <a:pt x="151" y="405"/>
                  <a:pt x="149" y="411"/>
                  <a:pt x="149" y="411"/>
                </a:cubicBezTo>
                <a:close/>
                <a:moveTo>
                  <a:pt x="154" y="385"/>
                </a:moveTo>
                <a:cubicBezTo>
                  <a:pt x="153" y="386"/>
                  <a:pt x="153" y="385"/>
                  <a:pt x="154" y="384"/>
                </a:cubicBezTo>
                <a:cubicBezTo>
                  <a:pt x="154" y="384"/>
                  <a:pt x="154" y="385"/>
                  <a:pt x="154" y="385"/>
                </a:cubicBezTo>
                <a:close/>
                <a:moveTo>
                  <a:pt x="155" y="440"/>
                </a:moveTo>
                <a:cubicBezTo>
                  <a:pt x="156" y="441"/>
                  <a:pt x="155" y="441"/>
                  <a:pt x="155" y="442"/>
                </a:cubicBezTo>
                <a:cubicBezTo>
                  <a:pt x="153" y="443"/>
                  <a:pt x="154" y="439"/>
                  <a:pt x="155" y="440"/>
                </a:cubicBezTo>
                <a:close/>
                <a:moveTo>
                  <a:pt x="160" y="417"/>
                </a:moveTo>
                <a:cubicBezTo>
                  <a:pt x="160" y="417"/>
                  <a:pt x="158" y="417"/>
                  <a:pt x="159" y="415"/>
                </a:cubicBezTo>
                <a:cubicBezTo>
                  <a:pt x="161" y="419"/>
                  <a:pt x="164" y="409"/>
                  <a:pt x="165" y="414"/>
                </a:cubicBezTo>
                <a:cubicBezTo>
                  <a:pt x="166" y="416"/>
                  <a:pt x="168" y="419"/>
                  <a:pt x="167" y="421"/>
                </a:cubicBezTo>
                <a:cubicBezTo>
                  <a:pt x="166" y="422"/>
                  <a:pt x="163" y="423"/>
                  <a:pt x="163" y="423"/>
                </a:cubicBezTo>
                <a:cubicBezTo>
                  <a:pt x="163" y="425"/>
                  <a:pt x="165" y="427"/>
                  <a:pt x="163" y="428"/>
                </a:cubicBezTo>
                <a:cubicBezTo>
                  <a:pt x="160" y="430"/>
                  <a:pt x="158" y="427"/>
                  <a:pt x="158" y="427"/>
                </a:cubicBezTo>
                <a:cubicBezTo>
                  <a:pt x="157" y="424"/>
                  <a:pt x="162" y="421"/>
                  <a:pt x="160" y="417"/>
                </a:cubicBezTo>
                <a:close/>
                <a:moveTo>
                  <a:pt x="160" y="402"/>
                </a:moveTo>
                <a:cubicBezTo>
                  <a:pt x="161" y="406"/>
                  <a:pt x="158" y="404"/>
                  <a:pt x="160" y="402"/>
                </a:cubicBezTo>
                <a:close/>
                <a:moveTo>
                  <a:pt x="161" y="383"/>
                </a:moveTo>
                <a:cubicBezTo>
                  <a:pt x="162" y="384"/>
                  <a:pt x="161" y="387"/>
                  <a:pt x="160" y="387"/>
                </a:cubicBezTo>
                <a:cubicBezTo>
                  <a:pt x="159" y="388"/>
                  <a:pt x="160" y="383"/>
                  <a:pt x="161" y="383"/>
                </a:cubicBezTo>
                <a:close/>
                <a:moveTo>
                  <a:pt x="166" y="387"/>
                </a:moveTo>
                <a:cubicBezTo>
                  <a:pt x="166" y="387"/>
                  <a:pt x="165" y="387"/>
                  <a:pt x="165" y="387"/>
                </a:cubicBezTo>
                <a:cubicBezTo>
                  <a:pt x="164" y="386"/>
                  <a:pt x="166" y="386"/>
                  <a:pt x="166" y="387"/>
                </a:cubicBezTo>
                <a:close/>
                <a:moveTo>
                  <a:pt x="167" y="395"/>
                </a:moveTo>
                <a:cubicBezTo>
                  <a:pt x="169" y="395"/>
                  <a:pt x="168" y="398"/>
                  <a:pt x="167" y="398"/>
                </a:cubicBezTo>
                <a:cubicBezTo>
                  <a:pt x="166" y="399"/>
                  <a:pt x="166" y="395"/>
                  <a:pt x="167" y="395"/>
                </a:cubicBezTo>
                <a:close/>
                <a:moveTo>
                  <a:pt x="168" y="392"/>
                </a:moveTo>
                <a:cubicBezTo>
                  <a:pt x="169" y="392"/>
                  <a:pt x="170" y="393"/>
                  <a:pt x="168" y="393"/>
                </a:cubicBezTo>
                <a:cubicBezTo>
                  <a:pt x="166" y="394"/>
                  <a:pt x="166" y="392"/>
                  <a:pt x="168" y="392"/>
                </a:cubicBezTo>
                <a:close/>
                <a:moveTo>
                  <a:pt x="167" y="413"/>
                </a:moveTo>
                <a:cubicBezTo>
                  <a:pt x="167" y="415"/>
                  <a:pt x="166" y="411"/>
                  <a:pt x="167" y="412"/>
                </a:cubicBezTo>
                <a:cubicBezTo>
                  <a:pt x="167" y="412"/>
                  <a:pt x="167" y="413"/>
                  <a:pt x="167" y="413"/>
                </a:cubicBezTo>
                <a:close/>
                <a:moveTo>
                  <a:pt x="163" y="443"/>
                </a:moveTo>
                <a:cubicBezTo>
                  <a:pt x="162" y="444"/>
                  <a:pt x="161" y="442"/>
                  <a:pt x="162" y="441"/>
                </a:cubicBezTo>
                <a:cubicBezTo>
                  <a:pt x="162" y="442"/>
                  <a:pt x="163" y="442"/>
                  <a:pt x="163" y="443"/>
                </a:cubicBezTo>
                <a:close/>
                <a:moveTo>
                  <a:pt x="160" y="459"/>
                </a:moveTo>
                <a:cubicBezTo>
                  <a:pt x="159" y="460"/>
                  <a:pt x="159" y="458"/>
                  <a:pt x="160" y="457"/>
                </a:cubicBezTo>
                <a:cubicBezTo>
                  <a:pt x="160" y="457"/>
                  <a:pt x="161" y="458"/>
                  <a:pt x="160" y="459"/>
                </a:cubicBezTo>
                <a:close/>
                <a:moveTo>
                  <a:pt x="157" y="404"/>
                </a:moveTo>
                <a:cubicBezTo>
                  <a:pt x="155" y="406"/>
                  <a:pt x="156" y="399"/>
                  <a:pt x="158" y="401"/>
                </a:cubicBezTo>
                <a:cubicBezTo>
                  <a:pt x="159" y="402"/>
                  <a:pt x="157" y="404"/>
                  <a:pt x="157" y="404"/>
                </a:cubicBezTo>
                <a:close/>
                <a:moveTo>
                  <a:pt x="154" y="466"/>
                </a:moveTo>
                <a:cubicBezTo>
                  <a:pt x="155" y="466"/>
                  <a:pt x="156" y="467"/>
                  <a:pt x="155" y="468"/>
                </a:cubicBezTo>
                <a:cubicBezTo>
                  <a:pt x="154" y="468"/>
                  <a:pt x="154" y="467"/>
                  <a:pt x="154" y="466"/>
                </a:cubicBezTo>
                <a:close/>
                <a:moveTo>
                  <a:pt x="155" y="476"/>
                </a:moveTo>
                <a:cubicBezTo>
                  <a:pt x="154" y="476"/>
                  <a:pt x="158" y="472"/>
                  <a:pt x="157" y="471"/>
                </a:cubicBezTo>
                <a:cubicBezTo>
                  <a:pt x="159" y="473"/>
                  <a:pt x="156" y="477"/>
                  <a:pt x="155" y="476"/>
                </a:cubicBezTo>
                <a:close/>
                <a:moveTo>
                  <a:pt x="158" y="470"/>
                </a:moveTo>
                <a:cubicBezTo>
                  <a:pt x="156" y="466"/>
                  <a:pt x="160" y="467"/>
                  <a:pt x="158" y="470"/>
                </a:cubicBezTo>
                <a:close/>
                <a:moveTo>
                  <a:pt x="159" y="461"/>
                </a:moveTo>
                <a:cubicBezTo>
                  <a:pt x="159" y="461"/>
                  <a:pt x="159" y="462"/>
                  <a:pt x="159" y="462"/>
                </a:cubicBezTo>
                <a:cubicBezTo>
                  <a:pt x="157" y="464"/>
                  <a:pt x="158" y="460"/>
                  <a:pt x="159" y="461"/>
                </a:cubicBezTo>
                <a:close/>
                <a:moveTo>
                  <a:pt x="159" y="490"/>
                </a:moveTo>
                <a:cubicBezTo>
                  <a:pt x="159" y="489"/>
                  <a:pt x="160" y="488"/>
                  <a:pt x="160" y="488"/>
                </a:cubicBezTo>
                <a:cubicBezTo>
                  <a:pt x="160" y="489"/>
                  <a:pt x="160" y="489"/>
                  <a:pt x="159" y="490"/>
                </a:cubicBezTo>
                <a:close/>
                <a:moveTo>
                  <a:pt x="160" y="486"/>
                </a:moveTo>
                <a:cubicBezTo>
                  <a:pt x="160" y="487"/>
                  <a:pt x="159" y="484"/>
                  <a:pt x="160" y="484"/>
                </a:cubicBezTo>
                <a:cubicBezTo>
                  <a:pt x="160" y="484"/>
                  <a:pt x="161" y="485"/>
                  <a:pt x="160" y="486"/>
                </a:cubicBezTo>
                <a:close/>
                <a:moveTo>
                  <a:pt x="161" y="468"/>
                </a:moveTo>
                <a:cubicBezTo>
                  <a:pt x="162" y="470"/>
                  <a:pt x="159" y="470"/>
                  <a:pt x="161" y="468"/>
                </a:cubicBezTo>
                <a:close/>
                <a:moveTo>
                  <a:pt x="162" y="461"/>
                </a:moveTo>
                <a:cubicBezTo>
                  <a:pt x="163" y="462"/>
                  <a:pt x="163" y="462"/>
                  <a:pt x="162" y="463"/>
                </a:cubicBezTo>
                <a:cubicBezTo>
                  <a:pt x="161" y="465"/>
                  <a:pt x="161" y="460"/>
                  <a:pt x="162" y="461"/>
                </a:cubicBezTo>
                <a:close/>
                <a:moveTo>
                  <a:pt x="162" y="497"/>
                </a:moveTo>
                <a:cubicBezTo>
                  <a:pt x="164" y="497"/>
                  <a:pt x="161" y="499"/>
                  <a:pt x="162" y="497"/>
                </a:cubicBezTo>
                <a:close/>
                <a:moveTo>
                  <a:pt x="163" y="483"/>
                </a:moveTo>
                <a:cubicBezTo>
                  <a:pt x="162" y="485"/>
                  <a:pt x="162" y="481"/>
                  <a:pt x="163" y="483"/>
                </a:cubicBezTo>
                <a:cubicBezTo>
                  <a:pt x="163" y="483"/>
                  <a:pt x="164" y="483"/>
                  <a:pt x="163" y="483"/>
                </a:cubicBezTo>
                <a:close/>
                <a:moveTo>
                  <a:pt x="164" y="472"/>
                </a:moveTo>
                <a:cubicBezTo>
                  <a:pt x="163" y="474"/>
                  <a:pt x="163" y="471"/>
                  <a:pt x="164" y="472"/>
                </a:cubicBezTo>
                <a:cubicBezTo>
                  <a:pt x="164" y="472"/>
                  <a:pt x="164" y="472"/>
                  <a:pt x="164" y="472"/>
                </a:cubicBezTo>
                <a:close/>
                <a:moveTo>
                  <a:pt x="166" y="461"/>
                </a:moveTo>
                <a:cubicBezTo>
                  <a:pt x="160" y="465"/>
                  <a:pt x="163" y="449"/>
                  <a:pt x="168" y="453"/>
                </a:cubicBezTo>
                <a:cubicBezTo>
                  <a:pt x="167" y="452"/>
                  <a:pt x="168" y="456"/>
                  <a:pt x="168" y="455"/>
                </a:cubicBezTo>
                <a:cubicBezTo>
                  <a:pt x="168" y="456"/>
                  <a:pt x="166" y="461"/>
                  <a:pt x="166" y="461"/>
                </a:cubicBezTo>
                <a:close/>
                <a:moveTo>
                  <a:pt x="168" y="450"/>
                </a:moveTo>
                <a:cubicBezTo>
                  <a:pt x="167" y="450"/>
                  <a:pt x="167" y="448"/>
                  <a:pt x="168" y="448"/>
                </a:cubicBezTo>
                <a:cubicBezTo>
                  <a:pt x="168" y="448"/>
                  <a:pt x="169" y="449"/>
                  <a:pt x="168" y="450"/>
                </a:cubicBezTo>
                <a:close/>
                <a:moveTo>
                  <a:pt x="168" y="433"/>
                </a:moveTo>
                <a:cubicBezTo>
                  <a:pt x="168" y="431"/>
                  <a:pt x="168" y="434"/>
                  <a:pt x="168" y="433"/>
                </a:cubicBezTo>
                <a:close/>
                <a:moveTo>
                  <a:pt x="169" y="454"/>
                </a:moveTo>
                <a:cubicBezTo>
                  <a:pt x="169" y="455"/>
                  <a:pt x="169" y="452"/>
                  <a:pt x="169" y="454"/>
                </a:cubicBezTo>
                <a:close/>
                <a:moveTo>
                  <a:pt x="171" y="467"/>
                </a:moveTo>
                <a:cubicBezTo>
                  <a:pt x="170" y="463"/>
                  <a:pt x="174" y="463"/>
                  <a:pt x="171" y="467"/>
                </a:cubicBezTo>
                <a:close/>
                <a:moveTo>
                  <a:pt x="173" y="473"/>
                </a:moveTo>
                <a:cubicBezTo>
                  <a:pt x="172" y="474"/>
                  <a:pt x="172" y="469"/>
                  <a:pt x="173" y="470"/>
                </a:cubicBezTo>
                <a:cubicBezTo>
                  <a:pt x="174" y="471"/>
                  <a:pt x="173" y="472"/>
                  <a:pt x="173" y="473"/>
                </a:cubicBezTo>
                <a:close/>
                <a:moveTo>
                  <a:pt x="173" y="462"/>
                </a:moveTo>
                <a:cubicBezTo>
                  <a:pt x="172" y="463"/>
                  <a:pt x="173" y="461"/>
                  <a:pt x="173" y="460"/>
                </a:cubicBezTo>
                <a:cubicBezTo>
                  <a:pt x="174" y="460"/>
                  <a:pt x="174" y="462"/>
                  <a:pt x="173" y="462"/>
                </a:cubicBezTo>
                <a:close/>
                <a:moveTo>
                  <a:pt x="173" y="460"/>
                </a:moveTo>
                <a:cubicBezTo>
                  <a:pt x="172" y="460"/>
                  <a:pt x="170" y="460"/>
                  <a:pt x="170" y="458"/>
                </a:cubicBezTo>
                <a:cubicBezTo>
                  <a:pt x="171" y="457"/>
                  <a:pt x="176" y="458"/>
                  <a:pt x="173" y="460"/>
                </a:cubicBezTo>
                <a:close/>
                <a:moveTo>
                  <a:pt x="173" y="418"/>
                </a:moveTo>
                <a:cubicBezTo>
                  <a:pt x="174" y="418"/>
                  <a:pt x="174" y="418"/>
                  <a:pt x="173" y="419"/>
                </a:cubicBezTo>
                <a:cubicBezTo>
                  <a:pt x="172" y="420"/>
                  <a:pt x="172" y="417"/>
                  <a:pt x="173" y="418"/>
                </a:cubicBezTo>
                <a:close/>
                <a:moveTo>
                  <a:pt x="174" y="409"/>
                </a:moveTo>
                <a:cubicBezTo>
                  <a:pt x="175" y="409"/>
                  <a:pt x="174" y="409"/>
                  <a:pt x="174" y="410"/>
                </a:cubicBezTo>
                <a:cubicBezTo>
                  <a:pt x="173" y="410"/>
                  <a:pt x="173" y="408"/>
                  <a:pt x="174" y="409"/>
                </a:cubicBezTo>
                <a:close/>
                <a:moveTo>
                  <a:pt x="175" y="414"/>
                </a:moveTo>
                <a:cubicBezTo>
                  <a:pt x="177" y="414"/>
                  <a:pt x="177" y="418"/>
                  <a:pt x="176" y="419"/>
                </a:cubicBezTo>
                <a:cubicBezTo>
                  <a:pt x="173" y="420"/>
                  <a:pt x="175" y="414"/>
                  <a:pt x="175" y="414"/>
                </a:cubicBezTo>
                <a:close/>
                <a:moveTo>
                  <a:pt x="176" y="430"/>
                </a:moveTo>
                <a:cubicBezTo>
                  <a:pt x="175" y="431"/>
                  <a:pt x="175" y="428"/>
                  <a:pt x="176" y="428"/>
                </a:cubicBezTo>
                <a:cubicBezTo>
                  <a:pt x="177" y="428"/>
                  <a:pt x="177" y="429"/>
                  <a:pt x="176" y="430"/>
                </a:cubicBezTo>
                <a:close/>
                <a:moveTo>
                  <a:pt x="177" y="433"/>
                </a:moveTo>
                <a:cubicBezTo>
                  <a:pt x="178" y="434"/>
                  <a:pt x="178" y="436"/>
                  <a:pt x="177" y="436"/>
                </a:cubicBezTo>
                <a:cubicBezTo>
                  <a:pt x="175" y="439"/>
                  <a:pt x="175" y="431"/>
                  <a:pt x="177" y="433"/>
                </a:cubicBezTo>
                <a:close/>
                <a:moveTo>
                  <a:pt x="178" y="429"/>
                </a:moveTo>
                <a:cubicBezTo>
                  <a:pt x="177" y="428"/>
                  <a:pt x="178" y="426"/>
                  <a:pt x="179" y="426"/>
                </a:cubicBezTo>
                <a:cubicBezTo>
                  <a:pt x="178" y="427"/>
                  <a:pt x="178" y="428"/>
                  <a:pt x="178" y="429"/>
                </a:cubicBezTo>
                <a:close/>
                <a:moveTo>
                  <a:pt x="178" y="432"/>
                </a:moveTo>
                <a:cubicBezTo>
                  <a:pt x="177" y="433"/>
                  <a:pt x="178" y="431"/>
                  <a:pt x="178" y="430"/>
                </a:cubicBezTo>
                <a:cubicBezTo>
                  <a:pt x="179" y="430"/>
                  <a:pt x="179" y="431"/>
                  <a:pt x="178" y="432"/>
                </a:cubicBezTo>
                <a:close/>
                <a:moveTo>
                  <a:pt x="179" y="411"/>
                </a:moveTo>
                <a:cubicBezTo>
                  <a:pt x="176" y="413"/>
                  <a:pt x="176" y="406"/>
                  <a:pt x="178" y="408"/>
                </a:cubicBezTo>
                <a:cubicBezTo>
                  <a:pt x="179" y="408"/>
                  <a:pt x="179" y="410"/>
                  <a:pt x="179" y="411"/>
                </a:cubicBezTo>
                <a:close/>
                <a:moveTo>
                  <a:pt x="178" y="467"/>
                </a:moveTo>
                <a:cubicBezTo>
                  <a:pt x="176" y="466"/>
                  <a:pt x="179" y="464"/>
                  <a:pt x="179" y="462"/>
                </a:cubicBezTo>
                <a:cubicBezTo>
                  <a:pt x="180" y="463"/>
                  <a:pt x="179" y="468"/>
                  <a:pt x="178" y="467"/>
                </a:cubicBezTo>
                <a:close/>
                <a:moveTo>
                  <a:pt x="182" y="477"/>
                </a:moveTo>
                <a:cubicBezTo>
                  <a:pt x="182" y="477"/>
                  <a:pt x="179" y="477"/>
                  <a:pt x="180" y="476"/>
                </a:cubicBezTo>
                <a:cubicBezTo>
                  <a:pt x="181" y="475"/>
                  <a:pt x="184" y="477"/>
                  <a:pt x="182" y="477"/>
                </a:cubicBezTo>
                <a:close/>
                <a:moveTo>
                  <a:pt x="180" y="459"/>
                </a:moveTo>
                <a:cubicBezTo>
                  <a:pt x="181" y="457"/>
                  <a:pt x="182" y="456"/>
                  <a:pt x="182" y="455"/>
                </a:cubicBezTo>
                <a:cubicBezTo>
                  <a:pt x="182" y="456"/>
                  <a:pt x="182" y="458"/>
                  <a:pt x="180" y="459"/>
                </a:cubicBezTo>
                <a:close/>
                <a:moveTo>
                  <a:pt x="183" y="432"/>
                </a:moveTo>
                <a:cubicBezTo>
                  <a:pt x="182" y="433"/>
                  <a:pt x="182" y="430"/>
                  <a:pt x="183" y="431"/>
                </a:cubicBezTo>
                <a:cubicBezTo>
                  <a:pt x="183" y="431"/>
                  <a:pt x="183" y="432"/>
                  <a:pt x="183" y="432"/>
                </a:cubicBezTo>
                <a:close/>
                <a:moveTo>
                  <a:pt x="184" y="458"/>
                </a:moveTo>
                <a:cubicBezTo>
                  <a:pt x="183" y="456"/>
                  <a:pt x="186" y="456"/>
                  <a:pt x="184" y="458"/>
                </a:cubicBezTo>
                <a:close/>
                <a:moveTo>
                  <a:pt x="184" y="423"/>
                </a:moveTo>
                <a:cubicBezTo>
                  <a:pt x="184" y="423"/>
                  <a:pt x="184" y="423"/>
                  <a:pt x="184" y="423"/>
                </a:cubicBezTo>
                <a:cubicBezTo>
                  <a:pt x="185" y="422"/>
                  <a:pt x="185" y="422"/>
                  <a:pt x="184" y="423"/>
                </a:cubicBezTo>
                <a:cubicBezTo>
                  <a:pt x="184" y="423"/>
                  <a:pt x="184" y="423"/>
                  <a:pt x="184" y="423"/>
                </a:cubicBezTo>
                <a:cubicBezTo>
                  <a:pt x="184" y="423"/>
                  <a:pt x="184" y="423"/>
                  <a:pt x="184" y="423"/>
                </a:cubicBezTo>
                <a:close/>
                <a:moveTo>
                  <a:pt x="184" y="452"/>
                </a:moveTo>
                <a:cubicBezTo>
                  <a:pt x="182" y="449"/>
                  <a:pt x="186" y="449"/>
                  <a:pt x="184" y="452"/>
                </a:cubicBezTo>
                <a:close/>
                <a:moveTo>
                  <a:pt x="184" y="464"/>
                </a:moveTo>
                <a:cubicBezTo>
                  <a:pt x="185" y="466"/>
                  <a:pt x="182" y="465"/>
                  <a:pt x="184" y="464"/>
                </a:cubicBezTo>
                <a:close/>
                <a:moveTo>
                  <a:pt x="185" y="467"/>
                </a:moveTo>
                <a:cubicBezTo>
                  <a:pt x="186" y="471"/>
                  <a:pt x="182" y="470"/>
                  <a:pt x="185" y="467"/>
                </a:cubicBezTo>
                <a:close/>
                <a:moveTo>
                  <a:pt x="190" y="491"/>
                </a:moveTo>
                <a:cubicBezTo>
                  <a:pt x="189" y="492"/>
                  <a:pt x="189" y="488"/>
                  <a:pt x="190" y="489"/>
                </a:cubicBezTo>
                <a:cubicBezTo>
                  <a:pt x="191" y="490"/>
                  <a:pt x="190" y="491"/>
                  <a:pt x="190" y="491"/>
                </a:cubicBezTo>
                <a:close/>
                <a:moveTo>
                  <a:pt x="194" y="474"/>
                </a:moveTo>
                <a:cubicBezTo>
                  <a:pt x="195" y="475"/>
                  <a:pt x="194" y="475"/>
                  <a:pt x="194" y="475"/>
                </a:cubicBezTo>
                <a:cubicBezTo>
                  <a:pt x="193" y="476"/>
                  <a:pt x="193" y="473"/>
                  <a:pt x="194" y="474"/>
                </a:cubicBezTo>
                <a:close/>
                <a:moveTo>
                  <a:pt x="195" y="474"/>
                </a:moveTo>
                <a:cubicBezTo>
                  <a:pt x="197" y="475"/>
                  <a:pt x="194" y="476"/>
                  <a:pt x="195" y="474"/>
                </a:cubicBezTo>
                <a:close/>
                <a:moveTo>
                  <a:pt x="195" y="490"/>
                </a:moveTo>
                <a:cubicBezTo>
                  <a:pt x="195" y="490"/>
                  <a:pt x="195" y="491"/>
                  <a:pt x="195" y="491"/>
                </a:cubicBezTo>
                <a:cubicBezTo>
                  <a:pt x="194" y="493"/>
                  <a:pt x="194" y="489"/>
                  <a:pt x="195" y="490"/>
                </a:cubicBezTo>
                <a:close/>
                <a:moveTo>
                  <a:pt x="194" y="384"/>
                </a:moveTo>
                <a:cubicBezTo>
                  <a:pt x="193" y="385"/>
                  <a:pt x="194" y="382"/>
                  <a:pt x="195" y="383"/>
                </a:cubicBezTo>
                <a:cubicBezTo>
                  <a:pt x="195" y="383"/>
                  <a:pt x="194" y="384"/>
                  <a:pt x="194" y="384"/>
                </a:cubicBezTo>
                <a:close/>
                <a:moveTo>
                  <a:pt x="194" y="321"/>
                </a:moveTo>
                <a:cubicBezTo>
                  <a:pt x="195" y="321"/>
                  <a:pt x="194" y="322"/>
                  <a:pt x="194" y="322"/>
                </a:cubicBezTo>
                <a:cubicBezTo>
                  <a:pt x="192" y="324"/>
                  <a:pt x="193" y="321"/>
                  <a:pt x="194" y="321"/>
                </a:cubicBezTo>
                <a:close/>
                <a:moveTo>
                  <a:pt x="192" y="489"/>
                </a:moveTo>
                <a:cubicBezTo>
                  <a:pt x="191" y="491"/>
                  <a:pt x="192" y="487"/>
                  <a:pt x="193" y="488"/>
                </a:cubicBezTo>
                <a:cubicBezTo>
                  <a:pt x="194" y="489"/>
                  <a:pt x="193" y="489"/>
                  <a:pt x="192" y="489"/>
                </a:cubicBezTo>
                <a:close/>
                <a:moveTo>
                  <a:pt x="192" y="466"/>
                </a:moveTo>
                <a:cubicBezTo>
                  <a:pt x="190" y="466"/>
                  <a:pt x="191" y="463"/>
                  <a:pt x="192" y="464"/>
                </a:cubicBezTo>
                <a:cubicBezTo>
                  <a:pt x="193" y="465"/>
                  <a:pt x="192" y="465"/>
                  <a:pt x="192" y="466"/>
                </a:cubicBezTo>
                <a:close/>
                <a:moveTo>
                  <a:pt x="191" y="461"/>
                </a:moveTo>
                <a:cubicBezTo>
                  <a:pt x="192" y="460"/>
                  <a:pt x="193" y="460"/>
                  <a:pt x="191" y="461"/>
                </a:cubicBezTo>
                <a:close/>
                <a:moveTo>
                  <a:pt x="191" y="403"/>
                </a:moveTo>
                <a:cubicBezTo>
                  <a:pt x="189" y="404"/>
                  <a:pt x="190" y="400"/>
                  <a:pt x="191" y="400"/>
                </a:cubicBezTo>
                <a:cubicBezTo>
                  <a:pt x="192" y="400"/>
                  <a:pt x="193" y="403"/>
                  <a:pt x="191" y="403"/>
                </a:cubicBezTo>
                <a:close/>
                <a:moveTo>
                  <a:pt x="191" y="311"/>
                </a:moveTo>
                <a:cubicBezTo>
                  <a:pt x="192" y="310"/>
                  <a:pt x="192" y="311"/>
                  <a:pt x="192" y="312"/>
                </a:cubicBezTo>
                <a:cubicBezTo>
                  <a:pt x="191" y="313"/>
                  <a:pt x="191" y="311"/>
                  <a:pt x="191" y="311"/>
                </a:cubicBezTo>
                <a:close/>
                <a:moveTo>
                  <a:pt x="190" y="343"/>
                </a:moveTo>
                <a:cubicBezTo>
                  <a:pt x="190" y="340"/>
                  <a:pt x="192" y="342"/>
                  <a:pt x="190" y="343"/>
                </a:cubicBezTo>
                <a:close/>
                <a:moveTo>
                  <a:pt x="191" y="480"/>
                </a:moveTo>
                <a:cubicBezTo>
                  <a:pt x="191" y="481"/>
                  <a:pt x="189" y="483"/>
                  <a:pt x="188" y="483"/>
                </a:cubicBezTo>
                <a:cubicBezTo>
                  <a:pt x="183" y="484"/>
                  <a:pt x="190" y="478"/>
                  <a:pt x="191" y="480"/>
                </a:cubicBezTo>
                <a:close/>
                <a:moveTo>
                  <a:pt x="188" y="475"/>
                </a:moveTo>
                <a:cubicBezTo>
                  <a:pt x="187" y="476"/>
                  <a:pt x="188" y="473"/>
                  <a:pt x="189" y="474"/>
                </a:cubicBezTo>
                <a:cubicBezTo>
                  <a:pt x="189" y="474"/>
                  <a:pt x="189" y="475"/>
                  <a:pt x="188" y="475"/>
                </a:cubicBezTo>
                <a:close/>
                <a:moveTo>
                  <a:pt x="189" y="478"/>
                </a:moveTo>
                <a:cubicBezTo>
                  <a:pt x="188" y="479"/>
                  <a:pt x="188" y="479"/>
                  <a:pt x="188" y="479"/>
                </a:cubicBezTo>
                <a:cubicBezTo>
                  <a:pt x="188" y="479"/>
                  <a:pt x="188" y="479"/>
                  <a:pt x="188" y="479"/>
                </a:cubicBezTo>
                <a:cubicBezTo>
                  <a:pt x="188" y="479"/>
                  <a:pt x="189" y="478"/>
                  <a:pt x="189" y="478"/>
                </a:cubicBezTo>
                <a:close/>
                <a:moveTo>
                  <a:pt x="189" y="439"/>
                </a:moveTo>
                <a:cubicBezTo>
                  <a:pt x="188" y="441"/>
                  <a:pt x="189" y="438"/>
                  <a:pt x="189" y="439"/>
                </a:cubicBezTo>
                <a:close/>
                <a:moveTo>
                  <a:pt x="188" y="458"/>
                </a:moveTo>
                <a:cubicBezTo>
                  <a:pt x="190" y="459"/>
                  <a:pt x="190" y="462"/>
                  <a:pt x="189" y="462"/>
                </a:cubicBezTo>
                <a:cubicBezTo>
                  <a:pt x="186" y="464"/>
                  <a:pt x="186" y="458"/>
                  <a:pt x="188" y="458"/>
                </a:cubicBezTo>
                <a:close/>
                <a:moveTo>
                  <a:pt x="187" y="458"/>
                </a:moveTo>
                <a:cubicBezTo>
                  <a:pt x="186" y="459"/>
                  <a:pt x="188" y="457"/>
                  <a:pt x="187" y="458"/>
                </a:cubicBezTo>
                <a:close/>
                <a:moveTo>
                  <a:pt x="187" y="433"/>
                </a:moveTo>
                <a:cubicBezTo>
                  <a:pt x="185" y="434"/>
                  <a:pt x="185" y="430"/>
                  <a:pt x="187" y="431"/>
                </a:cubicBezTo>
                <a:cubicBezTo>
                  <a:pt x="188" y="432"/>
                  <a:pt x="187" y="433"/>
                  <a:pt x="187" y="433"/>
                </a:cubicBezTo>
                <a:close/>
                <a:moveTo>
                  <a:pt x="187" y="298"/>
                </a:moveTo>
                <a:cubicBezTo>
                  <a:pt x="187" y="299"/>
                  <a:pt x="186" y="300"/>
                  <a:pt x="186" y="301"/>
                </a:cubicBezTo>
                <a:cubicBezTo>
                  <a:pt x="185" y="302"/>
                  <a:pt x="186" y="298"/>
                  <a:pt x="187" y="298"/>
                </a:cubicBezTo>
                <a:close/>
                <a:moveTo>
                  <a:pt x="185" y="303"/>
                </a:moveTo>
                <a:cubicBezTo>
                  <a:pt x="186" y="304"/>
                  <a:pt x="185" y="306"/>
                  <a:pt x="185" y="308"/>
                </a:cubicBezTo>
                <a:cubicBezTo>
                  <a:pt x="183" y="307"/>
                  <a:pt x="185" y="304"/>
                  <a:pt x="185" y="303"/>
                </a:cubicBezTo>
                <a:close/>
                <a:moveTo>
                  <a:pt x="185" y="380"/>
                </a:moveTo>
                <a:cubicBezTo>
                  <a:pt x="187" y="380"/>
                  <a:pt x="186" y="386"/>
                  <a:pt x="184" y="386"/>
                </a:cubicBezTo>
                <a:cubicBezTo>
                  <a:pt x="181" y="387"/>
                  <a:pt x="182" y="380"/>
                  <a:pt x="185" y="380"/>
                </a:cubicBezTo>
                <a:close/>
                <a:moveTo>
                  <a:pt x="185" y="400"/>
                </a:moveTo>
                <a:cubicBezTo>
                  <a:pt x="184" y="400"/>
                  <a:pt x="185" y="397"/>
                  <a:pt x="186" y="398"/>
                </a:cubicBezTo>
                <a:cubicBezTo>
                  <a:pt x="186" y="399"/>
                  <a:pt x="186" y="400"/>
                  <a:pt x="185" y="400"/>
                </a:cubicBezTo>
                <a:close/>
                <a:moveTo>
                  <a:pt x="183" y="360"/>
                </a:moveTo>
                <a:cubicBezTo>
                  <a:pt x="182" y="361"/>
                  <a:pt x="184" y="358"/>
                  <a:pt x="183" y="360"/>
                </a:cubicBezTo>
                <a:close/>
                <a:moveTo>
                  <a:pt x="183" y="311"/>
                </a:moveTo>
                <a:cubicBezTo>
                  <a:pt x="184" y="312"/>
                  <a:pt x="183" y="313"/>
                  <a:pt x="182" y="314"/>
                </a:cubicBezTo>
                <a:cubicBezTo>
                  <a:pt x="181" y="315"/>
                  <a:pt x="181" y="310"/>
                  <a:pt x="183" y="311"/>
                </a:cubicBezTo>
                <a:close/>
                <a:moveTo>
                  <a:pt x="184" y="408"/>
                </a:moveTo>
                <a:cubicBezTo>
                  <a:pt x="185" y="409"/>
                  <a:pt x="185" y="411"/>
                  <a:pt x="186" y="411"/>
                </a:cubicBezTo>
                <a:cubicBezTo>
                  <a:pt x="188" y="412"/>
                  <a:pt x="187" y="416"/>
                  <a:pt x="185" y="417"/>
                </a:cubicBezTo>
                <a:cubicBezTo>
                  <a:pt x="181" y="418"/>
                  <a:pt x="182" y="416"/>
                  <a:pt x="181" y="414"/>
                </a:cubicBezTo>
                <a:cubicBezTo>
                  <a:pt x="181" y="414"/>
                  <a:pt x="180" y="413"/>
                  <a:pt x="180" y="413"/>
                </a:cubicBezTo>
                <a:cubicBezTo>
                  <a:pt x="180" y="411"/>
                  <a:pt x="182" y="408"/>
                  <a:pt x="184" y="408"/>
                </a:cubicBezTo>
                <a:close/>
                <a:moveTo>
                  <a:pt x="180" y="440"/>
                </a:moveTo>
                <a:cubicBezTo>
                  <a:pt x="181" y="440"/>
                  <a:pt x="180" y="441"/>
                  <a:pt x="180" y="441"/>
                </a:cubicBezTo>
                <a:cubicBezTo>
                  <a:pt x="179" y="441"/>
                  <a:pt x="180" y="440"/>
                  <a:pt x="180" y="440"/>
                </a:cubicBezTo>
                <a:close/>
                <a:moveTo>
                  <a:pt x="179" y="443"/>
                </a:moveTo>
                <a:cubicBezTo>
                  <a:pt x="178" y="441"/>
                  <a:pt x="181" y="441"/>
                  <a:pt x="179" y="443"/>
                </a:cubicBezTo>
                <a:close/>
                <a:moveTo>
                  <a:pt x="179" y="317"/>
                </a:moveTo>
                <a:cubicBezTo>
                  <a:pt x="180" y="320"/>
                  <a:pt x="177" y="318"/>
                  <a:pt x="179" y="317"/>
                </a:cubicBezTo>
                <a:close/>
                <a:moveTo>
                  <a:pt x="178" y="324"/>
                </a:moveTo>
                <a:cubicBezTo>
                  <a:pt x="176" y="323"/>
                  <a:pt x="178" y="321"/>
                  <a:pt x="178" y="320"/>
                </a:cubicBezTo>
                <a:cubicBezTo>
                  <a:pt x="179" y="321"/>
                  <a:pt x="178" y="323"/>
                  <a:pt x="178" y="324"/>
                </a:cubicBezTo>
                <a:close/>
                <a:moveTo>
                  <a:pt x="178" y="296"/>
                </a:moveTo>
                <a:cubicBezTo>
                  <a:pt x="179" y="297"/>
                  <a:pt x="177" y="298"/>
                  <a:pt x="177" y="298"/>
                </a:cubicBezTo>
                <a:cubicBezTo>
                  <a:pt x="176" y="299"/>
                  <a:pt x="177" y="295"/>
                  <a:pt x="178" y="296"/>
                </a:cubicBezTo>
                <a:close/>
                <a:moveTo>
                  <a:pt x="174" y="309"/>
                </a:moveTo>
                <a:cubicBezTo>
                  <a:pt x="175" y="310"/>
                  <a:pt x="173" y="310"/>
                  <a:pt x="174" y="309"/>
                </a:cubicBezTo>
                <a:close/>
                <a:moveTo>
                  <a:pt x="175" y="357"/>
                </a:moveTo>
                <a:cubicBezTo>
                  <a:pt x="175" y="359"/>
                  <a:pt x="173" y="358"/>
                  <a:pt x="175" y="357"/>
                </a:cubicBezTo>
                <a:close/>
                <a:moveTo>
                  <a:pt x="174" y="377"/>
                </a:moveTo>
                <a:cubicBezTo>
                  <a:pt x="175" y="378"/>
                  <a:pt x="174" y="379"/>
                  <a:pt x="173" y="380"/>
                </a:cubicBezTo>
                <a:cubicBezTo>
                  <a:pt x="173" y="379"/>
                  <a:pt x="174" y="378"/>
                  <a:pt x="174" y="377"/>
                </a:cubicBezTo>
                <a:close/>
                <a:moveTo>
                  <a:pt x="172" y="391"/>
                </a:moveTo>
                <a:cubicBezTo>
                  <a:pt x="172" y="390"/>
                  <a:pt x="175" y="392"/>
                  <a:pt x="176" y="391"/>
                </a:cubicBezTo>
                <a:cubicBezTo>
                  <a:pt x="176" y="390"/>
                  <a:pt x="174" y="389"/>
                  <a:pt x="175" y="388"/>
                </a:cubicBezTo>
                <a:cubicBezTo>
                  <a:pt x="178" y="385"/>
                  <a:pt x="181" y="394"/>
                  <a:pt x="178" y="396"/>
                </a:cubicBezTo>
                <a:cubicBezTo>
                  <a:pt x="176" y="397"/>
                  <a:pt x="174" y="397"/>
                  <a:pt x="173" y="396"/>
                </a:cubicBezTo>
                <a:cubicBezTo>
                  <a:pt x="173" y="396"/>
                  <a:pt x="172" y="392"/>
                  <a:pt x="172" y="391"/>
                </a:cubicBezTo>
                <a:close/>
                <a:moveTo>
                  <a:pt x="172" y="439"/>
                </a:moveTo>
                <a:cubicBezTo>
                  <a:pt x="173" y="439"/>
                  <a:pt x="173" y="441"/>
                  <a:pt x="172" y="441"/>
                </a:cubicBezTo>
                <a:cubicBezTo>
                  <a:pt x="170" y="443"/>
                  <a:pt x="170" y="437"/>
                  <a:pt x="172" y="439"/>
                </a:cubicBezTo>
                <a:close/>
                <a:moveTo>
                  <a:pt x="169" y="427"/>
                </a:moveTo>
                <a:cubicBezTo>
                  <a:pt x="166" y="428"/>
                  <a:pt x="167" y="422"/>
                  <a:pt x="169" y="422"/>
                </a:cubicBezTo>
                <a:cubicBezTo>
                  <a:pt x="171" y="422"/>
                  <a:pt x="171" y="426"/>
                  <a:pt x="169" y="427"/>
                </a:cubicBezTo>
                <a:close/>
                <a:moveTo>
                  <a:pt x="165" y="288"/>
                </a:moveTo>
                <a:cubicBezTo>
                  <a:pt x="166" y="288"/>
                  <a:pt x="166" y="289"/>
                  <a:pt x="166" y="290"/>
                </a:cubicBezTo>
                <a:cubicBezTo>
                  <a:pt x="165" y="291"/>
                  <a:pt x="164" y="288"/>
                  <a:pt x="165" y="288"/>
                </a:cubicBezTo>
                <a:close/>
                <a:moveTo>
                  <a:pt x="163" y="282"/>
                </a:moveTo>
                <a:cubicBezTo>
                  <a:pt x="164" y="282"/>
                  <a:pt x="164" y="284"/>
                  <a:pt x="163" y="284"/>
                </a:cubicBezTo>
                <a:cubicBezTo>
                  <a:pt x="162" y="286"/>
                  <a:pt x="161" y="282"/>
                  <a:pt x="163" y="282"/>
                </a:cubicBezTo>
                <a:close/>
                <a:moveTo>
                  <a:pt x="161" y="324"/>
                </a:moveTo>
                <a:cubicBezTo>
                  <a:pt x="161" y="324"/>
                  <a:pt x="162" y="322"/>
                  <a:pt x="162" y="321"/>
                </a:cubicBezTo>
                <a:cubicBezTo>
                  <a:pt x="162" y="322"/>
                  <a:pt x="166" y="321"/>
                  <a:pt x="166" y="321"/>
                </a:cubicBezTo>
                <a:cubicBezTo>
                  <a:pt x="166" y="321"/>
                  <a:pt x="166" y="322"/>
                  <a:pt x="166" y="322"/>
                </a:cubicBezTo>
                <a:cubicBezTo>
                  <a:pt x="167" y="323"/>
                  <a:pt x="168" y="322"/>
                  <a:pt x="168" y="323"/>
                </a:cubicBezTo>
                <a:cubicBezTo>
                  <a:pt x="171" y="328"/>
                  <a:pt x="168" y="335"/>
                  <a:pt x="165" y="336"/>
                </a:cubicBezTo>
                <a:cubicBezTo>
                  <a:pt x="163" y="337"/>
                  <a:pt x="160" y="335"/>
                  <a:pt x="160" y="334"/>
                </a:cubicBezTo>
                <a:cubicBezTo>
                  <a:pt x="160" y="334"/>
                  <a:pt x="160" y="332"/>
                  <a:pt x="160" y="333"/>
                </a:cubicBezTo>
                <a:cubicBezTo>
                  <a:pt x="160" y="331"/>
                  <a:pt x="158" y="332"/>
                  <a:pt x="158" y="330"/>
                </a:cubicBezTo>
                <a:cubicBezTo>
                  <a:pt x="156" y="327"/>
                  <a:pt x="159" y="326"/>
                  <a:pt x="161" y="324"/>
                </a:cubicBezTo>
                <a:close/>
                <a:moveTo>
                  <a:pt x="157" y="351"/>
                </a:moveTo>
                <a:cubicBezTo>
                  <a:pt x="159" y="352"/>
                  <a:pt x="156" y="353"/>
                  <a:pt x="157" y="351"/>
                </a:cubicBezTo>
                <a:close/>
                <a:moveTo>
                  <a:pt x="157" y="367"/>
                </a:moveTo>
                <a:cubicBezTo>
                  <a:pt x="157" y="366"/>
                  <a:pt x="158" y="367"/>
                  <a:pt x="158" y="367"/>
                </a:cubicBezTo>
                <a:cubicBezTo>
                  <a:pt x="159" y="366"/>
                  <a:pt x="157" y="364"/>
                  <a:pt x="159" y="364"/>
                </a:cubicBezTo>
                <a:cubicBezTo>
                  <a:pt x="162" y="364"/>
                  <a:pt x="159" y="373"/>
                  <a:pt x="159" y="374"/>
                </a:cubicBezTo>
                <a:cubicBezTo>
                  <a:pt x="159" y="372"/>
                  <a:pt x="154" y="369"/>
                  <a:pt x="157" y="367"/>
                </a:cubicBezTo>
                <a:close/>
                <a:moveTo>
                  <a:pt x="157" y="386"/>
                </a:moveTo>
                <a:cubicBezTo>
                  <a:pt x="158" y="386"/>
                  <a:pt x="157" y="388"/>
                  <a:pt x="156" y="389"/>
                </a:cubicBezTo>
                <a:cubicBezTo>
                  <a:pt x="155" y="389"/>
                  <a:pt x="155" y="385"/>
                  <a:pt x="157" y="386"/>
                </a:cubicBezTo>
                <a:close/>
                <a:moveTo>
                  <a:pt x="155" y="373"/>
                </a:moveTo>
                <a:cubicBezTo>
                  <a:pt x="154" y="374"/>
                  <a:pt x="154" y="372"/>
                  <a:pt x="155" y="371"/>
                </a:cubicBezTo>
                <a:cubicBezTo>
                  <a:pt x="156" y="371"/>
                  <a:pt x="156" y="373"/>
                  <a:pt x="155" y="373"/>
                </a:cubicBezTo>
                <a:close/>
                <a:moveTo>
                  <a:pt x="153" y="242"/>
                </a:moveTo>
                <a:cubicBezTo>
                  <a:pt x="153" y="242"/>
                  <a:pt x="154" y="237"/>
                  <a:pt x="155" y="238"/>
                </a:cubicBezTo>
                <a:cubicBezTo>
                  <a:pt x="156" y="238"/>
                  <a:pt x="154" y="243"/>
                  <a:pt x="154" y="241"/>
                </a:cubicBezTo>
                <a:cubicBezTo>
                  <a:pt x="153" y="247"/>
                  <a:pt x="153" y="255"/>
                  <a:pt x="152" y="262"/>
                </a:cubicBezTo>
                <a:cubicBezTo>
                  <a:pt x="152" y="262"/>
                  <a:pt x="151" y="264"/>
                  <a:pt x="151" y="264"/>
                </a:cubicBezTo>
                <a:cubicBezTo>
                  <a:pt x="149" y="265"/>
                  <a:pt x="152" y="246"/>
                  <a:pt x="153" y="242"/>
                </a:cubicBezTo>
                <a:close/>
                <a:moveTo>
                  <a:pt x="150" y="352"/>
                </a:moveTo>
                <a:cubicBezTo>
                  <a:pt x="151" y="351"/>
                  <a:pt x="155" y="357"/>
                  <a:pt x="155" y="359"/>
                </a:cubicBezTo>
                <a:cubicBezTo>
                  <a:pt x="155" y="360"/>
                  <a:pt x="154" y="362"/>
                  <a:pt x="152" y="363"/>
                </a:cubicBezTo>
                <a:cubicBezTo>
                  <a:pt x="147" y="365"/>
                  <a:pt x="149" y="352"/>
                  <a:pt x="150" y="352"/>
                </a:cubicBezTo>
                <a:close/>
                <a:moveTo>
                  <a:pt x="148" y="397"/>
                </a:moveTo>
                <a:cubicBezTo>
                  <a:pt x="148" y="397"/>
                  <a:pt x="148" y="398"/>
                  <a:pt x="148" y="398"/>
                </a:cubicBezTo>
                <a:cubicBezTo>
                  <a:pt x="146" y="396"/>
                  <a:pt x="149" y="396"/>
                  <a:pt x="148" y="397"/>
                </a:cubicBezTo>
                <a:close/>
                <a:moveTo>
                  <a:pt x="147" y="373"/>
                </a:moveTo>
                <a:cubicBezTo>
                  <a:pt x="148" y="377"/>
                  <a:pt x="145" y="374"/>
                  <a:pt x="147" y="373"/>
                </a:cubicBezTo>
                <a:close/>
                <a:moveTo>
                  <a:pt x="145" y="340"/>
                </a:moveTo>
                <a:cubicBezTo>
                  <a:pt x="148" y="342"/>
                  <a:pt x="144" y="344"/>
                  <a:pt x="145" y="340"/>
                </a:cubicBezTo>
                <a:close/>
                <a:moveTo>
                  <a:pt x="145" y="351"/>
                </a:moveTo>
                <a:cubicBezTo>
                  <a:pt x="145" y="351"/>
                  <a:pt x="145" y="352"/>
                  <a:pt x="145" y="352"/>
                </a:cubicBezTo>
                <a:cubicBezTo>
                  <a:pt x="143" y="354"/>
                  <a:pt x="143" y="350"/>
                  <a:pt x="145" y="351"/>
                </a:cubicBezTo>
                <a:close/>
                <a:moveTo>
                  <a:pt x="143" y="299"/>
                </a:moveTo>
                <a:cubicBezTo>
                  <a:pt x="143" y="299"/>
                  <a:pt x="144" y="301"/>
                  <a:pt x="143" y="301"/>
                </a:cubicBezTo>
                <a:cubicBezTo>
                  <a:pt x="142" y="303"/>
                  <a:pt x="142" y="298"/>
                  <a:pt x="143" y="299"/>
                </a:cubicBezTo>
                <a:close/>
                <a:moveTo>
                  <a:pt x="143" y="429"/>
                </a:moveTo>
                <a:cubicBezTo>
                  <a:pt x="145" y="430"/>
                  <a:pt x="143" y="430"/>
                  <a:pt x="144" y="431"/>
                </a:cubicBezTo>
                <a:cubicBezTo>
                  <a:pt x="145" y="433"/>
                  <a:pt x="146" y="433"/>
                  <a:pt x="146" y="433"/>
                </a:cubicBezTo>
                <a:cubicBezTo>
                  <a:pt x="147" y="435"/>
                  <a:pt x="146" y="438"/>
                  <a:pt x="145" y="439"/>
                </a:cubicBezTo>
                <a:cubicBezTo>
                  <a:pt x="142" y="440"/>
                  <a:pt x="140" y="438"/>
                  <a:pt x="140" y="435"/>
                </a:cubicBezTo>
                <a:cubicBezTo>
                  <a:pt x="141" y="433"/>
                  <a:pt x="143" y="433"/>
                  <a:pt x="143" y="432"/>
                </a:cubicBezTo>
                <a:cubicBezTo>
                  <a:pt x="143" y="431"/>
                  <a:pt x="141" y="429"/>
                  <a:pt x="143" y="429"/>
                </a:cubicBezTo>
                <a:close/>
                <a:moveTo>
                  <a:pt x="142" y="354"/>
                </a:moveTo>
                <a:cubicBezTo>
                  <a:pt x="143" y="355"/>
                  <a:pt x="140" y="357"/>
                  <a:pt x="142" y="354"/>
                </a:cubicBezTo>
                <a:close/>
                <a:moveTo>
                  <a:pt x="141" y="298"/>
                </a:moveTo>
                <a:cubicBezTo>
                  <a:pt x="142" y="301"/>
                  <a:pt x="139" y="299"/>
                  <a:pt x="141" y="298"/>
                </a:cubicBezTo>
                <a:close/>
                <a:moveTo>
                  <a:pt x="140" y="375"/>
                </a:moveTo>
                <a:cubicBezTo>
                  <a:pt x="141" y="375"/>
                  <a:pt x="142" y="377"/>
                  <a:pt x="141" y="378"/>
                </a:cubicBezTo>
                <a:cubicBezTo>
                  <a:pt x="140" y="380"/>
                  <a:pt x="139" y="375"/>
                  <a:pt x="140" y="375"/>
                </a:cubicBezTo>
                <a:close/>
                <a:moveTo>
                  <a:pt x="142" y="405"/>
                </a:moveTo>
                <a:cubicBezTo>
                  <a:pt x="141" y="406"/>
                  <a:pt x="141" y="406"/>
                  <a:pt x="141" y="406"/>
                </a:cubicBezTo>
                <a:cubicBezTo>
                  <a:pt x="141" y="406"/>
                  <a:pt x="141" y="406"/>
                  <a:pt x="142" y="405"/>
                </a:cubicBezTo>
                <a:close/>
                <a:moveTo>
                  <a:pt x="141" y="417"/>
                </a:moveTo>
                <a:cubicBezTo>
                  <a:pt x="142" y="418"/>
                  <a:pt x="141" y="420"/>
                  <a:pt x="141" y="420"/>
                </a:cubicBezTo>
                <a:cubicBezTo>
                  <a:pt x="139" y="422"/>
                  <a:pt x="139" y="417"/>
                  <a:pt x="141" y="417"/>
                </a:cubicBezTo>
                <a:close/>
                <a:moveTo>
                  <a:pt x="137" y="465"/>
                </a:moveTo>
                <a:cubicBezTo>
                  <a:pt x="135" y="470"/>
                  <a:pt x="131" y="464"/>
                  <a:pt x="136" y="463"/>
                </a:cubicBezTo>
                <a:cubicBezTo>
                  <a:pt x="136" y="463"/>
                  <a:pt x="139" y="463"/>
                  <a:pt x="139" y="463"/>
                </a:cubicBezTo>
                <a:cubicBezTo>
                  <a:pt x="142" y="466"/>
                  <a:pt x="137" y="469"/>
                  <a:pt x="137" y="465"/>
                </a:cubicBezTo>
                <a:close/>
                <a:moveTo>
                  <a:pt x="138" y="439"/>
                </a:moveTo>
                <a:cubicBezTo>
                  <a:pt x="139" y="439"/>
                  <a:pt x="139" y="440"/>
                  <a:pt x="139" y="441"/>
                </a:cubicBezTo>
                <a:cubicBezTo>
                  <a:pt x="138" y="441"/>
                  <a:pt x="138" y="439"/>
                  <a:pt x="138" y="439"/>
                </a:cubicBezTo>
                <a:close/>
                <a:moveTo>
                  <a:pt x="138" y="452"/>
                </a:moveTo>
                <a:cubicBezTo>
                  <a:pt x="137" y="454"/>
                  <a:pt x="136" y="451"/>
                  <a:pt x="137" y="451"/>
                </a:cubicBezTo>
                <a:cubicBezTo>
                  <a:pt x="138" y="451"/>
                  <a:pt x="138" y="452"/>
                  <a:pt x="138" y="452"/>
                </a:cubicBezTo>
                <a:close/>
                <a:moveTo>
                  <a:pt x="137" y="363"/>
                </a:moveTo>
                <a:cubicBezTo>
                  <a:pt x="137" y="363"/>
                  <a:pt x="135" y="363"/>
                  <a:pt x="135" y="364"/>
                </a:cubicBezTo>
                <a:cubicBezTo>
                  <a:pt x="133" y="367"/>
                  <a:pt x="138" y="377"/>
                  <a:pt x="134" y="379"/>
                </a:cubicBezTo>
                <a:cubicBezTo>
                  <a:pt x="132" y="380"/>
                  <a:pt x="133" y="366"/>
                  <a:pt x="134" y="364"/>
                </a:cubicBezTo>
                <a:cubicBezTo>
                  <a:pt x="134" y="360"/>
                  <a:pt x="134" y="356"/>
                  <a:pt x="134" y="353"/>
                </a:cubicBezTo>
                <a:cubicBezTo>
                  <a:pt x="134" y="353"/>
                  <a:pt x="135" y="352"/>
                  <a:pt x="135" y="352"/>
                </a:cubicBezTo>
                <a:cubicBezTo>
                  <a:pt x="137" y="353"/>
                  <a:pt x="135" y="355"/>
                  <a:pt x="135" y="357"/>
                </a:cubicBezTo>
                <a:cubicBezTo>
                  <a:pt x="135" y="360"/>
                  <a:pt x="138" y="360"/>
                  <a:pt x="137" y="363"/>
                </a:cubicBezTo>
                <a:close/>
                <a:moveTo>
                  <a:pt x="133" y="337"/>
                </a:moveTo>
                <a:cubicBezTo>
                  <a:pt x="134" y="338"/>
                  <a:pt x="132" y="339"/>
                  <a:pt x="133" y="337"/>
                </a:cubicBezTo>
                <a:close/>
                <a:moveTo>
                  <a:pt x="136" y="331"/>
                </a:moveTo>
                <a:cubicBezTo>
                  <a:pt x="137" y="332"/>
                  <a:pt x="136" y="334"/>
                  <a:pt x="136" y="334"/>
                </a:cubicBezTo>
                <a:cubicBezTo>
                  <a:pt x="135" y="335"/>
                  <a:pt x="135" y="331"/>
                  <a:pt x="136" y="331"/>
                </a:cubicBezTo>
                <a:close/>
                <a:moveTo>
                  <a:pt x="133" y="322"/>
                </a:moveTo>
                <a:cubicBezTo>
                  <a:pt x="134" y="322"/>
                  <a:pt x="135" y="323"/>
                  <a:pt x="134" y="324"/>
                </a:cubicBezTo>
                <a:cubicBezTo>
                  <a:pt x="133" y="325"/>
                  <a:pt x="132" y="322"/>
                  <a:pt x="133" y="322"/>
                </a:cubicBezTo>
                <a:close/>
                <a:moveTo>
                  <a:pt x="133" y="325"/>
                </a:moveTo>
                <a:cubicBezTo>
                  <a:pt x="135" y="324"/>
                  <a:pt x="136" y="328"/>
                  <a:pt x="134" y="329"/>
                </a:cubicBezTo>
                <a:cubicBezTo>
                  <a:pt x="132" y="331"/>
                  <a:pt x="132" y="325"/>
                  <a:pt x="133" y="325"/>
                </a:cubicBezTo>
                <a:close/>
                <a:moveTo>
                  <a:pt x="132" y="371"/>
                </a:moveTo>
                <a:cubicBezTo>
                  <a:pt x="132" y="371"/>
                  <a:pt x="131" y="371"/>
                  <a:pt x="131" y="371"/>
                </a:cubicBezTo>
                <a:cubicBezTo>
                  <a:pt x="131" y="370"/>
                  <a:pt x="133" y="370"/>
                  <a:pt x="132" y="371"/>
                </a:cubicBezTo>
                <a:close/>
                <a:moveTo>
                  <a:pt x="129" y="374"/>
                </a:moveTo>
                <a:cubicBezTo>
                  <a:pt x="129" y="376"/>
                  <a:pt x="127" y="374"/>
                  <a:pt x="129" y="374"/>
                </a:cubicBezTo>
                <a:close/>
                <a:moveTo>
                  <a:pt x="128" y="318"/>
                </a:moveTo>
                <a:cubicBezTo>
                  <a:pt x="128" y="319"/>
                  <a:pt x="127" y="319"/>
                  <a:pt x="127" y="320"/>
                </a:cubicBezTo>
                <a:cubicBezTo>
                  <a:pt x="127" y="320"/>
                  <a:pt x="127" y="318"/>
                  <a:pt x="128" y="318"/>
                </a:cubicBezTo>
                <a:close/>
                <a:moveTo>
                  <a:pt x="126" y="325"/>
                </a:moveTo>
                <a:cubicBezTo>
                  <a:pt x="127" y="326"/>
                  <a:pt x="126" y="328"/>
                  <a:pt x="126" y="329"/>
                </a:cubicBezTo>
                <a:cubicBezTo>
                  <a:pt x="124" y="329"/>
                  <a:pt x="126" y="326"/>
                  <a:pt x="126" y="325"/>
                </a:cubicBezTo>
                <a:close/>
                <a:moveTo>
                  <a:pt x="124" y="375"/>
                </a:moveTo>
                <a:cubicBezTo>
                  <a:pt x="124" y="374"/>
                  <a:pt x="125" y="375"/>
                  <a:pt x="125" y="375"/>
                </a:cubicBezTo>
                <a:cubicBezTo>
                  <a:pt x="125" y="375"/>
                  <a:pt x="124" y="375"/>
                  <a:pt x="124" y="375"/>
                </a:cubicBezTo>
                <a:close/>
                <a:moveTo>
                  <a:pt x="120" y="352"/>
                </a:moveTo>
                <a:cubicBezTo>
                  <a:pt x="121" y="352"/>
                  <a:pt x="122" y="353"/>
                  <a:pt x="121" y="354"/>
                </a:cubicBezTo>
                <a:cubicBezTo>
                  <a:pt x="120" y="356"/>
                  <a:pt x="119" y="352"/>
                  <a:pt x="120" y="352"/>
                </a:cubicBezTo>
                <a:close/>
                <a:moveTo>
                  <a:pt x="124" y="362"/>
                </a:moveTo>
                <a:cubicBezTo>
                  <a:pt x="126" y="364"/>
                  <a:pt x="124" y="368"/>
                  <a:pt x="121" y="367"/>
                </a:cubicBezTo>
                <a:cubicBezTo>
                  <a:pt x="120" y="367"/>
                  <a:pt x="121" y="364"/>
                  <a:pt x="120" y="362"/>
                </a:cubicBezTo>
                <a:cubicBezTo>
                  <a:pt x="121" y="365"/>
                  <a:pt x="124" y="362"/>
                  <a:pt x="124" y="362"/>
                </a:cubicBezTo>
                <a:close/>
                <a:moveTo>
                  <a:pt x="121" y="425"/>
                </a:moveTo>
                <a:cubicBezTo>
                  <a:pt x="121" y="425"/>
                  <a:pt x="120" y="425"/>
                  <a:pt x="120" y="425"/>
                </a:cubicBezTo>
                <a:cubicBezTo>
                  <a:pt x="118" y="423"/>
                  <a:pt x="123" y="422"/>
                  <a:pt x="121" y="425"/>
                </a:cubicBezTo>
                <a:close/>
                <a:moveTo>
                  <a:pt x="119" y="435"/>
                </a:moveTo>
                <a:cubicBezTo>
                  <a:pt x="118" y="435"/>
                  <a:pt x="119" y="435"/>
                  <a:pt x="119" y="434"/>
                </a:cubicBezTo>
                <a:cubicBezTo>
                  <a:pt x="119" y="434"/>
                  <a:pt x="119" y="435"/>
                  <a:pt x="119" y="435"/>
                </a:cubicBezTo>
                <a:close/>
                <a:moveTo>
                  <a:pt x="112" y="346"/>
                </a:moveTo>
                <a:cubicBezTo>
                  <a:pt x="112" y="346"/>
                  <a:pt x="114" y="344"/>
                  <a:pt x="116" y="345"/>
                </a:cubicBezTo>
                <a:cubicBezTo>
                  <a:pt x="118" y="345"/>
                  <a:pt x="119" y="348"/>
                  <a:pt x="119" y="351"/>
                </a:cubicBezTo>
                <a:cubicBezTo>
                  <a:pt x="118" y="352"/>
                  <a:pt x="117" y="355"/>
                  <a:pt x="117" y="355"/>
                </a:cubicBezTo>
                <a:cubicBezTo>
                  <a:pt x="117" y="355"/>
                  <a:pt x="113" y="354"/>
                  <a:pt x="112" y="352"/>
                </a:cubicBezTo>
                <a:cubicBezTo>
                  <a:pt x="112" y="352"/>
                  <a:pt x="111" y="347"/>
                  <a:pt x="112" y="346"/>
                </a:cubicBezTo>
                <a:close/>
                <a:moveTo>
                  <a:pt x="111" y="354"/>
                </a:moveTo>
                <a:cubicBezTo>
                  <a:pt x="112" y="354"/>
                  <a:pt x="111" y="355"/>
                  <a:pt x="111" y="355"/>
                </a:cubicBezTo>
                <a:cubicBezTo>
                  <a:pt x="110" y="356"/>
                  <a:pt x="110" y="353"/>
                  <a:pt x="111" y="354"/>
                </a:cubicBezTo>
                <a:close/>
                <a:moveTo>
                  <a:pt x="110" y="283"/>
                </a:moveTo>
                <a:cubicBezTo>
                  <a:pt x="110" y="283"/>
                  <a:pt x="110" y="284"/>
                  <a:pt x="110" y="284"/>
                </a:cubicBezTo>
                <a:cubicBezTo>
                  <a:pt x="109" y="286"/>
                  <a:pt x="109" y="282"/>
                  <a:pt x="110" y="283"/>
                </a:cubicBezTo>
                <a:close/>
                <a:moveTo>
                  <a:pt x="108" y="299"/>
                </a:moveTo>
                <a:cubicBezTo>
                  <a:pt x="109" y="299"/>
                  <a:pt x="109" y="300"/>
                  <a:pt x="109" y="301"/>
                </a:cubicBezTo>
                <a:cubicBezTo>
                  <a:pt x="108" y="302"/>
                  <a:pt x="107" y="299"/>
                  <a:pt x="108" y="299"/>
                </a:cubicBezTo>
                <a:close/>
                <a:moveTo>
                  <a:pt x="109" y="347"/>
                </a:moveTo>
                <a:cubicBezTo>
                  <a:pt x="111" y="348"/>
                  <a:pt x="110" y="352"/>
                  <a:pt x="109" y="353"/>
                </a:cubicBezTo>
                <a:cubicBezTo>
                  <a:pt x="106" y="355"/>
                  <a:pt x="106" y="346"/>
                  <a:pt x="109" y="347"/>
                </a:cubicBezTo>
                <a:close/>
                <a:moveTo>
                  <a:pt x="108" y="421"/>
                </a:moveTo>
                <a:cubicBezTo>
                  <a:pt x="109" y="422"/>
                  <a:pt x="107" y="425"/>
                  <a:pt x="107" y="425"/>
                </a:cubicBezTo>
                <a:cubicBezTo>
                  <a:pt x="104" y="426"/>
                  <a:pt x="106" y="420"/>
                  <a:pt x="108" y="421"/>
                </a:cubicBezTo>
                <a:close/>
                <a:moveTo>
                  <a:pt x="105" y="283"/>
                </a:moveTo>
                <a:cubicBezTo>
                  <a:pt x="106" y="283"/>
                  <a:pt x="107" y="285"/>
                  <a:pt x="106" y="286"/>
                </a:cubicBezTo>
                <a:cubicBezTo>
                  <a:pt x="104" y="287"/>
                  <a:pt x="104" y="284"/>
                  <a:pt x="105" y="283"/>
                </a:cubicBezTo>
                <a:close/>
                <a:moveTo>
                  <a:pt x="105" y="425"/>
                </a:moveTo>
                <a:cubicBezTo>
                  <a:pt x="105" y="423"/>
                  <a:pt x="104" y="426"/>
                  <a:pt x="105" y="425"/>
                </a:cubicBezTo>
                <a:close/>
                <a:moveTo>
                  <a:pt x="104" y="301"/>
                </a:moveTo>
                <a:cubicBezTo>
                  <a:pt x="106" y="302"/>
                  <a:pt x="103" y="304"/>
                  <a:pt x="104" y="301"/>
                </a:cubicBezTo>
                <a:close/>
                <a:moveTo>
                  <a:pt x="104" y="370"/>
                </a:moveTo>
                <a:cubicBezTo>
                  <a:pt x="104" y="370"/>
                  <a:pt x="104" y="372"/>
                  <a:pt x="104" y="372"/>
                </a:cubicBezTo>
                <a:cubicBezTo>
                  <a:pt x="103" y="373"/>
                  <a:pt x="103" y="370"/>
                  <a:pt x="104" y="370"/>
                </a:cubicBezTo>
                <a:close/>
                <a:moveTo>
                  <a:pt x="102" y="425"/>
                </a:moveTo>
                <a:cubicBezTo>
                  <a:pt x="103" y="426"/>
                  <a:pt x="103" y="426"/>
                  <a:pt x="103" y="426"/>
                </a:cubicBezTo>
                <a:cubicBezTo>
                  <a:pt x="104" y="426"/>
                  <a:pt x="106" y="426"/>
                  <a:pt x="104" y="428"/>
                </a:cubicBezTo>
                <a:cubicBezTo>
                  <a:pt x="104" y="428"/>
                  <a:pt x="104" y="428"/>
                  <a:pt x="103" y="428"/>
                </a:cubicBezTo>
                <a:cubicBezTo>
                  <a:pt x="103" y="428"/>
                  <a:pt x="103" y="428"/>
                  <a:pt x="103" y="427"/>
                </a:cubicBezTo>
                <a:cubicBezTo>
                  <a:pt x="102" y="428"/>
                  <a:pt x="102" y="428"/>
                  <a:pt x="102" y="428"/>
                </a:cubicBezTo>
                <a:cubicBezTo>
                  <a:pt x="100" y="429"/>
                  <a:pt x="100" y="424"/>
                  <a:pt x="102" y="425"/>
                </a:cubicBezTo>
                <a:close/>
                <a:moveTo>
                  <a:pt x="101" y="363"/>
                </a:moveTo>
                <a:cubicBezTo>
                  <a:pt x="99" y="362"/>
                  <a:pt x="101" y="362"/>
                  <a:pt x="101" y="363"/>
                </a:cubicBezTo>
                <a:close/>
                <a:moveTo>
                  <a:pt x="100" y="315"/>
                </a:moveTo>
                <a:cubicBezTo>
                  <a:pt x="100" y="318"/>
                  <a:pt x="98" y="316"/>
                  <a:pt x="100" y="315"/>
                </a:cubicBezTo>
                <a:close/>
                <a:moveTo>
                  <a:pt x="99" y="422"/>
                </a:moveTo>
                <a:cubicBezTo>
                  <a:pt x="99" y="422"/>
                  <a:pt x="100" y="423"/>
                  <a:pt x="99" y="424"/>
                </a:cubicBezTo>
                <a:cubicBezTo>
                  <a:pt x="98" y="426"/>
                  <a:pt x="98" y="421"/>
                  <a:pt x="99" y="422"/>
                </a:cubicBezTo>
                <a:close/>
                <a:moveTo>
                  <a:pt x="96" y="297"/>
                </a:moveTo>
                <a:cubicBezTo>
                  <a:pt x="97" y="298"/>
                  <a:pt x="95" y="298"/>
                  <a:pt x="96" y="297"/>
                </a:cubicBezTo>
                <a:cubicBezTo>
                  <a:pt x="96" y="297"/>
                  <a:pt x="96" y="297"/>
                  <a:pt x="96" y="297"/>
                </a:cubicBezTo>
                <a:close/>
                <a:moveTo>
                  <a:pt x="96" y="305"/>
                </a:moveTo>
                <a:cubicBezTo>
                  <a:pt x="96" y="305"/>
                  <a:pt x="96" y="304"/>
                  <a:pt x="96" y="303"/>
                </a:cubicBezTo>
                <a:cubicBezTo>
                  <a:pt x="96" y="303"/>
                  <a:pt x="97" y="304"/>
                  <a:pt x="96" y="305"/>
                </a:cubicBezTo>
                <a:close/>
                <a:moveTo>
                  <a:pt x="96" y="380"/>
                </a:moveTo>
                <a:cubicBezTo>
                  <a:pt x="97" y="380"/>
                  <a:pt x="97" y="383"/>
                  <a:pt x="96" y="384"/>
                </a:cubicBezTo>
                <a:cubicBezTo>
                  <a:pt x="93" y="385"/>
                  <a:pt x="94" y="379"/>
                  <a:pt x="96" y="380"/>
                </a:cubicBezTo>
                <a:close/>
                <a:moveTo>
                  <a:pt x="95" y="393"/>
                </a:moveTo>
                <a:cubicBezTo>
                  <a:pt x="94" y="391"/>
                  <a:pt x="97" y="391"/>
                  <a:pt x="95" y="393"/>
                </a:cubicBezTo>
                <a:close/>
                <a:moveTo>
                  <a:pt x="97" y="431"/>
                </a:moveTo>
                <a:cubicBezTo>
                  <a:pt x="97" y="432"/>
                  <a:pt x="95" y="434"/>
                  <a:pt x="94" y="434"/>
                </a:cubicBezTo>
                <a:cubicBezTo>
                  <a:pt x="95" y="434"/>
                  <a:pt x="94" y="436"/>
                  <a:pt x="93" y="436"/>
                </a:cubicBezTo>
                <a:cubicBezTo>
                  <a:pt x="93" y="435"/>
                  <a:pt x="93" y="433"/>
                  <a:pt x="94" y="434"/>
                </a:cubicBezTo>
                <a:cubicBezTo>
                  <a:pt x="93" y="433"/>
                  <a:pt x="93" y="430"/>
                  <a:pt x="94" y="430"/>
                </a:cubicBezTo>
                <a:cubicBezTo>
                  <a:pt x="95" y="430"/>
                  <a:pt x="97" y="431"/>
                  <a:pt x="97" y="431"/>
                </a:cubicBezTo>
                <a:close/>
                <a:moveTo>
                  <a:pt x="93" y="359"/>
                </a:moveTo>
                <a:cubicBezTo>
                  <a:pt x="94" y="362"/>
                  <a:pt x="91" y="360"/>
                  <a:pt x="93" y="359"/>
                </a:cubicBezTo>
                <a:close/>
                <a:moveTo>
                  <a:pt x="93" y="379"/>
                </a:moveTo>
                <a:cubicBezTo>
                  <a:pt x="94" y="382"/>
                  <a:pt x="91" y="380"/>
                  <a:pt x="93" y="379"/>
                </a:cubicBezTo>
                <a:close/>
                <a:moveTo>
                  <a:pt x="92" y="391"/>
                </a:moveTo>
                <a:cubicBezTo>
                  <a:pt x="92" y="393"/>
                  <a:pt x="91" y="393"/>
                  <a:pt x="91" y="391"/>
                </a:cubicBezTo>
                <a:cubicBezTo>
                  <a:pt x="91" y="391"/>
                  <a:pt x="92" y="391"/>
                  <a:pt x="92" y="391"/>
                </a:cubicBezTo>
                <a:close/>
                <a:moveTo>
                  <a:pt x="89" y="352"/>
                </a:moveTo>
                <a:cubicBezTo>
                  <a:pt x="90" y="354"/>
                  <a:pt x="88" y="354"/>
                  <a:pt x="89" y="352"/>
                </a:cubicBezTo>
                <a:close/>
                <a:moveTo>
                  <a:pt x="89" y="400"/>
                </a:moveTo>
                <a:cubicBezTo>
                  <a:pt x="88" y="401"/>
                  <a:pt x="90" y="399"/>
                  <a:pt x="89" y="400"/>
                </a:cubicBezTo>
                <a:close/>
                <a:moveTo>
                  <a:pt x="87" y="362"/>
                </a:moveTo>
                <a:cubicBezTo>
                  <a:pt x="88" y="361"/>
                  <a:pt x="89" y="364"/>
                  <a:pt x="88" y="364"/>
                </a:cubicBezTo>
                <a:cubicBezTo>
                  <a:pt x="87" y="365"/>
                  <a:pt x="86" y="362"/>
                  <a:pt x="87" y="362"/>
                </a:cubicBezTo>
                <a:close/>
                <a:moveTo>
                  <a:pt x="85" y="385"/>
                </a:moveTo>
                <a:cubicBezTo>
                  <a:pt x="86" y="384"/>
                  <a:pt x="87" y="385"/>
                  <a:pt x="87" y="385"/>
                </a:cubicBezTo>
                <a:cubicBezTo>
                  <a:pt x="89" y="388"/>
                  <a:pt x="84" y="388"/>
                  <a:pt x="85" y="385"/>
                </a:cubicBezTo>
                <a:close/>
                <a:moveTo>
                  <a:pt x="86" y="398"/>
                </a:moveTo>
                <a:cubicBezTo>
                  <a:pt x="86" y="398"/>
                  <a:pt x="85" y="398"/>
                  <a:pt x="85" y="398"/>
                </a:cubicBezTo>
                <a:cubicBezTo>
                  <a:pt x="85" y="397"/>
                  <a:pt x="86" y="398"/>
                  <a:pt x="86" y="398"/>
                </a:cubicBezTo>
                <a:close/>
                <a:moveTo>
                  <a:pt x="87" y="400"/>
                </a:moveTo>
                <a:cubicBezTo>
                  <a:pt x="88" y="400"/>
                  <a:pt x="87" y="402"/>
                  <a:pt x="88" y="402"/>
                </a:cubicBezTo>
                <a:cubicBezTo>
                  <a:pt x="88" y="403"/>
                  <a:pt x="91" y="402"/>
                  <a:pt x="92" y="402"/>
                </a:cubicBezTo>
                <a:cubicBezTo>
                  <a:pt x="92" y="402"/>
                  <a:pt x="94" y="405"/>
                  <a:pt x="94" y="405"/>
                </a:cubicBezTo>
                <a:cubicBezTo>
                  <a:pt x="96" y="408"/>
                  <a:pt x="92" y="411"/>
                  <a:pt x="92" y="414"/>
                </a:cubicBezTo>
                <a:cubicBezTo>
                  <a:pt x="90" y="412"/>
                  <a:pt x="86" y="411"/>
                  <a:pt x="86" y="407"/>
                </a:cubicBezTo>
                <a:cubicBezTo>
                  <a:pt x="83" y="412"/>
                  <a:pt x="83" y="400"/>
                  <a:pt x="87" y="400"/>
                </a:cubicBezTo>
                <a:close/>
                <a:moveTo>
                  <a:pt x="84" y="412"/>
                </a:moveTo>
                <a:cubicBezTo>
                  <a:pt x="84" y="412"/>
                  <a:pt x="84" y="413"/>
                  <a:pt x="84" y="413"/>
                </a:cubicBezTo>
                <a:cubicBezTo>
                  <a:pt x="83" y="414"/>
                  <a:pt x="83" y="412"/>
                  <a:pt x="84" y="412"/>
                </a:cubicBezTo>
                <a:close/>
                <a:moveTo>
                  <a:pt x="82" y="395"/>
                </a:moveTo>
                <a:cubicBezTo>
                  <a:pt x="83" y="395"/>
                  <a:pt x="84" y="397"/>
                  <a:pt x="83" y="398"/>
                </a:cubicBezTo>
                <a:cubicBezTo>
                  <a:pt x="81" y="398"/>
                  <a:pt x="81" y="396"/>
                  <a:pt x="82" y="395"/>
                </a:cubicBezTo>
                <a:close/>
                <a:moveTo>
                  <a:pt x="81" y="405"/>
                </a:moveTo>
                <a:cubicBezTo>
                  <a:pt x="81" y="405"/>
                  <a:pt x="81" y="405"/>
                  <a:pt x="81" y="405"/>
                </a:cubicBezTo>
                <a:cubicBezTo>
                  <a:pt x="79" y="406"/>
                  <a:pt x="83" y="403"/>
                  <a:pt x="81" y="405"/>
                </a:cubicBezTo>
                <a:close/>
                <a:moveTo>
                  <a:pt x="80" y="427"/>
                </a:moveTo>
                <a:cubicBezTo>
                  <a:pt x="80" y="425"/>
                  <a:pt x="82" y="427"/>
                  <a:pt x="80" y="427"/>
                </a:cubicBezTo>
                <a:close/>
                <a:moveTo>
                  <a:pt x="79" y="403"/>
                </a:moveTo>
                <a:cubicBezTo>
                  <a:pt x="80" y="402"/>
                  <a:pt x="80" y="403"/>
                  <a:pt x="80" y="403"/>
                </a:cubicBezTo>
                <a:cubicBezTo>
                  <a:pt x="80" y="403"/>
                  <a:pt x="79" y="403"/>
                  <a:pt x="79" y="403"/>
                </a:cubicBezTo>
                <a:close/>
                <a:moveTo>
                  <a:pt x="79" y="352"/>
                </a:moveTo>
                <a:cubicBezTo>
                  <a:pt x="79" y="355"/>
                  <a:pt x="78" y="357"/>
                  <a:pt x="79" y="361"/>
                </a:cubicBezTo>
                <a:cubicBezTo>
                  <a:pt x="77" y="359"/>
                  <a:pt x="77" y="353"/>
                  <a:pt x="79" y="352"/>
                </a:cubicBezTo>
                <a:close/>
                <a:moveTo>
                  <a:pt x="79" y="363"/>
                </a:moveTo>
                <a:cubicBezTo>
                  <a:pt x="78" y="366"/>
                  <a:pt x="80" y="370"/>
                  <a:pt x="79" y="372"/>
                </a:cubicBezTo>
                <a:cubicBezTo>
                  <a:pt x="78" y="375"/>
                  <a:pt x="76" y="365"/>
                  <a:pt x="79" y="363"/>
                </a:cubicBezTo>
                <a:close/>
                <a:moveTo>
                  <a:pt x="77" y="429"/>
                </a:moveTo>
                <a:cubicBezTo>
                  <a:pt x="79" y="430"/>
                  <a:pt x="78" y="431"/>
                  <a:pt x="78" y="432"/>
                </a:cubicBezTo>
                <a:cubicBezTo>
                  <a:pt x="80" y="429"/>
                  <a:pt x="81" y="434"/>
                  <a:pt x="83" y="433"/>
                </a:cubicBezTo>
                <a:cubicBezTo>
                  <a:pt x="82" y="436"/>
                  <a:pt x="84" y="439"/>
                  <a:pt x="82" y="441"/>
                </a:cubicBezTo>
                <a:cubicBezTo>
                  <a:pt x="81" y="442"/>
                  <a:pt x="79" y="442"/>
                  <a:pt x="78" y="441"/>
                </a:cubicBezTo>
                <a:cubicBezTo>
                  <a:pt x="76" y="440"/>
                  <a:pt x="75" y="433"/>
                  <a:pt x="75" y="432"/>
                </a:cubicBezTo>
                <a:cubicBezTo>
                  <a:pt x="75" y="433"/>
                  <a:pt x="78" y="431"/>
                  <a:pt x="77" y="429"/>
                </a:cubicBezTo>
                <a:close/>
                <a:moveTo>
                  <a:pt x="76" y="420"/>
                </a:moveTo>
                <a:cubicBezTo>
                  <a:pt x="76" y="420"/>
                  <a:pt x="76" y="420"/>
                  <a:pt x="76" y="420"/>
                </a:cubicBezTo>
                <a:cubicBezTo>
                  <a:pt x="76" y="420"/>
                  <a:pt x="76" y="420"/>
                  <a:pt x="76" y="420"/>
                </a:cubicBezTo>
                <a:cubicBezTo>
                  <a:pt x="76" y="420"/>
                  <a:pt x="76" y="420"/>
                  <a:pt x="76" y="420"/>
                </a:cubicBezTo>
                <a:close/>
                <a:moveTo>
                  <a:pt x="76" y="370"/>
                </a:moveTo>
                <a:cubicBezTo>
                  <a:pt x="78" y="371"/>
                  <a:pt x="76" y="374"/>
                  <a:pt x="76" y="370"/>
                </a:cubicBezTo>
                <a:close/>
                <a:moveTo>
                  <a:pt x="75" y="384"/>
                </a:moveTo>
                <a:cubicBezTo>
                  <a:pt x="76" y="386"/>
                  <a:pt x="74" y="386"/>
                  <a:pt x="75" y="384"/>
                </a:cubicBezTo>
                <a:close/>
                <a:moveTo>
                  <a:pt x="75" y="426"/>
                </a:moveTo>
                <a:cubicBezTo>
                  <a:pt x="74" y="426"/>
                  <a:pt x="75" y="424"/>
                  <a:pt x="75" y="426"/>
                </a:cubicBezTo>
                <a:close/>
                <a:moveTo>
                  <a:pt x="74" y="369"/>
                </a:moveTo>
                <a:cubicBezTo>
                  <a:pt x="74" y="371"/>
                  <a:pt x="74" y="367"/>
                  <a:pt x="74" y="369"/>
                </a:cubicBezTo>
                <a:close/>
                <a:moveTo>
                  <a:pt x="57" y="427"/>
                </a:moveTo>
                <a:cubicBezTo>
                  <a:pt x="55" y="426"/>
                  <a:pt x="55" y="426"/>
                  <a:pt x="56" y="423"/>
                </a:cubicBezTo>
                <a:cubicBezTo>
                  <a:pt x="57" y="424"/>
                  <a:pt x="60" y="430"/>
                  <a:pt x="57" y="427"/>
                </a:cubicBezTo>
                <a:close/>
                <a:moveTo>
                  <a:pt x="58" y="394"/>
                </a:moveTo>
                <a:cubicBezTo>
                  <a:pt x="58" y="395"/>
                  <a:pt x="57" y="395"/>
                  <a:pt x="57" y="395"/>
                </a:cubicBezTo>
                <a:cubicBezTo>
                  <a:pt x="57" y="395"/>
                  <a:pt x="57" y="393"/>
                  <a:pt x="58" y="394"/>
                </a:cubicBezTo>
                <a:close/>
                <a:moveTo>
                  <a:pt x="60" y="383"/>
                </a:moveTo>
                <a:cubicBezTo>
                  <a:pt x="60" y="384"/>
                  <a:pt x="59" y="382"/>
                  <a:pt x="59" y="382"/>
                </a:cubicBezTo>
                <a:cubicBezTo>
                  <a:pt x="60" y="381"/>
                  <a:pt x="60" y="382"/>
                  <a:pt x="60" y="383"/>
                </a:cubicBezTo>
                <a:close/>
                <a:moveTo>
                  <a:pt x="62" y="438"/>
                </a:moveTo>
                <a:cubicBezTo>
                  <a:pt x="61" y="439"/>
                  <a:pt x="61" y="436"/>
                  <a:pt x="61" y="436"/>
                </a:cubicBezTo>
                <a:cubicBezTo>
                  <a:pt x="62" y="435"/>
                  <a:pt x="63" y="437"/>
                  <a:pt x="62" y="438"/>
                </a:cubicBezTo>
                <a:close/>
                <a:moveTo>
                  <a:pt x="63" y="434"/>
                </a:moveTo>
                <a:cubicBezTo>
                  <a:pt x="64" y="434"/>
                  <a:pt x="64" y="435"/>
                  <a:pt x="64" y="435"/>
                </a:cubicBezTo>
                <a:cubicBezTo>
                  <a:pt x="63" y="436"/>
                  <a:pt x="62" y="433"/>
                  <a:pt x="63" y="434"/>
                </a:cubicBezTo>
                <a:close/>
                <a:moveTo>
                  <a:pt x="63" y="409"/>
                </a:moveTo>
                <a:cubicBezTo>
                  <a:pt x="62" y="410"/>
                  <a:pt x="62" y="407"/>
                  <a:pt x="63" y="409"/>
                </a:cubicBezTo>
                <a:close/>
                <a:moveTo>
                  <a:pt x="64" y="436"/>
                </a:moveTo>
                <a:cubicBezTo>
                  <a:pt x="65" y="437"/>
                  <a:pt x="63" y="438"/>
                  <a:pt x="64" y="436"/>
                </a:cubicBezTo>
                <a:close/>
                <a:moveTo>
                  <a:pt x="66" y="438"/>
                </a:moveTo>
                <a:cubicBezTo>
                  <a:pt x="66" y="439"/>
                  <a:pt x="65" y="437"/>
                  <a:pt x="65" y="437"/>
                </a:cubicBezTo>
                <a:cubicBezTo>
                  <a:pt x="66" y="437"/>
                  <a:pt x="66" y="437"/>
                  <a:pt x="66" y="438"/>
                </a:cubicBezTo>
                <a:close/>
                <a:moveTo>
                  <a:pt x="67" y="426"/>
                </a:moveTo>
                <a:cubicBezTo>
                  <a:pt x="68" y="426"/>
                  <a:pt x="68" y="427"/>
                  <a:pt x="68" y="428"/>
                </a:cubicBezTo>
                <a:cubicBezTo>
                  <a:pt x="67" y="428"/>
                  <a:pt x="67" y="426"/>
                  <a:pt x="67" y="426"/>
                </a:cubicBezTo>
                <a:close/>
                <a:moveTo>
                  <a:pt x="68" y="438"/>
                </a:moveTo>
                <a:cubicBezTo>
                  <a:pt x="67" y="439"/>
                  <a:pt x="70" y="438"/>
                  <a:pt x="68" y="438"/>
                </a:cubicBezTo>
                <a:close/>
                <a:moveTo>
                  <a:pt x="69" y="428"/>
                </a:moveTo>
                <a:cubicBezTo>
                  <a:pt x="70" y="428"/>
                  <a:pt x="70" y="429"/>
                  <a:pt x="70" y="430"/>
                </a:cubicBezTo>
                <a:cubicBezTo>
                  <a:pt x="70" y="431"/>
                  <a:pt x="69" y="429"/>
                  <a:pt x="69" y="428"/>
                </a:cubicBezTo>
                <a:close/>
                <a:moveTo>
                  <a:pt x="70" y="403"/>
                </a:moveTo>
                <a:cubicBezTo>
                  <a:pt x="70" y="401"/>
                  <a:pt x="70" y="404"/>
                  <a:pt x="70" y="403"/>
                </a:cubicBezTo>
                <a:close/>
                <a:moveTo>
                  <a:pt x="72" y="435"/>
                </a:moveTo>
                <a:cubicBezTo>
                  <a:pt x="70" y="436"/>
                  <a:pt x="70" y="433"/>
                  <a:pt x="71" y="433"/>
                </a:cubicBezTo>
                <a:cubicBezTo>
                  <a:pt x="72" y="432"/>
                  <a:pt x="73" y="434"/>
                  <a:pt x="72" y="435"/>
                </a:cubicBezTo>
                <a:close/>
                <a:moveTo>
                  <a:pt x="72" y="432"/>
                </a:moveTo>
                <a:cubicBezTo>
                  <a:pt x="71" y="431"/>
                  <a:pt x="71" y="430"/>
                  <a:pt x="70" y="429"/>
                </a:cubicBezTo>
                <a:cubicBezTo>
                  <a:pt x="71" y="430"/>
                  <a:pt x="72" y="431"/>
                  <a:pt x="72" y="432"/>
                </a:cubicBezTo>
                <a:close/>
                <a:moveTo>
                  <a:pt x="70" y="364"/>
                </a:moveTo>
                <a:cubicBezTo>
                  <a:pt x="68" y="366"/>
                  <a:pt x="67" y="361"/>
                  <a:pt x="69" y="360"/>
                </a:cubicBezTo>
                <a:cubicBezTo>
                  <a:pt x="70" y="360"/>
                  <a:pt x="71" y="363"/>
                  <a:pt x="70" y="364"/>
                </a:cubicBezTo>
                <a:close/>
                <a:moveTo>
                  <a:pt x="68" y="340"/>
                </a:moveTo>
                <a:cubicBezTo>
                  <a:pt x="71" y="345"/>
                  <a:pt x="67" y="346"/>
                  <a:pt x="68" y="340"/>
                </a:cubicBezTo>
                <a:close/>
                <a:moveTo>
                  <a:pt x="69" y="393"/>
                </a:moveTo>
                <a:cubicBezTo>
                  <a:pt x="70" y="394"/>
                  <a:pt x="70" y="395"/>
                  <a:pt x="69" y="395"/>
                </a:cubicBezTo>
                <a:cubicBezTo>
                  <a:pt x="67" y="397"/>
                  <a:pt x="67" y="390"/>
                  <a:pt x="69" y="393"/>
                </a:cubicBezTo>
                <a:close/>
                <a:moveTo>
                  <a:pt x="66" y="377"/>
                </a:moveTo>
                <a:cubicBezTo>
                  <a:pt x="67" y="377"/>
                  <a:pt x="68" y="378"/>
                  <a:pt x="67" y="379"/>
                </a:cubicBezTo>
                <a:cubicBezTo>
                  <a:pt x="66" y="380"/>
                  <a:pt x="65" y="377"/>
                  <a:pt x="66" y="377"/>
                </a:cubicBezTo>
                <a:close/>
                <a:moveTo>
                  <a:pt x="65" y="423"/>
                </a:moveTo>
                <a:cubicBezTo>
                  <a:pt x="65" y="424"/>
                  <a:pt x="64" y="420"/>
                  <a:pt x="65" y="420"/>
                </a:cubicBezTo>
                <a:cubicBezTo>
                  <a:pt x="66" y="420"/>
                  <a:pt x="66" y="422"/>
                  <a:pt x="65" y="423"/>
                </a:cubicBezTo>
                <a:close/>
                <a:moveTo>
                  <a:pt x="65" y="406"/>
                </a:moveTo>
                <a:cubicBezTo>
                  <a:pt x="65" y="407"/>
                  <a:pt x="65" y="405"/>
                  <a:pt x="64" y="404"/>
                </a:cubicBezTo>
                <a:cubicBezTo>
                  <a:pt x="66" y="404"/>
                  <a:pt x="65" y="406"/>
                  <a:pt x="65" y="406"/>
                </a:cubicBezTo>
                <a:close/>
                <a:moveTo>
                  <a:pt x="65" y="377"/>
                </a:moveTo>
                <a:cubicBezTo>
                  <a:pt x="65" y="377"/>
                  <a:pt x="65" y="378"/>
                  <a:pt x="65" y="378"/>
                </a:cubicBezTo>
                <a:cubicBezTo>
                  <a:pt x="64" y="380"/>
                  <a:pt x="63" y="376"/>
                  <a:pt x="65" y="377"/>
                </a:cubicBezTo>
                <a:close/>
                <a:moveTo>
                  <a:pt x="62" y="377"/>
                </a:moveTo>
                <a:cubicBezTo>
                  <a:pt x="64" y="376"/>
                  <a:pt x="65" y="381"/>
                  <a:pt x="63" y="382"/>
                </a:cubicBezTo>
                <a:cubicBezTo>
                  <a:pt x="61" y="384"/>
                  <a:pt x="61" y="378"/>
                  <a:pt x="62" y="377"/>
                </a:cubicBezTo>
                <a:close/>
                <a:moveTo>
                  <a:pt x="61" y="384"/>
                </a:moveTo>
                <a:cubicBezTo>
                  <a:pt x="61" y="384"/>
                  <a:pt x="62" y="386"/>
                  <a:pt x="62" y="387"/>
                </a:cubicBezTo>
                <a:cubicBezTo>
                  <a:pt x="61" y="388"/>
                  <a:pt x="60" y="384"/>
                  <a:pt x="61" y="384"/>
                </a:cubicBezTo>
                <a:close/>
                <a:moveTo>
                  <a:pt x="59" y="359"/>
                </a:moveTo>
                <a:cubicBezTo>
                  <a:pt x="60" y="358"/>
                  <a:pt x="61" y="362"/>
                  <a:pt x="60" y="362"/>
                </a:cubicBezTo>
                <a:cubicBezTo>
                  <a:pt x="58" y="363"/>
                  <a:pt x="58" y="359"/>
                  <a:pt x="59" y="359"/>
                </a:cubicBezTo>
                <a:close/>
                <a:moveTo>
                  <a:pt x="57" y="368"/>
                </a:moveTo>
                <a:cubicBezTo>
                  <a:pt x="58" y="368"/>
                  <a:pt x="58" y="370"/>
                  <a:pt x="57" y="370"/>
                </a:cubicBezTo>
                <a:cubicBezTo>
                  <a:pt x="56" y="371"/>
                  <a:pt x="56" y="367"/>
                  <a:pt x="57" y="368"/>
                </a:cubicBezTo>
                <a:close/>
                <a:moveTo>
                  <a:pt x="57" y="352"/>
                </a:moveTo>
                <a:cubicBezTo>
                  <a:pt x="57" y="354"/>
                  <a:pt x="56" y="354"/>
                  <a:pt x="56" y="352"/>
                </a:cubicBezTo>
                <a:cubicBezTo>
                  <a:pt x="56" y="352"/>
                  <a:pt x="56" y="352"/>
                  <a:pt x="57" y="352"/>
                </a:cubicBezTo>
                <a:close/>
                <a:moveTo>
                  <a:pt x="57" y="422"/>
                </a:moveTo>
                <a:cubicBezTo>
                  <a:pt x="56" y="423"/>
                  <a:pt x="55" y="421"/>
                  <a:pt x="56" y="421"/>
                </a:cubicBezTo>
                <a:cubicBezTo>
                  <a:pt x="56" y="420"/>
                  <a:pt x="57" y="421"/>
                  <a:pt x="57" y="422"/>
                </a:cubicBezTo>
                <a:close/>
                <a:moveTo>
                  <a:pt x="55" y="396"/>
                </a:moveTo>
                <a:cubicBezTo>
                  <a:pt x="55" y="396"/>
                  <a:pt x="56" y="397"/>
                  <a:pt x="56" y="398"/>
                </a:cubicBezTo>
                <a:cubicBezTo>
                  <a:pt x="55" y="399"/>
                  <a:pt x="54" y="397"/>
                  <a:pt x="55" y="396"/>
                </a:cubicBezTo>
                <a:close/>
                <a:moveTo>
                  <a:pt x="53" y="387"/>
                </a:moveTo>
                <a:cubicBezTo>
                  <a:pt x="53" y="387"/>
                  <a:pt x="54" y="388"/>
                  <a:pt x="53" y="389"/>
                </a:cubicBezTo>
                <a:cubicBezTo>
                  <a:pt x="52" y="390"/>
                  <a:pt x="51" y="387"/>
                  <a:pt x="53" y="387"/>
                </a:cubicBezTo>
                <a:close/>
                <a:moveTo>
                  <a:pt x="13" y="370"/>
                </a:moveTo>
                <a:cubicBezTo>
                  <a:pt x="14" y="371"/>
                  <a:pt x="12" y="371"/>
                  <a:pt x="13" y="370"/>
                </a:cubicBezTo>
                <a:close/>
                <a:moveTo>
                  <a:pt x="49" y="418"/>
                </a:moveTo>
                <a:cubicBezTo>
                  <a:pt x="51" y="418"/>
                  <a:pt x="49" y="420"/>
                  <a:pt x="49" y="418"/>
                </a:cubicBezTo>
                <a:close/>
                <a:moveTo>
                  <a:pt x="51" y="423"/>
                </a:moveTo>
                <a:cubicBezTo>
                  <a:pt x="50" y="424"/>
                  <a:pt x="51" y="419"/>
                  <a:pt x="51" y="423"/>
                </a:cubicBezTo>
                <a:cubicBezTo>
                  <a:pt x="51" y="423"/>
                  <a:pt x="51" y="423"/>
                  <a:pt x="51" y="423"/>
                </a:cubicBezTo>
                <a:close/>
                <a:moveTo>
                  <a:pt x="51" y="402"/>
                </a:moveTo>
                <a:cubicBezTo>
                  <a:pt x="50" y="402"/>
                  <a:pt x="50" y="401"/>
                  <a:pt x="50" y="401"/>
                </a:cubicBezTo>
                <a:cubicBezTo>
                  <a:pt x="51" y="401"/>
                  <a:pt x="51" y="401"/>
                  <a:pt x="51" y="402"/>
                </a:cubicBezTo>
                <a:close/>
                <a:moveTo>
                  <a:pt x="50" y="364"/>
                </a:moveTo>
                <a:cubicBezTo>
                  <a:pt x="49" y="365"/>
                  <a:pt x="49" y="361"/>
                  <a:pt x="50" y="361"/>
                </a:cubicBezTo>
                <a:cubicBezTo>
                  <a:pt x="50" y="360"/>
                  <a:pt x="51" y="363"/>
                  <a:pt x="50" y="364"/>
                </a:cubicBezTo>
                <a:close/>
                <a:moveTo>
                  <a:pt x="50" y="340"/>
                </a:moveTo>
                <a:cubicBezTo>
                  <a:pt x="50" y="340"/>
                  <a:pt x="51" y="341"/>
                  <a:pt x="50" y="342"/>
                </a:cubicBezTo>
                <a:cubicBezTo>
                  <a:pt x="50" y="343"/>
                  <a:pt x="50" y="341"/>
                  <a:pt x="50" y="340"/>
                </a:cubicBezTo>
                <a:close/>
                <a:moveTo>
                  <a:pt x="45" y="343"/>
                </a:moveTo>
                <a:cubicBezTo>
                  <a:pt x="43" y="342"/>
                  <a:pt x="45" y="340"/>
                  <a:pt x="45" y="343"/>
                </a:cubicBezTo>
                <a:close/>
                <a:moveTo>
                  <a:pt x="33" y="345"/>
                </a:moveTo>
                <a:cubicBezTo>
                  <a:pt x="33" y="345"/>
                  <a:pt x="33" y="346"/>
                  <a:pt x="33" y="346"/>
                </a:cubicBezTo>
                <a:cubicBezTo>
                  <a:pt x="31" y="346"/>
                  <a:pt x="35" y="343"/>
                  <a:pt x="33" y="345"/>
                </a:cubicBezTo>
                <a:close/>
                <a:moveTo>
                  <a:pt x="32" y="346"/>
                </a:moveTo>
                <a:cubicBezTo>
                  <a:pt x="31" y="347"/>
                  <a:pt x="35" y="345"/>
                  <a:pt x="34" y="345"/>
                </a:cubicBezTo>
                <a:cubicBezTo>
                  <a:pt x="35" y="345"/>
                  <a:pt x="38" y="351"/>
                  <a:pt x="37" y="355"/>
                </a:cubicBezTo>
                <a:cubicBezTo>
                  <a:pt x="37" y="354"/>
                  <a:pt x="34" y="356"/>
                  <a:pt x="34" y="357"/>
                </a:cubicBezTo>
                <a:cubicBezTo>
                  <a:pt x="33" y="356"/>
                  <a:pt x="30" y="349"/>
                  <a:pt x="32" y="346"/>
                </a:cubicBezTo>
                <a:close/>
                <a:moveTo>
                  <a:pt x="31" y="370"/>
                </a:moveTo>
                <a:cubicBezTo>
                  <a:pt x="32" y="370"/>
                  <a:pt x="32" y="371"/>
                  <a:pt x="32" y="372"/>
                </a:cubicBezTo>
                <a:cubicBezTo>
                  <a:pt x="32" y="373"/>
                  <a:pt x="30" y="370"/>
                  <a:pt x="31" y="370"/>
                </a:cubicBezTo>
                <a:close/>
                <a:moveTo>
                  <a:pt x="16" y="392"/>
                </a:moveTo>
                <a:cubicBezTo>
                  <a:pt x="15" y="391"/>
                  <a:pt x="14" y="386"/>
                  <a:pt x="14" y="383"/>
                </a:cubicBezTo>
                <a:cubicBezTo>
                  <a:pt x="14" y="383"/>
                  <a:pt x="14" y="384"/>
                  <a:pt x="14" y="384"/>
                </a:cubicBezTo>
                <a:cubicBezTo>
                  <a:pt x="15" y="387"/>
                  <a:pt x="17" y="389"/>
                  <a:pt x="16" y="392"/>
                </a:cubicBezTo>
                <a:close/>
                <a:moveTo>
                  <a:pt x="20" y="381"/>
                </a:moveTo>
                <a:cubicBezTo>
                  <a:pt x="15" y="383"/>
                  <a:pt x="12" y="373"/>
                  <a:pt x="15" y="371"/>
                </a:cubicBezTo>
                <a:cubicBezTo>
                  <a:pt x="18" y="370"/>
                  <a:pt x="25" y="379"/>
                  <a:pt x="20" y="381"/>
                </a:cubicBezTo>
                <a:close/>
                <a:moveTo>
                  <a:pt x="21" y="396"/>
                </a:moveTo>
                <a:cubicBezTo>
                  <a:pt x="23" y="396"/>
                  <a:pt x="21" y="398"/>
                  <a:pt x="21" y="396"/>
                </a:cubicBezTo>
                <a:close/>
                <a:moveTo>
                  <a:pt x="22" y="368"/>
                </a:moveTo>
                <a:cubicBezTo>
                  <a:pt x="20" y="369"/>
                  <a:pt x="17" y="364"/>
                  <a:pt x="19" y="363"/>
                </a:cubicBezTo>
                <a:cubicBezTo>
                  <a:pt x="19" y="363"/>
                  <a:pt x="20" y="362"/>
                  <a:pt x="20" y="362"/>
                </a:cubicBezTo>
                <a:cubicBezTo>
                  <a:pt x="23" y="361"/>
                  <a:pt x="24" y="367"/>
                  <a:pt x="22" y="368"/>
                </a:cubicBezTo>
                <a:close/>
                <a:moveTo>
                  <a:pt x="23" y="397"/>
                </a:moveTo>
                <a:cubicBezTo>
                  <a:pt x="24" y="398"/>
                  <a:pt x="23" y="401"/>
                  <a:pt x="23" y="397"/>
                </a:cubicBezTo>
                <a:close/>
                <a:moveTo>
                  <a:pt x="27" y="376"/>
                </a:moveTo>
                <a:cubicBezTo>
                  <a:pt x="28" y="375"/>
                  <a:pt x="31" y="380"/>
                  <a:pt x="29" y="381"/>
                </a:cubicBezTo>
                <a:cubicBezTo>
                  <a:pt x="27" y="382"/>
                  <a:pt x="26" y="377"/>
                  <a:pt x="27" y="376"/>
                </a:cubicBezTo>
                <a:close/>
                <a:moveTo>
                  <a:pt x="26" y="382"/>
                </a:moveTo>
                <a:cubicBezTo>
                  <a:pt x="26" y="382"/>
                  <a:pt x="27" y="382"/>
                  <a:pt x="27" y="383"/>
                </a:cubicBezTo>
                <a:cubicBezTo>
                  <a:pt x="27" y="383"/>
                  <a:pt x="26" y="383"/>
                  <a:pt x="26" y="382"/>
                </a:cubicBezTo>
                <a:close/>
                <a:moveTo>
                  <a:pt x="33" y="400"/>
                </a:moveTo>
                <a:cubicBezTo>
                  <a:pt x="34" y="403"/>
                  <a:pt x="32" y="404"/>
                  <a:pt x="33" y="400"/>
                </a:cubicBezTo>
                <a:close/>
                <a:moveTo>
                  <a:pt x="34" y="395"/>
                </a:moveTo>
                <a:cubicBezTo>
                  <a:pt x="32" y="396"/>
                  <a:pt x="29" y="395"/>
                  <a:pt x="28" y="393"/>
                </a:cubicBezTo>
                <a:cubicBezTo>
                  <a:pt x="28" y="393"/>
                  <a:pt x="29" y="392"/>
                  <a:pt x="29" y="391"/>
                </a:cubicBezTo>
                <a:cubicBezTo>
                  <a:pt x="28" y="389"/>
                  <a:pt x="26" y="390"/>
                  <a:pt x="28" y="388"/>
                </a:cubicBezTo>
                <a:cubicBezTo>
                  <a:pt x="30" y="387"/>
                  <a:pt x="27" y="387"/>
                  <a:pt x="29" y="386"/>
                </a:cubicBezTo>
                <a:cubicBezTo>
                  <a:pt x="30" y="386"/>
                  <a:pt x="31" y="382"/>
                  <a:pt x="33" y="382"/>
                </a:cubicBezTo>
                <a:cubicBezTo>
                  <a:pt x="34" y="382"/>
                  <a:pt x="34" y="385"/>
                  <a:pt x="35" y="385"/>
                </a:cubicBezTo>
                <a:cubicBezTo>
                  <a:pt x="38" y="386"/>
                  <a:pt x="35" y="385"/>
                  <a:pt x="36" y="387"/>
                </a:cubicBezTo>
                <a:cubicBezTo>
                  <a:pt x="36" y="387"/>
                  <a:pt x="38" y="388"/>
                  <a:pt x="38" y="388"/>
                </a:cubicBezTo>
                <a:cubicBezTo>
                  <a:pt x="38" y="390"/>
                  <a:pt x="36" y="395"/>
                  <a:pt x="34" y="395"/>
                </a:cubicBezTo>
                <a:close/>
                <a:moveTo>
                  <a:pt x="39" y="373"/>
                </a:moveTo>
                <a:cubicBezTo>
                  <a:pt x="40" y="374"/>
                  <a:pt x="40" y="375"/>
                  <a:pt x="40" y="376"/>
                </a:cubicBezTo>
                <a:cubicBezTo>
                  <a:pt x="38" y="377"/>
                  <a:pt x="37" y="373"/>
                  <a:pt x="39" y="373"/>
                </a:cubicBezTo>
                <a:close/>
                <a:moveTo>
                  <a:pt x="39" y="406"/>
                </a:moveTo>
                <a:cubicBezTo>
                  <a:pt x="40" y="406"/>
                  <a:pt x="38" y="408"/>
                  <a:pt x="39" y="406"/>
                </a:cubicBezTo>
                <a:close/>
                <a:moveTo>
                  <a:pt x="40" y="384"/>
                </a:moveTo>
                <a:cubicBezTo>
                  <a:pt x="40" y="384"/>
                  <a:pt x="41" y="385"/>
                  <a:pt x="40" y="386"/>
                </a:cubicBezTo>
                <a:cubicBezTo>
                  <a:pt x="40" y="386"/>
                  <a:pt x="39" y="385"/>
                  <a:pt x="40" y="384"/>
                </a:cubicBezTo>
                <a:close/>
                <a:moveTo>
                  <a:pt x="42" y="412"/>
                </a:moveTo>
                <a:cubicBezTo>
                  <a:pt x="41" y="414"/>
                  <a:pt x="40" y="411"/>
                  <a:pt x="41" y="411"/>
                </a:cubicBezTo>
                <a:cubicBezTo>
                  <a:pt x="41" y="411"/>
                  <a:pt x="42" y="411"/>
                  <a:pt x="42" y="412"/>
                </a:cubicBezTo>
                <a:close/>
                <a:moveTo>
                  <a:pt x="43" y="354"/>
                </a:moveTo>
                <a:cubicBezTo>
                  <a:pt x="43" y="355"/>
                  <a:pt x="42" y="353"/>
                  <a:pt x="43" y="353"/>
                </a:cubicBezTo>
                <a:cubicBezTo>
                  <a:pt x="43" y="353"/>
                  <a:pt x="44" y="354"/>
                  <a:pt x="43" y="354"/>
                </a:cubicBezTo>
                <a:close/>
                <a:moveTo>
                  <a:pt x="45" y="344"/>
                </a:moveTo>
                <a:cubicBezTo>
                  <a:pt x="45" y="344"/>
                  <a:pt x="47" y="345"/>
                  <a:pt x="48" y="344"/>
                </a:cubicBezTo>
                <a:cubicBezTo>
                  <a:pt x="46" y="345"/>
                  <a:pt x="50" y="347"/>
                  <a:pt x="50" y="348"/>
                </a:cubicBezTo>
                <a:cubicBezTo>
                  <a:pt x="50" y="349"/>
                  <a:pt x="50" y="355"/>
                  <a:pt x="46" y="354"/>
                </a:cubicBezTo>
                <a:cubicBezTo>
                  <a:pt x="43" y="353"/>
                  <a:pt x="43" y="346"/>
                  <a:pt x="45" y="344"/>
                </a:cubicBezTo>
                <a:close/>
                <a:moveTo>
                  <a:pt x="48" y="390"/>
                </a:moveTo>
                <a:cubicBezTo>
                  <a:pt x="49" y="390"/>
                  <a:pt x="47" y="392"/>
                  <a:pt x="48" y="390"/>
                </a:cubicBezTo>
                <a:close/>
                <a:moveTo>
                  <a:pt x="48" y="406"/>
                </a:moveTo>
                <a:cubicBezTo>
                  <a:pt x="47" y="407"/>
                  <a:pt x="47" y="405"/>
                  <a:pt x="48" y="404"/>
                </a:cubicBezTo>
                <a:cubicBezTo>
                  <a:pt x="48" y="404"/>
                  <a:pt x="48" y="405"/>
                  <a:pt x="48" y="406"/>
                </a:cubicBezTo>
                <a:close/>
                <a:moveTo>
                  <a:pt x="46" y="416"/>
                </a:moveTo>
                <a:cubicBezTo>
                  <a:pt x="47" y="417"/>
                  <a:pt x="47" y="418"/>
                  <a:pt x="48" y="419"/>
                </a:cubicBezTo>
                <a:cubicBezTo>
                  <a:pt x="46" y="419"/>
                  <a:pt x="47" y="417"/>
                  <a:pt x="46" y="416"/>
                </a:cubicBezTo>
                <a:close/>
                <a:moveTo>
                  <a:pt x="45" y="412"/>
                </a:moveTo>
                <a:cubicBezTo>
                  <a:pt x="46" y="411"/>
                  <a:pt x="45" y="410"/>
                  <a:pt x="45" y="410"/>
                </a:cubicBezTo>
                <a:cubicBezTo>
                  <a:pt x="47" y="409"/>
                  <a:pt x="46" y="411"/>
                  <a:pt x="48" y="412"/>
                </a:cubicBezTo>
                <a:cubicBezTo>
                  <a:pt x="48" y="412"/>
                  <a:pt x="49" y="412"/>
                  <a:pt x="49" y="412"/>
                </a:cubicBezTo>
                <a:cubicBezTo>
                  <a:pt x="50" y="414"/>
                  <a:pt x="49" y="416"/>
                  <a:pt x="48" y="416"/>
                </a:cubicBezTo>
                <a:cubicBezTo>
                  <a:pt x="45" y="417"/>
                  <a:pt x="44" y="414"/>
                  <a:pt x="45" y="412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204" name="Rectangle 203">
            <a:extLst>
              <a:ext uri="{FF2B5EF4-FFF2-40B4-BE49-F238E27FC236}">
                <a16:creationId xmlns="" xmlns:a16="http://schemas.microsoft.com/office/drawing/2014/main" id="{9936BCE6-D2BD-4506-AC5F-88415EC42F51}"/>
              </a:ext>
            </a:extLst>
          </p:cNvPr>
          <p:cNvSpPr/>
          <p:nvPr/>
        </p:nvSpPr>
        <p:spPr>
          <a:xfrm>
            <a:off x="3596156" y="3812875"/>
            <a:ext cx="20201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NUFACTURING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206" name="Rectangle 205">
            <a:extLst>
              <a:ext uri="{FF2B5EF4-FFF2-40B4-BE49-F238E27FC236}">
                <a16:creationId xmlns="" xmlns:a16="http://schemas.microsoft.com/office/drawing/2014/main" id="{03AFAD8D-BE04-4F01-A8BD-2E62AC1D5022}"/>
              </a:ext>
            </a:extLst>
          </p:cNvPr>
          <p:cNvSpPr/>
          <p:nvPr/>
        </p:nvSpPr>
        <p:spPr>
          <a:xfrm>
            <a:off x="3596156" y="4264049"/>
            <a:ext cx="2029127" cy="15081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lo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l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208" name="Freeform 140">
            <a:extLst>
              <a:ext uri="{FF2B5EF4-FFF2-40B4-BE49-F238E27FC236}">
                <a16:creationId xmlns="" xmlns:a16="http://schemas.microsoft.com/office/drawing/2014/main" id="{4866F810-CC40-4ED7-B9B7-53C7E793B23D}"/>
              </a:ext>
            </a:extLst>
          </p:cNvPr>
          <p:cNvSpPr>
            <a:spLocks noEditPoints="1"/>
          </p:cNvSpPr>
          <p:nvPr/>
        </p:nvSpPr>
        <p:spPr bwMode="auto">
          <a:xfrm>
            <a:off x="6566718" y="1707772"/>
            <a:ext cx="2029127" cy="1930777"/>
          </a:xfrm>
          <a:custGeom>
            <a:avLst/>
            <a:gdLst>
              <a:gd name="T0" fmla="*/ 138 w 832"/>
              <a:gd name="T1" fmla="*/ 476 h 793"/>
              <a:gd name="T2" fmla="*/ 201 w 832"/>
              <a:gd name="T3" fmla="*/ 469 h 793"/>
              <a:gd name="T4" fmla="*/ 181 w 832"/>
              <a:gd name="T5" fmla="*/ 508 h 793"/>
              <a:gd name="T6" fmla="*/ 228 w 832"/>
              <a:gd name="T7" fmla="*/ 531 h 793"/>
              <a:gd name="T8" fmla="*/ 299 w 832"/>
              <a:gd name="T9" fmla="*/ 524 h 793"/>
              <a:gd name="T10" fmla="*/ 313 w 832"/>
              <a:gd name="T11" fmla="*/ 582 h 793"/>
              <a:gd name="T12" fmla="*/ 386 w 832"/>
              <a:gd name="T13" fmla="*/ 657 h 793"/>
              <a:gd name="T14" fmla="*/ 377 w 832"/>
              <a:gd name="T15" fmla="*/ 733 h 793"/>
              <a:gd name="T16" fmla="*/ 730 w 832"/>
              <a:gd name="T17" fmla="*/ 282 h 793"/>
              <a:gd name="T18" fmla="*/ 710 w 832"/>
              <a:gd name="T19" fmla="*/ 255 h 793"/>
              <a:gd name="T20" fmla="*/ 636 w 832"/>
              <a:gd name="T21" fmla="*/ 285 h 793"/>
              <a:gd name="T22" fmla="*/ 609 w 832"/>
              <a:gd name="T23" fmla="*/ 220 h 793"/>
              <a:gd name="T24" fmla="*/ 513 w 832"/>
              <a:gd name="T25" fmla="*/ 163 h 793"/>
              <a:gd name="T26" fmla="*/ 489 w 832"/>
              <a:gd name="T27" fmla="*/ 92 h 793"/>
              <a:gd name="T28" fmla="*/ 475 w 832"/>
              <a:gd name="T29" fmla="*/ 43 h 793"/>
              <a:gd name="T30" fmla="*/ 354 w 832"/>
              <a:gd name="T31" fmla="*/ 39 h 793"/>
              <a:gd name="T32" fmla="*/ 277 w 832"/>
              <a:gd name="T33" fmla="*/ 496 h 793"/>
              <a:gd name="T34" fmla="*/ 815 w 832"/>
              <a:gd name="T35" fmla="*/ 374 h 793"/>
              <a:gd name="T36" fmla="*/ 776 w 832"/>
              <a:gd name="T37" fmla="*/ 327 h 793"/>
              <a:gd name="T38" fmla="*/ 741 w 832"/>
              <a:gd name="T39" fmla="*/ 324 h 793"/>
              <a:gd name="T40" fmla="*/ 695 w 832"/>
              <a:gd name="T41" fmla="*/ 438 h 793"/>
              <a:gd name="T42" fmla="*/ 691 w 832"/>
              <a:gd name="T43" fmla="*/ 299 h 793"/>
              <a:gd name="T44" fmla="*/ 644 w 832"/>
              <a:gd name="T45" fmla="*/ 398 h 793"/>
              <a:gd name="T46" fmla="*/ 484 w 832"/>
              <a:gd name="T47" fmla="*/ 157 h 793"/>
              <a:gd name="T48" fmla="*/ 527 w 832"/>
              <a:gd name="T49" fmla="*/ 671 h 793"/>
              <a:gd name="T50" fmla="*/ 570 w 832"/>
              <a:gd name="T51" fmla="*/ 335 h 793"/>
              <a:gd name="T52" fmla="*/ 591 w 832"/>
              <a:gd name="T53" fmla="*/ 396 h 793"/>
              <a:gd name="T54" fmla="*/ 613 w 832"/>
              <a:gd name="T55" fmla="*/ 276 h 793"/>
              <a:gd name="T56" fmla="*/ 607 w 832"/>
              <a:gd name="T57" fmla="*/ 228 h 793"/>
              <a:gd name="T58" fmla="*/ 549 w 832"/>
              <a:gd name="T59" fmla="*/ 270 h 793"/>
              <a:gd name="T60" fmla="*/ 506 w 832"/>
              <a:gd name="T61" fmla="*/ 202 h 793"/>
              <a:gd name="T62" fmla="*/ 481 w 832"/>
              <a:gd name="T63" fmla="*/ 85 h 793"/>
              <a:gd name="T64" fmla="*/ 300 w 832"/>
              <a:gd name="T65" fmla="*/ 462 h 793"/>
              <a:gd name="T66" fmla="*/ 312 w 832"/>
              <a:gd name="T67" fmla="*/ 574 h 793"/>
              <a:gd name="T68" fmla="*/ 341 w 832"/>
              <a:gd name="T69" fmla="*/ 515 h 793"/>
              <a:gd name="T70" fmla="*/ 319 w 832"/>
              <a:gd name="T71" fmla="*/ 563 h 793"/>
              <a:gd name="T72" fmla="*/ 367 w 832"/>
              <a:gd name="T73" fmla="*/ 558 h 793"/>
              <a:gd name="T74" fmla="*/ 445 w 832"/>
              <a:gd name="T75" fmla="*/ 112 h 793"/>
              <a:gd name="T76" fmla="*/ 469 w 832"/>
              <a:gd name="T77" fmla="*/ 613 h 793"/>
              <a:gd name="T78" fmla="*/ 416 w 832"/>
              <a:gd name="T79" fmla="*/ 113 h 793"/>
              <a:gd name="T80" fmla="*/ 432 w 832"/>
              <a:gd name="T81" fmla="*/ 246 h 793"/>
              <a:gd name="T82" fmla="*/ 442 w 832"/>
              <a:gd name="T83" fmla="*/ 577 h 793"/>
              <a:gd name="T84" fmla="*/ 427 w 832"/>
              <a:gd name="T85" fmla="*/ 695 h 793"/>
              <a:gd name="T86" fmla="*/ 469 w 832"/>
              <a:gd name="T87" fmla="*/ 188 h 793"/>
              <a:gd name="T88" fmla="*/ 410 w 832"/>
              <a:gd name="T89" fmla="*/ 668 h 793"/>
              <a:gd name="T90" fmla="*/ 409 w 832"/>
              <a:gd name="T91" fmla="*/ 52 h 793"/>
              <a:gd name="T92" fmla="*/ 411 w 832"/>
              <a:gd name="T93" fmla="*/ 701 h 793"/>
              <a:gd name="T94" fmla="*/ 472 w 832"/>
              <a:gd name="T95" fmla="*/ 674 h 793"/>
              <a:gd name="T96" fmla="*/ 442 w 832"/>
              <a:gd name="T97" fmla="*/ 6 h 793"/>
              <a:gd name="T98" fmla="*/ 387 w 832"/>
              <a:gd name="T99" fmla="*/ 67 h 793"/>
              <a:gd name="T100" fmla="*/ 360 w 832"/>
              <a:gd name="T101" fmla="*/ 68 h 793"/>
              <a:gd name="T102" fmla="*/ 290 w 832"/>
              <a:gd name="T103" fmla="*/ 379 h 793"/>
              <a:gd name="T104" fmla="*/ 238 w 832"/>
              <a:gd name="T105" fmla="*/ 443 h 793"/>
              <a:gd name="T106" fmla="*/ 231 w 832"/>
              <a:gd name="T107" fmla="*/ 395 h 793"/>
              <a:gd name="T108" fmla="*/ 75 w 832"/>
              <a:gd name="T109" fmla="*/ 451 h 793"/>
              <a:gd name="T110" fmla="*/ 124 w 832"/>
              <a:gd name="T111" fmla="*/ 420 h 793"/>
              <a:gd name="T112" fmla="*/ 149 w 832"/>
              <a:gd name="T113" fmla="*/ 411 h 793"/>
              <a:gd name="T114" fmla="*/ 173 w 832"/>
              <a:gd name="T115" fmla="*/ 418 h 793"/>
              <a:gd name="T116" fmla="*/ 187 w 832"/>
              <a:gd name="T117" fmla="*/ 433 h 793"/>
              <a:gd name="T118" fmla="*/ 147 w 832"/>
              <a:gd name="T119" fmla="*/ 373 h 793"/>
              <a:gd name="T120" fmla="*/ 108 w 832"/>
              <a:gd name="T121" fmla="*/ 299 h 793"/>
              <a:gd name="T122" fmla="*/ 78 w 832"/>
              <a:gd name="T123" fmla="*/ 441 h 793"/>
              <a:gd name="T124" fmla="*/ 49 w 832"/>
              <a:gd name="T125" fmla="*/ 418 h 7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32" h="793">
                <a:moveTo>
                  <a:pt x="49" y="426"/>
                </a:moveTo>
                <a:cubicBezTo>
                  <a:pt x="70" y="447"/>
                  <a:pt x="70" y="447"/>
                  <a:pt x="70" y="447"/>
                </a:cubicBezTo>
                <a:cubicBezTo>
                  <a:pt x="71" y="445"/>
                  <a:pt x="72" y="443"/>
                  <a:pt x="73" y="446"/>
                </a:cubicBezTo>
                <a:cubicBezTo>
                  <a:pt x="73" y="446"/>
                  <a:pt x="74" y="448"/>
                  <a:pt x="72" y="449"/>
                </a:cubicBezTo>
                <a:cubicBezTo>
                  <a:pt x="72" y="449"/>
                  <a:pt x="72" y="449"/>
                  <a:pt x="72" y="449"/>
                </a:cubicBezTo>
                <a:cubicBezTo>
                  <a:pt x="76" y="453"/>
                  <a:pt x="76" y="453"/>
                  <a:pt x="76" y="453"/>
                </a:cubicBezTo>
                <a:cubicBezTo>
                  <a:pt x="76" y="451"/>
                  <a:pt x="76" y="449"/>
                  <a:pt x="76" y="449"/>
                </a:cubicBezTo>
                <a:cubicBezTo>
                  <a:pt x="77" y="449"/>
                  <a:pt x="78" y="450"/>
                  <a:pt x="78" y="451"/>
                </a:cubicBezTo>
                <a:cubicBezTo>
                  <a:pt x="78" y="451"/>
                  <a:pt x="78" y="451"/>
                  <a:pt x="78" y="451"/>
                </a:cubicBezTo>
                <a:cubicBezTo>
                  <a:pt x="79" y="452"/>
                  <a:pt x="78" y="454"/>
                  <a:pt x="78" y="455"/>
                </a:cubicBezTo>
                <a:cubicBezTo>
                  <a:pt x="80" y="457"/>
                  <a:pt x="80" y="457"/>
                  <a:pt x="80" y="457"/>
                </a:cubicBezTo>
                <a:cubicBezTo>
                  <a:pt x="80" y="457"/>
                  <a:pt x="80" y="457"/>
                  <a:pt x="80" y="457"/>
                </a:cubicBezTo>
                <a:cubicBezTo>
                  <a:pt x="80" y="457"/>
                  <a:pt x="80" y="457"/>
                  <a:pt x="80" y="457"/>
                </a:cubicBezTo>
                <a:cubicBezTo>
                  <a:pt x="80" y="457"/>
                  <a:pt x="80" y="457"/>
                  <a:pt x="80" y="457"/>
                </a:cubicBezTo>
                <a:cubicBezTo>
                  <a:pt x="81" y="458"/>
                  <a:pt x="83" y="459"/>
                  <a:pt x="83" y="460"/>
                </a:cubicBezTo>
                <a:cubicBezTo>
                  <a:pt x="83" y="460"/>
                  <a:pt x="84" y="460"/>
                  <a:pt x="84" y="460"/>
                </a:cubicBezTo>
                <a:cubicBezTo>
                  <a:pt x="88" y="465"/>
                  <a:pt x="88" y="465"/>
                  <a:pt x="88" y="465"/>
                </a:cubicBezTo>
                <a:cubicBezTo>
                  <a:pt x="88" y="464"/>
                  <a:pt x="88" y="463"/>
                  <a:pt x="88" y="463"/>
                </a:cubicBezTo>
                <a:cubicBezTo>
                  <a:pt x="88" y="464"/>
                  <a:pt x="88" y="464"/>
                  <a:pt x="88" y="465"/>
                </a:cubicBezTo>
                <a:cubicBezTo>
                  <a:pt x="90" y="467"/>
                  <a:pt x="90" y="467"/>
                  <a:pt x="90" y="467"/>
                </a:cubicBezTo>
                <a:cubicBezTo>
                  <a:pt x="90" y="463"/>
                  <a:pt x="97" y="464"/>
                  <a:pt x="96" y="468"/>
                </a:cubicBezTo>
                <a:cubicBezTo>
                  <a:pt x="96" y="468"/>
                  <a:pt x="95" y="469"/>
                  <a:pt x="95" y="469"/>
                </a:cubicBezTo>
                <a:cubicBezTo>
                  <a:pt x="95" y="470"/>
                  <a:pt x="96" y="472"/>
                  <a:pt x="96" y="473"/>
                </a:cubicBezTo>
                <a:cubicBezTo>
                  <a:pt x="98" y="475"/>
                  <a:pt x="98" y="475"/>
                  <a:pt x="98" y="475"/>
                </a:cubicBezTo>
                <a:cubicBezTo>
                  <a:pt x="98" y="473"/>
                  <a:pt x="98" y="471"/>
                  <a:pt x="99" y="471"/>
                </a:cubicBezTo>
                <a:cubicBezTo>
                  <a:pt x="99" y="471"/>
                  <a:pt x="100" y="472"/>
                  <a:pt x="101" y="471"/>
                </a:cubicBezTo>
                <a:cubicBezTo>
                  <a:pt x="102" y="471"/>
                  <a:pt x="101" y="469"/>
                  <a:pt x="102" y="466"/>
                </a:cubicBezTo>
                <a:cubicBezTo>
                  <a:pt x="102" y="465"/>
                  <a:pt x="104" y="464"/>
                  <a:pt x="103" y="463"/>
                </a:cubicBezTo>
                <a:cubicBezTo>
                  <a:pt x="104" y="462"/>
                  <a:pt x="104" y="463"/>
                  <a:pt x="105" y="463"/>
                </a:cubicBezTo>
                <a:cubicBezTo>
                  <a:pt x="104" y="462"/>
                  <a:pt x="104" y="462"/>
                  <a:pt x="104" y="461"/>
                </a:cubicBezTo>
                <a:cubicBezTo>
                  <a:pt x="104" y="461"/>
                  <a:pt x="104" y="461"/>
                  <a:pt x="103" y="461"/>
                </a:cubicBezTo>
                <a:cubicBezTo>
                  <a:pt x="101" y="464"/>
                  <a:pt x="99" y="462"/>
                  <a:pt x="97" y="459"/>
                </a:cubicBezTo>
                <a:cubicBezTo>
                  <a:pt x="96" y="459"/>
                  <a:pt x="96" y="458"/>
                  <a:pt x="96" y="458"/>
                </a:cubicBezTo>
                <a:cubicBezTo>
                  <a:pt x="96" y="457"/>
                  <a:pt x="96" y="456"/>
                  <a:pt x="96" y="455"/>
                </a:cubicBezTo>
                <a:cubicBezTo>
                  <a:pt x="97" y="457"/>
                  <a:pt x="97" y="456"/>
                  <a:pt x="97" y="456"/>
                </a:cubicBezTo>
                <a:cubicBezTo>
                  <a:pt x="95" y="457"/>
                  <a:pt x="98" y="448"/>
                  <a:pt x="97" y="446"/>
                </a:cubicBezTo>
                <a:cubicBezTo>
                  <a:pt x="96" y="445"/>
                  <a:pt x="95" y="445"/>
                  <a:pt x="95" y="445"/>
                </a:cubicBezTo>
                <a:cubicBezTo>
                  <a:pt x="95" y="444"/>
                  <a:pt x="95" y="437"/>
                  <a:pt x="96" y="436"/>
                </a:cubicBezTo>
                <a:cubicBezTo>
                  <a:pt x="96" y="436"/>
                  <a:pt x="98" y="434"/>
                  <a:pt x="98" y="434"/>
                </a:cubicBezTo>
                <a:cubicBezTo>
                  <a:pt x="98" y="434"/>
                  <a:pt x="98" y="433"/>
                  <a:pt x="99" y="433"/>
                </a:cubicBezTo>
                <a:cubicBezTo>
                  <a:pt x="100" y="432"/>
                  <a:pt x="102" y="436"/>
                  <a:pt x="103" y="440"/>
                </a:cubicBezTo>
                <a:cubicBezTo>
                  <a:pt x="103" y="440"/>
                  <a:pt x="103" y="440"/>
                  <a:pt x="103" y="440"/>
                </a:cubicBezTo>
                <a:cubicBezTo>
                  <a:pt x="103" y="440"/>
                  <a:pt x="103" y="440"/>
                  <a:pt x="103" y="440"/>
                </a:cubicBezTo>
                <a:cubicBezTo>
                  <a:pt x="104" y="440"/>
                  <a:pt x="104" y="441"/>
                  <a:pt x="104" y="442"/>
                </a:cubicBezTo>
                <a:cubicBezTo>
                  <a:pt x="105" y="444"/>
                  <a:pt x="107" y="445"/>
                  <a:pt x="108" y="443"/>
                </a:cubicBezTo>
                <a:cubicBezTo>
                  <a:pt x="107" y="444"/>
                  <a:pt x="106" y="440"/>
                  <a:pt x="107" y="440"/>
                </a:cubicBezTo>
                <a:cubicBezTo>
                  <a:pt x="108" y="440"/>
                  <a:pt x="110" y="446"/>
                  <a:pt x="112" y="445"/>
                </a:cubicBezTo>
                <a:cubicBezTo>
                  <a:pt x="111" y="445"/>
                  <a:pt x="113" y="442"/>
                  <a:pt x="113" y="442"/>
                </a:cubicBezTo>
                <a:cubicBezTo>
                  <a:pt x="114" y="442"/>
                  <a:pt x="114" y="445"/>
                  <a:pt x="115" y="446"/>
                </a:cubicBezTo>
                <a:cubicBezTo>
                  <a:pt x="116" y="446"/>
                  <a:pt x="116" y="446"/>
                  <a:pt x="116" y="446"/>
                </a:cubicBezTo>
                <a:cubicBezTo>
                  <a:pt x="117" y="446"/>
                  <a:pt x="117" y="446"/>
                  <a:pt x="118" y="446"/>
                </a:cubicBezTo>
                <a:cubicBezTo>
                  <a:pt x="118" y="445"/>
                  <a:pt x="117" y="444"/>
                  <a:pt x="119" y="444"/>
                </a:cubicBezTo>
                <a:cubicBezTo>
                  <a:pt x="117" y="443"/>
                  <a:pt x="117" y="442"/>
                  <a:pt x="116" y="440"/>
                </a:cubicBezTo>
                <a:cubicBezTo>
                  <a:pt x="117" y="442"/>
                  <a:pt x="119" y="442"/>
                  <a:pt x="119" y="443"/>
                </a:cubicBezTo>
                <a:cubicBezTo>
                  <a:pt x="120" y="445"/>
                  <a:pt x="119" y="443"/>
                  <a:pt x="121" y="440"/>
                </a:cubicBezTo>
                <a:cubicBezTo>
                  <a:pt x="120" y="440"/>
                  <a:pt x="120" y="441"/>
                  <a:pt x="119" y="441"/>
                </a:cubicBezTo>
                <a:cubicBezTo>
                  <a:pt x="114" y="441"/>
                  <a:pt x="118" y="433"/>
                  <a:pt x="121" y="436"/>
                </a:cubicBezTo>
                <a:cubicBezTo>
                  <a:pt x="122" y="436"/>
                  <a:pt x="121" y="440"/>
                  <a:pt x="121" y="440"/>
                </a:cubicBezTo>
                <a:cubicBezTo>
                  <a:pt x="122" y="442"/>
                  <a:pt x="123" y="441"/>
                  <a:pt x="125" y="441"/>
                </a:cubicBezTo>
                <a:cubicBezTo>
                  <a:pt x="125" y="442"/>
                  <a:pt x="124" y="443"/>
                  <a:pt x="125" y="444"/>
                </a:cubicBezTo>
                <a:cubicBezTo>
                  <a:pt x="125" y="445"/>
                  <a:pt x="126" y="444"/>
                  <a:pt x="126" y="444"/>
                </a:cubicBezTo>
                <a:cubicBezTo>
                  <a:pt x="128" y="445"/>
                  <a:pt x="128" y="451"/>
                  <a:pt x="129" y="450"/>
                </a:cubicBezTo>
                <a:cubicBezTo>
                  <a:pt x="129" y="450"/>
                  <a:pt x="129" y="450"/>
                  <a:pt x="129" y="451"/>
                </a:cubicBezTo>
                <a:cubicBezTo>
                  <a:pt x="129" y="451"/>
                  <a:pt x="129" y="451"/>
                  <a:pt x="130" y="451"/>
                </a:cubicBezTo>
                <a:cubicBezTo>
                  <a:pt x="130" y="451"/>
                  <a:pt x="130" y="451"/>
                  <a:pt x="130" y="451"/>
                </a:cubicBezTo>
                <a:cubicBezTo>
                  <a:pt x="130" y="451"/>
                  <a:pt x="129" y="451"/>
                  <a:pt x="129" y="451"/>
                </a:cubicBezTo>
                <a:cubicBezTo>
                  <a:pt x="128" y="452"/>
                  <a:pt x="126" y="454"/>
                  <a:pt x="124" y="455"/>
                </a:cubicBezTo>
                <a:cubicBezTo>
                  <a:pt x="124" y="456"/>
                  <a:pt x="124" y="457"/>
                  <a:pt x="123" y="457"/>
                </a:cubicBezTo>
                <a:cubicBezTo>
                  <a:pt x="121" y="456"/>
                  <a:pt x="123" y="453"/>
                  <a:pt x="121" y="454"/>
                </a:cubicBezTo>
                <a:cubicBezTo>
                  <a:pt x="117" y="455"/>
                  <a:pt x="122" y="462"/>
                  <a:pt x="126" y="460"/>
                </a:cubicBezTo>
                <a:cubicBezTo>
                  <a:pt x="126" y="462"/>
                  <a:pt x="125" y="464"/>
                  <a:pt x="123" y="465"/>
                </a:cubicBezTo>
                <a:cubicBezTo>
                  <a:pt x="124" y="465"/>
                  <a:pt x="125" y="466"/>
                  <a:pt x="124" y="467"/>
                </a:cubicBezTo>
                <a:cubicBezTo>
                  <a:pt x="123" y="468"/>
                  <a:pt x="122" y="466"/>
                  <a:pt x="123" y="466"/>
                </a:cubicBezTo>
                <a:cubicBezTo>
                  <a:pt x="122" y="466"/>
                  <a:pt x="122" y="466"/>
                  <a:pt x="121" y="467"/>
                </a:cubicBezTo>
                <a:cubicBezTo>
                  <a:pt x="122" y="467"/>
                  <a:pt x="122" y="467"/>
                  <a:pt x="122" y="468"/>
                </a:cubicBezTo>
                <a:cubicBezTo>
                  <a:pt x="121" y="468"/>
                  <a:pt x="121" y="467"/>
                  <a:pt x="121" y="467"/>
                </a:cubicBezTo>
                <a:cubicBezTo>
                  <a:pt x="121" y="467"/>
                  <a:pt x="120" y="467"/>
                  <a:pt x="120" y="467"/>
                </a:cubicBezTo>
                <a:cubicBezTo>
                  <a:pt x="121" y="467"/>
                  <a:pt x="121" y="469"/>
                  <a:pt x="121" y="471"/>
                </a:cubicBezTo>
                <a:cubicBezTo>
                  <a:pt x="121" y="471"/>
                  <a:pt x="121" y="471"/>
                  <a:pt x="121" y="471"/>
                </a:cubicBezTo>
                <a:cubicBezTo>
                  <a:pt x="122" y="471"/>
                  <a:pt x="122" y="472"/>
                  <a:pt x="122" y="472"/>
                </a:cubicBezTo>
                <a:cubicBezTo>
                  <a:pt x="122" y="472"/>
                  <a:pt x="122" y="472"/>
                  <a:pt x="122" y="472"/>
                </a:cubicBezTo>
                <a:cubicBezTo>
                  <a:pt x="122" y="472"/>
                  <a:pt x="122" y="473"/>
                  <a:pt x="122" y="473"/>
                </a:cubicBezTo>
                <a:cubicBezTo>
                  <a:pt x="123" y="474"/>
                  <a:pt x="123" y="473"/>
                  <a:pt x="123" y="472"/>
                </a:cubicBezTo>
                <a:cubicBezTo>
                  <a:pt x="124" y="471"/>
                  <a:pt x="124" y="476"/>
                  <a:pt x="123" y="476"/>
                </a:cubicBezTo>
                <a:cubicBezTo>
                  <a:pt x="124" y="476"/>
                  <a:pt x="125" y="475"/>
                  <a:pt x="125" y="474"/>
                </a:cubicBezTo>
                <a:cubicBezTo>
                  <a:pt x="124" y="474"/>
                  <a:pt x="124" y="470"/>
                  <a:pt x="125" y="471"/>
                </a:cubicBezTo>
                <a:cubicBezTo>
                  <a:pt x="125" y="472"/>
                  <a:pt x="125" y="472"/>
                  <a:pt x="125" y="472"/>
                </a:cubicBezTo>
                <a:cubicBezTo>
                  <a:pt x="125" y="472"/>
                  <a:pt x="126" y="472"/>
                  <a:pt x="126" y="472"/>
                </a:cubicBezTo>
                <a:cubicBezTo>
                  <a:pt x="125" y="472"/>
                  <a:pt x="127" y="473"/>
                  <a:pt x="126" y="474"/>
                </a:cubicBezTo>
                <a:cubicBezTo>
                  <a:pt x="128" y="473"/>
                  <a:pt x="127" y="470"/>
                  <a:pt x="128" y="470"/>
                </a:cubicBezTo>
                <a:cubicBezTo>
                  <a:pt x="131" y="472"/>
                  <a:pt x="127" y="476"/>
                  <a:pt x="127" y="477"/>
                </a:cubicBezTo>
                <a:cubicBezTo>
                  <a:pt x="127" y="477"/>
                  <a:pt x="128" y="478"/>
                  <a:pt x="128" y="478"/>
                </a:cubicBezTo>
                <a:cubicBezTo>
                  <a:pt x="128" y="478"/>
                  <a:pt x="128" y="477"/>
                  <a:pt x="128" y="477"/>
                </a:cubicBezTo>
                <a:cubicBezTo>
                  <a:pt x="129" y="475"/>
                  <a:pt x="130" y="471"/>
                  <a:pt x="132" y="473"/>
                </a:cubicBezTo>
                <a:cubicBezTo>
                  <a:pt x="131" y="473"/>
                  <a:pt x="131" y="472"/>
                  <a:pt x="132" y="471"/>
                </a:cubicBezTo>
                <a:cubicBezTo>
                  <a:pt x="133" y="471"/>
                  <a:pt x="133" y="471"/>
                  <a:pt x="133" y="471"/>
                </a:cubicBezTo>
                <a:cubicBezTo>
                  <a:pt x="133" y="471"/>
                  <a:pt x="133" y="471"/>
                  <a:pt x="133" y="471"/>
                </a:cubicBezTo>
                <a:cubicBezTo>
                  <a:pt x="134" y="470"/>
                  <a:pt x="136" y="471"/>
                  <a:pt x="135" y="472"/>
                </a:cubicBezTo>
                <a:cubicBezTo>
                  <a:pt x="136" y="475"/>
                  <a:pt x="136" y="481"/>
                  <a:pt x="138" y="476"/>
                </a:cubicBezTo>
                <a:cubicBezTo>
                  <a:pt x="137" y="478"/>
                  <a:pt x="141" y="480"/>
                  <a:pt x="139" y="482"/>
                </a:cubicBezTo>
                <a:cubicBezTo>
                  <a:pt x="139" y="482"/>
                  <a:pt x="138" y="482"/>
                  <a:pt x="138" y="482"/>
                </a:cubicBezTo>
                <a:cubicBezTo>
                  <a:pt x="138" y="483"/>
                  <a:pt x="141" y="489"/>
                  <a:pt x="142" y="489"/>
                </a:cubicBezTo>
                <a:cubicBezTo>
                  <a:pt x="143" y="489"/>
                  <a:pt x="144" y="483"/>
                  <a:pt x="146" y="486"/>
                </a:cubicBezTo>
                <a:cubicBezTo>
                  <a:pt x="146" y="487"/>
                  <a:pt x="145" y="490"/>
                  <a:pt x="145" y="490"/>
                </a:cubicBezTo>
                <a:cubicBezTo>
                  <a:pt x="141" y="491"/>
                  <a:pt x="146" y="492"/>
                  <a:pt x="147" y="492"/>
                </a:cubicBezTo>
                <a:cubicBezTo>
                  <a:pt x="148" y="492"/>
                  <a:pt x="147" y="490"/>
                  <a:pt x="148" y="490"/>
                </a:cubicBezTo>
                <a:cubicBezTo>
                  <a:pt x="148" y="490"/>
                  <a:pt x="151" y="493"/>
                  <a:pt x="151" y="492"/>
                </a:cubicBezTo>
                <a:cubicBezTo>
                  <a:pt x="152" y="493"/>
                  <a:pt x="153" y="492"/>
                  <a:pt x="152" y="495"/>
                </a:cubicBezTo>
                <a:cubicBezTo>
                  <a:pt x="153" y="495"/>
                  <a:pt x="153" y="493"/>
                  <a:pt x="154" y="492"/>
                </a:cubicBezTo>
                <a:cubicBezTo>
                  <a:pt x="154" y="491"/>
                  <a:pt x="155" y="490"/>
                  <a:pt x="156" y="491"/>
                </a:cubicBezTo>
                <a:cubicBezTo>
                  <a:pt x="156" y="491"/>
                  <a:pt x="157" y="491"/>
                  <a:pt x="157" y="491"/>
                </a:cubicBezTo>
                <a:cubicBezTo>
                  <a:pt x="157" y="492"/>
                  <a:pt x="157" y="492"/>
                  <a:pt x="157" y="492"/>
                </a:cubicBezTo>
                <a:cubicBezTo>
                  <a:pt x="157" y="493"/>
                  <a:pt x="156" y="494"/>
                  <a:pt x="156" y="494"/>
                </a:cubicBezTo>
                <a:cubicBezTo>
                  <a:pt x="156" y="494"/>
                  <a:pt x="156" y="495"/>
                  <a:pt x="155" y="495"/>
                </a:cubicBezTo>
                <a:cubicBezTo>
                  <a:pt x="156" y="495"/>
                  <a:pt x="156" y="495"/>
                  <a:pt x="157" y="496"/>
                </a:cubicBezTo>
                <a:cubicBezTo>
                  <a:pt x="157" y="495"/>
                  <a:pt x="158" y="495"/>
                  <a:pt x="158" y="495"/>
                </a:cubicBezTo>
                <a:cubicBezTo>
                  <a:pt x="160" y="495"/>
                  <a:pt x="161" y="498"/>
                  <a:pt x="160" y="499"/>
                </a:cubicBezTo>
                <a:cubicBezTo>
                  <a:pt x="160" y="500"/>
                  <a:pt x="160" y="500"/>
                  <a:pt x="161" y="500"/>
                </a:cubicBezTo>
                <a:cubicBezTo>
                  <a:pt x="160" y="501"/>
                  <a:pt x="158" y="503"/>
                  <a:pt x="158" y="504"/>
                </a:cubicBezTo>
                <a:cubicBezTo>
                  <a:pt x="158" y="504"/>
                  <a:pt x="158" y="504"/>
                  <a:pt x="158" y="504"/>
                </a:cubicBezTo>
                <a:cubicBezTo>
                  <a:pt x="158" y="504"/>
                  <a:pt x="157" y="504"/>
                  <a:pt x="157" y="504"/>
                </a:cubicBezTo>
                <a:cubicBezTo>
                  <a:pt x="157" y="504"/>
                  <a:pt x="157" y="505"/>
                  <a:pt x="157" y="505"/>
                </a:cubicBezTo>
                <a:cubicBezTo>
                  <a:pt x="157" y="507"/>
                  <a:pt x="161" y="504"/>
                  <a:pt x="162" y="507"/>
                </a:cubicBezTo>
                <a:cubicBezTo>
                  <a:pt x="161" y="505"/>
                  <a:pt x="162" y="504"/>
                  <a:pt x="163" y="503"/>
                </a:cubicBezTo>
                <a:cubicBezTo>
                  <a:pt x="162" y="502"/>
                  <a:pt x="163" y="499"/>
                  <a:pt x="165" y="500"/>
                </a:cubicBezTo>
                <a:cubicBezTo>
                  <a:pt x="164" y="498"/>
                  <a:pt x="163" y="495"/>
                  <a:pt x="166" y="496"/>
                </a:cubicBezTo>
                <a:cubicBezTo>
                  <a:pt x="166" y="495"/>
                  <a:pt x="166" y="495"/>
                  <a:pt x="166" y="494"/>
                </a:cubicBezTo>
                <a:cubicBezTo>
                  <a:pt x="165" y="497"/>
                  <a:pt x="164" y="494"/>
                  <a:pt x="165" y="493"/>
                </a:cubicBezTo>
                <a:cubicBezTo>
                  <a:pt x="165" y="492"/>
                  <a:pt x="166" y="493"/>
                  <a:pt x="166" y="493"/>
                </a:cubicBezTo>
                <a:cubicBezTo>
                  <a:pt x="167" y="493"/>
                  <a:pt x="166" y="491"/>
                  <a:pt x="167" y="490"/>
                </a:cubicBezTo>
                <a:cubicBezTo>
                  <a:pt x="169" y="488"/>
                  <a:pt x="170" y="489"/>
                  <a:pt x="170" y="486"/>
                </a:cubicBezTo>
                <a:cubicBezTo>
                  <a:pt x="169" y="483"/>
                  <a:pt x="172" y="482"/>
                  <a:pt x="171" y="480"/>
                </a:cubicBezTo>
                <a:cubicBezTo>
                  <a:pt x="170" y="479"/>
                  <a:pt x="164" y="481"/>
                  <a:pt x="165" y="477"/>
                </a:cubicBezTo>
                <a:cubicBezTo>
                  <a:pt x="165" y="476"/>
                  <a:pt x="166" y="477"/>
                  <a:pt x="166" y="475"/>
                </a:cubicBezTo>
                <a:cubicBezTo>
                  <a:pt x="165" y="474"/>
                  <a:pt x="167" y="467"/>
                  <a:pt x="169" y="473"/>
                </a:cubicBezTo>
                <a:cubicBezTo>
                  <a:pt x="169" y="473"/>
                  <a:pt x="168" y="475"/>
                  <a:pt x="168" y="475"/>
                </a:cubicBezTo>
                <a:cubicBezTo>
                  <a:pt x="168" y="477"/>
                  <a:pt x="171" y="477"/>
                  <a:pt x="171" y="478"/>
                </a:cubicBezTo>
                <a:cubicBezTo>
                  <a:pt x="172" y="478"/>
                  <a:pt x="170" y="480"/>
                  <a:pt x="171" y="480"/>
                </a:cubicBezTo>
                <a:cubicBezTo>
                  <a:pt x="173" y="480"/>
                  <a:pt x="173" y="477"/>
                  <a:pt x="174" y="477"/>
                </a:cubicBezTo>
                <a:cubicBezTo>
                  <a:pt x="173" y="476"/>
                  <a:pt x="170" y="476"/>
                  <a:pt x="172" y="475"/>
                </a:cubicBezTo>
                <a:cubicBezTo>
                  <a:pt x="172" y="474"/>
                  <a:pt x="176" y="476"/>
                  <a:pt x="176" y="476"/>
                </a:cubicBezTo>
                <a:cubicBezTo>
                  <a:pt x="179" y="476"/>
                  <a:pt x="179" y="475"/>
                  <a:pt x="180" y="478"/>
                </a:cubicBezTo>
                <a:cubicBezTo>
                  <a:pt x="180" y="480"/>
                  <a:pt x="179" y="483"/>
                  <a:pt x="178" y="484"/>
                </a:cubicBezTo>
                <a:cubicBezTo>
                  <a:pt x="176" y="486"/>
                  <a:pt x="178" y="484"/>
                  <a:pt x="180" y="485"/>
                </a:cubicBezTo>
                <a:cubicBezTo>
                  <a:pt x="181" y="486"/>
                  <a:pt x="182" y="488"/>
                  <a:pt x="182" y="490"/>
                </a:cubicBezTo>
                <a:cubicBezTo>
                  <a:pt x="183" y="489"/>
                  <a:pt x="185" y="488"/>
                  <a:pt x="185" y="490"/>
                </a:cubicBezTo>
                <a:cubicBezTo>
                  <a:pt x="185" y="489"/>
                  <a:pt x="185" y="489"/>
                  <a:pt x="185" y="489"/>
                </a:cubicBezTo>
                <a:cubicBezTo>
                  <a:pt x="186" y="490"/>
                  <a:pt x="185" y="490"/>
                  <a:pt x="185" y="490"/>
                </a:cubicBezTo>
                <a:cubicBezTo>
                  <a:pt x="185" y="490"/>
                  <a:pt x="185" y="490"/>
                  <a:pt x="185" y="491"/>
                </a:cubicBezTo>
                <a:cubicBezTo>
                  <a:pt x="185" y="487"/>
                  <a:pt x="190" y="497"/>
                  <a:pt x="191" y="494"/>
                </a:cubicBezTo>
                <a:cubicBezTo>
                  <a:pt x="192" y="494"/>
                  <a:pt x="192" y="493"/>
                  <a:pt x="192" y="493"/>
                </a:cubicBezTo>
                <a:cubicBezTo>
                  <a:pt x="192" y="493"/>
                  <a:pt x="192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4" y="493"/>
                  <a:pt x="195" y="492"/>
                  <a:pt x="196" y="492"/>
                </a:cubicBezTo>
                <a:cubicBezTo>
                  <a:pt x="196" y="491"/>
                  <a:pt x="197" y="491"/>
                  <a:pt x="197" y="491"/>
                </a:cubicBezTo>
                <a:cubicBezTo>
                  <a:pt x="198" y="491"/>
                  <a:pt x="199" y="491"/>
                  <a:pt x="200" y="493"/>
                </a:cubicBezTo>
                <a:cubicBezTo>
                  <a:pt x="202" y="496"/>
                  <a:pt x="201" y="491"/>
                  <a:pt x="200" y="491"/>
                </a:cubicBezTo>
                <a:cubicBezTo>
                  <a:pt x="200" y="491"/>
                  <a:pt x="200" y="490"/>
                  <a:pt x="200" y="489"/>
                </a:cubicBezTo>
                <a:cubicBezTo>
                  <a:pt x="199" y="489"/>
                  <a:pt x="199" y="489"/>
                  <a:pt x="199" y="489"/>
                </a:cubicBezTo>
                <a:cubicBezTo>
                  <a:pt x="199" y="487"/>
                  <a:pt x="199" y="484"/>
                  <a:pt x="200" y="483"/>
                </a:cubicBezTo>
                <a:cubicBezTo>
                  <a:pt x="200" y="485"/>
                  <a:pt x="200" y="486"/>
                  <a:pt x="201" y="488"/>
                </a:cubicBezTo>
                <a:cubicBezTo>
                  <a:pt x="201" y="487"/>
                  <a:pt x="202" y="487"/>
                  <a:pt x="202" y="488"/>
                </a:cubicBezTo>
                <a:cubicBezTo>
                  <a:pt x="202" y="488"/>
                  <a:pt x="202" y="489"/>
                  <a:pt x="201" y="489"/>
                </a:cubicBezTo>
                <a:cubicBezTo>
                  <a:pt x="201" y="489"/>
                  <a:pt x="201" y="490"/>
                  <a:pt x="201" y="490"/>
                </a:cubicBezTo>
                <a:cubicBezTo>
                  <a:pt x="202" y="489"/>
                  <a:pt x="202" y="488"/>
                  <a:pt x="203" y="487"/>
                </a:cubicBezTo>
                <a:cubicBezTo>
                  <a:pt x="202" y="488"/>
                  <a:pt x="203" y="490"/>
                  <a:pt x="204" y="491"/>
                </a:cubicBezTo>
                <a:cubicBezTo>
                  <a:pt x="204" y="491"/>
                  <a:pt x="204" y="491"/>
                  <a:pt x="204" y="491"/>
                </a:cubicBezTo>
                <a:cubicBezTo>
                  <a:pt x="204" y="491"/>
                  <a:pt x="204" y="491"/>
                  <a:pt x="204" y="491"/>
                </a:cubicBezTo>
                <a:cubicBezTo>
                  <a:pt x="205" y="491"/>
                  <a:pt x="205" y="491"/>
                  <a:pt x="205" y="490"/>
                </a:cubicBezTo>
                <a:cubicBezTo>
                  <a:pt x="205" y="490"/>
                  <a:pt x="205" y="490"/>
                  <a:pt x="205" y="490"/>
                </a:cubicBezTo>
                <a:cubicBezTo>
                  <a:pt x="205" y="490"/>
                  <a:pt x="205" y="490"/>
                  <a:pt x="205" y="490"/>
                </a:cubicBezTo>
                <a:cubicBezTo>
                  <a:pt x="204" y="490"/>
                  <a:pt x="204" y="490"/>
                  <a:pt x="204" y="490"/>
                </a:cubicBezTo>
                <a:cubicBezTo>
                  <a:pt x="204" y="490"/>
                  <a:pt x="204" y="490"/>
                  <a:pt x="204" y="490"/>
                </a:cubicBezTo>
                <a:cubicBezTo>
                  <a:pt x="204" y="490"/>
                  <a:pt x="204" y="490"/>
                  <a:pt x="205" y="489"/>
                </a:cubicBezTo>
                <a:cubicBezTo>
                  <a:pt x="205" y="489"/>
                  <a:pt x="205" y="489"/>
                  <a:pt x="205" y="489"/>
                </a:cubicBezTo>
                <a:cubicBezTo>
                  <a:pt x="205" y="489"/>
                  <a:pt x="205" y="489"/>
                  <a:pt x="205" y="489"/>
                </a:cubicBezTo>
                <a:cubicBezTo>
                  <a:pt x="205" y="488"/>
                  <a:pt x="206" y="487"/>
                  <a:pt x="206" y="487"/>
                </a:cubicBezTo>
                <a:cubicBezTo>
                  <a:pt x="205" y="486"/>
                  <a:pt x="204" y="486"/>
                  <a:pt x="203" y="486"/>
                </a:cubicBezTo>
                <a:cubicBezTo>
                  <a:pt x="203" y="487"/>
                  <a:pt x="202" y="487"/>
                  <a:pt x="202" y="487"/>
                </a:cubicBezTo>
                <a:cubicBezTo>
                  <a:pt x="201" y="487"/>
                  <a:pt x="201" y="486"/>
                  <a:pt x="202" y="486"/>
                </a:cubicBezTo>
                <a:cubicBezTo>
                  <a:pt x="202" y="486"/>
                  <a:pt x="201" y="486"/>
                  <a:pt x="201" y="486"/>
                </a:cubicBezTo>
                <a:cubicBezTo>
                  <a:pt x="201" y="485"/>
                  <a:pt x="201" y="483"/>
                  <a:pt x="202" y="481"/>
                </a:cubicBezTo>
                <a:cubicBezTo>
                  <a:pt x="200" y="482"/>
                  <a:pt x="199" y="481"/>
                  <a:pt x="199" y="478"/>
                </a:cubicBezTo>
                <a:cubicBezTo>
                  <a:pt x="199" y="478"/>
                  <a:pt x="199" y="478"/>
                  <a:pt x="199" y="478"/>
                </a:cubicBezTo>
                <a:cubicBezTo>
                  <a:pt x="199" y="479"/>
                  <a:pt x="197" y="484"/>
                  <a:pt x="197" y="485"/>
                </a:cubicBezTo>
                <a:cubicBezTo>
                  <a:pt x="197" y="485"/>
                  <a:pt x="198" y="490"/>
                  <a:pt x="196" y="487"/>
                </a:cubicBezTo>
                <a:cubicBezTo>
                  <a:pt x="194" y="486"/>
                  <a:pt x="198" y="481"/>
                  <a:pt x="198" y="478"/>
                </a:cubicBezTo>
                <a:cubicBezTo>
                  <a:pt x="197" y="478"/>
                  <a:pt x="197" y="477"/>
                  <a:pt x="197" y="477"/>
                </a:cubicBezTo>
                <a:cubicBezTo>
                  <a:pt x="197" y="476"/>
                  <a:pt x="197" y="475"/>
                  <a:pt x="198" y="475"/>
                </a:cubicBezTo>
                <a:cubicBezTo>
                  <a:pt x="198" y="474"/>
                  <a:pt x="198" y="474"/>
                  <a:pt x="198" y="473"/>
                </a:cubicBezTo>
                <a:cubicBezTo>
                  <a:pt x="198" y="472"/>
                  <a:pt x="197" y="473"/>
                  <a:pt x="196" y="473"/>
                </a:cubicBezTo>
                <a:cubicBezTo>
                  <a:pt x="196" y="472"/>
                  <a:pt x="195" y="470"/>
                  <a:pt x="195" y="470"/>
                </a:cubicBezTo>
                <a:cubicBezTo>
                  <a:pt x="195" y="468"/>
                  <a:pt x="198" y="469"/>
                  <a:pt x="199" y="470"/>
                </a:cubicBezTo>
                <a:cubicBezTo>
                  <a:pt x="198" y="469"/>
                  <a:pt x="200" y="470"/>
                  <a:pt x="201" y="469"/>
                </a:cubicBezTo>
                <a:cubicBezTo>
                  <a:pt x="200" y="470"/>
                  <a:pt x="202" y="464"/>
                  <a:pt x="204" y="464"/>
                </a:cubicBezTo>
                <a:cubicBezTo>
                  <a:pt x="204" y="465"/>
                  <a:pt x="203" y="468"/>
                  <a:pt x="203" y="469"/>
                </a:cubicBezTo>
                <a:cubicBezTo>
                  <a:pt x="203" y="469"/>
                  <a:pt x="203" y="469"/>
                  <a:pt x="203" y="469"/>
                </a:cubicBezTo>
                <a:cubicBezTo>
                  <a:pt x="203" y="469"/>
                  <a:pt x="204" y="468"/>
                  <a:pt x="204" y="469"/>
                </a:cubicBezTo>
                <a:cubicBezTo>
                  <a:pt x="205" y="469"/>
                  <a:pt x="205" y="470"/>
                  <a:pt x="205" y="471"/>
                </a:cubicBezTo>
                <a:cubicBezTo>
                  <a:pt x="205" y="471"/>
                  <a:pt x="205" y="471"/>
                  <a:pt x="205" y="471"/>
                </a:cubicBezTo>
                <a:cubicBezTo>
                  <a:pt x="205" y="471"/>
                  <a:pt x="205" y="472"/>
                  <a:pt x="203" y="472"/>
                </a:cubicBezTo>
                <a:cubicBezTo>
                  <a:pt x="201" y="472"/>
                  <a:pt x="203" y="473"/>
                  <a:pt x="204" y="474"/>
                </a:cubicBezTo>
                <a:cubicBezTo>
                  <a:pt x="204" y="474"/>
                  <a:pt x="204" y="474"/>
                  <a:pt x="204" y="474"/>
                </a:cubicBezTo>
                <a:cubicBezTo>
                  <a:pt x="205" y="474"/>
                  <a:pt x="205" y="474"/>
                  <a:pt x="205" y="474"/>
                </a:cubicBezTo>
                <a:cubicBezTo>
                  <a:pt x="206" y="475"/>
                  <a:pt x="206" y="476"/>
                  <a:pt x="205" y="476"/>
                </a:cubicBezTo>
                <a:cubicBezTo>
                  <a:pt x="206" y="477"/>
                  <a:pt x="207" y="476"/>
                  <a:pt x="208" y="476"/>
                </a:cubicBezTo>
                <a:cubicBezTo>
                  <a:pt x="209" y="476"/>
                  <a:pt x="208" y="477"/>
                  <a:pt x="209" y="478"/>
                </a:cubicBezTo>
                <a:cubicBezTo>
                  <a:pt x="209" y="478"/>
                  <a:pt x="209" y="478"/>
                  <a:pt x="209" y="478"/>
                </a:cubicBezTo>
                <a:cubicBezTo>
                  <a:pt x="212" y="475"/>
                  <a:pt x="215" y="470"/>
                  <a:pt x="211" y="471"/>
                </a:cubicBezTo>
                <a:cubicBezTo>
                  <a:pt x="214" y="469"/>
                  <a:pt x="210" y="467"/>
                  <a:pt x="209" y="466"/>
                </a:cubicBezTo>
                <a:cubicBezTo>
                  <a:pt x="208" y="464"/>
                  <a:pt x="210" y="467"/>
                  <a:pt x="210" y="466"/>
                </a:cubicBezTo>
                <a:cubicBezTo>
                  <a:pt x="212" y="465"/>
                  <a:pt x="209" y="463"/>
                  <a:pt x="210" y="460"/>
                </a:cubicBezTo>
                <a:cubicBezTo>
                  <a:pt x="210" y="460"/>
                  <a:pt x="212" y="458"/>
                  <a:pt x="212" y="458"/>
                </a:cubicBezTo>
                <a:cubicBezTo>
                  <a:pt x="213" y="456"/>
                  <a:pt x="210" y="457"/>
                  <a:pt x="213" y="456"/>
                </a:cubicBezTo>
                <a:cubicBezTo>
                  <a:pt x="215" y="456"/>
                  <a:pt x="216" y="452"/>
                  <a:pt x="217" y="451"/>
                </a:cubicBezTo>
                <a:cubicBezTo>
                  <a:pt x="217" y="451"/>
                  <a:pt x="221" y="451"/>
                  <a:pt x="221" y="449"/>
                </a:cubicBezTo>
                <a:cubicBezTo>
                  <a:pt x="217" y="452"/>
                  <a:pt x="215" y="447"/>
                  <a:pt x="217" y="446"/>
                </a:cubicBezTo>
                <a:cubicBezTo>
                  <a:pt x="217" y="446"/>
                  <a:pt x="216" y="443"/>
                  <a:pt x="219" y="443"/>
                </a:cubicBezTo>
                <a:cubicBezTo>
                  <a:pt x="221" y="442"/>
                  <a:pt x="220" y="443"/>
                  <a:pt x="222" y="441"/>
                </a:cubicBezTo>
                <a:cubicBezTo>
                  <a:pt x="224" y="440"/>
                  <a:pt x="222" y="448"/>
                  <a:pt x="222" y="449"/>
                </a:cubicBezTo>
                <a:cubicBezTo>
                  <a:pt x="223" y="451"/>
                  <a:pt x="224" y="448"/>
                  <a:pt x="224" y="451"/>
                </a:cubicBezTo>
                <a:cubicBezTo>
                  <a:pt x="225" y="457"/>
                  <a:pt x="228" y="468"/>
                  <a:pt x="219" y="471"/>
                </a:cubicBezTo>
                <a:cubicBezTo>
                  <a:pt x="217" y="471"/>
                  <a:pt x="216" y="470"/>
                  <a:pt x="215" y="471"/>
                </a:cubicBezTo>
                <a:cubicBezTo>
                  <a:pt x="213" y="473"/>
                  <a:pt x="212" y="475"/>
                  <a:pt x="211" y="478"/>
                </a:cubicBezTo>
                <a:cubicBezTo>
                  <a:pt x="211" y="478"/>
                  <a:pt x="211" y="478"/>
                  <a:pt x="211" y="478"/>
                </a:cubicBezTo>
                <a:cubicBezTo>
                  <a:pt x="212" y="478"/>
                  <a:pt x="211" y="480"/>
                  <a:pt x="211" y="480"/>
                </a:cubicBezTo>
                <a:cubicBezTo>
                  <a:pt x="212" y="480"/>
                  <a:pt x="213" y="480"/>
                  <a:pt x="213" y="480"/>
                </a:cubicBezTo>
                <a:cubicBezTo>
                  <a:pt x="214" y="480"/>
                  <a:pt x="214" y="479"/>
                  <a:pt x="215" y="479"/>
                </a:cubicBezTo>
                <a:cubicBezTo>
                  <a:pt x="215" y="480"/>
                  <a:pt x="215" y="480"/>
                  <a:pt x="215" y="480"/>
                </a:cubicBezTo>
                <a:cubicBezTo>
                  <a:pt x="215" y="480"/>
                  <a:pt x="216" y="480"/>
                  <a:pt x="216" y="481"/>
                </a:cubicBezTo>
                <a:cubicBezTo>
                  <a:pt x="216" y="482"/>
                  <a:pt x="215" y="484"/>
                  <a:pt x="217" y="483"/>
                </a:cubicBezTo>
                <a:cubicBezTo>
                  <a:pt x="216" y="484"/>
                  <a:pt x="216" y="486"/>
                  <a:pt x="216" y="487"/>
                </a:cubicBezTo>
                <a:cubicBezTo>
                  <a:pt x="216" y="487"/>
                  <a:pt x="216" y="487"/>
                  <a:pt x="216" y="487"/>
                </a:cubicBezTo>
                <a:cubicBezTo>
                  <a:pt x="217" y="487"/>
                  <a:pt x="219" y="486"/>
                  <a:pt x="219" y="486"/>
                </a:cubicBezTo>
                <a:cubicBezTo>
                  <a:pt x="220" y="486"/>
                  <a:pt x="219" y="489"/>
                  <a:pt x="217" y="490"/>
                </a:cubicBezTo>
                <a:cubicBezTo>
                  <a:pt x="217" y="491"/>
                  <a:pt x="217" y="492"/>
                  <a:pt x="217" y="492"/>
                </a:cubicBezTo>
                <a:cubicBezTo>
                  <a:pt x="217" y="492"/>
                  <a:pt x="221" y="486"/>
                  <a:pt x="222" y="489"/>
                </a:cubicBezTo>
                <a:cubicBezTo>
                  <a:pt x="222" y="489"/>
                  <a:pt x="222" y="489"/>
                  <a:pt x="222" y="489"/>
                </a:cubicBezTo>
                <a:cubicBezTo>
                  <a:pt x="222" y="489"/>
                  <a:pt x="225" y="487"/>
                  <a:pt x="225" y="487"/>
                </a:cubicBezTo>
                <a:cubicBezTo>
                  <a:pt x="227" y="489"/>
                  <a:pt x="224" y="492"/>
                  <a:pt x="223" y="494"/>
                </a:cubicBezTo>
                <a:cubicBezTo>
                  <a:pt x="225" y="494"/>
                  <a:pt x="226" y="495"/>
                  <a:pt x="225" y="496"/>
                </a:cubicBezTo>
                <a:cubicBezTo>
                  <a:pt x="225" y="497"/>
                  <a:pt x="225" y="497"/>
                  <a:pt x="224" y="497"/>
                </a:cubicBezTo>
                <a:cubicBezTo>
                  <a:pt x="225" y="498"/>
                  <a:pt x="225" y="498"/>
                  <a:pt x="223" y="499"/>
                </a:cubicBezTo>
                <a:cubicBezTo>
                  <a:pt x="223" y="499"/>
                  <a:pt x="223" y="500"/>
                  <a:pt x="222" y="499"/>
                </a:cubicBezTo>
                <a:cubicBezTo>
                  <a:pt x="221" y="499"/>
                  <a:pt x="221" y="498"/>
                  <a:pt x="222" y="498"/>
                </a:cubicBezTo>
                <a:cubicBezTo>
                  <a:pt x="222" y="498"/>
                  <a:pt x="222" y="498"/>
                  <a:pt x="221" y="498"/>
                </a:cubicBezTo>
                <a:cubicBezTo>
                  <a:pt x="221" y="500"/>
                  <a:pt x="221" y="502"/>
                  <a:pt x="219" y="503"/>
                </a:cubicBezTo>
                <a:cubicBezTo>
                  <a:pt x="219" y="504"/>
                  <a:pt x="219" y="504"/>
                  <a:pt x="220" y="505"/>
                </a:cubicBezTo>
                <a:cubicBezTo>
                  <a:pt x="220" y="505"/>
                  <a:pt x="220" y="505"/>
                  <a:pt x="220" y="505"/>
                </a:cubicBezTo>
                <a:cubicBezTo>
                  <a:pt x="221" y="504"/>
                  <a:pt x="222" y="503"/>
                  <a:pt x="223" y="502"/>
                </a:cubicBezTo>
                <a:cubicBezTo>
                  <a:pt x="223" y="504"/>
                  <a:pt x="222" y="505"/>
                  <a:pt x="220" y="506"/>
                </a:cubicBezTo>
                <a:cubicBezTo>
                  <a:pt x="220" y="507"/>
                  <a:pt x="220" y="507"/>
                  <a:pt x="220" y="507"/>
                </a:cubicBezTo>
                <a:cubicBezTo>
                  <a:pt x="221" y="506"/>
                  <a:pt x="221" y="506"/>
                  <a:pt x="221" y="506"/>
                </a:cubicBezTo>
                <a:cubicBezTo>
                  <a:pt x="222" y="507"/>
                  <a:pt x="221" y="507"/>
                  <a:pt x="220" y="507"/>
                </a:cubicBezTo>
                <a:cubicBezTo>
                  <a:pt x="219" y="509"/>
                  <a:pt x="216" y="511"/>
                  <a:pt x="215" y="512"/>
                </a:cubicBezTo>
                <a:cubicBezTo>
                  <a:pt x="216" y="512"/>
                  <a:pt x="216" y="512"/>
                  <a:pt x="216" y="512"/>
                </a:cubicBezTo>
                <a:cubicBezTo>
                  <a:pt x="217" y="512"/>
                  <a:pt x="217" y="513"/>
                  <a:pt x="217" y="514"/>
                </a:cubicBezTo>
                <a:cubicBezTo>
                  <a:pt x="217" y="515"/>
                  <a:pt x="217" y="515"/>
                  <a:pt x="217" y="515"/>
                </a:cubicBezTo>
                <a:cubicBezTo>
                  <a:pt x="217" y="516"/>
                  <a:pt x="215" y="519"/>
                  <a:pt x="214" y="518"/>
                </a:cubicBezTo>
                <a:cubicBezTo>
                  <a:pt x="214" y="518"/>
                  <a:pt x="214" y="518"/>
                  <a:pt x="214" y="517"/>
                </a:cubicBezTo>
                <a:cubicBezTo>
                  <a:pt x="214" y="518"/>
                  <a:pt x="214" y="518"/>
                  <a:pt x="214" y="518"/>
                </a:cubicBezTo>
                <a:cubicBezTo>
                  <a:pt x="214" y="518"/>
                  <a:pt x="213" y="518"/>
                  <a:pt x="213" y="518"/>
                </a:cubicBezTo>
                <a:cubicBezTo>
                  <a:pt x="211" y="517"/>
                  <a:pt x="213" y="516"/>
                  <a:pt x="214" y="517"/>
                </a:cubicBezTo>
                <a:cubicBezTo>
                  <a:pt x="214" y="516"/>
                  <a:pt x="214" y="516"/>
                  <a:pt x="214" y="515"/>
                </a:cubicBezTo>
                <a:cubicBezTo>
                  <a:pt x="213" y="516"/>
                  <a:pt x="213" y="516"/>
                  <a:pt x="213" y="516"/>
                </a:cubicBezTo>
                <a:cubicBezTo>
                  <a:pt x="212" y="517"/>
                  <a:pt x="211" y="516"/>
                  <a:pt x="212" y="515"/>
                </a:cubicBezTo>
                <a:cubicBezTo>
                  <a:pt x="209" y="515"/>
                  <a:pt x="203" y="515"/>
                  <a:pt x="204" y="515"/>
                </a:cubicBezTo>
                <a:cubicBezTo>
                  <a:pt x="203" y="515"/>
                  <a:pt x="200" y="523"/>
                  <a:pt x="200" y="518"/>
                </a:cubicBezTo>
                <a:cubicBezTo>
                  <a:pt x="200" y="519"/>
                  <a:pt x="200" y="519"/>
                  <a:pt x="200" y="519"/>
                </a:cubicBezTo>
                <a:cubicBezTo>
                  <a:pt x="200" y="519"/>
                  <a:pt x="200" y="519"/>
                  <a:pt x="199" y="519"/>
                </a:cubicBezTo>
                <a:cubicBezTo>
                  <a:pt x="199" y="520"/>
                  <a:pt x="199" y="520"/>
                  <a:pt x="198" y="519"/>
                </a:cubicBezTo>
                <a:cubicBezTo>
                  <a:pt x="198" y="520"/>
                  <a:pt x="198" y="520"/>
                  <a:pt x="198" y="520"/>
                </a:cubicBezTo>
                <a:cubicBezTo>
                  <a:pt x="197" y="521"/>
                  <a:pt x="197" y="519"/>
                  <a:pt x="197" y="519"/>
                </a:cubicBezTo>
                <a:cubicBezTo>
                  <a:pt x="196" y="518"/>
                  <a:pt x="196" y="517"/>
                  <a:pt x="195" y="517"/>
                </a:cubicBezTo>
                <a:cubicBezTo>
                  <a:pt x="195" y="517"/>
                  <a:pt x="193" y="516"/>
                  <a:pt x="193" y="517"/>
                </a:cubicBezTo>
                <a:cubicBezTo>
                  <a:pt x="192" y="515"/>
                  <a:pt x="194" y="514"/>
                  <a:pt x="194" y="513"/>
                </a:cubicBezTo>
                <a:cubicBezTo>
                  <a:pt x="194" y="512"/>
                  <a:pt x="194" y="512"/>
                  <a:pt x="194" y="511"/>
                </a:cubicBezTo>
                <a:cubicBezTo>
                  <a:pt x="194" y="513"/>
                  <a:pt x="193" y="514"/>
                  <a:pt x="192" y="513"/>
                </a:cubicBezTo>
                <a:cubicBezTo>
                  <a:pt x="191" y="513"/>
                  <a:pt x="191" y="513"/>
                  <a:pt x="191" y="512"/>
                </a:cubicBezTo>
                <a:cubicBezTo>
                  <a:pt x="190" y="512"/>
                  <a:pt x="189" y="511"/>
                  <a:pt x="189" y="510"/>
                </a:cubicBezTo>
                <a:cubicBezTo>
                  <a:pt x="190" y="509"/>
                  <a:pt x="190" y="509"/>
                  <a:pt x="191" y="509"/>
                </a:cubicBezTo>
                <a:cubicBezTo>
                  <a:pt x="191" y="508"/>
                  <a:pt x="192" y="507"/>
                  <a:pt x="193" y="507"/>
                </a:cubicBezTo>
                <a:cubicBezTo>
                  <a:pt x="193" y="507"/>
                  <a:pt x="194" y="508"/>
                  <a:pt x="194" y="508"/>
                </a:cubicBezTo>
                <a:cubicBezTo>
                  <a:pt x="196" y="507"/>
                  <a:pt x="193" y="505"/>
                  <a:pt x="197" y="505"/>
                </a:cubicBezTo>
                <a:cubicBezTo>
                  <a:pt x="194" y="505"/>
                  <a:pt x="194" y="501"/>
                  <a:pt x="191" y="501"/>
                </a:cubicBezTo>
                <a:cubicBezTo>
                  <a:pt x="190" y="501"/>
                  <a:pt x="185" y="504"/>
                  <a:pt x="185" y="505"/>
                </a:cubicBezTo>
                <a:cubicBezTo>
                  <a:pt x="185" y="505"/>
                  <a:pt x="186" y="505"/>
                  <a:pt x="185" y="506"/>
                </a:cubicBezTo>
                <a:cubicBezTo>
                  <a:pt x="186" y="506"/>
                  <a:pt x="186" y="506"/>
                  <a:pt x="186" y="506"/>
                </a:cubicBezTo>
                <a:cubicBezTo>
                  <a:pt x="186" y="506"/>
                  <a:pt x="186" y="506"/>
                  <a:pt x="185" y="506"/>
                </a:cubicBezTo>
                <a:cubicBezTo>
                  <a:pt x="185" y="506"/>
                  <a:pt x="185" y="506"/>
                  <a:pt x="185" y="506"/>
                </a:cubicBezTo>
                <a:cubicBezTo>
                  <a:pt x="185" y="507"/>
                  <a:pt x="182" y="505"/>
                  <a:pt x="180" y="507"/>
                </a:cubicBezTo>
                <a:cubicBezTo>
                  <a:pt x="181" y="506"/>
                  <a:pt x="179" y="508"/>
                  <a:pt x="180" y="508"/>
                </a:cubicBezTo>
                <a:cubicBezTo>
                  <a:pt x="180" y="509"/>
                  <a:pt x="181" y="508"/>
                  <a:pt x="181" y="508"/>
                </a:cubicBezTo>
                <a:cubicBezTo>
                  <a:pt x="181" y="507"/>
                  <a:pt x="181" y="506"/>
                  <a:pt x="182" y="506"/>
                </a:cubicBezTo>
                <a:cubicBezTo>
                  <a:pt x="183" y="507"/>
                  <a:pt x="182" y="508"/>
                  <a:pt x="182" y="508"/>
                </a:cubicBezTo>
                <a:cubicBezTo>
                  <a:pt x="183" y="509"/>
                  <a:pt x="181" y="511"/>
                  <a:pt x="182" y="512"/>
                </a:cubicBezTo>
                <a:cubicBezTo>
                  <a:pt x="182" y="514"/>
                  <a:pt x="183" y="512"/>
                  <a:pt x="184" y="514"/>
                </a:cubicBezTo>
                <a:cubicBezTo>
                  <a:pt x="181" y="513"/>
                  <a:pt x="182" y="514"/>
                  <a:pt x="182" y="515"/>
                </a:cubicBezTo>
                <a:cubicBezTo>
                  <a:pt x="182" y="515"/>
                  <a:pt x="182" y="515"/>
                  <a:pt x="182" y="516"/>
                </a:cubicBezTo>
                <a:cubicBezTo>
                  <a:pt x="182" y="516"/>
                  <a:pt x="182" y="516"/>
                  <a:pt x="182" y="516"/>
                </a:cubicBezTo>
                <a:cubicBezTo>
                  <a:pt x="182" y="516"/>
                  <a:pt x="182" y="516"/>
                  <a:pt x="182" y="516"/>
                </a:cubicBezTo>
                <a:cubicBezTo>
                  <a:pt x="182" y="516"/>
                  <a:pt x="182" y="517"/>
                  <a:pt x="182" y="517"/>
                </a:cubicBezTo>
                <a:cubicBezTo>
                  <a:pt x="182" y="519"/>
                  <a:pt x="180" y="520"/>
                  <a:pt x="180" y="522"/>
                </a:cubicBezTo>
                <a:cubicBezTo>
                  <a:pt x="180" y="522"/>
                  <a:pt x="181" y="523"/>
                  <a:pt x="181" y="523"/>
                </a:cubicBezTo>
                <a:cubicBezTo>
                  <a:pt x="181" y="523"/>
                  <a:pt x="180" y="523"/>
                  <a:pt x="180" y="523"/>
                </a:cubicBezTo>
                <a:cubicBezTo>
                  <a:pt x="180" y="523"/>
                  <a:pt x="180" y="524"/>
                  <a:pt x="180" y="524"/>
                </a:cubicBezTo>
                <a:cubicBezTo>
                  <a:pt x="180" y="524"/>
                  <a:pt x="182" y="523"/>
                  <a:pt x="183" y="524"/>
                </a:cubicBezTo>
                <a:cubicBezTo>
                  <a:pt x="185" y="525"/>
                  <a:pt x="183" y="527"/>
                  <a:pt x="184" y="528"/>
                </a:cubicBezTo>
                <a:cubicBezTo>
                  <a:pt x="184" y="528"/>
                  <a:pt x="186" y="529"/>
                  <a:pt x="186" y="530"/>
                </a:cubicBezTo>
                <a:cubicBezTo>
                  <a:pt x="187" y="529"/>
                  <a:pt x="188" y="528"/>
                  <a:pt x="190" y="528"/>
                </a:cubicBezTo>
                <a:cubicBezTo>
                  <a:pt x="191" y="529"/>
                  <a:pt x="188" y="530"/>
                  <a:pt x="189" y="530"/>
                </a:cubicBezTo>
                <a:cubicBezTo>
                  <a:pt x="189" y="530"/>
                  <a:pt x="189" y="530"/>
                  <a:pt x="189" y="531"/>
                </a:cubicBezTo>
                <a:cubicBezTo>
                  <a:pt x="189" y="531"/>
                  <a:pt x="189" y="531"/>
                  <a:pt x="189" y="530"/>
                </a:cubicBezTo>
                <a:cubicBezTo>
                  <a:pt x="190" y="530"/>
                  <a:pt x="190" y="528"/>
                  <a:pt x="191" y="529"/>
                </a:cubicBezTo>
                <a:cubicBezTo>
                  <a:pt x="192" y="529"/>
                  <a:pt x="192" y="530"/>
                  <a:pt x="192" y="531"/>
                </a:cubicBezTo>
                <a:cubicBezTo>
                  <a:pt x="193" y="531"/>
                  <a:pt x="193" y="532"/>
                  <a:pt x="192" y="534"/>
                </a:cubicBezTo>
                <a:cubicBezTo>
                  <a:pt x="192" y="534"/>
                  <a:pt x="192" y="534"/>
                  <a:pt x="191" y="535"/>
                </a:cubicBezTo>
                <a:cubicBezTo>
                  <a:pt x="191" y="535"/>
                  <a:pt x="190" y="535"/>
                  <a:pt x="189" y="535"/>
                </a:cubicBezTo>
                <a:cubicBezTo>
                  <a:pt x="188" y="535"/>
                  <a:pt x="188" y="535"/>
                  <a:pt x="187" y="537"/>
                </a:cubicBezTo>
                <a:cubicBezTo>
                  <a:pt x="187" y="536"/>
                  <a:pt x="187" y="535"/>
                  <a:pt x="187" y="535"/>
                </a:cubicBezTo>
                <a:cubicBezTo>
                  <a:pt x="187" y="535"/>
                  <a:pt x="187" y="535"/>
                  <a:pt x="187" y="535"/>
                </a:cubicBezTo>
                <a:cubicBezTo>
                  <a:pt x="187" y="536"/>
                  <a:pt x="186" y="538"/>
                  <a:pt x="186" y="539"/>
                </a:cubicBezTo>
                <a:cubicBezTo>
                  <a:pt x="186" y="539"/>
                  <a:pt x="185" y="538"/>
                  <a:pt x="185" y="538"/>
                </a:cubicBezTo>
                <a:cubicBezTo>
                  <a:pt x="185" y="538"/>
                  <a:pt x="185" y="539"/>
                  <a:pt x="185" y="539"/>
                </a:cubicBezTo>
                <a:cubicBezTo>
                  <a:pt x="184" y="540"/>
                  <a:pt x="182" y="542"/>
                  <a:pt x="185" y="541"/>
                </a:cubicBezTo>
                <a:cubicBezTo>
                  <a:pt x="186" y="540"/>
                  <a:pt x="184" y="544"/>
                  <a:pt x="185" y="543"/>
                </a:cubicBezTo>
                <a:cubicBezTo>
                  <a:pt x="186" y="543"/>
                  <a:pt x="186" y="543"/>
                  <a:pt x="186" y="543"/>
                </a:cubicBezTo>
                <a:cubicBezTo>
                  <a:pt x="186" y="543"/>
                  <a:pt x="186" y="543"/>
                  <a:pt x="186" y="543"/>
                </a:cubicBezTo>
                <a:cubicBezTo>
                  <a:pt x="187" y="541"/>
                  <a:pt x="184" y="539"/>
                  <a:pt x="187" y="538"/>
                </a:cubicBezTo>
                <a:cubicBezTo>
                  <a:pt x="187" y="538"/>
                  <a:pt x="187" y="539"/>
                  <a:pt x="187" y="539"/>
                </a:cubicBezTo>
                <a:cubicBezTo>
                  <a:pt x="189" y="540"/>
                  <a:pt x="191" y="538"/>
                  <a:pt x="192" y="540"/>
                </a:cubicBezTo>
                <a:cubicBezTo>
                  <a:pt x="192" y="541"/>
                  <a:pt x="190" y="540"/>
                  <a:pt x="190" y="542"/>
                </a:cubicBezTo>
                <a:cubicBezTo>
                  <a:pt x="190" y="543"/>
                  <a:pt x="194" y="542"/>
                  <a:pt x="195" y="540"/>
                </a:cubicBezTo>
                <a:cubicBezTo>
                  <a:pt x="194" y="540"/>
                  <a:pt x="194" y="539"/>
                  <a:pt x="194" y="538"/>
                </a:cubicBezTo>
                <a:cubicBezTo>
                  <a:pt x="194" y="538"/>
                  <a:pt x="194" y="538"/>
                  <a:pt x="194" y="537"/>
                </a:cubicBezTo>
                <a:cubicBezTo>
                  <a:pt x="194" y="538"/>
                  <a:pt x="194" y="538"/>
                  <a:pt x="194" y="538"/>
                </a:cubicBezTo>
                <a:cubicBezTo>
                  <a:pt x="195" y="537"/>
                  <a:pt x="195" y="537"/>
                  <a:pt x="195" y="537"/>
                </a:cubicBezTo>
                <a:cubicBezTo>
                  <a:pt x="195" y="537"/>
                  <a:pt x="197" y="538"/>
                  <a:pt x="197" y="538"/>
                </a:cubicBezTo>
                <a:cubicBezTo>
                  <a:pt x="198" y="538"/>
                  <a:pt x="199" y="537"/>
                  <a:pt x="199" y="536"/>
                </a:cubicBezTo>
                <a:cubicBezTo>
                  <a:pt x="198" y="536"/>
                  <a:pt x="197" y="535"/>
                  <a:pt x="197" y="534"/>
                </a:cubicBezTo>
                <a:cubicBezTo>
                  <a:pt x="197" y="534"/>
                  <a:pt x="196" y="534"/>
                  <a:pt x="196" y="534"/>
                </a:cubicBezTo>
                <a:cubicBezTo>
                  <a:pt x="196" y="534"/>
                  <a:pt x="196" y="533"/>
                  <a:pt x="196" y="533"/>
                </a:cubicBezTo>
                <a:cubicBezTo>
                  <a:pt x="196" y="533"/>
                  <a:pt x="196" y="533"/>
                  <a:pt x="196" y="532"/>
                </a:cubicBezTo>
                <a:cubicBezTo>
                  <a:pt x="196" y="532"/>
                  <a:pt x="196" y="532"/>
                  <a:pt x="196" y="532"/>
                </a:cubicBezTo>
                <a:cubicBezTo>
                  <a:pt x="195" y="533"/>
                  <a:pt x="195" y="532"/>
                  <a:pt x="195" y="532"/>
                </a:cubicBezTo>
                <a:cubicBezTo>
                  <a:pt x="195" y="531"/>
                  <a:pt x="195" y="531"/>
                  <a:pt x="196" y="531"/>
                </a:cubicBezTo>
                <a:cubicBezTo>
                  <a:pt x="195" y="529"/>
                  <a:pt x="196" y="527"/>
                  <a:pt x="198" y="526"/>
                </a:cubicBezTo>
                <a:cubicBezTo>
                  <a:pt x="198" y="525"/>
                  <a:pt x="199" y="524"/>
                  <a:pt x="200" y="524"/>
                </a:cubicBezTo>
                <a:cubicBezTo>
                  <a:pt x="200" y="523"/>
                  <a:pt x="201" y="520"/>
                  <a:pt x="202" y="521"/>
                </a:cubicBezTo>
                <a:cubicBezTo>
                  <a:pt x="203" y="522"/>
                  <a:pt x="202" y="523"/>
                  <a:pt x="202" y="523"/>
                </a:cubicBezTo>
                <a:cubicBezTo>
                  <a:pt x="202" y="523"/>
                  <a:pt x="202" y="523"/>
                  <a:pt x="202" y="523"/>
                </a:cubicBezTo>
                <a:cubicBezTo>
                  <a:pt x="202" y="523"/>
                  <a:pt x="202" y="523"/>
                  <a:pt x="202" y="523"/>
                </a:cubicBezTo>
                <a:cubicBezTo>
                  <a:pt x="202" y="523"/>
                  <a:pt x="202" y="523"/>
                  <a:pt x="202" y="523"/>
                </a:cubicBezTo>
                <a:cubicBezTo>
                  <a:pt x="202" y="523"/>
                  <a:pt x="202" y="523"/>
                  <a:pt x="202" y="523"/>
                </a:cubicBezTo>
                <a:cubicBezTo>
                  <a:pt x="205" y="523"/>
                  <a:pt x="207" y="524"/>
                  <a:pt x="208" y="525"/>
                </a:cubicBezTo>
                <a:cubicBezTo>
                  <a:pt x="208" y="525"/>
                  <a:pt x="209" y="525"/>
                  <a:pt x="209" y="525"/>
                </a:cubicBezTo>
                <a:cubicBezTo>
                  <a:pt x="209" y="525"/>
                  <a:pt x="209" y="525"/>
                  <a:pt x="209" y="526"/>
                </a:cubicBezTo>
                <a:cubicBezTo>
                  <a:pt x="209" y="526"/>
                  <a:pt x="209" y="526"/>
                  <a:pt x="209" y="526"/>
                </a:cubicBezTo>
                <a:cubicBezTo>
                  <a:pt x="211" y="528"/>
                  <a:pt x="212" y="531"/>
                  <a:pt x="211" y="533"/>
                </a:cubicBezTo>
                <a:cubicBezTo>
                  <a:pt x="211" y="533"/>
                  <a:pt x="210" y="536"/>
                  <a:pt x="209" y="536"/>
                </a:cubicBezTo>
                <a:cubicBezTo>
                  <a:pt x="209" y="536"/>
                  <a:pt x="208" y="535"/>
                  <a:pt x="208" y="535"/>
                </a:cubicBezTo>
                <a:cubicBezTo>
                  <a:pt x="208" y="535"/>
                  <a:pt x="208" y="535"/>
                  <a:pt x="208" y="535"/>
                </a:cubicBezTo>
                <a:cubicBezTo>
                  <a:pt x="207" y="536"/>
                  <a:pt x="207" y="537"/>
                  <a:pt x="206" y="537"/>
                </a:cubicBezTo>
                <a:cubicBezTo>
                  <a:pt x="207" y="537"/>
                  <a:pt x="207" y="537"/>
                  <a:pt x="208" y="538"/>
                </a:cubicBezTo>
                <a:cubicBezTo>
                  <a:pt x="208" y="538"/>
                  <a:pt x="206" y="539"/>
                  <a:pt x="206" y="538"/>
                </a:cubicBezTo>
                <a:cubicBezTo>
                  <a:pt x="206" y="538"/>
                  <a:pt x="206" y="538"/>
                  <a:pt x="206" y="538"/>
                </a:cubicBezTo>
                <a:cubicBezTo>
                  <a:pt x="205" y="539"/>
                  <a:pt x="205" y="540"/>
                  <a:pt x="206" y="541"/>
                </a:cubicBezTo>
                <a:cubicBezTo>
                  <a:pt x="206" y="541"/>
                  <a:pt x="209" y="539"/>
                  <a:pt x="209" y="542"/>
                </a:cubicBezTo>
                <a:cubicBezTo>
                  <a:pt x="206" y="541"/>
                  <a:pt x="208" y="542"/>
                  <a:pt x="208" y="545"/>
                </a:cubicBezTo>
                <a:cubicBezTo>
                  <a:pt x="207" y="549"/>
                  <a:pt x="207" y="547"/>
                  <a:pt x="209" y="545"/>
                </a:cubicBezTo>
                <a:cubicBezTo>
                  <a:pt x="211" y="543"/>
                  <a:pt x="211" y="545"/>
                  <a:pt x="212" y="543"/>
                </a:cubicBezTo>
                <a:cubicBezTo>
                  <a:pt x="212" y="543"/>
                  <a:pt x="213" y="541"/>
                  <a:pt x="213" y="539"/>
                </a:cubicBezTo>
                <a:cubicBezTo>
                  <a:pt x="213" y="539"/>
                  <a:pt x="213" y="539"/>
                  <a:pt x="213" y="538"/>
                </a:cubicBezTo>
                <a:cubicBezTo>
                  <a:pt x="213" y="538"/>
                  <a:pt x="213" y="537"/>
                  <a:pt x="213" y="537"/>
                </a:cubicBezTo>
                <a:cubicBezTo>
                  <a:pt x="213" y="538"/>
                  <a:pt x="209" y="536"/>
                  <a:pt x="211" y="535"/>
                </a:cubicBezTo>
                <a:cubicBezTo>
                  <a:pt x="211" y="535"/>
                  <a:pt x="212" y="535"/>
                  <a:pt x="212" y="535"/>
                </a:cubicBezTo>
                <a:cubicBezTo>
                  <a:pt x="212" y="533"/>
                  <a:pt x="214" y="530"/>
                  <a:pt x="214" y="529"/>
                </a:cubicBezTo>
                <a:cubicBezTo>
                  <a:pt x="216" y="526"/>
                  <a:pt x="216" y="526"/>
                  <a:pt x="215" y="529"/>
                </a:cubicBezTo>
                <a:cubicBezTo>
                  <a:pt x="214" y="531"/>
                  <a:pt x="214" y="533"/>
                  <a:pt x="214" y="534"/>
                </a:cubicBezTo>
                <a:cubicBezTo>
                  <a:pt x="215" y="534"/>
                  <a:pt x="214" y="532"/>
                  <a:pt x="215" y="531"/>
                </a:cubicBezTo>
                <a:cubicBezTo>
                  <a:pt x="215" y="530"/>
                  <a:pt x="217" y="530"/>
                  <a:pt x="218" y="529"/>
                </a:cubicBezTo>
                <a:cubicBezTo>
                  <a:pt x="218" y="528"/>
                  <a:pt x="219" y="528"/>
                  <a:pt x="219" y="528"/>
                </a:cubicBezTo>
                <a:cubicBezTo>
                  <a:pt x="219" y="528"/>
                  <a:pt x="219" y="528"/>
                  <a:pt x="220" y="528"/>
                </a:cubicBezTo>
                <a:cubicBezTo>
                  <a:pt x="220" y="528"/>
                  <a:pt x="220" y="528"/>
                  <a:pt x="220" y="528"/>
                </a:cubicBezTo>
                <a:cubicBezTo>
                  <a:pt x="219" y="526"/>
                  <a:pt x="222" y="526"/>
                  <a:pt x="222" y="527"/>
                </a:cubicBezTo>
                <a:cubicBezTo>
                  <a:pt x="222" y="527"/>
                  <a:pt x="223" y="527"/>
                  <a:pt x="223" y="527"/>
                </a:cubicBezTo>
                <a:cubicBezTo>
                  <a:pt x="223" y="527"/>
                  <a:pt x="223" y="527"/>
                  <a:pt x="223" y="528"/>
                </a:cubicBezTo>
                <a:cubicBezTo>
                  <a:pt x="223" y="528"/>
                  <a:pt x="223" y="528"/>
                  <a:pt x="223" y="528"/>
                </a:cubicBezTo>
                <a:cubicBezTo>
                  <a:pt x="223" y="528"/>
                  <a:pt x="224" y="530"/>
                  <a:pt x="225" y="532"/>
                </a:cubicBezTo>
                <a:cubicBezTo>
                  <a:pt x="225" y="531"/>
                  <a:pt x="227" y="531"/>
                  <a:pt x="227" y="532"/>
                </a:cubicBezTo>
                <a:cubicBezTo>
                  <a:pt x="227" y="532"/>
                  <a:pt x="226" y="532"/>
                  <a:pt x="226" y="532"/>
                </a:cubicBezTo>
                <a:cubicBezTo>
                  <a:pt x="227" y="533"/>
                  <a:pt x="227" y="533"/>
                  <a:pt x="228" y="531"/>
                </a:cubicBezTo>
                <a:cubicBezTo>
                  <a:pt x="228" y="531"/>
                  <a:pt x="228" y="531"/>
                  <a:pt x="228" y="531"/>
                </a:cubicBezTo>
                <a:cubicBezTo>
                  <a:pt x="229" y="531"/>
                  <a:pt x="236" y="530"/>
                  <a:pt x="233" y="528"/>
                </a:cubicBezTo>
                <a:cubicBezTo>
                  <a:pt x="232" y="527"/>
                  <a:pt x="232" y="529"/>
                  <a:pt x="232" y="529"/>
                </a:cubicBezTo>
                <a:cubicBezTo>
                  <a:pt x="231" y="529"/>
                  <a:pt x="232" y="528"/>
                  <a:pt x="231" y="528"/>
                </a:cubicBezTo>
                <a:cubicBezTo>
                  <a:pt x="230" y="527"/>
                  <a:pt x="229" y="530"/>
                  <a:pt x="227" y="529"/>
                </a:cubicBezTo>
                <a:cubicBezTo>
                  <a:pt x="230" y="529"/>
                  <a:pt x="228" y="525"/>
                  <a:pt x="230" y="525"/>
                </a:cubicBezTo>
                <a:cubicBezTo>
                  <a:pt x="231" y="524"/>
                  <a:pt x="234" y="528"/>
                  <a:pt x="235" y="528"/>
                </a:cubicBezTo>
                <a:cubicBezTo>
                  <a:pt x="238" y="528"/>
                  <a:pt x="239" y="526"/>
                  <a:pt x="241" y="523"/>
                </a:cubicBezTo>
                <a:cubicBezTo>
                  <a:pt x="239" y="524"/>
                  <a:pt x="238" y="524"/>
                  <a:pt x="236" y="523"/>
                </a:cubicBezTo>
                <a:cubicBezTo>
                  <a:pt x="235" y="524"/>
                  <a:pt x="234" y="525"/>
                  <a:pt x="233" y="522"/>
                </a:cubicBezTo>
                <a:cubicBezTo>
                  <a:pt x="232" y="521"/>
                  <a:pt x="229" y="517"/>
                  <a:pt x="231" y="515"/>
                </a:cubicBezTo>
                <a:cubicBezTo>
                  <a:pt x="235" y="512"/>
                  <a:pt x="241" y="508"/>
                  <a:pt x="242" y="503"/>
                </a:cubicBezTo>
                <a:cubicBezTo>
                  <a:pt x="237" y="508"/>
                  <a:pt x="237" y="501"/>
                  <a:pt x="243" y="501"/>
                </a:cubicBezTo>
                <a:cubicBezTo>
                  <a:pt x="241" y="503"/>
                  <a:pt x="244" y="501"/>
                  <a:pt x="244" y="503"/>
                </a:cubicBezTo>
                <a:cubicBezTo>
                  <a:pt x="244" y="503"/>
                  <a:pt x="244" y="503"/>
                  <a:pt x="244" y="504"/>
                </a:cubicBezTo>
                <a:cubicBezTo>
                  <a:pt x="244" y="504"/>
                  <a:pt x="244" y="504"/>
                  <a:pt x="244" y="504"/>
                </a:cubicBezTo>
                <a:cubicBezTo>
                  <a:pt x="247" y="504"/>
                  <a:pt x="242" y="508"/>
                  <a:pt x="243" y="505"/>
                </a:cubicBezTo>
                <a:cubicBezTo>
                  <a:pt x="243" y="505"/>
                  <a:pt x="243" y="505"/>
                  <a:pt x="243" y="505"/>
                </a:cubicBezTo>
                <a:cubicBezTo>
                  <a:pt x="243" y="505"/>
                  <a:pt x="242" y="506"/>
                  <a:pt x="242" y="507"/>
                </a:cubicBezTo>
                <a:cubicBezTo>
                  <a:pt x="241" y="510"/>
                  <a:pt x="241" y="514"/>
                  <a:pt x="242" y="517"/>
                </a:cubicBezTo>
                <a:cubicBezTo>
                  <a:pt x="243" y="517"/>
                  <a:pt x="243" y="518"/>
                  <a:pt x="243" y="518"/>
                </a:cubicBezTo>
                <a:cubicBezTo>
                  <a:pt x="243" y="519"/>
                  <a:pt x="243" y="519"/>
                  <a:pt x="243" y="519"/>
                </a:cubicBezTo>
                <a:cubicBezTo>
                  <a:pt x="244" y="520"/>
                  <a:pt x="246" y="520"/>
                  <a:pt x="248" y="516"/>
                </a:cubicBezTo>
                <a:cubicBezTo>
                  <a:pt x="248" y="523"/>
                  <a:pt x="254" y="514"/>
                  <a:pt x="253" y="512"/>
                </a:cubicBezTo>
                <a:cubicBezTo>
                  <a:pt x="253" y="512"/>
                  <a:pt x="251" y="511"/>
                  <a:pt x="251" y="511"/>
                </a:cubicBezTo>
                <a:cubicBezTo>
                  <a:pt x="250" y="510"/>
                  <a:pt x="251" y="507"/>
                  <a:pt x="252" y="506"/>
                </a:cubicBezTo>
                <a:cubicBezTo>
                  <a:pt x="253" y="505"/>
                  <a:pt x="257" y="499"/>
                  <a:pt x="255" y="503"/>
                </a:cubicBezTo>
                <a:cubicBezTo>
                  <a:pt x="255" y="505"/>
                  <a:pt x="255" y="507"/>
                  <a:pt x="255" y="508"/>
                </a:cubicBezTo>
                <a:cubicBezTo>
                  <a:pt x="255" y="508"/>
                  <a:pt x="255" y="508"/>
                  <a:pt x="255" y="508"/>
                </a:cubicBezTo>
                <a:cubicBezTo>
                  <a:pt x="255" y="508"/>
                  <a:pt x="255" y="508"/>
                  <a:pt x="255" y="508"/>
                </a:cubicBezTo>
                <a:cubicBezTo>
                  <a:pt x="254" y="510"/>
                  <a:pt x="254" y="511"/>
                  <a:pt x="254" y="513"/>
                </a:cubicBezTo>
                <a:cubicBezTo>
                  <a:pt x="254" y="515"/>
                  <a:pt x="252" y="517"/>
                  <a:pt x="252" y="518"/>
                </a:cubicBezTo>
                <a:cubicBezTo>
                  <a:pt x="252" y="517"/>
                  <a:pt x="252" y="517"/>
                  <a:pt x="253" y="518"/>
                </a:cubicBezTo>
                <a:cubicBezTo>
                  <a:pt x="253" y="519"/>
                  <a:pt x="254" y="519"/>
                  <a:pt x="254" y="519"/>
                </a:cubicBezTo>
                <a:cubicBezTo>
                  <a:pt x="253" y="520"/>
                  <a:pt x="253" y="520"/>
                  <a:pt x="253" y="520"/>
                </a:cubicBezTo>
                <a:cubicBezTo>
                  <a:pt x="253" y="520"/>
                  <a:pt x="253" y="521"/>
                  <a:pt x="254" y="521"/>
                </a:cubicBezTo>
                <a:cubicBezTo>
                  <a:pt x="256" y="521"/>
                  <a:pt x="256" y="513"/>
                  <a:pt x="257" y="510"/>
                </a:cubicBezTo>
                <a:cubicBezTo>
                  <a:pt x="256" y="510"/>
                  <a:pt x="256" y="510"/>
                  <a:pt x="256" y="510"/>
                </a:cubicBezTo>
                <a:cubicBezTo>
                  <a:pt x="255" y="509"/>
                  <a:pt x="256" y="509"/>
                  <a:pt x="257" y="509"/>
                </a:cubicBezTo>
                <a:cubicBezTo>
                  <a:pt x="257" y="509"/>
                  <a:pt x="257" y="509"/>
                  <a:pt x="257" y="509"/>
                </a:cubicBezTo>
                <a:cubicBezTo>
                  <a:pt x="257" y="508"/>
                  <a:pt x="257" y="507"/>
                  <a:pt x="257" y="506"/>
                </a:cubicBezTo>
                <a:cubicBezTo>
                  <a:pt x="257" y="506"/>
                  <a:pt x="257" y="506"/>
                  <a:pt x="257" y="506"/>
                </a:cubicBezTo>
                <a:cubicBezTo>
                  <a:pt x="257" y="506"/>
                  <a:pt x="257" y="506"/>
                  <a:pt x="257" y="506"/>
                </a:cubicBezTo>
                <a:cubicBezTo>
                  <a:pt x="258" y="504"/>
                  <a:pt x="259" y="501"/>
                  <a:pt x="259" y="501"/>
                </a:cubicBezTo>
                <a:cubicBezTo>
                  <a:pt x="262" y="499"/>
                  <a:pt x="256" y="514"/>
                  <a:pt x="262" y="510"/>
                </a:cubicBezTo>
                <a:cubicBezTo>
                  <a:pt x="262" y="510"/>
                  <a:pt x="267" y="506"/>
                  <a:pt x="267" y="505"/>
                </a:cubicBezTo>
                <a:cubicBezTo>
                  <a:pt x="267" y="504"/>
                  <a:pt x="265" y="505"/>
                  <a:pt x="264" y="505"/>
                </a:cubicBezTo>
                <a:cubicBezTo>
                  <a:pt x="263" y="504"/>
                  <a:pt x="264" y="501"/>
                  <a:pt x="265" y="500"/>
                </a:cubicBezTo>
                <a:cubicBezTo>
                  <a:pt x="267" y="500"/>
                  <a:pt x="267" y="502"/>
                  <a:pt x="267" y="502"/>
                </a:cubicBezTo>
                <a:cubicBezTo>
                  <a:pt x="269" y="502"/>
                  <a:pt x="270" y="500"/>
                  <a:pt x="271" y="498"/>
                </a:cubicBezTo>
                <a:cubicBezTo>
                  <a:pt x="271" y="498"/>
                  <a:pt x="271" y="498"/>
                  <a:pt x="270" y="498"/>
                </a:cubicBezTo>
                <a:cubicBezTo>
                  <a:pt x="271" y="497"/>
                  <a:pt x="271" y="497"/>
                  <a:pt x="271" y="497"/>
                </a:cubicBezTo>
                <a:cubicBezTo>
                  <a:pt x="272" y="495"/>
                  <a:pt x="273" y="494"/>
                  <a:pt x="274" y="493"/>
                </a:cubicBezTo>
                <a:cubicBezTo>
                  <a:pt x="276" y="490"/>
                  <a:pt x="277" y="487"/>
                  <a:pt x="278" y="487"/>
                </a:cubicBezTo>
                <a:cubicBezTo>
                  <a:pt x="278" y="486"/>
                  <a:pt x="280" y="489"/>
                  <a:pt x="282" y="489"/>
                </a:cubicBezTo>
                <a:cubicBezTo>
                  <a:pt x="284" y="489"/>
                  <a:pt x="284" y="486"/>
                  <a:pt x="284" y="489"/>
                </a:cubicBezTo>
                <a:cubicBezTo>
                  <a:pt x="284" y="491"/>
                  <a:pt x="285" y="489"/>
                  <a:pt x="285" y="492"/>
                </a:cubicBezTo>
                <a:cubicBezTo>
                  <a:pt x="285" y="493"/>
                  <a:pt x="281" y="498"/>
                  <a:pt x="278" y="496"/>
                </a:cubicBezTo>
                <a:cubicBezTo>
                  <a:pt x="277" y="496"/>
                  <a:pt x="277" y="493"/>
                  <a:pt x="275" y="495"/>
                </a:cubicBezTo>
                <a:cubicBezTo>
                  <a:pt x="275" y="496"/>
                  <a:pt x="275" y="498"/>
                  <a:pt x="274" y="499"/>
                </a:cubicBezTo>
                <a:cubicBezTo>
                  <a:pt x="273" y="502"/>
                  <a:pt x="268" y="505"/>
                  <a:pt x="267" y="508"/>
                </a:cubicBezTo>
                <a:cubicBezTo>
                  <a:pt x="266" y="510"/>
                  <a:pt x="266" y="513"/>
                  <a:pt x="264" y="516"/>
                </a:cubicBezTo>
                <a:cubicBezTo>
                  <a:pt x="263" y="518"/>
                  <a:pt x="257" y="521"/>
                  <a:pt x="257" y="523"/>
                </a:cubicBezTo>
                <a:cubicBezTo>
                  <a:pt x="257" y="523"/>
                  <a:pt x="258" y="524"/>
                  <a:pt x="258" y="525"/>
                </a:cubicBezTo>
                <a:cubicBezTo>
                  <a:pt x="258" y="525"/>
                  <a:pt x="259" y="525"/>
                  <a:pt x="259" y="525"/>
                </a:cubicBezTo>
                <a:cubicBezTo>
                  <a:pt x="259" y="525"/>
                  <a:pt x="259" y="525"/>
                  <a:pt x="259" y="525"/>
                </a:cubicBezTo>
                <a:cubicBezTo>
                  <a:pt x="261" y="527"/>
                  <a:pt x="265" y="529"/>
                  <a:pt x="267" y="528"/>
                </a:cubicBezTo>
                <a:cubicBezTo>
                  <a:pt x="268" y="528"/>
                  <a:pt x="268" y="528"/>
                  <a:pt x="268" y="528"/>
                </a:cubicBezTo>
                <a:cubicBezTo>
                  <a:pt x="268" y="527"/>
                  <a:pt x="268" y="526"/>
                  <a:pt x="268" y="525"/>
                </a:cubicBezTo>
                <a:cubicBezTo>
                  <a:pt x="270" y="521"/>
                  <a:pt x="278" y="518"/>
                  <a:pt x="282" y="521"/>
                </a:cubicBezTo>
                <a:cubicBezTo>
                  <a:pt x="282" y="521"/>
                  <a:pt x="282" y="521"/>
                  <a:pt x="282" y="522"/>
                </a:cubicBezTo>
                <a:cubicBezTo>
                  <a:pt x="282" y="522"/>
                  <a:pt x="282" y="522"/>
                  <a:pt x="282" y="521"/>
                </a:cubicBezTo>
                <a:cubicBezTo>
                  <a:pt x="283" y="520"/>
                  <a:pt x="282" y="521"/>
                  <a:pt x="282" y="522"/>
                </a:cubicBezTo>
                <a:cubicBezTo>
                  <a:pt x="282" y="522"/>
                  <a:pt x="282" y="522"/>
                  <a:pt x="283" y="523"/>
                </a:cubicBezTo>
                <a:cubicBezTo>
                  <a:pt x="284" y="522"/>
                  <a:pt x="285" y="522"/>
                  <a:pt x="285" y="521"/>
                </a:cubicBezTo>
                <a:cubicBezTo>
                  <a:pt x="286" y="523"/>
                  <a:pt x="287" y="519"/>
                  <a:pt x="289" y="519"/>
                </a:cubicBezTo>
                <a:cubicBezTo>
                  <a:pt x="290" y="519"/>
                  <a:pt x="292" y="521"/>
                  <a:pt x="292" y="519"/>
                </a:cubicBezTo>
                <a:cubicBezTo>
                  <a:pt x="292" y="524"/>
                  <a:pt x="301" y="516"/>
                  <a:pt x="302" y="515"/>
                </a:cubicBezTo>
                <a:cubicBezTo>
                  <a:pt x="301" y="515"/>
                  <a:pt x="295" y="514"/>
                  <a:pt x="295" y="514"/>
                </a:cubicBezTo>
                <a:cubicBezTo>
                  <a:pt x="295" y="514"/>
                  <a:pt x="295" y="514"/>
                  <a:pt x="295" y="514"/>
                </a:cubicBezTo>
                <a:cubicBezTo>
                  <a:pt x="295" y="514"/>
                  <a:pt x="295" y="514"/>
                  <a:pt x="295" y="514"/>
                </a:cubicBezTo>
                <a:cubicBezTo>
                  <a:pt x="294" y="515"/>
                  <a:pt x="293" y="515"/>
                  <a:pt x="293" y="515"/>
                </a:cubicBezTo>
                <a:cubicBezTo>
                  <a:pt x="292" y="513"/>
                  <a:pt x="294" y="514"/>
                  <a:pt x="295" y="512"/>
                </a:cubicBezTo>
                <a:cubicBezTo>
                  <a:pt x="295" y="512"/>
                  <a:pt x="295" y="512"/>
                  <a:pt x="295" y="512"/>
                </a:cubicBezTo>
                <a:cubicBezTo>
                  <a:pt x="294" y="512"/>
                  <a:pt x="293" y="511"/>
                  <a:pt x="294" y="510"/>
                </a:cubicBezTo>
                <a:cubicBezTo>
                  <a:pt x="294" y="510"/>
                  <a:pt x="294" y="510"/>
                  <a:pt x="294" y="510"/>
                </a:cubicBezTo>
                <a:cubicBezTo>
                  <a:pt x="293" y="509"/>
                  <a:pt x="293" y="508"/>
                  <a:pt x="293" y="507"/>
                </a:cubicBezTo>
                <a:cubicBezTo>
                  <a:pt x="293" y="507"/>
                  <a:pt x="296" y="504"/>
                  <a:pt x="297" y="504"/>
                </a:cubicBezTo>
                <a:cubicBezTo>
                  <a:pt x="298" y="504"/>
                  <a:pt x="300" y="499"/>
                  <a:pt x="302" y="499"/>
                </a:cubicBezTo>
                <a:cubicBezTo>
                  <a:pt x="303" y="500"/>
                  <a:pt x="300" y="501"/>
                  <a:pt x="301" y="503"/>
                </a:cubicBezTo>
                <a:cubicBezTo>
                  <a:pt x="302" y="503"/>
                  <a:pt x="304" y="502"/>
                  <a:pt x="305" y="503"/>
                </a:cubicBezTo>
                <a:cubicBezTo>
                  <a:pt x="305" y="503"/>
                  <a:pt x="304" y="505"/>
                  <a:pt x="305" y="506"/>
                </a:cubicBezTo>
                <a:cubicBezTo>
                  <a:pt x="305" y="505"/>
                  <a:pt x="308" y="505"/>
                  <a:pt x="308" y="506"/>
                </a:cubicBezTo>
                <a:cubicBezTo>
                  <a:pt x="309" y="508"/>
                  <a:pt x="306" y="507"/>
                  <a:pt x="306" y="508"/>
                </a:cubicBezTo>
                <a:cubicBezTo>
                  <a:pt x="305" y="509"/>
                  <a:pt x="306" y="509"/>
                  <a:pt x="306" y="510"/>
                </a:cubicBezTo>
                <a:cubicBezTo>
                  <a:pt x="306" y="511"/>
                  <a:pt x="305" y="511"/>
                  <a:pt x="304" y="513"/>
                </a:cubicBezTo>
                <a:cubicBezTo>
                  <a:pt x="304" y="513"/>
                  <a:pt x="304" y="514"/>
                  <a:pt x="304" y="514"/>
                </a:cubicBezTo>
                <a:cubicBezTo>
                  <a:pt x="302" y="517"/>
                  <a:pt x="296" y="519"/>
                  <a:pt x="297" y="524"/>
                </a:cubicBezTo>
                <a:cubicBezTo>
                  <a:pt x="297" y="525"/>
                  <a:pt x="298" y="525"/>
                  <a:pt x="299" y="524"/>
                </a:cubicBezTo>
                <a:cubicBezTo>
                  <a:pt x="298" y="527"/>
                  <a:pt x="295" y="535"/>
                  <a:pt x="289" y="536"/>
                </a:cubicBezTo>
                <a:cubicBezTo>
                  <a:pt x="289" y="536"/>
                  <a:pt x="286" y="535"/>
                  <a:pt x="285" y="534"/>
                </a:cubicBezTo>
                <a:cubicBezTo>
                  <a:pt x="285" y="534"/>
                  <a:pt x="284" y="533"/>
                  <a:pt x="283" y="532"/>
                </a:cubicBezTo>
                <a:cubicBezTo>
                  <a:pt x="283" y="532"/>
                  <a:pt x="283" y="532"/>
                  <a:pt x="283" y="531"/>
                </a:cubicBezTo>
                <a:cubicBezTo>
                  <a:pt x="283" y="531"/>
                  <a:pt x="283" y="531"/>
                  <a:pt x="283" y="531"/>
                </a:cubicBezTo>
                <a:cubicBezTo>
                  <a:pt x="282" y="531"/>
                  <a:pt x="282" y="530"/>
                  <a:pt x="282" y="530"/>
                </a:cubicBezTo>
                <a:cubicBezTo>
                  <a:pt x="280" y="531"/>
                  <a:pt x="278" y="533"/>
                  <a:pt x="277" y="533"/>
                </a:cubicBezTo>
                <a:cubicBezTo>
                  <a:pt x="278" y="535"/>
                  <a:pt x="280" y="534"/>
                  <a:pt x="281" y="534"/>
                </a:cubicBezTo>
                <a:cubicBezTo>
                  <a:pt x="281" y="534"/>
                  <a:pt x="280" y="534"/>
                  <a:pt x="280" y="535"/>
                </a:cubicBezTo>
                <a:cubicBezTo>
                  <a:pt x="281" y="535"/>
                  <a:pt x="282" y="535"/>
                  <a:pt x="282" y="536"/>
                </a:cubicBezTo>
                <a:cubicBezTo>
                  <a:pt x="283" y="537"/>
                  <a:pt x="281" y="536"/>
                  <a:pt x="281" y="537"/>
                </a:cubicBezTo>
                <a:cubicBezTo>
                  <a:pt x="280" y="538"/>
                  <a:pt x="282" y="537"/>
                  <a:pt x="280" y="539"/>
                </a:cubicBezTo>
                <a:cubicBezTo>
                  <a:pt x="279" y="541"/>
                  <a:pt x="276" y="540"/>
                  <a:pt x="275" y="541"/>
                </a:cubicBezTo>
                <a:cubicBezTo>
                  <a:pt x="275" y="541"/>
                  <a:pt x="275" y="541"/>
                  <a:pt x="275" y="542"/>
                </a:cubicBezTo>
                <a:cubicBezTo>
                  <a:pt x="276" y="542"/>
                  <a:pt x="276" y="543"/>
                  <a:pt x="277" y="543"/>
                </a:cubicBezTo>
                <a:cubicBezTo>
                  <a:pt x="277" y="543"/>
                  <a:pt x="275" y="544"/>
                  <a:pt x="276" y="546"/>
                </a:cubicBezTo>
                <a:cubicBezTo>
                  <a:pt x="276" y="547"/>
                  <a:pt x="277" y="546"/>
                  <a:pt x="277" y="546"/>
                </a:cubicBezTo>
                <a:cubicBezTo>
                  <a:pt x="277" y="547"/>
                  <a:pt x="277" y="551"/>
                  <a:pt x="277" y="551"/>
                </a:cubicBezTo>
                <a:cubicBezTo>
                  <a:pt x="276" y="552"/>
                  <a:pt x="274" y="550"/>
                  <a:pt x="272" y="551"/>
                </a:cubicBezTo>
                <a:cubicBezTo>
                  <a:pt x="273" y="551"/>
                  <a:pt x="269" y="553"/>
                  <a:pt x="269" y="553"/>
                </a:cubicBezTo>
                <a:cubicBezTo>
                  <a:pt x="269" y="554"/>
                  <a:pt x="270" y="555"/>
                  <a:pt x="270" y="556"/>
                </a:cubicBezTo>
                <a:cubicBezTo>
                  <a:pt x="269" y="558"/>
                  <a:pt x="267" y="558"/>
                  <a:pt x="267" y="560"/>
                </a:cubicBezTo>
                <a:cubicBezTo>
                  <a:pt x="267" y="561"/>
                  <a:pt x="264" y="565"/>
                  <a:pt x="262" y="565"/>
                </a:cubicBezTo>
                <a:cubicBezTo>
                  <a:pt x="257" y="564"/>
                  <a:pt x="260" y="557"/>
                  <a:pt x="254" y="558"/>
                </a:cubicBezTo>
                <a:cubicBezTo>
                  <a:pt x="254" y="552"/>
                  <a:pt x="248" y="563"/>
                  <a:pt x="247" y="562"/>
                </a:cubicBezTo>
                <a:cubicBezTo>
                  <a:pt x="246" y="562"/>
                  <a:pt x="246" y="562"/>
                  <a:pt x="246" y="562"/>
                </a:cubicBezTo>
                <a:cubicBezTo>
                  <a:pt x="246" y="563"/>
                  <a:pt x="246" y="563"/>
                  <a:pt x="246" y="563"/>
                </a:cubicBezTo>
                <a:cubicBezTo>
                  <a:pt x="245" y="563"/>
                  <a:pt x="246" y="562"/>
                  <a:pt x="246" y="562"/>
                </a:cubicBezTo>
                <a:cubicBezTo>
                  <a:pt x="245" y="561"/>
                  <a:pt x="246" y="561"/>
                  <a:pt x="246" y="562"/>
                </a:cubicBezTo>
                <a:cubicBezTo>
                  <a:pt x="247" y="560"/>
                  <a:pt x="251" y="555"/>
                  <a:pt x="246" y="557"/>
                </a:cubicBezTo>
                <a:cubicBezTo>
                  <a:pt x="245" y="558"/>
                  <a:pt x="246" y="561"/>
                  <a:pt x="245" y="561"/>
                </a:cubicBezTo>
                <a:cubicBezTo>
                  <a:pt x="244" y="562"/>
                  <a:pt x="241" y="560"/>
                  <a:pt x="239" y="561"/>
                </a:cubicBezTo>
                <a:cubicBezTo>
                  <a:pt x="239" y="561"/>
                  <a:pt x="237" y="564"/>
                  <a:pt x="238" y="565"/>
                </a:cubicBezTo>
                <a:cubicBezTo>
                  <a:pt x="238" y="567"/>
                  <a:pt x="240" y="566"/>
                  <a:pt x="238" y="568"/>
                </a:cubicBezTo>
                <a:cubicBezTo>
                  <a:pt x="238" y="569"/>
                  <a:pt x="239" y="568"/>
                  <a:pt x="239" y="568"/>
                </a:cubicBezTo>
                <a:cubicBezTo>
                  <a:pt x="238" y="569"/>
                  <a:pt x="239" y="570"/>
                  <a:pt x="241" y="570"/>
                </a:cubicBezTo>
                <a:cubicBezTo>
                  <a:pt x="238" y="572"/>
                  <a:pt x="235" y="572"/>
                  <a:pt x="237" y="575"/>
                </a:cubicBezTo>
                <a:cubicBezTo>
                  <a:pt x="237" y="575"/>
                  <a:pt x="242" y="578"/>
                  <a:pt x="242" y="579"/>
                </a:cubicBezTo>
                <a:cubicBezTo>
                  <a:pt x="245" y="577"/>
                  <a:pt x="240" y="574"/>
                  <a:pt x="241" y="571"/>
                </a:cubicBezTo>
                <a:cubicBezTo>
                  <a:pt x="243" y="569"/>
                  <a:pt x="244" y="576"/>
                  <a:pt x="245" y="576"/>
                </a:cubicBezTo>
                <a:cubicBezTo>
                  <a:pt x="246" y="577"/>
                  <a:pt x="245" y="575"/>
                  <a:pt x="246" y="576"/>
                </a:cubicBezTo>
                <a:cubicBezTo>
                  <a:pt x="248" y="576"/>
                  <a:pt x="249" y="578"/>
                  <a:pt x="250" y="577"/>
                </a:cubicBezTo>
                <a:cubicBezTo>
                  <a:pt x="250" y="576"/>
                  <a:pt x="247" y="576"/>
                  <a:pt x="248" y="574"/>
                </a:cubicBezTo>
                <a:cubicBezTo>
                  <a:pt x="249" y="573"/>
                  <a:pt x="252" y="575"/>
                  <a:pt x="251" y="576"/>
                </a:cubicBezTo>
                <a:cubicBezTo>
                  <a:pt x="252" y="576"/>
                  <a:pt x="253" y="576"/>
                  <a:pt x="254" y="577"/>
                </a:cubicBezTo>
                <a:cubicBezTo>
                  <a:pt x="254" y="576"/>
                  <a:pt x="254" y="576"/>
                  <a:pt x="255" y="576"/>
                </a:cubicBezTo>
                <a:cubicBezTo>
                  <a:pt x="255" y="576"/>
                  <a:pt x="255" y="577"/>
                  <a:pt x="254" y="578"/>
                </a:cubicBezTo>
                <a:cubicBezTo>
                  <a:pt x="255" y="580"/>
                  <a:pt x="254" y="582"/>
                  <a:pt x="253" y="583"/>
                </a:cubicBezTo>
                <a:cubicBezTo>
                  <a:pt x="253" y="583"/>
                  <a:pt x="253" y="583"/>
                  <a:pt x="253" y="583"/>
                </a:cubicBezTo>
                <a:cubicBezTo>
                  <a:pt x="255" y="584"/>
                  <a:pt x="254" y="582"/>
                  <a:pt x="255" y="583"/>
                </a:cubicBezTo>
                <a:cubicBezTo>
                  <a:pt x="255" y="583"/>
                  <a:pt x="256" y="583"/>
                  <a:pt x="256" y="583"/>
                </a:cubicBezTo>
                <a:cubicBezTo>
                  <a:pt x="257" y="581"/>
                  <a:pt x="258" y="578"/>
                  <a:pt x="259" y="578"/>
                </a:cubicBezTo>
                <a:cubicBezTo>
                  <a:pt x="260" y="577"/>
                  <a:pt x="262" y="580"/>
                  <a:pt x="262" y="578"/>
                </a:cubicBezTo>
                <a:cubicBezTo>
                  <a:pt x="263" y="577"/>
                  <a:pt x="261" y="575"/>
                  <a:pt x="260" y="575"/>
                </a:cubicBezTo>
                <a:cubicBezTo>
                  <a:pt x="261" y="575"/>
                  <a:pt x="261" y="572"/>
                  <a:pt x="261" y="572"/>
                </a:cubicBezTo>
                <a:cubicBezTo>
                  <a:pt x="259" y="572"/>
                  <a:pt x="257" y="574"/>
                  <a:pt x="256" y="573"/>
                </a:cubicBezTo>
                <a:cubicBezTo>
                  <a:pt x="255" y="573"/>
                  <a:pt x="258" y="571"/>
                  <a:pt x="258" y="570"/>
                </a:cubicBezTo>
                <a:cubicBezTo>
                  <a:pt x="258" y="573"/>
                  <a:pt x="261" y="569"/>
                  <a:pt x="263" y="568"/>
                </a:cubicBezTo>
                <a:cubicBezTo>
                  <a:pt x="264" y="568"/>
                  <a:pt x="266" y="568"/>
                  <a:pt x="267" y="568"/>
                </a:cubicBezTo>
                <a:cubicBezTo>
                  <a:pt x="268" y="567"/>
                  <a:pt x="266" y="565"/>
                  <a:pt x="269" y="564"/>
                </a:cubicBezTo>
                <a:cubicBezTo>
                  <a:pt x="269" y="564"/>
                  <a:pt x="268" y="566"/>
                  <a:pt x="269" y="566"/>
                </a:cubicBezTo>
                <a:cubicBezTo>
                  <a:pt x="269" y="567"/>
                  <a:pt x="271" y="564"/>
                  <a:pt x="273" y="566"/>
                </a:cubicBezTo>
                <a:cubicBezTo>
                  <a:pt x="273" y="566"/>
                  <a:pt x="272" y="568"/>
                  <a:pt x="272" y="570"/>
                </a:cubicBezTo>
                <a:cubicBezTo>
                  <a:pt x="272" y="570"/>
                  <a:pt x="272" y="571"/>
                  <a:pt x="272" y="572"/>
                </a:cubicBezTo>
                <a:cubicBezTo>
                  <a:pt x="274" y="572"/>
                  <a:pt x="279" y="573"/>
                  <a:pt x="280" y="573"/>
                </a:cubicBezTo>
                <a:cubicBezTo>
                  <a:pt x="281" y="574"/>
                  <a:pt x="279" y="576"/>
                  <a:pt x="282" y="576"/>
                </a:cubicBezTo>
                <a:cubicBezTo>
                  <a:pt x="279" y="578"/>
                  <a:pt x="284" y="579"/>
                  <a:pt x="283" y="581"/>
                </a:cubicBezTo>
                <a:cubicBezTo>
                  <a:pt x="283" y="581"/>
                  <a:pt x="281" y="581"/>
                  <a:pt x="281" y="582"/>
                </a:cubicBezTo>
                <a:cubicBezTo>
                  <a:pt x="281" y="582"/>
                  <a:pt x="282" y="583"/>
                  <a:pt x="281" y="584"/>
                </a:cubicBezTo>
                <a:cubicBezTo>
                  <a:pt x="281" y="584"/>
                  <a:pt x="281" y="584"/>
                  <a:pt x="281" y="584"/>
                </a:cubicBezTo>
                <a:cubicBezTo>
                  <a:pt x="282" y="585"/>
                  <a:pt x="283" y="587"/>
                  <a:pt x="282" y="588"/>
                </a:cubicBezTo>
                <a:cubicBezTo>
                  <a:pt x="283" y="588"/>
                  <a:pt x="283" y="588"/>
                  <a:pt x="284" y="588"/>
                </a:cubicBezTo>
                <a:cubicBezTo>
                  <a:pt x="283" y="588"/>
                  <a:pt x="283" y="587"/>
                  <a:pt x="283" y="586"/>
                </a:cubicBezTo>
                <a:cubicBezTo>
                  <a:pt x="283" y="585"/>
                  <a:pt x="284" y="585"/>
                  <a:pt x="285" y="584"/>
                </a:cubicBezTo>
                <a:cubicBezTo>
                  <a:pt x="285" y="584"/>
                  <a:pt x="285" y="583"/>
                  <a:pt x="286" y="582"/>
                </a:cubicBezTo>
                <a:cubicBezTo>
                  <a:pt x="286" y="582"/>
                  <a:pt x="286" y="582"/>
                  <a:pt x="286" y="582"/>
                </a:cubicBezTo>
                <a:cubicBezTo>
                  <a:pt x="286" y="582"/>
                  <a:pt x="287" y="582"/>
                  <a:pt x="287" y="582"/>
                </a:cubicBezTo>
                <a:cubicBezTo>
                  <a:pt x="288" y="581"/>
                  <a:pt x="290" y="580"/>
                  <a:pt x="291" y="578"/>
                </a:cubicBezTo>
                <a:cubicBezTo>
                  <a:pt x="289" y="581"/>
                  <a:pt x="293" y="581"/>
                  <a:pt x="293" y="581"/>
                </a:cubicBezTo>
                <a:cubicBezTo>
                  <a:pt x="294" y="581"/>
                  <a:pt x="294" y="581"/>
                  <a:pt x="294" y="581"/>
                </a:cubicBezTo>
                <a:cubicBezTo>
                  <a:pt x="294" y="581"/>
                  <a:pt x="294" y="581"/>
                  <a:pt x="294" y="581"/>
                </a:cubicBezTo>
                <a:cubicBezTo>
                  <a:pt x="293" y="581"/>
                  <a:pt x="293" y="580"/>
                  <a:pt x="293" y="580"/>
                </a:cubicBezTo>
                <a:cubicBezTo>
                  <a:pt x="292" y="579"/>
                  <a:pt x="293" y="574"/>
                  <a:pt x="294" y="574"/>
                </a:cubicBezTo>
                <a:cubicBezTo>
                  <a:pt x="295" y="573"/>
                  <a:pt x="295" y="574"/>
                  <a:pt x="295" y="574"/>
                </a:cubicBezTo>
                <a:cubicBezTo>
                  <a:pt x="297" y="574"/>
                  <a:pt x="299" y="572"/>
                  <a:pt x="302" y="573"/>
                </a:cubicBezTo>
                <a:cubicBezTo>
                  <a:pt x="301" y="574"/>
                  <a:pt x="299" y="573"/>
                  <a:pt x="299" y="575"/>
                </a:cubicBezTo>
                <a:cubicBezTo>
                  <a:pt x="298" y="576"/>
                  <a:pt x="300" y="575"/>
                  <a:pt x="300" y="576"/>
                </a:cubicBezTo>
                <a:cubicBezTo>
                  <a:pt x="301" y="577"/>
                  <a:pt x="298" y="581"/>
                  <a:pt x="295" y="581"/>
                </a:cubicBezTo>
                <a:cubicBezTo>
                  <a:pt x="295" y="582"/>
                  <a:pt x="294" y="583"/>
                  <a:pt x="294" y="584"/>
                </a:cubicBezTo>
                <a:cubicBezTo>
                  <a:pt x="294" y="584"/>
                  <a:pt x="295" y="584"/>
                  <a:pt x="295" y="584"/>
                </a:cubicBezTo>
                <a:cubicBezTo>
                  <a:pt x="296" y="583"/>
                  <a:pt x="299" y="582"/>
                  <a:pt x="300" y="580"/>
                </a:cubicBezTo>
                <a:cubicBezTo>
                  <a:pt x="301" y="580"/>
                  <a:pt x="300" y="578"/>
                  <a:pt x="301" y="578"/>
                </a:cubicBezTo>
                <a:cubicBezTo>
                  <a:pt x="301" y="577"/>
                  <a:pt x="302" y="577"/>
                  <a:pt x="302" y="576"/>
                </a:cubicBezTo>
                <a:cubicBezTo>
                  <a:pt x="302" y="575"/>
                  <a:pt x="301" y="576"/>
                  <a:pt x="301" y="574"/>
                </a:cubicBezTo>
                <a:cubicBezTo>
                  <a:pt x="302" y="573"/>
                  <a:pt x="303" y="573"/>
                  <a:pt x="304" y="573"/>
                </a:cubicBezTo>
                <a:cubicBezTo>
                  <a:pt x="304" y="574"/>
                  <a:pt x="303" y="576"/>
                  <a:pt x="304" y="578"/>
                </a:cubicBezTo>
                <a:cubicBezTo>
                  <a:pt x="304" y="578"/>
                  <a:pt x="306" y="578"/>
                  <a:pt x="307" y="579"/>
                </a:cubicBezTo>
                <a:cubicBezTo>
                  <a:pt x="308" y="580"/>
                  <a:pt x="308" y="581"/>
                  <a:pt x="311" y="579"/>
                </a:cubicBezTo>
                <a:cubicBezTo>
                  <a:pt x="307" y="583"/>
                  <a:pt x="312" y="581"/>
                  <a:pt x="313" y="582"/>
                </a:cubicBezTo>
                <a:cubicBezTo>
                  <a:pt x="312" y="582"/>
                  <a:pt x="312" y="589"/>
                  <a:pt x="312" y="589"/>
                </a:cubicBezTo>
                <a:cubicBezTo>
                  <a:pt x="312" y="590"/>
                  <a:pt x="310" y="593"/>
                  <a:pt x="310" y="595"/>
                </a:cubicBezTo>
                <a:cubicBezTo>
                  <a:pt x="310" y="594"/>
                  <a:pt x="310" y="594"/>
                  <a:pt x="311" y="594"/>
                </a:cubicBezTo>
                <a:cubicBezTo>
                  <a:pt x="311" y="595"/>
                  <a:pt x="310" y="595"/>
                  <a:pt x="310" y="596"/>
                </a:cubicBezTo>
                <a:cubicBezTo>
                  <a:pt x="310" y="596"/>
                  <a:pt x="310" y="596"/>
                  <a:pt x="310" y="596"/>
                </a:cubicBezTo>
                <a:cubicBezTo>
                  <a:pt x="310" y="596"/>
                  <a:pt x="310" y="596"/>
                  <a:pt x="311" y="595"/>
                </a:cubicBezTo>
                <a:cubicBezTo>
                  <a:pt x="311" y="595"/>
                  <a:pt x="311" y="595"/>
                  <a:pt x="311" y="595"/>
                </a:cubicBezTo>
                <a:cubicBezTo>
                  <a:pt x="311" y="595"/>
                  <a:pt x="311" y="595"/>
                  <a:pt x="311" y="595"/>
                </a:cubicBezTo>
                <a:cubicBezTo>
                  <a:pt x="311" y="595"/>
                  <a:pt x="311" y="595"/>
                  <a:pt x="311" y="595"/>
                </a:cubicBezTo>
                <a:cubicBezTo>
                  <a:pt x="314" y="594"/>
                  <a:pt x="320" y="594"/>
                  <a:pt x="324" y="595"/>
                </a:cubicBezTo>
                <a:cubicBezTo>
                  <a:pt x="324" y="594"/>
                  <a:pt x="324" y="593"/>
                  <a:pt x="324" y="593"/>
                </a:cubicBezTo>
                <a:cubicBezTo>
                  <a:pt x="325" y="593"/>
                  <a:pt x="325" y="594"/>
                  <a:pt x="325" y="595"/>
                </a:cubicBezTo>
                <a:cubicBezTo>
                  <a:pt x="326" y="595"/>
                  <a:pt x="326" y="596"/>
                  <a:pt x="326" y="596"/>
                </a:cubicBezTo>
                <a:cubicBezTo>
                  <a:pt x="326" y="597"/>
                  <a:pt x="325" y="597"/>
                  <a:pt x="323" y="598"/>
                </a:cubicBezTo>
                <a:cubicBezTo>
                  <a:pt x="324" y="598"/>
                  <a:pt x="324" y="598"/>
                  <a:pt x="324" y="599"/>
                </a:cubicBezTo>
                <a:cubicBezTo>
                  <a:pt x="324" y="600"/>
                  <a:pt x="323" y="601"/>
                  <a:pt x="322" y="601"/>
                </a:cubicBezTo>
                <a:cubicBezTo>
                  <a:pt x="323" y="602"/>
                  <a:pt x="322" y="603"/>
                  <a:pt x="321" y="604"/>
                </a:cubicBezTo>
                <a:cubicBezTo>
                  <a:pt x="321" y="604"/>
                  <a:pt x="320" y="604"/>
                  <a:pt x="319" y="604"/>
                </a:cubicBezTo>
                <a:cubicBezTo>
                  <a:pt x="319" y="605"/>
                  <a:pt x="320" y="605"/>
                  <a:pt x="321" y="605"/>
                </a:cubicBezTo>
                <a:cubicBezTo>
                  <a:pt x="323" y="604"/>
                  <a:pt x="325" y="602"/>
                  <a:pt x="325" y="602"/>
                </a:cubicBezTo>
                <a:cubicBezTo>
                  <a:pt x="325" y="601"/>
                  <a:pt x="325" y="601"/>
                  <a:pt x="325" y="601"/>
                </a:cubicBezTo>
                <a:cubicBezTo>
                  <a:pt x="329" y="600"/>
                  <a:pt x="327" y="609"/>
                  <a:pt x="325" y="607"/>
                </a:cubicBezTo>
                <a:cubicBezTo>
                  <a:pt x="325" y="607"/>
                  <a:pt x="324" y="605"/>
                  <a:pt x="324" y="605"/>
                </a:cubicBezTo>
                <a:cubicBezTo>
                  <a:pt x="323" y="605"/>
                  <a:pt x="319" y="608"/>
                  <a:pt x="318" y="609"/>
                </a:cubicBezTo>
                <a:cubicBezTo>
                  <a:pt x="317" y="609"/>
                  <a:pt x="316" y="609"/>
                  <a:pt x="316" y="610"/>
                </a:cubicBezTo>
                <a:cubicBezTo>
                  <a:pt x="316" y="610"/>
                  <a:pt x="317" y="612"/>
                  <a:pt x="316" y="613"/>
                </a:cubicBezTo>
                <a:cubicBezTo>
                  <a:pt x="316" y="613"/>
                  <a:pt x="315" y="614"/>
                  <a:pt x="315" y="614"/>
                </a:cubicBezTo>
                <a:cubicBezTo>
                  <a:pt x="315" y="614"/>
                  <a:pt x="313" y="617"/>
                  <a:pt x="313" y="618"/>
                </a:cubicBezTo>
                <a:cubicBezTo>
                  <a:pt x="314" y="618"/>
                  <a:pt x="315" y="618"/>
                  <a:pt x="315" y="617"/>
                </a:cubicBezTo>
                <a:cubicBezTo>
                  <a:pt x="315" y="617"/>
                  <a:pt x="316" y="619"/>
                  <a:pt x="315" y="620"/>
                </a:cubicBezTo>
                <a:cubicBezTo>
                  <a:pt x="315" y="620"/>
                  <a:pt x="315" y="620"/>
                  <a:pt x="315" y="620"/>
                </a:cubicBezTo>
                <a:cubicBezTo>
                  <a:pt x="315" y="621"/>
                  <a:pt x="315" y="621"/>
                  <a:pt x="316" y="621"/>
                </a:cubicBezTo>
                <a:cubicBezTo>
                  <a:pt x="316" y="621"/>
                  <a:pt x="316" y="620"/>
                  <a:pt x="317" y="619"/>
                </a:cubicBezTo>
                <a:cubicBezTo>
                  <a:pt x="317" y="620"/>
                  <a:pt x="316" y="620"/>
                  <a:pt x="316" y="619"/>
                </a:cubicBezTo>
                <a:cubicBezTo>
                  <a:pt x="316" y="618"/>
                  <a:pt x="316" y="618"/>
                  <a:pt x="316" y="618"/>
                </a:cubicBezTo>
                <a:cubicBezTo>
                  <a:pt x="316" y="617"/>
                  <a:pt x="317" y="616"/>
                  <a:pt x="318" y="617"/>
                </a:cubicBezTo>
                <a:cubicBezTo>
                  <a:pt x="318" y="618"/>
                  <a:pt x="318" y="618"/>
                  <a:pt x="317" y="618"/>
                </a:cubicBezTo>
                <a:cubicBezTo>
                  <a:pt x="317" y="618"/>
                  <a:pt x="317" y="618"/>
                  <a:pt x="317" y="618"/>
                </a:cubicBezTo>
                <a:cubicBezTo>
                  <a:pt x="318" y="618"/>
                  <a:pt x="318" y="618"/>
                  <a:pt x="318" y="618"/>
                </a:cubicBezTo>
                <a:cubicBezTo>
                  <a:pt x="318" y="619"/>
                  <a:pt x="318" y="619"/>
                  <a:pt x="317" y="619"/>
                </a:cubicBezTo>
                <a:cubicBezTo>
                  <a:pt x="319" y="618"/>
                  <a:pt x="320" y="618"/>
                  <a:pt x="321" y="620"/>
                </a:cubicBezTo>
                <a:cubicBezTo>
                  <a:pt x="322" y="621"/>
                  <a:pt x="321" y="623"/>
                  <a:pt x="320" y="623"/>
                </a:cubicBezTo>
                <a:cubicBezTo>
                  <a:pt x="320" y="623"/>
                  <a:pt x="320" y="623"/>
                  <a:pt x="320" y="623"/>
                </a:cubicBezTo>
                <a:cubicBezTo>
                  <a:pt x="322" y="623"/>
                  <a:pt x="320" y="624"/>
                  <a:pt x="321" y="624"/>
                </a:cubicBezTo>
                <a:cubicBezTo>
                  <a:pt x="321" y="625"/>
                  <a:pt x="322" y="624"/>
                  <a:pt x="322" y="624"/>
                </a:cubicBezTo>
                <a:cubicBezTo>
                  <a:pt x="322" y="624"/>
                  <a:pt x="322" y="624"/>
                  <a:pt x="322" y="624"/>
                </a:cubicBezTo>
                <a:cubicBezTo>
                  <a:pt x="323" y="624"/>
                  <a:pt x="323" y="624"/>
                  <a:pt x="324" y="624"/>
                </a:cubicBezTo>
                <a:cubicBezTo>
                  <a:pt x="326" y="625"/>
                  <a:pt x="323" y="629"/>
                  <a:pt x="324" y="631"/>
                </a:cubicBezTo>
                <a:cubicBezTo>
                  <a:pt x="325" y="631"/>
                  <a:pt x="326" y="631"/>
                  <a:pt x="327" y="631"/>
                </a:cubicBezTo>
                <a:cubicBezTo>
                  <a:pt x="328" y="630"/>
                  <a:pt x="328" y="629"/>
                  <a:pt x="329" y="628"/>
                </a:cubicBezTo>
                <a:cubicBezTo>
                  <a:pt x="328" y="627"/>
                  <a:pt x="327" y="626"/>
                  <a:pt x="328" y="624"/>
                </a:cubicBezTo>
                <a:cubicBezTo>
                  <a:pt x="330" y="620"/>
                  <a:pt x="335" y="622"/>
                  <a:pt x="336" y="625"/>
                </a:cubicBezTo>
                <a:cubicBezTo>
                  <a:pt x="337" y="625"/>
                  <a:pt x="337" y="625"/>
                  <a:pt x="338" y="624"/>
                </a:cubicBezTo>
                <a:cubicBezTo>
                  <a:pt x="338" y="624"/>
                  <a:pt x="337" y="625"/>
                  <a:pt x="337" y="625"/>
                </a:cubicBezTo>
                <a:cubicBezTo>
                  <a:pt x="339" y="624"/>
                  <a:pt x="342" y="623"/>
                  <a:pt x="344" y="624"/>
                </a:cubicBezTo>
                <a:cubicBezTo>
                  <a:pt x="345" y="624"/>
                  <a:pt x="347" y="624"/>
                  <a:pt x="347" y="624"/>
                </a:cubicBezTo>
                <a:cubicBezTo>
                  <a:pt x="347" y="625"/>
                  <a:pt x="346" y="625"/>
                  <a:pt x="345" y="625"/>
                </a:cubicBezTo>
                <a:cubicBezTo>
                  <a:pt x="345" y="625"/>
                  <a:pt x="345" y="626"/>
                  <a:pt x="345" y="626"/>
                </a:cubicBezTo>
                <a:cubicBezTo>
                  <a:pt x="345" y="627"/>
                  <a:pt x="345" y="628"/>
                  <a:pt x="345" y="629"/>
                </a:cubicBezTo>
                <a:cubicBezTo>
                  <a:pt x="347" y="629"/>
                  <a:pt x="348" y="630"/>
                  <a:pt x="346" y="632"/>
                </a:cubicBezTo>
                <a:cubicBezTo>
                  <a:pt x="345" y="634"/>
                  <a:pt x="346" y="636"/>
                  <a:pt x="346" y="636"/>
                </a:cubicBezTo>
                <a:cubicBezTo>
                  <a:pt x="346" y="637"/>
                  <a:pt x="345" y="637"/>
                  <a:pt x="345" y="638"/>
                </a:cubicBezTo>
                <a:cubicBezTo>
                  <a:pt x="347" y="637"/>
                  <a:pt x="349" y="635"/>
                  <a:pt x="351" y="634"/>
                </a:cubicBezTo>
                <a:cubicBezTo>
                  <a:pt x="349" y="632"/>
                  <a:pt x="347" y="629"/>
                  <a:pt x="351" y="627"/>
                </a:cubicBezTo>
                <a:cubicBezTo>
                  <a:pt x="352" y="627"/>
                  <a:pt x="352" y="627"/>
                  <a:pt x="353" y="627"/>
                </a:cubicBezTo>
                <a:cubicBezTo>
                  <a:pt x="352" y="627"/>
                  <a:pt x="353" y="622"/>
                  <a:pt x="355" y="624"/>
                </a:cubicBezTo>
                <a:cubicBezTo>
                  <a:pt x="356" y="625"/>
                  <a:pt x="355" y="626"/>
                  <a:pt x="355" y="626"/>
                </a:cubicBezTo>
                <a:cubicBezTo>
                  <a:pt x="354" y="627"/>
                  <a:pt x="354" y="627"/>
                  <a:pt x="354" y="627"/>
                </a:cubicBezTo>
                <a:cubicBezTo>
                  <a:pt x="356" y="627"/>
                  <a:pt x="358" y="627"/>
                  <a:pt x="359" y="626"/>
                </a:cubicBezTo>
                <a:cubicBezTo>
                  <a:pt x="362" y="624"/>
                  <a:pt x="361" y="624"/>
                  <a:pt x="363" y="625"/>
                </a:cubicBezTo>
                <a:cubicBezTo>
                  <a:pt x="363" y="626"/>
                  <a:pt x="363" y="627"/>
                  <a:pt x="365" y="626"/>
                </a:cubicBezTo>
                <a:cubicBezTo>
                  <a:pt x="365" y="626"/>
                  <a:pt x="369" y="622"/>
                  <a:pt x="368" y="625"/>
                </a:cubicBezTo>
                <a:cubicBezTo>
                  <a:pt x="368" y="626"/>
                  <a:pt x="367" y="626"/>
                  <a:pt x="367" y="626"/>
                </a:cubicBezTo>
                <a:cubicBezTo>
                  <a:pt x="367" y="627"/>
                  <a:pt x="371" y="627"/>
                  <a:pt x="372" y="628"/>
                </a:cubicBezTo>
                <a:cubicBezTo>
                  <a:pt x="372" y="629"/>
                  <a:pt x="367" y="630"/>
                  <a:pt x="370" y="632"/>
                </a:cubicBezTo>
                <a:cubicBezTo>
                  <a:pt x="370" y="633"/>
                  <a:pt x="371" y="633"/>
                  <a:pt x="371" y="633"/>
                </a:cubicBezTo>
                <a:cubicBezTo>
                  <a:pt x="371" y="633"/>
                  <a:pt x="370" y="633"/>
                  <a:pt x="370" y="634"/>
                </a:cubicBezTo>
                <a:cubicBezTo>
                  <a:pt x="369" y="635"/>
                  <a:pt x="369" y="636"/>
                  <a:pt x="370" y="636"/>
                </a:cubicBezTo>
                <a:cubicBezTo>
                  <a:pt x="371" y="636"/>
                  <a:pt x="372" y="636"/>
                  <a:pt x="372" y="637"/>
                </a:cubicBezTo>
                <a:cubicBezTo>
                  <a:pt x="372" y="638"/>
                  <a:pt x="372" y="638"/>
                  <a:pt x="371" y="638"/>
                </a:cubicBezTo>
                <a:cubicBezTo>
                  <a:pt x="371" y="639"/>
                  <a:pt x="370" y="639"/>
                  <a:pt x="370" y="639"/>
                </a:cubicBezTo>
                <a:cubicBezTo>
                  <a:pt x="371" y="640"/>
                  <a:pt x="372" y="640"/>
                  <a:pt x="373" y="640"/>
                </a:cubicBezTo>
                <a:cubicBezTo>
                  <a:pt x="373" y="642"/>
                  <a:pt x="371" y="643"/>
                  <a:pt x="371" y="644"/>
                </a:cubicBezTo>
                <a:cubicBezTo>
                  <a:pt x="372" y="647"/>
                  <a:pt x="375" y="644"/>
                  <a:pt x="377" y="645"/>
                </a:cubicBezTo>
                <a:cubicBezTo>
                  <a:pt x="378" y="645"/>
                  <a:pt x="379" y="648"/>
                  <a:pt x="381" y="646"/>
                </a:cubicBezTo>
                <a:cubicBezTo>
                  <a:pt x="382" y="645"/>
                  <a:pt x="381" y="642"/>
                  <a:pt x="385" y="641"/>
                </a:cubicBezTo>
                <a:cubicBezTo>
                  <a:pt x="386" y="641"/>
                  <a:pt x="391" y="640"/>
                  <a:pt x="392" y="642"/>
                </a:cubicBezTo>
                <a:cubicBezTo>
                  <a:pt x="392" y="643"/>
                  <a:pt x="390" y="642"/>
                  <a:pt x="389" y="643"/>
                </a:cubicBezTo>
                <a:cubicBezTo>
                  <a:pt x="388" y="644"/>
                  <a:pt x="390" y="646"/>
                  <a:pt x="390" y="646"/>
                </a:cubicBezTo>
                <a:cubicBezTo>
                  <a:pt x="389" y="648"/>
                  <a:pt x="387" y="647"/>
                  <a:pt x="386" y="648"/>
                </a:cubicBezTo>
                <a:cubicBezTo>
                  <a:pt x="386" y="648"/>
                  <a:pt x="387" y="648"/>
                  <a:pt x="387" y="649"/>
                </a:cubicBezTo>
                <a:cubicBezTo>
                  <a:pt x="387" y="649"/>
                  <a:pt x="386" y="649"/>
                  <a:pt x="386" y="649"/>
                </a:cubicBezTo>
                <a:cubicBezTo>
                  <a:pt x="386" y="651"/>
                  <a:pt x="387" y="652"/>
                  <a:pt x="385" y="653"/>
                </a:cubicBezTo>
                <a:cubicBezTo>
                  <a:pt x="385" y="653"/>
                  <a:pt x="385" y="653"/>
                  <a:pt x="385" y="653"/>
                </a:cubicBezTo>
                <a:cubicBezTo>
                  <a:pt x="385" y="653"/>
                  <a:pt x="385" y="654"/>
                  <a:pt x="385" y="654"/>
                </a:cubicBezTo>
                <a:cubicBezTo>
                  <a:pt x="385" y="654"/>
                  <a:pt x="386" y="655"/>
                  <a:pt x="384" y="656"/>
                </a:cubicBezTo>
                <a:cubicBezTo>
                  <a:pt x="383" y="656"/>
                  <a:pt x="383" y="656"/>
                  <a:pt x="383" y="656"/>
                </a:cubicBezTo>
                <a:cubicBezTo>
                  <a:pt x="383" y="656"/>
                  <a:pt x="384" y="657"/>
                  <a:pt x="384" y="657"/>
                </a:cubicBezTo>
                <a:cubicBezTo>
                  <a:pt x="385" y="657"/>
                  <a:pt x="386" y="657"/>
                  <a:pt x="386" y="657"/>
                </a:cubicBezTo>
                <a:cubicBezTo>
                  <a:pt x="387" y="657"/>
                  <a:pt x="387" y="658"/>
                  <a:pt x="387" y="658"/>
                </a:cubicBezTo>
                <a:cubicBezTo>
                  <a:pt x="387" y="658"/>
                  <a:pt x="387" y="659"/>
                  <a:pt x="386" y="659"/>
                </a:cubicBezTo>
                <a:cubicBezTo>
                  <a:pt x="386" y="660"/>
                  <a:pt x="386" y="661"/>
                  <a:pt x="386" y="661"/>
                </a:cubicBezTo>
                <a:cubicBezTo>
                  <a:pt x="385" y="662"/>
                  <a:pt x="382" y="661"/>
                  <a:pt x="380" y="662"/>
                </a:cubicBezTo>
                <a:cubicBezTo>
                  <a:pt x="381" y="660"/>
                  <a:pt x="381" y="659"/>
                  <a:pt x="379" y="660"/>
                </a:cubicBezTo>
                <a:cubicBezTo>
                  <a:pt x="377" y="661"/>
                  <a:pt x="379" y="661"/>
                  <a:pt x="379" y="662"/>
                </a:cubicBezTo>
                <a:cubicBezTo>
                  <a:pt x="379" y="662"/>
                  <a:pt x="377" y="662"/>
                  <a:pt x="378" y="663"/>
                </a:cubicBezTo>
                <a:cubicBezTo>
                  <a:pt x="378" y="663"/>
                  <a:pt x="378" y="663"/>
                  <a:pt x="378" y="663"/>
                </a:cubicBezTo>
                <a:cubicBezTo>
                  <a:pt x="380" y="663"/>
                  <a:pt x="383" y="663"/>
                  <a:pt x="384" y="663"/>
                </a:cubicBezTo>
                <a:cubicBezTo>
                  <a:pt x="384" y="663"/>
                  <a:pt x="384" y="663"/>
                  <a:pt x="384" y="663"/>
                </a:cubicBezTo>
                <a:cubicBezTo>
                  <a:pt x="384" y="663"/>
                  <a:pt x="384" y="663"/>
                  <a:pt x="384" y="663"/>
                </a:cubicBezTo>
                <a:cubicBezTo>
                  <a:pt x="385" y="662"/>
                  <a:pt x="385" y="663"/>
                  <a:pt x="384" y="664"/>
                </a:cubicBezTo>
                <a:cubicBezTo>
                  <a:pt x="385" y="664"/>
                  <a:pt x="385" y="665"/>
                  <a:pt x="385" y="666"/>
                </a:cubicBezTo>
                <a:cubicBezTo>
                  <a:pt x="385" y="668"/>
                  <a:pt x="382" y="668"/>
                  <a:pt x="379" y="668"/>
                </a:cubicBezTo>
                <a:cubicBezTo>
                  <a:pt x="379" y="669"/>
                  <a:pt x="380" y="670"/>
                  <a:pt x="379" y="671"/>
                </a:cubicBezTo>
                <a:cubicBezTo>
                  <a:pt x="378" y="673"/>
                  <a:pt x="375" y="673"/>
                  <a:pt x="376" y="674"/>
                </a:cubicBezTo>
                <a:cubicBezTo>
                  <a:pt x="374" y="673"/>
                  <a:pt x="372" y="674"/>
                  <a:pt x="371" y="673"/>
                </a:cubicBezTo>
                <a:cubicBezTo>
                  <a:pt x="368" y="671"/>
                  <a:pt x="369" y="671"/>
                  <a:pt x="365" y="671"/>
                </a:cubicBezTo>
                <a:cubicBezTo>
                  <a:pt x="365" y="671"/>
                  <a:pt x="364" y="671"/>
                  <a:pt x="363" y="671"/>
                </a:cubicBezTo>
                <a:cubicBezTo>
                  <a:pt x="360" y="671"/>
                  <a:pt x="361" y="672"/>
                  <a:pt x="362" y="674"/>
                </a:cubicBezTo>
                <a:cubicBezTo>
                  <a:pt x="359" y="672"/>
                  <a:pt x="360" y="674"/>
                  <a:pt x="362" y="675"/>
                </a:cubicBezTo>
                <a:cubicBezTo>
                  <a:pt x="362" y="675"/>
                  <a:pt x="362" y="675"/>
                  <a:pt x="362" y="675"/>
                </a:cubicBezTo>
                <a:cubicBezTo>
                  <a:pt x="362" y="675"/>
                  <a:pt x="362" y="675"/>
                  <a:pt x="362" y="676"/>
                </a:cubicBezTo>
                <a:cubicBezTo>
                  <a:pt x="362" y="676"/>
                  <a:pt x="363" y="676"/>
                  <a:pt x="363" y="676"/>
                </a:cubicBezTo>
                <a:cubicBezTo>
                  <a:pt x="363" y="676"/>
                  <a:pt x="365" y="674"/>
                  <a:pt x="365" y="675"/>
                </a:cubicBezTo>
                <a:cubicBezTo>
                  <a:pt x="366" y="676"/>
                  <a:pt x="361" y="679"/>
                  <a:pt x="365" y="680"/>
                </a:cubicBezTo>
                <a:cubicBezTo>
                  <a:pt x="359" y="680"/>
                  <a:pt x="366" y="684"/>
                  <a:pt x="368" y="686"/>
                </a:cubicBezTo>
                <a:cubicBezTo>
                  <a:pt x="369" y="687"/>
                  <a:pt x="369" y="689"/>
                  <a:pt x="370" y="690"/>
                </a:cubicBezTo>
                <a:cubicBezTo>
                  <a:pt x="370" y="691"/>
                  <a:pt x="371" y="692"/>
                  <a:pt x="370" y="692"/>
                </a:cubicBezTo>
                <a:cubicBezTo>
                  <a:pt x="370" y="692"/>
                  <a:pt x="370" y="692"/>
                  <a:pt x="370" y="692"/>
                </a:cubicBezTo>
                <a:cubicBezTo>
                  <a:pt x="371" y="693"/>
                  <a:pt x="371" y="694"/>
                  <a:pt x="372" y="694"/>
                </a:cubicBezTo>
                <a:cubicBezTo>
                  <a:pt x="372" y="694"/>
                  <a:pt x="372" y="694"/>
                  <a:pt x="372" y="694"/>
                </a:cubicBezTo>
                <a:cubicBezTo>
                  <a:pt x="373" y="694"/>
                  <a:pt x="373" y="694"/>
                  <a:pt x="373" y="694"/>
                </a:cubicBezTo>
                <a:cubicBezTo>
                  <a:pt x="374" y="693"/>
                  <a:pt x="376" y="692"/>
                  <a:pt x="377" y="693"/>
                </a:cubicBezTo>
                <a:cubicBezTo>
                  <a:pt x="378" y="692"/>
                  <a:pt x="379" y="694"/>
                  <a:pt x="379" y="695"/>
                </a:cubicBezTo>
                <a:cubicBezTo>
                  <a:pt x="380" y="695"/>
                  <a:pt x="381" y="694"/>
                  <a:pt x="382" y="695"/>
                </a:cubicBezTo>
                <a:cubicBezTo>
                  <a:pt x="383" y="695"/>
                  <a:pt x="381" y="695"/>
                  <a:pt x="379" y="695"/>
                </a:cubicBezTo>
                <a:cubicBezTo>
                  <a:pt x="379" y="696"/>
                  <a:pt x="379" y="697"/>
                  <a:pt x="378" y="697"/>
                </a:cubicBezTo>
                <a:cubicBezTo>
                  <a:pt x="380" y="698"/>
                  <a:pt x="382" y="698"/>
                  <a:pt x="382" y="698"/>
                </a:cubicBezTo>
                <a:cubicBezTo>
                  <a:pt x="382" y="698"/>
                  <a:pt x="382" y="698"/>
                  <a:pt x="383" y="698"/>
                </a:cubicBezTo>
                <a:cubicBezTo>
                  <a:pt x="382" y="698"/>
                  <a:pt x="381" y="697"/>
                  <a:pt x="380" y="697"/>
                </a:cubicBezTo>
                <a:cubicBezTo>
                  <a:pt x="381" y="697"/>
                  <a:pt x="383" y="697"/>
                  <a:pt x="384" y="697"/>
                </a:cubicBezTo>
                <a:cubicBezTo>
                  <a:pt x="384" y="697"/>
                  <a:pt x="384" y="697"/>
                  <a:pt x="385" y="697"/>
                </a:cubicBezTo>
                <a:cubicBezTo>
                  <a:pt x="384" y="696"/>
                  <a:pt x="385" y="695"/>
                  <a:pt x="386" y="696"/>
                </a:cubicBezTo>
                <a:cubicBezTo>
                  <a:pt x="387" y="695"/>
                  <a:pt x="388" y="695"/>
                  <a:pt x="389" y="696"/>
                </a:cubicBezTo>
                <a:cubicBezTo>
                  <a:pt x="389" y="696"/>
                  <a:pt x="388" y="696"/>
                  <a:pt x="387" y="697"/>
                </a:cubicBezTo>
                <a:cubicBezTo>
                  <a:pt x="387" y="697"/>
                  <a:pt x="388" y="699"/>
                  <a:pt x="387" y="698"/>
                </a:cubicBezTo>
                <a:cubicBezTo>
                  <a:pt x="387" y="698"/>
                  <a:pt x="387" y="698"/>
                  <a:pt x="387" y="698"/>
                </a:cubicBezTo>
                <a:cubicBezTo>
                  <a:pt x="387" y="697"/>
                  <a:pt x="387" y="697"/>
                  <a:pt x="387" y="697"/>
                </a:cubicBezTo>
                <a:cubicBezTo>
                  <a:pt x="386" y="697"/>
                  <a:pt x="386" y="698"/>
                  <a:pt x="385" y="698"/>
                </a:cubicBezTo>
                <a:cubicBezTo>
                  <a:pt x="386" y="698"/>
                  <a:pt x="387" y="699"/>
                  <a:pt x="387" y="699"/>
                </a:cubicBezTo>
                <a:cubicBezTo>
                  <a:pt x="387" y="700"/>
                  <a:pt x="386" y="699"/>
                  <a:pt x="385" y="699"/>
                </a:cubicBezTo>
                <a:cubicBezTo>
                  <a:pt x="385" y="699"/>
                  <a:pt x="385" y="700"/>
                  <a:pt x="385" y="700"/>
                </a:cubicBezTo>
                <a:cubicBezTo>
                  <a:pt x="386" y="700"/>
                  <a:pt x="387" y="699"/>
                  <a:pt x="388" y="700"/>
                </a:cubicBezTo>
                <a:cubicBezTo>
                  <a:pt x="389" y="700"/>
                  <a:pt x="388" y="704"/>
                  <a:pt x="391" y="702"/>
                </a:cubicBezTo>
                <a:cubicBezTo>
                  <a:pt x="392" y="702"/>
                  <a:pt x="391" y="701"/>
                  <a:pt x="391" y="701"/>
                </a:cubicBezTo>
                <a:cubicBezTo>
                  <a:pt x="391" y="701"/>
                  <a:pt x="391" y="700"/>
                  <a:pt x="391" y="700"/>
                </a:cubicBezTo>
                <a:cubicBezTo>
                  <a:pt x="390" y="700"/>
                  <a:pt x="390" y="700"/>
                  <a:pt x="390" y="700"/>
                </a:cubicBezTo>
                <a:cubicBezTo>
                  <a:pt x="389" y="699"/>
                  <a:pt x="391" y="698"/>
                  <a:pt x="391" y="699"/>
                </a:cubicBezTo>
                <a:cubicBezTo>
                  <a:pt x="391" y="699"/>
                  <a:pt x="391" y="699"/>
                  <a:pt x="391" y="699"/>
                </a:cubicBezTo>
                <a:cubicBezTo>
                  <a:pt x="392" y="699"/>
                  <a:pt x="395" y="701"/>
                  <a:pt x="397" y="701"/>
                </a:cubicBezTo>
                <a:cubicBezTo>
                  <a:pt x="395" y="702"/>
                  <a:pt x="396" y="703"/>
                  <a:pt x="397" y="704"/>
                </a:cubicBezTo>
                <a:cubicBezTo>
                  <a:pt x="399" y="704"/>
                  <a:pt x="401" y="703"/>
                  <a:pt x="403" y="702"/>
                </a:cubicBezTo>
                <a:cubicBezTo>
                  <a:pt x="402" y="704"/>
                  <a:pt x="399" y="704"/>
                  <a:pt x="397" y="704"/>
                </a:cubicBezTo>
                <a:cubicBezTo>
                  <a:pt x="398" y="705"/>
                  <a:pt x="398" y="706"/>
                  <a:pt x="397" y="707"/>
                </a:cubicBezTo>
                <a:cubicBezTo>
                  <a:pt x="396" y="708"/>
                  <a:pt x="392" y="706"/>
                  <a:pt x="391" y="708"/>
                </a:cubicBezTo>
                <a:cubicBezTo>
                  <a:pt x="391" y="708"/>
                  <a:pt x="392" y="708"/>
                  <a:pt x="392" y="709"/>
                </a:cubicBezTo>
                <a:cubicBezTo>
                  <a:pt x="392" y="710"/>
                  <a:pt x="389" y="711"/>
                  <a:pt x="392" y="712"/>
                </a:cubicBezTo>
                <a:cubicBezTo>
                  <a:pt x="392" y="712"/>
                  <a:pt x="397" y="714"/>
                  <a:pt x="398" y="714"/>
                </a:cubicBezTo>
                <a:cubicBezTo>
                  <a:pt x="401" y="715"/>
                  <a:pt x="403" y="715"/>
                  <a:pt x="406" y="717"/>
                </a:cubicBezTo>
                <a:cubicBezTo>
                  <a:pt x="402" y="716"/>
                  <a:pt x="401" y="718"/>
                  <a:pt x="397" y="718"/>
                </a:cubicBezTo>
                <a:cubicBezTo>
                  <a:pt x="394" y="718"/>
                  <a:pt x="391" y="714"/>
                  <a:pt x="388" y="714"/>
                </a:cubicBezTo>
                <a:cubicBezTo>
                  <a:pt x="388" y="714"/>
                  <a:pt x="384" y="717"/>
                  <a:pt x="383" y="717"/>
                </a:cubicBezTo>
                <a:cubicBezTo>
                  <a:pt x="382" y="717"/>
                  <a:pt x="381" y="715"/>
                  <a:pt x="381" y="716"/>
                </a:cubicBezTo>
                <a:cubicBezTo>
                  <a:pt x="381" y="717"/>
                  <a:pt x="382" y="717"/>
                  <a:pt x="382" y="717"/>
                </a:cubicBezTo>
                <a:cubicBezTo>
                  <a:pt x="382" y="717"/>
                  <a:pt x="382" y="717"/>
                  <a:pt x="383" y="717"/>
                </a:cubicBezTo>
                <a:cubicBezTo>
                  <a:pt x="383" y="717"/>
                  <a:pt x="384" y="717"/>
                  <a:pt x="386" y="717"/>
                </a:cubicBezTo>
                <a:cubicBezTo>
                  <a:pt x="386" y="717"/>
                  <a:pt x="386" y="717"/>
                  <a:pt x="386" y="717"/>
                </a:cubicBezTo>
                <a:cubicBezTo>
                  <a:pt x="386" y="717"/>
                  <a:pt x="386" y="717"/>
                  <a:pt x="386" y="717"/>
                </a:cubicBezTo>
                <a:cubicBezTo>
                  <a:pt x="387" y="717"/>
                  <a:pt x="388" y="718"/>
                  <a:pt x="388" y="718"/>
                </a:cubicBezTo>
                <a:cubicBezTo>
                  <a:pt x="388" y="718"/>
                  <a:pt x="388" y="719"/>
                  <a:pt x="388" y="719"/>
                </a:cubicBezTo>
                <a:cubicBezTo>
                  <a:pt x="387" y="720"/>
                  <a:pt x="386" y="721"/>
                  <a:pt x="385" y="721"/>
                </a:cubicBezTo>
                <a:cubicBezTo>
                  <a:pt x="384" y="721"/>
                  <a:pt x="382" y="720"/>
                  <a:pt x="382" y="718"/>
                </a:cubicBezTo>
                <a:cubicBezTo>
                  <a:pt x="382" y="719"/>
                  <a:pt x="382" y="718"/>
                  <a:pt x="382" y="719"/>
                </a:cubicBezTo>
                <a:cubicBezTo>
                  <a:pt x="382" y="719"/>
                  <a:pt x="380" y="720"/>
                  <a:pt x="379" y="719"/>
                </a:cubicBezTo>
                <a:cubicBezTo>
                  <a:pt x="379" y="720"/>
                  <a:pt x="379" y="720"/>
                  <a:pt x="379" y="721"/>
                </a:cubicBezTo>
                <a:cubicBezTo>
                  <a:pt x="379" y="721"/>
                  <a:pt x="380" y="720"/>
                  <a:pt x="380" y="720"/>
                </a:cubicBezTo>
                <a:cubicBezTo>
                  <a:pt x="380" y="720"/>
                  <a:pt x="380" y="721"/>
                  <a:pt x="380" y="721"/>
                </a:cubicBezTo>
                <a:cubicBezTo>
                  <a:pt x="381" y="722"/>
                  <a:pt x="383" y="724"/>
                  <a:pt x="384" y="725"/>
                </a:cubicBezTo>
                <a:cubicBezTo>
                  <a:pt x="383" y="725"/>
                  <a:pt x="382" y="726"/>
                  <a:pt x="383" y="726"/>
                </a:cubicBezTo>
                <a:cubicBezTo>
                  <a:pt x="384" y="726"/>
                  <a:pt x="387" y="726"/>
                  <a:pt x="384" y="728"/>
                </a:cubicBezTo>
                <a:cubicBezTo>
                  <a:pt x="384" y="728"/>
                  <a:pt x="384" y="728"/>
                  <a:pt x="384" y="728"/>
                </a:cubicBezTo>
                <a:cubicBezTo>
                  <a:pt x="385" y="728"/>
                  <a:pt x="385" y="729"/>
                  <a:pt x="385" y="729"/>
                </a:cubicBezTo>
                <a:cubicBezTo>
                  <a:pt x="388" y="729"/>
                  <a:pt x="390" y="728"/>
                  <a:pt x="393" y="728"/>
                </a:cubicBezTo>
                <a:cubicBezTo>
                  <a:pt x="397" y="727"/>
                  <a:pt x="391" y="730"/>
                  <a:pt x="390" y="730"/>
                </a:cubicBezTo>
                <a:cubicBezTo>
                  <a:pt x="388" y="730"/>
                  <a:pt x="386" y="731"/>
                  <a:pt x="384" y="731"/>
                </a:cubicBezTo>
                <a:cubicBezTo>
                  <a:pt x="384" y="731"/>
                  <a:pt x="383" y="731"/>
                  <a:pt x="383" y="732"/>
                </a:cubicBezTo>
                <a:cubicBezTo>
                  <a:pt x="383" y="732"/>
                  <a:pt x="382" y="732"/>
                  <a:pt x="381" y="731"/>
                </a:cubicBezTo>
                <a:cubicBezTo>
                  <a:pt x="380" y="732"/>
                  <a:pt x="378" y="732"/>
                  <a:pt x="377" y="733"/>
                </a:cubicBezTo>
                <a:cubicBezTo>
                  <a:pt x="376" y="734"/>
                  <a:pt x="375" y="735"/>
                  <a:pt x="375" y="736"/>
                </a:cubicBezTo>
                <a:cubicBezTo>
                  <a:pt x="376" y="736"/>
                  <a:pt x="376" y="736"/>
                  <a:pt x="377" y="737"/>
                </a:cubicBezTo>
                <a:cubicBezTo>
                  <a:pt x="377" y="737"/>
                  <a:pt x="377" y="737"/>
                  <a:pt x="377" y="737"/>
                </a:cubicBezTo>
                <a:cubicBezTo>
                  <a:pt x="377" y="737"/>
                  <a:pt x="377" y="737"/>
                  <a:pt x="377" y="737"/>
                </a:cubicBezTo>
                <a:cubicBezTo>
                  <a:pt x="378" y="737"/>
                  <a:pt x="380" y="738"/>
                  <a:pt x="379" y="739"/>
                </a:cubicBezTo>
                <a:cubicBezTo>
                  <a:pt x="380" y="739"/>
                  <a:pt x="380" y="739"/>
                  <a:pt x="380" y="739"/>
                </a:cubicBezTo>
                <a:cubicBezTo>
                  <a:pt x="380" y="741"/>
                  <a:pt x="378" y="741"/>
                  <a:pt x="376" y="742"/>
                </a:cubicBezTo>
                <a:cubicBezTo>
                  <a:pt x="377" y="742"/>
                  <a:pt x="376" y="743"/>
                  <a:pt x="375" y="743"/>
                </a:cubicBezTo>
                <a:cubicBezTo>
                  <a:pt x="375" y="743"/>
                  <a:pt x="375" y="743"/>
                  <a:pt x="375" y="743"/>
                </a:cubicBezTo>
                <a:cubicBezTo>
                  <a:pt x="376" y="744"/>
                  <a:pt x="378" y="745"/>
                  <a:pt x="379" y="745"/>
                </a:cubicBezTo>
                <a:cubicBezTo>
                  <a:pt x="380" y="745"/>
                  <a:pt x="382" y="746"/>
                  <a:pt x="382" y="747"/>
                </a:cubicBezTo>
                <a:cubicBezTo>
                  <a:pt x="383" y="747"/>
                  <a:pt x="384" y="748"/>
                  <a:pt x="384" y="749"/>
                </a:cubicBezTo>
                <a:cubicBezTo>
                  <a:pt x="384" y="749"/>
                  <a:pt x="385" y="749"/>
                  <a:pt x="386" y="750"/>
                </a:cubicBezTo>
                <a:cubicBezTo>
                  <a:pt x="387" y="751"/>
                  <a:pt x="386" y="753"/>
                  <a:pt x="385" y="753"/>
                </a:cubicBezTo>
                <a:cubicBezTo>
                  <a:pt x="385" y="753"/>
                  <a:pt x="385" y="753"/>
                  <a:pt x="385" y="753"/>
                </a:cubicBezTo>
                <a:cubicBezTo>
                  <a:pt x="385" y="754"/>
                  <a:pt x="385" y="754"/>
                  <a:pt x="384" y="755"/>
                </a:cubicBezTo>
                <a:cubicBezTo>
                  <a:pt x="385" y="755"/>
                  <a:pt x="386" y="754"/>
                  <a:pt x="387" y="755"/>
                </a:cubicBezTo>
                <a:cubicBezTo>
                  <a:pt x="388" y="754"/>
                  <a:pt x="388" y="753"/>
                  <a:pt x="388" y="753"/>
                </a:cubicBezTo>
                <a:cubicBezTo>
                  <a:pt x="389" y="753"/>
                  <a:pt x="391" y="753"/>
                  <a:pt x="392" y="752"/>
                </a:cubicBezTo>
                <a:cubicBezTo>
                  <a:pt x="393" y="751"/>
                  <a:pt x="394" y="751"/>
                  <a:pt x="396" y="751"/>
                </a:cubicBezTo>
                <a:cubicBezTo>
                  <a:pt x="396" y="750"/>
                  <a:pt x="396" y="750"/>
                  <a:pt x="396" y="749"/>
                </a:cubicBezTo>
                <a:cubicBezTo>
                  <a:pt x="397" y="749"/>
                  <a:pt x="398" y="751"/>
                  <a:pt x="399" y="751"/>
                </a:cubicBezTo>
                <a:cubicBezTo>
                  <a:pt x="399" y="750"/>
                  <a:pt x="399" y="750"/>
                  <a:pt x="399" y="750"/>
                </a:cubicBezTo>
                <a:cubicBezTo>
                  <a:pt x="399" y="750"/>
                  <a:pt x="400" y="750"/>
                  <a:pt x="399" y="750"/>
                </a:cubicBezTo>
                <a:cubicBezTo>
                  <a:pt x="399" y="750"/>
                  <a:pt x="400" y="751"/>
                  <a:pt x="400" y="751"/>
                </a:cubicBezTo>
                <a:cubicBezTo>
                  <a:pt x="401" y="751"/>
                  <a:pt x="402" y="750"/>
                  <a:pt x="403" y="750"/>
                </a:cubicBezTo>
                <a:cubicBezTo>
                  <a:pt x="403" y="750"/>
                  <a:pt x="402" y="751"/>
                  <a:pt x="402" y="751"/>
                </a:cubicBezTo>
                <a:cubicBezTo>
                  <a:pt x="403" y="753"/>
                  <a:pt x="407" y="757"/>
                  <a:pt x="407" y="758"/>
                </a:cubicBezTo>
                <a:cubicBezTo>
                  <a:pt x="407" y="760"/>
                  <a:pt x="402" y="760"/>
                  <a:pt x="400" y="762"/>
                </a:cubicBezTo>
                <a:cubicBezTo>
                  <a:pt x="400" y="763"/>
                  <a:pt x="401" y="764"/>
                  <a:pt x="400" y="765"/>
                </a:cubicBezTo>
                <a:cubicBezTo>
                  <a:pt x="398" y="765"/>
                  <a:pt x="399" y="763"/>
                  <a:pt x="398" y="763"/>
                </a:cubicBezTo>
                <a:cubicBezTo>
                  <a:pt x="397" y="762"/>
                  <a:pt x="393" y="761"/>
                  <a:pt x="391" y="760"/>
                </a:cubicBezTo>
                <a:cubicBezTo>
                  <a:pt x="390" y="760"/>
                  <a:pt x="389" y="759"/>
                  <a:pt x="388" y="758"/>
                </a:cubicBezTo>
                <a:cubicBezTo>
                  <a:pt x="387" y="759"/>
                  <a:pt x="384" y="759"/>
                  <a:pt x="382" y="759"/>
                </a:cubicBezTo>
                <a:cubicBezTo>
                  <a:pt x="385" y="762"/>
                  <a:pt x="385" y="762"/>
                  <a:pt x="385" y="762"/>
                </a:cubicBezTo>
                <a:cubicBezTo>
                  <a:pt x="386" y="762"/>
                  <a:pt x="387" y="763"/>
                  <a:pt x="387" y="763"/>
                </a:cubicBezTo>
                <a:cubicBezTo>
                  <a:pt x="387" y="763"/>
                  <a:pt x="386" y="763"/>
                  <a:pt x="386" y="763"/>
                </a:cubicBezTo>
                <a:cubicBezTo>
                  <a:pt x="393" y="769"/>
                  <a:pt x="393" y="769"/>
                  <a:pt x="393" y="769"/>
                </a:cubicBezTo>
                <a:cubicBezTo>
                  <a:pt x="394" y="769"/>
                  <a:pt x="395" y="769"/>
                  <a:pt x="396" y="770"/>
                </a:cubicBezTo>
                <a:cubicBezTo>
                  <a:pt x="396" y="771"/>
                  <a:pt x="396" y="772"/>
                  <a:pt x="395" y="772"/>
                </a:cubicBezTo>
                <a:cubicBezTo>
                  <a:pt x="397" y="774"/>
                  <a:pt x="397" y="774"/>
                  <a:pt x="397" y="774"/>
                </a:cubicBezTo>
                <a:cubicBezTo>
                  <a:pt x="398" y="773"/>
                  <a:pt x="401" y="773"/>
                  <a:pt x="404" y="772"/>
                </a:cubicBezTo>
                <a:cubicBezTo>
                  <a:pt x="405" y="771"/>
                  <a:pt x="408" y="769"/>
                  <a:pt x="410" y="769"/>
                </a:cubicBezTo>
                <a:cubicBezTo>
                  <a:pt x="411" y="770"/>
                  <a:pt x="411" y="772"/>
                  <a:pt x="411" y="772"/>
                </a:cubicBezTo>
                <a:cubicBezTo>
                  <a:pt x="412" y="772"/>
                  <a:pt x="412" y="771"/>
                  <a:pt x="412" y="771"/>
                </a:cubicBezTo>
                <a:cubicBezTo>
                  <a:pt x="413" y="772"/>
                  <a:pt x="414" y="773"/>
                  <a:pt x="414" y="774"/>
                </a:cubicBezTo>
                <a:cubicBezTo>
                  <a:pt x="415" y="774"/>
                  <a:pt x="416" y="774"/>
                  <a:pt x="416" y="775"/>
                </a:cubicBezTo>
                <a:cubicBezTo>
                  <a:pt x="416" y="775"/>
                  <a:pt x="415" y="776"/>
                  <a:pt x="414" y="776"/>
                </a:cubicBezTo>
                <a:cubicBezTo>
                  <a:pt x="413" y="777"/>
                  <a:pt x="412" y="778"/>
                  <a:pt x="411" y="776"/>
                </a:cubicBezTo>
                <a:cubicBezTo>
                  <a:pt x="411" y="775"/>
                  <a:pt x="410" y="776"/>
                  <a:pt x="410" y="777"/>
                </a:cubicBezTo>
                <a:cubicBezTo>
                  <a:pt x="411" y="778"/>
                  <a:pt x="412" y="778"/>
                  <a:pt x="412" y="779"/>
                </a:cubicBezTo>
                <a:cubicBezTo>
                  <a:pt x="412" y="780"/>
                  <a:pt x="411" y="780"/>
                  <a:pt x="409" y="781"/>
                </a:cubicBezTo>
                <a:cubicBezTo>
                  <a:pt x="411" y="782"/>
                  <a:pt x="412" y="783"/>
                  <a:pt x="412" y="784"/>
                </a:cubicBezTo>
                <a:cubicBezTo>
                  <a:pt x="412" y="784"/>
                  <a:pt x="411" y="786"/>
                  <a:pt x="410" y="787"/>
                </a:cubicBezTo>
                <a:cubicBezTo>
                  <a:pt x="416" y="793"/>
                  <a:pt x="416" y="793"/>
                  <a:pt x="416" y="793"/>
                </a:cubicBezTo>
                <a:cubicBezTo>
                  <a:pt x="435" y="774"/>
                  <a:pt x="435" y="774"/>
                  <a:pt x="435" y="774"/>
                </a:cubicBezTo>
                <a:cubicBezTo>
                  <a:pt x="435" y="773"/>
                  <a:pt x="435" y="773"/>
                  <a:pt x="436" y="773"/>
                </a:cubicBezTo>
                <a:cubicBezTo>
                  <a:pt x="454" y="755"/>
                  <a:pt x="454" y="755"/>
                  <a:pt x="454" y="755"/>
                </a:cubicBezTo>
                <a:cubicBezTo>
                  <a:pt x="454" y="755"/>
                  <a:pt x="454" y="755"/>
                  <a:pt x="454" y="754"/>
                </a:cubicBezTo>
                <a:cubicBezTo>
                  <a:pt x="453" y="754"/>
                  <a:pt x="454" y="754"/>
                  <a:pt x="455" y="754"/>
                </a:cubicBezTo>
                <a:cubicBezTo>
                  <a:pt x="494" y="715"/>
                  <a:pt x="494" y="715"/>
                  <a:pt x="494" y="715"/>
                </a:cubicBezTo>
                <a:cubicBezTo>
                  <a:pt x="494" y="715"/>
                  <a:pt x="493" y="715"/>
                  <a:pt x="493" y="715"/>
                </a:cubicBezTo>
                <a:cubicBezTo>
                  <a:pt x="493" y="715"/>
                  <a:pt x="494" y="715"/>
                  <a:pt x="494" y="715"/>
                </a:cubicBezTo>
                <a:cubicBezTo>
                  <a:pt x="805" y="403"/>
                  <a:pt x="805" y="403"/>
                  <a:pt x="805" y="403"/>
                </a:cubicBezTo>
                <a:cubicBezTo>
                  <a:pt x="804" y="403"/>
                  <a:pt x="806" y="402"/>
                  <a:pt x="806" y="403"/>
                </a:cubicBezTo>
                <a:cubicBezTo>
                  <a:pt x="809" y="400"/>
                  <a:pt x="809" y="400"/>
                  <a:pt x="809" y="400"/>
                </a:cubicBezTo>
                <a:cubicBezTo>
                  <a:pt x="808" y="398"/>
                  <a:pt x="807" y="397"/>
                  <a:pt x="806" y="396"/>
                </a:cubicBezTo>
                <a:cubicBezTo>
                  <a:pt x="806" y="394"/>
                  <a:pt x="806" y="392"/>
                  <a:pt x="808" y="391"/>
                </a:cubicBezTo>
                <a:cubicBezTo>
                  <a:pt x="810" y="389"/>
                  <a:pt x="812" y="393"/>
                  <a:pt x="813" y="396"/>
                </a:cubicBezTo>
                <a:cubicBezTo>
                  <a:pt x="824" y="384"/>
                  <a:pt x="824" y="384"/>
                  <a:pt x="824" y="384"/>
                </a:cubicBezTo>
                <a:cubicBezTo>
                  <a:pt x="824" y="380"/>
                  <a:pt x="819" y="373"/>
                  <a:pt x="822" y="371"/>
                </a:cubicBezTo>
                <a:cubicBezTo>
                  <a:pt x="823" y="370"/>
                  <a:pt x="825" y="379"/>
                  <a:pt x="825" y="383"/>
                </a:cubicBezTo>
                <a:cubicBezTo>
                  <a:pt x="832" y="377"/>
                  <a:pt x="832" y="377"/>
                  <a:pt x="832" y="377"/>
                </a:cubicBezTo>
                <a:cubicBezTo>
                  <a:pt x="801" y="346"/>
                  <a:pt x="801" y="346"/>
                  <a:pt x="801" y="346"/>
                </a:cubicBezTo>
                <a:cubicBezTo>
                  <a:pt x="801" y="347"/>
                  <a:pt x="801" y="348"/>
                  <a:pt x="800" y="348"/>
                </a:cubicBezTo>
                <a:cubicBezTo>
                  <a:pt x="799" y="349"/>
                  <a:pt x="799" y="346"/>
                  <a:pt x="800" y="345"/>
                </a:cubicBezTo>
                <a:cubicBezTo>
                  <a:pt x="787" y="332"/>
                  <a:pt x="787" y="332"/>
                  <a:pt x="787" y="332"/>
                </a:cubicBezTo>
                <a:cubicBezTo>
                  <a:pt x="787" y="334"/>
                  <a:pt x="785" y="338"/>
                  <a:pt x="787" y="340"/>
                </a:cubicBezTo>
                <a:cubicBezTo>
                  <a:pt x="788" y="341"/>
                  <a:pt x="789" y="341"/>
                  <a:pt x="788" y="342"/>
                </a:cubicBezTo>
                <a:cubicBezTo>
                  <a:pt x="786" y="339"/>
                  <a:pt x="785" y="349"/>
                  <a:pt x="783" y="344"/>
                </a:cubicBezTo>
                <a:cubicBezTo>
                  <a:pt x="781" y="343"/>
                  <a:pt x="779" y="341"/>
                  <a:pt x="780" y="338"/>
                </a:cubicBezTo>
                <a:cubicBezTo>
                  <a:pt x="780" y="337"/>
                  <a:pt x="782" y="336"/>
                  <a:pt x="783" y="335"/>
                </a:cubicBezTo>
                <a:cubicBezTo>
                  <a:pt x="783" y="334"/>
                  <a:pt x="780" y="332"/>
                  <a:pt x="782" y="330"/>
                </a:cubicBezTo>
                <a:cubicBezTo>
                  <a:pt x="783" y="329"/>
                  <a:pt x="783" y="329"/>
                  <a:pt x="784" y="329"/>
                </a:cubicBezTo>
                <a:cubicBezTo>
                  <a:pt x="751" y="296"/>
                  <a:pt x="751" y="296"/>
                  <a:pt x="751" y="296"/>
                </a:cubicBezTo>
                <a:cubicBezTo>
                  <a:pt x="751" y="297"/>
                  <a:pt x="751" y="297"/>
                  <a:pt x="751" y="298"/>
                </a:cubicBezTo>
                <a:cubicBezTo>
                  <a:pt x="750" y="297"/>
                  <a:pt x="750" y="296"/>
                  <a:pt x="751" y="296"/>
                </a:cubicBezTo>
                <a:cubicBezTo>
                  <a:pt x="746" y="291"/>
                  <a:pt x="746" y="291"/>
                  <a:pt x="746" y="291"/>
                </a:cubicBezTo>
                <a:cubicBezTo>
                  <a:pt x="746" y="292"/>
                  <a:pt x="746" y="293"/>
                  <a:pt x="746" y="293"/>
                </a:cubicBezTo>
                <a:cubicBezTo>
                  <a:pt x="745" y="292"/>
                  <a:pt x="746" y="292"/>
                  <a:pt x="746" y="291"/>
                </a:cubicBezTo>
                <a:cubicBezTo>
                  <a:pt x="746" y="291"/>
                  <a:pt x="746" y="291"/>
                  <a:pt x="746" y="291"/>
                </a:cubicBezTo>
                <a:cubicBezTo>
                  <a:pt x="733" y="278"/>
                  <a:pt x="733" y="278"/>
                  <a:pt x="733" y="278"/>
                </a:cubicBezTo>
                <a:cubicBezTo>
                  <a:pt x="732" y="278"/>
                  <a:pt x="731" y="278"/>
                  <a:pt x="730" y="276"/>
                </a:cubicBezTo>
                <a:cubicBezTo>
                  <a:pt x="728" y="274"/>
                  <a:pt x="730" y="279"/>
                  <a:pt x="730" y="279"/>
                </a:cubicBezTo>
                <a:cubicBezTo>
                  <a:pt x="731" y="279"/>
                  <a:pt x="731" y="279"/>
                  <a:pt x="731" y="280"/>
                </a:cubicBezTo>
                <a:cubicBezTo>
                  <a:pt x="732" y="280"/>
                  <a:pt x="732" y="280"/>
                  <a:pt x="732" y="281"/>
                </a:cubicBezTo>
                <a:cubicBezTo>
                  <a:pt x="732" y="282"/>
                  <a:pt x="733" y="285"/>
                  <a:pt x="732" y="286"/>
                </a:cubicBezTo>
                <a:cubicBezTo>
                  <a:pt x="732" y="284"/>
                  <a:pt x="731" y="283"/>
                  <a:pt x="731" y="282"/>
                </a:cubicBezTo>
                <a:cubicBezTo>
                  <a:pt x="730" y="282"/>
                  <a:pt x="730" y="282"/>
                  <a:pt x="730" y="282"/>
                </a:cubicBezTo>
                <a:cubicBezTo>
                  <a:pt x="729" y="282"/>
                  <a:pt x="730" y="281"/>
                  <a:pt x="730" y="281"/>
                </a:cubicBezTo>
                <a:cubicBezTo>
                  <a:pt x="730" y="280"/>
                  <a:pt x="730" y="280"/>
                  <a:pt x="730" y="279"/>
                </a:cubicBezTo>
                <a:cubicBezTo>
                  <a:pt x="729" y="281"/>
                  <a:pt x="730" y="282"/>
                  <a:pt x="728" y="283"/>
                </a:cubicBezTo>
                <a:cubicBezTo>
                  <a:pt x="729" y="282"/>
                  <a:pt x="728" y="280"/>
                  <a:pt x="727" y="280"/>
                </a:cubicBezTo>
                <a:cubicBezTo>
                  <a:pt x="727" y="280"/>
                  <a:pt x="727" y="280"/>
                  <a:pt x="727" y="280"/>
                </a:cubicBezTo>
                <a:cubicBezTo>
                  <a:pt x="727" y="280"/>
                  <a:pt x="727" y="279"/>
                  <a:pt x="726" y="279"/>
                </a:cubicBezTo>
                <a:cubicBezTo>
                  <a:pt x="726" y="279"/>
                  <a:pt x="725" y="279"/>
                  <a:pt x="726" y="281"/>
                </a:cubicBezTo>
                <a:cubicBezTo>
                  <a:pt x="726" y="281"/>
                  <a:pt x="726" y="281"/>
                  <a:pt x="726" y="281"/>
                </a:cubicBezTo>
                <a:cubicBezTo>
                  <a:pt x="726" y="280"/>
                  <a:pt x="726" y="280"/>
                  <a:pt x="726" y="280"/>
                </a:cubicBezTo>
                <a:cubicBezTo>
                  <a:pt x="726" y="280"/>
                  <a:pt x="726" y="280"/>
                  <a:pt x="726" y="280"/>
                </a:cubicBezTo>
                <a:cubicBezTo>
                  <a:pt x="727" y="280"/>
                  <a:pt x="727" y="280"/>
                  <a:pt x="727" y="280"/>
                </a:cubicBezTo>
                <a:cubicBezTo>
                  <a:pt x="727" y="280"/>
                  <a:pt x="727" y="281"/>
                  <a:pt x="727" y="281"/>
                </a:cubicBezTo>
                <a:cubicBezTo>
                  <a:pt x="727" y="281"/>
                  <a:pt x="727" y="282"/>
                  <a:pt x="727" y="282"/>
                </a:cubicBezTo>
                <a:cubicBezTo>
                  <a:pt x="727" y="282"/>
                  <a:pt x="727" y="282"/>
                  <a:pt x="726" y="282"/>
                </a:cubicBezTo>
                <a:cubicBezTo>
                  <a:pt x="726" y="283"/>
                  <a:pt x="726" y="284"/>
                  <a:pt x="726" y="284"/>
                </a:cubicBezTo>
                <a:cubicBezTo>
                  <a:pt x="726" y="284"/>
                  <a:pt x="727" y="284"/>
                  <a:pt x="728" y="284"/>
                </a:cubicBezTo>
                <a:cubicBezTo>
                  <a:pt x="729" y="283"/>
                  <a:pt x="729" y="282"/>
                  <a:pt x="730" y="283"/>
                </a:cubicBezTo>
                <a:cubicBezTo>
                  <a:pt x="730" y="283"/>
                  <a:pt x="730" y="283"/>
                  <a:pt x="730" y="284"/>
                </a:cubicBezTo>
                <a:cubicBezTo>
                  <a:pt x="730" y="284"/>
                  <a:pt x="730" y="284"/>
                  <a:pt x="730" y="284"/>
                </a:cubicBezTo>
                <a:cubicBezTo>
                  <a:pt x="731" y="284"/>
                  <a:pt x="731" y="287"/>
                  <a:pt x="731" y="288"/>
                </a:cubicBezTo>
                <a:cubicBezTo>
                  <a:pt x="732" y="287"/>
                  <a:pt x="734" y="288"/>
                  <a:pt x="735" y="291"/>
                </a:cubicBezTo>
                <a:cubicBezTo>
                  <a:pt x="735" y="291"/>
                  <a:pt x="735" y="291"/>
                  <a:pt x="735" y="291"/>
                </a:cubicBezTo>
                <a:cubicBezTo>
                  <a:pt x="735" y="290"/>
                  <a:pt x="736" y="285"/>
                  <a:pt x="735" y="284"/>
                </a:cubicBezTo>
                <a:cubicBezTo>
                  <a:pt x="735" y="284"/>
                  <a:pt x="732" y="279"/>
                  <a:pt x="736" y="281"/>
                </a:cubicBezTo>
                <a:cubicBezTo>
                  <a:pt x="737" y="282"/>
                  <a:pt x="735" y="287"/>
                  <a:pt x="736" y="291"/>
                </a:cubicBezTo>
                <a:cubicBezTo>
                  <a:pt x="736" y="291"/>
                  <a:pt x="737" y="291"/>
                  <a:pt x="737" y="291"/>
                </a:cubicBezTo>
                <a:cubicBezTo>
                  <a:pt x="737" y="293"/>
                  <a:pt x="737" y="293"/>
                  <a:pt x="737" y="293"/>
                </a:cubicBezTo>
                <a:cubicBezTo>
                  <a:pt x="737" y="294"/>
                  <a:pt x="737" y="295"/>
                  <a:pt x="736" y="295"/>
                </a:cubicBezTo>
                <a:cubicBezTo>
                  <a:pt x="737" y="296"/>
                  <a:pt x="738" y="295"/>
                  <a:pt x="739" y="295"/>
                </a:cubicBezTo>
                <a:cubicBezTo>
                  <a:pt x="739" y="295"/>
                  <a:pt x="741" y="297"/>
                  <a:pt x="741" y="297"/>
                </a:cubicBezTo>
                <a:cubicBezTo>
                  <a:pt x="741" y="300"/>
                  <a:pt x="738" y="300"/>
                  <a:pt x="736" y="298"/>
                </a:cubicBezTo>
                <a:cubicBezTo>
                  <a:pt x="738" y="300"/>
                  <a:pt x="735" y="299"/>
                  <a:pt x="735" y="300"/>
                </a:cubicBezTo>
                <a:cubicBezTo>
                  <a:pt x="735" y="299"/>
                  <a:pt x="735" y="305"/>
                  <a:pt x="733" y="305"/>
                </a:cubicBezTo>
                <a:cubicBezTo>
                  <a:pt x="733" y="305"/>
                  <a:pt x="734" y="301"/>
                  <a:pt x="733" y="300"/>
                </a:cubicBezTo>
                <a:cubicBezTo>
                  <a:pt x="733" y="300"/>
                  <a:pt x="733" y="300"/>
                  <a:pt x="733" y="300"/>
                </a:cubicBezTo>
                <a:cubicBezTo>
                  <a:pt x="733" y="301"/>
                  <a:pt x="732" y="301"/>
                  <a:pt x="732" y="301"/>
                </a:cubicBezTo>
                <a:cubicBezTo>
                  <a:pt x="731" y="301"/>
                  <a:pt x="731" y="300"/>
                  <a:pt x="731" y="299"/>
                </a:cubicBezTo>
                <a:cubicBezTo>
                  <a:pt x="731" y="299"/>
                  <a:pt x="731" y="299"/>
                  <a:pt x="731" y="299"/>
                </a:cubicBezTo>
                <a:cubicBezTo>
                  <a:pt x="731" y="299"/>
                  <a:pt x="731" y="298"/>
                  <a:pt x="732" y="298"/>
                </a:cubicBezTo>
                <a:cubicBezTo>
                  <a:pt x="734" y="297"/>
                  <a:pt x="732" y="297"/>
                  <a:pt x="730" y="296"/>
                </a:cubicBezTo>
                <a:cubicBezTo>
                  <a:pt x="730" y="296"/>
                  <a:pt x="730" y="296"/>
                  <a:pt x="730" y="296"/>
                </a:cubicBezTo>
                <a:cubicBezTo>
                  <a:pt x="730" y="296"/>
                  <a:pt x="730" y="296"/>
                  <a:pt x="730" y="296"/>
                </a:cubicBezTo>
                <a:cubicBezTo>
                  <a:pt x="729" y="295"/>
                  <a:pt x="729" y="295"/>
                  <a:pt x="729" y="294"/>
                </a:cubicBezTo>
                <a:cubicBezTo>
                  <a:pt x="728" y="294"/>
                  <a:pt x="728" y="295"/>
                  <a:pt x="727" y="295"/>
                </a:cubicBezTo>
                <a:cubicBezTo>
                  <a:pt x="725" y="295"/>
                  <a:pt x="726" y="293"/>
                  <a:pt x="725" y="293"/>
                </a:cubicBezTo>
                <a:cubicBezTo>
                  <a:pt x="725" y="293"/>
                  <a:pt x="725" y="293"/>
                  <a:pt x="725" y="293"/>
                </a:cubicBezTo>
                <a:cubicBezTo>
                  <a:pt x="723" y="297"/>
                  <a:pt x="721" y="302"/>
                  <a:pt x="725" y="300"/>
                </a:cubicBezTo>
                <a:cubicBezTo>
                  <a:pt x="723" y="303"/>
                  <a:pt x="726" y="304"/>
                  <a:pt x="728" y="305"/>
                </a:cubicBezTo>
                <a:cubicBezTo>
                  <a:pt x="729" y="306"/>
                  <a:pt x="727" y="304"/>
                  <a:pt x="726" y="305"/>
                </a:cubicBezTo>
                <a:cubicBezTo>
                  <a:pt x="725" y="306"/>
                  <a:pt x="728" y="308"/>
                  <a:pt x="728" y="310"/>
                </a:cubicBezTo>
                <a:cubicBezTo>
                  <a:pt x="728" y="311"/>
                  <a:pt x="727" y="313"/>
                  <a:pt x="727" y="313"/>
                </a:cubicBezTo>
                <a:cubicBezTo>
                  <a:pt x="727" y="315"/>
                  <a:pt x="729" y="314"/>
                  <a:pt x="727" y="315"/>
                </a:cubicBezTo>
                <a:cubicBezTo>
                  <a:pt x="724" y="316"/>
                  <a:pt x="725" y="320"/>
                  <a:pt x="724" y="321"/>
                </a:cubicBezTo>
                <a:cubicBezTo>
                  <a:pt x="723" y="322"/>
                  <a:pt x="720" y="322"/>
                  <a:pt x="720" y="324"/>
                </a:cubicBezTo>
                <a:cubicBezTo>
                  <a:pt x="723" y="320"/>
                  <a:pt x="727" y="325"/>
                  <a:pt x="725" y="326"/>
                </a:cubicBezTo>
                <a:cubicBezTo>
                  <a:pt x="725" y="326"/>
                  <a:pt x="727" y="329"/>
                  <a:pt x="724" y="330"/>
                </a:cubicBezTo>
                <a:cubicBezTo>
                  <a:pt x="722" y="330"/>
                  <a:pt x="723" y="330"/>
                  <a:pt x="721" y="332"/>
                </a:cubicBezTo>
                <a:cubicBezTo>
                  <a:pt x="720" y="334"/>
                  <a:pt x="720" y="325"/>
                  <a:pt x="719" y="324"/>
                </a:cubicBezTo>
                <a:cubicBezTo>
                  <a:pt x="718" y="323"/>
                  <a:pt x="718" y="326"/>
                  <a:pt x="717" y="323"/>
                </a:cubicBezTo>
                <a:cubicBezTo>
                  <a:pt x="715" y="317"/>
                  <a:pt x="709" y="307"/>
                  <a:pt x="717" y="303"/>
                </a:cubicBezTo>
                <a:cubicBezTo>
                  <a:pt x="718" y="302"/>
                  <a:pt x="720" y="302"/>
                  <a:pt x="721" y="301"/>
                </a:cubicBezTo>
                <a:cubicBezTo>
                  <a:pt x="722" y="299"/>
                  <a:pt x="723" y="297"/>
                  <a:pt x="723" y="294"/>
                </a:cubicBezTo>
                <a:cubicBezTo>
                  <a:pt x="723" y="294"/>
                  <a:pt x="723" y="294"/>
                  <a:pt x="723" y="294"/>
                </a:cubicBezTo>
                <a:cubicBezTo>
                  <a:pt x="722" y="294"/>
                  <a:pt x="723" y="292"/>
                  <a:pt x="722" y="292"/>
                </a:cubicBezTo>
                <a:cubicBezTo>
                  <a:pt x="722" y="292"/>
                  <a:pt x="721" y="292"/>
                  <a:pt x="720" y="292"/>
                </a:cubicBezTo>
                <a:cubicBezTo>
                  <a:pt x="720" y="293"/>
                  <a:pt x="719" y="293"/>
                  <a:pt x="719" y="293"/>
                </a:cubicBezTo>
                <a:cubicBezTo>
                  <a:pt x="719" y="293"/>
                  <a:pt x="719" y="293"/>
                  <a:pt x="719" y="292"/>
                </a:cubicBezTo>
                <a:cubicBezTo>
                  <a:pt x="718" y="293"/>
                  <a:pt x="718" y="292"/>
                  <a:pt x="718" y="292"/>
                </a:cubicBezTo>
                <a:cubicBezTo>
                  <a:pt x="717" y="291"/>
                  <a:pt x="718" y="289"/>
                  <a:pt x="716" y="290"/>
                </a:cubicBezTo>
                <a:cubicBezTo>
                  <a:pt x="716" y="289"/>
                  <a:pt x="716" y="287"/>
                  <a:pt x="716" y="286"/>
                </a:cubicBezTo>
                <a:cubicBezTo>
                  <a:pt x="716" y="286"/>
                  <a:pt x="716" y="286"/>
                  <a:pt x="716" y="286"/>
                </a:cubicBezTo>
                <a:cubicBezTo>
                  <a:pt x="715" y="286"/>
                  <a:pt x="713" y="288"/>
                  <a:pt x="713" y="288"/>
                </a:cubicBezTo>
                <a:cubicBezTo>
                  <a:pt x="712" y="288"/>
                  <a:pt x="713" y="285"/>
                  <a:pt x="714" y="283"/>
                </a:cubicBezTo>
                <a:cubicBezTo>
                  <a:pt x="714" y="282"/>
                  <a:pt x="714" y="282"/>
                  <a:pt x="713" y="282"/>
                </a:cubicBezTo>
                <a:cubicBezTo>
                  <a:pt x="714" y="282"/>
                  <a:pt x="711" y="288"/>
                  <a:pt x="709" y="285"/>
                </a:cubicBezTo>
                <a:cubicBezTo>
                  <a:pt x="709" y="286"/>
                  <a:pt x="709" y="286"/>
                  <a:pt x="709" y="286"/>
                </a:cubicBezTo>
                <a:cubicBezTo>
                  <a:pt x="709" y="286"/>
                  <a:pt x="707" y="288"/>
                  <a:pt x="707" y="288"/>
                </a:cubicBezTo>
                <a:cubicBezTo>
                  <a:pt x="705" y="287"/>
                  <a:pt x="707" y="283"/>
                  <a:pt x="707" y="281"/>
                </a:cubicBezTo>
                <a:cubicBezTo>
                  <a:pt x="706" y="281"/>
                  <a:pt x="705" y="280"/>
                  <a:pt x="705" y="279"/>
                </a:cubicBezTo>
                <a:cubicBezTo>
                  <a:pt x="705" y="279"/>
                  <a:pt x="705" y="278"/>
                  <a:pt x="706" y="278"/>
                </a:cubicBezTo>
                <a:cubicBezTo>
                  <a:pt x="705" y="278"/>
                  <a:pt x="705" y="277"/>
                  <a:pt x="706" y="276"/>
                </a:cubicBezTo>
                <a:cubicBezTo>
                  <a:pt x="706" y="276"/>
                  <a:pt x="707" y="275"/>
                  <a:pt x="707" y="276"/>
                </a:cubicBezTo>
                <a:cubicBezTo>
                  <a:pt x="708" y="276"/>
                  <a:pt x="708" y="277"/>
                  <a:pt x="708" y="277"/>
                </a:cubicBezTo>
                <a:cubicBezTo>
                  <a:pt x="708" y="277"/>
                  <a:pt x="708" y="277"/>
                  <a:pt x="708" y="277"/>
                </a:cubicBezTo>
                <a:cubicBezTo>
                  <a:pt x="708" y="275"/>
                  <a:pt x="707" y="273"/>
                  <a:pt x="709" y="271"/>
                </a:cubicBezTo>
                <a:cubicBezTo>
                  <a:pt x="709" y="270"/>
                  <a:pt x="708" y="270"/>
                  <a:pt x="708" y="270"/>
                </a:cubicBezTo>
                <a:cubicBezTo>
                  <a:pt x="708" y="269"/>
                  <a:pt x="708" y="269"/>
                  <a:pt x="707" y="269"/>
                </a:cubicBezTo>
                <a:cubicBezTo>
                  <a:pt x="707" y="271"/>
                  <a:pt x="706" y="272"/>
                  <a:pt x="705" y="273"/>
                </a:cubicBezTo>
                <a:cubicBezTo>
                  <a:pt x="705" y="272"/>
                  <a:pt x="706" y="270"/>
                  <a:pt x="707" y="268"/>
                </a:cubicBezTo>
                <a:cubicBezTo>
                  <a:pt x="707" y="268"/>
                  <a:pt x="707" y="268"/>
                  <a:pt x="707" y="268"/>
                </a:cubicBezTo>
                <a:cubicBezTo>
                  <a:pt x="707" y="268"/>
                  <a:pt x="706" y="269"/>
                  <a:pt x="706" y="269"/>
                </a:cubicBezTo>
                <a:cubicBezTo>
                  <a:pt x="705" y="268"/>
                  <a:pt x="707" y="267"/>
                  <a:pt x="707" y="268"/>
                </a:cubicBezTo>
                <a:cubicBezTo>
                  <a:pt x="708" y="266"/>
                  <a:pt x="710" y="263"/>
                  <a:pt x="711" y="262"/>
                </a:cubicBezTo>
                <a:cubicBezTo>
                  <a:pt x="710" y="262"/>
                  <a:pt x="710" y="262"/>
                  <a:pt x="710" y="262"/>
                </a:cubicBezTo>
                <a:cubicBezTo>
                  <a:pt x="709" y="262"/>
                  <a:pt x="709" y="261"/>
                  <a:pt x="709" y="260"/>
                </a:cubicBezTo>
                <a:cubicBezTo>
                  <a:pt x="708" y="260"/>
                  <a:pt x="708" y="259"/>
                  <a:pt x="708" y="259"/>
                </a:cubicBezTo>
                <a:cubicBezTo>
                  <a:pt x="708" y="258"/>
                  <a:pt x="709" y="256"/>
                  <a:pt x="710" y="255"/>
                </a:cubicBezTo>
                <a:cubicBezTo>
                  <a:pt x="710" y="255"/>
                  <a:pt x="710" y="255"/>
                  <a:pt x="710" y="255"/>
                </a:cubicBezTo>
                <a:cubicBezTo>
                  <a:pt x="710" y="255"/>
                  <a:pt x="710" y="255"/>
                  <a:pt x="710" y="255"/>
                </a:cubicBezTo>
                <a:cubicBezTo>
                  <a:pt x="708" y="256"/>
                  <a:pt x="707" y="254"/>
                  <a:pt x="708" y="253"/>
                </a:cubicBezTo>
                <a:cubicBezTo>
                  <a:pt x="703" y="248"/>
                  <a:pt x="703" y="248"/>
                  <a:pt x="703" y="248"/>
                </a:cubicBezTo>
                <a:cubicBezTo>
                  <a:pt x="702" y="248"/>
                  <a:pt x="702" y="248"/>
                  <a:pt x="702" y="248"/>
                </a:cubicBezTo>
                <a:cubicBezTo>
                  <a:pt x="702" y="248"/>
                  <a:pt x="702" y="248"/>
                  <a:pt x="703" y="248"/>
                </a:cubicBezTo>
                <a:cubicBezTo>
                  <a:pt x="704" y="249"/>
                  <a:pt x="700" y="250"/>
                  <a:pt x="701" y="249"/>
                </a:cubicBezTo>
                <a:cubicBezTo>
                  <a:pt x="700" y="249"/>
                  <a:pt x="700" y="249"/>
                  <a:pt x="700" y="249"/>
                </a:cubicBezTo>
                <a:cubicBezTo>
                  <a:pt x="699" y="249"/>
                  <a:pt x="699" y="249"/>
                  <a:pt x="699" y="248"/>
                </a:cubicBezTo>
                <a:cubicBezTo>
                  <a:pt x="699" y="248"/>
                  <a:pt x="699" y="248"/>
                  <a:pt x="699" y="248"/>
                </a:cubicBezTo>
                <a:cubicBezTo>
                  <a:pt x="699" y="248"/>
                  <a:pt x="698" y="246"/>
                  <a:pt x="696" y="245"/>
                </a:cubicBezTo>
                <a:cubicBezTo>
                  <a:pt x="696" y="246"/>
                  <a:pt x="695" y="246"/>
                  <a:pt x="695" y="245"/>
                </a:cubicBezTo>
                <a:cubicBezTo>
                  <a:pt x="695" y="245"/>
                  <a:pt x="695" y="245"/>
                  <a:pt x="695" y="245"/>
                </a:cubicBezTo>
                <a:cubicBezTo>
                  <a:pt x="695" y="244"/>
                  <a:pt x="694" y="245"/>
                  <a:pt x="694" y="246"/>
                </a:cubicBezTo>
                <a:cubicBezTo>
                  <a:pt x="694" y="246"/>
                  <a:pt x="694" y="246"/>
                  <a:pt x="694" y="247"/>
                </a:cubicBezTo>
                <a:cubicBezTo>
                  <a:pt x="693" y="247"/>
                  <a:pt x="686" y="249"/>
                  <a:pt x="690" y="250"/>
                </a:cubicBezTo>
                <a:cubicBezTo>
                  <a:pt x="691" y="251"/>
                  <a:pt x="690" y="249"/>
                  <a:pt x="690" y="249"/>
                </a:cubicBezTo>
                <a:cubicBezTo>
                  <a:pt x="691" y="249"/>
                  <a:pt x="691" y="250"/>
                  <a:pt x="691" y="250"/>
                </a:cubicBezTo>
                <a:cubicBezTo>
                  <a:pt x="692" y="250"/>
                  <a:pt x="693" y="248"/>
                  <a:pt x="695" y="248"/>
                </a:cubicBezTo>
                <a:cubicBezTo>
                  <a:pt x="692" y="249"/>
                  <a:pt x="695" y="252"/>
                  <a:pt x="694" y="253"/>
                </a:cubicBezTo>
                <a:cubicBezTo>
                  <a:pt x="692" y="254"/>
                  <a:pt x="689" y="251"/>
                  <a:pt x="688" y="251"/>
                </a:cubicBezTo>
                <a:cubicBezTo>
                  <a:pt x="685" y="252"/>
                  <a:pt x="684" y="254"/>
                  <a:pt x="683" y="257"/>
                </a:cubicBezTo>
                <a:cubicBezTo>
                  <a:pt x="684" y="256"/>
                  <a:pt x="686" y="256"/>
                  <a:pt x="688" y="256"/>
                </a:cubicBezTo>
                <a:cubicBezTo>
                  <a:pt x="688" y="255"/>
                  <a:pt x="689" y="254"/>
                  <a:pt x="691" y="256"/>
                </a:cubicBezTo>
                <a:cubicBezTo>
                  <a:pt x="692" y="257"/>
                  <a:pt x="696" y="260"/>
                  <a:pt x="695" y="262"/>
                </a:cubicBezTo>
                <a:cubicBezTo>
                  <a:pt x="692" y="266"/>
                  <a:pt x="687" y="271"/>
                  <a:pt x="687" y="277"/>
                </a:cubicBezTo>
                <a:cubicBezTo>
                  <a:pt x="690" y="271"/>
                  <a:pt x="692" y="278"/>
                  <a:pt x="687" y="279"/>
                </a:cubicBezTo>
                <a:cubicBezTo>
                  <a:pt x="688" y="277"/>
                  <a:pt x="686" y="279"/>
                  <a:pt x="685" y="278"/>
                </a:cubicBezTo>
                <a:cubicBezTo>
                  <a:pt x="685" y="277"/>
                  <a:pt x="685" y="277"/>
                  <a:pt x="685" y="277"/>
                </a:cubicBezTo>
                <a:cubicBezTo>
                  <a:pt x="685" y="277"/>
                  <a:pt x="685" y="277"/>
                  <a:pt x="685" y="277"/>
                </a:cubicBezTo>
                <a:cubicBezTo>
                  <a:pt x="682" y="277"/>
                  <a:pt x="685" y="272"/>
                  <a:pt x="685" y="275"/>
                </a:cubicBezTo>
                <a:cubicBezTo>
                  <a:pt x="685" y="275"/>
                  <a:pt x="685" y="275"/>
                  <a:pt x="685" y="275"/>
                </a:cubicBezTo>
                <a:cubicBezTo>
                  <a:pt x="686" y="275"/>
                  <a:pt x="686" y="274"/>
                  <a:pt x="686" y="273"/>
                </a:cubicBezTo>
                <a:cubicBezTo>
                  <a:pt x="686" y="270"/>
                  <a:pt x="685" y="266"/>
                  <a:pt x="684" y="263"/>
                </a:cubicBezTo>
                <a:cubicBezTo>
                  <a:pt x="683" y="263"/>
                  <a:pt x="682" y="263"/>
                  <a:pt x="682" y="262"/>
                </a:cubicBezTo>
                <a:cubicBezTo>
                  <a:pt x="682" y="262"/>
                  <a:pt x="682" y="262"/>
                  <a:pt x="682" y="261"/>
                </a:cubicBezTo>
                <a:cubicBezTo>
                  <a:pt x="680" y="261"/>
                  <a:pt x="679" y="261"/>
                  <a:pt x="678" y="265"/>
                </a:cubicBezTo>
                <a:cubicBezTo>
                  <a:pt x="676" y="258"/>
                  <a:pt x="673" y="269"/>
                  <a:pt x="674" y="271"/>
                </a:cubicBezTo>
                <a:cubicBezTo>
                  <a:pt x="674" y="271"/>
                  <a:pt x="676" y="271"/>
                  <a:pt x="676" y="271"/>
                </a:cubicBezTo>
                <a:cubicBezTo>
                  <a:pt x="677" y="272"/>
                  <a:pt x="677" y="275"/>
                  <a:pt x="677" y="276"/>
                </a:cubicBezTo>
                <a:cubicBezTo>
                  <a:pt x="676" y="278"/>
                  <a:pt x="673" y="285"/>
                  <a:pt x="674" y="280"/>
                </a:cubicBezTo>
                <a:cubicBezTo>
                  <a:pt x="674" y="278"/>
                  <a:pt x="674" y="276"/>
                  <a:pt x="673" y="275"/>
                </a:cubicBezTo>
                <a:cubicBezTo>
                  <a:pt x="673" y="275"/>
                  <a:pt x="673" y="275"/>
                  <a:pt x="673" y="275"/>
                </a:cubicBezTo>
                <a:cubicBezTo>
                  <a:pt x="673" y="275"/>
                  <a:pt x="673" y="275"/>
                  <a:pt x="673" y="275"/>
                </a:cubicBezTo>
                <a:cubicBezTo>
                  <a:pt x="673" y="273"/>
                  <a:pt x="673" y="272"/>
                  <a:pt x="673" y="270"/>
                </a:cubicBezTo>
                <a:cubicBezTo>
                  <a:pt x="673" y="268"/>
                  <a:pt x="674" y="266"/>
                  <a:pt x="674" y="265"/>
                </a:cubicBezTo>
                <a:cubicBezTo>
                  <a:pt x="674" y="265"/>
                  <a:pt x="673" y="265"/>
                  <a:pt x="672" y="265"/>
                </a:cubicBezTo>
                <a:cubicBezTo>
                  <a:pt x="672" y="264"/>
                  <a:pt x="672" y="264"/>
                  <a:pt x="672" y="264"/>
                </a:cubicBezTo>
                <a:cubicBezTo>
                  <a:pt x="672" y="263"/>
                  <a:pt x="672" y="263"/>
                  <a:pt x="672" y="263"/>
                </a:cubicBezTo>
                <a:cubicBezTo>
                  <a:pt x="672" y="263"/>
                  <a:pt x="671" y="262"/>
                  <a:pt x="671" y="262"/>
                </a:cubicBezTo>
                <a:cubicBezTo>
                  <a:pt x="669" y="263"/>
                  <a:pt x="671" y="271"/>
                  <a:pt x="671" y="274"/>
                </a:cubicBezTo>
                <a:cubicBezTo>
                  <a:pt x="671" y="274"/>
                  <a:pt x="672" y="273"/>
                  <a:pt x="672" y="274"/>
                </a:cubicBezTo>
                <a:cubicBezTo>
                  <a:pt x="673" y="274"/>
                  <a:pt x="672" y="275"/>
                  <a:pt x="671" y="275"/>
                </a:cubicBezTo>
                <a:cubicBezTo>
                  <a:pt x="671" y="275"/>
                  <a:pt x="671" y="275"/>
                  <a:pt x="671" y="275"/>
                </a:cubicBezTo>
                <a:cubicBezTo>
                  <a:pt x="671" y="275"/>
                  <a:pt x="671" y="276"/>
                  <a:pt x="671" y="277"/>
                </a:cubicBezTo>
                <a:cubicBezTo>
                  <a:pt x="671" y="277"/>
                  <a:pt x="671" y="277"/>
                  <a:pt x="671" y="277"/>
                </a:cubicBezTo>
                <a:cubicBezTo>
                  <a:pt x="671" y="277"/>
                  <a:pt x="671" y="277"/>
                  <a:pt x="671" y="277"/>
                </a:cubicBezTo>
                <a:cubicBezTo>
                  <a:pt x="671" y="280"/>
                  <a:pt x="671" y="282"/>
                  <a:pt x="671" y="283"/>
                </a:cubicBezTo>
                <a:cubicBezTo>
                  <a:pt x="668" y="286"/>
                  <a:pt x="671" y="269"/>
                  <a:pt x="666" y="275"/>
                </a:cubicBezTo>
                <a:cubicBezTo>
                  <a:pt x="666" y="275"/>
                  <a:pt x="662" y="280"/>
                  <a:pt x="662" y="281"/>
                </a:cubicBezTo>
                <a:cubicBezTo>
                  <a:pt x="663" y="282"/>
                  <a:pt x="664" y="280"/>
                  <a:pt x="665" y="281"/>
                </a:cubicBezTo>
                <a:cubicBezTo>
                  <a:pt x="667" y="281"/>
                  <a:pt x="666" y="284"/>
                  <a:pt x="665" y="285"/>
                </a:cubicBezTo>
                <a:cubicBezTo>
                  <a:pt x="664" y="286"/>
                  <a:pt x="663" y="284"/>
                  <a:pt x="663" y="284"/>
                </a:cubicBezTo>
                <a:cubicBezTo>
                  <a:pt x="661" y="285"/>
                  <a:pt x="660" y="287"/>
                  <a:pt x="660" y="289"/>
                </a:cubicBezTo>
                <a:cubicBezTo>
                  <a:pt x="660" y="289"/>
                  <a:pt x="660" y="289"/>
                  <a:pt x="661" y="289"/>
                </a:cubicBezTo>
                <a:cubicBezTo>
                  <a:pt x="661" y="289"/>
                  <a:pt x="660" y="290"/>
                  <a:pt x="660" y="290"/>
                </a:cubicBezTo>
                <a:cubicBezTo>
                  <a:pt x="660" y="291"/>
                  <a:pt x="660" y="293"/>
                  <a:pt x="659" y="295"/>
                </a:cubicBezTo>
                <a:cubicBezTo>
                  <a:pt x="657" y="298"/>
                  <a:pt x="657" y="301"/>
                  <a:pt x="656" y="301"/>
                </a:cubicBezTo>
                <a:cubicBezTo>
                  <a:pt x="656" y="302"/>
                  <a:pt x="654" y="300"/>
                  <a:pt x="652" y="300"/>
                </a:cubicBezTo>
                <a:cubicBezTo>
                  <a:pt x="650" y="301"/>
                  <a:pt x="651" y="303"/>
                  <a:pt x="649" y="300"/>
                </a:cubicBezTo>
                <a:cubicBezTo>
                  <a:pt x="649" y="299"/>
                  <a:pt x="649" y="301"/>
                  <a:pt x="648" y="298"/>
                </a:cubicBezTo>
                <a:cubicBezTo>
                  <a:pt x="648" y="297"/>
                  <a:pt x="650" y="291"/>
                  <a:pt x="654" y="292"/>
                </a:cubicBezTo>
                <a:cubicBezTo>
                  <a:pt x="655" y="292"/>
                  <a:pt x="656" y="295"/>
                  <a:pt x="657" y="292"/>
                </a:cubicBezTo>
                <a:cubicBezTo>
                  <a:pt x="657" y="291"/>
                  <a:pt x="656" y="290"/>
                  <a:pt x="656" y="288"/>
                </a:cubicBezTo>
                <a:cubicBezTo>
                  <a:pt x="657" y="285"/>
                  <a:pt x="661" y="281"/>
                  <a:pt x="662" y="278"/>
                </a:cubicBezTo>
                <a:cubicBezTo>
                  <a:pt x="662" y="276"/>
                  <a:pt x="661" y="273"/>
                  <a:pt x="662" y="269"/>
                </a:cubicBezTo>
                <a:cubicBezTo>
                  <a:pt x="663" y="267"/>
                  <a:pt x="668" y="263"/>
                  <a:pt x="667" y="261"/>
                </a:cubicBezTo>
                <a:cubicBezTo>
                  <a:pt x="667" y="261"/>
                  <a:pt x="667" y="260"/>
                  <a:pt x="666" y="260"/>
                </a:cubicBezTo>
                <a:cubicBezTo>
                  <a:pt x="666" y="260"/>
                  <a:pt x="665" y="260"/>
                  <a:pt x="665" y="260"/>
                </a:cubicBezTo>
                <a:cubicBezTo>
                  <a:pt x="665" y="260"/>
                  <a:pt x="665" y="259"/>
                  <a:pt x="665" y="259"/>
                </a:cubicBezTo>
                <a:cubicBezTo>
                  <a:pt x="663" y="258"/>
                  <a:pt x="659" y="257"/>
                  <a:pt x="656" y="259"/>
                </a:cubicBezTo>
                <a:cubicBezTo>
                  <a:pt x="656" y="259"/>
                  <a:pt x="656" y="259"/>
                  <a:pt x="656" y="259"/>
                </a:cubicBezTo>
                <a:cubicBezTo>
                  <a:pt x="656" y="260"/>
                  <a:pt x="656" y="261"/>
                  <a:pt x="656" y="262"/>
                </a:cubicBezTo>
                <a:cubicBezTo>
                  <a:pt x="655" y="266"/>
                  <a:pt x="648" y="271"/>
                  <a:pt x="644" y="269"/>
                </a:cubicBezTo>
                <a:cubicBezTo>
                  <a:pt x="644" y="269"/>
                  <a:pt x="644" y="269"/>
                  <a:pt x="643" y="268"/>
                </a:cubicBezTo>
                <a:cubicBezTo>
                  <a:pt x="643" y="269"/>
                  <a:pt x="643" y="269"/>
                  <a:pt x="643" y="269"/>
                </a:cubicBezTo>
                <a:cubicBezTo>
                  <a:pt x="643" y="270"/>
                  <a:pt x="643" y="269"/>
                  <a:pt x="643" y="268"/>
                </a:cubicBezTo>
                <a:cubicBezTo>
                  <a:pt x="643" y="268"/>
                  <a:pt x="643" y="268"/>
                  <a:pt x="643" y="268"/>
                </a:cubicBezTo>
                <a:cubicBezTo>
                  <a:pt x="642" y="268"/>
                  <a:pt x="641" y="269"/>
                  <a:pt x="641" y="270"/>
                </a:cubicBezTo>
                <a:cubicBezTo>
                  <a:pt x="639" y="269"/>
                  <a:pt x="639" y="272"/>
                  <a:pt x="638" y="272"/>
                </a:cubicBezTo>
                <a:cubicBezTo>
                  <a:pt x="636" y="273"/>
                  <a:pt x="634" y="271"/>
                  <a:pt x="634" y="274"/>
                </a:cubicBezTo>
                <a:cubicBezTo>
                  <a:pt x="633" y="269"/>
                  <a:pt x="626" y="278"/>
                  <a:pt x="626" y="280"/>
                </a:cubicBezTo>
                <a:cubicBezTo>
                  <a:pt x="627" y="279"/>
                  <a:pt x="633" y="279"/>
                  <a:pt x="633" y="279"/>
                </a:cubicBezTo>
                <a:cubicBezTo>
                  <a:pt x="633" y="279"/>
                  <a:pt x="633" y="279"/>
                  <a:pt x="633" y="279"/>
                </a:cubicBezTo>
                <a:cubicBezTo>
                  <a:pt x="633" y="279"/>
                  <a:pt x="633" y="279"/>
                  <a:pt x="633" y="279"/>
                </a:cubicBezTo>
                <a:cubicBezTo>
                  <a:pt x="634" y="278"/>
                  <a:pt x="634" y="277"/>
                  <a:pt x="635" y="278"/>
                </a:cubicBezTo>
                <a:cubicBezTo>
                  <a:pt x="636" y="279"/>
                  <a:pt x="634" y="279"/>
                  <a:pt x="634" y="280"/>
                </a:cubicBezTo>
                <a:cubicBezTo>
                  <a:pt x="634" y="281"/>
                  <a:pt x="634" y="281"/>
                  <a:pt x="634" y="281"/>
                </a:cubicBezTo>
                <a:cubicBezTo>
                  <a:pt x="635" y="281"/>
                  <a:pt x="635" y="281"/>
                  <a:pt x="635" y="283"/>
                </a:cubicBezTo>
                <a:cubicBezTo>
                  <a:pt x="635" y="283"/>
                  <a:pt x="635" y="283"/>
                  <a:pt x="635" y="283"/>
                </a:cubicBezTo>
                <a:cubicBezTo>
                  <a:pt x="636" y="284"/>
                  <a:pt x="636" y="284"/>
                  <a:pt x="636" y="285"/>
                </a:cubicBezTo>
                <a:cubicBezTo>
                  <a:pt x="636" y="285"/>
                  <a:pt x="634" y="289"/>
                  <a:pt x="633" y="289"/>
                </a:cubicBezTo>
                <a:cubicBezTo>
                  <a:pt x="633" y="290"/>
                  <a:pt x="631" y="295"/>
                  <a:pt x="630" y="295"/>
                </a:cubicBezTo>
                <a:cubicBezTo>
                  <a:pt x="628" y="294"/>
                  <a:pt x="631" y="293"/>
                  <a:pt x="630" y="292"/>
                </a:cubicBezTo>
                <a:cubicBezTo>
                  <a:pt x="629" y="291"/>
                  <a:pt x="627" y="292"/>
                  <a:pt x="626" y="292"/>
                </a:cubicBezTo>
                <a:cubicBezTo>
                  <a:pt x="625" y="292"/>
                  <a:pt x="626" y="290"/>
                  <a:pt x="625" y="290"/>
                </a:cubicBezTo>
                <a:cubicBezTo>
                  <a:pt x="625" y="290"/>
                  <a:pt x="622" y="291"/>
                  <a:pt x="622" y="290"/>
                </a:cubicBezTo>
                <a:cubicBezTo>
                  <a:pt x="621" y="288"/>
                  <a:pt x="624" y="289"/>
                  <a:pt x="624" y="287"/>
                </a:cubicBezTo>
                <a:cubicBezTo>
                  <a:pt x="624" y="287"/>
                  <a:pt x="623" y="286"/>
                  <a:pt x="623" y="286"/>
                </a:cubicBezTo>
                <a:cubicBezTo>
                  <a:pt x="622" y="285"/>
                  <a:pt x="624" y="284"/>
                  <a:pt x="624" y="282"/>
                </a:cubicBezTo>
                <a:cubicBezTo>
                  <a:pt x="624" y="282"/>
                  <a:pt x="624" y="281"/>
                  <a:pt x="624" y="281"/>
                </a:cubicBezTo>
                <a:cubicBezTo>
                  <a:pt x="625" y="278"/>
                  <a:pt x="631" y="274"/>
                  <a:pt x="629" y="270"/>
                </a:cubicBezTo>
                <a:cubicBezTo>
                  <a:pt x="628" y="269"/>
                  <a:pt x="627" y="269"/>
                  <a:pt x="627" y="270"/>
                </a:cubicBezTo>
                <a:cubicBezTo>
                  <a:pt x="627" y="267"/>
                  <a:pt x="628" y="258"/>
                  <a:pt x="633" y="256"/>
                </a:cubicBezTo>
                <a:cubicBezTo>
                  <a:pt x="634" y="256"/>
                  <a:pt x="636" y="256"/>
                  <a:pt x="637" y="257"/>
                </a:cubicBezTo>
                <a:cubicBezTo>
                  <a:pt x="638" y="257"/>
                  <a:pt x="639" y="258"/>
                  <a:pt x="640" y="258"/>
                </a:cubicBezTo>
                <a:cubicBezTo>
                  <a:pt x="640" y="258"/>
                  <a:pt x="640" y="259"/>
                  <a:pt x="640" y="259"/>
                </a:cubicBezTo>
                <a:cubicBezTo>
                  <a:pt x="640" y="259"/>
                  <a:pt x="640" y="259"/>
                  <a:pt x="640" y="259"/>
                </a:cubicBezTo>
                <a:cubicBezTo>
                  <a:pt x="641" y="260"/>
                  <a:pt x="641" y="260"/>
                  <a:pt x="642" y="260"/>
                </a:cubicBezTo>
                <a:cubicBezTo>
                  <a:pt x="643" y="259"/>
                  <a:pt x="644" y="257"/>
                  <a:pt x="645" y="256"/>
                </a:cubicBezTo>
                <a:cubicBezTo>
                  <a:pt x="644" y="254"/>
                  <a:pt x="643" y="256"/>
                  <a:pt x="641" y="257"/>
                </a:cubicBezTo>
                <a:cubicBezTo>
                  <a:pt x="642" y="256"/>
                  <a:pt x="642" y="256"/>
                  <a:pt x="642" y="255"/>
                </a:cubicBezTo>
                <a:cubicBezTo>
                  <a:pt x="641" y="255"/>
                  <a:pt x="640" y="255"/>
                  <a:pt x="640" y="255"/>
                </a:cubicBezTo>
                <a:cubicBezTo>
                  <a:pt x="639" y="254"/>
                  <a:pt x="641" y="254"/>
                  <a:pt x="641" y="253"/>
                </a:cubicBezTo>
                <a:cubicBezTo>
                  <a:pt x="642" y="252"/>
                  <a:pt x="640" y="253"/>
                  <a:pt x="641" y="251"/>
                </a:cubicBezTo>
                <a:cubicBezTo>
                  <a:pt x="642" y="249"/>
                  <a:pt x="645" y="249"/>
                  <a:pt x="646" y="248"/>
                </a:cubicBezTo>
                <a:cubicBezTo>
                  <a:pt x="646" y="248"/>
                  <a:pt x="646" y="248"/>
                  <a:pt x="646" y="247"/>
                </a:cubicBezTo>
                <a:cubicBezTo>
                  <a:pt x="645" y="247"/>
                  <a:pt x="644" y="247"/>
                  <a:pt x="644" y="247"/>
                </a:cubicBezTo>
                <a:cubicBezTo>
                  <a:pt x="644" y="246"/>
                  <a:pt x="645" y="245"/>
                  <a:pt x="644" y="243"/>
                </a:cubicBezTo>
                <a:cubicBezTo>
                  <a:pt x="643" y="243"/>
                  <a:pt x="643" y="243"/>
                  <a:pt x="643" y="243"/>
                </a:cubicBezTo>
                <a:cubicBezTo>
                  <a:pt x="642" y="243"/>
                  <a:pt x="641" y="239"/>
                  <a:pt x="641" y="239"/>
                </a:cubicBezTo>
                <a:cubicBezTo>
                  <a:pt x="642" y="237"/>
                  <a:pt x="644" y="239"/>
                  <a:pt x="646" y="237"/>
                </a:cubicBezTo>
                <a:cubicBezTo>
                  <a:pt x="645" y="238"/>
                  <a:pt x="648" y="235"/>
                  <a:pt x="648" y="235"/>
                </a:cubicBezTo>
                <a:cubicBezTo>
                  <a:pt x="648" y="234"/>
                  <a:pt x="647" y="233"/>
                  <a:pt x="647" y="232"/>
                </a:cubicBezTo>
                <a:cubicBezTo>
                  <a:pt x="647" y="230"/>
                  <a:pt x="649" y="230"/>
                  <a:pt x="649" y="228"/>
                </a:cubicBezTo>
                <a:cubicBezTo>
                  <a:pt x="648" y="226"/>
                  <a:pt x="651" y="222"/>
                  <a:pt x="653" y="222"/>
                </a:cubicBezTo>
                <a:cubicBezTo>
                  <a:pt x="657" y="221"/>
                  <a:pt x="656" y="229"/>
                  <a:pt x="662" y="226"/>
                </a:cubicBezTo>
                <a:cubicBezTo>
                  <a:pt x="663" y="232"/>
                  <a:pt x="667" y="220"/>
                  <a:pt x="668" y="220"/>
                </a:cubicBezTo>
                <a:cubicBezTo>
                  <a:pt x="668" y="220"/>
                  <a:pt x="668" y="220"/>
                  <a:pt x="668" y="220"/>
                </a:cubicBezTo>
                <a:cubicBezTo>
                  <a:pt x="668" y="220"/>
                  <a:pt x="668" y="220"/>
                  <a:pt x="669" y="220"/>
                </a:cubicBezTo>
                <a:cubicBezTo>
                  <a:pt x="669" y="220"/>
                  <a:pt x="669" y="220"/>
                  <a:pt x="669" y="220"/>
                </a:cubicBezTo>
                <a:cubicBezTo>
                  <a:pt x="670" y="222"/>
                  <a:pt x="669" y="221"/>
                  <a:pt x="668" y="221"/>
                </a:cubicBezTo>
                <a:cubicBezTo>
                  <a:pt x="669" y="222"/>
                  <a:pt x="665" y="229"/>
                  <a:pt x="670" y="225"/>
                </a:cubicBezTo>
                <a:cubicBezTo>
                  <a:pt x="671" y="224"/>
                  <a:pt x="669" y="222"/>
                  <a:pt x="670" y="221"/>
                </a:cubicBezTo>
                <a:cubicBezTo>
                  <a:pt x="671" y="220"/>
                  <a:pt x="674" y="221"/>
                  <a:pt x="675" y="220"/>
                </a:cubicBezTo>
                <a:cubicBezTo>
                  <a:pt x="664" y="209"/>
                  <a:pt x="664" y="209"/>
                  <a:pt x="664" y="209"/>
                </a:cubicBezTo>
                <a:cubicBezTo>
                  <a:pt x="664" y="209"/>
                  <a:pt x="664" y="209"/>
                  <a:pt x="664" y="209"/>
                </a:cubicBezTo>
                <a:cubicBezTo>
                  <a:pt x="663" y="211"/>
                  <a:pt x="660" y="209"/>
                  <a:pt x="661" y="208"/>
                </a:cubicBezTo>
                <a:cubicBezTo>
                  <a:pt x="659" y="209"/>
                  <a:pt x="658" y="209"/>
                  <a:pt x="658" y="208"/>
                </a:cubicBezTo>
                <a:cubicBezTo>
                  <a:pt x="657" y="209"/>
                  <a:pt x="657" y="209"/>
                  <a:pt x="657" y="209"/>
                </a:cubicBezTo>
                <a:cubicBezTo>
                  <a:pt x="657" y="209"/>
                  <a:pt x="657" y="208"/>
                  <a:pt x="657" y="207"/>
                </a:cubicBezTo>
                <a:cubicBezTo>
                  <a:pt x="656" y="206"/>
                  <a:pt x="656" y="203"/>
                  <a:pt x="656" y="202"/>
                </a:cubicBezTo>
                <a:cubicBezTo>
                  <a:pt x="656" y="202"/>
                  <a:pt x="656" y="202"/>
                  <a:pt x="656" y="202"/>
                </a:cubicBezTo>
                <a:cubicBezTo>
                  <a:pt x="655" y="202"/>
                  <a:pt x="656" y="203"/>
                  <a:pt x="655" y="203"/>
                </a:cubicBezTo>
                <a:cubicBezTo>
                  <a:pt x="655" y="203"/>
                  <a:pt x="654" y="202"/>
                  <a:pt x="654" y="202"/>
                </a:cubicBezTo>
                <a:cubicBezTo>
                  <a:pt x="654" y="205"/>
                  <a:pt x="653" y="207"/>
                  <a:pt x="652" y="208"/>
                </a:cubicBezTo>
                <a:cubicBezTo>
                  <a:pt x="651" y="209"/>
                  <a:pt x="649" y="207"/>
                  <a:pt x="649" y="209"/>
                </a:cubicBezTo>
                <a:cubicBezTo>
                  <a:pt x="649" y="210"/>
                  <a:pt x="651" y="211"/>
                  <a:pt x="652" y="212"/>
                </a:cubicBezTo>
                <a:cubicBezTo>
                  <a:pt x="652" y="212"/>
                  <a:pt x="652" y="214"/>
                  <a:pt x="652" y="214"/>
                </a:cubicBezTo>
                <a:cubicBezTo>
                  <a:pt x="653" y="214"/>
                  <a:pt x="655" y="212"/>
                  <a:pt x="656" y="212"/>
                </a:cubicBezTo>
                <a:cubicBezTo>
                  <a:pt x="657" y="213"/>
                  <a:pt x="655" y="215"/>
                  <a:pt x="655" y="216"/>
                </a:cubicBezTo>
                <a:cubicBezTo>
                  <a:pt x="654" y="213"/>
                  <a:pt x="652" y="217"/>
                  <a:pt x="651" y="218"/>
                </a:cubicBezTo>
                <a:cubicBezTo>
                  <a:pt x="650" y="220"/>
                  <a:pt x="647" y="220"/>
                  <a:pt x="647" y="220"/>
                </a:cubicBezTo>
                <a:cubicBezTo>
                  <a:pt x="646" y="221"/>
                  <a:pt x="649" y="223"/>
                  <a:pt x="646" y="224"/>
                </a:cubicBezTo>
                <a:cubicBezTo>
                  <a:pt x="645" y="224"/>
                  <a:pt x="646" y="223"/>
                  <a:pt x="646" y="222"/>
                </a:cubicBezTo>
                <a:cubicBezTo>
                  <a:pt x="645" y="222"/>
                  <a:pt x="643" y="224"/>
                  <a:pt x="642" y="223"/>
                </a:cubicBezTo>
                <a:cubicBezTo>
                  <a:pt x="641" y="223"/>
                  <a:pt x="642" y="221"/>
                  <a:pt x="641" y="220"/>
                </a:cubicBezTo>
                <a:cubicBezTo>
                  <a:pt x="641" y="219"/>
                  <a:pt x="641" y="218"/>
                  <a:pt x="641" y="217"/>
                </a:cubicBezTo>
                <a:cubicBezTo>
                  <a:pt x="639" y="218"/>
                  <a:pt x="634" y="218"/>
                  <a:pt x="633" y="218"/>
                </a:cubicBezTo>
                <a:cubicBezTo>
                  <a:pt x="632" y="217"/>
                  <a:pt x="633" y="215"/>
                  <a:pt x="630" y="216"/>
                </a:cubicBezTo>
                <a:cubicBezTo>
                  <a:pt x="633" y="213"/>
                  <a:pt x="628" y="213"/>
                  <a:pt x="628" y="212"/>
                </a:cubicBezTo>
                <a:cubicBezTo>
                  <a:pt x="628" y="211"/>
                  <a:pt x="630" y="210"/>
                  <a:pt x="630" y="210"/>
                </a:cubicBezTo>
                <a:cubicBezTo>
                  <a:pt x="630" y="209"/>
                  <a:pt x="629" y="209"/>
                  <a:pt x="629" y="208"/>
                </a:cubicBezTo>
                <a:cubicBezTo>
                  <a:pt x="629" y="208"/>
                  <a:pt x="629" y="208"/>
                  <a:pt x="629" y="207"/>
                </a:cubicBezTo>
                <a:cubicBezTo>
                  <a:pt x="628" y="207"/>
                  <a:pt x="627" y="205"/>
                  <a:pt x="627" y="204"/>
                </a:cubicBezTo>
                <a:cubicBezTo>
                  <a:pt x="627" y="204"/>
                  <a:pt x="626" y="204"/>
                  <a:pt x="626" y="204"/>
                </a:cubicBezTo>
                <a:cubicBezTo>
                  <a:pt x="626" y="205"/>
                  <a:pt x="627" y="205"/>
                  <a:pt x="627" y="206"/>
                </a:cubicBezTo>
                <a:cubicBezTo>
                  <a:pt x="627" y="207"/>
                  <a:pt x="626" y="208"/>
                  <a:pt x="626" y="208"/>
                </a:cubicBezTo>
                <a:cubicBezTo>
                  <a:pt x="626" y="209"/>
                  <a:pt x="625" y="210"/>
                  <a:pt x="625" y="210"/>
                </a:cubicBezTo>
                <a:cubicBezTo>
                  <a:pt x="625" y="210"/>
                  <a:pt x="625" y="210"/>
                  <a:pt x="625" y="211"/>
                </a:cubicBezTo>
                <a:cubicBezTo>
                  <a:pt x="625" y="211"/>
                  <a:pt x="625" y="211"/>
                  <a:pt x="624" y="211"/>
                </a:cubicBezTo>
                <a:cubicBezTo>
                  <a:pt x="623" y="212"/>
                  <a:pt x="622" y="214"/>
                  <a:pt x="621" y="216"/>
                </a:cubicBezTo>
                <a:cubicBezTo>
                  <a:pt x="622" y="213"/>
                  <a:pt x="618" y="214"/>
                  <a:pt x="618" y="214"/>
                </a:cubicBezTo>
                <a:cubicBezTo>
                  <a:pt x="618" y="214"/>
                  <a:pt x="618" y="214"/>
                  <a:pt x="618" y="214"/>
                </a:cubicBezTo>
                <a:cubicBezTo>
                  <a:pt x="618" y="214"/>
                  <a:pt x="618" y="214"/>
                  <a:pt x="618" y="214"/>
                </a:cubicBezTo>
                <a:cubicBezTo>
                  <a:pt x="618" y="214"/>
                  <a:pt x="618" y="214"/>
                  <a:pt x="619" y="214"/>
                </a:cubicBezTo>
                <a:cubicBezTo>
                  <a:pt x="620" y="215"/>
                  <a:pt x="620" y="220"/>
                  <a:pt x="619" y="221"/>
                </a:cubicBezTo>
                <a:cubicBezTo>
                  <a:pt x="619" y="221"/>
                  <a:pt x="619" y="220"/>
                  <a:pt x="618" y="220"/>
                </a:cubicBezTo>
                <a:cubicBezTo>
                  <a:pt x="616" y="221"/>
                  <a:pt x="615" y="224"/>
                  <a:pt x="612" y="224"/>
                </a:cubicBezTo>
                <a:cubicBezTo>
                  <a:pt x="612" y="222"/>
                  <a:pt x="614" y="222"/>
                  <a:pt x="615" y="221"/>
                </a:cubicBezTo>
                <a:cubicBezTo>
                  <a:pt x="615" y="220"/>
                  <a:pt x="613" y="221"/>
                  <a:pt x="613" y="220"/>
                </a:cubicBezTo>
                <a:cubicBezTo>
                  <a:pt x="612" y="219"/>
                  <a:pt x="614" y="214"/>
                  <a:pt x="617" y="214"/>
                </a:cubicBezTo>
                <a:cubicBezTo>
                  <a:pt x="617" y="213"/>
                  <a:pt x="617" y="212"/>
                  <a:pt x="617" y="211"/>
                </a:cubicBezTo>
                <a:cubicBezTo>
                  <a:pt x="617" y="211"/>
                  <a:pt x="616" y="211"/>
                  <a:pt x="616" y="211"/>
                </a:cubicBezTo>
                <a:cubicBezTo>
                  <a:pt x="615" y="212"/>
                  <a:pt x="612" y="214"/>
                  <a:pt x="612" y="216"/>
                </a:cubicBezTo>
                <a:cubicBezTo>
                  <a:pt x="611" y="217"/>
                  <a:pt x="612" y="218"/>
                  <a:pt x="612" y="218"/>
                </a:cubicBezTo>
                <a:cubicBezTo>
                  <a:pt x="612" y="219"/>
                  <a:pt x="610" y="220"/>
                  <a:pt x="611" y="220"/>
                </a:cubicBezTo>
                <a:cubicBezTo>
                  <a:pt x="611" y="222"/>
                  <a:pt x="612" y="221"/>
                  <a:pt x="612" y="222"/>
                </a:cubicBezTo>
                <a:cubicBezTo>
                  <a:pt x="612" y="223"/>
                  <a:pt x="610" y="224"/>
                  <a:pt x="610" y="224"/>
                </a:cubicBezTo>
                <a:cubicBezTo>
                  <a:pt x="609" y="223"/>
                  <a:pt x="610" y="221"/>
                  <a:pt x="609" y="220"/>
                </a:cubicBezTo>
                <a:cubicBezTo>
                  <a:pt x="608" y="219"/>
                  <a:pt x="607" y="220"/>
                  <a:pt x="606" y="219"/>
                </a:cubicBezTo>
                <a:cubicBezTo>
                  <a:pt x="604" y="218"/>
                  <a:pt x="604" y="217"/>
                  <a:pt x="601" y="219"/>
                </a:cubicBezTo>
                <a:cubicBezTo>
                  <a:pt x="604" y="215"/>
                  <a:pt x="600" y="218"/>
                  <a:pt x="599" y="217"/>
                </a:cubicBezTo>
                <a:cubicBezTo>
                  <a:pt x="599" y="217"/>
                  <a:pt x="598" y="211"/>
                  <a:pt x="598" y="210"/>
                </a:cubicBezTo>
                <a:cubicBezTo>
                  <a:pt x="598" y="209"/>
                  <a:pt x="599" y="206"/>
                  <a:pt x="599" y="204"/>
                </a:cubicBezTo>
                <a:cubicBezTo>
                  <a:pt x="599" y="205"/>
                  <a:pt x="599" y="205"/>
                  <a:pt x="598" y="206"/>
                </a:cubicBezTo>
                <a:cubicBezTo>
                  <a:pt x="598" y="205"/>
                  <a:pt x="598" y="204"/>
                  <a:pt x="599" y="203"/>
                </a:cubicBezTo>
                <a:cubicBezTo>
                  <a:pt x="599" y="203"/>
                  <a:pt x="599" y="203"/>
                  <a:pt x="599" y="203"/>
                </a:cubicBezTo>
                <a:cubicBezTo>
                  <a:pt x="598" y="203"/>
                  <a:pt x="598" y="204"/>
                  <a:pt x="598" y="204"/>
                </a:cubicBezTo>
                <a:cubicBezTo>
                  <a:pt x="598" y="204"/>
                  <a:pt x="598" y="204"/>
                  <a:pt x="597" y="204"/>
                </a:cubicBezTo>
                <a:cubicBezTo>
                  <a:pt x="597" y="204"/>
                  <a:pt x="597" y="204"/>
                  <a:pt x="597" y="204"/>
                </a:cubicBezTo>
                <a:cubicBezTo>
                  <a:pt x="597" y="204"/>
                  <a:pt x="597" y="204"/>
                  <a:pt x="597" y="204"/>
                </a:cubicBezTo>
                <a:cubicBezTo>
                  <a:pt x="595" y="206"/>
                  <a:pt x="589" y="207"/>
                  <a:pt x="586" y="207"/>
                </a:cubicBezTo>
                <a:cubicBezTo>
                  <a:pt x="586" y="208"/>
                  <a:pt x="586" y="209"/>
                  <a:pt x="585" y="209"/>
                </a:cubicBezTo>
                <a:cubicBezTo>
                  <a:pt x="584" y="210"/>
                  <a:pt x="584" y="208"/>
                  <a:pt x="584" y="208"/>
                </a:cubicBezTo>
                <a:cubicBezTo>
                  <a:pt x="583" y="207"/>
                  <a:pt x="583" y="207"/>
                  <a:pt x="583" y="207"/>
                </a:cubicBezTo>
                <a:cubicBezTo>
                  <a:pt x="583" y="206"/>
                  <a:pt x="584" y="205"/>
                  <a:pt x="585" y="205"/>
                </a:cubicBezTo>
                <a:cubicBezTo>
                  <a:pt x="584" y="204"/>
                  <a:pt x="584" y="204"/>
                  <a:pt x="584" y="204"/>
                </a:cubicBezTo>
                <a:cubicBezTo>
                  <a:pt x="584" y="203"/>
                  <a:pt x="584" y="202"/>
                  <a:pt x="585" y="201"/>
                </a:cubicBezTo>
                <a:cubicBezTo>
                  <a:pt x="585" y="200"/>
                  <a:pt x="585" y="199"/>
                  <a:pt x="585" y="198"/>
                </a:cubicBezTo>
                <a:cubicBezTo>
                  <a:pt x="586" y="197"/>
                  <a:pt x="587" y="197"/>
                  <a:pt x="588" y="197"/>
                </a:cubicBezTo>
                <a:cubicBezTo>
                  <a:pt x="587" y="197"/>
                  <a:pt x="587" y="197"/>
                  <a:pt x="585" y="198"/>
                </a:cubicBezTo>
                <a:cubicBezTo>
                  <a:pt x="584" y="198"/>
                  <a:pt x="583" y="201"/>
                  <a:pt x="583" y="201"/>
                </a:cubicBezTo>
                <a:cubicBezTo>
                  <a:pt x="582" y="202"/>
                  <a:pt x="582" y="202"/>
                  <a:pt x="583" y="202"/>
                </a:cubicBezTo>
                <a:cubicBezTo>
                  <a:pt x="579" y="203"/>
                  <a:pt x="579" y="195"/>
                  <a:pt x="582" y="196"/>
                </a:cubicBezTo>
                <a:cubicBezTo>
                  <a:pt x="581" y="196"/>
                  <a:pt x="583" y="198"/>
                  <a:pt x="582" y="198"/>
                </a:cubicBezTo>
                <a:cubicBezTo>
                  <a:pt x="583" y="198"/>
                  <a:pt x="587" y="194"/>
                  <a:pt x="588" y="192"/>
                </a:cubicBezTo>
                <a:cubicBezTo>
                  <a:pt x="589" y="192"/>
                  <a:pt x="589" y="192"/>
                  <a:pt x="590" y="191"/>
                </a:cubicBezTo>
                <a:cubicBezTo>
                  <a:pt x="589" y="190"/>
                  <a:pt x="588" y="189"/>
                  <a:pt x="588" y="188"/>
                </a:cubicBezTo>
                <a:cubicBezTo>
                  <a:pt x="588" y="188"/>
                  <a:pt x="589" y="187"/>
                  <a:pt x="589" y="187"/>
                </a:cubicBezTo>
                <a:cubicBezTo>
                  <a:pt x="589" y="186"/>
                  <a:pt x="590" y="183"/>
                  <a:pt x="590" y="183"/>
                </a:cubicBezTo>
                <a:cubicBezTo>
                  <a:pt x="590" y="182"/>
                  <a:pt x="588" y="183"/>
                  <a:pt x="589" y="184"/>
                </a:cubicBezTo>
                <a:cubicBezTo>
                  <a:pt x="589" y="184"/>
                  <a:pt x="587" y="182"/>
                  <a:pt x="588" y="181"/>
                </a:cubicBezTo>
                <a:cubicBezTo>
                  <a:pt x="588" y="180"/>
                  <a:pt x="588" y="180"/>
                  <a:pt x="588" y="180"/>
                </a:cubicBezTo>
                <a:cubicBezTo>
                  <a:pt x="588" y="180"/>
                  <a:pt x="587" y="180"/>
                  <a:pt x="587" y="180"/>
                </a:cubicBezTo>
                <a:cubicBezTo>
                  <a:pt x="587" y="180"/>
                  <a:pt x="586" y="181"/>
                  <a:pt x="586" y="182"/>
                </a:cubicBezTo>
                <a:cubicBezTo>
                  <a:pt x="586" y="182"/>
                  <a:pt x="587" y="182"/>
                  <a:pt x="587" y="182"/>
                </a:cubicBezTo>
                <a:cubicBezTo>
                  <a:pt x="588" y="183"/>
                  <a:pt x="587" y="183"/>
                  <a:pt x="587" y="183"/>
                </a:cubicBezTo>
                <a:cubicBezTo>
                  <a:pt x="587" y="184"/>
                  <a:pt x="587" y="185"/>
                  <a:pt x="586" y="184"/>
                </a:cubicBezTo>
                <a:cubicBezTo>
                  <a:pt x="585" y="184"/>
                  <a:pt x="586" y="184"/>
                  <a:pt x="586" y="183"/>
                </a:cubicBezTo>
                <a:cubicBezTo>
                  <a:pt x="586" y="183"/>
                  <a:pt x="586" y="183"/>
                  <a:pt x="586" y="183"/>
                </a:cubicBezTo>
                <a:cubicBezTo>
                  <a:pt x="586" y="183"/>
                  <a:pt x="586" y="183"/>
                  <a:pt x="586" y="183"/>
                </a:cubicBezTo>
                <a:cubicBezTo>
                  <a:pt x="586" y="183"/>
                  <a:pt x="586" y="183"/>
                  <a:pt x="586" y="183"/>
                </a:cubicBezTo>
                <a:cubicBezTo>
                  <a:pt x="585" y="184"/>
                  <a:pt x="583" y="184"/>
                  <a:pt x="582" y="182"/>
                </a:cubicBezTo>
                <a:cubicBezTo>
                  <a:pt x="581" y="181"/>
                  <a:pt x="582" y="180"/>
                  <a:pt x="582" y="179"/>
                </a:cubicBezTo>
                <a:cubicBezTo>
                  <a:pt x="582" y="179"/>
                  <a:pt x="582" y="179"/>
                  <a:pt x="582" y="179"/>
                </a:cubicBezTo>
                <a:cubicBezTo>
                  <a:pt x="580" y="180"/>
                  <a:pt x="582" y="179"/>
                  <a:pt x="581" y="178"/>
                </a:cubicBezTo>
                <a:cubicBezTo>
                  <a:pt x="581" y="178"/>
                  <a:pt x="580" y="178"/>
                  <a:pt x="580" y="179"/>
                </a:cubicBezTo>
                <a:cubicBezTo>
                  <a:pt x="580" y="179"/>
                  <a:pt x="580" y="179"/>
                  <a:pt x="580" y="179"/>
                </a:cubicBezTo>
                <a:cubicBezTo>
                  <a:pt x="579" y="179"/>
                  <a:pt x="579" y="179"/>
                  <a:pt x="578" y="179"/>
                </a:cubicBezTo>
                <a:cubicBezTo>
                  <a:pt x="575" y="179"/>
                  <a:pt x="578" y="174"/>
                  <a:pt x="576" y="173"/>
                </a:cubicBezTo>
                <a:cubicBezTo>
                  <a:pt x="575" y="173"/>
                  <a:pt x="574" y="173"/>
                  <a:pt x="574" y="174"/>
                </a:cubicBezTo>
                <a:cubicBezTo>
                  <a:pt x="573" y="174"/>
                  <a:pt x="573" y="175"/>
                  <a:pt x="572" y="177"/>
                </a:cubicBezTo>
                <a:cubicBezTo>
                  <a:pt x="574" y="177"/>
                  <a:pt x="575" y="178"/>
                  <a:pt x="574" y="180"/>
                </a:cubicBezTo>
                <a:cubicBezTo>
                  <a:pt x="574" y="184"/>
                  <a:pt x="568" y="184"/>
                  <a:pt x="566" y="181"/>
                </a:cubicBezTo>
                <a:cubicBezTo>
                  <a:pt x="566" y="181"/>
                  <a:pt x="565" y="182"/>
                  <a:pt x="565" y="183"/>
                </a:cubicBezTo>
                <a:cubicBezTo>
                  <a:pt x="565" y="182"/>
                  <a:pt x="565" y="182"/>
                  <a:pt x="565" y="181"/>
                </a:cubicBezTo>
                <a:cubicBezTo>
                  <a:pt x="563" y="183"/>
                  <a:pt x="561" y="184"/>
                  <a:pt x="559" y="184"/>
                </a:cubicBezTo>
                <a:cubicBezTo>
                  <a:pt x="558" y="185"/>
                  <a:pt x="556" y="185"/>
                  <a:pt x="556" y="185"/>
                </a:cubicBezTo>
                <a:cubicBezTo>
                  <a:pt x="555" y="184"/>
                  <a:pt x="557" y="184"/>
                  <a:pt x="558" y="183"/>
                </a:cubicBezTo>
                <a:cubicBezTo>
                  <a:pt x="558" y="183"/>
                  <a:pt x="557" y="183"/>
                  <a:pt x="557" y="183"/>
                </a:cubicBezTo>
                <a:cubicBezTo>
                  <a:pt x="557" y="182"/>
                  <a:pt x="556" y="181"/>
                  <a:pt x="556" y="180"/>
                </a:cubicBezTo>
                <a:cubicBezTo>
                  <a:pt x="555" y="180"/>
                  <a:pt x="553" y="179"/>
                  <a:pt x="554" y="176"/>
                </a:cubicBezTo>
                <a:cubicBezTo>
                  <a:pt x="555" y="175"/>
                  <a:pt x="554" y="173"/>
                  <a:pt x="554" y="172"/>
                </a:cubicBezTo>
                <a:cubicBezTo>
                  <a:pt x="554" y="172"/>
                  <a:pt x="555" y="171"/>
                  <a:pt x="554" y="171"/>
                </a:cubicBezTo>
                <a:cubicBezTo>
                  <a:pt x="553" y="172"/>
                  <a:pt x="551" y="174"/>
                  <a:pt x="550" y="176"/>
                </a:cubicBezTo>
                <a:cubicBezTo>
                  <a:pt x="552" y="178"/>
                  <a:pt x="555" y="180"/>
                  <a:pt x="551" y="183"/>
                </a:cubicBezTo>
                <a:cubicBezTo>
                  <a:pt x="550" y="183"/>
                  <a:pt x="550" y="183"/>
                  <a:pt x="549" y="183"/>
                </a:cubicBezTo>
                <a:cubicBezTo>
                  <a:pt x="550" y="183"/>
                  <a:pt x="550" y="188"/>
                  <a:pt x="548" y="187"/>
                </a:cubicBezTo>
                <a:cubicBezTo>
                  <a:pt x="547" y="186"/>
                  <a:pt x="547" y="185"/>
                  <a:pt x="548" y="184"/>
                </a:cubicBezTo>
                <a:cubicBezTo>
                  <a:pt x="548" y="184"/>
                  <a:pt x="548" y="184"/>
                  <a:pt x="549" y="184"/>
                </a:cubicBezTo>
                <a:cubicBezTo>
                  <a:pt x="547" y="184"/>
                  <a:pt x="544" y="185"/>
                  <a:pt x="543" y="186"/>
                </a:cubicBezTo>
                <a:cubicBezTo>
                  <a:pt x="541" y="188"/>
                  <a:pt x="543" y="189"/>
                  <a:pt x="540" y="187"/>
                </a:cubicBezTo>
                <a:cubicBezTo>
                  <a:pt x="540" y="187"/>
                  <a:pt x="539" y="186"/>
                  <a:pt x="538" y="187"/>
                </a:cubicBezTo>
                <a:cubicBezTo>
                  <a:pt x="538" y="187"/>
                  <a:pt x="535" y="192"/>
                  <a:pt x="535" y="189"/>
                </a:cubicBezTo>
                <a:cubicBezTo>
                  <a:pt x="535" y="188"/>
                  <a:pt x="536" y="188"/>
                  <a:pt x="536" y="188"/>
                </a:cubicBezTo>
                <a:cubicBezTo>
                  <a:pt x="535" y="187"/>
                  <a:pt x="531" y="188"/>
                  <a:pt x="531" y="187"/>
                </a:cubicBezTo>
                <a:cubicBezTo>
                  <a:pt x="530" y="186"/>
                  <a:pt x="535" y="184"/>
                  <a:pt x="532" y="182"/>
                </a:cubicBezTo>
                <a:cubicBezTo>
                  <a:pt x="531" y="182"/>
                  <a:pt x="531" y="182"/>
                  <a:pt x="531" y="182"/>
                </a:cubicBezTo>
                <a:cubicBezTo>
                  <a:pt x="531" y="182"/>
                  <a:pt x="531" y="181"/>
                  <a:pt x="531" y="181"/>
                </a:cubicBezTo>
                <a:cubicBezTo>
                  <a:pt x="532" y="179"/>
                  <a:pt x="532" y="179"/>
                  <a:pt x="531" y="178"/>
                </a:cubicBezTo>
                <a:cubicBezTo>
                  <a:pt x="530" y="179"/>
                  <a:pt x="528" y="180"/>
                  <a:pt x="528" y="178"/>
                </a:cubicBezTo>
                <a:cubicBezTo>
                  <a:pt x="528" y="178"/>
                  <a:pt x="528" y="177"/>
                  <a:pt x="529" y="177"/>
                </a:cubicBezTo>
                <a:cubicBezTo>
                  <a:pt x="529" y="176"/>
                  <a:pt x="530" y="176"/>
                  <a:pt x="529" y="176"/>
                </a:cubicBezTo>
                <a:cubicBezTo>
                  <a:pt x="529" y="175"/>
                  <a:pt x="527" y="176"/>
                  <a:pt x="527" y="175"/>
                </a:cubicBezTo>
                <a:cubicBezTo>
                  <a:pt x="526" y="174"/>
                  <a:pt x="528" y="172"/>
                  <a:pt x="527" y="171"/>
                </a:cubicBezTo>
                <a:cubicBezTo>
                  <a:pt x="526" y="169"/>
                  <a:pt x="524" y="172"/>
                  <a:pt x="521" y="172"/>
                </a:cubicBezTo>
                <a:cubicBezTo>
                  <a:pt x="521" y="172"/>
                  <a:pt x="519" y="170"/>
                  <a:pt x="517" y="172"/>
                </a:cubicBezTo>
                <a:cubicBezTo>
                  <a:pt x="516" y="173"/>
                  <a:pt x="518" y="176"/>
                  <a:pt x="515" y="177"/>
                </a:cubicBezTo>
                <a:cubicBezTo>
                  <a:pt x="514" y="178"/>
                  <a:pt x="509" y="180"/>
                  <a:pt x="508" y="178"/>
                </a:cubicBezTo>
                <a:cubicBezTo>
                  <a:pt x="508" y="177"/>
                  <a:pt x="510" y="177"/>
                  <a:pt x="510" y="177"/>
                </a:cubicBezTo>
                <a:cubicBezTo>
                  <a:pt x="511" y="176"/>
                  <a:pt x="509" y="174"/>
                  <a:pt x="509" y="174"/>
                </a:cubicBezTo>
                <a:cubicBezTo>
                  <a:pt x="510" y="172"/>
                  <a:pt x="512" y="172"/>
                  <a:pt x="512" y="171"/>
                </a:cubicBezTo>
                <a:cubicBezTo>
                  <a:pt x="512" y="171"/>
                  <a:pt x="511" y="171"/>
                  <a:pt x="511" y="170"/>
                </a:cubicBezTo>
                <a:cubicBezTo>
                  <a:pt x="511" y="170"/>
                  <a:pt x="512" y="170"/>
                  <a:pt x="512" y="170"/>
                </a:cubicBezTo>
                <a:cubicBezTo>
                  <a:pt x="511" y="168"/>
                  <a:pt x="511" y="167"/>
                  <a:pt x="512" y="166"/>
                </a:cubicBezTo>
                <a:cubicBezTo>
                  <a:pt x="512" y="166"/>
                  <a:pt x="512" y="166"/>
                  <a:pt x="512" y="165"/>
                </a:cubicBezTo>
                <a:cubicBezTo>
                  <a:pt x="512" y="165"/>
                  <a:pt x="512" y="165"/>
                  <a:pt x="512" y="165"/>
                </a:cubicBezTo>
                <a:cubicBezTo>
                  <a:pt x="511" y="165"/>
                  <a:pt x="511" y="164"/>
                  <a:pt x="513" y="163"/>
                </a:cubicBezTo>
                <a:cubicBezTo>
                  <a:pt x="513" y="163"/>
                  <a:pt x="513" y="162"/>
                  <a:pt x="513" y="162"/>
                </a:cubicBezTo>
                <a:cubicBezTo>
                  <a:pt x="513" y="162"/>
                  <a:pt x="512" y="162"/>
                  <a:pt x="512" y="162"/>
                </a:cubicBezTo>
                <a:cubicBezTo>
                  <a:pt x="511" y="162"/>
                  <a:pt x="510" y="162"/>
                  <a:pt x="510" y="162"/>
                </a:cubicBezTo>
                <a:cubicBezTo>
                  <a:pt x="509" y="162"/>
                  <a:pt x="509" y="162"/>
                  <a:pt x="509" y="161"/>
                </a:cubicBezTo>
                <a:cubicBezTo>
                  <a:pt x="508" y="161"/>
                  <a:pt x="509" y="160"/>
                  <a:pt x="509" y="160"/>
                </a:cubicBezTo>
                <a:cubicBezTo>
                  <a:pt x="509" y="159"/>
                  <a:pt x="509" y="158"/>
                  <a:pt x="509" y="158"/>
                </a:cubicBezTo>
                <a:cubicBezTo>
                  <a:pt x="510" y="158"/>
                  <a:pt x="513" y="158"/>
                  <a:pt x="515" y="156"/>
                </a:cubicBezTo>
                <a:cubicBezTo>
                  <a:pt x="514" y="158"/>
                  <a:pt x="515" y="159"/>
                  <a:pt x="516" y="157"/>
                </a:cubicBezTo>
                <a:cubicBezTo>
                  <a:pt x="518" y="156"/>
                  <a:pt x="516" y="156"/>
                  <a:pt x="516" y="156"/>
                </a:cubicBezTo>
                <a:cubicBezTo>
                  <a:pt x="516" y="156"/>
                  <a:pt x="517" y="155"/>
                  <a:pt x="516" y="154"/>
                </a:cubicBezTo>
                <a:cubicBezTo>
                  <a:pt x="516" y="154"/>
                  <a:pt x="516" y="154"/>
                  <a:pt x="516" y="154"/>
                </a:cubicBezTo>
                <a:cubicBezTo>
                  <a:pt x="514" y="155"/>
                  <a:pt x="512" y="156"/>
                  <a:pt x="510" y="155"/>
                </a:cubicBezTo>
                <a:cubicBezTo>
                  <a:pt x="510" y="156"/>
                  <a:pt x="510" y="156"/>
                  <a:pt x="510" y="156"/>
                </a:cubicBezTo>
                <a:cubicBezTo>
                  <a:pt x="510" y="156"/>
                  <a:pt x="511" y="156"/>
                  <a:pt x="511" y="156"/>
                </a:cubicBezTo>
                <a:cubicBezTo>
                  <a:pt x="510" y="157"/>
                  <a:pt x="510" y="156"/>
                  <a:pt x="510" y="155"/>
                </a:cubicBezTo>
                <a:cubicBezTo>
                  <a:pt x="509" y="155"/>
                  <a:pt x="509" y="154"/>
                  <a:pt x="509" y="154"/>
                </a:cubicBezTo>
                <a:cubicBezTo>
                  <a:pt x="509" y="152"/>
                  <a:pt x="511" y="150"/>
                  <a:pt x="514" y="150"/>
                </a:cubicBezTo>
                <a:cubicBezTo>
                  <a:pt x="514" y="149"/>
                  <a:pt x="512" y="148"/>
                  <a:pt x="513" y="147"/>
                </a:cubicBezTo>
                <a:cubicBezTo>
                  <a:pt x="514" y="145"/>
                  <a:pt x="517" y="144"/>
                  <a:pt x="516" y="143"/>
                </a:cubicBezTo>
                <a:cubicBezTo>
                  <a:pt x="517" y="143"/>
                  <a:pt x="520" y="142"/>
                  <a:pt x="521" y="143"/>
                </a:cubicBezTo>
                <a:cubicBezTo>
                  <a:pt x="524" y="144"/>
                  <a:pt x="523" y="145"/>
                  <a:pt x="527" y="143"/>
                </a:cubicBezTo>
                <a:cubicBezTo>
                  <a:pt x="527" y="143"/>
                  <a:pt x="528" y="143"/>
                  <a:pt x="529" y="143"/>
                </a:cubicBezTo>
                <a:cubicBezTo>
                  <a:pt x="531" y="142"/>
                  <a:pt x="530" y="142"/>
                  <a:pt x="529" y="139"/>
                </a:cubicBezTo>
                <a:cubicBezTo>
                  <a:pt x="532" y="141"/>
                  <a:pt x="531" y="139"/>
                  <a:pt x="529" y="138"/>
                </a:cubicBezTo>
                <a:cubicBezTo>
                  <a:pt x="529" y="139"/>
                  <a:pt x="529" y="139"/>
                  <a:pt x="529" y="139"/>
                </a:cubicBezTo>
                <a:cubicBezTo>
                  <a:pt x="529" y="139"/>
                  <a:pt x="529" y="139"/>
                  <a:pt x="529" y="138"/>
                </a:cubicBezTo>
                <a:cubicBezTo>
                  <a:pt x="528" y="138"/>
                  <a:pt x="528" y="138"/>
                  <a:pt x="528" y="138"/>
                </a:cubicBezTo>
                <a:cubicBezTo>
                  <a:pt x="528" y="138"/>
                  <a:pt x="526" y="141"/>
                  <a:pt x="526" y="139"/>
                </a:cubicBezTo>
                <a:cubicBezTo>
                  <a:pt x="525" y="139"/>
                  <a:pt x="528" y="135"/>
                  <a:pt x="525" y="135"/>
                </a:cubicBezTo>
                <a:cubicBezTo>
                  <a:pt x="531" y="133"/>
                  <a:pt x="523" y="131"/>
                  <a:pt x="520" y="130"/>
                </a:cubicBezTo>
                <a:cubicBezTo>
                  <a:pt x="519" y="129"/>
                  <a:pt x="518" y="127"/>
                  <a:pt x="518" y="126"/>
                </a:cubicBezTo>
                <a:cubicBezTo>
                  <a:pt x="517" y="126"/>
                  <a:pt x="516" y="125"/>
                  <a:pt x="517" y="124"/>
                </a:cubicBezTo>
                <a:cubicBezTo>
                  <a:pt x="517" y="124"/>
                  <a:pt x="517" y="124"/>
                  <a:pt x="517" y="124"/>
                </a:cubicBezTo>
                <a:cubicBezTo>
                  <a:pt x="516" y="123"/>
                  <a:pt x="516" y="123"/>
                  <a:pt x="515" y="123"/>
                </a:cubicBezTo>
                <a:cubicBezTo>
                  <a:pt x="515" y="123"/>
                  <a:pt x="514" y="123"/>
                  <a:pt x="514" y="123"/>
                </a:cubicBezTo>
                <a:cubicBezTo>
                  <a:pt x="514" y="123"/>
                  <a:pt x="513" y="123"/>
                  <a:pt x="513" y="124"/>
                </a:cubicBezTo>
                <a:cubicBezTo>
                  <a:pt x="513" y="124"/>
                  <a:pt x="511" y="125"/>
                  <a:pt x="510" y="125"/>
                </a:cubicBezTo>
                <a:cubicBezTo>
                  <a:pt x="509" y="126"/>
                  <a:pt x="508" y="125"/>
                  <a:pt x="508" y="124"/>
                </a:cubicBezTo>
                <a:cubicBezTo>
                  <a:pt x="507" y="124"/>
                  <a:pt x="506" y="125"/>
                  <a:pt x="505" y="125"/>
                </a:cubicBezTo>
                <a:cubicBezTo>
                  <a:pt x="504" y="124"/>
                  <a:pt x="506" y="124"/>
                  <a:pt x="507" y="123"/>
                </a:cubicBezTo>
                <a:cubicBezTo>
                  <a:pt x="507" y="122"/>
                  <a:pt x="507" y="122"/>
                  <a:pt x="508" y="121"/>
                </a:cubicBezTo>
                <a:cubicBezTo>
                  <a:pt x="506" y="121"/>
                  <a:pt x="504" y="121"/>
                  <a:pt x="504" y="121"/>
                </a:cubicBezTo>
                <a:cubicBezTo>
                  <a:pt x="504" y="121"/>
                  <a:pt x="504" y="121"/>
                  <a:pt x="503" y="121"/>
                </a:cubicBezTo>
                <a:cubicBezTo>
                  <a:pt x="504" y="122"/>
                  <a:pt x="505" y="122"/>
                  <a:pt x="506" y="122"/>
                </a:cubicBezTo>
                <a:cubicBezTo>
                  <a:pt x="505" y="123"/>
                  <a:pt x="504" y="123"/>
                  <a:pt x="502" y="122"/>
                </a:cubicBezTo>
                <a:cubicBezTo>
                  <a:pt x="502" y="123"/>
                  <a:pt x="502" y="123"/>
                  <a:pt x="502" y="123"/>
                </a:cubicBezTo>
                <a:cubicBezTo>
                  <a:pt x="502" y="124"/>
                  <a:pt x="501" y="125"/>
                  <a:pt x="500" y="125"/>
                </a:cubicBezTo>
                <a:cubicBezTo>
                  <a:pt x="500" y="126"/>
                  <a:pt x="499" y="126"/>
                  <a:pt x="498" y="125"/>
                </a:cubicBezTo>
                <a:cubicBezTo>
                  <a:pt x="498" y="125"/>
                  <a:pt x="499" y="124"/>
                  <a:pt x="499" y="124"/>
                </a:cubicBezTo>
                <a:cubicBezTo>
                  <a:pt x="499" y="123"/>
                  <a:pt x="498" y="122"/>
                  <a:pt x="499" y="123"/>
                </a:cubicBezTo>
                <a:cubicBezTo>
                  <a:pt x="499" y="123"/>
                  <a:pt x="499" y="123"/>
                  <a:pt x="500" y="123"/>
                </a:cubicBezTo>
                <a:cubicBezTo>
                  <a:pt x="500" y="123"/>
                  <a:pt x="500" y="123"/>
                  <a:pt x="500" y="123"/>
                </a:cubicBezTo>
                <a:cubicBezTo>
                  <a:pt x="500" y="123"/>
                  <a:pt x="500" y="123"/>
                  <a:pt x="501" y="122"/>
                </a:cubicBezTo>
                <a:cubicBezTo>
                  <a:pt x="500" y="122"/>
                  <a:pt x="499" y="122"/>
                  <a:pt x="499" y="121"/>
                </a:cubicBezTo>
                <a:cubicBezTo>
                  <a:pt x="499" y="121"/>
                  <a:pt x="500" y="121"/>
                  <a:pt x="501" y="121"/>
                </a:cubicBezTo>
                <a:cubicBezTo>
                  <a:pt x="501" y="121"/>
                  <a:pt x="501" y="121"/>
                  <a:pt x="500" y="120"/>
                </a:cubicBezTo>
                <a:cubicBezTo>
                  <a:pt x="499" y="120"/>
                  <a:pt x="499" y="121"/>
                  <a:pt x="498" y="121"/>
                </a:cubicBezTo>
                <a:cubicBezTo>
                  <a:pt x="497" y="121"/>
                  <a:pt x="496" y="117"/>
                  <a:pt x="494" y="120"/>
                </a:cubicBezTo>
                <a:cubicBezTo>
                  <a:pt x="494" y="120"/>
                  <a:pt x="495" y="121"/>
                  <a:pt x="495" y="121"/>
                </a:cubicBezTo>
                <a:cubicBezTo>
                  <a:pt x="495" y="121"/>
                  <a:pt x="495" y="121"/>
                  <a:pt x="495" y="121"/>
                </a:cubicBezTo>
                <a:cubicBezTo>
                  <a:pt x="495" y="121"/>
                  <a:pt x="496" y="121"/>
                  <a:pt x="496" y="121"/>
                </a:cubicBezTo>
                <a:cubicBezTo>
                  <a:pt x="497" y="122"/>
                  <a:pt x="495" y="123"/>
                  <a:pt x="495" y="122"/>
                </a:cubicBezTo>
                <a:cubicBezTo>
                  <a:pt x="495" y="122"/>
                  <a:pt x="495" y="122"/>
                  <a:pt x="495" y="122"/>
                </a:cubicBezTo>
                <a:cubicBezTo>
                  <a:pt x="494" y="123"/>
                  <a:pt x="490" y="122"/>
                  <a:pt x="489" y="122"/>
                </a:cubicBezTo>
                <a:cubicBezTo>
                  <a:pt x="491" y="121"/>
                  <a:pt x="489" y="120"/>
                  <a:pt x="488" y="119"/>
                </a:cubicBezTo>
                <a:cubicBezTo>
                  <a:pt x="486" y="120"/>
                  <a:pt x="484" y="121"/>
                  <a:pt x="482" y="122"/>
                </a:cubicBezTo>
                <a:cubicBezTo>
                  <a:pt x="483" y="121"/>
                  <a:pt x="486" y="120"/>
                  <a:pt x="488" y="119"/>
                </a:cubicBezTo>
                <a:cubicBezTo>
                  <a:pt x="487" y="118"/>
                  <a:pt x="486" y="118"/>
                  <a:pt x="487" y="117"/>
                </a:cubicBezTo>
                <a:cubicBezTo>
                  <a:pt x="488" y="115"/>
                  <a:pt x="492" y="116"/>
                  <a:pt x="493" y="114"/>
                </a:cubicBezTo>
                <a:cubicBezTo>
                  <a:pt x="493" y="113"/>
                  <a:pt x="492" y="114"/>
                  <a:pt x="492" y="114"/>
                </a:cubicBezTo>
                <a:cubicBezTo>
                  <a:pt x="492" y="112"/>
                  <a:pt x="494" y="111"/>
                  <a:pt x="491" y="110"/>
                </a:cubicBezTo>
                <a:cubicBezTo>
                  <a:pt x="491" y="110"/>
                  <a:pt x="486" y="109"/>
                  <a:pt x="484" y="110"/>
                </a:cubicBezTo>
                <a:cubicBezTo>
                  <a:pt x="481" y="110"/>
                  <a:pt x="479" y="110"/>
                  <a:pt x="477" y="109"/>
                </a:cubicBezTo>
                <a:cubicBezTo>
                  <a:pt x="480" y="109"/>
                  <a:pt x="481" y="107"/>
                  <a:pt x="483" y="106"/>
                </a:cubicBezTo>
                <a:cubicBezTo>
                  <a:pt x="484" y="106"/>
                  <a:pt x="484" y="106"/>
                  <a:pt x="484" y="106"/>
                </a:cubicBezTo>
                <a:cubicBezTo>
                  <a:pt x="488" y="105"/>
                  <a:pt x="491" y="108"/>
                  <a:pt x="494" y="107"/>
                </a:cubicBezTo>
                <a:cubicBezTo>
                  <a:pt x="494" y="107"/>
                  <a:pt x="498" y="104"/>
                  <a:pt x="498" y="103"/>
                </a:cubicBezTo>
                <a:cubicBezTo>
                  <a:pt x="499" y="103"/>
                  <a:pt x="500" y="104"/>
                  <a:pt x="501" y="103"/>
                </a:cubicBezTo>
                <a:cubicBezTo>
                  <a:pt x="500" y="103"/>
                  <a:pt x="500" y="103"/>
                  <a:pt x="499" y="103"/>
                </a:cubicBezTo>
                <a:cubicBezTo>
                  <a:pt x="499" y="103"/>
                  <a:pt x="499" y="103"/>
                  <a:pt x="499" y="103"/>
                </a:cubicBezTo>
                <a:cubicBezTo>
                  <a:pt x="498" y="103"/>
                  <a:pt x="497" y="104"/>
                  <a:pt x="496" y="104"/>
                </a:cubicBezTo>
                <a:cubicBezTo>
                  <a:pt x="496" y="104"/>
                  <a:pt x="496" y="104"/>
                  <a:pt x="496" y="104"/>
                </a:cubicBezTo>
                <a:cubicBezTo>
                  <a:pt x="496" y="104"/>
                  <a:pt x="496" y="104"/>
                  <a:pt x="496" y="104"/>
                </a:cubicBezTo>
                <a:cubicBezTo>
                  <a:pt x="494" y="104"/>
                  <a:pt x="493" y="104"/>
                  <a:pt x="493" y="103"/>
                </a:cubicBezTo>
                <a:cubicBezTo>
                  <a:pt x="493" y="103"/>
                  <a:pt x="493" y="102"/>
                  <a:pt x="493" y="102"/>
                </a:cubicBezTo>
                <a:cubicBezTo>
                  <a:pt x="493" y="101"/>
                  <a:pt x="494" y="100"/>
                  <a:pt x="495" y="100"/>
                </a:cubicBezTo>
                <a:cubicBezTo>
                  <a:pt x="496" y="99"/>
                  <a:pt x="499" y="100"/>
                  <a:pt x="499" y="102"/>
                </a:cubicBezTo>
                <a:cubicBezTo>
                  <a:pt x="499" y="102"/>
                  <a:pt x="499" y="102"/>
                  <a:pt x="499" y="102"/>
                </a:cubicBezTo>
                <a:cubicBezTo>
                  <a:pt x="499" y="101"/>
                  <a:pt x="501" y="100"/>
                  <a:pt x="502" y="100"/>
                </a:cubicBezTo>
                <a:cubicBezTo>
                  <a:pt x="502" y="99"/>
                  <a:pt x="502" y="99"/>
                  <a:pt x="501" y="99"/>
                </a:cubicBezTo>
                <a:cubicBezTo>
                  <a:pt x="501" y="99"/>
                  <a:pt x="501" y="99"/>
                  <a:pt x="501" y="99"/>
                </a:cubicBezTo>
                <a:cubicBezTo>
                  <a:pt x="500" y="100"/>
                  <a:pt x="500" y="99"/>
                  <a:pt x="501" y="98"/>
                </a:cubicBezTo>
                <a:cubicBezTo>
                  <a:pt x="499" y="97"/>
                  <a:pt x="497" y="97"/>
                  <a:pt x="495" y="96"/>
                </a:cubicBezTo>
                <a:cubicBezTo>
                  <a:pt x="497" y="95"/>
                  <a:pt x="497" y="95"/>
                  <a:pt x="497" y="94"/>
                </a:cubicBezTo>
                <a:cubicBezTo>
                  <a:pt x="495" y="95"/>
                  <a:pt x="492" y="95"/>
                  <a:pt x="494" y="93"/>
                </a:cubicBezTo>
                <a:cubicBezTo>
                  <a:pt x="494" y="93"/>
                  <a:pt x="495" y="93"/>
                  <a:pt x="495" y="93"/>
                </a:cubicBezTo>
                <a:cubicBezTo>
                  <a:pt x="494" y="92"/>
                  <a:pt x="494" y="92"/>
                  <a:pt x="494" y="92"/>
                </a:cubicBezTo>
                <a:cubicBezTo>
                  <a:pt x="491" y="93"/>
                  <a:pt x="489" y="94"/>
                  <a:pt x="486" y="95"/>
                </a:cubicBezTo>
                <a:cubicBezTo>
                  <a:pt x="483" y="96"/>
                  <a:pt x="487" y="93"/>
                  <a:pt x="489" y="92"/>
                </a:cubicBezTo>
                <a:cubicBezTo>
                  <a:pt x="490" y="91"/>
                  <a:pt x="492" y="91"/>
                  <a:pt x="494" y="90"/>
                </a:cubicBezTo>
                <a:cubicBezTo>
                  <a:pt x="494" y="90"/>
                  <a:pt x="495" y="89"/>
                  <a:pt x="495" y="89"/>
                </a:cubicBezTo>
                <a:cubicBezTo>
                  <a:pt x="495" y="89"/>
                  <a:pt x="496" y="89"/>
                  <a:pt x="497" y="89"/>
                </a:cubicBezTo>
                <a:cubicBezTo>
                  <a:pt x="498" y="88"/>
                  <a:pt x="499" y="87"/>
                  <a:pt x="500" y="86"/>
                </a:cubicBezTo>
                <a:cubicBezTo>
                  <a:pt x="501" y="85"/>
                  <a:pt x="502" y="84"/>
                  <a:pt x="501" y="83"/>
                </a:cubicBezTo>
                <a:cubicBezTo>
                  <a:pt x="501" y="83"/>
                  <a:pt x="500" y="83"/>
                  <a:pt x="500" y="82"/>
                </a:cubicBezTo>
                <a:cubicBezTo>
                  <a:pt x="500" y="82"/>
                  <a:pt x="500" y="83"/>
                  <a:pt x="500" y="83"/>
                </a:cubicBezTo>
                <a:cubicBezTo>
                  <a:pt x="499" y="83"/>
                  <a:pt x="499" y="82"/>
                  <a:pt x="499" y="82"/>
                </a:cubicBezTo>
                <a:cubicBezTo>
                  <a:pt x="498" y="82"/>
                  <a:pt x="496" y="82"/>
                  <a:pt x="497" y="81"/>
                </a:cubicBezTo>
                <a:cubicBezTo>
                  <a:pt x="496" y="81"/>
                  <a:pt x="496" y="81"/>
                  <a:pt x="496" y="81"/>
                </a:cubicBezTo>
                <a:cubicBezTo>
                  <a:pt x="496" y="79"/>
                  <a:pt x="497" y="79"/>
                  <a:pt x="499" y="78"/>
                </a:cubicBezTo>
                <a:cubicBezTo>
                  <a:pt x="499" y="77"/>
                  <a:pt x="499" y="77"/>
                  <a:pt x="499" y="76"/>
                </a:cubicBezTo>
                <a:cubicBezTo>
                  <a:pt x="499" y="76"/>
                  <a:pt x="500" y="76"/>
                  <a:pt x="500" y="76"/>
                </a:cubicBezTo>
                <a:cubicBezTo>
                  <a:pt x="499" y="75"/>
                  <a:pt x="497" y="75"/>
                  <a:pt x="495" y="75"/>
                </a:cubicBezTo>
                <a:cubicBezTo>
                  <a:pt x="494" y="75"/>
                  <a:pt x="492" y="75"/>
                  <a:pt x="492" y="74"/>
                </a:cubicBezTo>
                <a:cubicBezTo>
                  <a:pt x="491" y="74"/>
                  <a:pt x="490" y="73"/>
                  <a:pt x="490" y="72"/>
                </a:cubicBezTo>
                <a:cubicBezTo>
                  <a:pt x="489" y="73"/>
                  <a:pt x="489" y="73"/>
                  <a:pt x="488" y="72"/>
                </a:cubicBezTo>
                <a:cubicBezTo>
                  <a:pt x="487" y="71"/>
                  <a:pt x="486" y="69"/>
                  <a:pt x="488" y="68"/>
                </a:cubicBezTo>
                <a:cubicBezTo>
                  <a:pt x="488" y="68"/>
                  <a:pt x="488" y="68"/>
                  <a:pt x="488" y="68"/>
                </a:cubicBezTo>
                <a:cubicBezTo>
                  <a:pt x="488" y="68"/>
                  <a:pt x="488" y="67"/>
                  <a:pt x="488" y="67"/>
                </a:cubicBezTo>
                <a:cubicBezTo>
                  <a:pt x="487" y="67"/>
                  <a:pt x="486" y="68"/>
                  <a:pt x="485" y="67"/>
                </a:cubicBezTo>
                <a:cubicBezTo>
                  <a:pt x="485" y="68"/>
                  <a:pt x="484" y="69"/>
                  <a:pt x="484" y="69"/>
                </a:cubicBezTo>
                <a:cubicBezTo>
                  <a:pt x="484" y="70"/>
                  <a:pt x="482" y="70"/>
                  <a:pt x="481" y="71"/>
                </a:cubicBezTo>
                <a:cubicBezTo>
                  <a:pt x="480" y="73"/>
                  <a:pt x="479" y="73"/>
                  <a:pt x="478" y="74"/>
                </a:cubicBezTo>
                <a:cubicBezTo>
                  <a:pt x="477" y="74"/>
                  <a:pt x="478" y="75"/>
                  <a:pt x="478" y="75"/>
                </a:cubicBezTo>
                <a:cubicBezTo>
                  <a:pt x="477" y="75"/>
                  <a:pt x="475" y="74"/>
                  <a:pt x="475" y="75"/>
                </a:cubicBezTo>
                <a:cubicBezTo>
                  <a:pt x="475" y="75"/>
                  <a:pt x="475" y="75"/>
                  <a:pt x="474" y="75"/>
                </a:cubicBezTo>
                <a:cubicBezTo>
                  <a:pt x="474" y="75"/>
                  <a:pt x="474" y="75"/>
                  <a:pt x="474" y="75"/>
                </a:cubicBezTo>
                <a:cubicBezTo>
                  <a:pt x="474" y="75"/>
                  <a:pt x="474" y="75"/>
                  <a:pt x="473" y="75"/>
                </a:cubicBezTo>
                <a:cubicBezTo>
                  <a:pt x="472" y="75"/>
                  <a:pt x="472" y="76"/>
                  <a:pt x="471" y="76"/>
                </a:cubicBezTo>
                <a:cubicBezTo>
                  <a:pt x="471" y="76"/>
                  <a:pt x="472" y="75"/>
                  <a:pt x="472" y="75"/>
                </a:cubicBezTo>
                <a:cubicBezTo>
                  <a:pt x="470" y="73"/>
                  <a:pt x="466" y="70"/>
                  <a:pt x="465" y="69"/>
                </a:cubicBezTo>
                <a:cubicBezTo>
                  <a:pt x="465" y="67"/>
                  <a:pt x="470" y="66"/>
                  <a:pt x="471" y="64"/>
                </a:cubicBezTo>
                <a:cubicBezTo>
                  <a:pt x="471" y="63"/>
                  <a:pt x="469" y="62"/>
                  <a:pt x="471" y="61"/>
                </a:cubicBezTo>
                <a:cubicBezTo>
                  <a:pt x="472" y="60"/>
                  <a:pt x="472" y="62"/>
                  <a:pt x="473" y="63"/>
                </a:cubicBezTo>
                <a:cubicBezTo>
                  <a:pt x="474" y="63"/>
                  <a:pt x="478" y="63"/>
                  <a:pt x="481" y="63"/>
                </a:cubicBezTo>
                <a:cubicBezTo>
                  <a:pt x="482" y="64"/>
                  <a:pt x="483" y="64"/>
                  <a:pt x="484" y="64"/>
                </a:cubicBezTo>
                <a:cubicBezTo>
                  <a:pt x="485" y="63"/>
                  <a:pt x="489" y="62"/>
                  <a:pt x="490" y="62"/>
                </a:cubicBezTo>
                <a:cubicBezTo>
                  <a:pt x="490" y="61"/>
                  <a:pt x="488" y="62"/>
                  <a:pt x="488" y="60"/>
                </a:cubicBezTo>
                <a:cubicBezTo>
                  <a:pt x="489" y="60"/>
                  <a:pt x="490" y="61"/>
                  <a:pt x="491" y="61"/>
                </a:cubicBezTo>
                <a:cubicBezTo>
                  <a:pt x="493" y="60"/>
                  <a:pt x="497" y="60"/>
                  <a:pt x="499" y="59"/>
                </a:cubicBezTo>
                <a:cubicBezTo>
                  <a:pt x="499" y="58"/>
                  <a:pt x="499" y="57"/>
                  <a:pt x="498" y="57"/>
                </a:cubicBezTo>
                <a:cubicBezTo>
                  <a:pt x="498" y="57"/>
                  <a:pt x="497" y="58"/>
                  <a:pt x="497" y="58"/>
                </a:cubicBezTo>
                <a:cubicBezTo>
                  <a:pt x="497" y="58"/>
                  <a:pt x="494" y="57"/>
                  <a:pt x="491" y="56"/>
                </a:cubicBezTo>
                <a:cubicBezTo>
                  <a:pt x="490" y="56"/>
                  <a:pt x="490" y="56"/>
                  <a:pt x="490" y="55"/>
                </a:cubicBezTo>
                <a:cubicBezTo>
                  <a:pt x="489" y="55"/>
                  <a:pt x="489" y="55"/>
                  <a:pt x="489" y="55"/>
                </a:cubicBezTo>
                <a:cubicBezTo>
                  <a:pt x="489" y="55"/>
                  <a:pt x="489" y="55"/>
                  <a:pt x="489" y="55"/>
                </a:cubicBezTo>
                <a:cubicBezTo>
                  <a:pt x="489" y="54"/>
                  <a:pt x="489" y="53"/>
                  <a:pt x="489" y="53"/>
                </a:cubicBezTo>
                <a:cubicBezTo>
                  <a:pt x="487" y="51"/>
                  <a:pt x="483" y="53"/>
                  <a:pt x="481" y="52"/>
                </a:cubicBezTo>
                <a:cubicBezTo>
                  <a:pt x="481" y="52"/>
                  <a:pt x="480" y="52"/>
                  <a:pt x="479" y="52"/>
                </a:cubicBezTo>
                <a:cubicBezTo>
                  <a:pt x="479" y="52"/>
                  <a:pt x="479" y="52"/>
                  <a:pt x="479" y="52"/>
                </a:cubicBezTo>
                <a:cubicBezTo>
                  <a:pt x="479" y="54"/>
                  <a:pt x="474" y="56"/>
                  <a:pt x="473" y="54"/>
                </a:cubicBezTo>
                <a:cubicBezTo>
                  <a:pt x="472" y="53"/>
                  <a:pt x="473" y="51"/>
                  <a:pt x="475" y="50"/>
                </a:cubicBezTo>
                <a:cubicBezTo>
                  <a:pt x="475" y="50"/>
                  <a:pt x="475" y="50"/>
                  <a:pt x="475" y="50"/>
                </a:cubicBezTo>
                <a:cubicBezTo>
                  <a:pt x="475" y="50"/>
                  <a:pt x="475" y="49"/>
                  <a:pt x="475" y="49"/>
                </a:cubicBezTo>
                <a:cubicBezTo>
                  <a:pt x="475" y="49"/>
                  <a:pt x="475" y="49"/>
                  <a:pt x="475" y="49"/>
                </a:cubicBezTo>
                <a:cubicBezTo>
                  <a:pt x="475" y="49"/>
                  <a:pt x="475" y="49"/>
                  <a:pt x="475" y="49"/>
                </a:cubicBezTo>
                <a:cubicBezTo>
                  <a:pt x="474" y="49"/>
                  <a:pt x="473" y="49"/>
                  <a:pt x="472" y="49"/>
                </a:cubicBezTo>
                <a:cubicBezTo>
                  <a:pt x="472" y="49"/>
                  <a:pt x="472" y="50"/>
                  <a:pt x="472" y="50"/>
                </a:cubicBezTo>
                <a:cubicBezTo>
                  <a:pt x="471" y="50"/>
                  <a:pt x="471" y="51"/>
                  <a:pt x="471" y="51"/>
                </a:cubicBezTo>
                <a:cubicBezTo>
                  <a:pt x="470" y="53"/>
                  <a:pt x="467" y="53"/>
                  <a:pt x="465" y="55"/>
                </a:cubicBezTo>
                <a:cubicBezTo>
                  <a:pt x="464" y="56"/>
                  <a:pt x="461" y="59"/>
                  <a:pt x="460" y="59"/>
                </a:cubicBezTo>
                <a:cubicBezTo>
                  <a:pt x="459" y="59"/>
                  <a:pt x="458" y="57"/>
                  <a:pt x="458" y="56"/>
                </a:cubicBezTo>
                <a:cubicBezTo>
                  <a:pt x="457" y="56"/>
                  <a:pt x="457" y="57"/>
                  <a:pt x="457" y="57"/>
                </a:cubicBezTo>
                <a:cubicBezTo>
                  <a:pt x="456" y="58"/>
                  <a:pt x="455" y="57"/>
                  <a:pt x="454" y="56"/>
                </a:cubicBezTo>
                <a:cubicBezTo>
                  <a:pt x="453" y="56"/>
                  <a:pt x="452" y="56"/>
                  <a:pt x="452" y="55"/>
                </a:cubicBezTo>
                <a:cubicBezTo>
                  <a:pt x="452" y="55"/>
                  <a:pt x="453" y="54"/>
                  <a:pt x="454" y="53"/>
                </a:cubicBezTo>
                <a:cubicBezTo>
                  <a:pt x="455" y="52"/>
                  <a:pt x="456" y="51"/>
                  <a:pt x="457" y="53"/>
                </a:cubicBezTo>
                <a:cubicBezTo>
                  <a:pt x="458" y="53"/>
                  <a:pt x="458" y="53"/>
                  <a:pt x="458" y="51"/>
                </a:cubicBezTo>
                <a:cubicBezTo>
                  <a:pt x="456" y="51"/>
                  <a:pt x="455" y="51"/>
                  <a:pt x="455" y="50"/>
                </a:cubicBezTo>
                <a:cubicBezTo>
                  <a:pt x="455" y="49"/>
                  <a:pt x="456" y="48"/>
                  <a:pt x="457" y="48"/>
                </a:cubicBezTo>
                <a:cubicBezTo>
                  <a:pt x="456" y="47"/>
                  <a:pt x="454" y="46"/>
                  <a:pt x="454" y="45"/>
                </a:cubicBezTo>
                <a:cubicBezTo>
                  <a:pt x="454" y="45"/>
                  <a:pt x="455" y="42"/>
                  <a:pt x="456" y="41"/>
                </a:cubicBezTo>
                <a:cubicBezTo>
                  <a:pt x="457" y="41"/>
                  <a:pt x="460" y="40"/>
                  <a:pt x="460" y="40"/>
                </a:cubicBezTo>
                <a:cubicBezTo>
                  <a:pt x="460" y="39"/>
                  <a:pt x="459" y="39"/>
                  <a:pt x="458" y="39"/>
                </a:cubicBezTo>
                <a:cubicBezTo>
                  <a:pt x="458" y="39"/>
                  <a:pt x="458" y="40"/>
                  <a:pt x="458" y="40"/>
                </a:cubicBezTo>
                <a:cubicBezTo>
                  <a:pt x="458" y="40"/>
                  <a:pt x="458" y="40"/>
                  <a:pt x="458" y="40"/>
                </a:cubicBezTo>
                <a:cubicBezTo>
                  <a:pt x="458" y="40"/>
                  <a:pt x="458" y="40"/>
                  <a:pt x="458" y="40"/>
                </a:cubicBezTo>
                <a:cubicBezTo>
                  <a:pt x="457" y="40"/>
                  <a:pt x="456" y="41"/>
                  <a:pt x="455" y="40"/>
                </a:cubicBezTo>
                <a:cubicBezTo>
                  <a:pt x="455" y="40"/>
                  <a:pt x="455" y="40"/>
                  <a:pt x="455" y="39"/>
                </a:cubicBezTo>
                <a:cubicBezTo>
                  <a:pt x="455" y="39"/>
                  <a:pt x="455" y="39"/>
                  <a:pt x="454" y="39"/>
                </a:cubicBezTo>
                <a:cubicBezTo>
                  <a:pt x="454" y="39"/>
                  <a:pt x="454" y="39"/>
                  <a:pt x="455" y="38"/>
                </a:cubicBezTo>
                <a:cubicBezTo>
                  <a:pt x="455" y="38"/>
                  <a:pt x="455" y="38"/>
                  <a:pt x="454" y="38"/>
                </a:cubicBezTo>
                <a:cubicBezTo>
                  <a:pt x="455" y="37"/>
                  <a:pt x="458" y="37"/>
                  <a:pt x="458" y="38"/>
                </a:cubicBezTo>
                <a:cubicBezTo>
                  <a:pt x="459" y="38"/>
                  <a:pt x="462" y="38"/>
                  <a:pt x="461" y="39"/>
                </a:cubicBezTo>
                <a:cubicBezTo>
                  <a:pt x="461" y="39"/>
                  <a:pt x="460" y="40"/>
                  <a:pt x="460" y="40"/>
                </a:cubicBezTo>
                <a:cubicBezTo>
                  <a:pt x="461" y="41"/>
                  <a:pt x="462" y="40"/>
                  <a:pt x="462" y="40"/>
                </a:cubicBezTo>
                <a:cubicBezTo>
                  <a:pt x="463" y="40"/>
                  <a:pt x="464" y="41"/>
                  <a:pt x="465" y="42"/>
                </a:cubicBezTo>
                <a:cubicBezTo>
                  <a:pt x="466" y="41"/>
                  <a:pt x="467" y="41"/>
                  <a:pt x="467" y="42"/>
                </a:cubicBezTo>
                <a:cubicBezTo>
                  <a:pt x="468" y="43"/>
                  <a:pt x="467" y="44"/>
                  <a:pt x="466" y="43"/>
                </a:cubicBezTo>
                <a:cubicBezTo>
                  <a:pt x="466" y="44"/>
                  <a:pt x="466" y="44"/>
                  <a:pt x="466" y="44"/>
                </a:cubicBezTo>
                <a:cubicBezTo>
                  <a:pt x="467" y="44"/>
                  <a:pt x="469" y="44"/>
                  <a:pt x="470" y="45"/>
                </a:cubicBezTo>
                <a:cubicBezTo>
                  <a:pt x="470" y="45"/>
                  <a:pt x="469" y="45"/>
                  <a:pt x="470" y="46"/>
                </a:cubicBezTo>
                <a:cubicBezTo>
                  <a:pt x="471" y="45"/>
                  <a:pt x="472" y="45"/>
                  <a:pt x="473" y="44"/>
                </a:cubicBezTo>
                <a:cubicBezTo>
                  <a:pt x="473" y="44"/>
                  <a:pt x="473" y="44"/>
                  <a:pt x="473" y="44"/>
                </a:cubicBezTo>
                <a:cubicBezTo>
                  <a:pt x="473" y="44"/>
                  <a:pt x="473" y="44"/>
                  <a:pt x="473" y="44"/>
                </a:cubicBezTo>
                <a:cubicBezTo>
                  <a:pt x="474" y="44"/>
                  <a:pt x="474" y="44"/>
                  <a:pt x="474" y="44"/>
                </a:cubicBezTo>
                <a:cubicBezTo>
                  <a:pt x="473" y="44"/>
                  <a:pt x="473" y="43"/>
                  <a:pt x="473" y="42"/>
                </a:cubicBezTo>
                <a:cubicBezTo>
                  <a:pt x="472" y="40"/>
                  <a:pt x="478" y="41"/>
                  <a:pt x="475" y="43"/>
                </a:cubicBezTo>
                <a:cubicBezTo>
                  <a:pt x="475" y="43"/>
                  <a:pt x="476" y="43"/>
                  <a:pt x="476" y="43"/>
                </a:cubicBezTo>
                <a:cubicBezTo>
                  <a:pt x="477" y="43"/>
                  <a:pt x="479" y="42"/>
                  <a:pt x="478" y="41"/>
                </a:cubicBezTo>
                <a:cubicBezTo>
                  <a:pt x="478" y="40"/>
                  <a:pt x="475" y="41"/>
                  <a:pt x="475" y="40"/>
                </a:cubicBezTo>
                <a:cubicBezTo>
                  <a:pt x="474" y="39"/>
                  <a:pt x="478" y="37"/>
                  <a:pt x="478" y="37"/>
                </a:cubicBezTo>
                <a:cubicBezTo>
                  <a:pt x="478" y="37"/>
                  <a:pt x="478" y="36"/>
                  <a:pt x="478" y="36"/>
                </a:cubicBezTo>
                <a:cubicBezTo>
                  <a:pt x="476" y="38"/>
                  <a:pt x="473" y="38"/>
                  <a:pt x="470" y="38"/>
                </a:cubicBezTo>
                <a:cubicBezTo>
                  <a:pt x="468" y="37"/>
                  <a:pt x="468" y="34"/>
                  <a:pt x="467" y="34"/>
                </a:cubicBezTo>
                <a:cubicBezTo>
                  <a:pt x="465" y="34"/>
                  <a:pt x="463" y="34"/>
                  <a:pt x="461" y="35"/>
                </a:cubicBezTo>
                <a:cubicBezTo>
                  <a:pt x="462" y="34"/>
                  <a:pt x="463" y="34"/>
                  <a:pt x="464" y="33"/>
                </a:cubicBezTo>
                <a:cubicBezTo>
                  <a:pt x="464" y="32"/>
                  <a:pt x="465" y="33"/>
                  <a:pt x="466" y="33"/>
                </a:cubicBezTo>
                <a:cubicBezTo>
                  <a:pt x="466" y="32"/>
                  <a:pt x="466" y="32"/>
                  <a:pt x="466" y="31"/>
                </a:cubicBezTo>
                <a:cubicBezTo>
                  <a:pt x="466" y="31"/>
                  <a:pt x="465" y="31"/>
                  <a:pt x="465" y="31"/>
                </a:cubicBezTo>
                <a:cubicBezTo>
                  <a:pt x="464" y="30"/>
                  <a:pt x="465" y="30"/>
                  <a:pt x="466" y="30"/>
                </a:cubicBezTo>
                <a:cubicBezTo>
                  <a:pt x="466" y="30"/>
                  <a:pt x="466" y="29"/>
                  <a:pt x="466" y="29"/>
                </a:cubicBezTo>
                <a:cubicBezTo>
                  <a:pt x="466" y="28"/>
                  <a:pt x="466" y="27"/>
                  <a:pt x="466" y="26"/>
                </a:cubicBezTo>
                <a:cubicBezTo>
                  <a:pt x="466" y="26"/>
                  <a:pt x="466" y="26"/>
                  <a:pt x="465" y="25"/>
                </a:cubicBezTo>
                <a:cubicBezTo>
                  <a:pt x="465" y="25"/>
                  <a:pt x="465" y="25"/>
                  <a:pt x="465" y="25"/>
                </a:cubicBezTo>
                <a:cubicBezTo>
                  <a:pt x="465" y="25"/>
                  <a:pt x="465" y="25"/>
                  <a:pt x="465" y="25"/>
                </a:cubicBezTo>
                <a:cubicBezTo>
                  <a:pt x="465" y="24"/>
                  <a:pt x="465" y="24"/>
                  <a:pt x="466" y="24"/>
                </a:cubicBezTo>
                <a:cubicBezTo>
                  <a:pt x="466" y="22"/>
                  <a:pt x="466" y="21"/>
                  <a:pt x="466" y="20"/>
                </a:cubicBezTo>
                <a:cubicBezTo>
                  <a:pt x="466" y="20"/>
                  <a:pt x="466" y="19"/>
                  <a:pt x="466" y="19"/>
                </a:cubicBezTo>
                <a:cubicBezTo>
                  <a:pt x="466" y="19"/>
                  <a:pt x="465" y="19"/>
                  <a:pt x="465" y="19"/>
                </a:cubicBezTo>
                <a:cubicBezTo>
                  <a:pt x="465" y="18"/>
                  <a:pt x="465" y="18"/>
                  <a:pt x="466" y="18"/>
                </a:cubicBezTo>
                <a:cubicBezTo>
                  <a:pt x="466" y="16"/>
                  <a:pt x="467" y="15"/>
                  <a:pt x="467" y="14"/>
                </a:cubicBezTo>
                <a:cubicBezTo>
                  <a:pt x="467" y="14"/>
                  <a:pt x="467" y="14"/>
                  <a:pt x="467" y="14"/>
                </a:cubicBezTo>
                <a:cubicBezTo>
                  <a:pt x="465" y="14"/>
                  <a:pt x="463" y="14"/>
                  <a:pt x="463" y="13"/>
                </a:cubicBezTo>
                <a:cubicBezTo>
                  <a:pt x="463" y="11"/>
                  <a:pt x="464" y="11"/>
                  <a:pt x="465" y="10"/>
                </a:cubicBezTo>
                <a:cubicBezTo>
                  <a:pt x="463" y="8"/>
                  <a:pt x="463" y="8"/>
                  <a:pt x="463" y="8"/>
                </a:cubicBezTo>
                <a:cubicBezTo>
                  <a:pt x="463" y="11"/>
                  <a:pt x="462" y="14"/>
                  <a:pt x="460" y="14"/>
                </a:cubicBezTo>
                <a:cubicBezTo>
                  <a:pt x="459" y="15"/>
                  <a:pt x="455" y="14"/>
                  <a:pt x="455" y="14"/>
                </a:cubicBezTo>
                <a:cubicBezTo>
                  <a:pt x="454" y="14"/>
                  <a:pt x="454" y="12"/>
                  <a:pt x="454" y="12"/>
                </a:cubicBezTo>
                <a:cubicBezTo>
                  <a:pt x="451" y="10"/>
                  <a:pt x="454" y="10"/>
                  <a:pt x="449" y="9"/>
                </a:cubicBezTo>
                <a:cubicBezTo>
                  <a:pt x="450" y="8"/>
                  <a:pt x="452" y="7"/>
                  <a:pt x="453" y="6"/>
                </a:cubicBezTo>
                <a:cubicBezTo>
                  <a:pt x="453" y="6"/>
                  <a:pt x="452" y="4"/>
                  <a:pt x="452" y="5"/>
                </a:cubicBezTo>
                <a:cubicBezTo>
                  <a:pt x="453" y="3"/>
                  <a:pt x="456" y="5"/>
                  <a:pt x="458" y="3"/>
                </a:cubicBezTo>
                <a:cubicBezTo>
                  <a:pt x="458" y="3"/>
                  <a:pt x="458" y="3"/>
                  <a:pt x="458" y="3"/>
                </a:cubicBezTo>
                <a:cubicBezTo>
                  <a:pt x="457" y="3"/>
                  <a:pt x="456" y="3"/>
                  <a:pt x="455" y="2"/>
                </a:cubicBezTo>
                <a:cubicBezTo>
                  <a:pt x="454" y="3"/>
                  <a:pt x="454" y="3"/>
                  <a:pt x="454" y="1"/>
                </a:cubicBezTo>
                <a:cubicBezTo>
                  <a:pt x="452" y="5"/>
                  <a:pt x="443" y="5"/>
                  <a:pt x="442" y="0"/>
                </a:cubicBezTo>
                <a:cubicBezTo>
                  <a:pt x="442" y="0"/>
                  <a:pt x="442" y="0"/>
                  <a:pt x="443" y="0"/>
                </a:cubicBezTo>
                <a:cubicBezTo>
                  <a:pt x="442" y="0"/>
                  <a:pt x="442" y="0"/>
                  <a:pt x="442" y="0"/>
                </a:cubicBezTo>
                <a:cubicBezTo>
                  <a:pt x="440" y="3"/>
                  <a:pt x="437" y="4"/>
                  <a:pt x="434" y="3"/>
                </a:cubicBezTo>
                <a:cubicBezTo>
                  <a:pt x="434" y="3"/>
                  <a:pt x="434" y="3"/>
                  <a:pt x="433" y="3"/>
                </a:cubicBezTo>
                <a:cubicBezTo>
                  <a:pt x="431" y="4"/>
                  <a:pt x="428" y="6"/>
                  <a:pt x="426" y="6"/>
                </a:cubicBezTo>
                <a:cubicBezTo>
                  <a:pt x="425" y="6"/>
                  <a:pt x="424" y="6"/>
                  <a:pt x="423" y="6"/>
                </a:cubicBezTo>
                <a:cubicBezTo>
                  <a:pt x="421" y="6"/>
                  <a:pt x="419" y="9"/>
                  <a:pt x="417" y="9"/>
                </a:cubicBezTo>
                <a:cubicBezTo>
                  <a:pt x="415" y="9"/>
                  <a:pt x="416" y="9"/>
                  <a:pt x="414" y="9"/>
                </a:cubicBezTo>
                <a:cubicBezTo>
                  <a:pt x="413" y="10"/>
                  <a:pt x="411" y="11"/>
                  <a:pt x="410" y="11"/>
                </a:cubicBezTo>
                <a:cubicBezTo>
                  <a:pt x="409" y="12"/>
                  <a:pt x="406" y="13"/>
                  <a:pt x="406" y="13"/>
                </a:cubicBezTo>
                <a:cubicBezTo>
                  <a:pt x="404" y="15"/>
                  <a:pt x="406" y="15"/>
                  <a:pt x="404" y="14"/>
                </a:cubicBezTo>
                <a:cubicBezTo>
                  <a:pt x="403" y="14"/>
                  <a:pt x="403" y="15"/>
                  <a:pt x="402" y="15"/>
                </a:cubicBezTo>
                <a:cubicBezTo>
                  <a:pt x="403" y="15"/>
                  <a:pt x="403" y="15"/>
                  <a:pt x="403" y="15"/>
                </a:cubicBezTo>
                <a:cubicBezTo>
                  <a:pt x="404" y="16"/>
                  <a:pt x="402" y="17"/>
                  <a:pt x="401" y="16"/>
                </a:cubicBezTo>
                <a:cubicBezTo>
                  <a:pt x="401" y="16"/>
                  <a:pt x="400" y="16"/>
                  <a:pt x="400" y="17"/>
                </a:cubicBezTo>
                <a:cubicBezTo>
                  <a:pt x="400" y="17"/>
                  <a:pt x="400" y="18"/>
                  <a:pt x="400" y="18"/>
                </a:cubicBezTo>
                <a:cubicBezTo>
                  <a:pt x="403" y="19"/>
                  <a:pt x="405" y="17"/>
                  <a:pt x="403" y="21"/>
                </a:cubicBezTo>
                <a:cubicBezTo>
                  <a:pt x="403" y="22"/>
                  <a:pt x="404" y="22"/>
                  <a:pt x="404" y="22"/>
                </a:cubicBezTo>
                <a:cubicBezTo>
                  <a:pt x="402" y="24"/>
                  <a:pt x="401" y="21"/>
                  <a:pt x="401" y="21"/>
                </a:cubicBezTo>
                <a:cubicBezTo>
                  <a:pt x="400" y="22"/>
                  <a:pt x="400" y="23"/>
                  <a:pt x="402" y="24"/>
                </a:cubicBezTo>
                <a:cubicBezTo>
                  <a:pt x="402" y="25"/>
                  <a:pt x="399" y="25"/>
                  <a:pt x="398" y="24"/>
                </a:cubicBezTo>
                <a:cubicBezTo>
                  <a:pt x="398" y="24"/>
                  <a:pt x="396" y="21"/>
                  <a:pt x="395" y="20"/>
                </a:cubicBezTo>
                <a:cubicBezTo>
                  <a:pt x="394" y="20"/>
                  <a:pt x="393" y="21"/>
                  <a:pt x="392" y="21"/>
                </a:cubicBezTo>
                <a:cubicBezTo>
                  <a:pt x="390" y="22"/>
                  <a:pt x="387" y="23"/>
                  <a:pt x="385" y="24"/>
                </a:cubicBezTo>
                <a:cubicBezTo>
                  <a:pt x="384" y="25"/>
                  <a:pt x="384" y="25"/>
                  <a:pt x="383" y="25"/>
                </a:cubicBezTo>
                <a:cubicBezTo>
                  <a:pt x="382" y="25"/>
                  <a:pt x="381" y="26"/>
                  <a:pt x="380" y="26"/>
                </a:cubicBezTo>
                <a:cubicBezTo>
                  <a:pt x="378" y="27"/>
                  <a:pt x="375" y="28"/>
                  <a:pt x="373" y="29"/>
                </a:cubicBezTo>
                <a:cubicBezTo>
                  <a:pt x="373" y="29"/>
                  <a:pt x="374" y="29"/>
                  <a:pt x="373" y="29"/>
                </a:cubicBezTo>
                <a:cubicBezTo>
                  <a:pt x="373" y="29"/>
                  <a:pt x="373" y="29"/>
                  <a:pt x="373" y="29"/>
                </a:cubicBezTo>
                <a:cubicBezTo>
                  <a:pt x="372" y="29"/>
                  <a:pt x="372" y="29"/>
                  <a:pt x="371" y="30"/>
                </a:cubicBezTo>
                <a:cubicBezTo>
                  <a:pt x="371" y="30"/>
                  <a:pt x="367" y="30"/>
                  <a:pt x="367" y="31"/>
                </a:cubicBezTo>
                <a:cubicBezTo>
                  <a:pt x="367" y="31"/>
                  <a:pt x="374" y="29"/>
                  <a:pt x="373" y="34"/>
                </a:cubicBezTo>
                <a:cubicBezTo>
                  <a:pt x="372" y="34"/>
                  <a:pt x="372" y="34"/>
                  <a:pt x="372" y="35"/>
                </a:cubicBezTo>
                <a:cubicBezTo>
                  <a:pt x="376" y="34"/>
                  <a:pt x="381" y="34"/>
                  <a:pt x="385" y="36"/>
                </a:cubicBezTo>
                <a:cubicBezTo>
                  <a:pt x="385" y="33"/>
                  <a:pt x="377" y="33"/>
                  <a:pt x="377" y="30"/>
                </a:cubicBezTo>
                <a:cubicBezTo>
                  <a:pt x="377" y="28"/>
                  <a:pt x="384" y="30"/>
                  <a:pt x="385" y="29"/>
                </a:cubicBezTo>
                <a:cubicBezTo>
                  <a:pt x="386" y="28"/>
                  <a:pt x="385" y="27"/>
                  <a:pt x="386" y="27"/>
                </a:cubicBezTo>
                <a:cubicBezTo>
                  <a:pt x="387" y="27"/>
                  <a:pt x="390" y="29"/>
                  <a:pt x="390" y="26"/>
                </a:cubicBezTo>
                <a:cubicBezTo>
                  <a:pt x="389" y="23"/>
                  <a:pt x="401" y="29"/>
                  <a:pt x="402" y="32"/>
                </a:cubicBezTo>
                <a:cubicBezTo>
                  <a:pt x="402" y="34"/>
                  <a:pt x="401" y="37"/>
                  <a:pt x="400" y="38"/>
                </a:cubicBezTo>
                <a:cubicBezTo>
                  <a:pt x="400" y="38"/>
                  <a:pt x="394" y="39"/>
                  <a:pt x="393" y="39"/>
                </a:cubicBezTo>
                <a:cubicBezTo>
                  <a:pt x="392" y="39"/>
                  <a:pt x="391" y="39"/>
                  <a:pt x="390" y="38"/>
                </a:cubicBezTo>
                <a:cubicBezTo>
                  <a:pt x="390" y="39"/>
                  <a:pt x="390" y="39"/>
                  <a:pt x="391" y="39"/>
                </a:cubicBezTo>
                <a:cubicBezTo>
                  <a:pt x="391" y="40"/>
                  <a:pt x="392" y="43"/>
                  <a:pt x="391" y="44"/>
                </a:cubicBezTo>
                <a:cubicBezTo>
                  <a:pt x="388" y="49"/>
                  <a:pt x="377" y="47"/>
                  <a:pt x="372" y="45"/>
                </a:cubicBezTo>
                <a:cubicBezTo>
                  <a:pt x="373" y="46"/>
                  <a:pt x="373" y="47"/>
                  <a:pt x="373" y="48"/>
                </a:cubicBezTo>
                <a:cubicBezTo>
                  <a:pt x="372" y="51"/>
                  <a:pt x="363" y="49"/>
                  <a:pt x="363" y="46"/>
                </a:cubicBezTo>
                <a:cubicBezTo>
                  <a:pt x="363" y="47"/>
                  <a:pt x="361" y="46"/>
                  <a:pt x="361" y="46"/>
                </a:cubicBezTo>
                <a:cubicBezTo>
                  <a:pt x="361" y="45"/>
                  <a:pt x="363" y="45"/>
                  <a:pt x="363" y="46"/>
                </a:cubicBezTo>
                <a:cubicBezTo>
                  <a:pt x="364" y="44"/>
                  <a:pt x="367" y="43"/>
                  <a:pt x="369" y="44"/>
                </a:cubicBezTo>
                <a:cubicBezTo>
                  <a:pt x="370" y="44"/>
                  <a:pt x="372" y="43"/>
                  <a:pt x="373" y="41"/>
                </a:cubicBezTo>
                <a:cubicBezTo>
                  <a:pt x="373" y="41"/>
                  <a:pt x="372" y="39"/>
                  <a:pt x="372" y="39"/>
                </a:cubicBezTo>
                <a:cubicBezTo>
                  <a:pt x="373" y="38"/>
                  <a:pt x="375" y="38"/>
                  <a:pt x="375" y="37"/>
                </a:cubicBezTo>
                <a:cubicBezTo>
                  <a:pt x="375" y="35"/>
                  <a:pt x="372" y="36"/>
                  <a:pt x="370" y="35"/>
                </a:cubicBezTo>
                <a:cubicBezTo>
                  <a:pt x="367" y="35"/>
                  <a:pt x="363" y="35"/>
                  <a:pt x="362" y="33"/>
                </a:cubicBezTo>
                <a:cubicBezTo>
                  <a:pt x="362" y="33"/>
                  <a:pt x="362" y="32"/>
                  <a:pt x="362" y="32"/>
                </a:cubicBezTo>
                <a:cubicBezTo>
                  <a:pt x="362" y="32"/>
                  <a:pt x="361" y="32"/>
                  <a:pt x="360" y="33"/>
                </a:cubicBezTo>
                <a:cubicBezTo>
                  <a:pt x="360" y="33"/>
                  <a:pt x="358" y="35"/>
                  <a:pt x="357" y="35"/>
                </a:cubicBezTo>
                <a:cubicBezTo>
                  <a:pt x="357" y="36"/>
                  <a:pt x="356" y="36"/>
                  <a:pt x="355" y="36"/>
                </a:cubicBezTo>
                <a:cubicBezTo>
                  <a:pt x="358" y="38"/>
                  <a:pt x="356" y="39"/>
                  <a:pt x="354" y="39"/>
                </a:cubicBezTo>
                <a:cubicBezTo>
                  <a:pt x="353" y="40"/>
                  <a:pt x="352" y="40"/>
                  <a:pt x="352" y="39"/>
                </a:cubicBezTo>
                <a:cubicBezTo>
                  <a:pt x="351" y="39"/>
                  <a:pt x="351" y="39"/>
                  <a:pt x="352" y="39"/>
                </a:cubicBezTo>
                <a:cubicBezTo>
                  <a:pt x="351" y="39"/>
                  <a:pt x="350" y="38"/>
                  <a:pt x="350" y="38"/>
                </a:cubicBezTo>
                <a:cubicBezTo>
                  <a:pt x="350" y="38"/>
                  <a:pt x="349" y="38"/>
                  <a:pt x="349" y="38"/>
                </a:cubicBezTo>
                <a:cubicBezTo>
                  <a:pt x="349" y="39"/>
                  <a:pt x="348" y="40"/>
                  <a:pt x="348" y="40"/>
                </a:cubicBezTo>
                <a:cubicBezTo>
                  <a:pt x="348" y="40"/>
                  <a:pt x="346" y="40"/>
                  <a:pt x="346" y="40"/>
                </a:cubicBezTo>
                <a:cubicBezTo>
                  <a:pt x="345" y="41"/>
                  <a:pt x="344" y="42"/>
                  <a:pt x="343" y="42"/>
                </a:cubicBezTo>
                <a:cubicBezTo>
                  <a:pt x="343" y="43"/>
                  <a:pt x="343" y="43"/>
                  <a:pt x="341" y="44"/>
                </a:cubicBezTo>
                <a:cubicBezTo>
                  <a:pt x="340" y="44"/>
                  <a:pt x="340" y="45"/>
                  <a:pt x="339" y="46"/>
                </a:cubicBezTo>
                <a:cubicBezTo>
                  <a:pt x="335" y="48"/>
                  <a:pt x="331" y="49"/>
                  <a:pt x="327" y="50"/>
                </a:cubicBezTo>
                <a:cubicBezTo>
                  <a:pt x="326" y="51"/>
                  <a:pt x="326" y="51"/>
                  <a:pt x="326" y="51"/>
                </a:cubicBezTo>
                <a:cubicBezTo>
                  <a:pt x="326" y="51"/>
                  <a:pt x="326" y="51"/>
                  <a:pt x="326" y="51"/>
                </a:cubicBezTo>
                <a:cubicBezTo>
                  <a:pt x="327" y="51"/>
                  <a:pt x="329" y="52"/>
                  <a:pt x="330" y="53"/>
                </a:cubicBezTo>
                <a:cubicBezTo>
                  <a:pt x="331" y="53"/>
                  <a:pt x="331" y="54"/>
                  <a:pt x="331" y="54"/>
                </a:cubicBezTo>
                <a:cubicBezTo>
                  <a:pt x="331" y="55"/>
                  <a:pt x="332" y="56"/>
                  <a:pt x="332" y="58"/>
                </a:cubicBezTo>
                <a:cubicBezTo>
                  <a:pt x="331" y="63"/>
                  <a:pt x="321" y="64"/>
                  <a:pt x="314" y="63"/>
                </a:cubicBezTo>
                <a:cubicBezTo>
                  <a:pt x="101" y="276"/>
                  <a:pt x="101" y="276"/>
                  <a:pt x="101" y="276"/>
                </a:cubicBezTo>
                <a:cubicBezTo>
                  <a:pt x="101" y="277"/>
                  <a:pt x="101" y="277"/>
                  <a:pt x="100" y="277"/>
                </a:cubicBezTo>
                <a:cubicBezTo>
                  <a:pt x="100" y="278"/>
                  <a:pt x="100" y="278"/>
                  <a:pt x="100" y="277"/>
                </a:cubicBezTo>
                <a:cubicBezTo>
                  <a:pt x="54" y="323"/>
                  <a:pt x="54" y="323"/>
                  <a:pt x="54" y="323"/>
                </a:cubicBezTo>
                <a:cubicBezTo>
                  <a:pt x="55" y="323"/>
                  <a:pt x="56" y="326"/>
                  <a:pt x="56" y="328"/>
                </a:cubicBezTo>
                <a:cubicBezTo>
                  <a:pt x="55" y="331"/>
                  <a:pt x="50" y="332"/>
                  <a:pt x="48" y="329"/>
                </a:cubicBezTo>
                <a:cubicBezTo>
                  <a:pt x="47" y="330"/>
                  <a:pt x="47" y="330"/>
                  <a:pt x="47" y="330"/>
                </a:cubicBezTo>
                <a:cubicBezTo>
                  <a:pt x="48" y="330"/>
                  <a:pt x="47" y="331"/>
                  <a:pt x="47" y="331"/>
                </a:cubicBezTo>
                <a:cubicBezTo>
                  <a:pt x="47" y="332"/>
                  <a:pt x="46" y="331"/>
                  <a:pt x="46" y="331"/>
                </a:cubicBezTo>
                <a:cubicBezTo>
                  <a:pt x="30" y="347"/>
                  <a:pt x="30" y="347"/>
                  <a:pt x="30" y="347"/>
                </a:cubicBezTo>
                <a:cubicBezTo>
                  <a:pt x="30" y="347"/>
                  <a:pt x="30" y="347"/>
                  <a:pt x="30" y="347"/>
                </a:cubicBezTo>
                <a:cubicBezTo>
                  <a:pt x="30" y="347"/>
                  <a:pt x="30" y="347"/>
                  <a:pt x="30" y="347"/>
                </a:cubicBezTo>
                <a:cubicBezTo>
                  <a:pt x="10" y="367"/>
                  <a:pt x="10" y="367"/>
                  <a:pt x="10" y="367"/>
                </a:cubicBezTo>
                <a:cubicBezTo>
                  <a:pt x="11" y="369"/>
                  <a:pt x="11" y="372"/>
                  <a:pt x="12" y="373"/>
                </a:cubicBezTo>
                <a:cubicBezTo>
                  <a:pt x="13" y="373"/>
                  <a:pt x="13" y="372"/>
                  <a:pt x="13" y="372"/>
                </a:cubicBezTo>
                <a:cubicBezTo>
                  <a:pt x="14" y="374"/>
                  <a:pt x="14" y="378"/>
                  <a:pt x="14" y="381"/>
                </a:cubicBezTo>
                <a:cubicBezTo>
                  <a:pt x="14" y="380"/>
                  <a:pt x="14" y="380"/>
                  <a:pt x="13" y="380"/>
                </a:cubicBezTo>
                <a:cubicBezTo>
                  <a:pt x="13" y="380"/>
                  <a:pt x="9" y="382"/>
                  <a:pt x="8" y="382"/>
                </a:cubicBezTo>
                <a:cubicBezTo>
                  <a:pt x="6" y="381"/>
                  <a:pt x="4" y="377"/>
                  <a:pt x="4" y="373"/>
                </a:cubicBezTo>
                <a:cubicBezTo>
                  <a:pt x="0" y="377"/>
                  <a:pt x="0" y="377"/>
                  <a:pt x="0" y="377"/>
                </a:cubicBezTo>
                <a:cubicBezTo>
                  <a:pt x="49" y="426"/>
                  <a:pt x="49" y="426"/>
                  <a:pt x="49" y="426"/>
                </a:cubicBezTo>
                <a:cubicBezTo>
                  <a:pt x="47" y="424"/>
                  <a:pt x="49" y="419"/>
                  <a:pt x="49" y="426"/>
                </a:cubicBezTo>
                <a:close/>
                <a:moveTo>
                  <a:pt x="100" y="466"/>
                </a:moveTo>
                <a:cubicBezTo>
                  <a:pt x="101" y="465"/>
                  <a:pt x="100" y="468"/>
                  <a:pt x="100" y="466"/>
                </a:cubicBezTo>
                <a:close/>
                <a:moveTo>
                  <a:pt x="122" y="458"/>
                </a:moveTo>
                <a:cubicBezTo>
                  <a:pt x="121" y="460"/>
                  <a:pt x="120" y="456"/>
                  <a:pt x="122" y="457"/>
                </a:cubicBezTo>
                <a:cubicBezTo>
                  <a:pt x="123" y="457"/>
                  <a:pt x="122" y="458"/>
                  <a:pt x="122" y="458"/>
                </a:cubicBezTo>
                <a:close/>
                <a:moveTo>
                  <a:pt x="166" y="487"/>
                </a:moveTo>
                <a:cubicBezTo>
                  <a:pt x="167" y="486"/>
                  <a:pt x="167" y="489"/>
                  <a:pt x="167" y="489"/>
                </a:cubicBezTo>
                <a:cubicBezTo>
                  <a:pt x="165" y="490"/>
                  <a:pt x="165" y="487"/>
                  <a:pt x="166" y="487"/>
                </a:cubicBezTo>
                <a:close/>
                <a:moveTo>
                  <a:pt x="212" y="472"/>
                </a:moveTo>
                <a:cubicBezTo>
                  <a:pt x="212" y="472"/>
                  <a:pt x="212" y="473"/>
                  <a:pt x="212" y="473"/>
                </a:cubicBezTo>
                <a:cubicBezTo>
                  <a:pt x="212" y="472"/>
                  <a:pt x="212" y="472"/>
                  <a:pt x="211" y="472"/>
                </a:cubicBezTo>
                <a:cubicBezTo>
                  <a:pt x="211" y="472"/>
                  <a:pt x="211" y="472"/>
                  <a:pt x="212" y="472"/>
                </a:cubicBezTo>
                <a:close/>
                <a:moveTo>
                  <a:pt x="188" y="526"/>
                </a:moveTo>
                <a:cubicBezTo>
                  <a:pt x="189" y="527"/>
                  <a:pt x="187" y="527"/>
                  <a:pt x="188" y="526"/>
                </a:cubicBezTo>
                <a:close/>
                <a:moveTo>
                  <a:pt x="190" y="520"/>
                </a:moveTo>
                <a:cubicBezTo>
                  <a:pt x="190" y="520"/>
                  <a:pt x="187" y="520"/>
                  <a:pt x="186" y="519"/>
                </a:cubicBezTo>
                <a:cubicBezTo>
                  <a:pt x="184" y="517"/>
                  <a:pt x="186" y="512"/>
                  <a:pt x="189" y="513"/>
                </a:cubicBezTo>
                <a:cubicBezTo>
                  <a:pt x="190" y="514"/>
                  <a:pt x="190" y="520"/>
                  <a:pt x="190" y="520"/>
                </a:cubicBezTo>
                <a:close/>
                <a:moveTo>
                  <a:pt x="192" y="538"/>
                </a:moveTo>
                <a:cubicBezTo>
                  <a:pt x="192" y="536"/>
                  <a:pt x="192" y="539"/>
                  <a:pt x="192" y="538"/>
                </a:cubicBezTo>
                <a:close/>
                <a:moveTo>
                  <a:pt x="191" y="529"/>
                </a:moveTo>
                <a:cubicBezTo>
                  <a:pt x="191" y="528"/>
                  <a:pt x="192" y="528"/>
                  <a:pt x="193" y="529"/>
                </a:cubicBezTo>
                <a:cubicBezTo>
                  <a:pt x="193" y="529"/>
                  <a:pt x="192" y="530"/>
                  <a:pt x="191" y="529"/>
                </a:cubicBezTo>
                <a:close/>
                <a:moveTo>
                  <a:pt x="194" y="534"/>
                </a:moveTo>
                <a:cubicBezTo>
                  <a:pt x="193" y="535"/>
                  <a:pt x="193" y="531"/>
                  <a:pt x="194" y="533"/>
                </a:cubicBezTo>
                <a:cubicBezTo>
                  <a:pt x="194" y="533"/>
                  <a:pt x="194" y="533"/>
                  <a:pt x="194" y="534"/>
                </a:cubicBezTo>
                <a:close/>
                <a:moveTo>
                  <a:pt x="194" y="531"/>
                </a:moveTo>
                <a:cubicBezTo>
                  <a:pt x="194" y="531"/>
                  <a:pt x="195" y="531"/>
                  <a:pt x="195" y="531"/>
                </a:cubicBezTo>
                <a:cubicBezTo>
                  <a:pt x="195" y="532"/>
                  <a:pt x="193" y="532"/>
                  <a:pt x="194" y="531"/>
                </a:cubicBezTo>
                <a:close/>
                <a:moveTo>
                  <a:pt x="196" y="526"/>
                </a:moveTo>
                <a:cubicBezTo>
                  <a:pt x="194" y="528"/>
                  <a:pt x="194" y="523"/>
                  <a:pt x="196" y="524"/>
                </a:cubicBezTo>
                <a:cubicBezTo>
                  <a:pt x="197" y="525"/>
                  <a:pt x="197" y="526"/>
                  <a:pt x="196" y="526"/>
                </a:cubicBezTo>
                <a:close/>
                <a:moveTo>
                  <a:pt x="208" y="524"/>
                </a:moveTo>
                <a:cubicBezTo>
                  <a:pt x="204" y="526"/>
                  <a:pt x="205" y="518"/>
                  <a:pt x="208" y="519"/>
                </a:cubicBezTo>
                <a:cubicBezTo>
                  <a:pt x="211" y="520"/>
                  <a:pt x="211" y="523"/>
                  <a:pt x="208" y="524"/>
                </a:cubicBezTo>
                <a:close/>
                <a:moveTo>
                  <a:pt x="211" y="541"/>
                </a:moveTo>
                <a:cubicBezTo>
                  <a:pt x="212" y="542"/>
                  <a:pt x="211" y="542"/>
                  <a:pt x="210" y="542"/>
                </a:cubicBezTo>
                <a:cubicBezTo>
                  <a:pt x="209" y="542"/>
                  <a:pt x="211" y="540"/>
                  <a:pt x="211" y="541"/>
                </a:cubicBezTo>
                <a:close/>
                <a:moveTo>
                  <a:pt x="215" y="522"/>
                </a:moveTo>
                <a:cubicBezTo>
                  <a:pt x="213" y="523"/>
                  <a:pt x="214" y="519"/>
                  <a:pt x="215" y="519"/>
                </a:cubicBezTo>
                <a:cubicBezTo>
                  <a:pt x="216" y="518"/>
                  <a:pt x="217" y="521"/>
                  <a:pt x="215" y="522"/>
                </a:cubicBezTo>
                <a:close/>
                <a:moveTo>
                  <a:pt x="219" y="511"/>
                </a:moveTo>
                <a:cubicBezTo>
                  <a:pt x="219" y="511"/>
                  <a:pt x="219" y="512"/>
                  <a:pt x="218" y="512"/>
                </a:cubicBezTo>
                <a:cubicBezTo>
                  <a:pt x="217" y="513"/>
                  <a:pt x="218" y="509"/>
                  <a:pt x="219" y="511"/>
                </a:cubicBezTo>
                <a:close/>
                <a:moveTo>
                  <a:pt x="218" y="517"/>
                </a:moveTo>
                <a:cubicBezTo>
                  <a:pt x="217" y="517"/>
                  <a:pt x="218" y="514"/>
                  <a:pt x="219" y="515"/>
                </a:cubicBezTo>
                <a:cubicBezTo>
                  <a:pt x="220" y="516"/>
                  <a:pt x="218" y="517"/>
                  <a:pt x="218" y="517"/>
                </a:cubicBezTo>
                <a:close/>
                <a:moveTo>
                  <a:pt x="224" y="522"/>
                </a:moveTo>
                <a:cubicBezTo>
                  <a:pt x="225" y="521"/>
                  <a:pt x="224" y="523"/>
                  <a:pt x="224" y="522"/>
                </a:cubicBezTo>
                <a:close/>
                <a:moveTo>
                  <a:pt x="224" y="505"/>
                </a:moveTo>
                <a:cubicBezTo>
                  <a:pt x="224" y="505"/>
                  <a:pt x="225" y="503"/>
                  <a:pt x="224" y="505"/>
                </a:cubicBezTo>
                <a:close/>
                <a:moveTo>
                  <a:pt x="271" y="511"/>
                </a:moveTo>
                <a:cubicBezTo>
                  <a:pt x="271" y="511"/>
                  <a:pt x="272" y="510"/>
                  <a:pt x="273" y="510"/>
                </a:cubicBezTo>
                <a:cubicBezTo>
                  <a:pt x="273" y="511"/>
                  <a:pt x="272" y="511"/>
                  <a:pt x="271" y="511"/>
                </a:cubicBezTo>
                <a:close/>
                <a:moveTo>
                  <a:pt x="274" y="518"/>
                </a:moveTo>
                <a:cubicBezTo>
                  <a:pt x="274" y="518"/>
                  <a:pt x="274" y="518"/>
                  <a:pt x="274" y="518"/>
                </a:cubicBezTo>
                <a:cubicBezTo>
                  <a:pt x="274" y="518"/>
                  <a:pt x="273" y="519"/>
                  <a:pt x="274" y="518"/>
                </a:cubicBezTo>
                <a:close/>
                <a:moveTo>
                  <a:pt x="277" y="496"/>
                </a:moveTo>
                <a:cubicBezTo>
                  <a:pt x="276" y="496"/>
                  <a:pt x="276" y="496"/>
                  <a:pt x="276" y="496"/>
                </a:cubicBezTo>
                <a:cubicBezTo>
                  <a:pt x="276" y="496"/>
                  <a:pt x="277" y="496"/>
                  <a:pt x="277" y="496"/>
                </a:cubicBezTo>
                <a:cubicBezTo>
                  <a:pt x="277" y="496"/>
                  <a:pt x="277" y="496"/>
                  <a:pt x="277" y="496"/>
                </a:cubicBezTo>
                <a:close/>
                <a:moveTo>
                  <a:pt x="294" y="515"/>
                </a:moveTo>
                <a:cubicBezTo>
                  <a:pt x="294" y="517"/>
                  <a:pt x="292" y="515"/>
                  <a:pt x="294" y="515"/>
                </a:cubicBezTo>
                <a:close/>
                <a:moveTo>
                  <a:pt x="245" y="575"/>
                </a:moveTo>
                <a:cubicBezTo>
                  <a:pt x="245" y="574"/>
                  <a:pt x="246" y="574"/>
                  <a:pt x="246" y="574"/>
                </a:cubicBezTo>
                <a:cubicBezTo>
                  <a:pt x="246" y="574"/>
                  <a:pt x="245" y="575"/>
                  <a:pt x="245" y="575"/>
                </a:cubicBezTo>
                <a:close/>
                <a:moveTo>
                  <a:pt x="250" y="560"/>
                </a:moveTo>
                <a:cubicBezTo>
                  <a:pt x="251" y="558"/>
                  <a:pt x="252" y="558"/>
                  <a:pt x="254" y="557"/>
                </a:cubicBezTo>
                <a:cubicBezTo>
                  <a:pt x="253" y="559"/>
                  <a:pt x="252" y="559"/>
                  <a:pt x="250" y="560"/>
                </a:cubicBezTo>
                <a:close/>
                <a:moveTo>
                  <a:pt x="254" y="561"/>
                </a:moveTo>
                <a:cubicBezTo>
                  <a:pt x="253" y="562"/>
                  <a:pt x="255" y="560"/>
                  <a:pt x="254" y="561"/>
                </a:cubicBezTo>
                <a:close/>
                <a:moveTo>
                  <a:pt x="265" y="566"/>
                </a:moveTo>
                <a:cubicBezTo>
                  <a:pt x="264" y="563"/>
                  <a:pt x="268" y="563"/>
                  <a:pt x="265" y="566"/>
                </a:cubicBezTo>
                <a:close/>
                <a:moveTo>
                  <a:pt x="281" y="541"/>
                </a:moveTo>
                <a:cubicBezTo>
                  <a:pt x="282" y="542"/>
                  <a:pt x="281" y="545"/>
                  <a:pt x="280" y="547"/>
                </a:cubicBezTo>
                <a:cubicBezTo>
                  <a:pt x="280" y="545"/>
                  <a:pt x="281" y="543"/>
                  <a:pt x="281" y="541"/>
                </a:cubicBezTo>
                <a:close/>
                <a:moveTo>
                  <a:pt x="278" y="567"/>
                </a:moveTo>
                <a:cubicBezTo>
                  <a:pt x="276" y="563"/>
                  <a:pt x="282" y="562"/>
                  <a:pt x="283" y="561"/>
                </a:cubicBezTo>
                <a:cubicBezTo>
                  <a:pt x="285" y="564"/>
                  <a:pt x="280" y="570"/>
                  <a:pt x="278" y="567"/>
                </a:cubicBezTo>
                <a:close/>
                <a:moveTo>
                  <a:pt x="319" y="618"/>
                </a:moveTo>
                <a:cubicBezTo>
                  <a:pt x="319" y="618"/>
                  <a:pt x="319" y="617"/>
                  <a:pt x="319" y="617"/>
                </a:cubicBezTo>
                <a:cubicBezTo>
                  <a:pt x="319" y="613"/>
                  <a:pt x="323" y="617"/>
                  <a:pt x="319" y="618"/>
                </a:cubicBezTo>
                <a:close/>
                <a:moveTo>
                  <a:pt x="369" y="679"/>
                </a:moveTo>
                <a:cubicBezTo>
                  <a:pt x="368" y="678"/>
                  <a:pt x="370" y="678"/>
                  <a:pt x="370" y="678"/>
                </a:cubicBezTo>
                <a:cubicBezTo>
                  <a:pt x="370" y="679"/>
                  <a:pt x="369" y="679"/>
                  <a:pt x="369" y="679"/>
                </a:cubicBezTo>
                <a:close/>
                <a:moveTo>
                  <a:pt x="370" y="687"/>
                </a:moveTo>
                <a:cubicBezTo>
                  <a:pt x="370" y="687"/>
                  <a:pt x="370" y="687"/>
                  <a:pt x="370" y="687"/>
                </a:cubicBezTo>
                <a:cubicBezTo>
                  <a:pt x="370" y="685"/>
                  <a:pt x="372" y="689"/>
                  <a:pt x="370" y="687"/>
                </a:cubicBezTo>
                <a:close/>
                <a:moveTo>
                  <a:pt x="375" y="690"/>
                </a:moveTo>
                <a:cubicBezTo>
                  <a:pt x="374" y="689"/>
                  <a:pt x="377" y="690"/>
                  <a:pt x="377" y="691"/>
                </a:cubicBezTo>
                <a:cubicBezTo>
                  <a:pt x="377" y="691"/>
                  <a:pt x="375" y="691"/>
                  <a:pt x="375" y="690"/>
                </a:cubicBezTo>
                <a:close/>
                <a:moveTo>
                  <a:pt x="380" y="682"/>
                </a:moveTo>
                <a:cubicBezTo>
                  <a:pt x="380" y="681"/>
                  <a:pt x="381" y="681"/>
                  <a:pt x="381" y="682"/>
                </a:cubicBezTo>
                <a:cubicBezTo>
                  <a:pt x="381" y="682"/>
                  <a:pt x="381" y="682"/>
                  <a:pt x="380" y="682"/>
                </a:cubicBezTo>
                <a:close/>
                <a:moveTo>
                  <a:pt x="387" y="692"/>
                </a:moveTo>
                <a:cubicBezTo>
                  <a:pt x="387" y="692"/>
                  <a:pt x="386" y="692"/>
                  <a:pt x="386" y="692"/>
                </a:cubicBezTo>
                <a:cubicBezTo>
                  <a:pt x="386" y="689"/>
                  <a:pt x="389" y="694"/>
                  <a:pt x="387" y="692"/>
                </a:cubicBezTo>
                <a:close/>
                <a:moveTo>
                  <a:pt x="388" y="698"/>
                </a:moveTo>
                <a:cubicBezTo>
                  <a:pt x="388" y="697"/>
                  <a:pt x="389" y="696"/>
                  <a:pt x="390" y="697"/>
                </a:cubicBezTo>
                <a:cubicBezTo>
                  <a:pt x="390" y="697"/>
                  <a:pt x="388" y="698"/>
                  <a:pt x="388" y="698"/>
                </a:cubicBezTo>
                <a:close/>
                <a:moveTo>
                  <a:pt x="397" y="712"/>
                </a:moveTo>
                <a:cubicBezTo>
                  <a:pt x="395" y="712"/>
                  <a:pt x="394" y="711"/>
                  <a:pt x="395" y="710"/>
                </a:cubicBezTo>
                <a:cubicBezTo>
                  <a:pt x="395" y="708"/>
                  <a:pt x="399" y="709"/>
                  <a:pt x="400" y="711"/>
                </a:cubicBezTo>
                <a:cubicBezTo>
                  <a:pt x="400" y="711"/>
                  <a:pt x="400" y="711"/>
                  <a:pt x="399" y="712"/>
                </a:cubicBezTo>
                <a:cubicBezTo>
                  <a:pt x="399" y="712"/>
                  <a:pt x="399" y="712"/>
                  <a:pt x="399" y="712"/>
                </a:cubicBezTo>
                <a:cubicBezTo>
                  <a:pt x="399" y="713"/>
                  <a:pt x="397" y="713"/>
                  <a:pt x="397" y="712"/>
                </a:cubicBezTo>
                <a:close/>
                <a:moveTo>
                  <a:pt x="399" y="714"/>
                </a:moveTo>
                <a:cubicBezTo>
                  <a:pt x="399" y="713"/>
                  <a:pt x="401" y="713"/>
                  <a:pt x="402" y="713"/>
                </a:cubicBezTo>
                <a:cubicBezTo>
                  <a:pt x="401" y="714"/>
                  <a:pt x="400" y="714"/>
                  <a:pt x="399" y="714"/>
                </a:cubicBezTo>
                <a:close/>
                <a:moveTo>
                  <a:pt x="379" y="744"/>
                </a:moveTo>
                <a:cubicBezTo>
                  <a:pt x="379" y="744"/>
                  <a:pt x="379" y="744"/>
                  <a:pt x="379" y="744"/>
                </a:cubicBezTo>
                <a:cubicBezTo>
                  <a:pt x="379" y="743"/>
                  <a:pt x="379" y="743"/>
                  <a:pt x="379" y="744"/>
                </a:cubicBezTo>
                <a:close/>
                <a:moveTo>
                  <a:pt x="379" y="744"/>
                </a:moveTo>
                <a:cubicBezTo>
                  <a:pt x="380" y="744"/>
                  <a:pt x="380" y="744"/>
                  <a:pt x="379" y="744"/>
                </a:cubicBezTo>
                <a:close/>
                <a:moveTo>
                  <a:pt x="380" y="742"/>
                </a:moveTo>
                <a:cubicBezTo>
                  <a:pt x="380" y="741"/>
                  <a:pt x="381" y="741"/>
                  <a:pt x="381" y="741"/>
                </a:cubicBezTo>
                <a:cubicBezTo>
                  <a:pt x="381" y="741"/>
                  <a:pt x="380" y="742"/>
                  <a:pt x="380" y="742"/>
                </a:cubicBezTo>
                <a:close/>
                <a:moveTo>
                  <a:pt x="382" y="744"/>
                </a:moveTo>
                <a:cubicBezTo>
                  <a:pt x="382" y="743"/>
                  <a:pt x="383" y="743"/>
                  <a:pt x="384" y="743"/>
                </a:cubicBezTo>
                <a:cubicBezTo>
                  <a:pt x="383" y="743"/>
                  <a:pt x="384" y="745"/>
                  <a:pt x="384" y="745"/>
                </a:cubicBezTo>
                <a:cubicBezTo>
                  <a:pt x="383" y="746"/>
                  <a:pt x="381" y="746"/>
                  <a:pt x="382" y="744"/>
                </a:cubicBezTo>
                <a:close/>
                <a:moveTo>
                  <a:pt x="385" y="740"/>
                </a:moveTo>
                <a:cubicBezTo>
                  <a:pt x="384" y="740"/>
                  <a:pt x="381" y="738"/>
                  <a:pt x="382" y="736"/>
                </a:cubicBezTo>
                <a:cubicBezTo>
                  <a:pt x="383" y="734"/>
                  <a:pt x="388" y="733"/>
                  <a:pt x="390" y="734"/>
                </a:cubicBezTo>
                <a:cubicBezTo>
                  <a:pt x="391" y="734"/>
                  <a:pt x="391" y="735"/>
                  <a:pt x="392" y="735"/>
                </a:cubicBezTo>
                <a:cubicBezTo>
                  <a:pt x="392" y="735"/>
                  <a:pt x="394" y="734"/>
                  <a:pt x="393" y="735"/>
                </a:cubicBezTo>
                <a:cubicBezTo>
                  <a:pt x="393" y="736"/>
                  <a:pt x="391" y="737"/>
                  <a:pt x="391" y="738"/>
                </a:cubicBezTo>
                <a:cubicBezTo>
                  <a:pt x="391" y="738"/>
                  <a:pt x="393" y="737"/>
                  <a:pt x="392" y="738"/>
                </a:cubicBezTo>
                <a:cubicBezTo>
                  <a:pt x="392" y="738"/>
                  <a:pt x="388" y="741"/>
                  <a:pt x="385" y="740"/>
                </a:cubicBezTo>
                <a:close/>
                <a:moveTo>
                  <a:pt x="390" y="741"/>
                </a:moveTo>
                <a:cubicBezTo>
                  <a:pt x="389" y="740"/>
                  <a:pt x="391" y="740"/>
                  <a:pt x="391" y="741"/>
                </a:cubicBezTo>
                <a:cubicBezTo>
                  <a:pt x="391" y="741"/>
                  <a:pt x="390" y="741"/>
                  <a:pt x="390" y="741"/>
                </a:cubicBezTo>
                <a:close/>
                <a:moveTo>
                  <a:pt x="393" y="751"/>
                </a:moveTo>
                <a:cubicBezTo>
                  <a:pt x="389" y="752"/>
                  <a:pt x="393" y="747"/>
                  <a:pt x="395" y="749"/>
                </a:cubicBezTo>
                <a:cubicBezTo>
                  <a:pt x="396" y="750"/>
                  <a:pt x="394" y="751"/>
                  <a:pt x="393" y="751"/>
                </a:cubicBezTo>
                <a:close/>
                <a:moveTo>
                  <a:pt x="396" y="739"/>
                </a:moveTo>
                <a:cubicBezTo>
                  <a:pt x="396" y="739"/>
                  <a:pt x="396" y="739"/>
                  <a:pt x="396" y="739"/>
                </a:cubicBezTo>
                <a:cubicBezTo>
                  <a:pt x="396" y="739"/>
                  <a:pt x="395" y="738"/>
                  <a:pt x="396" y="739"/>
                </a:cubicBezTo>
                <a:close/>
                <a:moveTo>
                  <a:pt x="396" y="740"/>
                </a:moveTo>
                <a:cubicBezTo>
                  <a:pt x="395" y="739"/>
                  <a:pt x="397" y="741"/>
                  <a:pt x="396" y="740"/>
                </a:cubicBezTo>
                <a:close/>
                <a:moveTo>
                  <a:pt x="398" y="725"/>
                </a:moveTo>
                <a:cubicBezTo>
                  <a:pt x="398" y="724"/>
                  <a:pt x="400" y="724"/>
                  <a:pt x="400" y="724"/>
                </a:cubicBezTo>
                <a:cubicBezTo>
                  <a:pt x="401" y="725"/>
                  <a:pt x="399" y="726"/>
                  <a:pt x="398" y="725"/>
                </a:cubicBezTo>
                <a:close/>
                <a:moveTo>
                  <a:pt x="391" y="763"/>
                </a:moveTo>
                <a:cubicBezTo>
                  <a:pt x="391" y="762"/>
                  <a:pt x="393" y="762"/>
                  <a:pt x="393" y="763"/>
                </a:cubicBezTo>
                <a:cubicBezTo>
                  <a:pt x="393" y="763"/>
                  <a:pt x="391" y="763"/>
                  <a:pt x="391" y="763"/>
                </a:cubicBezTo>
                <a:close/>
                <a:moveTo>
                  <a:pt x="394" y="763"/>
                </a:moveTo>
                <a:cubicBezTo>
                  <a:pt x="394" y="762"/>
                  <a:pt x="395" y="763"/>
                  <a:pt x="395" y="764"/>
                </a:cubicBezTo>
                <a:cubicBezTo>
                  <a:pt x="395" y="764"/>
                  <a:pt x="394" y="764"/>
                  <a:pt x="394" y="763"/>
                </a:cubicBezTo>
                <a:close/>
                <a:moveTo>
                  <a:pt x="400" y="767"/>
                </a:moveTo>
                <a:cubicBezTo>
                  <a:pt x="400" y="766"/>
                  <a:pt x="400" y="766"/>
                  <a:pt x="400" y="766"/>
                </a:cubicBezTo>
                <a:cubicBezTo>
                  <a:pt x="401" y="767"/>
                  <a:pt x="399" y="767"/>
                  <a:pt x="400" y="767"/>
                </a:cubicBezTo>
                <a:close/>
                <a:moveTo>
                  <a:pt x="828" y="375"/>
                </a:moveTo>
                <a:cubicBezTo>
                  <a:pt x="827" y="373"/>
                  <a:pt x="830" y="374"/>
                  <a:pt x="828" y="375"/>
                </a:cubicBezTo>
                <a:close/>
                <a:moveTo>
                  <a:pt x="826" y="378"/>
                </a:moveTo>
                <a:cubicBezTo>
                  <a:pt x="826" y="378"/>
                  <a:pt x="826" y="378"/>
                  <a:pt x="827" y="378"/>
                </a:cubicBezTo>
                <a:cubicBezTo>
                  <a:pt x="827" y="379"/>
                  <a:pt x="825" y="380"/>
                  <a:pt x="826" y="378"/>
                </a:cubicBezTo>
                <a:close/>
                <a:moveTo>
                  <a:pt x="815" y="374"/>
                </a:moveTo>
                <a:cubicBezTo>
                  <a:pt x="816" y="372"/>
                  <a:pt x="818" y="376"/>
                  <a:pt x="816" y="376"/>
                </a:cubicBezTo>
                <a:cubicBezTo>
                  <a:pt x="815" y="376"/>
                  <a:pt x="815" y="375"/>
                  <a:pt x="815" y="374"/>
                </a:cubicBezTo>
                <a:close/>
                <a:moveTo>
                  <a:pt x="810" y="380"/>
                </a:moveTo>
                <a:cubicBezTo>
                  <a:pt x="809" y="377"/>
                  <a:pt x="812" y="378"/>
                  <a:pt x="810" y="380"/>
                </a:cubicBezTo>
                <a:close/>
                <a:moveTo>
                  <a:pt x="803" y="357"/>
                </a:moveTo>
                <a:cubicBezTo>
                  <a:pt x="803" y="357"/>
                  <a:pt x="804" y="356"/>
                  <a:pt x="804" y="356"/>
                </a:cubicBezTo>
                <a:cubicBezTo>
                  <a:pt x="805" y="357"/>
                  <a:pt x="803" y="358"/>
                  <a:pt x="803" y="357"/>
                </a:cubicBezTo>
                <a:close/>
                <a:moveTo>
                  <a:pt x="803" y="384"/>
                </a:moveTo>
                <a:cubicBezTo>
                  <a:pt x="802" y="384"/>
                  <a:pt x="802" y="382"/>
                  <a:pt x="802" y="382"/>
                </a:cubicBezTo>
                <a:cubicBezTo>
                  <a:pt x="803" y="381"/>
                  <a:pt x="804" y="383"/>
                  <a:pt x="803" y="384"/>
                </a:cubicBezTo>
                <a:close/>
                <a:moveTo>
                  <a:pt x="801" y="361"/>
                </a:moveTo>
                <a:cubicBezTo>
                  <a:pt x="802" y="359"/>
                  <a:pt x="803" y="363"/>
                  <a:pt x="802" y="363"/>
                </a:cubicBezTo>
                <a:cubicBezTo>
                  <a:pt x="801" y="364"/>
                  <a:pt x="801" y="361"/>
                  <a:pt x="801" y="361"/>
                </a:cubicBezTo>
                <a:close/>
                <a:moveTo>
                  <a:pt x="801" y="371"/>
                </a:moveTo>
                <a:cubicBezTo>
                  <a:pt x="801" y="371"/>
                  <a:pt x="801" y="370"/>
                  <a:pt x="801" y="370"/>
                </a:cubicBezTo>
                <a:cubicBezTo>
                  <a:pt x="801" y="369"/>
                  <a:pt x="802" y="370"/>
                  <a:pt x="801" y="371"/>
                </a:cubicBezTo>
                <a:close/>
                <a:moveTo>
                  <a:pt x="799" y="382"/>
                </a:moveTo>
                <a:cubicBezTo>
                  <a:pt x="799" y="384"/>
                  <a:pt x="804" y="385"/>
                  <a:pt x="802" y="389"/>
                </a:cubicBezTo>
                <a:cubicBezTo>
                  <a:pt x="802" y="389"/>
                  <a:pt x="801" y="389"/>
                  <a:pt x="801" y="389"/>
                </a:cubicBezTo>
                <a:cubicBezTo>
                  <a:pt x="801" y="390"/>
                  <a:pt x="802" y="391"/>
                  <a:pt x="801" y="392"/>
                </a:cubicBezTo>
                <a:cubicBezTo>
                  <a:pt x="798" y="392"/>
                  <a:pt x="799" y="383"/>
                  <a:pt x="799" y="382"/>
                </a:cubicBezTo>
                <a:close/>
                <a:moveTo>
                  <a:pt x="798" y="367"/>
                </a:moveTo>
                <a:cubicBezTo>
                  <a:pt x="799" y="366"/>
                  <a:pt x="799" y="370"/>
                  <a:pt x="798" y="370"/>
                </a:cubicBezTo>
                <a:cubicBezTo>
                  <a:pt x="797" y="370"/>
                  <a:pt x="798" y="368"/>
                  <a:pt x="798" y="367"/>
                </a:cubicBezTo>
                <a:close/>
                <a:moveTo>
                  <a:pt x="796" y="344"/>
                </a:moveTo>
                <a:cubicBezTo>
                  <a:pt x="797" y="343"/>
                  <a:pt x="797" y="346"/>
                  <a:pt x="796" y="345"/>
                </a:cubicBezTo>
                <a:cubicBezTo>
                  <a:pt x="795" y="345"/>
                  <a:pt x="796" y="344"/>
                  <a:pt x="796" y="344"/>
                </a:cubicBezTo>
                <a:close/>
                <a:moveTo>
                  <a:pt x="795" y="373"/>
                </a:moveTo>
                <a:cubicBezTo>
                  <a:pt x="793" y="373"/>
                  <a:pt x="794" y="370"/>
                  <a:pt x="794" y="370"/>
                </a:cubicBezTo>
                <a:cubicBezTo>
                  <a:pt x="795" y="369"/>
                  <a:pt x="796" y="374"/>
                  <a:pt x="795" y="373"/>
                </a:cubicBezTo>
                <a:close/>
                <a:moveTo>
                  <a:pt x="793" y="353"/>
                </a:moveTo>
                <a:cubicBezTo>
                  <a:pt x="795" y="350"/>
                  <a:pt x="796" y="357"/>
                  <a:pt x="793" y="356"/>
                </a:cubicBezTo>
                <a:cubicBezTo>
                  <a:pt x="792" y="355"/>
                  <a:pt x="793" y="353"/>
                  <a:pt x="793" y="353"/>
                </a:cubicBezTo>
                <a:close/>
                <a:moveTo>
                  <a:pt x="790" y="355"/>
                </a:moveTo>
                <a:cubicBezTo>
                  <a:pt x="789" y="351"/>
                  <a:pt x="792" y="353"/>
                  <a:pt x="790" y="355"/>
                </a:cubicBezTo>
                <a:close/>
                <a:moveTo>
                  <a:pt x="789" y="371"/>
                </a:moveTo>
                <a:cubicBezTo>
                  <a:pt x="790" y="371"/>
                  <a:pt x="789" y="373"/>
                  <a:pt x="789" y="371"/>
                </a:cubicBezTo>
                <a:cubicBezTo>
                  <a:pt x="789" y="371"/>
                  <a:pt x="789" y="371"/>
                  <a:pt x="789" y="371"/>
                </a:cubicBezTo>
                <a:close/>
                <a:moveTo>
                  <a:pt x="788" y="403"/>
                </a:moveTo>
                <a:cubicBezTo>
                  <a:pt x="787" y="400"/>
                  <a:pt x="789" y="401"/>
                  <a:pt x="788" y="403"/>
                </a:cubicBezTo>
                <a:close/>
                <a:moveTo>
                  <a:pt x="785" y="361"/>
                </a:moveTo>
                <a:cubicBezTo>
                  <a:pt x="786" y="359"/>
                  <a:pt x="787" y="363"/>
                  <a:pt x="786" y="364"/>
                </a:cubicBezTo>
                <a:cubicBezTo>
                  <a:pt x="784" y="364"/>
                  <a:pt x="784" y="361"/>
                  <a:pt x="785" y="361"/>
                </a:cubicBezTo>
                <a:close/>
                <a:moveTo>
                  <a:pt x="785" y="365"/>
                </a:moveTo>
                <a:cubicBezTo>
                  <a:pt x="787" y="365"/>
                  <a:pt x="787" y="367"/>
                  <a:pt x="785" y="367"/>
                </a:cubicBezTo>
                <a:cubicBezTo>
                  <a:pt x="785" y="367"/>
                  <a:pt x="783" y="366"/>
                  <a:pt x="785" y="365"/>
                </a:cubicBezTo>
                <a:close/>
                <a:moveTo>
                  <a:pt x="783" y="380"/>
                </a:moveTo>
                <a:cubicBezTo>
                  <a:pt x="784" y="380"/>
                  <a:pt x="783" y="382"/>
                  <a:pt x="783" y="383"/>
                </a:cubicBezTo>
                <a:cubicBezTo>
                  <a:pt x="782" y="382"/>
                  <a:pt x="783" y="381"/>
                  <a:pt x="783" y="380"/>
                </a:cubicBezTo>
                <a:close/>
                <a:moveTo>
                  <a:pt x="739" y="294"/>
                </a:moveTo>
                <a:cubicBezTo>
                  <a:pt x="737" y="293"/>
                  <a:pt x="740" y="291"/>
                  <a:pt x="739" y="294"/>
                </a:cubicBezTo>
                <a:close/>
                <a:moveTo>
                  <a:pt x="736" y="437"/>
                </a:moveTo>
                <a:cubicBezTo>
                  <a:pt x="736" y="437"/>
                  <a:pt x="736" y="436"/>
                  <a:pt x="736" y="435"/>
                </a:cubicBezTo>
                <a:cubicBezTo>
                  <a:pt x="737" y="434"/>
                  <a:pt x="737" y="437"/>
                  <a:pt x="736" y="437"/>
                </a:cubicBezTo>
                <a:close/>
                <a:moveTo>
                  <a:pt x="741" y="332"/>
                </a:moveTo>
                <a:cubicBezTo>
                  <a:pt x="741" y="331"/>
                  <a:pt x="741" y="331"/>
                  <a:pt x="741" y="330"/>
                </a:cubicBezTo>
                <a:cubicBezTo>
                  <a:pt x="742" y="330"/>
                  <a:pt x="741" y="332"/>
                  <a:pt x="741" y="332"/>
                </a:cubicBezTo>
                <a:close/>
                <a:moveTo>
                  <a:pt x="746" y="351"/>
                </a:moveTo>
                <a:cubicBezTo>
                  <a:pt x="745" y="351"/>
                  <a:pt x="746" y="350"/>
                  <a:pt x="746" y="350"/>
                </a:cubicBezTo>
                <a:cubicBezTo>
                  <a:pt x="747" y="349"/>
                  <a:pt x="747" y="352"/>
                  <a:pt x="746" y="351"/>
                </a:cubicBezTo>
                <a:close/>
                <a:moveTo>
                  <a:pt x="749" y="369"/>
                </a:moveTo>
                <a:cubicBezTo>
                  <a:pt x="749" y="369"/>
                  <a:pt x="749" y="368"/>
                  <a:pt x="749" y="368"/>
                </a:cubicBezTo>
                <a:cubicBezTo>
                  <a:pt x="750" y="366"/>
                  <a:pt x="750" y="369"/>
                  <a:pt x="749" y="369"/>
                </a:cubicBezTo>
                <a:close/>
                <a:moveTo>
                  <a:pt x="750" y="348"/>
                </a:moveTo>
                <a:cubicBezTo>
                  <a:pt x="750" y="348"/>
                  <a:pt x="750" y="347"/>
                  <a:pt x="750" y="347"/>
                </a:cubicBezTo>
                <a:cubicBezTo>
                  <a:pt x="750" y="346"/>
                  <a:pt x="751" y="349"/>
                  <a:pt x="750" y="348"/>
                </a:cubicBezTo>
                <a:close/>
                <a:moveTo>
                  <a:pt x="751" y="457"/>
                </a:moveTo>
                <a:cubicBezTo>
                  <a:pt x="750" y="457"/>
                  <a:pt x="750" y="454"/>
                  <a:pt x="751" y="454"/>
                </a:cubicBezTo>
                <a:cubicBezTo>
                  <a:pt x="754" y="451"/>
                  <a:pt x="754" y="457"/>
                  <a:pt x="751" y="457"/>
                </a:cubicBezTo>
                <a:close/>
                <a:moveTo>
                  <a:pt x="751" y="364"/>
                </a:moveTo>
                <a:cubicBezTo>
                  <a:pt x="752" y="363"/>
                  <a:pt x="751" y="366"/>
                  <a:pt x="751" y="366"/>
                </a:cubicBezTo>
                <a:cubicBezTo>
                  <a:pt x="750" y="366"/>
                  <a:pt x="750" y="364"/>
                  <a:pt x="751" y="364"/>
                </a:cubicBezTo>
                <a:close/>
                <a:moveTo>
                  <a:pt x="753" y="422"/>
                </a:moveTo>
                <a:cubicBezTo>
                  <a:pt x="753" y="420"/>
                  <a:pt x="755" y="421"/>
                  <a:pt x="753" y="422"/>
                </a:cubicBezTo>
                <a:close/>
                <a:moveTo>
                  <a:pt x="762" y="382"/>
                </a:moveTo>
                <a:cubicBezTo>
                  <a:pt x="762" y="382"/>
                  <a:pt x="762" y="381"/>
                  <a:pt x="762" y="381"/>
                </a:cubicBezTo>
                <a:cubicBezTo>
                  <a:pt x="763" y="380"/>
                  <a:pt x="763" y="383"/>
                  <a:pt x="762" y="382"/>
                </a:cubicBezTo>
                <a:close/>
                <a:moveTo>
                  <a:pt x="767" y="365"/>
                </a:moveTo>
                <a:cubicBezTo>
                  <a:pt x="766" y="365"/>
                  <a:pt x="767" y="364"/>
                  <a:pt x="767" y="363"/>
                </a:cubicBezTo>
                <a:cubicBezTo>
                  <a:pt x="768" y="363"/>
                  <a:pt x="768" y="365"/>
                  <a:pt x="767" y="365"/>
                </a:cubicBezTo>
                <a:close/>
                <a:moveTo>
                  <a:pt x="772" y="382"/>
                </a:moveTo>
                <a:cubicBezTo>
                  <a:pt x="770" y="383"/>
                  <a:pt x="769" y="377"/>
                  <a:pt x="771" y="376"/>
                </a:cubicBezTo>
                <a:cubicBezTo>
                  <a:pt x="775" y="374"/>
                  <a:pt x="775" y="382"/>
                  <a:pt x="772" y="382"/>
                </a:cubicBezTo>
                <a:close/>
                <a:moveTo>
                  <a:pt x="771" y="351"/>
                </a:moveTo>
                <a:cubicBezTo>
                  <a:pt x="772" y="348"/>
                  <a:pt x="775" y="355"/>
                  <a:pt x="772" y="354"/>
                </a:cubicBezTo>
                <a:cubicBezTo>
                  <a:pt x="771" y="353"/>
                  <a:pt x="770" y="352"/>
                  <a:pt x="771" y="351"/>
                </a:cubicBezTo>
                <a:close/>
                <a:moveTo>
                  <a:pt x="776" y="420"/>
                </a:moveTo>
                <a:cubicBezTo>
                  <a:pt x="777" y="422"/>
                  <a:pt x="775" y="421"/>
                  <a:pt x="776" y="420"/>
                </a:cubicBezTo>
                <a:close/>
                <a:moveTo>
                  <a:pt x="779" y="402"/>
                </a:moveTo>
                <a:cubicBezTo>
                  <a:pt x="779" y="401"/>
                  <a:pt x="778" y="403"/>
                  <a:pt x="779" y="402"/>
                </a:cubicBezTo>
                <a:close/>
                <a:moveTo>
                  <a:pt x="782" y="347"/>
                </a:moveTo>
                <a:cubicBezTo>
                  <a:pt x="781" y="347"/>
                  <a:pt x="781" y="346"/>
                  <a:pt x="781" y="346"/>
                </a:cubicBezTo>
                <a:cubicBezTo>
                  <a:pt x="781" y="344"/>
                  <a:pt x="783" y="348"/>
                  <a:pt x="782" y="347"/>
                </a:cubicBezTo>
                <a:close/>
                <a:moveTo>
                  <a:pt x="779" y="364"/>
                </a:moveTo>
                <a:cubicBezTo>
                  <a:pt x="780" y="364"/>
                  <a:pt x="782" y="368"/>
                  <a:pt x="782" y="368"/>
                </a:cubicBezTo>
                <a:cubicBezTo>
                  <a:pt x="782" y="370"/>
                  <a:pt x="779" y="368"/>
                  <a:pt x="778" y="370"/>
                </a:cubicBezTo>
                <a:cubicBezTo>
                  <a:pt x="778" y="370"/>
                  <a:pt x="780" y="371"/>
                  <a:pt x="780" y="372"/>
                </a:cubicBezTo>
                <a:cubicBezTo>
                  <a:pt x="777" y="376"/>
                  <a:pt x="772" y="368"/>
                  <a:pt x="775" y="365"/>
                </a:cubicBezTo>
                <a:cubicBezTo>
                  <a:pt x="776" y="364"/>
                  <a:pt x="778" y="364"/>
                  <a:pt x="779" y="364"/>
                </a:cubicBezTo>
                <a:close/>
                <a:moveTo>
                  <a:pt x="776" y="327"/>
                </a:moveTo>
                <a:cubicBezTo>
                  <a:pt x="776" y="329"/>
                  <a:pt x="776" y="326"/>
                  <a:pt x="776" y="327"/>
                </a:cubicBezTo>
                <a:close/>
                <a:moveTo>
                  <a:pt x="776" y="333"/>
                </a:moveTo>
                <a:cubicBezTo>
                  <a:pt x="778" y="332"/>
                  <a:pt x="780" y="337"/>
                  <a:pt x="777" y="338"/>
                </a:cubicBezTo>
                <a:cubicBezTo>
                  <a:pt x="775" y="338"/>
                  <a:pt x="774" y="334"/>
                  <a:pt x="776" y="333"/>
                </a:cubicBezTo>
                <a:close/>
                <a:moveTo>
                  <a:pt x="775" y="351"/>
                </a:moveTo>
                <a:cubicBezTo>
                  <a:pt x="776" y="350"/>
                  <a:pt x="777" y="352"/>
                  <a:pt x="776" y="352"/>
                </a:cubicBezTo>
                <a:cubicBezTo>
                  <a:pt x="775" y="352"/>
                  <a:pt x="775" y="351"/>
                  <a:pt x="775" y="351"/>
                </a:cubicBezTo>
                <a:close/>
                <a:moveTo>
                  <a:pt x="774" y="342"/>
                </a:moveTo>
                <a:cubicBezTo>
                  <a:pt x="775" y="340"/>
                  <a:pt x="776" y="343"/>
                  <a:pt x="774" y="343"/>
                </a:cubicBezTo>
                <a:cubicBezTo>
                  <a:pt x="774" y="343"/>
                  <a:pt x="774" y="342"/>
                  <a:pt x="774" y="342"/>
                </a:cubicBezTo>
                <a:close/>
                <a:moveTo>
                  <a:pt x="773" y="347"/>
                </a:moveTo>
                <a:cubicBezTo>
                  <a:pt x="772" y="348"/>
                  <a:pt x="770" y="343"/>
                  <a:pt x="772" y="343"/>
                </a:cubicBezTo>
                <a:cubicBezTo>
                  <a:pt x="774" y="341"/>
                  <a:pt x="774" y="347"/>
                  <a:pt x="773" y="347"/>
                </a:cubicBezTo>
                <a:close/>
                <a:moveTo>
                  <a:pt x="770" y="320"/>
                </a:moveTo>
                <a:cubicBezTo>
                  <a:pt x="771" y="318"/>
                  <a:pt x="773" y="323"/>
                  <a:pt x="770" y="322"/>
                </a:cubicBezTo>
                <a:cubicBezTo>
                  <a:pt x="769" y="322"/>
                  <a:pt x="769" y="320"/>
                  <a:pt x="770" y="320"/>
                </a:cubicBezTo>
                <a:close/>
                <a:moveTo>
                  <a:pt x="769" y="332"/>
                </a:moveTo>
                <a:cubicBezTo>
                  <a:pt x="769" y="331"/>
                  <a:pt x="770" y="334"/>
                  <a:pt x="769" y="334"/>
                </a:cubicBezTo>
                <a:cubicBezTo>
                  <a:pt x="768" y="334"/>
                  <a:pt x="768" y="333"/>
                  <a:pt x="769" y="332"/>
                </a:cubicBezTo>
                <a:close/>
                <a:moveTo>
                  <a:pt x="766" y="326"/>
                </a:moveTo>
                <a:cubicBezTo>
                  <a:pt x="768" y="322"/>
                  <a:pt x="770" y="331"/>
                  <a:pt x="766" y="329"/>
                </a:cubicBezTo>
                <a:cubicBezTo>
                  <a:pt x="765" y="328"/>
                  <a:pt x="766" y="327"/>
                  <a:pt x="766" y="326"/>
                </a:cubicBezTo>
                <a:close/>
                <a:moveTo>
                  <a:pt x="767" y="336"/>
                </a:moveTo>
                <a:cubicBezTo>
                  <a:pt x="767" y="335"/>
                  <a:pt x="767" y="335"/>
                  <a:pt x="767" y="334"/>
                </a:cubicBezTo>
                <a:cubicBezTo>
                  <a:pt x="768" y="334"/>
                  <a:pt x="768" y="336"/>
                  <a:pt x="767" y="336"/>
                </a:cubicBezTo>
                <a:close/>
                <a:moveTo>
                  <a:pt x="767" y="332"/>
                </a:moveTo>
                <a:cubicBezTo>
                  <a:pt x="766" y="332"/>
                  <a:pt x="766" y="331"/>
                  <a:pt x="766" y="330"/>
                </a:cubicBezTo>
                <a:cubicBezTo>
                  <a:pt x="767" y="329"/>
                  <a:pt x="767" y="332"/>
                  <a:pt x="767" y="332"/>
                </a:cubicBezTo>
                <a:close/>
                <a:moveTo>
                  <a:pt x="767" y="349"/>
                </a:moveTo>
                <a:cubicBezTo>
                  <a:pt x="767" y="348"/>
                  <a:pt x="769" y="349"/>
                  <a:pt x="769" y="349"/>
                </a:cubicBezTo>
                <a:cubicBezTo>
                  <a:pt x="770" y="351"/>
                  <a:pt x="768" y="355"/>
                  <a:pt x="766" y="355"/>
                </a:cubicBezTo>
                <a:cubicBezTo>
                  <a:pt x="765" y="355"/>
                  <a:pt x="764" y="353"/>
                  <a:pt x="763" y="353"/>
                </a:cubicBezTo>
                <a:cubicBezTo>
                  <a:pt x="761" y="352"/>
                  <a:pt x="761" y="348"/>
                  <a:pt x="763" y="347"/>
                </a:cubicBezTo>
                <a:cubicBezTo>
                  <a:pt x="766" y="345"/>
                  <a:pt x="766" y="347"/>
                  <a:pt x="767" y="349"/>
                </a:cubicBezTo>
                <a:close/>
                <a:moveTo>
                  <a:pt x="762" y="341"/>
                </a:moveTo>
                <a:cubicBezTo>
                  <a:pt x="762" y="341"/>
                  <a:pt x="762" y="341"/>
                  <a:pt x="762" y="341"/>
                </a:cubicBezTo>
                <a:cubicBezTo>
                  <a:pt x="762" y="341"/>
                  <a:pt x="762" y="341"/>
                  <a:pt x="762" y="341"/>
                </a:cubicBezTo>
                <a:cubicBezTo>
                  <a:pt x="762" y="341"/>
                  <a:pt x="762" y="341"/>
                  <a:pt x="762" y="341"/>
                </a:cubicBezTo>
                <a:close/>
                <a:moveTo>
                  <a:pt x="762" y="320"/>
                </a:moveTo>
                <a:cubicBezTo>
                  <a:pt x="764" y="321"/>
                  <a:pt x="761" y="322"/>
                  <a:pt x="762" y="320"/>
                </a:cubicBezTo>
                <a:close/>
                <a:moveTo>
                  <a:pt x="762" y="322"/>
                </a:moveTo>
                <a:cubicBezTo>
                  <a:pt x="763" y="322"/>
                  <a:pt x="762" y="323"/>
                  <a:pt x="762" y="323"/>
                </a:cubicBezTo>
                <a:cubicBezTo>
                  <a:pt x="761" y="323"/>
                  <a:pt x="762" y="322"/>
                  <a:pt x="762" y="322"/>
                </a:cubicBezTo>
                <a:close/>
                <a:moveTo>
                  <a:pt x="762" y="331"/>
                </a:moveTo>
                <a:cubicBezTo>
                  <a:pt x="762" y="330"/>
                  <a:pt x="763" y="333"/>
                  <a:pt x="762" y="332"/>
                </a:cubicBezTo>
                <a:cubicBezTo>
                  <a:pt x="761" y="332"/>
                  <a:pt x="762" y="331"/>
                  <a:pt x="762" y="331"/>
                </a:cubicBezTo>
                <a:close/>
                <a:moveTo>
                  <a:pt x="760" y="362"/>
                </a:moveTo>
                <a:cubicBezTo>
                  <a:pt x="762" y="360"/>
                  <a:pt x="762" y="364"/>
                  <a:pt x="761" y="364"/>
                </a:cubicBezTo>
                <a:cubicBezTo>
                  <a:pt x="760" y="365"/>
                  <a:pt x="759" y="362"/>
                  <a:pt x="760" y="362"/>
                </a:cubicBezTo>
                <a:close/>
                <a:moveTo>
                  <a:pt x="758" y="333"/>
                </a:moveTo>
                <a:cubicBezTo>
                  <a:pt x="757" y="333"/>
                  <a:pt x="757" y="332"/>
                  <a:pt x="757" y="331"/>
                </a:cubicBezTo>
                <a:cubicBezTo>
                  <a:pt x="759" y="330"/>
                  <a:pt x="760" y="334"/>
                  <a:pt x="758" y="333"/>
                </a:cubicBezTo>
                <a:close/>
                <a:moveTo>
                  <a:pt x="757" y="305"/>
                </a:moveTo>
                <a:cubicBezTo>
                  <a:pt x="757" y="307"/>
                  <a:pt x="757" y="308"/>
                  <a:pt x="757" y="309"/>
                </a:cubicBezTo>
                <a:cubicBezTo>
                  <a:pt x="756" y="308"/>
                  <a:pt x="756" y="306"/>
                  <a:pt x="757" y="305"/>
                </a:cubicBezTo>
                <a:close/>
                <a:moveTo>
                  <a:pt x="756" y="312"/>
                </a:moveTo>
                <a:cubicBezTo>
                  <a:pt x="759" y="315"/>
                  <a:pt x="754" y="316"/>
                  <a:pt x="756" y="312"/>
                </a:cubicBezTo>
                <a:close/>
                <a:moveTo>
                  <a:pt x="755" y="427"/>
                </a:moveTo>
                <a:cubicBezTo>
                  <a:pt x="753" y="425"/>
                  <a:pt x="756" y="426"/>
                  <a:pt x="755" y="427"/>
                </a:cubicBezTo>
                <a:close/>
                <a:moveTo>
                  <a:pt x="754" y="387"/>
                </a:moveTo>
                <a:cubicBezTo>
                  <a:pt x="752" y="388"/>
                  <a:pt x="750" y="384"/>
                  <a:pt x="752" y="382"/>
                </a:cubicBezTo>
                <a:cubicBezTo>
                  <a:pt x="754" y="380"/>
                  <a:pt x="755" y="386"/>
                  <a:pt x="754" y="387"/>
                </a:cubicBezTo>
                <a:close/>
                <a:moveTo>
                  <a:pt x="754" y="326"/>
                </a:moveTo>
                <a:cubicBezTo>
                  <a:pt x="754" y="324"/>
                  <a:pt x="754" y="328"/>
                  <a:pt x="754" y="326"/>
                </a:cubicBezTo>
                <a:close/>
                <a:moveTo>
                  <a:pt x="754" y="307"/>
                </a:moveTo>
                <a:cubicBezTo>
                  <a:pt x="755" y="308"/>
                  <a:pt x="753" y="309"/>
                  <a:pt x="754" y="307"/>
                </a:cubicBezTo>
                <a:close/>
                <a:moveTo>
                  <a:pt x="752" y="301"/>
                </a:moveTo>
                <a:cubicBezTo>
                  <a:pt x="751" y="299"/>
                  <a:pt x="754" y="299"/>
                  <a:pt x="752" y="301"/>
                </a:cubicBezTo>
                <a:close/>
                <a:moveTo>
                  <a:pt x="752" y="350"/>
                </a:moveTo>
                <a:cubicBezTo>
                  <a:pt x="753" y="351"/>
                  <a:pt x="753" y="355"/>
                  <a:pt x="752" y="356"/>
                </a:cubicBezTo>
                <a:cubicBezTo>
                  <a:pt x="752" y="354"/>
                  <a:pt x="752" y="352"/>
                  <a:pt x="752" y="350"/>
                </a:cubicBezTo>
                <a:close/>
                <a:moveTo>
                  <a:pt x="751" y="362"/>
                </a:moveTo>
                <a:cubicBezTo>
                  <a:pt x="751" y="361"/>
                  <a:pt x="751" y="361"/>
                  <a:pt x="751" y="360"/>
                </a:cubicBezTo>
                <a:cubicBezTo>
                  <a:pt x="752" y="360"/>
                  <a:pt x="752" y="362"/>
                  <a:pt x="751" y="362"/>
                </a:cubicBezTo>
                <a:close/>
                <a:moveTo>
                  <a:pt x="751" y="307"/>
                </a:moveTo>
                <a:cubicBezTo>
                  <a:pt x="752" y="306"/>
                  <a:pt x="750" y="309"/>
                  <a:pt x="751" y="307"/>
                </a:cubicBezTo>
                <a:close/>
                <a:moveTo>
                  <a:pt x="751" y="340"/>
                </a:moveTo>
                <a:cubicBezTo>
                  <a:pt x="750" y="341"/>
                  <a:pt x="750" y="339"/>
                  <a:pt x="750" y="339"/>
                </a:cubicBezTo>
                <a:cubicBezTo>
                  <a:pt x="751" y="338"/>
                  <a:pt x="751" y="340"/>
                  <a:pt x="751" y="340"/>
                </a:cubicBezTo>
                <a:close/>
                <a:moveTo>
                  <a:pt x="748" y="303"/>
                </a:moveTo>
                <a:cubicBezTo>
                  <a:pt x="750" y="301"/>
                  <a:pt x="752" y="307"/>
                  <a:pt x="750" y="307"/>
                </a:cubicBezTo>
                <a:cubicBezTo>
                  <a:pt x="748" y="307"/>
                  <a:pt x="748" y="304"/>
                  <a:pt x="748" y="303"/>
                </a:cubicBezTo>
                <a:close/>
                <a:moveTo>
                  <a:pt x="747" y="306"/>
                </a:moveTo>
                <a:cubicBezTo>
                  <a:pt x="746" y="307"/>
                  <a:pt x="745" y="306"/>
                  <a:pt x="747" y="306"/>
                </a:cubicBezTo>
                <a:close/>
                <a:moveTo>
                  <a:pt x="745" y="301"/>
                </a:moveTo>
                <a:cubicBezTo>
                  <a:pt x="746" y="300"/>
                  <a:pt x="746" y="303"/>
                  <a:pt x="745" y="303"/>
                </a:cubicBezTo>
                <a:cubicBezTo>
                  <a:pt x="744" y="302"/>
                  <a:pt x="745" y="301"/>
                  <a:pt x="745" y="301"/>
                </a:cubicBezTo>
                <a:close/>
                <a:moveTo>
                  <a:pt x="745" y="332"/>
                </a:moveTo>
                <a:cubicBezTo>
                  <a:pt x="746" y="331"/>
                  <a:pt x="747" y="331"/>
                  <a:pt x="747" y="333"/>
                </a:cubicBezTo>
                <a:cubicBezTo>
                  <a:pt x="747" y="335"/>
                  <a:pt x="744" y="345"/>
                  <a:pt x="744" y="345"/>
                </a:cubicBezTo>
                <a:cubicBezTo>
                  <a:pt x="742" y="345"/>
                  <a:pt x="744" y="341"/>
                  <a:pt x="744" y="340"/>
                </a:cubicBezTo>
                <a:cubicBezTo>
                  <a:pt x="745" y="338"/>
                  <a:pt x="743" y="333"/>
                  <a:pt x="745" y="332"/>
                </a:cubicBezTo>
                <a:close/>
                <a:moveTo>
                  <a:pt x="743" y="354"/>
                </a:moveTo>
                <a:cubicBezTo>
                  <a:pt x="744" y="353"/>
                  <a:pt x="742" y="355"/>
                  <a:pt x="743" y="354"/>
                </a:cubicBezTo>
                <a:close/>
                <a:moveTo>
                  <a:pt x="740" y="293"/>
                </a:moveTo>
                <a:cubicBezTo>
                  <a:pt x="739" y="293"/>
                  <a:pt x="740" y="292"/>
                  <a:pt x="740" y="292"/>
                </a:cubicBezTo>
                <a:cubicBezTo>
                  <a:pt x="741" y="291"/>
                  <a:pt x="741" y="294"/>
                  <a:pt x="740" y="293"/>
                </a:cubicBezTo>
                <a:close/>
                <a:moveTo>
                  <a:pt x="741" y="324"/>
                </a:moveTo>
                <a:cubicBezTo>
                  <a:pt x="742" y="322"/>
                  <a:pt x="742" y="325"/>
                  <a:pt x="741" y="325"/>
                </a:cubicBezTo>
                <a:cubicBezTo>
                  <a:pt x="740" y="325"/>
                  <a:pt x="741" y="324"/>
                  <a:pt x="741" y="324"/>
                </a:cubicBezTo>
                <a:close/>
                <a:moveTo>
                  <a:pt x="740" y="339"/>
                </a:moveTo>
                <a:cubicBezTo>
                  <a:pt x="741" y="338"/>
                  <a:pt x="741" y="340"/>
                  <a:pt x="741" y="340"/>
                </a:cubicBezTo>
                <a:cubicBezTo>
                  <a:pt x="740" y="341"/>
                  <a:pt x="740" y="340"/>
                  <a:pt x="740" y="339"/>
                </a:cubicBezTo>
                <a:close/>
                <a:moveTo>
                  <a:pt x="740" y="360"/>
                </a:moveTo>
                <a:cubicBezTo>
                  <a:pt x="741" y="361"/>
                  <a:pt x="739" y="362"/>
                  <a:pt x="740" y="360"/>
                </a:cubicBezTo>
                <a:close/>
                <a:moveTo>
                  <a:pt x="739" y="374"/>
                </a:moveTo>
                <a:cubicBezTo>
                  <a:pt x="739" y="374"/>
                  <a:pt x="739" y="376"/>
                  <a:pt x="739" y="376"/>
                </a:cubicBezTo>
                <a:cubicBezTo>
                  <a:pt x="739" y="375"/>
                  <a:pt x="739" y="375"/>
                  <a:pt x="739" y="374"/>
                </a:cubicBezTo>
                <a:close/>
                <a:moveTo>
                  <a:pt x="737" y="379"/>
                </a:moveTo>
                <a:cubicBezTo>
                  <a:pt x="739" y="380"/>
                  <a:pt x="737" y="382"/>
                  <a:pt x="737" y="384"/>
                </a:cubicBezTo>
                <a:cubicBezTo>
                  <a:pt x="737" y="382"/>
                  <a:pt x="736" y="383"/>
                  <a:pt x="735" y="382"/>
                </a:cubicBezTo>
                <a:cubicBezTo>
                  <a:pt x="733" y="381"/>
                  <a:pt x="736" y="377"/>
                  <a:pt x="737" y="379"/>
                </a:cubicBezTo>
                <a:close/>
                <a:moveTo>
                  <a:pt x="735" y="354"/>
                </a:moveTo>
                <a:cubicBezTo>
                  <a:pt x="733" y="353"/>
                  <a:pt x="735" y="352"/>
                  <a:pt x="735" y="354"/>
                </a:cubicBezTo>
                <a:close/>
                <a:moveTo>
                  <a:pt x="734" y="314"/>
                </a:moveTo>
                <a:cubicBezTo>
                  <a:pt x="734" y="313"/>
                  <a:pt x="735" y="314"/>
                  <a:pt x="735" y="314"/>
                </a:cubicBezTo>
                <a:cubicBezTo>
                  <a:pt x="735" y="315"/>
                  <a:pt x="734" y="315"/>
                  <a:pt x="734" y="314"/>
                </a:cubicBezTo>
                <a:close/>
                <a:moveTo>
                  <a:pt x="733" y="313"/>
                </a:moveTo>
                <a:cubicBezTo>
                  <a:pt x="734" y="313"/>
                  <a:pt x="733" y="314"/>
                  <a:pt x="733" y="314"/>
                </a:cubicBezTo>
                <a:cubicBezTo>
                  <a:pt x="732" y="314"/>
                  <a:pt x="733" y="313"/>
                  <a:pt x="733" y="313"/>
                </a:cubicBezTo>
                <a:close/>
                <a:moveTo>
                  <a:pt x="734" y="322"/>
                </a:moveTo>
                <a:cubicBezTo>
                  <a:pt x="734" y="323"/>
                  <a:pt x="733" y="322"/>
                  <a:pt x="733" y="321"/>
                </a:cubicBezTo>
                <a:cubicBezTo>
                  <a:pt x="733" y="320"/>
                  <a:pt x="734" y="321"/>
                  <a:pt x="734" y="322"/>
                </a:cubicBezTo>
                <a:close/>
                <a:moveTo>
                  <a:pt x="731" y="420"/>
                </a:moveTo>
                <a:cubicBezTo>
                  <a:pt x="732" y="418"/>
                  <a:pt x="730" y="422"/>
                  <a:pt x="731" y="420"/>
                </a:cubicBezTo>
                <a:close/>
                <a:moveTo>
                  <a:pt x="731" y="303"/>
                </a:moveTo>
                <a:cubicBezTo>
                  <a:pt x="729" y="302"/>
                  <a:pt x="731" y="301"/>
                  <a:pt x="731" y="303"/>
                </a:cubicBezTo>
                <a:close/>
                <a:moveTo>
                  <a:pt x="731" y="305"/>
                </a:moveTo>
                <a:cubicBezTo>
                  <a:pt x="731" y="305"/>
                  <a:pt x="729" y="305"/>
                  <a:pt x="729" y="305"/>
                </a:cubicBezTo>
                <a:cubicBezTo>
                  <a:pt x="729" y="304"/>
                  <a:pt x="732" y="304"/>
                  <a:pt x="731" y="305"/>
                </a:cubicBezTo>
                <a:close/>
                <a:moveTo>
                  <a:pt x="729" y="318"/>
                </a:moveTo>
                <a:cubicBezTo>
                  <a:pt x="729" y="317"/>
                  <a:pt x="730" y="319"/>
                  <a:pt x="730" y="320"/>
                </a:cubicBezTo>
                <a:cubicBezTo>
                  <a:pt x="729" y="320"/>
                  <a:pt x="729" y="319"/>
                  <a:pt x="729" y="318"/>
                </a:cubicBezTo>
                <a:close/>
                <a:moveTo>
                  <a:pt x="724" y="299"/>
                </a:moveTo>
                <a:cubicBezTo>
                  <a:pt x="724" y="299"/>
                  <a:pt x="724" y="299"/>
                  <a:pt x="724" y="299"/>
                </a:cubicBezTo>
                <a:cubicBezTo>
                  <a:pt x="724" y="299"/>
                  <a:pt x="724" y="299"/>
                  <a:pt x="724" y="299"/>
                </a:cubicBezTo>
                <a:cubicBezTo>
                  <a:pt x="724" y="299"/>
                  <a:pt x="724" y="299"/>
                  <a:pt x="724" y="299"/>
                </a:cubicBezTo>
                <a:close/>
                <a:moveTo>
                  <a:pt x="728" y="307"/>
                </a:moveTo>
                <a:cubicBezTo>
                  <a:pt x="728" y="306"/>
                  <a:pt x="728" y="309"/>
                  <a:pt x="728" y="307"/>
                </a:cubicBezTo>
                <a:close/>
                <a:moveTo>
                  <a:pt x="727" y="323"/>
                </a:moveTo>
                <a:cubicBezTo>
                  <a:pt x="727" y="322"/>
                  <a:pt x="726" y="324"/>
                  <a:pt x="727" y="323"/>
                </a:cubicBezTo>
                <a:close/>
                <a:moveTo>
                  <a:pt x="725" y="462"/>
                </a:moveTo>
                <a:cubicBezTo>
                  <a:pt x="725" y="463"/>
                  <a:pt x="723" y="463"/>
                  <a:pt x="724" y="462"/>
                </a:cubicBezTo>
                <a:cubicBezTo>
                  <a:pt x="724" y="461"/>
                  <a:pt x="725" y="462"/>
                  <a:pt x="725" y="462"/>
                </a:cubicBezTo>
                <a:close/>
                <a:moveTo>
                  <a:pt x="725" y="403"/>
                </a:moveTo>
                <a:cubicBezTo>
                  <a:pt x="724" y="405"/>
                  <a:pt x="725" y="402"/>
                  <a:pt x="725" y="403"/>
                </a:cubicBezTo>
                <a:close/>
                <a:moveTo>
                  <a:pt x="724" y="379"/>
                </a:moveTo>
                <a:cubicBezTo>
                  <a:pt x="724" y="380"/>
                  <a:pt x="723" y="379"/>
                  <a:pt x="723" y="379"/>
                </a:cubicBezTo>
                <a:cubicBezTo>
                  <a:pt x="723" y="379"/>
                  <a:pt x="725" y="379"/>
                  <a:pt x="724" y="379"/>
                </a:cubicBezTo>
                <a:close/>
                <a:moveTo>
                  <a:pt x="721" y="336"/>
                </a:moveTo>
                <a:cubicBezTo>
                  <a:pt x="722" y="335"/>
                  <a:pt x="722" y="339"/>
                  <a:pt x="721" y="338"/>
                </a:cubicBezTo>
                <a:cubicBezTo>
                  <a:pt x="720" y="338"/>
                  <a:pt x="721" y="336"/>
                  <a:pt x="721" y="336"/>
                </a:cubicBezTo>
                <a:close/>
                <a:moveTo>
                  <a:pt x="719" y="366"/>
                </a:moveTo>
                <a:cubicBezTo>
                  <a:pt x="721" y="365"/>
                  <a:pt x="718" y="368"/>
                  <a:pt x="719" y="366"/>
                </a:cubicBezTo>
                <a:cubicBezTo>
                  <a:pt x="719" y="366"/>
                  <a:pt x="719" y="366"/>
                  <a:pt x="719" y="366"/>
                </a:cubicBezTo>
                <a:close/>
                <a:moveTo>
                  <a:pt x="708" y="263"/>
                </a:moveTo>
                <a:cubicBezTo>
                  <a:pt x="708" y="261"/>
                  <a:pt x="709" y="265"/>
                  <a:pt x="708" y="264"/>
                </a:cubicBezTo>
                <a:cubicBezTo>
                  <a:pt x="707" y="263"/>
                  <a:pt x="707" y="263"/>
                  <a:pt x="708" y="263"/>
                </a:cubicBezTo>
                <a:close/>
                <a:moveTo>
                  <a:pt x="707" y="258"/>
                </a:moveTo>
                <a:cubicBezTo>
                  <a:pt x="708" y="257"/>
                  <a:pt x="707" y="260"/>
                  <a:pt x="706" y="260"/>
                </a:cubicBezTo>
                <a:cubicBezTo>
                  <a:pt x="705" y="259"/>
                  <a:pt x="707" y="258"/>
                  <a:pt x="707" y="258"/>
                </a:cubicBezTo>
                <a:close/>
                <a:moveTo>
                  <a:pt x="681" y="522"/>
                </a:moveTo>
                <a:cubicBezTo>
                  <a:pt x="680" y="522"/>
                  <a:pt x="680" y="521"/>
                  <a:pt x="681" y="521"/>
                </a:cubicBezTo>
                <a:cubicBezTo>
                  <a:pt x="682" y="519"/>
                  <a:pt x="682" y="523"/>
                  <a:pt x="681" y="522"/>
                </a:cubicBezTo>
                <a:close/>
                <a:moveTo>
                  <a:pt x="682" y="440"/>
                </a:moveTo>
                <a:cubicBezTo>
                  <a:pt x="681" y="440"/>
                  <a:pt x="681" y="439"/>
                  <a:pt x="682" y="438"/>
                </a:cubicBezTo>
                <a:cubicBezTo>
                  <a:pt x="683" y="436"/>
                  <a:pt x="684" y="441"/>
                  <a:pt x="682" y="440"/>
                </a:cubicBezTo>
                <a:close/>
                <a:moveTo>
                  <a:pt x="682" y="375"/>
                </a:moveTo>
                <a:cubicBezTo>
                  <a:pt x="682" y="374"/>
                  <a:pt x="683" y="374"/>
                  <a:pt x="683" y="372"/>
                </a:cubicBezTo>
                <a:cubicBezTo>
                  <a:pt x="684" y="373"/>
                  <a:pt x="683" y="375"/>
                  <a:pt x="682" y="375"/>
                </a:cubicBezTo>
                <a:close/>
                <a:moveTo>
                  <a:pt x="684" y="296"/>
                </a:moveTo>
                <a:cubicBezTo>
                  <a:pt x="685" y="295"/>
                  <a:pt x="685" y="297"/>
                  <a:pt x="684" y="297"/>
                </a:cubicBezTo>
                <a:cubicBezTo>
                  <a:pt x="684" y="297"/>
                  <a:pt x="684" y="296"/>
                  <a:pt x="684" y="296"/>
                </a:cubicBezTo>
                <a:close/>
                <a:moveTo>
                  <a:pt x="685" y="292"/>
                </a:moveTo>
                <a:cubicBezTo>
                  <a:pt x="686" y="292"/>
                  <a:pt x="683" y="293"/>
                  <a:pt x="685" y="292"/>
                </a:cubicBezTo>
                <a:close/>
                <a:moveTo>
                  <a:pt x="683" y="302"/>
                </a:moveTo>
                <a:cubicBezTo>
                  <a:pt x="683" y="302"/>
                  <a:pt x="684" y="301"/>
                  <a:pt x="684" y="301"/>
                </a:cubicBezTo>
                <a:cubicBezTo>
                  <a:pt x="684" y="301"/>
                  <a:pt x="683" y="302"/>
                  <a:pt x="683" y="302"/>
                </a:cubicBezTo>
                <a:close/>
                <a:moveTo>
                  <a:pt x="685" y="376"/>
                </a:moveTo>
                <a:cubicBezTo>
                  <a:pt x="684" y="375"/>
                  <a:pt x="685" y="372"/>
                  <a:pt x="685" y="372"/>
                </a:cubicBezTo>
                <a:cubicBezTo>
                  <a:pt x="688" y="370"/>
                  <a:pt x="688" y="377"/>
                  <a:pt x="685" y="376"/>
                </a:cubicBezTo>
                <a:close/>
                <a:moveTo>
                  <a:pt x="685" y="360"/>
                </a:moveTo>
                <a:cubicBezTo>
                  <a:pt x="685" y="358"/>
                  <a:pt x="686" y="361"/>
                  <a:pt x="685" y="361"/>
                </a:cubicBezTo>
                <a:cubicBezTo>
                  <a:pt x="684" y="360"/>
                  <a:pt x="685" y="360"/>
                  <a:pt x="685" y="360"/>
                </a:cubicBezTo>
                <a:close/>
                <a:moveTo>
                  <a:pt x="689" y="346"/>
                </a:moveTo>
                <a:cubicBezTo>
                  <a:pt x="687" y="346"/>
                  <a:pt x="688" y="344"/>
                  <a:pt x="688" y="344"/>
                </a:cubicBezTo>
                <a:cubicBezTo>
                  <a:pt x="689" y="342"/>
                  <a:pt x="690" y="347"/>
                  <a:pt x="689" y="346"/>
                </a:cubicBezTo>
                <a:close/>
                <a:moveTo>
                  <a:pt x="689" y="333"/>
                </a:moveTo>
                <a:cubicBezTo>
                  <a:pt x="689" y="334"/>
                  <a:pt x="688" y="331"/>
                  <a:pt x="689" y="333"/>
                </a:cubicBezTo>
                <a:close/>
                <a:moveTo>
                  <a:pt x="690" y="370"/>
                </a:moveTo>
                <a:cubicBezTo>
                  <a:pt x="692" y="367"/>
                  <a:pt x="693" y="373"/>
                  <a:pt x="691" y="372"/>
                </a:cubicBezTo>
                <a:cubicBezTo>
                  <a:pt x="690" y="372"/>
                  <a:pt x="690" y="370"/>
                  <a:pt x="690" y="370"/>
                </a:cubicBezTo>
                <a:close/>
                <a:moveTo>
                  <a:pt x="690" y="322"/>
                </a:moveTo>
                <a:cubicBezTo>
                  <a:pt x="689" y="323"/>
                  <a:pt x="692" y="320"/>
                  <a:pt x="690" y="322"/>
                </a:cubicBezTo>
                <a:close/>
                <a:moveTo>
                  <a:pt x="691" y="405"/>
                </a:moveTo>
                <a:cubicBezTo>
                  <a:pt x="690" y="403"/>
                  <a:pt x="693" y="403"/>
                  <a:pt x="693" y="402"/>
                </a:cubicBezTo>
                <a:cubicBezTo>
                  <a:pt x="693" y="403"/>
                  <a:pt x="692" y="404"/>
                  <a:pt x="691" y="405"/>
                </a:cubicBezTo>
                <a:close/>
                <a:moveTo>
                  <a:pt x="694" y="441"/>
                </a:moveTo>
                <a:cubicBezTo>
                  <a:pt x="694" y="440"/>
                  <a:pt x="695" y="439"/>
                  <a:pt x="695" y="438"/>
                </a:cubicBezTo>
                <a:cubicBezTo>
                  <a:pt x="696" y="439"/>
                  <a:pt x="695" y="441"/>
                  <a:pt x="694" y="441"/>
                </a:cubicBezTo>
                <a:close/>
                <a:moveTo>
                  <a:pt x="695" y="391"/>
                </a:moveTo>
                <a:cubicBezTo>
                  <a:pt x="695" y="391"/>
                  <a:pt x="695" y="390"/>
                  <a:pt x="695" y="390"/>
                </a:cubicBezTo>
                <a:cubicBezTo>
                  <a:pt x="696" y="389"/>
                  <a:pt x="696" y="392"/>
                  <a:pt x="695" y="391"/>
                </a:cubicBezTo>
                <a:close/>
                <a:moveTo>
                  <a:pt x="701" y="315"/>
                </a:moveTo>
                <a:cubicBezTo>
                  <a:pt x="701" y="316"/>
                  <a:pt x="700" y="317"/>
                  <a:pt x="699" y="316"/>
                </a:cubicBezTo>
                <a:cubicBezTo>
                  <a:pt x="698" y="316"/>
                  <a:pt x="700" y="313"/>
                  <a:pt x="701" y="315"/>
                </a:cubicBezTo>
                <a:close/>
                <a:moveTo>
                  <a:pt x="699" y="398"/>
                </a:moveTo>
                <a:cubicBezTo>
                  <a:pt x="700" y="397"/>
                  <a:pt x="699" y="399"/>
                  <a:pt x="699" y="398"/>
                </a:cubicBezTo>
                <a:close/>
                <a:moveTo>
                  <a:pt x="701" y="369"/>
                </a:moveTo>
                <a:cubicBezTo>
                  <a:pt x="700" y="369"/>
                  <a:pt x="700" y="367"/>
                  <a:pt x="701" y="367"/>
                </a:cubicBezTo>
                <a:cubicBezTo>
                  <a:pt x="702" y="365"/>
                  <a:pt x="703" y="370"/>
                  <a:pt x="701" y="369"/>
                </a:cubicBezTo>
                <a:close/>
                <a:moveTo>
                  <a:pt x="702" y="351"/>
                </a:moveTo>
                <a:cubicBezTo>
                  <a:pt x="701" y="351"/>
                  <a:pt x="702" y="350"/>
                  <a:pt x="702" y="350"/>
                </a:cubicBezTo>
                <a:cubicBezTo>
                  <a:pt x="703" y="348"/>
                  <a:pt x="703" y="351"/>
                  <a:pt x="702" y="351"/>
                </a:cubicBezTo>
                <a:close/>
                <a:moveTo>
                  <a:pt x="699" y="334"/>
                </a:moveTo>
                <a:cubicBezTo>
                  <a:pt x="700" y="330"/>
                  <a:pt x="702" y="327"/>
                  <a:pt x="704" y="325"/>
                </a:cubicBezTo>
                <a:cubicBezTo>
                  <a:pt x="703" y="328"/>
                  <a:pt x="702" y="331"/>
                  <a:pt x="699" y="334"/>
                </a:cubicBezTo>
                <a:close/>
                <a:moveTo>
                  <a:pt x="704" y="313"/>
                </a:moveTo>
                <a:cubicBezTo>
                  <a:pt x="704" y="315"/>
                  <a:pt x="705" y="312"/>
                  <a:pt x="704" y="313"/>
                </a:cubicBezTo>
                <a:close/>
                <a:moveTo>
                  <a:pt x="711" y="404"/>
                </a:moveTo>
                <a:cubicBezTo>
                  <a:pt x="710" y="404"/>
                  <a:pt x="710" y="402"/>
                  <a:pt x="710" y="402"/>
                </a:cubicBezTo>
                <a:cubicBezTo>
                  <a:pt x="712" y="401"/>
                  <a:pt x="712" y="404"/>
                  <a:pt x="711" y="404"/>
                </a:cubicBezTo>
                <a:close/>
                <a:moveTo>
                  <a:pt x="709" y="371"/>
                </a:moveTo>
                <a:cubicBezTo>
                  <a:pt x="706" y="370"/>
                  <a:pt x="708" y="365"/>
                  <a:pt x="709" y="365"/>
                </a:cubicBezTo>
                <a:cubicBezTo>
                  <a:pt x="713" y="362"/>
                  <a:pt x="713" y="372"/>
                  <a:pt x="709" y="371"/>
                </a:cubicBezTo>
                <a:close/>
                <a:moveTo>
                  <a:pt x="710" y="346"/>
                </a:moveTo>
                <a:cubicBezTo>
                  <a:pt x="711" y="345"/>
                  <a:pt x="712" y="347"/>
                  <a:pt x="710" y="347"/>
                </a:cubicBezTo>
                <a:cubicBezTo>
                  <a:pt x="709" y="347"/>
                  <a:pt x="710" y="346"/>
                  <a:pt x="710" y="346"/>
                </a:cubicBezTo>
                <a:close/>
                <a:moveTo>
                  <a:pt x="715" y="399"/>
                </a:moveTo>
                <a:cubicBezTo>
                  <a:pt x="714" y="399"/>
                  <a:pt x="714" y="397"/>
                  <a:pt x="716" y="397"/>
                </a:cubicBezTo>
                <a:cubicBezTo>
                  <a:pt x="716" y="398"/>
                  <a:pt x="715" y="398"/>
                  <a:pt x="715" y="399"/>
                </a:cubicBezTo>
                <a:close/>
                <a:moveTo>
                  <a:pt x="715" y="361"/>
                </a:moveTo>
                <a:cubicBezTo>
                  <a:pt x="716" y="359"/>
                  <a:pt x="716" y="364"/>
                  <a:pt x="715" y="363"/>
                </a:cubicBezTo>
                <a:cubicBezTo>
                  <a:pt x="714" y="363"/>
                  <a:pt x="715" y="361"/>
                  <a:pt x="715" y="361"/>
                </a:cubicBezTo>
                <a:close/>
                <a:moveTo>
                  <a:pt x="715" y="292"/>
                </a:moveTo>
                <a:cubicBezTo>
                  <a:pt x="715" y="292"/>
                  <a:pt x="714" y="295"/>
                  <a:pt x="714" y="294"/>
                </a:cubicBezTo>
                <a:cubicBezTo>
                  <a:pt x="713" y="292"/>
                  <a:pt x="714" y="291"/>
                  <a:pt x="715" y="292"/>
                </a:cubicBezTo>
                <a:close/>
                <a:moveTo>
                  <a:pt x="713" y="290"/>
                </a:moveTo>
                <a:cubicBezTo>
                  <a:pt x="714" y="289"/>
                  <a:pt x="714" y="291"/>
                  <a:pt x="714" y="291"/>
                </a:cubicBezTo>
                <a:cubicBezTo>
                  <a:pt x="713" y="291"/>
                  <a:pt x="713" y="291"/>
                  <a:pt x="713" y="290"/>
                </a:cubicBezTo>
                <a:close/>
                <a:moveTo>
                  <a:pt x="712" y="297"/>
                </a:moveTo>
                <a:cubicBezTo>
                  <a:pt x="714" y="293"/>
                  <a:pt x="718" y="302"/>
                  <a:pt x="714" y="304"/>
                </a:cubicBezTo>
                <a:cubicBezTo>
                  <a:pt x="715" y="300"/>
                  <a:pt x="712" y="301"/>
                  <a:pt x="711" y="300"/>
                </a:cubicBezTo>
                <a:cubicBezTo>
                  <a:pt x="711" y="300"/>
                  <a:pt x="711" y="297"/>
                  <a:pt x="712" y="297"/>
                </a:cubicBezTo>
                <a:close/>
                <a:moveTo>
                  <a:pt x="710" y="332"/>
                </a:moveTo>
                <a:cubicBezTo>
                  <a:pt x="711" y="330"/>
                  <a:pt x="709" y="333"/>
                  <a:pt x="710" y="332"/>
                </a:cubicBezTo>
                <a:close/>
                <a:moveTo>
                  <a:pt x="710" y="338"/>
                </a:moveTo>
                <a:cubicBezTo>
                  <a:pt x="712" y="338"/>
                  <a:pt x="714" y="337"/>
                  <a:pt x="714" y="340"/>
                </a:cubicBezTo>
                <a:cubicBezTo>
                  <a:pt x="714" y="342"/>
                  <a:pt x="713" y="341"/>
                  <a:pt x="712" y="343"/>
                </a:cubicBezTo>
                <a:cubicBezTo>
                  <a:pt x="711" y="344"/>
                  <a:pt x="712" y="345"/>
                  <a:pt x="710" y="345"/>
                </a:cubicBezTo>
                <a:cubicBezTo>
                  <a:pt x="706" y="346"/>
                  <a:pt x="707" y="339"/>
                  <a:pt x="710" y="338"/>
                </a:cubicBezTo>
                <a:close/>
                <a:moveTo>
                  <a:pt x="707" y="289"/>
                </a:moveTo>
                <a:cubicBezTo>
                  <a:pt x="707" y="291"/>
                  <a:pt x="706" y="289"/>
                  <a:pt x="707" y="289"/>
                </a:cubicBezTo>
                <a:close/>
                <a:moveTo>
                  <a:pt x="706" y="334"/>
                </a:moveTo>
                <a:cubicBezTo>
                  <a:pt x="704" y="334"/>
                  <a:pt x="705" y="332"/>
                  <a:pt x="706" y="331"/>
                </a:cubicBezTo>
                <a:cubicBezTo>
                  <a:pt x="708" y="330"/>
                  <a:pt x="708" y="335"/>
                  <a:pt x="706" y="334"/>
                </a:cubicBezTo>
                <a:close/>
                <a:moveTo>
                  <a:pt x="706" y="318"/>
                </a:moveTo>
                <a:cubicBezTo>
                  <a:pt x="707" y="318"/>
                  <a:pt x="706" y="323"/>
                  <a:pt x="705" y="324"/>
                </a:cubicBezTo>
                <a:cubicBezTo>
                  <a:pt x="704" y="322"/>
                  <a:pt x="705" y="319"/>
                  <a:pt x="706" y="318"/>
                </a:cubicBezTo>
                <a:close/>
                <a:moveTo>
                  <a:pt x="704" y="271"/>
                </a:moveTo>
                <a:cubicBezTo>
                  <a:pt x="704" y="270"/>
                  <a:pt x="703" y="273"/>
                  <a:pt x="704" y="271"/>
                </a:cubicBezTo>
                <a:close/>
                <a:moveTo>
                  <a:pt x="704" y="275"/>
                </a:moveTo>
                <a:cubicBezTo>
                  <a:pt x="704" y="277"/>
                  <a:pt x="702" y="280"/>
                  <a:pt x="700" y="282"/>
                </a:cubicBezTo>
                <a:cubicBezTo>
                  <a:pt x="700" y="279"/>
                  <a:pt x="703" y="278"/>
                  <a:pt x="704" y="275"/>
                </a:cubicBezTo>
                <a:close/>
                <a:moveTo>
                  <a:pt x="702" y="287"/>
                </a:moveTo>
                <a:cubicBezTo>
                  <a:pt x="702" y="287"/>
                  <a:pt x="701" y="288"/>
                  <a:pt x="702" y="287"/>
                </a:cubicBezTo>
                <a:cubicBezTo>
                  <a:pt x="702" y="287"/>
                  <a:pt x="702" y="287"/>
                  <a:pt x="702" y="287"/>
                </a:cubicBezTo>
                <a:close/>
                <a:moveTo>
                  <a:pt x="701" y="289"/>
                </a:moveTo>
                <a:cubicBezTo>
                  <a:pt x="701" y="291"/>
                  <a:pt x="699" y="290"/>
                  <a:pt x="701" y="289"/>
                </a:cubicBezTo>
                <a:close/>
                <a:moveTo>
                  <a:pt x="700" y="254"/>
                </a:moveTo>
                <a:cubicBezTo>
                  <a:pt x="699" y="256"/>
                  <a:pt x="700" y="253"/>
                  <a:pt x="700" y="254"/>
                </a:cubicBezTo>
                <a:close/>
                <a:moveTo>
                  <a:pt x="699" y="257"/>
                </a:moveTo>
                <a:cubicBezTo>
                  <a:pt x="699" y="257"/>
                  <a:pt x="699" y="258"/>
                  <a:pt x="698" y="258"/>
                </a:cubicBezTo>
                <a:cubicBezTo>
                  <a:pt x="698" y="258"/>
                  <a:pt x="698" y="258"/>
                  <a:pt x="698" y="258"/>
                </a:cubicBezTo>
                <a:cubicBezTo>
                  <a:pt x="698" y="258"/>
                  <a:pt x="699" y="258"/>
                  <a:pt x="699" y="257"/>
                </a:cubicBezTo>
                <a:close/>
                <a:moveTo>
                  <a:pt x="698" y="308"/>
                </a:moveTo>
                <a:cubicBezTo>
                  <a:pt x="698" y="308"/>
                  <a:pt x="700" y="305"/>
                  <a:pt x="700" y="304"/>
                </a:cubicBezTo>
                <a:cubicBezTo>
                  <a:pt x="700" y="303"/>
                  <a:pt x="698" y="304"/>
                  <a:pt x="699" y="302"/>
                </a:cubicBezTo>
                <a:cubicBezTo>
                  <a:pt x="698" y="303"/>
                  <a:pt x="702" y="302"/>
                  <a:pt x="701" y="301"/>
                </a:cubicBezTo>
                <a:cubicBezTo>
                  <a:pt x="702" y="302"/>
                  <a:pt x="702" y="303"/>
                  <a:pt x="701" y="304"/>
                </a:cubicBezTo>
                <a:cubicBezTo>
                  <a:pt x="703" y="304"/>
                  <a:pt x="705" y="304"/>
                  <a:pt x="706" y="306"/>
                </a:cubicBezTo>
                <a:cubicBezTo>
                  <a:pt x="707" y="309"/>
                  <a:pt x="705" y="311"/>
                  <a:pt x="702" y="313"/>
                </a:cubicBezTo>
                <a:cubicBezTo>
                  <a:pt x="702" y="313"/>
                  <a:pt x="702" y="314"/>
                  <a:pt x="702" y="314"/>
                </a:cubicBezTo>
                <a:cubicBezTo>
                  <a:pt x="701" y="314"/>
                  <a:pt x="700" y="311"/>
                  <a:pt x="700" y="311"/>
                </a:cubicBezTo>
                <a:cubicBezTo>
                  <a:pt x="697" y="311"/>
                  <a:pt x="699" y="316"/>
                  <a:pt x="698" y="316"/>
                </a:cubicBezTo>
                <a:cubicBezTo>
                  <a:pt x="695" y="316"/>
                  <a:pt x="697" y="313"/>
                  <a:pt x="697" y="312"/>
                </a:cubicBezTo>
                <a:cubicBezTo>
                  <a:pt x="697" y="310"/>
                  <a:pt x="696" y="310"/>
                  <a:pt x="698" y="308"/>
                </a:cubicBezTo>
                <a:close/>
                <a:moveTo>
                  <a:pt x="696" y="361"/>
                </a:moveTo>
                <a:cubicBezTo>
                  <a:pt x="696" y="360"/>
                  <a:pt x="698" y="361"/>
                  <a:pt x="696" y="361"/>
                </a:cubicBezTo>
                <a:close/>
                <a:moveTo>
                  <a:pt x="697" y="362"/>
                </a:moveTo>
                <a:cubicBezTo>
                  <a:pt x="696" y="364"/>
                  <a:pt x="695" y="363"/>
                  <a:pt x="697" y="362"/>
                </a:cubicBezTo>
                <a:close/>
                <a:moveTo>
                  <a:pt x="696" y="318"/>
                </a:moveTo>
                <a:cubicBezTo>
                  <a:pt x="697" y="316"/>
                  <a:pt x="697" y="318"/>
                  <a:pt x="696" y="319"/>
                </a:cubicBezTo>
                <a:cubicBezTo>
                  <a:pt x="696" y="319"/>
                  <a:pt x="696" y="318"/>
                  <a:pt x="696" y="318"/>
                </a:cubicBezTo>
                <a:close/>
                <a:moveTo>
                  <a:pt x="697" y="376"/>
                </a:moveTo>
                <a:cubicBezTo>
                  <a:pt x="697" y="376"/>
                  <a:pt x="698" y="382"/>
                  <a:pt x="696" y="382"/>
                </a:cubicBezTo>
                <a:cubicBezTo>
                  <a:pt x="694" y="382"/>
                  <a:pt x="694" y="376"/>
                  <a:pt x="697" y="376"/>
                </a:cubicBezTo>
                <a:close/>
                <a:moveTo>
                  <a:pt x="691" y="299"/>
                </a:moveTo>
                <a:cubicBezTo>
                  <a:pt x="692" y="297"/>
                  <a:pt x="692" y="294"/>
                  <a:pt x="695" y="294"/>
                </a:cubicBezTo>
                <a:cubicBezTo>
                  <a:pt x="692" y="300"/>
                  <a:pt x="687" y="306"/>
                  <a:pt x="684" y="312"/>
                </a:cubicBezTo>
                <a:cubicBezTo>
                  <a:pt x="682" y="316"/>
                  <a:pt x="685" y="307"/>
                  <a:pt x="686" y="306"/>
                </a:cubicBezTo>
                <a:cubicBezTo>
                  <a:pt x="687" y="303"/>
                  <a:pt x="690" y="300"/>
                  <a:pt x="691" y="299"/>
                </a:cubicBezTo>
                <a:close/>
                <a:moveTo>
                  <a:pt x="688" y="279"/>
                </a:moveTo>
                <a:cubicBezTo>
                  <a:pt x="689" y="278"/>
                  <a:pt x="689" y="281"/>
                  <a:pt x="689" y="281"/>
                </a:cubicBezTo>
                <a:cubicBezTo>
                  <a:pt x="688" y="281"/>
                  <a:pt x="688" y="280"/>
                  <a:pt x="688" y="279"/>
                </a:cubicBezTo>
                <a:close/>
                <a:moveTo>
                  <a:pt x="687" y="283"/>
                </a:moveTo>
                <a:cubicBezTo>
                  <a:pt x="689" y="281"/>
                  <a:pt x="688" y="285"/>
                  <a:pt x="687" y="284"/>
                </a:cubicBezTo>
                <a:cubicBezTo>
                  <a:pt x="687" y="284"/>
                  <a:pt x="687" y="283"/>
                  <a:pt x="687" y="283"/>
                </a:cubicBezTo>
                <a:close/>
                <a:moveTo>
                  <a:pt x="687" y="286"/>
                </a:moveTo>
                <a:cubicBezTo>
                  <a:pt x="687" y="288"/>
                  <a:pt x="683" y="289"/>
                  <a:pt x="683" y="287"/>
                </a:cubicBezTo>
                <a:cubicBezTo>
                  <a:pt x="682" y="284"/>
                  <a:pt x="688" y="282"/>
                  <a:pt x="687" y="286"/>
                </a:cubicBezTo>
                <a:close/>
                <a:moveTo>
                  <a:pt x="681" y="268"/>
                </a:moveTo>
                <a:cubicBezTo>
                  <a:pt x="680" y="268"/>
                  <a:pt x="682" y="267"/>
                  <a:pt x="681" y="268"/>
                </a:cubicBezTo>
                <a:close/>
                <a:moveTo>
                  <a:pt x="681" y="294"/>
                </a:moveTo>
                <a:cubicBezTo>
                  <a:pt x="681" y="293"/>
                  <a:pt x="681" y="292"/>
                  <a:pt x="682" y="293"/>
                </a:cubicBezTo>
                <a:cubicBezTo>
                  <a:pt x="686" y="296"/>
                  <a:pt x="677" y="297"/>
                  <a:pt x="681" y="294"/>
                </a:cubicBezTo>
                <a:close/>
                <a:moveTo>
                  <a:pt x="662" y="447"/>
                </a:moveTo>
                <a:cubicBezTo>
                  <a:pt x="663" y="446"/>
                  <a:pt x="661" y="449"/>
                  <a:pt x="662" y="447"/>
                </a:cubicBezTo>
                <a:close/>
                <a:moveTo>
                  <a:pt x="670" y="503"/>
                </a:moveTo>
                <a:cubicBezTo>
                  <a:pt x="671" y="502"/>
                  <a:pt x="670" y="504"/>
                  <a:pt x="670" y="503"/>
                </a:cubicBezTo>
                <a:close/>
                <a:moveTo>
                  <a:pt x="674" y="402"/>
                </a:moveTo>
                <a:cubicBezTo>
                  <a:pt x="674" y="401"/>
                  <a:pt x="675" y="401"/>
                  <a:pt x="675" y="400"/>
                </a:cubicBezTo>
                <a:cubicBezTo>
                  <a:pt x="676" y="400"/>
                  <a:pt x="675" y="402"/>
                  <a:pt x="674" y="402"/>
                </a:cubicBezTo>
                <a:close/>
                <a:moveTo>
                  <a:pt x="677" y="399"/>
                </a:moveTo>
                <a:cubicBezTo>
                  <a:pt x="675" y="398"/>
                  <a:pt x="677" y="396"/>
                  <a:pt x="678" y="395"/>
                </a:cubicBezTo>
                <a:cubicBezTo>
                  <a:pt x="678" y="396"/>
                  <a:pt x="676" y="398"/>
                  <a:pt x="677" y="399"/>
                </a:cubicBezTo>
                <a:close/>
                <a:moveTo>
                  <a:pt x="678" y="340"/>
                </a:moveTo>
                <a:cubicBezTo>
                  <a:pt x="679" y="340"/>
                  <a:pt x="677" y="341"/>
                  <a:pt x="678" y="340"/>
                </a:cubicBezTo>
                <a:close/>
                <a:moveTo>
                  <a:pt x="679" y="510"/>
                </a:moveTo>
                <a:cubicBezTo>
                  <a:pt x="678" y="510"/>
                  <a:pt x="678" y="509"/>
                  <a:pt x="679" y="508"/>
                </a:cubicBezTo>
                <a:cubicBezTo>
                  <a:pt x="680" y="507"/>
                  <a:pt x="680" y="510"/>
                  <a:pt x="679" y="510"/>
                </a:cubicBezTo>
                <a:close/>
                <a:moveTo>
                  <a:pt x="679" y="393"/>
                </a:moveTo>
                <a:cubicBezTo>
                  <a:pt x="679" y="392"/>
                  <a:pt x="679" y="392"/>
                  <a:pt x="679" y="391"/>
                </a:cubicBezTo>
                <a:cubicBezTo>
                  <a:pt x="680" y="391"/>
                  <a:pt x="679" y="393"/>
                  <a:pt x="679" y="393"/>
                </a:cubicBezTo>
                <a:close/>
                <a:moveTo>
                  <a:pt x="678" y="281"/>
                </a:moveTo>
                <a:cubicBezTo>
                  <a:pt x="679" y="281"/>
                  <a:pt x="679" y="281"/>
                  <a:pt x="679" y="281"/>
                </a:cubicBezTo>
                <a:cubicBezTo>
                  <a:pt x="679" y="283"/>
                  <a:pt x="677" y="279"/>
                  <a:pt x="678" y="281"/>
                </a:cubicBezTo>
                <a:close/>
                <a:moveTo>
                  <a:pt x="677" y="329"/>
                </a:moveTo>
                <a:cubicBezTo>
                  <a:pt x="675" y="328"/>
                  <a:pt x="676" y="327"/>
                  <a:pt x="676" y="326"/>
                </a:cubicBezTo>
                <a:cubicBezTo>
                  <a:pt x="678" y="324"/>
                  <a:pt x="679" y="329"/>
                  <a:pt x="677" y="329"/>
                </a:cubicBezTo>
                <a:close/>
                <a:moveTo>
                  <a:pt x="676" y="297"/>
                </a:moveTo>
                <a:cubicBezTo>
                  <a:pt x="677" y="295"/>
                  <a:pt x="677" y="299"/>
                  <a:pt x="676" y="298"/>
                </a:cubicBezTo>
                <a:cubicBezTo>
                  <a:pt x="675" y="298"/>
                  <a:pt x="675" y="297"/>
                  <a:pt x="676" y="297"/>
                </a:cubicBezTo>
                <a:close/>
                <a:moveTo>
                  <a:pt x="672" y="331"/>
                </a:moveTo>
                <a:cubicBezTo>
                  <a:pt x="673" y="330"/>
                  <a:pt x="672" y="333"/>
                  <a:pt x="672" y="331"/>
                </a:cubicBezTo>
                <a:close/>
                <a:moveTo>
                  <a:pt x="671" y="297"/>
                </a:moveTo>
                <a:cubicBezTo>
                  <a:pt x="671" y="297"/>
                  <a:pt x="671" y="297"/>
                  <a:pt x="671" y="298"/>
                </a:cubicBezTo>
                <a:cubicBezTo>
                  <a:pt x="670" y="299"/>
                  <a:pt x="671" y="298"/>
                  <a:pt x="671" y="297"/>
                </a:cubicBezTo>
                <a:close/>
                <a:moveTo>
                  <a:pt x="671" y="292"/>
                </a:moveTo>
                <a:cubicBezTo>
                  <a:pt x="670" y="294"/>
                  <a:pt x="669" y="295"/>
                  <a:pt x="667" y="297"/>
                </a:cubicBezTo>
                <a:cubicBezTo>
                  <a:pt x="668" y="295"/>
                  <a:pt x="669" y="293"/>
                  <a:pt x="671" y="292"/>
                </a:cubicBezTo>
                <a:close/>
                <a:moveTo>
                  <a:pt x="669" y="376"/>
                </a:moveTo>
                <a:cubicBezTo>
                  <a:pt x="668" y="375"/>
                  <a:pt x="669" y="374"/>
                  <a:pt x="670" y="374"/>
                </a:cubicBezTo>
                <a:cubicBezTo>
                  <a:pt x="671" y="372"/>
                  <a:pt x="670" y="377"/>
                  <a:pt x="669" y="376"/>
                </a:cubicBezTo>
                <a:close/>
                <a:moveTo>
                  <a:pt x="668" y="309"/>
                </a:moveTo>
                <a:cubicBezTo>
                  <a:pt x="669" y="309"/>
                  <a:pt x="666" y="310"/>
                  <a:pt x="668" y="309"/>
                </a:cubicBezTo>
                <a:close/>
                <a:moveTo>
                  <a:pt x="665" y="407"/>
                </a:moveTo>
                <a:cubicBezTo>
                  <a:pt x="666" y="407"/>
                  <a:pt x="667" y="406"/>
                  <a:pt x="667" y="405"/>
                </a:cubicBezTo>
                <a:cubicBezTo>
                  <a:pt x="669" y="402"/>
                  <a:pt x="672" y="396"/>
                  <a:pt x="673" y="391"/>
                </a:cubicBezTo>
                <a:cubicBezTo>
                  <a:pt x="674" y="387"/>
                  <a:pt x="674" y="383"/>
                  <a:pt x="675" y="380"/>
                </a:cubicBezTo>
                <a:cubicBezTo>
                  <a:pt x="675" y="380"/>
                  <a:pt x="676" y="380"/>
                  <a:pt x="676" y="380"/>
                </a:cubicBezTo>
                <a:cubicBezTo>
                  <a:pt x="677" y="380"/>
                  <a:pt x="675" y="387"/>
                  <a:pt x="675" y="389"/>
                </a:cubicBezTo>
                <a:cubicBezTo>
                  <a:pt x="673" y="391"/>
                  <a:pt x="673" y="394"/>
                  <a:pt x="672" y="397"/>
                </a:cubicBezTo>
                <a:cubicBezTo>
                  <a:pt x="671" y="400"/>
                  <a:pt x="668" y="404"/>
                  <a:pt x="668" y="406"/>
                </a:cubicBezTo>
                <a:cubicBezTo>
                  <a:pt x="668" y="406"/>
                  <a:pt x="670" y="407"/>
                  <a:pt x="670" y="408"/>
                </a:cubicBezTo>
                <a:cubicBezTo>
                  <a:pt x="671" y="413"/>
                  <a:pt x="663" y="413"/>
                  <a:pt x="665" y="407"/>
                </a:cubicBezTo>
                <a:close/>
                <a:moveTo>
                  <a:pt x="664" y="303"/>
                </a:moveTo>
                <a:cubicBezTo>
                  <a:pt x="665" y="303"/>
                  <a:pt x="664" y="306"/>
                  <a:pt x="663" y="305"/>
                </a:cubicBezTo>
                <a:cubicBezTo>
                  <a:pt x="662" y="305"/>
                  <a:pt x="663" y="304"/>
                  <a:pt x="664" y="303"/>
                </a:cubicBezTo>
                <a:close/>
                <a:moveTo>
                  <a:pt x="663" y="285"/>
                </a:moveTo>
                <a:cubicBezTo>
                  <a:pt x="663" y="284"/>
                  <a:pt x="662" y="286"/>
                  <a:pt x="663" y="285"/>
                </a:cubicBezTo>
                <a:close/>
                <a:moveTo>
                  <a:pt x="662" y="401"/>
                </a:moveTo>
                <a:cubicBezTo>
                  <a:pt x="663" y="402"/>
                  <a:pt x="661" y="403"/>
                  <a:pt x="662" y="401"/>
                </a:cubicBezTo>
                <a:close/>
                <a:moveTo>
                  <a:pt x="660" y="496"/>
                </a:moveTo>
                <a:cubicBezTo>
                  <a:pt x="661" y="494"/>
                  <a:pt x="662" y="498"/>
                  <a:pt x="660" y="497"/>
                </a:cubicBezTo>
                <a:cubicBezTo>
                  <a:pt x="660" y="497"/>
                  <a:pt x="660" y="496"/>
                  <a:pt x="660" y="496"/>
                </a:cubicBezTo>
                <a:close/>
                <a:moveTo>
                  <a:pt x="657" y="276"/>
                </a:moveTo>
                <a:cubicBezTo>
                  <a:pt x="657" y="276"/>
                  <a:pt x="656" y="278"/>
                  <a:pt x="655" y="278"/>
                </a:cubicBezTo>
                <a:cubicBezTo>
                  <a:pt x="655" y="277"/>
                  <a:pt x="656" y="277"/>
                  <a:pt x="657" y="276"/>
                </a:cubicBezTo>
                <a:close/>
                <a:moveTo>
                  <a:pt x="655" y="292"/>
                </a:moveTo>
                <a:cubicBezTo>
                  <a:pt x="655" y="292"/>
                  <a:pt x="655" y="292"/>
                  <a:pt x="655" y="292"/>
                </a:cubicBezTo>
                <a:cubicBezTo>
                  <a:pt x="655" y="292"/>
                  <a:pt x="655" y="292"/>
                  <a:pt x="655" y="292"/>
                </a:cubicBezTo>
                <a:cubicBezTo>
                  <a:pt x="655" y="292"/>
                  <a:pt x="655" y="292"/>
                  <a:pt x="655" y="292"/>
                </a:cubicBezTo>
                <a:close/>
                <a:moveTo>
                  <a:pt x="652" y="270"/>
                </a:moveTo>
                <a:cubicBezTo>
                  <a:pt x="651" y="272"/>
                  <a:pt x="654" y="269"/>
                  <a:pt x="652" y="270"/>
                </a:cubicBezTo>
                <a:close/>
                <a:moveTo>
                  <a:pt x="634" y="278"/>
                </a:moveTo>
                <a:cubicBezTo>
                  <a:pt x="633" y="276"/>
                  <a:pt x="635" y="277"/>
                  <a:pt x="634" y="278"/>
                </a:cubicBezTo>
                <a:close/>
                <a:moveTo>
                  <a:pt x="635" y="274"/>
                </a:moveTo>
                <a:cubicBezTo>
                  <a:pt x="636" y="274"/>
                  <a:pt x="634" y="275"/>
                  <a:pt x="635" y="274"/>
                </a:cubicBezTo>
                <a:close/>
                <a:moveTo>
                  <a:pt x="642" y="409"/>
                </a:moveTo>
                <a:cubicBezTo>
                  <a:pt x="642" y="409"/>
                  <a:pt x="643" y="409"/>
                  <a:pt x="643" y="410"/>
                </a:cubicBezTo>
                <a:cubicBezTo>
                  <a:pt x="643" y="410"/>
                  <a:pt x="641" y="411"/>
                  <a:pt x="642" y="409"/>
                </a:cubicBezTo>
                <a:close/>
                <a:moveTo>
                  <a:pt x="644" y="345"/>
                </a:moveTo>
                <a:cubicBezTo>
                  <a:pt x="643" y="345"/>
                  <a:pt x="644" y="344"/>
                  <a:pt x="644" y="344"/>
                </a:cubicBezTo>
                <a:cubicBezTo>
                  <a:pt x="645" y="342"/>
                  <a:pt x="645" y="345"/>
                  <a:pt x="644" y="345"/>
                </a:cubicBezTo>
                <a:close/>
                <a:moveTo>
                  <a:pt x="644" y="398"/>
                </a:moveTo>
                <a:cubicBezTo>
                  <a:pt x="644" y="400"/>
                  <a:pt x="645" y="397"/>
                  <a:pt x="644" y="398"/>
                </a:cubicBezTo>
                <a:close/>
                <a:moveTo>
                  <a:pt x="644" y="300"/>
                </a:moveTo>
                <a:cubicBezTo>
                  <a:pt x="643" y="300"/>
                  <a:pt x="644" y="299"/>
                  <a:pt x="644" y="298"/>
                </a:cubicBezTo>
                <a:cubicBezTo>
                  <a:pt x="646" y="297"/>
                  <a:pt x="646" y="301"/>
                  <a:pt x="644" y="300"/>
                </a:cubicBezTo>
                <a:close/>
                <a:moveTo>
                  <a:pt x="646" y="462"/>
                </a:moveTo>
                <a:cubicBezTo>
                  <a:pt x="646" y="462"/>
                  <a:pt x="647" y="462"/>
                  <a:pt x="647" y="462"/>
                </a:cubicBezTo>
                <a:cubicBezTo>
                  <a:pt x="648" y="462"/>
                  <a:pt x="645" y="464"/>
                  <a:pt x="646" y="462"/>
                </a:cubicBezTo>
                <a:close/>
                <a:moveTo>
                  <a:pt x="647" y="333"/>
                </a:moveTo>
                <a:cubicBezTo>
                  <a:pt x="646" y="333"/>
                  <a:pt x="647" y="332"/>
                  <a:pt x="647" y="332"/>
                </a:cubicBezTo>
                <a:cubicBezTo>
                  <a:pt x="648" y="331"/>
                  <a:pt x="648" y="334"/>
                  <a:pt x="647" y="333"/>
                </a:cubicBezTo>
                <a:close/>
                <a:moveTo>
                  <a:pt x="657" y="550"/>
                </a:moveTo>
                <a:cubicBezTo>
                  <a:pt x="656" y="549"/>
                  <a:pt x="657" y="547"/>
                  <a:pt x="657" y="547"/>
                </a:cubicBezTo>
                <a:cubicBezTo>
                  <a:pt x="658" y="545"/>
                  <a:pt x="658" y="550"/>
                  <a:pt x="657" y="550"/>
                </a:cubicBezTo>
                <a:close/>
                <a:moveTo>
                  <a:pt x="660" y="397"/>
                </a:moveTo>
                <a:cubicBezTo>
                  <a:pt x="659" y="398"/>
                  <a:pt x="659" y="398"/>
                  <a:pt x="660" y="397"/>
                </a:cubicBezTo>
                <a:close/>
                <a:moveTo>
                  <a:pt x="659" y="427"/>
                </a:moveTo>
                <a:cubicBezTo>
                  <a:pt x="660" y="429"/>
                  <a:pt x="658" y="432"/>
                  <a:pt x="657" y="434"/>
                </a:cubicBezTo>
                <a:cubicBezTo>
                  <a:pt x="657" y="432"/>
                  <a:pt x="658" y="429"/>
                  <a:pt x="659" y="427"/>
                </a:cubicBezTo>
                <a:close/>
                <a:moveTo>
                  <a:pt x="657" y="435"/>
                </a:moveTo>
                <a:cubicBezTo>
                  <a:pt x="657" y="435"/>
                  <a:pt x="657" y="438"/>
                  <a:pt x="655" y="438"/>
                </a:cubicBezTo>
                <a:cubicBezTo>
                  <a:pt x="655" y="437"/>
                  <a:pt x="656" y="436"/>
                  <a:pt x="657" y="435"/>
                </a:cubicBezTo>
                <a:close/>
                <a:moveTo>
                  <a:pt x="652" y="328"/>
                </a:moveTo>
                <a:cubicBezTo>
                  <a:pt x="652" y="328"/>
                  <a:pt x="653" y="327"/>
                  <a:pt x="653" y="327"/>
                </a:cubicBezTo>
                <a:cubicBezTo>
                  <a:pt x="655" y="329"/>
                  <a:pt x="651" y="331"/>
                  <a:pt x="652" y="328"/>
                </a:cubicBezTo>
                <a:close/>
                <a:moveTo>
                  <a:pt x="648" y="307"/>
                </a:moveTo>
                <a:cubicBezTo>
                  <a:pt x="653" y="304"/>
                  <a:pt x="650" y="313"/>
                  <a:pt x="649" y="313"/>
                </a:cubicBezTo>
                <a:cubicBezTo>
                  <a:pt x="647" y="313"/>
                  <a:pt x="647" y="308"/>
                  <a:pt x="648" y="307"/>
                </a:cubicBezTo>
                <a:close/>
                <a:moveTo>
                  <a:pt x="645" y="296"/>
                </a:moveTo>
                <a:cubicBezTo>
                  <a:pt x="643" y="295"/>
                  <a:pt x="645" y="290"/>
                  <a:pt x="646" y="290"/>
                </a:cubicBezTo>
                <a:cubicBezTo>
                  <a:pt x="651" y="287"/>
                  <a:pt x="648" y="297"/>
                  <a:pt x="645" y="296"/>
                </a:cubicBezTo>
                <a:close/>
                <a:moveTo>
                  <a:pt x="644" y="284"/>
                </a:moveTo>
                <a:cubicBezTo>
                  <a:pt x="644" y="285"/>
                  <a:pt x="645" y="283"/>
                  <a:pt x="644" y="284"/>
                </a:cubicBezTo>
                <a:close/>
                <a:moveTo>
                  <a:pt x="642" y="284"/>
                </a:moveTo>
                <a:cubicBezTo>
                  <a:pt x="642" y="284"/>
                  <a:pt x="643" y="283"/>
                  <a:pt x="644" y="284"/>
                </a:cubicBezTo>
                <a:cubicBezTo>
                  <a:pt x="646" y="285"/>
                  <a:pt x="641" y="287"/>
                  <a:pt x="642" y="284"/>
                </a:cubicBezTo>
                <a:close/>
                <a:moveTo>
                  <a:pt x="642" y="317"/>
                </a:moveTo>
                <a:cubicBezTo>
                  <a:pt x="642" y="318"/>
                  <a:pt x="641" y="317"/>
                  <a:pt x="642" y="317"/>
                </a:cubicBezTo>
                <a:close/>
                <a:moveTo>
                  <a:pt x="642" y="399"/>
                </a:moveTo>
                <a:cubicBezTo>
                  <a:pt x="643" y="399"/>
                  <a:pt x="640" y="402"/>
                  <a:pt x="641" y="400"/>
                </a:cubicBezTo>
                <a:cubicBezTo>
                  <a:pt x="641" y="400"/>
                  <a:pt x="641" y="399"/>
                  <a:pt x="642" y="399"/>
                </a:cubicBezTo>
                <a:close/>
                <a:moveTo>
                  <a:pt x="641" y="283"/>
                </a:moveTo>
                <a:cubicBezTo>
                  <a:pt x="642" y="282"/>
                  <a:pt x="639" y="285"/>
                  <a:pt x="641" y="283"/>
                </a:cubicBezTo>
                <a:close/>
                <a:moveTo>
                  <a:pt x="640" y="331"/>
                </a:moveTo>
                <a:cubicBezTo>
                  <a:pt x="640" y="331"/>
                  <a:pt x="640" y="331"/>
                  <a:pt x="640" y="331"/>
                </a:cubicBezTo>
                <a:cubicBezTo>
                  <a:pt x="640" y="331"/>
                  <a:pt x="640" y="332"/>
                  <a:pt x="640" y="331"/>
                </a:cubicBezTo>
                <a:close/>
                <a:moveTo>
                  <a:pt x="640" y="338"/>
                </a:moveTo>
                <a:cubicBezTo>
                  <a:pt x="641" y="339"/>
                  <a:pt x="639" y="341"/>
                  <a:pt x="639" y="342"/>
                </a:cubicBezTo>
                <a:cubicBezTo>
                  <a:pt x="638" y="341"/>
                  <a:pt x="640" y="339"/>
                  <a:pt x="640" y="338"/>
                </a:cubicBezTo>
                <a:close/>
                <a:moveTo>
                  <a:pt x="638" y="310"/>
                </a:moveTo>
                <a:cubicBezTo>
                  <a:pt x="638" y="309"/>
                  <a:pt x="639" y="312"/>
                  <a:pt x="638" y="310"/>
                </a:cubicBezTo>
                <a:close/>
                <a:moveTo>
                  <a:pt x="638" y="342"/>
                </a:moveTo>
                <a:cubicBezTo>
                  <a:pt x="639" y="343"/>
                  <a:pt x="639" y="344"/>
                  <a:pt x="638" y="344"/>
                </a:cubicBezTo>
                <a:cubicBezTo>
                  <a:pt x="638" y="343"/>
                  <a:pt x="639" y="343"/>
                  <a:pt x="638" y="342"/>
                </a:cubicBezTo>
                <a:close/>
                <a:moveTo>
                  <a:pt x="637" y="288"/>
                </a:moveTo>
                <a:cubicBezTo>
                  <a:pt x="638" y="289"/>
                  <a:pt x="637" y="289"/>
                  <a:pt x="637" y="290"/>
                </a:cubicBezTo>
                <a:cubicBezTo>
                  <a:pt x="636" y="290"/>
                  <a:pt x="637" y="289"/>
                  <a:pt x="637" y="288"/>
                </a:cubicBezTo>
                <a:close/>
                <a:moveTo>
                  <a:pt x="637" y="346"/>
                </a:moveTo>
                <a:cubicBezTo>
                  <a:pt x="638" y="345"/>
                  <a:pt x="637" y="347"/>
                  <a:pt x="637" y="347"/>
                </a:cubicBezTo>
                <a:cubicBezTo>
                  <a:pt x="636" y="346"/>
                  <a:pt x="637" y="346"/>
                  <a:pt x="637" y="346"/>
                </a:cubicBezTo>
                <a:close/>
                <a:moveTo>
                  <a:pt x="665" y="224"/>
                </a:moveTo>
                <a:cubicBezTo>
                  <a:pt x="665" y="225"/>
                  <a:pt x="664" y="226"/>
                  <a:pt x="662" y="227"/>
                </a:cubicBezTo>
                <a:cubicBezTo>
                  <a:pt x="663" y="226"/>
                  <a:pt x="664" y="225"/>
                  <a:pt x="665" y="224"/>
                </a:cubicBezTo>
                <a:close/>
                <a:moveTo>
                  <a:pt x="661" y="224"/>
                </a:moveTo>
                <a:cubicBezTo>
                  <a:pt x="662" y="222"/>
                  <a:pt x="660" y="225"/>
                  <a:pt x="661" y="224"/>
                </a:cubicBezTo>
                <a:close/>
                <a:moveTo>
                  <a:pt x="649" y="222"/>
                </a:moveTo>
                <a:cubicBezTo>
                  <a:pt x="651" y="224"/>
                  <a:pt x="647" y="225"/>
                  <a:pt x="649" y="222"/>
                </a:cubicBezTo>
                <a:close/>
                <a:moveTo>
                  <a:pt x="633" y="251"/>
                </a:moveTo>
                <a:cubicBezTo>
                  <a:pt x="632" y="252"/>
                  <a:pt x="633" y="249"/>
                  <a:pt x="633" y="251"/>
                </a:cubicBezTo>
                <a:close/>
                <a:moveTo>
                  <a:pt x="639" y="244"/>
                </a:moveTo>
                <a:cubicBezTo>
                  <a:pt x="640" y="245"/>
                  <a:pt x="640" y="248"/>
                  <a:pt x="640" y="250"/>
                </a:cubicBezTo>
                <a:cubicBezTo>
                  <a:pt x="638" y="248"/>
                  <a:pt x="639" y="246"/>
                  <a:pt x="639" y="244"/>
                </a:cubicBezTo>
                <a:close/>
                <a:moveTo>
                  <a:pt x="636" y="224"/>
                </a:moveTo>
                <a:cubicBezTo>
                  <a:pt x="639" y="227"/>
                  <a:pt x="634" y="229"/>
                  <a:pt x="633" y="230"/>
                </a:cubicBezTo>
                <a:cubicBezTo>
                  <a:pt x="631" y="228"/>
                  <a:pt x="634" y="221"/>
                  <a:pt x="636" y="224"/>
                </a:cubicBezTo>
                <a:close/>
                <a:moveTo>
                  <a:pt x="584" y="184"/>
                </a:moveTo>
                <a:cubicBezTo>
                  <a:pt x="584" y="184"/>
                  <a:pt x="584" y="185"/>
                  <a:pt x="584" y="185"/>
                </a:cubicBezTo>
                <a:cubicBezTo>
                  <a:pt x="585" y="188"/>
                  <a:pt x="581" y="186"/>
                  <a:pt x="584" y="184"/>
                </a:cubicBezTo>
                <a:close/>
                <a:moveTo>
                  <a:pt x="522" y="137"/>
                </a:moveTo>
                <a:cubicBezTo>
                  <a:pt x="522" y="138"/>
                  <a:pt x="520" y="138"/>
                  <a:pt x="520" y="138"/>
                </a:cubicBezTo>
                <a:cubicBezTo>
                  <a:pt x="520" y="137"/>
                  <a:pt x="521" y="137"/>
                  <a:pt x="522" y="137"/>
                </a:cubicBezTo>
                <a:close/>
                <a:moveTo>
                  <a:pt x="518" y="129"/>
                </a:moveTo>
                <a:cubicBezTo>
                  <a:pt x="518" y="129"/>
                  <a:pt x="518" y="129"/>
                  <a:pt x="518" y="129"/>
                </a:cubicBezTo>
                <a:cubicBezTo>
                  <a:pt x="519" y="131"/>
                  <a:pt x="516" y="128"/>
                  <a:pt x="518" y="129"/>
                </a:cubicBezTo>
                <a:close/>
                <a:moveTo>
                  <a:pt x="513" y="127"/>
                </a:moveTo>
                <a:cubicBezTo>
                  <a:pt x="513" y="128"/>
                  <a:pt x="511" y="128"/>
                  <a:pt x="511" y="127"/>
                </a:cubicBezTo>
                <a:cubicBezTo>
                  <a:pt x="511" y="127"/>
                  <a:pt x="513" y="126"/>
                  <a:pt x="513" y="127"/>
                </a:cubicBezTo>
                <a:close/>
                <a:moveTo>
                  <a:pt x="509" y="137"/>
                </a:moveTo>
                <a:cubicBezTo>
                  <a:pt x="510" y="137"/>
                  <a:pt x="509" y="138"/>
                  <a:pt x="508" y="137"/>
                </a:cubicBezTo>
                <a:cubicBezTo>
                  <a:pt x="508" y="137"/>
                  <a:pt x="509" y="136"/>
                  <a:pt x="509" y="137"/>
                </a:cubicBezTo>
                <a:close/>
                <a:moveTo>
                  <a:pt x="484" y="708"/>
                </a:moveTo>
                <a:cubicBezTo>
                  <a:pt x="483" y="705"/>
                  <a:pt x="489" y="705"/>
                  <a:pt x="490" y="705"/>
                </a:cubicBezTo>
                <a:cubicBezTo>
                  <a:pt x="490" y="705"/>
                  <a:pt x="485" y="709"/>
                  <a:pt x="484" y="708"/>
                </a:cubicBezTo>
                <a:close/>
                <a:moveTo>
                  <a:pt x="486" y="289"/>
                </a:moveTo>
                <a:cubicBezTo>
                  <a:pt x="485" y="290"/>
                  <a:pt x="484" y="289"/>
                  <a:pt x="485" y="289"/>
                </a:cubicBezTo>
                <a:cubicBezTo>
                  <a:pt x="485" y="287"/>
                  <a:pt x="486" y="289"/>
                  <a:pt x="486" y="289"/>
                </a:cubicBezTo>
                <a:close/>
                <a:moveTo>
                  <a:pt x="486" y="592"/>
                </a:moveTo>
                <a:cubicBezTo>
                  <a:pt x="486" y="590"/>
                  <a:pt x="488" y="591"/>
                  <a:pt x="486" y="592"/>
                </a:cubicBezTo>
                <a:close/>
                <a:moveTo>
                  <a:pt x="484" y="157"/>
                </a:moveTo>
                <a:cubicBezTo>
                  <a:pt x="483" y="157"/>
                  <a:pt x="485" y="155"/>
                  <a:pt x="485" y="157"/>
                </a:cubicBezTo>
                <a:cubicBezTo>
                  <a:pt x="485" y="156"/>
                  <a:pt x="485" y="158"/>
                  <a:pt x="484" y="157"/>
                </a:cubicBezTo>
                <a:close/>
                <a:moveTo>
                  <a:pt x="492" y="682"/>
                </a:moveTo>
                <a:cubicBezTo>
                  <a:pt x="489" y="683"/>
                  <a:pt x="487" y="685"/>
                  <a:pt x="485" y="685"/>
                </a:cubicBezTo>
                <a:cubicBezTo>
                  <a:pt x="482" y="685"/>
                  <a:pt x="487" y="682"/>
                  <a:pt x="487" y="682"/>
                </a:cubicBezTo>
                <a:cubicBezTo>
                  <a:pt x="489" y="682"/>
                  <a:pt x="490" y="682"/>
                  <a:pt x="492" y="682"/>
                </a:cubicBezTo>
                <a:cubicBezTo>
                  <a:pt x="492" y="682"/>
                  <a:pt x="493" y="682"/>
                  <a:pt x="494" y="682"/>
                </a:cubicBezTo>
                <a:cubicBezTo>
                  <a:pt x="493" y="682"/>
                  <a:pt x="492" y="682"/>
                  <a:pt x="492" y="682"/>
                </a:cubicBezTo>
                <a:close/>
                <a:moveTo>
                  <a:pt x="488" y="242"/>
                </a:moveTo>
                <a:cubicBezTo>
                  <a:pt x="490" y="244"/>
                  <a:pt x="486" y="242"/>
                  <a:pt x="488" y="242"/>
                </a:cubicBezTo>
                <a:close/>
                <a:moveTo>
                  <a:pt x="491" y="215"/>
                </a:moveTo>
                <a:cubicBezTo>
                  <a:pt x="491" y="215"/>
                  <a:pt x="493" y="214"/>
                  <a:pt x="492" y="215"/>
                </a:cubicBezTo>
                <a:cubicBezTo>
                  <a:pt x="492" y="216"/>
                  <a:pt x="491" y="215"/>
                  <a:pt x="491" y="215"/>
                </a:cubicBezTo>
                <a:close/>
                <a:moveTo>
                  <a:pt x="492" y="262"/>
                </a:moveTo>
                <a:cubicBezTo>
                  <a:pt x="493" y="262"/>
                  <a:pt x="491" y="263"/>
                  <a:pt x="491" y="262"/>
                </a:cubicBezTo>
                <a:cubicBezTo>
                  <a:pt x="491" y="262"/>
                  <a:pt x="492" y="262"/>
                  <a:pt x="492" y="262"/>
                </a:cubicBezTo>
                <a:close/>
                <a:moveTo>
                  <a:pt x="494" y="708"/>
                </a:moveTo>
                <a:cubicBezTo>
                  <a:pt x="494" y="708"/>
                  <a:pt x="494" y="708"/>
                  <a:pt x="495" y="709"/>
                </a:cubicBezTo>
                <a:cubicBezTo>
                  <a:pt x="495" y="709"/>
                  <a:pt x="495" y="709"/>
                  <a:pt x="494" y="708"/>
                </a:cubicBezTo>
                <a:close/>
                <a:moveTo>
                  <a:pt x="492" y="616"/>
                </a:moveTo>
                <a:cubicBezTo>
                  <a:pt x="492" y="614"/>
                  <a:pt x="495" y="615"/>
                  <a:pt x="495" y="616"/>
                </a:cubicBezTo>
                <a:cubicBezTo>
                  <a:pt x="495" y="617"/>
                  <a:pt x="492" y="618"/>
                  <a:pt x="492" y="616"/>
                </a:cubicBezTo>
                <a:close/>
                <a:moveTo>
                  <a:pt x="493" y="299"/>
                </a:moveTo>
                <a:cubicBezTo>
                  <a:pt x="493" y="299"/>
                  <a:pt x="494" y="298"/>
                  <a:pt x="494" y="298"/>
                </a:cubicBezTo>
                <a:cubicBezTo>
                  <a:pt x="494" y="298"/>
                  <a:pt x="493" y="300"/>
                  <a:pt x="493" y="299"/>
                </a:cubicBezTo>
                <a:close/>
                <a:moveTo>
                  <a:pt x="498" y="330"/>
                </a:moveTo>
                <a:cubicBezTo>
                  <a:pt x="498" y="330"/>
                  <a:pt x="498" y="330"/>
                  <a:pt x="498" y="330"/>
                </a:cubicBezTo>
                <a:cubicBezTo>
                  <a:pt x="498" y="330"/>
                  <a:pt x="498" y="330"/>
                  <a:pt x="498" y="330"/>
                </a:cubicBezTo>
                <a:close/>
                <a:moveTo>
                  <a:pt x="493" y="278"/>
                </a:moveTo>
                <a:cubicBezTo>
                  <a:pt x="494" y="274"/>
                  <a:pt x="496" y="270"/>
                  <a:pt x="498" y="267"/>
                </a:cubicBezTo>
                <a:cubicBezTo>
                  <a:pt x="498" y="269"/>
                  <a:pt x="495" y="276"/>
                  <a:pt x="493" y="278"/>
                </a:cubicBezTo>
                <a:close/>
                <a:moveTo>
                  <a:pt x="493" y="238"/>
                </a:moveTo>
                <a:cubicBezTo>
                  <a:pt x="493" y="237"/>
                  <a:pt x="494" y="237"/>
                  <a:pt x="494" y="238"/>
                </a:cubicBezTo>
                <a:cubicBezTo>
                  <a:pt x="494" y="239"/>
                  <a:pt x="493" y="238"/>
                  <a:pt x="493" y="238"/>
                </a:cubicBezTo>
                <a:close/>
                <a:moveTo>
                  <a:pt x="496" y="258"/>
                </a:moveTo>
                <a:cubicBezTo>
                  <a:pt x="499" y="254"/>
                  <a:pt x="498" y="251"/>
                  <a:pt x="501" y="248"/>
                </a:cubicBezTo>
                <a:cubicBezTo>
                  <a:pt x="500" y="251"/>
                  <a:pt x="499" y="257"/>
                  <a:pt x="496" y="258"/>
                </a:cubicBezTo>
                <a:close/>
                <a:moveTo>
                  <a:pt x="500" y="217"/>
                </a:moveTo>
                <a:cubicBezTo>
                  <a:pt x="501" y="216"/>
                  <a:pt x="502" y="217"/>
                  <a:pt x="500" y="217"/>
                </a:cubicBezTo>
                <a:close/>
                <a:moveTo>
                  <a:pt x="506" y="320"/>
                </a:moveTo>
                <a:cubicBezTo>
                  <a:pt x="506" y="322"/>
                  <a:pt x="507" y="319"/>
                  <a:pt x="506" y="320"/>
                </a:cubicBezTo>
                <a:close/>
                <a:moveTo>
                  <a:pt x="511" y="216"/>
                </a:moveTo>
                <a:cubicBezTo>
                  <a:pt x="510" y="216"/>
                  <a:pt x="510" y="214"/>
                  <a:pt x="511" y="215"/>
                </a:cubicBezTo>
                <a:cubicBezTo>
                  <a:pt x="511" y="215"/>
                  <a:pt x="511" y="216"/>
                  <a:pt x="511" y="216"/>
                </a:cubicBezTo>
                <a:close/>
                <a:moveTo>
                  <a:pt x="511" y="278"/>
                </a:moveTo>
                <a:cubicBezTo>
                  <a:pt x="512" y="275"/>
                  <a:pt x="514" y="275"/>
                  <a:pt x="511" y="278"/>
                </a:cubicBezTo>
                <a:close/>
                <a:moveTo>
                  <a:pt x="511" y="668"/>
                </a:moveTo>
                <a:cubicBezTo>
                  <a:pt x="510" y="668"/>
                  <a:pt x="509" y="668"/>
                  <a:pt x="509" y="667"/>
                </a:cubicBezTo>
                <a:cubicBezTo>
                  <a:pt x="509" y="666"/>
                  <a:pt x="511" y="667"/>
                  <a:pt x="511" y="668"/>
                </a:cubicBezTo>
                <a:close/>
                <a:moveTo>
                  <a:pt x="509" y="255"/>
                </a:moveTo>
                <a:cubicBezTo>
                  <a:pt x="509" y="255"/>
                  <a:pt x="509" y="254"/>
                  <a:pt x="509" y="254"/>
                </a:cubicBezTo>
                <a:cubicBezTo>
                  <a:pt x="511" y="255"/>
                  <a:pt x="508" y="256"/>
                  <a:pt x="509" y="255"/>
                </a:cubicBezTo>
                <a:close/>
                <a:moveTo>
                  <a:pt x="507" y="244"/>
                </a:moveTo>
                <a:cubicBezTo>
                  <a:pt x="507" y="244"/>
                  <a:pt x="509" y="242"/>
                  <a:pt x="509" y="243"/>
                </a:cubicBezTo>
                <a:cubicBezTo>
                  <a:pt x="510" y="244"/>
                  <a:pt x="508" y="245"/>
                  <a:pt x="507" y="244"/>
                </a:cubicBezTo>
                <a:close/>
                <a:moveTo>
                  <a:pt x="508" y="683"/>
                </a:moveTo>
                <a:cubicBezTo>
                  <a:pt x="508" y="682"/>
                  <a:pt x="512" y="682"/>
                  <a:pt x="512" y="683"/>
                </a:cubicBezTo>
                <a:cubicBezTo>
                  <a:pt x="511" y="685"/>
                  <a:pt x="509" y="684"/>
                  <a:pt x="508" y="683"/>
                </a:cubicBezTo>
                <a:close/>
                <a:moveTo>
                  <a:pt x="508" y="677"/>
                </a:moveTo>
                <a:cubicBezTo>
                  <a:pt x="509" y="673"/>
                  <a:pt x="516" y="676"/>
                  <a:pt x="516" y="678"/>
                </a:cubicBezTo>
                <a:cubicBezTo>
                  <a:pt x="516" y="681"/>
                  <a:pt x="508" y="681"/>
                  <a:pt x="508" y="677"/>
                </a:cubicBezTo>
                <a:close/>
                <a:moveTo>
                  <a:pt x="512" y="416"/>
                </a:moveTo>
                <a:cubicBezTo>
                  <a:pt x="513" y="414"/>
                  <a:pt x="515" y="411"/>
                  <a:pt x="518" y="409"/>
                </a:cubicBezTo>
                <a:cubicBezTo>
                  <a:pt x="516" y="412"/>
                  <a:pt x="514" y="415"/>
                  <a:pt x="512" y="416"/>
                </a:cubicBezTo>
                <a:close/>
                <a:moveTo>
                  <a:pt x="513" y="311"/>
                </a:moveTo>
                <a:cubicBezTo>
                  <a:pt x="515" y="312"/>
                  <a:pt x="512" y="312"/>
                  <a:pt x="513" y="311"/>
                </a:cubicBezTo>
                <a:close/>
                <a:moveTo>
                  <a:pt x="514" y="217"/>
                </a:moveTo>
                <a:cubicBezTo>
                  <a:pt x="515" y="218"/>
                  <a:pt x="514" y="219"/>
                  <a:pt x="513" y="219"/>
                </a:cubicBezTo>
                <a:cubicBezTo>
                  <a:pt x="513" y="219"/>
                  <a:pt x="514" y="218"/>
                  <a:pt x="514" y="217"/>
                </a:cubicBezTo>
                <a:close/>
                <a:moveTo>
                  <a:pt x="515" y="326"/>
                </a:moveTo>
                <a:cubicBezTo>
                  <a:pt x="516" y="324"/>
                  <a:pt x="516" y="328"/>
                  <a:pt x="515" y="327"/>
                </a:cubicBezTo>
                <a:cubicBezTo>
                  <a:pt x="514" y="327"/>
                  <a:pt x="515" y="326"/>
                  <a:pt x="515" y="326"/>
                </a:cubicBezTo>
                <a:close/>
                <a:moveTo>
                  <a:pt x="518" y="234"/>
                </a:moveTo>
                <a:cubicBezTo>
                  <a:pt x="520" y="232"/>
                  <a:pt x="516" y="235"/>
                  <a:pt x="518" y="234"/>
                </a:cubicBezTo>
                <a:close/>
                <a:moveTo>
                  <a:pt x="518" y="278"/>
                </a:moveTo>
                <a:cubicBezTo>
                  <a:pt x="518" y="277"/>
                  <a:pt x="519" y="277"/>
                  <a:pt x="519" y="278"/>
                </a:cubicBezTo>
                <a:cubicBezTo>
                  <a:pt x="519" y="278"/>
                  <a:pt x="518" y="278"/>
                  <a:pt x="518" y="278"/>
                </a:cubicBezTo>
                <a:close/>
                <a:moveTo>
                  <a:pt x="519" y="387"/>
                </a:moveTo>
                <a:cubicBezTo>
                  <a:pt x="517" y="386"/>
                  <a:pt x="519" y="383"/>
                  <a:pt x="520" y="383"/>
                </a:cubicBezTo>
                <a:cubicBezTo>
                  <a:pt x="524" y="381"/>
                  <a:pt x="521" y="388"/>
                  <a:pt x="519" y="387"/>
                </a:cubicBezTo>
                <a:close/>
                <a:moveTo>
                  <a:pt x="520" y="232"/>
                </a:moveTo>
                <a:cubicBezTo>
                  <a:pt x="522" y="230"/>
                  <a:pt x="519" y="233"/>
                  <a:pt x="520" y="232"/>
                </a:cubicBezTo>
                <a:close/>
                <a:moveTo>
                  <a:pt x="523" y="431"/>
                </a:moveTo>
                <a:cubicBezTo>
                  <a:pt x="522" y="432"/>
                  <a:pt x="524" y="429"/>
                  <a:pt x="523" y="431"/>
                </a:cubicBezTo>
                <a:close/>
                <a:moveTo>
                  <a:pt x="523" y="374"/>
                </a:moveTo>
                <a:cubicBezTo>
                  <a:pt x="522" y="374"/>
                  <a:pt x="524" y="373"/>
                  <a:pt x="523" y="374"/>
                </a:cubicBezTo>
                <a:close/>
                <a:moveTo>
                  <a:pt x="523" y="295"/>
                </a:moveTo>
                <a:cubicBezTo>
                  <a:pt x="523" y="295"/>
                  <a:pt x="523" y="294"/>
                  <a:pt x="523" y="294"/>
                </a:cubicBezTo>
                <a:cubicBezTo>
                  <a:pt x="523" y="294"/>
                  <a:pt x="523" y="294"/>
                  <a:pt x="523" y="294"/>
                </a:cubicBezTo>
                <a:cubicBezTo>
                  <a:pt x="523" y="295"/>
                  <a:pt x="523" y="295"/>
                  <a:pt x="523" y="295"/>
                </a:cubicBezTo>
                <a:close/>
                <a:moveTo>
                  <a:pt x="524" y="296"/>
                </a:moveTo>
                <a:cubicBezTo>
                  <a:pt x="525" y="296"/>
                  <a:pt x="525" y="296"/>
                  <a:pt x="525" y="296"/>
                </a:cubicBezTo>
                <a:cubicBezTo>
                  <a:pt x="526" y="298"/>
                  <a:pt x="523" y="296"/>
                  <a:pt x="524" y="296"/>
                </a:cubicBezTo>
                <a:close/>
                <a:moveTo>
                  <a:pt x="525" y="266"/>
                </a:moveTo>
                <a:cubicBezTo>
                  <a:pt x="525" y="264"/>
                  <a:pt x="531" y="263"/>
                  <a:pt x="530" y="267"/>
                </a:cubicBezTo>
                <a:cubicBezTo>
                  <a:pt x="529" y="269"/>
                  <a:pt x="525" y="268"/>
                  <a:pt x="525" y="266"/>
                </a:cubicBezTo>
                <a:close/>
                <a:moveTo>
                  <a:pt x="527" y="276"/>
                </a:moveTo>
                <a:cubicBezTo>
                  <a:pt x="527" y="275"/>
                  <a:pt x="527" y="275"/>
                  <a:pt x="528" y="275"/>
                </a:cubicBezTo>
                <a:cubicBezTo>
                  <a:pt x="529" y="275"/>
                  <a:pt x="526" y="277"/>
                  <a:pt x="527" y="276"/>
                </a:cubicBezTo>
                <a:close/>
                <a:moveTo>
                  <a:pt x="527" y="671"/>
                </a:moveTo>
                <a:cubicBezTo>
                  <a:pt x="527" y="671"/>
                  <a:pt x="527" y="671"/>
                  <a:pt x="527" y="671"/>
                </a:cubicBezTo>
                <a:cubicBezTo>
                  <a:pt x="527" y="671"/>
                  <a:pt x="527" y="671"/>
                  <a:pt x="527" y="671"/>
                </a:cubicBezTo>
                <a:cubicBezTo>
                  <a:pt x="527" y="671"/>
                  <a:pt x="527" y="671"/>
                  <a:pt x="527" y="671"/>
                </a:cubicBezTo>
                <a:close/>
                <a:moveTo>
                  <a:pt x="527" y="391"/>
                </a:moveTo>
                <a:cubicBezTo>
                  <a:pt x="527" y="390"/>
                  <a:pt x="528" y="389"/>
                  <a:pt x="528" y="388"/>
                </a:cubicBezTo>
                <a:cubicBezTo>
                  <a:pt x="529" y="389"/>
                  <a:pt x="527" y="390"/>
                  <a:pt x="527" y="391"/>
                </a:cubicBezTo>
                <a:close/>
                <a:moveTo>
                  <a:pt x="530" y="630"/>
                </a:moveTo>
                <a:cubicBezTo>
                  <a:pt x="531" y="629"/>
                  <a:pt x="534" y="629"/>
                  <a:pt x="536" y="628"/>
                </a:cubicBezTo>
                <a:cubicBezTo>
                  <a:pt x="535" y="630"/>
                  <a:pt x="532" y="630"/>
                  <a:pt x="530" y="630"/>
                </a:cubicBezTo>
                <a:close/>
                <a:moveTo>
                  <a:pt x="531" y="370"/>
                </a:moveTo>
                <a:cubicBezTo>
                  <a:pt x="531" y="372"/>
                  <a:pt x="529" y="371"/>
                  <a:pt x="531" y="370"/>
                </a:cubicBezTo>
                <a:close/>
                <a:moveTo>
                  <a:pt x="531" y="366"/>
                </a:moveTo>
                <a:cubicBezTo>
                  <a:pt x="531" y="366"/>
                  <a:pt x="531" y="366"/>
                  <a:pt x="531" y="366"/>
                </a:cubicBezTo>
                <a:cubicBezTo>
                  <a:pt x="533" y="366"/>
                  <a:pt x="530" y="368"/>
                  <a:pt x="531" y="366"/>
                </a:cubicBezTo>
                <a:close/>
                <a:moveTo>
                  <a:pt x="534" y="304"/>
                </a:moveTo>
                <a:cubicBezTo>
                  <a:pt x="534" y="305"/>
                  <a:pt x="532" y="305"/>
                  <a:pt x="532" y="305"/>
                </a:cubicBezTo>
                <a:cubicBezTo>
                  <a:pt x="532" y="304"/>
                  <a:pt x="533" y="303"/>
                  <a:pt x="534" y="304"/>
                </a:cubicBezTo>
                <a:close/>
                <a:moveTo>
                  <a:pt x="532" y="287"/>
                </a:moveTo>
                <a:cubicBezTo>
                  <a:pt x="532" y="287"/>
                  <a:pt x="533" y="287"/>
                  <a:pt x="533" y="287"/>
                </a:cubicBezTo>
                <a:cubicBezTo>
                  <a:pt x="534" y="287"/>
                  <a:pt x="532" y="288"/>
                  <a:pt x="532" y="287"/>
                </a:cubicBezTo>
                <a:close/>
                <a:moveTo>
                  <a:pt x="540" y="437"/>
                </a:moveTo>
                <a:cubicBezTo>
                  <a:pt x="539" y="439"/>
                  <a:pt x="538" y="442"/>
                  <a:pt x="536" y="443"/>
                </a:cubicBezTo>
                <a:cubicBezTo>
                  <a:pt x="536" y="442"/>
                  <a:pt x="538" y="439"/>
                  <a:pt x="540" y="437"/>
                </a:cubicBezTo>
                <a:close/>
                <a:moveTo>
                  <a:pt x="538" y="243"/>
                </a:moveTo>
                <a:cubicBezTo>
                  <a:pt x="538" y="243"/>
                  <a:pt x="537" y="243"/>
                  <a:pt x="537" y="243"/>
                </a:cubicBezTo>
                <a:cubicBezTo>
                  <a:pt x="537" y="243"/>
                  <a:pt x="538" y="243"/>
                  <a:pt x="538" y="243"/>
                </a:cubicBezTo>
                <a:cubicBezTo>
                  <a:pt x="538" y="243"/>
                  <a:pt x="538" y="243"/>
                  <a:pt x="538" y="243"/>
                </a:cubicBezTo>
                <a:close/>
                <a:moveTo>
                  <a:pt x="538" y="341"/>
                </a:moveTo>
                <a:cubicBezTo>
                  <a:pt x="539" y="339"/>
                  <a:pt x="537" y="342"/>
                  <a:pt x="538" y="341"/>
                </a:cubicBezTo>
                <a:close/>
                <a:moveTo>
                  <a:pt x="538" y="243"/>
                </a:moveTo>
                <a:cubicBezTo>
                  <a:pt x="539" y="242"/>
                  <a:pt x="539" y="243"/>
                  <a:pt x="538" y="243"/>
                </a:cubicBezTo>
                <a:close/>
                <a:moveTo>
                  <a:pt x="538" y="651"/>
                </a:moveTo>
                <a:cubicBezTo>
                  <a:pt x="537" y="653"/>
                  <a:pt x="537" y="650"/>
                  <a:pt x="538" y="651"/>
                </a:cubicBezTo>
                <a:close/>
                <a:moveTo>
                  <a:pt x="538" y="627"/>
                </a:moveTo>
                <a:cubicBezTo>
                  <a:pt x="541" y="625"/>
                  <a:pt x="541" y="628"/>
                  <a:pt x="538" y="627"/>
                </a:cubicBezTo>
                <a:close/>
                <a:moveTo>
                  <a:pt x="540" y="436"/>
                </a:moveTo>
                <a:cubicBezTo>
                  <a:pt x="540" y="436"/>
                  <a:pt x="540" y="436"/>
                  <a:pt x="540" y="436"/>
                </a:cubicBezTo>
                <a:cubicBezTo>
                  <a:pt x="540" y="436"/>
                  <a:pt x="540" y="435"/>
                  <a:pt x="540" y="435"/>
                </a:cubicBezTo>
                <a:cubicBezTo>
                  <a:pt x="540" y="435"/>
                  <a:pt x="540" y="435"/>
                  <a:pt x="540" y="436"/>
                </a:cubicBezTo>
                <a:close/>
                <a:moveTo>
                  <a:pt x="541" y="360"/>
                </a:moveTo>
                <a:cubicBezTo>
                  <a:pt x="541" y="359"/>
                  <a:pt x="541" y="358"/>
                  <a:pt x="542" y="359"/>
                </a:cubicBezTo>
                <a:cubicBezTo>
                  <a:pt x="544" y="359"/>
                  <a:pt x="539" y="361"/>
                  <a:pt x="541" y="360"/>
                </a:cubicBezTo>
                <a:close/>
                <a:moveTo>
                  <a:pt x="542" y="374"/>
                </a:moveTo>
                <a:cubicBezTo>
                  <a:pt x="542" y="375"/>
                  <a:pt x="542" y="376"/>
                  <a:pt x="540" y="376"/>
                </a:cubicBezTo>
                <a:cubicBezTo>
                  <a:pt x="541" y="375"/>
                  <a:pt x="541" y="375"/>
                  <a:pt x="542" y="374"/>
                </a:cubicBezTo>
                <a:close/>
                <a:moveTo>
                  <a:pt x="541" y="481"/>
                </a:moveTo>
                <a:cubicBezTo>
                  <a:pt x="541" y="481"/>
                  <a:pt x="542" y="479"/>
                  <a:pt x="542" y="478"/>
                </a:cubicBezTo>
                <a:cubicBezTo>
                  <a:pt x="543" y="480"/>
                  <a:pt x="541" y="480"/>
                  <a:pt x="541" y="481"/>
                </a:cubicBezTo>
                <a:close/>
                <a:moveTo>
                  <a:pt x="545" y="428"/>
                </a:moveTo>
                <a:cubicBezTo>
                  <a:pt x="545" y="429"/>
                  <a:pt x="543" y="432"/>
                  <a:pt x="541" y="434"/>
                </a:cubicBezTo>
                <a:cubicBezTo>
                  <a:pt x="542" y="431"/>
                  <a:pt x="547" y="424"/>
                  <a:pt x="545" y="428"/>
                </a:cubicBezTo>
                <a:close/>
                <a:moveTo>
                  <a:pt x="543" y="373"/>
                </a:moveTo>
                <a:cubicBezTo>
                  <a:pt x="544" y="374"/>
                  <a:pt x="542" y="374"/>
                  <a:pt x="543" y="373"/>
                </a:cubicBezTo>
                <a:close/>
                <a:moveTo>
                  <a:pt x="554" y="422"/>
                </a:moveTo>
                <a:cubicBezTo>
                  <a:pt x="555" y="421"/>
                  <a:pt x="555" y="420"/>
                  <a:pt x="555" y="420"/>
                </a:cubicBezTo>
                <a:cubicBezTo>
                  <a:pt x="555" y="421"/>
                  <a:pt x="555" y="421"/>
                  <a:pt x="554" y="422"/>
                </a:cubicBezTo>
                <a:close/>
                <a:moveTo>
                  <a:pt x="556" y="397"/>
                </a:moveTo>
                <a:cubicBezTo>
                  <a:pt x="556" y="396"/>
                  <a:pt x="557" y="395"/>
                  <a:pt x="558" y="394"/>
                </a:cubicBezTo>
                <a:cubicBezTo>
                  <a:pt x="558" y="395"/>
                  <a:pt x="557" y="397"/>
                  <a:pt x="556" y="397"/>
                </a:cubicBezTo>
                <a:close/>
                <a:moveTo>
                  <a:pt x="559" y="393"/>
                </a:moveTo>
                <a:cubicBezTo>
                  <a:pt x="558" y="392"/>
                  <a:pt x="560" y="391"/>
                  <a:pt x="559" y="393"/>
                </a:cubicBezTo>
                <a:close/>
                <a:moveTo>
                  <a:pt x="556" y="329"/>
                </a:moveTo>
                <a:cubicBezTo>
                  <a:pt x="557" y="327"/>
                  <a:pt x="559" y="327"/>
                  <a:pt x="561" y="325"/>
                </a:cubicBezTo>
                <a:cubicBezTo>
                  <a:pt x="564" y="321"/>
                  <a:pt x="566" y="316"/>
                  <a:pt x="570" y="314"/>
                </a:cubicBezTo>
                <a:cubicBezTo>
                  <a:pt x="570" y="318"/>
                  <a:pt x="564" y="320"/>
                  <a:pt x="563" y="323"/>
                </a:cubicBezTo>
                <a:cubicBezTo>
                  <a:pt x="562" y="325"/>
                  <a:pt x="558" y="330"/>
                  <a:pt x="556" y="332"/>
                </a:cubicBezTo>
                <a:cubicBezTo>
                  <a:pt x="556" y="332"/>
                  <a:pt x="556" y="334"/>
                  <a:pt x="554" y="333"/>
                </a:cubicBezTo>
                <a:cubicBezTo>
                  <a:pt x="553" y="332"/>
                  <a:pt x="556" y="329"/>
                  <a:pt x="556" y="329"/>
                </a:cubicBezTo>
                <a:close/>
                <a:moveTo>
                  <a:pt x="553" y="269"/>
                </a:moveTo>
                <a:cubicBezTo>
                  <a:pt x="552" y="268"/>
                  <a:pt x="553" y="267"/>
                  <a:pt x="554" y="267"/>
                </a:cubicBezTo>
                <a:cubicBezTo>
                  <a:pt x="556" y="265"/>
                  <a:pt x="555" y="270"/>
                  <a:pt x="553" y="269"/>
                </a:cubicBezTo>
                <a:close/>
                <a:moveTo>
                  <a:pt x="559" y="305"/>
                </a:moveTo>
                <a:cubicBezTo>
                  <a:pt x="559" y="306"/>
                  <a:pt x="560" y="304"/>
                  <a:pt x="559" y="305"/>
                </a:cubicBezTo>
                <a:close/>
                <a:moveTo>
                  <a:pt x="557" y="240"/>
                </a:moveTo>
                <a:cubicBezTo>
                  <a:pt x="557" y="239"/>
                  <a:pt x="559" y="238"/>
                  <a:pt x="560" y="239"/>
                </a:cubicBezTo>
                <a:cubicBezTo>
                  <a:pt x="560" y="241"/>
                  <a:pt x="558" y="240"/>
                  <a:pt x="557" y="240"/>
                </a:cubicBezTo>
                <a:close/>
                <a:moveTo>
                  <a:pt x="562" y="297"/>
                </a:moveTo>
                <a:cubicBezTo>
                  <a:pt x="562" y="297"/>
                  <a:pt x="562" y="297"/>
                  <a:pt x="562" y="297"/>
                </a:cubicBezTo>
                <a:cubicBezTo>
                  <a:pt x="563" y="294"/>
                  <a:pt x="562" y="300"/>
                  <a:pt x="562" y="297"/>
                </a:cubicBezTo>
                <a:close/>
                <a:moveTo>
                  <a:pt x="566" y="259"/>
                </a:moveTo>
                <a:cubicBezTo>
                  <a:pt x="566" y="259"/>
                  <a:pt x="565" y="260"/>
                  <a:pt x="564" y="260"/>
                </a:cubicBezTo>
                <a:cubicBezTo>
                  <a:pt x="564" y="259"/>
                  <a:pt x="565" y="259"/>
                  <a:pt x="566" y="259"/>
                </a:cubicBezTo>
                <a:close/>
                <a:moveTo>
                  <a:pt x="565" y="234"/>
                </a:moveTo>
                <a:cubicBezTo>
                  <a:pt x="565" y="234"/>
                  <a:pt x="565" y="235"/>
                  <a:pt x="565" y="235"/>
                </a:cubicBezTo>
                <a:cubicBezTo>
                  <a:pt x="564" y="235"/>
                  <a:pt x="565" y="234"/>
                  <a:pt x="565" y="234"/>
                </a:cubicBezTo>
                <a:close/>
                <a:moveTo>
                  <a:pt x="567" y="309"/>
                </a:moveTo>
                <a:cubicBezTo>
                  <a:pt x="567" y="309"/>
                  <a:pt x="567" y="308"/>
                  <a:pt x="567" y="308"/>
                </a:cubicBezTo>
                <a:cubicBezTo>
                  <a:pt x="568" y="306"/>
                  <a:pt x="567" y="311"/>
                  <a:pt x="567" y="309"/>
                </a:cubicBezTo>
                <a:close/>
                <a:moveTo>
                  <a:pt x="567" y="294"/>
                </a:moveTo>
                <a:cubicBezTo>
                  <a:pt x="568" y="293"/>
                  <a:pt x="567" y="295"/>
                  <a:pt x="567" y="294"/>
                </a:cubicBezTo>
                <a:close/>
                <a:moveTo>
                  <a:pt x="569" y="229"/>
                </a:moveTo>
                <a:cubicBezTo>
                  <a:pt x="568" y="228"/>
                  <a:pt x="573" y="224"/>
                  <a:pt x="573" y="224"/>
                </a:cubicBezTo>
                <a:cubicBezTo>
                  <a:pt x="578" y="222"/>
                  <a:pt x="570" y="230"/>
                  <a:pt x="569" y="229"/>
                </a:cubicBezTo>
                <a:close/>
                <a:moveTo>
                  <a:pt x="572" y="359"/>
                </a:moveTo>
                <a:cubicBezTo>
                  <a:pt x="572" y="359"/>
                  <a:pt x="571" y="359"/>
                  <a:pt x="571" y="360"/>
                </a:cubicBezTo>
                <a:cubicBezTo>
                  <a:pt x="571" y="360"/>
                  <a:pt x="571" y="360"/>
                  <a:pt x="571" y="360"/>
                </a:cubicBezTo>
                <a:cubicBezTo>
                  <a:pt x="571" y="360"/>
                  <a:pt x="572" y="359"/>
                  <a:pt x="572" y="359"/>
                </a:cubicBezTo>
                <a:close/>
                <a:moveTo>
                  <a:pt x="569" y="301"/>
                </a:moveTo>
                <a:cubicBezTo>
                  <a:pt x="569" y="302"/>
                  <a:pt x="570" y="299"/>
                  <a:pt x="569" y="301"/>
                </a:cubicBezTo>
                <a:close/>
                <a:moveTo>
                  <a:pt x="570" y="335"/>
                </a:moveTo>
                <a:cubicBezTo>
                  <a:pt x="569" y="336"/>
                  <a:pt x="568" y="337"/>
                  <a:pt x="567" y="339"/>
                </a:cubicBezTo>
                <a:cubicBezTo>
                  <a:pt x="567" y="337"/>
                  <a:pt x="568" y="336"/>
                  <a:pt x="570" y="335"/>
                </a:cubicBezTo>
                <a:close/>
                <a:moveTo>
                  <a:pt x="560" y="391"/>
                </a:moveTo>
                <a:cubicBezTo>
                  <a:pt x="560" y="390"/>
                  <a:pt x="560" y="390"/>
                  <a:pt x="561" y="389"/>
                </a:cubicBezTo>
                <a:cubicBezTo>
                  <a:pt x="561" y="390"/>
                  <a:pt x="561" y="391"/>
                  <a:pt x="560" y="391"/>
                </a:cubicBezTo>
                <a:close/>
                <a:moveTo>
                  <a:pt x="559" y="346"/>
                </a:moveTo>
                <a:cubicBezTo>
                  <a:pt x="560" y="344"/>
                  <a:pt x="562" y="343"/>
                  <a:pt x="564" y="341"/>
                </a:cubicBezTo>
                <a:cubicBezTo>
                  <a:pt x="563" y="343"/>
                  <a:pt x="561" y="345"/>
                  <a:pt x="559" y="346"/>
                </a:cubicBezTo>
                <a:close/>
                <a:moveTo>
                  <a:pt x="565" y="358"/>
                </a:moveTo>
                <a:cubicBezTo>
                  <a:pt x="565" y="359"/>
                  <a:pt x="564" y="360"/>
                  <a:pt x="563" y="360"/>
                </a:cubicBezTo>
                <a:cubicBezTo>
                  <a:pt x="564" y="360"/>
                  <a:pt x="565" y="359"/>
                  <a:pt x="565" y="358"/>
                </a:cubicBezTo>
                <a:close/>
                <a:moveTo>
                  <a:pt x="564" y="552"/>
                </a:moveTo>
                <a:cubicBezTo>
                  <a:pt x="563" y="551"/>
                  <a:pt x="565" y="550"/>
                  <a:pt x="565" y="549"/>
                </a:cubicBezTo>
                <a:cubicBezTo>
                  <a:pt x="565" y="550"/>
                  <a:pt x="565" y="551"/>
                  <a:pt x="564" y="552"/>
                </a:cubicBezTo>
                <a:close/>
                <a:moveTo>
                  <a:pt x="566" y="450"/>
                </a:moveTo>
                <a:cubicBezTo>
                  <a:pt x="568" y="448"/>
                  <a:pt x="567" y="453"/>
                  <a:pt x="566" y="453"/>
                </a:cubicBezTo>
                <a:cubicBezTo>
                  <a:pt x="565" y="452"/>
                  <a:pt x="566" y="450"/>
                  <a:pt x="566" y="450"/>
                </a:cubicBezTo>
                <a:close/>
                <a:moveTo>
                  <a:pt x="566" y="570"/>
                </a:moveTo>
                <a:cubicBezTo>
                  <a:pt x="566" y="570"/>
                  <a:pt x="567" y="570"/>
                  <a:pt x="567" y="570"/>
                </a:cubicBezTo>
                <a:cubicBezTo>
                  <a:pt x="568" y="570"/>
                  <a:pt x="566" y="571"/>
                  <a:pt x="566" y="570"/>
                </a:cubicBezTo>
                <a:close/>
                <a:moveTo>
                  <a:pt x="569" y="442"/>
                </a:moveTo>
                <a:cubicBezTo>
                  <a:pt x="570" y="441"/>
                  <a:pt x="567" y="444"/>
                  <a:pt x="569" y="442"/>
                </a:cubicBezTo>
                <a:close/>
                <a:moveTo>
                  <a:pt x="567" y="349"/>
                </a:moveTo>
                <a:cubicBezTo>
                  <a:pt x="567" y="349"/>
                  <a:pt x="567" y="347"/>
                  <a:pt x="568" y="347"/>
                </a:cubicBezTo>
                <a:cubicBezTo>
                  <a:pt x="570" y="344"/>
                  <a:pt x="569" y="350"/>
                  <a:pt x="567" y="349"/>
                </a:cubicBezTo>
                <a:close/>
                <a:moveTo>
                  <a:pt x="571" y="537"/>
                </a:moveTo>
                <a:cubicBezTo>
                  <a:pt x="572" y="538"/>
                  <a:pt x="570" y="540"/>
                  <a:pt x="569" y="542"/>
                </a:cubicBezTo>
                <a:cubicBezTo>
                  <a:pt x="569" y="541"/>
                  <a:pt x="571" y="539"/>
                  <a:pt x="571" y="537"/>
                </a:cubicBezTo>
                <a:close/>
                <a:moveTo>
                  <a:pt x="570" y="574"/>
                </a:moveTo>
                <a:cubicBezTo>
                  <a:pt x="569" y="574"/>
                  <a:pt x="570" y="571"/>
                  <a:pt x="570" y="571"/>
                </a:cubicBezTo>
                <a:cubicBezTo>
                  <a:pt x="573" y="569"/>
                  <a:pt x="572" y="575"/>
                  <a:pt x="570" y="574"/>
                </a:cubicBezTo>
                <a:close/>
                <a:moveTo>
                  <a:pt x="572" y="501"/>
                </a:moveTo>
                <a:cubicBezTo>
                  <a:pt x="573" y="500"/>
                  <a:pt x="571" y="503"/>
                  <a:pt x="572" y="501"/>
                </a:cubicBezTo>
                <a:close/>
                <a:moveTo>
                  <a:pt x="572" y="232"/>
                </a:moveTo>
                <a:cubicBezTo>
                  <a:pt x="572" y="231"/>
                  <a:pt x="574" y="230"/>
                  <a:pt x="574" y="231"/>
                </a:cubicBezTo>
                <a:cubicBezTo>
                  <a:pt x="575" y="232"/>
                  <a:pt x="573" y="233"/>
                  <a:pt x="572" y="232"/>
                </a:cubicBezTo>
                <a:close/>
                <a:moveTo>
                  <a:pt x="574" y="385"/>
                </a:moveTo>
                <a:cubicBezTo>
                  <a:pt x="574" y="385"/>
                  <a:pt x="573" y="385"/>
                  <a:pt x="573" y="384"/>
                </a:cubicBezTo>
                <a:cubicBezTo>
                  <a:pt x="573" y="383"/>
                  <a:pt x="575" y="385"/>
                  <a:pt x="574" y="385"/>
                </a:cubicBezTo>
                <a:close/>
                <a:moveTo>
                  <a:pt x="574" y="252"/>
                </a:moveTo>
                <a:cubicBezTo>
                  <a:pt x="573" y="251"/>
                  <a:pt x="574" y="250"/>
                  <a:pt x="574" y="250"/>
                </a:cubicBezTo>
                <a:cubicBezTo>
                  <a:pt x="576" y="249"/>
                  <a:pt x="575" y="252"/>
                  <a:pt x="574" y="252"/>
                </a:cubicBezTo>
                <a:close/>
                <a:moveTo>
                  <a:pt x="576" y="495"/>
                </a:moveTo>
                <a:cubicBezTo>
                  <a:pt x="576" y="496"/>
                  <a:pt x="575" y="496"/>
                  <a:pt x="575" y="497"/>
                </a:cubicBezTo>
                <a:cubicBezTo>
                  <a:pt x="574" y="497"/>
                  <a:pt x="575" y="496"/>
                  <a:pt x="576" y="495"/>
                </a:cubicBezTo>
                <a:close/>
                <a:moveTo>
                  <a:pt x="576" y="533"/>
                </a:moveTo>
                <a:cubicBezTo>
                  <a:pt x="575" y="533"/>
                  <a:pt x="577" y="532"/>
                  <a:pt x="576" y="533"/>
                </a:cubicBezTo>
                <a:close/>
                <a:moveTo>
                  <a:pt x="577" y="315"/>
                </a:moveTo>
                <a:cubicBezTo>
                  <a:pt x="578" y="316"/>
                  <a:pt x="576" y="316"/>
                  <a:pt x="576" y="315"/>
                </a:cubicBezTo>
                <a:cubicBezTo>
                  <a:pt x="576" y="315"/>
                  <a:pt x="577" y="314"/>
                  <a:pt x="577" y="315"/>
                </a:cubicBezTo>
                <a:close/>
                <a:moveTo>
                  <a:pt x="577" y="253"/>
                </a:moveTo>
                <a:cubicBezTo>
                  <a:pt x="578" y="252"/>
                  <a:pt x="577" y="254"/>
                  <a:pt x="577" y="253"/>
                </a:cubicBezTo>
                <a:close/>
                <a:moveTo>
                  <a:pt x="581" y="538"/>
                </a:moveTo>
                <a:cubicBezTo>
                  <a:pt x="582" y="540"/>
                  <a:pt x="579" y="540"/>
                  <a:pt x="581" y="538"/>
                </a:cubicBezTo>
                <a:close/>
                <a:moveTo>
                  <a:pt x="576" y="423"/>
                </a:moveTo>
                <a:cubicBezTo>
                  <a:pt x="579" y="421"/>
                  <a:pt x="580" y="415"/>
                  <a:pt x="583" y="415"/>
                </a:cubicBezTo>
                <a:cubicBezTo>
                  <a:pt x="582" y="415"/>
                  <a:pt x="580" y="422"/>
                  <a:pt x="576" y="423"/>
                </a:cubicBezTo>
                <a:close/>
                <a:moveTo>
                  <a:pt x="581" y="348"/>
                </a:moveTo>
                <a:cubicBezTo>
                  <a:pt x="582" y="347"/>
                  <a:pt x="581" y="351"/>
                  <a:pt x="582" y="349"/>
                </a:cubicBezTo>
                <a:cubicBezTo>
                  <a:pt x="582" y="349"/>
                  <a:pt x="581" y="349"/>
                  <a:pt x="581" y="348"/>
                </a:cubicBezTo>
                <a:close/>
                <a:moveTo>
                  <a:pt x="583" y="310"/>
                </a:moveTo>
                <a:cubicBezTo>
                  <a:pt x="581" y="309"/>
                  <a:pt x="583" y="305"/>
                  <a:pt x="584" y="305"/>
                </a:cubicBezTo>
                <a:cubicBezTo>
                  <a:pt x="588" y="302"/>
                  <a:pt x="586" y="312"/>
                  <a:pt x="583" y="310"/>
                </a:cubicBezTo>
                <a:close/>
                <a:moveTo>
                  <a:pt x="585" y="506"/>
                </a:moveTo>
                <a:cubicBezTo>
                  <a:pt x="585" y="507"/>
                  <a:pt x="585" y="506"/>
                  <a:pt x="586" y="506"/>
                </a:cubicBezTo>
                <a:cubicBezTo>
                  <a:pt x="586" y="506"/>
                  <a:pt x="586" y="506"/>
                  <a:pt x="585" y="506"/>
                </a:cubicBezTo>
                <a:close/>
                <a:moveTo>
                  <a:pt x="586" y="505"/>
                </a:moveTo>
                <a:cubicBezTo>
                  <a:pt x="584" y="505"/>
                  <a:pt x="586" y="500"/>
                  <a:pt x="587" y="500"/>
                </a:cubicBezTo>
                <a:cubicBezTo>
                  <a:pt x="589" y="499"/>
                  <a:pt x="588" y="506"/>
                  <a:pt x="586" y="505"/>
                </a:cubicBezTo>
                <a:close/>
                <a:moveTo>
                  <a:pt x="587" y="431"/>
                </a:moveTo>
                <a:cubicBezTo>
                  <a:pt x="587" y="431"/>
                  <a:pt x="587" y="431"/>
                  <a:pt x="587" y="430"/>
                </a:cubicBezTo>
                <a:cubicBezTo>
                  <a:pt x="588" y="429"/>
                  <a:pt x="587" y="430"/>
                  <a:pt x="587" y="431"/>
                </a:cubicBezTo>
                <a:close/>
                <a:moveTo>
                  <a:pt x="584" y="371"/>
                </a:moveTo>
                <a:cubicBezTo>
                  <a:pt x="587" y="368"/>
                  <a:pt x="589" y="364"/>
                  <a:pt x="593" y="361"/>
                </a:cubicBezTo>
                <a:cubicBezTo>
                  <a:pt x="591" y="365"/>
                  <a:pt x="588" y="368"/>
                  <a:pt x="584" y="371"/>
                </a:cubicBezTo>
                <a:close/>
                <a:moveTo>
                  <a:pt x="587" y="302"/>
                </a:moveTo>
                <a:cubicBezTo>
                  <a:pt x="587" y="302"/>
                  <a:pt x="587" y="302"/>
                  <a:pt x="587" y="302"/>
                </a:cubicBezTo>
                <a:cubicBezTo>
                  <a:pt x="587" y="302"/>
                  <a:pt x="587" y="302"/>
                  <a:pt x="587" y="302"/>
                </a:cubicBezTo>
                <a:cubicBezTo>
                  <a:pt x="587" y="302"/>
                  <a:pt x="587" y="302"/>
                  <a:pt x="587" y="302"/>
                </a:cubicBezTo>
                <a:close/>
                <a:moveTo>
                  <a:pt x="588" y="262"/>
                </a:moveTo>
                <a:cubicBezTo>
                  <a:pt x="589" y="262"/>
                  <a:pt x="589" y="264"/>
                  <a:pt x="588" y="264"/>
                </a:cubicBezTo>
                <a:cubicBezTo>
                  <a:pt x="588" y="264"/>
                  <a:pt x="589" y="263"/>
                  <a:pt x="588" y="262"/>
                </a:cubicBezTo>
                <a:close/>
                <a:moveTo>
                  <a:pt x="608" y="272"/>
                </a:moveTo>
                <a:cubicBezTo>
                  <a:pt x="604" y="277"/>
                  <a:pt x="599" y="281"/>
                  <a:pt x="593" y="285"/>
                </a:cubicBezTo>
                <a:cubicBezTo>
                  <a:pt x="598" y="280"/>
                  <a:pt x="602" y="276"/>
                  <a:pt x="608" y="272"/>
                </a:cubicBezTo>
                <a:close/>
                <a:moveTo>
                  <a:pt x="602" y="270"/>
                </a:moveTo>
                <a:cubicBezTo>
                  <a:pt x="602" y="269"/>
                  <a:pt x="603" y="268"/>
                  <a:pt x="603" y="270"/>
                </a:cubicBezTo>
                <a:cubicBezTo>
                  <a:pt x="604" y="271"/>
                  <a:pt x="602" y="270"/>
                  <a:pt x="602" y="270"/>
                </a:cubicBezTo>
                <a:close/>
                <a:moveTo>
                  <a:pt x="595" y="289"/>
                </a:moveTo>
                <a:cubicBezTo>
                  <a:pt x="596" y="288"/>
                  <a:pt x="597" y="288"/>
                  <a:pt x="597" y="288"/>
                </a:cubicBezTo>
                <a:cubicBezTo>
                  <a:pt x="598" y="288"/>
                  <a:pt x="591" y="297"/>
                  <a:pt x="589" y="296"/>
                </a:cubicBezTo>
                <a:cubicBezTo>
                  <a:pt x="588" y="296"/>
                  <a:pt x="595" y="289"/>
                  <a:pt x="595" y="289"/>
                </a:cubicBezTo>
                <a:close/>
                <a:moveTo>
                  <a:pt x="595" y="391"/>
                </a:moveTo>
                <a:cubicBezTo>
                  <a:pt x="595" y="393"/>
                  <a:pt x="593" y="392"/>
                  <a:pt x="595" y="391"/>
                </a:cubicBezTo>
                <a:close/>
                <a:moveTo>
                  <a:pt x="594" y="394"/>
                </a:moveTo>
                <a:cubicBezTo>
                  <a:pt x="595" y="393"/>
                  <a:pt x="594" y="395"/>
                  <a:pt x="594" y="394"/>
                </a:cubicBezTo>
                <a:close/>
                <a:moveTo>
                  <a:pt x="591" y="396"/>
                </a:moveTo>
                <a:cubicBezTo>
                  <a:pt x="592" y="396"/>
                  <a:pt x="592" y="394"/>
                  <a:pt x="593" y="394"/>
                </a:cubicBezTo>
                <a:cubicBezTo>
                  <a:pt x="593" y="395"/>
                  <a:pt x="592" y="396"/>
                  <a:pt x="591" y="396"/>
                </a:cubicBezTo>
                <a:close/>
                <a:moveTo>
                  <a:pt x="592" y="398"/>
                </a:moveTo>
                <a:cubicBezTo>
                  <a:pt x="593" y="398"/>
                  <a:pt x="590" y="400"/>
                  <a:pt x="592" y="398"/>
                </a:cubicBezTo>
                <a:close/>
                <a:moveTo>
                  <a:pt x="593" y="300"/>
                </a:moveTo>
                <a:cubicBezTo>
                  <a:pt x="592" y="300"/>
                  <a:pt x="593" y="299"/>
                  <a:pt x="593" y="299"/>
                </a:cubicBezTo>
                <a:cubicBezTo>
                  <a:pt x="594" y="297"/>
                  <a:pt x="595" y="301"/>
                  <a:pt x="593" y="300"/>
                </a:cubicBezTo>
                <a:close/>
                <a:moveTo>
                  <a:pt x="593" y="297"/>
                </a:moveTo>
                <a:cubicBezTo>
                  <a:pt x="593" y="296"/>
                  <a:pt x="594" y="296"/>
                  <a:pt x="595" y="295"/>
                </a:cubicBezTo>
                <a:cubicBezTo>
                  <a:pt x="595" y="296"/>
                  <a:pt x="594" y="297"/>
                  <a:pt x="593" y="297"/>
                </a:cubicBezTo>
                <a:close/>
                <a:moveTo>
                  <a:pt x="592" y="298"/>
                </a:moveTo>
                <a:cubicBezTo>
                  <a:pt x="591" y="300"/>
                  <a:pt x="589" y="299"/>
                  <a:pt x="592" y="298"/>
                </a:cubicBezTo>
                <a:close/>
                <a:moveTo>
                  <a:pt x="589" y="303"/>
                </a:moveTo>
                <a:cubicBezTo>
                  <a:pt x="589" y="303"/>
                  <a:pt x="589" y="302"/>
                  <a:pt x="589" y="302"/>
                </a:cubicBezTo>
                <a:cubicBezTo>
                  <a:pt x="591" y="300"/>
                  <a:pt x="590" y="304"/>
                  <a:pt x="589" y="303"/>
                </a:cubicBezTo>
                <a:close/>
                <a:moveTo>
                  <a:pt x="590" y="320"/>
                </a:moveTo>
                <a:cubicBezTo>
                  <a:pt x="590" y="321"/>
                  <a:pt x="589" y="321"/>
                  <a:pt x="589" y="322"/>
                </a:cubicBezTo>
                <a:cubicBezTo>
                  <a:pt x="588" y="322"/>
                  <a:pt x="589" y="321"/>
                  <a:pt x="590" y="320"/>
                </a:cubicBezTo>
                <a:close/>
                <a:moveTo>
                  <a:pt x="589" y="289"/>
                </a:moveTo>
                <a:cubicBezTo>
                  <a:pt x="588" y="287"/>
                  <a:pt x="591" y="287"/>
                  <a:pt x="592" y="285"/>
                </a:cubicBezTo>
                <a:cubicBezTo>
                  <a:pt x="593" y="286"/>
                  <a:pt x="590" y="288"/>
                  <a:pt x="589" y="289"/>
                </a:cubicBezTo>
                <a:close/>
                <a:moveTo>
                  <a:pt x="588" y="267"/>
                </a:moveTo>
                <a:cubicBezTo>
                  <a:pt x="588" y="267"/>
                  <a:pt x="588" y="267"/>
                  <a:pt x="588" y="267"/>
                </a:cubicBezTo>
                <a:cubicBezTo>
                  <a:pt x="588" y="267"/>
                  <a:pt x="588" y="267"/>
                  <a:pt x="588" y="268"/>
                </a:cubicBezTo>
                <a:cubicBezTo>
                  <a:pt x="588" y="268"/>
                  <a:pt x="588" y="267"/>
                  <a:pt x="588" y="267"/>
                </a:cubicBezTo>
                <a:close/>
                <a:moveTo>
                  <a:pt x="590" y="400"/>
                </a:moveTo>
                <a:cubicBezTo>
                  <a:pt x="590" y="401"/>
                  <a:pt x="591" y="398"/>
                  <a:pt x="590" y="400"/>
                </a:cubicBezTo>
                <a:close/>
                <a:moveTo>
                  <a:pt x="590" y="437"/>
                </a:moveTo>
                <a:cubicBezTo>
                  <a:pt x="590" y="436"/>
                  <a:pt x="590" y="435"/>
                  <a:pt x="592" y="434"/>
                </a:cubicBezTo>
                <a:cubicBezTo>
                  <a:pt x="593" y="434"/>
                  <a:pt x="594" y="433"/>
                  <a:pt x="595" y="434"/>
                </a:cubicBezTo>
                <a:cubicBezTo>
                  <a:pt x="597" y="438"/>
                  <a:pt x="590" y="441"/>
                  <a:pt x="590" y="437"/>
                </a:cubicBezTo>
                <a:close/>
                <a:moveTo>
                  <a:pt x="595" y="391"/>
                </a:moveTo>
                <a:cubicBezTo>
                  <a:pt x="595" y="390"/>
                  <a:pt x="595" y="390"/>
                  <a:pt x="596" y="389"/>
                </a:cubicBezTo>
                <a:cubicBezTo>
                  <a:pt x="596" y="390"/>
                  <a:pt x="596" y="391"/>
                  <a:pt x="595" y="391"/>
                </a:cubicBezTo>
                <a:close/>
                <a:moveTo>
                  <a:pt x="596" y="565"/>
                </a:moveTo>
                <a:cubicBezTo>
                  <a:pt x="596" y="565"/>
                  <a:pt x="596" y="565"/>
                  <a:pt x="596" y="565"/>
                </a:cubicBezTo>
                <a:cubicBezTo>
                  <a:pt x="596" y="565"/>
                  <a:pt x="596" y="565"/>
                  <a:pt x="596" y="565"/>
                </a:cubicBezTo>
                <a:cubicBezTo>
                  <a:pt x="596" y="565"/>
                  <a:pt x="596" y="565"/>
                  <a:pt x="596" y="565"/>
                </a:cubicBezTo>
                <a:close/>
                <a:moveTo>
                  <a:pt x="596" y="436"/>
                </a:moveTo>
                <a:cubicBezTo>
                  <a:pt x="598" y="435"/>
                  <a:pt x="595" y="438"/>
                  <a:pt x="596" y="436"/>
                </a:cubicBezTo>
                <a:close/>
                <a:moveTo>
                  <a:pt x="596" y="392"/>
                </a:moveTo>
                <a:cubicBezTo>
                  <a:pt x="596" y="391"/>
                  <a:pt x="597" y="390"/>
                  <a:pt x="597" y="390"/>
                </a:cubicBezTo>
                <a:cubicBezTo>
                  <a:pt x="597" y="391"/>
                  <a:pt x="597" y="392"/>
                  <a:pt x="596" y="392"/>
                </a:cubicBezTo>
                <a:close/>
                <a:moveTo>
                  <a:pt x="596" y="389"/>
                </a:moveTo>
                <a:cubicBezTo>
                  <a:pt x="597" y="388"/>
                  <a:pt x="597" y="388"/>
                  <a:pt x="598" y="387"/>
                </a:cubicBezTo>
                <a:cubicBezTo>
                  <a:pt x="598" y="388"/>
                  <a:pt x="597" y="389"/>
                  <a:pt x="596" y="389"/>
                </a:cubicBezTo>
                <a:close/>
                <a:moveTo>
                  <a:pt x="597" y="541"/>
                </a:moveTo>
                <a:cubicBezTo>
                  <a:pt x="596" y="541"/>
                  <a:pt x="598" y="540"/>
                  <a:pt x="597" y="539"/>
                </a:cubicBezTo>
                <a:cubicBezTo>
                  <a:pt x="598" y="539"/>
                  <a:pt x="597" y="541"/>
                  <a:pt x="597" y="541"/>
                </a:cubicBezTo>
                <a:close/>
                <a:moveTo>
                  <a:pt x="597" y="347"/>
                </a:moveTo>
                <a:cubicBezTo>
                  <a:pt x="597" y="347"/>
                  <a:pt x="597" y="346"/>
                  <a:pt x="597" y="346"/>
                </a:cubicBezTo>
                <a:cubicBezTo>
                  <a:pt x="598" y="344"/>
                  <a:pt x="598" y="348"/>
                  <a:pt x="597" y="347"/>
                </a:cubicBezTo>
                <a:close/>
                <a:moveTo>
                  <a:pt x="598" y="386"/>
                </a:moveTo>
                <a:cubicBezTo>
                  <a:pt x="599" y="385"/>
                  <a:pt x="597" y="388"/>
                  <a:pt x="598" y="386"/>
                </a:cubicBezTo>
                <a:close/>
                <a:moveTo>
                  <a:pt x="600" y="336"/>
                </a:moveTo>
                <a:cubicBezTo>
                  <a:pt x="598" y="339"/>
                  <a:pt x="603" y="335"/>
                  <a:pt x="600" y="336"/>
                </a:cubicBezTo>
                <a:close/>
                <a:moveTo>
                  <a:pt x="601" y="360"/>
                </a:moveTo>
                <a:cubicBezTo>
                  <a:pt x="602" y="358"/>
                  <a:pt x="600" y="361"/>
                  <a:pt x="601" y="360"/>
                </a:cubicBezTo>
                <a:close/>
                <a:moveTo>
                  <a:pt x="601" y="299"/>
                </a:moveTo>
                <a:cubicBezTo>
                  <a:pt x="600" y="298"/>
                  <a:pt x="602" y="296"/>
                  <a:pt x="602" y="298"/>
                </a:cubicBezTo>
                <a:cubicBezTo>
                  <a:pt x="603" y="298"/>
                  <a:pt x="602" y="299"/>
                  <a:pt x="601" y="299"/>
                </a:cubicBezTo>
                <a:close/>
                <a:moveTo>
                  <a:pt x="602" y="291"/>
                </a:moveTo>
                <a:cubicBezTo>
                  <a:pt x="601" y="290"/>
                  <a:pt x="603" y="290"/>
                  <a:pt x="603" y="291"/>
                </a:cubicBezTo>
                <a:cubicBezTo>
                  <a:pt x="602" y="291"/>
                  <a:pt x="602" y="291"/>
                  <a:pt x="602" y="291"/>
                </a:cubicBezTo>
                <a:close/>
                <a:moveTo>
                  <a:pt x="603" y="334"/>
                </a:moveTo>
                <a:cubicBezTo>
                  <a:pt x="603" y="333"/>
                  <a:pt x="604" y="332"/>
                  <a:pt x="605" y="331"/>
                </a:cubicBezTo>
                <a:cubicBezTo>
                  <a:pt x="605" y="333"/>
                  <a:pt x="604" y="333"/>
                  <a:pt x="603" y="334"/>
                </a:cubicBezTo>
                <a:close/>
                <a:moveTo>
                  <a:pt x="605" y="302"/>
                </a:moveTo>
                <a:cubicBezTo>
                  <a:pt x="605" y="302"/>
                  <a:pt x="605" y="302"/>
                  <a:pt x="605" y="302"/>
                </a:cubicBezTo>
                <a:cubicBezTo>
                  <a:pt x="606" y="304"/>
                  <a:pt x="603" y="302"/>
                  <a:pt x="605" y="302"/>
                </a:cubicBezTo>
                <a:close/>
                <a:moveTo>
                  <a:pt x="605" y="373"/>
                </a:moveTo>
                <a:cubicBezTo>
                  <a:pt x="605" y="373"/>
                  <a:pt x="606" y="373"/>
                  <a:pt x="606" y="373"/>
                </a:cubicBezTo>
                <a:cubicBezTo>
                  <a:pt x="606" y="374"/>
                  <a:pt x="605" y="373"/>
                  <a:pt x="605" y="373"/>
                </a:cubicBezTo>
                <a:close/>
                <a:moveTo>
                  <a:pt x="606" y="568"/>
                </a:moveTo>
                <a:cubicBezTo>
                  <a:pt x="607" y="567"/>
                  <a:pt x="605" y="570"/>
                  <a:pt x="606" y="568"/>
                </a:cubicBezTo>
                <a:close/>
                <a:moveTo>
                  <a:pt x="608" y="285"/>
                </a:moveTo>
                <a:cubicBezTo>
                  <a:pt x="608" y="285"/>
                  <a:pt x="609" y="284"/>
                  <a:pt x="609" y="284"/>
                </a:cubicBezTo>
                <a:cubicBezTo>
                  <a:pt x="610" y="286"/>
                  <a:pt x="607" y="286"/>
                  <a:pt x="608" y="285"/>
                </a:cubicBezTo>
                <a:close/>
                <a:moveTo>
                  <a:pt x="609" y="319"/>
                </a:moveTo>
                <a:cubicBezTo>
                  <a:pt x="610" y="317"/>
                  <a:pt x="608" y="320"/>
                  <a:pt x="609" y="319"/>
                </a:cubicBezTo>
                <a:close/>
                <a:moveTo>
                  <a:pt x="609" y="350"/>
                </a:moveTo>
                <a:cubicBezTo>
                  <a:pt x="610" y="349"/>
                  <a:pt x="607" y="351"/>
                  <a:pt x="609" y="350"/>
                </a:cubicBezTo>
                <a:close/>
                <a:moveTo>
                  <a:pt x="609" y="376"/>
                </a:moveTo>
                <a:cubicBezTo>
                  <a:pt x="611" y="374"/>
                  <a:pt x="611" y="380"/>
                  <a:pt x="609" y="380"/>
                </a:cubicBezTo>
                <a:cubicBezTo>
                  <a:pt x="608" y="379"/>
                  <a:pt x="609" y="377"/>
                  <a:pt x="609" y="376"/>
                </a:cubicBezTo>
                <a:close/>
                <a:moveTo>
                  <a:pt x="609" y="486"/>
                </a:moveTo>
                <a:cubicBezTo>
                  <a:pt x="608" y="486"/>
                  <a:pt x="608" y="485"/>
                  <a:pt x="609" y="485"/>
                </a:cubicBezTo>
                <a:cubicBezTo>
                  <a:pt x="609" y="483"/>
                  <a:pt x="610" y="487"/>
                  <a:pt x="609" y="486"/>
                </a:cubicBezTo>
                <a:close/>
                <a:moveTo>
                  <a:pt x="610" y="419"/>
                </a:moveTo>
                <a:cubicBezTo>
                  <a:pt x="611" y="417"/>
                  <a:pt x="612" y="418"/>
                  <a:pt x="610" y="419"/>
                </a:cubicBezTo>
                <a:close/>
                <a:moveTo>
                  <a:pt x="609" y="349"/>
                </a:moveTo>
                <a:cubicBezTo>
                  <a:pt x="610" y="347"/>
                  <a:pt x="611" y="345"/>
                  <a:pt x="613" y="344"/>
                </a:cubicBezTo>
                <a:cubicBezTo>
                  <a:pt x="613" y="344"/>
                  <a:pt x="611" y="348"/>
                  <a:pt x="609" y="349"/>
                </a:cubicBezTo>
                <a:close/>
                <a:moveTo>
                  <a:pt x="614" y="312"/>
                </a:moveTo>
                <a:cubicBezTo>
                  <a:pt x="615" y="313"/>
                  <a:pt x="615" y="314"/>
                  <a:pt x="614" y="314"/>
                </a:cubicBezTo>
                <a:cubicBezTo>
                  <a:pt x="613" y="314"/>
                  <a:pt x="612" y="313"/>
                  <a:pt x="613" y="312"/>
                </a:cubicBezTo>
                <a:cubicBezTo>
                  <a:pt x="613" y="312"/>
                  <a:pt x="613" y="312"/>
                  <a:pt x="613" y="312"/>
                </a:cubicBezTo>
                <a:cubicBezTo>
                  <a:pt x="613" y="312"/>
                  <a:pt x="613" y="312"/>
                  <a:pt x="613" y="312"/>
                </a:cubicBezTo>
                <a:cubicBezTo>
                  <a:pt x="611" y="310"/>
                  <a:pt x="615" y="308"/>
                  <a:pt x="616" y="311"/>
                </a:cubicBezTo>
                <a:cubicBezTo>
                  <a:pt x="616" y="311"/>
                  <a:pt x="615" y="312"/>
                  <a:pt x="614" y="312"/>
                </a:cubicBezTo>
                <a:close/>
                <a:moveTo>
                  <a:pt x="613" y="276"/>
                </a:moveTo>
                <a:cubicBezTo>
                  <a:pt x="613" y="277"/>
                  <a:pt x="614" y="275"/>
                  <a:pt x="613" y="276"/>
                </a:cubicBezTo>
                <a:close/>
                <a:moveTo>
                  <a:pt x="613" y="259"/>
                </a:moveTo>
                <a:cubicBezTo>
                  <a:pt x="613" y="259"/>
                  <a:pt x="613" y="259"/>
                  <a:pt x="613" y="259"/>
                </a:cubicBezTo>
                <a:cubicBezTo>
                  <a:pt x="613" y="259"/>
                  <a:pt x="613" y="259"/>
                  <a:pt x="613" y="259"/>
                </a:cubicBezTo>
                <a:cubicBezTo>
                  <a:pt x="614" y="258"/>
                  <a:pt x="614" y="259"/>
                  <a:pt x="613" y="259"/>
                </a:cubicBezTo>
                <a:cubicBezTo>
                  <a:pt x="613" y="259"/>
                  <a:pt x="613" y="259"/>
                  <a:pt x="613" y="259"/>
                </a:cubicBezTo>
                <a:close/>
                <a:moveTo>
                  <a:pt x="615" y="309"/>
                </a:moveTo>
                <a:cubicBezTo>
                  <a:pt x="614" y="309"/>
                  <a:pt x="615" y="308"/>
                  <a:pt x="615" y="308"/>
                </a:cubicBezTo>
                <a:cubicBezTo>
                  <a:pt x="616" y="307"/>
                  <a:pt x="616" y="309"/>
                  <a:pt x="615" y="309"/>
                </a:cubicBezTo>
                <a:close/>
                <a:moveTo>
                  <a:pt x="616" y="256"/>
                </a:moveTo>
                <a:cubicBezTo>
                  <a:pt x="616" y="258"/>
                  <a:pt x="614" y="257"/>
                  <a:pt x="616" y="256"/>
                </a:cubicBezTo>
                <a:close/>
                <a:moveTo>
                  <a:pt x="616" y="260"/>
                </a:moveTo>
                <a:cubicBezTo>
                  <a:pt x="615" y="261"/>
                  <a:pt x="618" y="258"/>
                  <a:pt x="616" y="260"/>
                </a:cubicBezTo>
                <a:close/>
                <a:moveTo>
                  <a:pt x="616" y="343"/>
                </a:moveTo>
                <a:cubicBezTo>
                  <a:pt x="616" y="342"/>
                  <a:pt x="618" y="340"/>
                  <a:pt x="619" y="339"/>
                </a:cubicBezTo>
                <a:cubicBezTo>
                  <a:pt x="619" y="341"/>
                  <a:pt x="618" y="342"/>
                  <a:pt x="616" y="343"/>
                </a:cubicBezTo>
                <a:close/>
                <a:moveTo>
                  <a:pt x="617" y="301"/>
                </a:moveTo>
                <a:cubicBezTo>
                  <a:pt x="618" y="300"/>
                  <a:pt x="619" y="302"/>
                  <a:pt x="618" y="302"/>
                </a:cubicBezTo>
                <a:cubicBezTo>
                  <a:pt x="618" y="302"/>
                  <a:pt x="617" y="301"/>
                  <a:pt x="617" y="301"/>
                </a:cubicBezTo>
                <a:close/>
                <a:moveTo>
                  <a:pt x="618" y="491"/>
                </a:moveTo>
                <a:cubicBezTo>
                  <a:pt x="618" y="490"/>
                  <a:pt x="619" y="490"/>
                  <a:pt x="619" y="490"/>
                </a:cubicBezTo>
                <a:cubicBezTo>
                  <a:pt x="620" y="490"/>
                  <a:pt x="618" y="492"/>
                  <a:pt x="618" y="491"/>
                </a:cubicBezTo>
                <a:close/>
                <a:moveTo>
                  <a:pt x="622" y="396"/>
                </a:moveTo>
                <a:cubicBezTo>
                  <a:pt x="622" y="395"/>
                  <a:pt x="623" y="394"/>
                  <a:pt x="623" y="393"/>
                </a:cubicBezTo>
                <a:cubicBezTo>
                  <a:pt x="624" y="393"/>
                  <a:pt x="623" y="395"/>
                  <a:pt x="622" y="396"/>
                </a:cubicBezTo>
                <a:close/>
                <a:moveTo>
                  <a:pt x="630" y="439"/>
                </a:moveTo>
                <a:cubicBezTo>
                  <a:pt x="630" y="441"/>
                  <a:pt x="627" y="440"/>
                  <a:pt x="630" y="439"/>
                </a:cubicBezTo>
                <a:close/>
                <a:moveTo>
                  <a:pt x="631" y="548"/>
                </a:moveTo>
                <a:cubicBezTo>
                  <a:pt x="631" y="548"/>
                  <a:pt x="632" y="547"/>
                  <a:pt x="633" y="548"/>
                </a:cubicBezTo>
                <a:cubicBezTo>
                  <a:pt x="636" y="551"/>
                  <a:pt x="628" y="552"/>
                  <a:pt x="631" y="548"/>
                </a:cubicBezTo>
                <a:close/>
                <a:moveTo>
                  <a:pt x="634" y="433"/>
                </a:moveTo>
                <a:cubicBezTo>
                  <a:pt x="632" y="433"/>
                  <a:pt x="633" y="431"/>
                  <a:pt x="633" y="431"/>
                </a:cubicBezTo>
                <a:cubicBezTo>
                  <a:pt x="635" y="429"/>
                  <a:pt x="635" y="433"/>
                  <a:pt x="634" y="433"/>
                </a:cubicBezTo>
                <a:close/>
                <a:moveTo>
                  <a:pt x="635" y="495"/>
                </a:moveTo>
                <a:cubicBezTo>
                  <a:pt x="636" y="496"/>
                  <a:pt x="634" y="497"/>
                  <a:pt x="635" y="495"/>
                </a:cubicBezTo>
                <a:close/>
                <a:moveTo>
                  <a:pt x="635" y="459"/>
                </a:moveTo>
                <a:cubicBezTo>
                  <a:pt x="634" y="458"/>
                  <a:pt x="636" y="459"/>
                  <a:pt x="635" y="459"/>
                </a:cubicBezTo>
                <a:close/>
                <a:moveTo>
                  <a:pt x="631" y="298"/>
                </a:moveTo>
                <a:cubicBezTo>
                  <a:pt x="634" y="297"/>
                  <a:pt x="630" y="302"/>
                  <a:pt x="630" y="299"/>
                </a:cubicBezTo>
                <a:cubicBezTo>
                  <a:pt x="630" y="299"/>
                  <a:pt x="631" y="298"/>
                  <a:pt x="631" y="298"/>
                </a:cubicBezTo>
                <a:close/>
                <a:moveTo>
                  <a:pt x="629" y="296"/>
                </a:moveTo>
                <a:cubicBezTo>
                  <a:pt x="629" y="295"/>
                  <a:pt x="628" y="297"/>
                  <a:pt x="629" y="296"/>
                </a:cubicBezTo>
                <a:close/>
                <a:moveTo>
                  <a:pt x="635" y="314"/>
                </a:moveTo>
                <a:cubicBezTo>
                  <a:pt x="633" y="319"/>
                  <a:pt x="630" y="323"/>
                  <a:pt x="628" y="327"/>
                </a:cubicBezTo>
                <a:cubicBezTo>
                  <a:pt x="630" y="323"/>
                  <a:pt x="631" y="318"/>
                  <a:pt x="635" y="314"/>
                </a:cubicBezTo>
                <a:close/>
                <a:moveTo>
                  <a:pt x="625" y="391"/>
                </a:moveTo>
                <a:cubicBezTo>
                  <a:pt x="624" y="390"/>
                  <a:pt x="626" y="387"/>
                  <a:pt x="627" y="386"/>
                </a:cubicBezTo>
                <a:cubicBezTo>
                  <a:pt x="627" y="387"/>
                  <a:pt x="625" y="389"/>
                  <a:pt x="625" y="391"/>
                </a:cubicBezTo>
                <a:close/>
                <a:moveTo>
                  <a:pt x="623" y="307"/>
                </a:moveTo>
                <a:cubicBezTo>
                  <a:pt x="623" y="307"/>
                  <a:pt x="623" y="309"/>
                  <a:pt x="622" y="309"/>
                </a:cubicBezTo>
                <a:cubicBezTo>
                  <a:pt x="622" y="309"/>
                  <a:pt x="622" y="307"/>
                  <a:pt x="623" y="307"/>
                </a:cubicBezTo>
                <a:close/>
                <a:moveTo>
                  <a:pt x="624" y="333"/>
                </a:moveTo>
                <a:cubicBezTo>
                  <a:pt x="624" y="333"/>
                  <a:pt x="627" y="328"/>
                  <a:pt x="627" y="330"/>
                </a:cubicBezTo>
                <a:cubicBezTo>
                  <a:pt x="626" y="332"/>
                  <a:pt x="622" y="336"/>
                  <a:pt x="620" y="338"/>
                </a:cubicBezTo>
                <a:cubicBezTo>
                  <a:pt x="621" y="337"/>
                  <a:pt x="623" y="335"/>
                  <a:pt x="624" y="333"/>
                </a:cubicBezTo>
                <a:close/>
                <a:moveTo>
                  <a:pt x="620" y="269"/>
                </a:moveTo>
                <a:cubicBezTo>
                  <a:pt x="620" y="268"/>
                  <a:pt x="622" y="262"/>
                  <a:pt x="624" y="264"/>
                </a:cubicBezTo>
                <a:cubicBezTo>
                  <a:pt x="626" y="265"/>
                  <a:pt x="622" y="268"/>
                  <a:pt x="620" y="269"/>
                </a:cubicBezTo>
                <a:close/>
                <a:moveTo>
                  <a:pt x="626" y="231"/>
                </a:moveTo>
                <a:cubicBezTo>
                  <a:pt x="626" y="232"/>
                  <a:pt x="627" y="230"/>
                  <a:pt x="626" y="231"/>
                </a:cubicBezTo>
                <a:close/>
                <a:moveTo>
                  <a:pt x="628" y="249"/>
                </a:moveTo>
                <a:cubicBezTo>
                  <a:pt x="628" y="247"/>
                  <a:pt x="630" y="248"/>
                  <a:pt x="628" y="249"/>
                </a:cubicBezTo>
                <a:close/>
                <a:moveTo>
                  <a:pt x="625" y="218"/>
                </a:moveTo>
                <a:cubicBezTo>
                  <a:pt x="627" y="217"/>
                  <a:pt x="628" y="217"/>
                  <a:pt x="629" y="218"/>
                </a:cubicBezTo>
                <a:cubicBezTo>
                  <a:pt x="631" y="221"/>
                  <a:pt x="626" y="226"/>
                  <a:pt x="624" y="225"/>
                </a:cubicBezTo>
                <a:cubicBezTo>
                  <a:pt x="621" y="223"/>
                  <a:pt x="624" y="219"/>
                  <a:pt x="625" y="218"/>
                </a:cubicBezTo>
                <a:close/>
                <a:moveTo>
                  <a:pt x="621" y="229"/>
                </a:moveTo>
                <a:cubicBezTo>
                  <a:pt x="621" y="228"/>
                  <a:pt x="622" y="227"/>
                  <a:pt x="622" y="227"/>
                </a:cubicBezTo>
                <a:cubicBezTo>
                  <a:pt x="621" y="227"/>
                  <a:pt x="621" y="226"/>
                  <a:pt x="622" y="226"/>
                </a:cubicBezTo>
                <a:cubicBezTo>
                  <a:pt x="622" y="225"/>
                  <a:pt x="622" y="225"/>
                  <a:pt x="622" y="225"/>
                </a:cubicBezTo>
                <a:cubicBezTo>
                  <a:pt x="622" y="225"/>
                  <a:pt x="622" y="225"/>
                  <a:pt x="622" y="225"/>
                </a:cubicBezTo>
                <a:cubicBezTo>
                  <a:pt x="622" y="225"/>
                  <a:pt x="622" y="225"/>
                  <a:pt x="623" y="225"/>
                </a:cubicBezTo>
                <a:cubicBezTo>
                  <a:pt x="623" y="226"/>
                  <a:pt x="622" y="226"/>
                  <a:pt x="622" y="226"/>
                </a:cubicBezTo>
                <a:cubicBezTo>
                  <a:pt x="622" y="229"/>
                  <a:pt x="621" y="233"/>
                  <a:pt x="620" y="235"/>
                </a:cubicBezTo>
                <a:cubicBezTo>
                  <a:pt x="620" y="233"/>
                  <a:pt x="620" y="232"/>
                  <a:pt x="621" y="230"/>
                </a:cubicBezTo>
                <a:cubicBezTo>
                  <a:pt x="621" y="230"/>
                  <a:pt x="621" y="230"/>
                  <a:pt x="621" y="230"/>
                </a:cubicBezTo>
                <a:cubicBezTo>
                  <a:pt x="621" y="229"/>
                  <a:pt x="621" y="229"/>
                  <a:pt x="621" y="229"/>
                </a:cubicBezTo>
                <a:close/>
                <a:moveTo>
                  <a:pt x="620" y="227"/>
                </a:moveTo>
                <a:cubicBezTo>
                  <a:pt x="620" y="229"/>
                  <a:pt x="618" y="228"/>
                  <a:pt x="620" y="227"/>
                </a:cubicBezTo>
                <a:close/>
                <a:moveTo>
                  <a:pt x="623" y="246"/>
                </a:moveTo>
                <a:cubicBezTo>
                  <a:pt x="622" y="248"/>
                  <a:pt x="620" y="249"/>
                  <a:pt x="618" y="249"/>
                </a:cubicBezTo>
                <a:cubicBezTo>
                  <a:pt x="619" y="248"/>
                  <a:pt x="621" y="247"/>
                  <a:pt x="623" y="246"/>
                </a:cubicBezTo>
                <a:close/>
                <a:moveTo>
                  <a:pt x="619" y="255"/>
                </a:moveTo>
                <a:cubicBezTo>
                  <a:pt x="619" y="256"/>
                  <a:pt x="618" y="258"/>
                  <a:pt x="617" y="259"/>
                </a:cubicBezTo>
                <a:cubicBezTo>
                  <a:pt x="617" y="257"/>
                  <a:pt x="619" y="256"/>
                  <a:pt x="619" y="255"/>
                </a:cubicBezTo>
                <a:close/>
                <a:moveTo>
                  <a:pt x="615" y="229"/>
                </a:moveTo>
                <a:cubicBezTo>
                  <a:pt x="613" y="228"/>
                  <a:pt x="614" y="225"/>
                  <a:pt x="616" y="226"/>
                </a:cubicBezTo>
                <a:cubicBezTo>
                  <a:pt x="618" y="226"/>
                  <a:pt x="617" y="230"/>
                  <a:pt x="615" y="229"/>
                </a:cubicBezTo>
                <a:cubicBezTo>
                  <a:pt x="617" y="230"/>
                  <a:pt x="615" y="236"/>
                  <a:pt x="612" y="236"/>
                </a:cubicBezTo>
                <a:cubicBezTo>
                  <a:pt x="608" y="235"/>
                  <a:pt x="610" y="226"/>
                  <a:pt x="615" y="229"/>
                </a:cubicBezTo>
                <a:close/>
                <a:moveTo>
                  <a:pt x="609" y="276"/>
                </a:moveTo>
                <a:cubicBezTo>
                  <a:pt x="608" y="280"/>
                  <a:pt x="603" y="284"/>
                  <a:pt x="599" y="286"/>
                </a:cubicBezTo>
                <a:cubicBezTo>
                  <a:pt x="602" y="283"/>
                  <a:pt x="604" y="279"/>
                  <a:pt x="609" y="276"/>
                </a:cubicBezTo>
                <a:close/>
                <a:moveTo>
                  <a:pt x="608" y="229"/>
                </a:moveTo>
                <a:cubicBezTo>
                  <a:pt x="608" y="229"/>
                  <a:pt x="608" y="229"/>
                  <a:pt x="608" y="230"/>
                </a:cubicBezTo>
                <a:cubicBezTo>
                  <a:pt x="609" y="232"/>
                  <a:pt x="606" y="229"/>
                  <a:pt x="608" y="229"/>
                </a:cubicBezTo>
                <a:close/>
                <a:moveTo>
                  <a:pt x="607" y="228"/>
                </a:moveTo>
                <a:cubicBezTo>
                  <a:pt x="608" y="228"/>
                  <a:pt x="607" y="230"/>
                  <a:pt x="606" y="230"/>
                </a:cubicBezTo>
                <a:cubicBezTo>
                  <a:pt x="605" y="229"/>
                  <a:pt x="606" y="229"/>
                  <a:pt x="607" y="228"/>
                </a:cubicBezTo>
                <a:close/>
                <a:moveTo>
                  <a:pt x="606" y="253"/>
                </a:moveTo>
                <a:cubicBezTo>
                  <a:pt x="608" y="251"/>
                  <a:pt x="609" y="257"/>
                  <a:pt x="606" y="256"/>
                </a:cubicBezTo>
                <a:cubicBezTo>
                  <a:pt x="605" y="256"/>
                  <a:pt x="605" y="254"/>
                  <a:pt x="606" y="253"/>
                </a:cubicBezTo>
                <a:close/>
                <a:moveTo>
                  <a:pt x="602" y="228"/>
                </a:moveTo>
                <a:cubicBezTo>
                  <a:pt x="602" y="227"/>
                  <a:pt x="603" y="227"/>
                  <a:pt x="604" y="227"/>
                </a:cubicBezTo>
                <a:cubicBezTo>
                  <a:pt x="605" y="229"/>
                  <a:pt x="601" y="230"/>
                  <a:pt x="602" y="228"/>
                </a:cubicBezTo>
                <a:close/>
                <a:moveTo>
                  <a:pt x="602" y="225"/>
                </a:moveTo>
                <a:cubicBezTo>
                  <a:pt x="602" y="224"/>
                  <a:pt x="601" y="227"/>
                  <a:pt x="602" y="225"/>
                </a:cubicBezTo>
                <a:close/>
                <a:moveTo>
                  <a:pt x="598" y="235"/>
                </a:moveTo>
                <a:cubicBezTo>
                  <a:pt x="599" y="233"/>
                  <a:pt x="601" y="238"/>
                  <a:pt x="598" y="237"/>
                </a:cubicBezTo>
                <a:cubicBezTo>
                  <a:pt x="597" y="237"/>
                  <a:pt x="597" y="236"/>
                  <a:pt x="598" y="235"/>
                </a:cubicBezTo>
                <a:close/>
                <a:moveTo>
                  <a:pt x="600" y="263"/>
                </a:moveTo>
                <a:cubicBezTo>
                  <a:pt x="601" y="262"/>
                  <a:pt x="602" y="258"/>
                  <a:pt x="604" y="257"/>
                </a:cubicBezTo>
                <a:cubicBezTo>
                  <a:pt x="608" y="255"/>
                  <a:pt x="600" y="265"/>
                  <a:pt x="599" y="266"/>
                </a:cubicBezTo>
                <a:cubicBezTo>
                  <a:pt x="601" y="264"/>
                  <a:pt x="598" y="268"/>
                  <a:pt x="597" y="268"/>
                </a:cubicBezTo>
                <a:cubicBezTo>
                  <a:pt x="596" y="267"/>
                  <a:pt x="599" y="264"/>
                  <a:pt x="600" y="263"/>
                </a:cubicBezTo>
                <a:close/>
                <a:moveTo>
                  <a:pt x="594" y="230"/>
                </a:moveTo>
                <a:cubicBezTo>
                  <a:pt x="594" y="232"/>
                  <a:pt x="593" y="230"/>
                  <a:pt x="594" y="230"/>
                </a:cubicBezTo>
                <a:close/>
                <a:moveTo>
                  <a:pt x="593" y="249"/>
                </a:moveTo>
                <a:cubicBezTo>
                  <a:pt x="594" y="249"/>
                  <a:pt x="593" y="250"/>
                  <a:pt x="593" y="250"/>
                </a:cubicBezTo>
                <a:cubicBezTo>
                  <a:pt x="592" y="250"/>
                  <a:pt x="593" y="248"/>
                  <a:pt x="593" y="249"/>
                </a:cubicBezTo>
                <a:close/>
                <a:moveTo>
                  <a:pt x="595" y="252"/>
                </a:moveTo>
                <a:cubicBezTo>
                  <a:pt x="594" y="254"/>
                  <a:pt x="591" y="256"/>
                  <a:pt x="589" y="258"/>
                </a:cubicBezTo>
                <a:cubicBezTo>
                  <a:pt x="590" y="256"/>
                  <a:pt x="592" y="253"/>
                  <a:pt x="595" y="252"/>
                </a:cubicBezTo>
                <a:close/>
                <a:moveTo>
                  <a:pt x="590" y="221"/>
                </a:moveTo>
                <a:cubicBezTo>
                  <a:pt x="590" y="221"/>
                  <a:pt x="590" y="221"/>
                  <a:pt x="591" y="221"/>
                </a:cubicBezTo>
                <a:cubicBezTo>
                  <a:pt x="590" y="221"/>
                  <a:pt x="590" y="222"/>
                  <a:pt x="590" y="221"/>
                </a:cubicBezTo>
                <a:close/>
                <a:moveTo>
                  <a:pt x="591" y="238"/>
                </a:moveTo>
                <a:cubicBezTo>
                  <a:pt x="591" y="239"/>
                  <a:pt x="588" y="240"/>
                  <a:pt x="588" y="239"/>
                </a:cubicBezTo>
                <a:cubicBezTo>
                  <a:pt x="588" y="238"/>
                  <a:pt x="591" y="236"/>
                  <a:pt x="591" y="238"/>
                </a:cubicBezTo>
                <a:close/>
                <a:moveTo>
                  <a:pt x="588" y="289"/>
                </a:moveTo>
                <a:cubicBezTo>
                  <a:pt x="589" y="290"/>
                  <a:pt x="585" y="291"/>
                  <a:pt x="586" y="289"/>
                </a:cubicBezTo>
                <a:cubicBezTo>
                  <a:pt x="587" y="289"/>
                  <a:pt x="587" y="288"/>
                  <a:pt x="588" y="289"/>
                </a:cubicBezTo>
                <a:close/>
                <a:moveTo>
                  <a:pt x="587" y="214"/>
                </a:moveTo>
                <a:cubicBezTo>
                  <a:pt x="588" y="216"/>
                  <a:pt x="584" y="216"/>
                  <a:pt x="584" y="215"/>
                </a:cubicBezTo>
                <a:cubicBezTo>
                  <a:pt x="584" y="213"/>
                  <a:pt x="586" y="213"/>
                  <a:pt x="587" y="214"/>
                </a:cubicBezTo>
                <a:close/>
                <a:moveTo>
                  <a:pt x="583" y="217"/>
                </a:moveTo>
                <a:cubicBezTo>
                  <a:pt x="583" y="217"/>
                  <a:pt x="585" y="217"/>
                  <a:pt x="584" y="218"/>
                </a:cubicBezTo>
                <a:cubicBezTo>
                  <a:pt x="584" y="218"/>
                  <a:pt x="582" y="218"/>
                  <a:pt x="583" y="217"/>
                </a:cubicBezTo>
                <a:close/>
                <a:moveTo>
                  <a:pt x="586" y="259"/>
                </a:moveTo>
                <a:cubicBezTo>
                  <a:pt x="586" y="259"/>
                  <a:pt x="584" y="263"/>
                  <a:pt x="582" y="263"/>
                </a:cubicBezTo>
                <a:cubicBezTo>
                  <a:pt x="583" y="262"/>
                  <a:pt x="585" y="260"/>
                  <a:pt x="586" y="259"/>
                </a:cubicBezTo>
                <a:close/>
                <a:moveTo>
                  <a:pt x="583" y="250"/>
                </a:moveTo>
                <a:cubicBezTo>
                  <a:pt x="583" y="251"/>
                  <a:pt x="582" y="251"/>
                  <a:pt x="581" y="251"/>
                </a:cubicBezTo>
                <a:cubicBezTo>
                  <a:pt x="581" y="250"/>
                  <a:pt x="582" y="249"/>
                  <a:pt x="583" y="250"/>
                </a:cubicBezTo>
                <a:close/>
                <a:moveTo>
                  <a:pt x="580" y="258"/>
                </a:moveTo>
                <a:cubicBezTo>
                  <a:pt x="580" y="258"/>
                  <a:pt x="580" y="258"/>
                  <a:pt x="580" y="258"/>
                </a:cubicBezTo>
                <a:cubicBezTo>
                  <a:pt x="580" y="258"/>
                  <a:pt x="580" y="258"/>
                  <a:pt x="580" y="258"/>
                </a:cubicBezTo>
                <a:cubicBezTo>
                  <a:pt x="580" y="258"/>
                  <a:pt x="580" y="258"/>
                  <a:pt x="580" y="258"/>
                </a:cubicBezTo>
                <a:close/>
                <a:moveTo>
                  <a:pt x="582" y="276"/>
                </a:moveTo>
                <a:cubicBezTo>
                  <a:pt x="584" y="278"/>
                  <a:pt x="581" y="280"/>
                  <a:pt x="579" y="280"/>
                </a:cubicBezTo>
                <a:cubicBezTo>
                  <a:pt x="579" y="279"/>
                  <a:pt x="581" y="275"/>
                  <a:pt x="582" y="276"/>
                </a:cubicBezTo>
                <a:close/>
                <a:moveTo>
                  <a:pt x="579" y="294"/>
                </a:moveTo>
                <a:cubicBezTo>
                  <a:pt x="580" y="294"/>
                  <a:pt x="578" y="295"/>
                  <a:pt x="578" y="294"/>
                </a:cubicBezTo>
                <a:cubicBezTo>
                  <a:pt x="578" y="294"/>
                  <a:pt x="579" y="294"/>
                  <a:pt x="579" y="294"/>
                </a:cubicBezTo>
                <a:close/>
                <a:moveTo>
                  <a:pt x="575" y="180"/>
                </a:moveTo>
                <a:cubicBezTo>
                  <a:pt x="575" y="180"/>
                  <a:pt x="576" y="180"/>
                  <a:pt x="576" y="180"/>
                </a:cubicBezTo>
                <a:cubicBezTo>
                  <a:pt x="577" y="181"/>
                  <a:pt x="574" y="182"/>
                  <a:pt x="575" y="180"/>
                </a:cubicBezTo>
                <a:close/>
                <a:moveTo>
                  <a:pt x="576" y="192"/>
                </a:moveTo>
                <a:cubicBezTo>
                  <a:pt x="579" y="190"/>
                  <a:pt x="578" y="196"/>
                  <a:pt x="576" y="195"/>
                </a:cubicBezTo>
                <a:cubicBezTo>
                  <a:pt x="574" y="195"/>
                  <a:pt x="575" y="193"/>
                  <a:pt x="576" y="192"/>
                </a:cubicBezTo>
                <a:close/>
                <a:moveTo>
                  <a:pt x="571" y="222"/>
                </a:moveTo>
                <a:cubicBezTo>
                  <a:pt x="567" y="221"/>
                  <a:pt x="569" y="214"/>
                  <a:pt x="571" y="212"/>
                </a:cubicBezTo>
                <a:cubicBezTo>
                  <a:pt x="579" y="207"/>
                  <a:pt x="578" y="222"/>
                  <a:pt x="571" y="222"/>
                </a:cubicBezTo>
                <a:close/>
                <a:moveTo>
                  <a:pt x="571" y="188"/>
                </a:moveTo>
                <a:cubicBezTo>
                  <a:pt x="571" y="188"/>
                  <a:pt x="572" y="186"/>
                  <a:pt x="573" y="188"/>
                </a:cubicBezTo>
                <a:cubicBezTo>
                  <a:pt x="573" y="188"/>
                  <a:pt x="572" y="189"/>
                  <a:pt x="571" y="188"/>
                </a:cubicBezTo>
                <a:close/>
                <a:moveTo>
                  <a:pt x="569" y="186"/>
                </a:moveTo>
                <a:cubicBezTo>
                  <a:pt x="569" y="186"/>
                  <a:pt x="569" y="186"/>
                  <a:pt x="570" y="185"/>
                </a:cubicBezTo>
                <a:cubicBezTo>
                  <a:pt x="570" y="185"/>
                  <a:pt x="570" y="185"/>
                  <a:pt x="570" y="185"/>
                </a:cubicBezTo>
                <a:cubicBezTo>
                  <a:pt x="570" y="185"/>
                  <a:pt x="572" y="184"/>
                  <a:pt x="573" y="183"/>
                </a:cubicBezTo>
                <a:cubicBezTo>
                  <a:pt x="572" y="186"/>
                  <a:pt x="569" y="187"/>
                  <a:pt x="567" y="188"/>
                </a:cubicBezTo>
                <a:cubicBezTo>
                  <a:pt x="567" y="187"/>
                  <a:pt x="568" y="187"/>
                  <a:pt x="569" y="186"/>
                </a:cubicBezTo>
                <a:close/>
                <a:moveTo>
                  <a:pt x="565" y="188"/>
                </a:moveTo>
                <a:cubicBezTo>
                  <a:pt x="565" y="188"/>
                  <a:pt x="566" y="187"/>
                  <a:pt x="567" y="188"/>
                </a:cubicBezTo>
                <a:cubicBezTo>
                  <a:pt x="567" y="189"/>
                  <a:pt x="563" y="190"/>
                  <a:pt x="565" y="188"/>
                </a:cubicBezTo>
                <a:close/>
                <a:moveTo>
                  <a:pt x="562" y="209"/>
                </a:moveTo>
                <a:cubicBezTo>
                  <a:pt x="562" y="210"/>
                  <a:pt x="561" y="210"/>
                  <a:pt x="560" y="209"/>
                </a:cubicBezTo>
                <a:cubicBezTo>
                  <a:pt x="560" y="209"/>
                  <a:pt x="561" y="208"/>
                  <a:pt x="562" y="209"/>
                </a:cubicBezTo>
                <a:close/>
                <a:moveTo>
                  <a:pt x="558" y="198"/>
                </a:moveTo>
                <a:cubicBezTo>
                  <a:pt x="560" y="196"/>
                  <a:pt x="560" y="199"/>
                  <a:pt x="558" y="199"/>
                </a:cubicBezTo>
                <a:cubicBezTo>
                  <a:pt x="558" y="199"/>
                  <a:pt x="558" y="198"/>
                  <a:pt x="558" y="198"/>
                </a:cubicBezTo>
                <a:close/>
                <a:moveTo>
                  <a:pt x="558" y="215"/>
                </a:moveTo>
                <a:cubicBezTo>
                  <a:pt x="561" y="213"/>
                  <a:pt x="565" y="210"/>
                  <a:pt x="569" y="209"/>
                </a:cubicBezTo>
                <a:cubicBezTo>
                  <a:pt x="567" y="211"/>
                  <a:pt x="560" y="215"/>
                  <a:pt x="557" y="217"/>
                </a:cubicBezTo>
                <a:cubicBezTo>
                  <a:pt x="558" y="216"/>
                  <a:pt x="556" y="217"/>
                  <a:pt x="556" y="217"/>
                </a:cubicBezTo>
                <a:cubicBezTo>
                  <a:pt x="555" y="215"/>
                  <a:pt x="557" y="215"/>
                  <a:pt x="558" y="215"/>
                </a:cubicBezTo>
                <a:close/>
                <a:moveTo>
                  <a:pt x="559" y="250"/>
                </a:moveTo>
                <a:cubicBezTo>
                  <a:pt x="559" y="252"/>
                  <a:pt x="554" y="254"/>
                  <a:pt x="553" y="252"/>
                </a:cubicBezTo>
                <a:cubicBezTo>
                  <a:pt x="552" y="249"/>
                  <a:pt x="559" y="246"/>
                  <a:pt x="559" y="250"/>
                </a:cubicBezTo>
                <a:close/>
                <a:moveTo>
                  <a:pt x="551" y="188"/>
                </a:moveTo>
                <a:cubicBezTo>
                  <a:pt x="551" y="188"/>
                  <a:pt x="552" y="188"/>
                  <a:pt x="552" y="188"/>
                </a:cubicBezTo>
                <a:cubicBezTo>
                  <a:pt x="552" y="190"/>
                  <a:pt x="550" y="190"/>
                  <a:pt x="551" y="188"/>
                </a:cubicBezTo>
                <a:close/>
                <a:moveTo>
                  <a:pt x="552" y="253"/>
                </a:moveTo>
                <a:cubicBezTo>
                  <a:pt x="552" y="254"/>
                  <a:pt x="554" y="255"/>
                  <a:pt x="554" y="256"/>
                </a:cubicBezTo>
                <a:cubicBezTo>
                  <a:pt x="554" y="258"/>
                  <a:pt x="552" y="256"/>
                  <a:pt x="552" y="258"/>
                </a:cubicBezTo>
                <a:cubicBezTo>
                  <a:pt x="549" y="260"/>
                  <a:pt x="550" y="265"/>
                  <a:pt x="548" y="267"/>
                </a:cubicBezTo>
                <a:cubicBezTo>
                  <a:pt x="548" y="263"/>
                  <a:pt x="550" y="258"/>
                  <a:pt x="552" y="253"/>
                </a:cubicBezTo>
                <a:close/>
                <a:moveTo>
                  <a:pt x="549" y="270"/>
                </a:moveTo>
                <a:cubicBezTo>
                  <a:pt x="548" y="269"/>
                  <a:pt x="550" y="267"/>
                  <a:pt x="551" y="269"/>
                </a:cubicBezTo>
                <a:cubicBezTo>
                  <a:pt x="552" y="271"/>
                  <a:pt x="549" y="271"/>
                  <a:pt x="549" y="270"/>
                </a:cubicBezTo>
                <a:close/>
                <a:moveTo>
                  <a:pt x="549" y="310"/>
                </a:moveTo>
                <a:cubicBezTo>
                  <a:pt x="548" y="310"/>
                  <a:pt x="549" y="310"/>
                  <a:pt x="549" y="310"/>
                </a:cubicBezTo>
                <a:cubicBezTo>
                  <a:pt x="550" y="310"/>
                  <a:pt x="549" y="310"/>
                  <a:pt x="549" y="310"/>
                </a:cubicBezTo>
                <a:close/>
                <a:moveTo>
                  <a:pt x="550" y="302"/>
                </a:moveTo>
                <a:cubicBezTo>
                  <a:pt x="551" y="302"/>
                  <a:pt x="551" y="301"/>
                  <a:pt x="551" y="302"/>
                </a:cubicBezTo>
                <a:cubicBezTo>
                  <a:pt x="552" y="302"/>
                  <a:pt x="550" y="303"/>
                  <a:pt x="550" y="302"/>
                </a:cubicBezTo>
                <a:close/>
                <a:moveTo>
                  <a:pt x="558" y="345"/>
                </a:moveTo>
                <a:cubicBezTo>
                  <a:pt x="556" y="349"/>
                  <a:pt x="551" y="352"/>
                  <a:pt x="547" y="356"/>
                </a:cubicBezTo>
                <a:cubicBezTo>
                  <a:pt x="549" y="352"/>
                  <a:pt x="555" y="349"/>
                  <a:pt x="558" y="345"/>
                </a:cubicBezTo>
                <a:close/>
                <a:moveTo>
                  <a:pt x="546" y="192"/>
                </a:moveTo>
                <a:cubicBezTo>
                  <a:pt x="547" y="193"/>
                  <a:pt x="545" y="194"/>
                  <a:pt x="545" y="193"/>
                </a:cubicBezTo>
                <a:cubicBezTo>
                  <a:pt x="545" y="192"/>
                  <a:pt x="546" y="192"/>
                  <a:pt x="546" y="192"/>
                </a:cubicBezTo>
                <a:close/>
                <a:moveTo>
                  <a:pt x="545" y="198"/>
                </a:moveTo>
                <a:cubicBezTo>
                  <a:pt x="546" y="197"/>
                  <a:pt x="546" y="200"/>
                  <a:pt x="545" y="199"/>
                </a:cubicBezTo>
                <a:cubicBezTo>
                  <a:pt x="544" y="199"/>
                  <a:pt x="545" y="198"/>
                  <a:pt x="545" y="198"/>
                </a:cubicBezTo>
                <a:close/>
                <a:moveTo>
                  <a:pt x="544" y="232"/>
                </a:moveTo>
                <a:cubicBezTo>
                  <a:pt x="545" y="231"/>
                  <a:pt x="546" y="230"/>
                  <a:pt x="546" y="231"/>
                </a:cubicBezTo>
                <a:cubicBezTo>
                  <a:pt x="549" y="233"/>
                  <a:pt x="542" y="235"/>
                  <a:pt x="544" y="232"/>
                </a:cubicBezTo>
                <a:close/>
                <a:moveTo>
                  <a:pt x="547" y="281"/>
                </a:moveTo>
                <a:cubicBezTo>
                  <a:pt x="546" y="282"/>
                  <a:pt x="545" y="281"/>
                  <a:pt x="547" y="281"/>
                </a:cubicBezTo>
                <a:close/>
                <a:moveTo>
                  <a:pt x="547" y="355"/>
                </a:moveTo>
                <a:cubicBezTo>
                  <a:pt x="546" y="357"/>
                  <a:pt x="544" y="358"/>
                  <a:pt x="543" y="359"/>
                </a:cubicBezTo>
                <a:cubicBezTo>
                  <a:pt x="543" y="357"/>
                  <a:pt x="545" y="356"/>
                  <a:pt x="547" y="355"/>
                </a:cubicBezTo>
                <a:close/>
                <a:moveTo>
                  <a:pt x="542" y="323"/>
                </a:moveTo>
                <a:cubicBezTo>
                  <a:pt x="542" y="323"/>
                  <a:pt x="542" y="322"/>
                  <a:pt x="543" y="323"/>
                </a:cubicBezTo>
                <a:cubicBezTo>
                  <a:pt x="545" y="323"/>
                  <a:pt x="541" y="326"/>
                  <a:pt x="542" y="323"/>
                </a:cubicBezTo>
                <a:close/>
                <a:moveTo>
                  <a:pt x="542" y="261"/>
                </a:moveTo>
                <a:cubicBezTo>
                  <a:pt x="543" y="259"/>
                  <a:pt x="544" y="261"/>
                  <a:pt x="542" y="261"/>
                </a:cubicBezTo>
                <a:close/>
                <a:moveTo>
                  <a:pt x="541" y="250"/>
                </a:moveTo>
                <a:cubicBezTo>
                  <a:pt x="541" y="250"/>
                  <a:pt x="541" y="249"/>
                  <a:pt x="542" y="248"/>
                </a:cubicBezTo>
                <a:cubicBezTo>
                  <a:pt x="544" y="247"/>
                  <a:pt x="543" y="252"/>
                  <a:pt x="541" y="250"/>
                </a:cubicBezTo>
                <a:close/>
                <a:moveTo>
                  <a:pt x="543" y="227"/>
                </a:moveTo>
                <a:cubicBezTo>
                  <a:pt x="543" y="227"/>
                  <a:pt x="542" y="228"/>
                  <a:pt x="542" y="227"/>
                </a:cubicBezTo>
                <a:cubicBezTo>
                  <a:pt x="542" y="227"/>
                  <a:pt x="542" y="227"/>
                  <a:pt x="543" y="227"/>
                </a:cubicBezTo>
                <a:close/>
                <a:moveTo>
                  <a:pt x="541" y="192"/>
                </a:moveTo>
                <a:cubicBezTo>
                  <a:pt x="542" y="190"/>
                  <a:pt x="542" y="193"/>
                  <a:pt x="541" y="192"/>
                </a:cubicBezTo>
                <a:close/>
                <a:moveTo>
                  <a:pt x="542" y="240"/>
                </a:moveTo>
                <a:cubicBezTo>
                  <a:pt x="542" y="241"/>
                  <a:pt x="540" y="242"/>
                  <a:pt x="539" y="242"/>
                </a:cubicBezTo>
                <a:cubicBezTo>
                  <a:pt x="539" y="241"/>
                  <a:pt x="541" y="241"/>
                  <a:pt x="542" y="240"/>
                </a:cubicBezTo>
                <a:close/>
                <a:moveTo>
                  <a:pt x="537" y="195"/>
                </a:moveTo>
                <a:cubicBezTo>
                  <a:pt x="538" y="195"/>
                  <a:pt x="536" y="196"/>
                  <a:pt x="536" y="197"/>
                </a:cubicBezTo>
                <a:cubicBezTo>
                  <a:pt x="535" y="196"/>
                  <a:pt x="537" y="195"/>
                  <a:pt x="537" y="195"/>
                </a:cubicBezTo>
                <a:close/>
                <a:moveTo>
                  <a:pt x="539" y="194"/>
                </a:moveTo>
                <a:cubicBezTo>
                  <a:pt x="538" y="197"/>
                  <a:pt x="536" y="201"/>
                  <a:pt x="534" y="203"/>
                </a:cubicBezTo>
                <a:cubicBezTo>
                  <a:pt x="536" y="200"/>
                  <a:pt x="537" y="197"/>
                  <a:pt x="539" y="194"/>
                </a:cubicBezTo>
                <a:close/>
                <a:moveTo>
                  <a:pt x="534" y="200"/>
                </a:moveTo>
                <a:cubicBezTo>
                  <a:pt x="534" y="200"/>
                  <a:pt x="534" y="200"/>
                  <a:pt x="534" y="200"/>
                </a:cubicBezTo>
                <a:cubicBezTo>
                  <a:pt x="535" y="198"/>
                  <a:pt x="534" y="202"/>
                  <a:pt x="534" y="200"/>
                </a:cubicBezTo>
                <a:close/>
                <a:moveTo>
                  <a:pt x="537" y="244"/>
                </a:moveTo>
                <a:cubicBezTo>
                  <a:pt x="536" y="245"/>
                  <a:pt x="534" y="246"/>
                  <a:pt x="532" y="246"/>
                </a:cubicBezTo>
                <a:cubicBezTo>
                  <a:pt x="533" y="245"/>
                  <a:pt x="535" y="244"/>
                  <a:pt x="537" y="244"/>
                </a:cubicBezTo>
                <a:close/>
                <a:moveTo>
                  <a:pt x="534" y="205"/>
                </a:moveTo>
                <a:cubicBezTo>
                  <a:pt x="534" y="205"/>
                  <a:pt x="533" y="207"/>
                  <a:pt x="533" y="208"/>
                </a:cubicBezTo>
                <a:cubicBezTo>
                  <a:pt x="532" y="207"/>
                  <a:pt x="533" y="205"/>
                  <a:pt x="534" y="205"/>
                </a:cubicBezTo>
                <a:close/>
                <a:moveTo>
                  <a:pt x="533" y="224"/>
                </a:moveTo>
                <a:cubicBezTo>
                  <a:pt x="534" y="223"/>
                  <a:pt x="533" y="226"/>
                  <a:pt x="532" y="226"/>
                </a:cubicBezTo>
                <a:cubicBezTo>
                  <a:pt x="532" y="225"/>
                  <a:pt x="532" y="225"/>
                  <a:pt x="533" y="224"/>
                </a:cubicBezTo>
                <a:close/>
                <a:moveTo>
                  <a:pt x="531" y="209"/>
                </a:moveTo>
                <a:cubicBezTo>
                  <a:pt x="532" y="207"/>
                  <a:pt x="533" y="209"/>
                  <a:pt x="531" y="209"/>
                </a:cubicBezTo>
                <a:close/>
                <a:moveTo>
                  <a:pt x="529" y="302"/>
                </a:moveTo>
                <a:cubicBezTo>
                  <a:pt x="529" y="301"/>
                  <a:pt x="529" y="301"/>
                  <a:pt x="530" y="300"/>
                </a:cubicBezTo>
                <a:cubicBezTo>
                  <a:pt x="532" y="299"/>
                  <a:pt x="531" y="303"/>
                  <a:pt x="529" y="302"/>
                </a:cubicBezTo>
                <a:close/>
                <a:moveTo>
                  <a:pt x="530" y="248"/>
                </a:moveTo>
                <a:cubicBezTo>
                  <a:pt x="529" y="248"/>
                  <a:pt x="529" y="248"/>
                  <a:pt x="529" y="248"/>
                </a:cubicBezTo>
                <a:cubicBezTo>
                  <a:pt x="529" y="248"/>
                  <a:pt x="533" y="246"/>
                  <a:pt x="530" y="248"/>
                </a:cubicBezTo>
                <a:close/>
                <a:moveTo>
                  <a:pt x="527" y="222"/>
                </a:moveTo>
                <a:cubicBezTo>
                  <a:pt x="520" y="225"/>
                  <a:pt x="519" y="215"/>
                  <a:pt x="525" y="213"/>
                </a:cubicBezTo>
                <a:cubicBezTo>
                  <a:pt x="530" y="211"/>
                  <a:pt x="532" y="219"/>
                  <a:pt x="527" y="222"/>
                </a:cubicBezTo>
                <a:close/>
                <a:moveTo>
                  <a:pt x="526" y="189"/>
                </a:moveTo>
                <a:cubicBezTo>
                  <a:pt x="526" y="187"/>
                  <a:pt x="528" y="189"/>
                  <a:pt x="526" y="189"/>
                </a:cubicBezTo>
                <a:close/>
                <a:moveTo>
                  <a:pt x="526" y="180"/>
                </a:moveTo>
                <a:cubicBezTo>
                  <a:pt x="526" y="181"/>
                  <a:pt x="520" y="184"/>
                  <a:pt x="519" y="181"/>
                </a:cubicBezTo>
                <a:cubicBezTo>
                  <a:pt x="518" y="177"/>
                  <a:pt x="527" y="175"/>
                  <a:pt x="526" y="180"/>
                </a:cubicBezTo>
                <a:close/>
                <a:moveTo>
                  <a:pt x="523" y="190"/>
                </a:moveTo>
                <a:cubicBezTo>
                  <a:pt x="524" y="190"/>
                  <a:pt x="524" y="190"/>
                  <a:pt x="524" y="190"/>
                </a:cubicBezTo>
                <a:cubicBezTo>
                  <a:pt x="524" y="192"/>
                  <a:pt x="521" y="189"/>
                  <a:pt x="523" y="190"/>
                </a:cubicBezTo>
                <a:close/>
                <a:moveTo>
                  <a:pt x="520" y="185"/>
                </a:moveTo>
                <a:cubicBezTo>
                  <a:pt x="519" y="184"/>
                  <a:pt x="518" y="186"/>
                  <a:pt x="517" y="186"/>
                </a:cubicBezTo>
                <a:cubicBezTo>
                  <a:pt x="517" y="185"/>
                  <a:pt x="520" y="184"/>
                  <a:pt x="520" y="185"/>
                </a:cubicBezTo>
                <a:close/>
                <a:moveTo>
                  <a:pt x="523" y="197"/>
                </a:moveTo>
                <a:cubicBezTo>
                  <a:pt x="526" y="200"/>
                  <a:pt x="524" y="205"/>
                  <a:pt x="522" y="207"/>
                </a:cubicBezTo>
                <a:cubicBezTo>
                  <a:pt x="520" y="208"/>
                  <a:pt x="517" y="208"/>
                  <a:pt x="515" y="208"/>
                </a:cubicBezTo>
                <a:cubicBezTo>
                  <a:pt x="512" y="209"/>
                  <a:pt x="514" y="209"/>
                  <a:pt x="512" y="207"/>
                </a:cubicBezTo>
                <a:cubicBezTo>
                  <a:pt x="509" y="204"/>
                  <a:pt x="509" y="200"/>
                  <a:pt x="513" y="200"/>
                </a:cubicBezTo>
                <a:cubicBezTo>
                  <a:pt x="512" y="206"/>
                  <a:pt x="514" y="198"/>
                  <a:pt x="515" y="197"/>
                </a:cubicBezTo>
                <a:cubicBezTo>
                  <a:pt x="516" y="197"/>
                  <a:pt x="521" y="196"/>
                  <a:pt x="523" y="197"/>
                </a:cubicBezTo>
                <a:close/>
                <a:moveTo>
                  <a:pt x="511" y="195"/>
                </a:moveTo>
                <a:cubicBezTo>
                  <a:pt x="512" y="196"/>
                  <a:pt x="509" y="196"/>
                  <a:pt x="509" y="195"/>
                </a:cubicBezTo>
                <a:cubicBezTo>
                  <a:pt x="510" y="194"/>
                  <a:pt x="511" y="194"/>
                  <a:pt x="511" y="195"/>
                </a:cubicBezTo>
                <a:close/>
                <a:moveTo>
                  <a:pt x="516" y="196"/>
                </a:moveTo>
                <a:cubicBezTo>
                  <a:pt x="515" y="196"/>
                  <a:pt x="509" y="201"/>
                  <a:pt x="508" y="199"/>
                </a:cubicBezTo>
                <a:cubicBezTo>
                  <a:pt x="508" y="198"/>
                  <a:pt x="514" y="195"/>
                  <a:pt x="516" y="196"/>
                </a:cubicBezTo>
                <a:close/>
                <a:moveTo>
                  <a:pt x="509" y="183"/>
                </a:moveTo>
                <a:cubicBezTo>
                  <a:pt x="510" y="184"/>
                  <a:pt x="507" y="185"/>
                  <a:pt x="507" y="184"/>
                </a:cubicBezTo>
                <a:cubicBezTo>
                  <a:pt x="506" y="183"/>
                  <a:pt x="509" y="183"/>
                  <a:pt x="509" y="183"/>
                </a:cubicBezTo>
                <a:close/>
                <a:moveTo>
                  <a:pt x="506" y="199"/>
                </a:moveTo>
                <a:cubicBezTo>
                  <a:pt x="509" y="197"/>
                  <a:pt x="509" y="203"/>
                  <a:pt x="506" y="202"/>
                </a:cubicBezTo>
                <a:cubicBezTo>
                  <a:pt x="505" y="201"/>
                  <a:pt x="506" y="199"/>
                  <a:pt x="506" y="199"/>
                </a:cubicBezTo>
                <a:close/>
                <a:moveTo>
                  <a:pt x="506" y="261"/>
                </a:moveTo>
                <a:cubicBezTo>
                  <a:pt x="508" y="260"/>
                  <a:pt x="505" y="263"/>
                  <a:pt x="506" y="262"/>
                </a:cubicBezTo>
                <a:cubicBezTo>
                  <a:pt x="506" y="261"/>
                  <a:pt x="506" y="261"/>
                  <a:pt x="506" y="261"/>
                </a:cubicBezTo>
                <a:close/>
                <a:moveTo>
                  <a:pt x="508" y="279"/>
                </a:moveTo>
                <a:cubicBezTo>
                  <a:pt x="508" y="281"/>
                  <a:pt x="504" y="283"/>
                  <a:pt x="503" y="281"/>
                </a:cubicBezTo>
                <a:cubicBezTo>
                  <a:pt x="502" y="280"/>
                  <a:pt x="507" y="277"/>
                  <a:pt x="508" y="279"/>
                </a:cubicBezTo>
                <a:close/>
                <a:moveTo>
                  <a:pt x="502" y="609"/>
                </a:moveTo>
                <a:cubicBezTo>
                  <a:pt x="502" y="607"/>
                  <a:pt x="504" y="608"/>
                  <a:pt x="502" y="609"/>
                </a:cubicBezTo>
                <a:close/>
                <a:moveTo>
                  <a:pt x="503" y="283"/>
                </a:moveTo>
                <a:cubicBezTo>
                  <a:pt x="503" y="282"/>
                  <a:pt x="502" y="284"/>
                  <a:pt x="503" y="283"/>
                </a:cubicBezTo>
                <a:close/>
                <a:moveTo>
                  <a:pt x="502" y="173"/>
                </a:moveTo>
                <a:cubicBezTo>
                  <a:pt x="503" y="174"/>
                  <a:pt x="502" y="175"/>
                  <a:pt x="501" y="174"/>
                </a:cubicBezTo>
                <a:cubicBezTo>
                  <a:pt x="501" y="174"/>
                  <a:pt x="502" y="174"/>
                  <a:pt x="502" y="173"/>
                </a:cubicBezTo>
                <a:close/>
                <a:moveTo>
                  <a:pt x="501" y="129"/>
                </a:moveTo>
                <a:cubicBezTo>
                  <a:pt x="501" y="129"/>
                  <a:pt x="501" y="129"/>
                  <a:pt x="501" y="129"/>
                </a:cubicBezTo>
                <a:cubicBezTo>
                  <a:pt x="502" y="131"/>
                  <a:pt x="499" y="127"/>
                  <a:pt x="501" y="129"/>
                </a:cubicBezTo>
                <a:close/>
                <a:moveTo>
                  <a:pt x="503" y="177"/>
                </a:moveTo>
                <a:cubicBezTo>
                  <a:pt x="503" y="178"/>
                  <a:pt x="500" y="178"/>
                  <a:pt x="500" y="177"/>
                </a:cubicBezTo>
                <a:cubicBezTo>
                  <a:pt x="500" y="176"/>
                  <a:pt x="503" y="175"/>
                  <a:pt x="503" y="177"/>
                </a:cubicBezTo>
                <a:close/>
                <a:moveTo>
                  <a:pt x="501" y="214"/>
                </a:moveTo>
                <a:cubicBezTo>
                  <a:pt x="502" y="214"/>
                  <a:pt x="500" y="216"/>
                  <a:pt x="500" y="216"/>
                </a:cubicBezTo>
                <a:cubicBezTo>
                  <a:pt x="499" y="215"/>
                  <a:pt x="500" y="213"/>
                  <a:pt x="501" y="214"/>
                </a:cubicBezTo>
                <a:close/>
                <a:moveTo>
                  <a:pt x="499" y="175"/>
                </a:moveTo>
                <a:cubicBezTo>
                  <a:pt x="499" y="175"/>
                  <a:pt x="499" y="175"/>
                  <a:pt x="498" y="175"/>
                </a:cubicBezTo>
                <a:cubicBezTo>
                  <a:pt x="498" y="175"/>
                  <a:pt x="498" y="175"/>
                  <a:pt x="498" y="175"/>
                </a:cubicBezTo>
                <a:cubicBezTo>
                  <a:pt x="498" y="175"/>
                  <a:pt x="499" y="175"/>
                  <a:pt x="499" y="175"/>
                </a:cubicBezTo>
                <a:close/>
                <a:moveTo>
                  <a:pt x="499" y="241"/>
                </a:moveTo>
                <a:cubicBezTo>
                  <a:pt x="500" y="241"/>
                  <a:pt x="498" y="242"/>
                  <a:pt x="498" y="241"/>
                </a:cubicBezTo>
                <a:cubicBezTo>
                  <a:pt x="498" y="240"/>
                  <a:pt x="499" y="241"/>
                  <a:pt x="499" y="241"/>
                </a:cubicBezTo>
                <a:close/>
                <a:moveTo>
                  <a:pt x="498" y="123"/>
                </a:moveTo>
                <a:cubicBezTo>
                  <a:pt x="499" y="123"/>
                  <a:pt x="497" y="125"/>
                  <a:pt x="497" y="124"/>
                </a:cubicBezTo>
                <a:cubicBezTo>
                  <a:pt x="497" y="124"/>
                  <a:pt x="498" y="123"/>
                  <a:pt x="498" y="123"/>
                </a:cubicBezTo>
                <a:close/>
                <a:moveTo>
                  <a:pt x="498" y="150"/>
                </a:moveTo>
                <a:cubicBezTo>
                  <a:pt x="498" y="151"/>
                  <a:pt x="497" y="152"/>
                  <a:pt x="496" y="151"/>
                </a:cubicBezTo>
                <a:cubicBezTo>
                  <a:pt x="496" y="150"/>
                  <a:pt x="498" y="150"/>
                  <a:pt x="498" y="150"/>
                </a:cubicBezTo>
                <a:close/>
                <a:moveTo>
                  <a:pt x="498" y="170"/>
                </a:moveTo>
                <a:cubicBezTo>
                  <a:pt x="498" y="172"/>
                  <a:pt x="494" y="171"/>
                  <a:pt x="494" y="170"/>
                </a:cubicBezTo>
                <a:cubicBezTo>
                  <a:pt x="494" y="168"/>
                  <a:pt x="497" y="168"/>
                  <a:pt x="498" y="170"/>
                </a:cubicBezTo>
                <a:close/>
                <a:moveTo>
                  <a:pt x="494" y="124"/>
                </a:moveTo>
                <a:cubicBezTo>
                  <a:pt x="494" y="124"/>
                  <a:pt x="493" y="125"/>
                  <a:pt x="492" y="125"/>
                </a:cubicBezTo>
                <a:cubicBezTo>
                  <a:pt x="492" y="124"/>
                  <a:pt x="493" y="124"/>
                  <a:pt x="494" y="124"/>
                </a:cubicBezTo>
                <a:close/>
                <a:moveTo>
                  <a:pt x="493" y="162"/>
                </a:moveTo>
                <a:cubicBezTo>
                  <a:pt x="494" y="163"/>
                  <a:pt x="493" y="164"/>
                  <a:pt x="492" y="163"/>
                </a:cubicBezTo>
                <a:cubicBezTo>
                  <a:pt x="492" y="163"/>
                  <a:pt x="493" y="162"/>
                  <a:pt x="493" y="162"/>
                </a:cubicBezTo>
                <a:close/>
                <a:moveTo>
                  <a:pt x="493" y="158"/>
                </a:moveTo>
                <a:cubicBezTo>
                  <a:pt x="494" y="160"/>
                  <a:pt x="493" y="157"/>
                  <a:pt x="493" y="158"/>
                </a:cubicBezTo>
                <a:close/>
                <a:moveTo>
                  <a:pt x="493" y="168"/>
                </a:moveTo>
                <a:cubicBezTo>
                  <a:pt x="493" y="170"/>
                  <a:pt x="491" y="169"/>
                  <a:pt x="493" y="168"/>
                </a:cubicBezTo>
                <a:close/>
                <a:moveTo>
                  <a:pt x="491" y="160"/>
                </a:moveTo>
                <a:cubicBezTo>
                  <a:pt x="492" y="161"/>
                  <a:pt x="490" y="162"/>
                  <a:pt x="490" y="161"/>
                </a:cubicBezTo>
                <a:cubicBezTo>
                  <a:pt x="491" y="160"/>
                  <a:pt x="491" y="160"/>
                  <a:pt x="491" y="160"/>
                </a:cubicBezTo>
                <a:close/>
                <a:moveTo>
                  <a:pt x="491" y="132"/>
                </a:moveTo>
                <a:cubicBezTo>
                  <a:pt x="492" y="134"/>
                  <a:pt x="488" y="133"/>
                  <a:pt x="488" y="132"/>
                </a:cubicBezTo>
                <a:cubicBezTo>
                  <a:pt x="488" y="131"/>
                  <a:pt x="491" y="131"/>
                  <a:pt x="491" y="132"/>
                </a:cubicBezTo>
                <a:close/>
                <a:moveTo>
                  <a:pt x="486" y="205"/>
                </a:moveTo>
                <a:cubicBezTo>
                  <a:pt x="487" y="204"/>
                  <a:pt x="488" y="204"/>
                  <a:pt x="488" y="205"/>
                </a:cubicBezTo>
                <a:cubicBezTo>
                  <a:pt x="488" y="205"/>
                  <a:pt x="489" y="205"/>
                  <a:pt x="490" y="205"/>
                </a:cubicBezTo>
                <a:cubicBezTo>
                  <a:pt x="491" y="204"/>
                  <a:pt x="496" y="198"/>
                  <a:pt x="497" y="199"/>
                </a:cubicBezTo>
                <a:cubicBezTo>
                  <a:pt x="499" y="201"/>
                  <a:pt x="490" y="206"/>
                  <a:pt x="489" y="206"/>
                </a:cubicBezTo>
                <a:cubicBezTo>
                  <a:pt x="488" y="207"/>
                  <a:pt x="487" y="208"/>
                  <a:pt x="486" y="207"/>
                </a:cubicBezTo>
                <a:cubicBezTo>
                  <a:pt x="486" y="207"/>
                  <a:pt x="486" y="207"/>
                  <a:pt x="486" y="207"/>
                </a:cubicBezTo>
                <a:cubicBezTo>
                  <a:pt x="486" y="207"/>
                  <a:pt x="486" y="207"/>
                  <a:pt x="486" y="207"/>
                </a:cubicBezTo>
                <a:cubicBezTo>
                  <a:pt x="485" y="206"/>
                  <a:pt x="486" y="205"/>
                  <a:pt x="486" y="205"/>
                </a:cubicBezTo>
                <a:close/>
                <a:moveTo>
                  <a:pt x="486" y="209"/>
                </a:moveTo>
                <a:cubicBezTo>
                  <a:pt x="487" y="210"/>
                  <a:pt x="485" y="210"/>
                  <a:pt x="485" y="210"/>
                </a:cubicBezTo>
                <a:cubicBezTo>
                  <a:pt x="485" y="209"/>
                  <a:pt x="486" y="209"/>
                  <a:pt x="486" y="209"/>
                </a:cubicBezTo>
                <a:close/>
                <a:moveTo>
                  <a:pt x="486" y="141"/>
                </a:moveTo>
                <a:cubicBezTo>
                  <a:pt x="486" y="142"/>
                  <a:pt x="483" y="142"/>
                  <a:pt x="483" y="141"/>
                </a:cubicBezTo>
                <a:cubicBezTo>
                  <a:pt x="483" y="141"/>
                  <a:pt x="485" y="140"/>
                  <a:pt x="486" y="141"/>
                </a:cubicBezTo>
                <a:close/>
                <a:moveTo>
                  <a:pt x="484" y="149"/>
                </a:moveTo>
                <a:cubicBezTo>
                  <a:pt x="485" y="149"/>
                  <a:pt x="483" y="151"/>
                  <a:pt x="483" y="149"/>
                </a:cubicBezTo>
                <a:cubicBezTo>
                  <a:pt x="483" y="149"/>
                  <a:pt x="483" y="149"/>
                  <a:pt x="484" y="149"/>
                </a:cubicBezTo>
                <a:close/>
                <a:moveTo>
                  <a:pt x="496" y="76"/>
                </a:moveTo>
                <a:cubicBezTo>
                  <a:pt x="496" y="76"/>
                  <a:pt x="496" y="76"/>
                  <a:pt x="496" y="76"/>
                </a:cubicBezTo>
                <a:cubicBezTo>
                  <a:pt x="496" y="77"/>
                  <a:pt x="496" y="77"/>
                  <a:pt x="496" y="76"/>
                </a:cubicBezTo>
                <a:close/>
                <a:moveTo>
                  <a:pt x="496" y="76"/>
                </a:moveTo>
                <a:cubicBezTo>
                  <a:pt x="495" y="76"/>
                  <a:pt x="495" y="76"/>
                  <a:pt x="496" y="76"/>
                </a:cubicBezTo>
                <a:close/>
                <a:moveTo>
                  <a:pt x="496" y="79"/>
                </a:moveTo>
                <a:cubicBezTo>
                  <a:pt x="496" y="79"/>
                  <a:pt x="495" y="79"/>
                  <a:pt x="494" y="79"/>
                </a:cubicBezTo>
                <a:cubicBezTo>
                  <a:pt x="494" y="79"/>
                  <a:pt x="495" y="78"/>
                  <a:pt x="496" y="79"/>
                </a:cubicBezTo>
                <a:close/>
                <a:moveTo>
                  <a:pt x="493" y="77"/>
                </a:moveTo>
                <a:cubicBezTo>
                  <a:pt x="493" y="78"/>
                  <a:pt x="492" y="78"/>
                  <a:pt x="492" y="78"/>
                </a:cubicBezTo>
                <a:cubicBezTo>
                  <a:pt x="492" y="78"/>
                  <a:pt x="491" y="76"/>
                  <a:pt x="491" y="76"/>
                </a:cubicBezTo>
                <a:cubicBezTo>
                  <a:pt x="491" y="75"/>
                  <a:pt x="493" y="75"/>
                  <a:pt x="493" y="77"/>
                </a:cubicBezTo>
                <a:close/>
                <a:moveTo>
                  <a:pt x="486" y="82"/>
                </a:moveTo>
                <a:cubicBezTo>
                  <a:pt x="487" y="83"/>
                  <a:pt x="485" y="83"/>
                  <a:pt x="485" y="82"/>
                </a:cubicBezTo>
                <a:cubicBezTo>
                  <a:pt x="485" y="82"/>
                  <a:pt x="486" y="82"/>
                  <a:pt x="486" y="82"/>
                </a:cubicBezTo>
                <a:close/>
                <a:moveTo>
                  <a:pt x="486" y="85"/>
                </a:moveTo>
                <a:cubicBezTo>
                  <a:pt x="485" y="85"/>
                  <a:pt x="484" y="86"/>
                  <a:pt x="484" y="85"/>
                </a:cubicBezTo>
                <a:cubicBezTo>
                  <a:pt x="485" y="85"/>
                  <a:pt x="488" y="81"/>
                  <a:pt x="491" y="81"/>
                </a:cubicBezTo>
                <a:cubicBezTo>
                  <a:pt x="492" y="81"/>
                  <a:pt x="495" y="82"/>
                  <a:pt x="495" y="85"/>
                </a:cubicBezTo>
                <a:cubicBezTo>
                  <a:pt x="494" y="87"/>
                  <a:pt x="490" y="89"/>
                  <a:pt x="488" y="89"/>
                </a:cubicBezTo>
                <a:cubicBezTo>
                  <a:pt x="487" y="89"/>
                  <a:pt x="486" y="88"/>
                  <a:pt x="485" y="88"/>
                </a:cubicBezTo>
                <a:cubicBezTo>
                  <a:pt x="485" y="88"/>
                  <a:pt x="484" y="89"/>
                  <a:pt x="484" y="88"/>
                </a:cubicBezTo>
                <a:cubicBezTo>
                  <a:pt x="484" y="87"/>
                  <a:pt x="486" y="86"/>
                  <a:pt x="486" y="85"/>
                </a:cubicBezTo>
                <a:close/>
                <a:moveTo>
                  <a:pt x="480" y="84"/>
                </a:moveTo>
                <a:cubicBezTo>
                  <a:pt x="481" y="85"/>
                  <a:pt x="479" y="83"/>
                  <a:pt x="480" y="84"/>
                </a:cubicBezTo>
                <a:close/>
                <a:moveTo>
                  <a:pt x="481" y="85"/>
                </a:moveTo>
                <a:cubicBezTo>
                  <a:pt x="481" y="85"/>
                  <a:pt x="481" y="85"/>
                  <a:pt x="481" y="85"/>
                </a:cubicBezTo>
                <a:cubicBezTo>
                  <a:pt x="481" y="85"/>
                  <a:pt x="480" y="85"/>
                  <a:pt x="480" y="85"/>
                </a:cubicBezTo>
                <a:cubicBezTo>
                  <a:pt x="481" y="85"/>
                  <a:pt x="481" y="85"/>
                  <a:pt x="481" y="85"/>
                </a:cubicBezTo>
                <a:close/>
                <a:moveTo>
                  <a:pt x="480" y="100"/>
                </a:moveTo>
                <a:cubicBezTo>
                  <a:pt x="479" y="100"/>
                  <a:pt x="481" y="99"/>
                  <a:pt x="482" y="99"/>
                </a:cubicBezTo>
                <a:cubicBezTo>
                  <a:pt x="482" y="100"/>
                  <a:pt x="480" y="100"/>
                  <a:pt x="480" y="100"/>
                </a:cubicBezTo>
                <a:close/>
                <a:moveTo>
                  <a:pt x="481" y="72"/>
                </a:moveTo>
                <a:cubicBezTo>
                  <a:pt x="484" y="71"/>
                  <a:pt x="482" y="77"/>
                  <a:pt x="479" y="75"/>
                </a:cubicBezTo>
                <a:cubicBezTo>
                  <a:pt x="478" y="74"/>
                  <a:pt x="480" y="73"/>
                  <a:pt x="481" y="72"/>
                </a:cubicBezTo>
                <a:close/>
                <a:moveTo>
                  <a:pt x="492" y="60"/>
                </a:moveTo>
                <a:cubicBezTo>
                  <a:pt x="491" y="62"/>
                  <a:pt x="490" y="60"/>
                  <a:pt x="492" y="60"/>
                </a:cubicBezTo>
                <a:close/>
                <a:moveTo>
                  <a:pt x="487" y="59"/>
                </a:moveTo>
                <a:cubicBezTo>
                  <a:pt x="486" y="60"/>
                  <a:pt x="485" y="60"/>
                  <a:pt x="483" y="60"/>
                </a:cubicBezTo>
                <a:cubicBezTo>
                  <a:pt x="485" y="60"/>
                  <a:pt x="485" y="58"/>
                  <a:pt x="487" y="59"/>
                </a:cubicBezTo>
                <a:close/>
                <a:moveTo>
                  <a:pt x="479" y="61"/>
                </a:moveTo>
                <a:cubicBezTo>
                  <a:pt x="480" y="61"/>
                  <a:pt x="478" y="62"/>
                  <a:pt x="477" y="61"/>
                </a:cubicBezTo>
                <a:cubicBezTo>
                  <a:pt x="477" y="61"/>
                  <a:pt x="479" y="61"/>
                  <a:pt x="479" y="61"/>
                </a:cubicBezTo>
                <a:close/>
                <a:moveTo>
                  <a:pt x="477" y="61"/>
                </a:moveTo>
                <a:cubicBezTo>
                  <a:pt x="477" y="62"/>
                  <a:pt x="475" y="61"/>
                  <a:pt x="475" y="61"/>
                </a:cubicBezTo>
                <a:cubicBezTo>
                  <a:pt x="475" y="61"/>
                  <a:pt x="476" y="60"/>
                  <a:pt x="477" y="61"/>
                </a:cubicBezTo>
                <a:close/>
                <a:moveTo>
                  <a:pt x="465" y="20"/>
                </a:moveTo>
                <a:cubicBezTo>
                  <a:pt x="465" y="20"/>
                  <a:pt x="464" y="21"/>
                  <a:pt x="463" y="20"/>
                </a:cubicBezTo>
                <a:cubicBezTo>
                  <a:pt x="463" y="20"/>
                  <a:pt x="464" y="19"/>
                  <a:pt x="465" y="20"/>
                </a:cubicBezTo>
                <a:close/>
                <a:moveTo>
                  <a:pt x="465" y="23"/>
                </a:moveTo>
                <a:cubicBezTo>
                  <a:pt x="465" y="24"/>
                  <a:pt x="463" y="23"/>
                  <a:pt x="463" y="23"/>
                </a:cubicBezTo>
                <a:cubicBezTo>
                  <a:pt x="463" y="22"/>
                  <a:pt x="464" y="21"/>
                  <a:pt x="465" y="23"/>
                </a:cubicBezTo>
                <a:close/>
                <a:moveTo>
                  <a:pt x="399" y="26"/>
                </a:moveTo>
                <a:cubicBezTo>
                  <a:pt x="399" y="26"/>
                  <a:pt x="399" y="26"/>
                  <a:pt x="399" y="27"/>
                </a:cubicBezTo>
                <a:cubicBezTo>
                  <a:pt x="399" y="27"/>
                  <a:pt x="399" y="27"/>
                  <a:pt x="399" y="27"/>
                </a:cubicBezTo>
                <a:cubicBezTo>
                  <a:pt x="399" y="27"/>
                  <a:pt x="399" y="26"/>
                  <a:pt x="399" y="26"/>
                </a:cubicBezTo>
                <a:close/>
                <a:moveTo>
                  <a:pt x="257" y="435"/>
                </a:moveTo>
                <a:cubicBezTo>
                  <a:pt x="258" y="436"/>
                  <a:pt x="257" y="438"/>
                  <a:pt x="257" y="438"/>
                </a:cubicBezTo>
                <a:cubicBezTo>
                  <a:pt x="255" y="439"/>
                  <a:pt x="255" y="434"/>
                  <a:pt x="257" y="435"/>
                </a:cubicBezTo>
                <a:close/>
                <a:moveTo>
                  <a:pt x="258" y="487"/>
                </a:moveTo>
                <a:cubicBezTo>
                  <a:pt x="256" y="488"/>
                  <a:pt x="257" y="484"/>
                  <a:pt x="258" y="485"/>
                </a:cubicBezTo>
                <a:cubicBezTo>
                  <a:pt x="259" y="485"/>
                  <a:pt x="258" y="486"/>
                  <a:pt x="258" y="487"/>
                </a:cubicBezTo>
                <a:close/>
                <a:moveTo>
                  <a:pt x="256" y="404"/>
                </a:moveTo>
                <a:cubicBezTo>
                  <a:pt x="256" y="404"/>
                  <a:pt x="256" y="398"/>
                  <a:pt x="259" y="399"/>
                </a:cubicBezTo>
                <a:cubicBezTo>
                  <a:pt x="260" y="399"/>
                  <a:pt x="259" y="405"/>
                  <a:pt x="256" y="404"/>
                </a:cubicBezTo>
                <a:close/>
                <a:moveTo>
                  <a:pt x="259" y="383"/>
                </a:moveTo>
                <a:cubicBezTo>
                  <a:pt x="258" y="384"/>
                  <a:pt x="260" y="381"/>
                  <a:pt x="259" y="383"/>
                </a:cubicBezTo>
                <a:close/>
                <a:moveTo>
                  <a:pt x="261" y="493"/>
                </a:moveTo>
                <a:cubicBezTo>
                  <a:pt x="262" y="491"/>
                  <a:pt x="264" y="489"/>
                  <a:pt x="266" y="488"/>
                </a:cubicBezTo>
                <a:cubicBezTo>
                  <a:pt x="265" y="490"/>
                  <a:pt x="263" y="491"/>
                  <a:pt x="261" y="493"/>
                </a:cubicBezTo>
                <a:close/>
                <a:moveTo>
                  <a:pt x="266" y="444"/>
                </a:moveTo>
                <a:cubicBezTo>
                  <a:pt x="265" y="443"/>
                  <a:pt x="267" y="443"/>
                  <a:pt x="266" y="444"/>
                </a:cubicBezTo>
                <a:close/>
                <a:moveTo>
                  <a:pt x="267" y="501"/>
                </a:moveTo>
                <a:cubicBezTo>
                  <a:pt x="267" y="502"/>
                  <a:pt x="269" y="500"/>
                  <a:pt x="267" y="501"/>
                </a:cubicBezTo>
                <a:close/>
                <a:moveTo>
                  <a:pt x="268" y="477"/>
                </a:moveTo>
                <a:cubicBezTo>
                  <a:pt x="267" y="476"/>
                  <a:pt x="270" y="476"/>
                  <a:pt x="268" y="477"/>
                </a:cubicBezTo>
                <a:close/>
                <a:moveTo>
                  <a:pt x="269" y="453"/>
                </a:moveTo>
                <a:cubicBezTo>
                  <a:pt x="269" y="454"/>
                  <a:pt x="269" y="454"/>
                  <a:pt x="269" y="454"/>
                </a:cubicBezTo>
                <a:cubicBezTo>
                  <a:pt x="269" y="454"/>
                  <a:pt x="269" y="453"/>
                  <a:pt x="269" y="453"/>
                </a:cubicBezTo>
                <a:cubicBezTo>
                  <a:pt x="269" y="453"/>
                  <a:pt x="269" y="453"/>
                  <a:pt x="269" y="453"/>
                </a:cubicBezTo>
                <a:close/>
                <a:moveTo>
                  <a:pt x="282" y="413"/>
                </a:moveTo>
                <a:cubicBezTo>
                  <a:pt x="281" y="414"/>
                  <a:pt x="282" y="410"/>
                  <a:pt x="283" y="411"/>
                </a:cubicBezTo>
                <a:cubicBezTo>
                  <a:pt x="284" y="412"/>
                  <a:pt x="283" y="413"/>
                  <a:pt x="282" y="413"/>
                </a:cubicBezTo>
                <a:close/>
                <a:moveTo>
                  <a:pt x="287" y="477"/>
                </a:moveTo>
                <a:cubicBezTo>
                  <a:pt x="289" y="477"/>
                  <a:pt x="288" y="482"/>
                  <a:pt x="287" y="483"/>
                </a:cubicBezTo>
                <a:cubicBezTo>
                  <a:pt x="282" y="485"/>
                  <a:pt x="287" y="477"/>
                  <a:pt x="287" y="477"/>
                </a:cubicBezTo>
                <a:close/>
                <a:moveTo>
                  <a:pt x="288" y="462"/>
                </a:moveTo>
                <a:cubicBezTo>
                  <a:pt x="288" y="462"/>
                  <a:pt x="287" y="462"/>
                  <a:pt x="287" y="462"/>
                </a:cubicBezTo>
                <a:cubicBezTo>
                  <a:pt x="285" y="460"/>
                  <a:pt x="290" y="460"/>
                  <a:pt x="288" y="462"/>
                </a:cubicBezTo>
                <a:close/>
                <a:moveTo>
                  <a:pt x="285" y="506"/>
                </a:moveTo>
                <a:cubicBezTo>
                  <a:pt x="286" y="505"/>
                  <a:pt x="284" y="507"/>
                  <a:pt x="285" y="506"/>
                </a:cubicBezTo>
                <a:close/>
                <a:moveTo>
                  <a:pt x="287" y="507"/>
                </a:moveTo>
                <a:cubicBezTo>
                  <a:pt x="287" y="507"/>
                  <a:pt x="286" y="507"/>
                  <a:pt x="286" y="507"/>
                </a:cubicBezTo>
                <a:cubicBezTo>
                  <a:pt x="284" y="505"/>
                  <a:pt x="289" y="504"/>
                  <a:pt x="287" y="507"/>
                </a:cubicBezTo>
                <a:close/>
                <a:moveTo>
                  <a:pt x="285" y="500"/>
                </a:moveTo>
                <a:cubicBezTo>
                  <a:pt x="280" y="502"/>
                  <a:pt x="285" y="493"/>
                  <a:pt x="288" y="495"/>
                </a:cubicBezTo>
                <a:cubicBezTo>
                  <a:pt x="289" y="496"/>
                  <a:pt x="286" y="500"/>
                  <a:pt x="285" y="500"/>
                </a:cubicBezTo>
                <a:close/>
                <a:moveTo>
                  <a:pt x="288" y="508"/>
                </a:moveTo>
                <a:cubicBezTo>
                  <a:pt x="287" y="509"/>
                  <a:pt x="291" y="507"/>
                  <a:pt x="288" y="508"/>
                </a:cubicBezTo>
                <a:close/>
                <a:moveTo>
                  <a:pt x="288" y="493"/>
                </a:moveTo>
                <a:cubicBezTo>
                  <a:pt x="287" y="493"/>
                  <a:pt x="287" y="490"/>
                  <a:pt x="289" y="490"/>
                </a:cubicBezTo>
                <a:cubicBezTo>
                  <a:pt x="290" y="491"/>
                  <a:pt x="289" y="492"/>
                  <a:pt x="288" y="493"/>
                </a:cubicBezTo>
                <a:close/>
                <a:moveTo>
                  <a:pt x="292" y="519"/>
                </a:moveTo>
                <a:cubicBezTo>
                  <a:pt x="291" y="518"/>
                  <a:pt x="293" y="517"/>
                  <a:pt x="292" y="519"/>
                </a:cubicBezTo>
                <a:close/>
                <a:moveTo>
                  <a:pt x="293" y="504"/>
                </a:moveTo>
                <a:cubicBezTo>
                  <a:pt x="292" y="503"/>
                  <a:pt x="294" y="503"/>
                  <a:pt x="294" y="502"/>
                </a:cubicBezTo>
                <a:cubicBezTo>
                  <a:pt x="294" y="503"/>
                  <a:pt x="293" y="503"/>
                  <a:pt x="293" y="504"/>
                </a:cubicBezTo>
                <a:close/>
                <a:moveTo>
                  <a:pt x="294" y="459"/>
                </a:moveTo>
                <a:cubicBezTo>
                  <a:pt x="293" y="460"/>
                  <a:pt x="294" y="457"/>
                  <a:pt x="295" y="458"/>
                </a:cubicBezTo>
                <a:cubicBezTo>
                  <a:pt x="295" y="459"/>
                  <a:pt x="294" y="459"/>
                  <a:pt x="294" y="459"/>
                </a:cubicBezTo>
                <a:close/>
                <a:moveTo>
                  <a:pt x="295" y="475"/>
                </a:moveTo>
                <a:cubicBezTo>
                  <a:pt x="295" y="474"/>
                  <a:pt x="297" y="475"/>
                  <a:pt x="295" y="475"/>
                </a:cubicBezTo>
                <a:close/>
                <a:moveTo>
                  <a:pt x="296" y="389"/>
                </a:moveTo>
                <a:cubicBezTo>
                  <a:pt x="295" y="387"/>
                  <a:pt x="298" y="387"/>
                  <a:pt x="296" y="389"/>
                </a:cubicBezTo>
                <a:close/>
                <a:moveTo>
                  <a:pt x="297" y="482"/>
                </a:moveTo>
                <a:cubicBezTo>
                  <a:pt x="297" y="483"/>
                  <a:pt x="297" y="480"/>
                  <a:pt x="297" y="482"/>
                </a:cubicBezTo>
                <a:close/>
                <a:moveTo>
                  <a:pt x="298" y="393"/>
                </a:moveTo>
                <a:cubicBezTo>
                  <a:pt x="298" y="393"/>
                  <a:pt x="298" y="392"/>
                  <a:pt x="298" y="393"/>
                </a:cubicBezTo>
                <a:close/>
                <a:moveTo>
                  <a:pt x="300" y="448"/>
                </a:moveTo>
                <a:cubicBezTo>
                  <a:pt x="301" y="448"/>
                  <a:pt x="300" y="449"/>
                  <a:pt x="300" y="449"/>
                </a:cubicBezTo>
                <a:cubicBezTo>
                  <a:pt x="299" y="450"/>
                  <a:pt x="299" y="447"/>
                  <a:pt x="300" y="448"/>
                </a:cubicBezTo>
                <a:close/>
                <a:moveTo>
                  <a:pt x="301" y="127"/>
                </a:moveTo>
                <a:cubicBezTo>
                  <a:pt x="300" y="127"/>
                  <a:pt x="300" y="127"/>
                  <a:pt x="300" y="127"/>
                </a:cubicBezTo>
                <a:cubicBezTo>
                  <a:pt x="299" y="127"/>
                  <a:pt x="301" y="126"/>
                  <a:pt x="301" y="127"/>
                </a:cubicBezTo>
                <a:close/>
                <a:moveTo>
                  <a:pt x="300" y="462"/>
                </a:moveTo>
                <a:cubicBezTo>
                  <a:pt x="301" y="462"/>
                  <a:pt x="301" y="461"/>
                  <a:pt x="301" y="462"/>
                </a:cubicBezTo>
                <a:cubicBezTo>
                  <a:pt x="300" y="462"/>
                  <a:pt x="300" y="462"/>
                  <a:pt x="300" y="462"/>
                </a:cubicBezTo>
                <a:close/>
                <a:moveTo>
                  <a:pt x="303" y="496"/>
                </a:moveTo>
                <a:cubicBezTo>
                  <a:pt x="303" y="496"/>
                  <a:pt x="302" y="496"/>
                  <a:pt x="302" y="496"/>
                </a:cubicBezTo>
                <a:cubicBezTo>
                  <a:pt x="298" y="496"/>
                  <a:pt x="304" y="492"/>
                  <a:pt x="303" y="496"/>
                </a:cubicBezTo>
                <a:close/>
                <a:moveTo>
                  <a:pt x="303" y="498"/>
                </a:moveTo>
                <a:cubicBezTo>
                  <a:pt x="302" y="499"/>
                  <a:pt x="304" y="497"/>
                  <a:pt x="303" y="498"/>
                </a:cubicBezTo>
                <a:close/>
                <a:moveTo>
                  <a:pt x="301" y="479"/>
                </a:moveTo>
                <a:cubicBezTo>
                  <a:pt x="304" y="475"/>
                  <a:pt x="308" y="472"/>
                  <a:pt x="312" y="469"/>
                </a:cubicBezTo>
                <a:cubicBezTo>
                  <a:pt x="309" y="472"/>
                  <a:pt x="306" y="477"/>
                  <a:pt x="301" y="479"/>
                </a:cubicBezTo>
                <a:close/>
                <a:moveTo>
                  <a:pt x="313" y="159"/>
                </a:moveTo>
                <a:cubicBezTo>
                  <a:pt x="314" y="159"/>
                  <a:pt x="310" y="162"/>
                  <a:pt x="308" y="162"/>
                </a:cubicBezTo>
                <a:cubicBezTo>
                  <a:pt x="308" y="162"/>
                  <a:pt x="304" y="161"/>
                  <a:pt x="304" y="160"/>
                </a:cubicBezTo>
                <a:cubicBezTo>
                  <a:pt x="304" y="159"/>
                  <a:pt x="308" y="157"/>
                  <a:pt x="310" y="159"/>
                </a:cubicBezTo>
                <a:cubicBezTo>
                  <a:pt x="310" y="159"/>
                  <a:pt x="310" y="160"/>
                  <a:pt x="310" y="160"/>
                </a:cubicBezTo>
                <a:cubicBezTo>
                  <a:pt x="311" y="161"/>
                  <a:pt x="312" y="159"/>
                  <a:pt x="313" y="159"/>
                </a:cubicBezTo>
                <a:close/>
                <a:moveTo>
                  <a:pt x="312" y="488"/>
                </a:moveTo>
                <a:cubicBezTo>
                  <a:pt x="313" y="487"/>
                  <a:pt x="312" y="489"/>
                  <a:pt x="311" y="489"/>
                </a:cubicBezTo>
                <a:cubicBezTo>
                  <a:pt x="311" y="489"/>
                  <a:pt x="311" y="488"/>
                  <a:pt x="312" y="488"/>
                </a:cubicBezTo>
                <a:close/>
                <a:moveTo>
                  <a:pt x="312" y="354"/>
                </a:moveTo>
                <a:cubicBezTo>
                  <a:pt x="311" y="356"/>
                  <a:pt x="310" y="356"/>
                  <a:pt x="310" y="357"/>
                </a:cubicBezTo>
                <a:cubicBezTo>
                  <a:pt x="309" y="356"/>
                  <a:pt x="310" y="354"/>
                  <a:pt x="312" y="354"/>
                </a:cubicBezTo>
                <a:close/>
                <a:moveTo>
                  <a:pt x="305" y="364"/>
                </a:moveTo>
                <a:cubicBezTo>
                  <a:pt x="305" y="362"/>
                  <a:pt x="307" y="359"/>
                  <a:pt x="309" y="358"/>
                </a:cubicBezTo>
                <a:cubicBezTo>
                  <a:pt x="308" y="360"/>
                  <a:pt x="307" y="362"/>
                  <a:pt x="305" y="364"/>
                </a:cubicBezTo>
                <a:close/>
                <a:moveTo>
                  <a:pt x="307" y="448"/>
                </a:moveTo>
                <a:cubicBezTo>
                  <a:pt x="306" y="449"/>
                  <a:pt x="307" y="447"/>
                  <a:pt x="308" y="447"/>
                </a:cubicBezTo>
                <a:cubicBezTo>
                  <a:pt x="308" y="448"/>
                  <a:pt x="307" y="448"/>
                  <a:pt x="307" y="448"/>
                </a:cubicBezTo>
                <a:close/>
                <a:moveTo>
                  <a:pt x="306" y="449"/>
                </a:moveTo>
                <a:cubicBezTo>
                  <a:pt x="306" y="450"/>
                  <a:pt x="305" y="450"/>
                  <a:pt x="305" y="451"/>
                </a:cubicBezTo>
                <a:cubicBezTo>
                  <a:pt x="304" y="451"/>
                  <a:pt x="305" y="449"/>
                  <a:pt x="306" y="449"/>
                </a:cubicBezTo>
                <a:close/>
                <a:moveTo>
                  <a:pt x="304" y="204"/>
                </a:moveTo>
                <a:cubicBezTo>
                  <a:pt x="304" y="204"/>
                  <a:pt x="304" y="202"/>
                  <a:pt x="305" y="203"/>
                </a:cubicBezTo>
                <a:cubicBezTo>
                  <a:pt x="305" y="204"/>
                  <a:pt x="304" y="204"/>
                  <a:pt x="304" y="204"/>
                </a:cubicBezTo>
                <a:close/>
                <a:moveTo>
                  <a:pt x="307" y="268"/>
                </a:moveTo>
                <a:cubicBezTo>
                  <a:pt x="305" y="270"/>
                  <a:pt x="306" y="265"/>
                  <a:pt x="307" y="266"/>
                </a:cubicBezTo>
                <a:cubicBezTo>
                  <a:pt x="307" y="267"/>
                  <a:pt x="307" y="267"/>
                  <a:pt x="307" y="268"/>
                </a:cubicBezTo>
                <a:close/>
                <a:moveTo>
                  <a:pt x="307" y="343"/>
                </a:moveTo>
                <a:cubicBezTo>
                  <a:pt x="306" y="345"/>
                  <a:pt x="308" y="342"/>
                  <a:pt x="307" y="343"/>
                </a:cubicBezTo>
                <a:close/>
                <a:moveTo>
                  <a:pt x="306" y="280"/>
                </a:moveTo>
                <a:cubicBezTo>
                  <a:pt x="305" y="282"/>
                  <a:pt x="305" y="279"/>
                  <a:pt x="306" y="279"/>
                </a:cubicBezTo>
                <a:cubicBezTo>
                  <a:pt x="307" y="279"/>
                  <a:pt x="306" y="280"/>
                  <a:pt x="306" y="280"/>
                </a:cubicBezTo>
                <a:close/>
                <a:moveTo>
                  <a:pt x="302" y="455"/>
                </a:moveTo>
                <a:cubicBezTo>
                  <a:pt x="302" y="454"/>
                  <a:pt x="303" y="453"/>
                  <a:pt x="304" y="452"/>
                </a:cubicBezTo>
                <a:cubicBezTo>
                  <a:pt x="305" y="453"/>
                  <a:pt x="303" y="454"/>
                  <a:pt x="302" y="455"/>
                </a:cubicBezTo>
                <a:close/>
                <a:moveTo>
                  <a:pt x="309" y="538"/>
                </a:moveTo>
                <a:cubicBezTo>
                  <a:pt x="309" y="538"/>
                  <a:pt x="309" y="538"/>
                  <a:pt x="309" y="538"/>
                </a:cubicBezTo>
                <a:cubicBezTo>
                  <a:pt x="309" y="538"/>
                  <a:pt x="309" y="538"/>
                  <a:pt x="309" y="538"/>
                </a:cubicBezTo>
                <a:cubicBezTo>
                  <a:pt x="308" y="539"/>
                  <a:pt x="309" y="538"/>
                  <a:pt x="309" y="538"/>
                </a:cubicBezTo>
                <a:cubicBezTo>
                  <a:pt x="309" y="538"/>
                  <a:pt x="309" y="538"/>
                  <a:pt x="309" y="538"/>
                </a:cubicBezTo>
                <a:close/>
                <a:moveTo>
                  <a:pt x="306" y="537"/>
                </a:moveTo>
                <a:cubicBezTo>
                  <a:pt x="308" y="536"/>
                  <a:pt x="305" y="538"/>
                  <a:pt x="306" y="537"/>
                </a:cubicBezTo>
                <a:close/>
                <a:moveTo>
                  <a:pt x="306" y="537"/>
                </a:moveTo>
                <a:cubicBezTo>
                  <a:pt x="305" y="539"/>
                  <a:pt x="303" y="539"/>
                  <a:pt x="303" y="541"/>
                </a:cubicBezTo>
                <a:cubicBezTo>
                  <a:pt x="303" y="540"/>
                  <a:pt x="304" y="538"/>
                  <a:pt x="306" y="537"/>
                </a:cubicBezTo>
                <a:close/>
                <a:moveTo>
                  <a:pt x="305" y="527"/>
                </a:moveTo>
                <a:cubicBezTo>
                  <a:pt x="305" y="528"/>
                  <a:pt x="301" y="533"/>
                  <a:pt x="300" y="531"/>
                </a:cubicBezTo>
                <a:cubicBezTo>
                  <a:pt x="298" y="529"/>
                  <a:pt x="303" y="527"/>
                  <a:pt x="305" y="527"/>
                </a:cubicBezTo>
                <a:close/>
                <a:moveTo>
                  <a:pt x="290" y="562"/>
                </a:moveTo>
                <a:cubicBezTo>
                  <a:pt x="290" y="562"/>
                  <a:pt x="290" y="562"/>
                  <a:pt x="290" y="562"/>
                </a:cubicBezTo>
                <a:cubicBezTo>
                  <a:pt x="290" y="562"/>
                  <a:pt x="289" y="563"/>
                  <a:pt x="290" y="562"/>
                </a:cubicBezTo>
                <a:close/>
                <a:moveTo>
                  <a:pt x="289" y="541"/>
                </a:moveTo>
                <a:cubicBezTo>
                  <a:pt x="289" y="540"/>
                  <a:pt x="287" y="543"/>
                  <a:pt x="289" y="541"/>
                </a:cubicBezTo>
                <a:close/>
                <a:moveTo>
                  <a:pt x="288" y="575"/>
                </a:moveTo>
                <a:cubicBezTo>
                  <a:pt x="286" y="576"/>
                  <a:pt x="285" y="575"/>
                  <a:pt x="284" y="574"/>
                </a:cubicBezTo>
                <a:cubicBezTo>
                  <a:pt x="283" y="570"/>
                  <a:pt x="289" y="567"/>
                  <a:pt x="290" y="569"/>
                </a:cubicBezTo>
                <a:cubicBezTo>
                  <a:pt x="293" y="571"/>
                  <a:pt x="289" y="575"/>
                  <a:pt x="288" y="575"/>
                </a:cubicBezTo>
                <a:close/>
                <a:moveTo>
                  <a:pt x="292" y="544"/>
                </a:moveTo>
                <a:cubicBezTo>
                  <a:pt x="292" y="546"/>
                  <a:pt x="290" y="545"/>
                  <a:pt x="292" y="544"/>
                </a:cubicBezTo>
                <a:close/>
                <a:moveTo>
                  <a:pt x="295" y="567"/>
                </a:moveTo>
                <a:cubicBezTo>
                  <a:pt x="295" y="565"/>
                  <a:pt x="297" y="567"/>
                  <a:pt x="295" y="567"/>
                </a:cubicBezTo>
                <a:close/>
                <a:moveTo>
                  <a:pt x="295" y="565"/>
                </a:moveTo>
                <a:cubicBezTo>
                  <a:pt x="295" y="565"/>
                  <a:pt x="295" y="565"/>
                  <a:pt x="295" y="565"/>
                </a:cubicBezTo>
                <a:cubicBezTo>
                  <a:pt x="295" y="565"/>
                  <a:pt x="294" y="565"/>
                  <a:pt x="294" y="565"/>
                </a:cubicBezTo>
                <a:cubicBezTo>
                  <a:pt x="294" y="566"/>
                  <a:pt x="293" y="567"/>
                  <a:pt x="293" y="568"/>
                </a:cubicBezTo>
                <a:cubicBezTo>
                  <a:pt x="293" y="568"/>
                  <a:pt x="294" y="568"/>
                  <a:pt x="292" y="568"/>
                </a:cubicBezTo>
                <a:cubicBezTo>
                  <a:pt x="292" y="569"/>
                  <a:pt x="292" y="569"/>
                  <a:pt x="292" y="569"/>
                </a:cubicBezTo>
                <a:cubicBezTo>
                  <a:pt x="292" y="569"/>
                  <a:pt x="292" y="569"/>
                  <a:pt x="292" y="568"/>
                </a:cubicBezTo>
                <a:cubicBezTo>
                  <a:pt x="292" y="569"/>
                  <a:pt x="292" y="569"/>
                  <a:pt x="292" y="569"/>
                </a:cubicBezTo>
                <a:cubicBezTo>
                  <a:pt x="292" y="568"/>
                  <a:pt x="292" y="568"/>
                  <a:pt x="293" y="568"/>
                </a:cubicBezTo>
                <a:cubicBezTo>
                  <a:pt x="293" y="565"/>
                  <a:pt x="295" y="562"/>
                  <a:pt x="297" y="560"/>
                </a:cubicBezTo>
                <a:cubicBezTo>
                  <a:pt x="296" y="561"/>
                  <a:pt x="296" y="563"/>
                  <a:pt x="295" y="565"/>
                </a:cubicBezTo>
                <a:close/>
                <a:moveTo>
                  <a:pt x="302" y="546"/>
                </a:moveTo>
                <a:cubicBezTo>
                  <a:pt x="301" y="548"/>
                  <a:pt x="298" y="547"/>
                  <a:pt x="297" y="548"/>
                </a:cubicBezTo>
                <a:cubicBezTo>
                  <a:pt x="298" y="547"/>
                  <a:pt x="300" y="547"/>
                  <a:pt x="302" y="546"/>
                </a:cubicBezTo>
                <a:close/>
                <a:moveTo>
                  <a:pt x="301" y="567"/>
                </a:moveTo>
                <a:cubicBezTo>
                  <a:pt x="302" y="568"/>
                  <a:pt x="300" y="571"/>
                  <a:pt x="299" y="570"/>
                </a:cubicBezTo>
                <a:cubicBezTo>
                  <a:pt x="297" y="569"/>
                  <a:pt x="299" y="565"/>
                  <a:pt x="301" y="567"/>
                </a:cubicBezTo>
                <a:cubicBezTo>
                  <a:pt x="299" y="565"/>
                  <a:pt x="302" y="560"/>
                  <a:pt x="305" y="561"/>
                </a:cubicBezTo>
                <a:cubicBezTo>
                  <a:pt x="308" y="562"/>
                  <a:pt x="304" y="570"/>
                  <a:pt x="301" y="567"/>
                </a:cubicBezTo>
                <a:close/>
                <a:moveTo>
                  <a:pt x="306" y="540"/>
                </a:moveTo>
                <a:cubicBezTo>
                  <a:pt x="306" y="538"/>
                  <a:pt x="308" y="540"/>
                  <a:pt x="306" y="540"/>
                </a:cubicBezTo>
                <a:close/>
                <a:moveTo>
                  <a:pt x="307" y="568"/>
                </a:moveTo>
                <a:cubicBezTo>
                  <a:pt x="307" y="568"/>
                  <a:pt x="307" y="568"/>
                  <a:pt x="307" y="568"/>
                </a:cubicBezTo>
                <a:cubicBezTo>
                  <a:pt x="307" y="566"/>
                  <a:pt x="309" y="569"/>
                  <a:pt x="307" y="568"/>
                </a:cubicBezTo>
                <a:close/>
                <a:moveTo>
                  <a:pt x="308" y="569"/>
                </a:moveTo>
                <a:cubicBezTo>
                  <a:pt x="307" y="570"/>
                  <a:pt x="308" y="567"/>
                  <a:pt x="309" y="568"/>
                </a:cubicBezTo>
                <a:cubicBezTo>
                  <a:pt x="310" y="569"/>
                  <a:pt x="309" y="569"/>
                  <a:pt x="308" y="569"/>
                </a:cubicBezTo>
                <a:close/>
                <a:moveTo>
                  <a:pt x="312" y="574"/>
                </a:moveTo>
                <a:cubicBezTo>
                  <a:pt x="311" y="575"/>
                  <a:pt x="313" y="572"/>
                  <a:pt x="312" y="574"/>
                </a:cubicBezTo>
                <a:close/>
                <a:moveTo>
                  <a:pt x="312" y="571"/>
                </a:moveTo>
                <a:cubicBezTo>
                  <a:pt x="312" y="572"/>
                  <a:pt x="311" y="572"/>
                  <a:pt x="311" y="571"/>
                </a:cubicBezTo>
                <a:cubicBezTo>
                  <a:pt x="310" y="570"/>
                  <a:pt x="314" y="569"/>
                  <a:pt x="312" y="571"/>
                </a:cubicBezTo>
                <a:close/>
                <a:moveTo>
                  <a:pt x="313" y="395"/>
                </a:moveTo>
                <a:cubicBezTo>
                  <a:pt x="314" y="394"/>
                  <a:pt x="312" y="396"/>
                  <a:pt x="313" y="395"/>
                </a:cubicBezTo>
                <a:close/>
                <a:moveTo>
                  <a:pt x="313" y="287"/>
                </a:moveTo>
                <a:cubicBezTo>
                  <a:pt x="312" y="289"/>
                  <a:pt x="314" y="286"/>
                  <a:pt x="313" y="287"/>
                </a:cubicBezTo>
                <a:close/>
                <a:moveTo>
                  <a:pt x="315" y="545"/>
                </a:moveTo>
                <a:cubicBezTo>
                  <a:pt x="312" y="547"/>
                  <a:pt x="313" y="541"/>
                  <a:pt x="316" y="543"/>
                </a:cubicBezTo>
                <a:cubicBezTo>
                  <a:pt x="317" y="543"/>
                  <a:pt x="316" y="545"/>
                  <a:pt x="315" y="545"/>
                </a:cubicBezTo>
                <a:close/>
                <a:moveTo>
                  <a:pt x="313" y="521"/>
                </a:moveTo>
                <a:cubicBezTo>
                  <a:pt x="314" y="520"/>
                  <a:pt x="312" y="522"/>
                  <a:pt x="313" y="521"/>
                </a:cubicBezTo>
                <a:close/>
                <a:moveTo>
                  <a:pt x="315" y="495"/>
                </a:moveTo>
                <a:cubicBezTo>
                  <a:pt x="315" y="495"/>
                  <a:pt x="315" y="496"/>
                  <a:pt x="315" y="496"/>
                </a:cubicBezTo>
                <a:cubicBezTo>
                  <a:pt x="315" y="498"/>
                  <a:pt x="314" y="495"/>
                  <a:pt x="315" y="495"/>
                </a:cubicBezTo>
                <a:close/>
                <a:moveTo>
                  <a:pt x="313" y="466"/>
                </a:moveTo>
                <a:cubicBezTo>
                  <a:pt x="314" y="464"/>
                  <a:pt x="319" y="461"/>
                  <a:pt x="322" y="459"/>
                </a:cubicBezTo>
                <a:cubicBezTo>
                  <a:pt x="321" y="461"/>
                  <a:pt x="318" y="462"/>
                  <a:pt x="317" y="464"/>
                </a:cubicBezTo>
                <a:cubicBezTo>
                  <a:pt x="316" y="464"/>
                  <a:pt x="313" y="468"/>
                  <a:pt x="313" y="466"/>
                </a:cubicBezTo>
                <a:close/>
                <a:moveTo>
                  <a:pt x="316" y="176"/>
                </a:moveTo>
                <a:cubicBezTo>
                  <a:pt x="316" y="176"/>
                  <a:pt x="317" y="175"/>
                  <a:pt x="317" y="175"/>
                </a:cubicBezTo>
                <a:cubicBezTo>
                  <a:pt x="317" y="176"/>
                  <a:pt x="316" y="176"/>
                  <a:pt x="316" y="176"/>
                </a:cubicBezTo>
                <a:close/>
                <a:moveTo>
                  <a:pt x="318" y="385"/>
                </a:moveTo>
                <a:cubicBezTo>
                  <a:pt x="317" y="386"/>
                  <a:pt x="316" y="385"/>
                  <a:pt x="316" y="385"/>
                </a:cubicBezTo>
                <a:cubicBezTo>
                  <a:pt x="317" y="384"/>
                  <a:pt x="318" y="384"/>
                  <a:pt x="318" y="385"/>
                </a:cubicBezTo>
                <a:close/>
                <a:moveTo>
                  <a:pt x="316" y="395"/>
                </a:moveTo>
                <a:cubicBezTo>
                  <a:pt x="316" y="395"/>
                  <a:pt x="316" y="396"/>
                  <a:pt x="315" y="395"/>
                </a:cubicBezTo>
                <a:cubicBezTo>
                  <a:pt x="315" y="395"/>
                  <a:pt x="318" y="393"/>
                  <a:pt x="316" y="395"/>
                </a:cubicBezTo>
                <a:close/>
                <a:moveTo>
                  <a:pt x="321" y="296"/>
                </a:moveTo>
                <a:cubicBezTo>
                  <a:pt x="321" y="296"/>
                  <a:pt x="321" y="297"/>
                  <a:pt x="321" y="297"/>
                </a:cubicBezTo>
                <a:cubicBezTo>
                  <a:pt x="319" y="299"/>
                  <a:pt x="320" y="295"/>
                  <a:pt x="321" y="296"/>
                </a:cubicBezTo>
                <a:close/>
                <a:moveTo>
                  <a:pt x="344" y="429"/>
                </a:moveTo>
                <a:cubicBezTo>
                  <a:pt x="344" y="429"/>
                  <a:pt x="345" y="429"/>
                  <a:pt x="345" y="429"/>
                </a:cubicBezTo>
                <a:cubicBezTo>
                  <a:pt x="345" y="430"/>
                  <a:pt x="343" y="430"/>
                  <a:pt x="344" y="429"/>
                </a:cubicBezTo>
                <a:close/>
                <a:moveTo>
                  <a:pt x="345" y="186"/>
                </a:moveTo>
                <a:cubicBezTo>
                  <a:pt x="345" y="188"/>
                  <a:pt x="343" y="188"/>
                  <a:pt x="345" y="186"/>
                </a:cubicBezTo>
                <a:close/>
                <a:moveTo>
                  <a:pt x="345" y="303"/>
                </a:moveTo>
                <a:cubicBezTo>
                  <a:pt x="344" y="303"/>
                  <a:pt x="347" y="302"/>
                  <a:pt x="345" y="303"/>
                </a:cubicBezTo>
                <a:close/>
                <a:moveTo>
                  <a:pt x="346" y="185"/>
                </a:moveTo>
                <a:cubicBezTo>
                  <a:pt x="344" y="187"/>
                  <a:pt x="347" y="183"/>
                  <a:pt x="346" y="185"/>
                </a:cubicBezTo>
                <a:close/>
                <a:moveTo>
                  <a:pt x="345" y="443"/>
                </a:moveTo>
                <a:cubicBezTo>
                  <a:pt x="344" y="445"/>
                  <a:pt x="346" y="442"/>
                  <a:pt x="345" y="443"/>
                </a:cubicBezTo>
                <a:close/>
                <a:moveTo>
                  <a:pt x="346" y="457"/>
                </a:moveTo>
                <a:cubicBezTo>
                  <a:pt x="346" y="457"/>
                  <a:pt x="346" y="458"/>
                  <a:pt x="346" y="458"/>
                </a:cubicBezTo>
                <a:cubicBezTo>
                  <a:pt x="345" y="459"/>
                  <a:pt x="345" y="456"/>
                  <a:pt x="346" y="457"/>
                </a:cubicBezTo>
                <a:close/>
                <a:moveTo>
                  <a:pt x="345" y="503"/>
                </a:moveTo>
                <a:cubicBezTo>
                  <a:pt x="345" y="503"/>
                  <a:pt x="345" y="503"/>
                  <a:pt x="345" y="503"/>
                </a:cubicBezTo>
                <a:cubicBezTo>
                  <a:pt x="345" y="503"/>
                  <a:pt x="345" y="503"/>
                  <a:pt x="345" y="503"/>
                </a:cubicBezTo>
                <a:cubicBezTo>
                  <a:pt x="345" y="503"/>
                  <a:pt x="345" y="503"/>
                  <a:pt x="345" y="503"/>
                </a:cubicBezTo>
                <a:close/>
                <a:moveTo>
                  <a:pt x="348" y="526"/>
                </a:moveTo>
                <a:cubicBezTo>
                  <a:pt x="348" y="527"/>
                  <a:pt x="344" y="530"/>
                  <a:pt x="343" y="529"/>
                </a:cubicBezTo>
                <a:cubicBezTo>
                  <a:pt x="342" y="527"/>
                  <a:pt x="346" y="526"/>
                  <a:pt x="348" y="526"/>
                </a:cubicBezTo>
                <a:close/>
                <a:moveTo>
                  <a:pt x="351" y="496"/>
                </a:moveTo>
                <a:cubicBezTo>
                  <a:pt x="352" y="497"/>
                  <a:pt x="349" y="500"/>
                  <a:pt x="349" y="500"/>
                </a:cubicBezTo>
                <a:cubicBezTo>
                  <a:pt x="344" y="502"/>
                  <a:pt x="348" y="494"/>
                  <a:pt x="351" y="496"/>
                </a:cubicBezTo>
                <a:close/>
                <a:moveTo>
                  <a:pt x="351" y="384"/>
                </a:moveTo>
                <a:cubicBezTo>
                  <a:pt x="350" y="385"/>
                  <a:pt x="349" y="384"/>
                  <a:pt x="351" y="384"/>
                </a:cubicBezTo>
                <a:close/>
                <a:moveTo>
                  <a:pt x="351" y="513"/>
                </a:moveTo>
                <a:cubicBezTo>
                  <a:pt x="350" y="512"/>
                  <a:pt x="352" y="512"/>
                  <a:pt x="351" y="512"/>
                </a:cubicBezTo>
                <a:cubicBezTo>
                  <a:pt x="351" y="512"/>
                  <a:pt x="351" y="513"/>
                  <a:pt x="351" y="513"/>
                </a:cubicBezTo>
                <a:close/>
                <a:moveTo>
                  <a:pt x="350" y="574"/>
                </a:moveTo>
                <a:cubicBezTo>
                  <a:pt x="350" y="574"/>
                  <a:pt x="350" y="573"/>
                  <a:pt x="351" y="573"/>
                </a:cubicBezTo>
                <a:cubicBezTo>
                  <a:pt x="351" y="573"/>
                  <a:pt x="350" y="574"/>
                  <a:pt x="350" y="574"/>
                </a:cubicBezTo>
                <a:close/>
                <a:moveTo>
                  <a:pt x="347" y="484"/>
                </a:moveTo>
                <a:cubicBezTo>
                  <a:pt x="347" y="483"/>
                  <a:pt x="348" y="483"/>
                  <a:pt x="348" y="483"/>
                </a:cubicBezTo>
                <a:cubicBezTo>
                  <a:pt x="349" y="483"/>
                  <a:pt x="348" y="484"/>
                  <a:pt x="347" y="484"/>
                </a:cubicBezTo>
                <a:close/>
                <a:moveTo>
                  <a:pt x="325" y="549"/>
                </a:moveTo>
                <a:cubicBezTo>
                  <a:pt x="327" y="547"/>
                  <a:pt x="330" y="546"/>
                  <a:pt x="333" y="545"/>
                </a:cubicBezTo>
                <a:cubicBezTo>
                  <a:pt x="330" y="547"/>
                  <a:pt x="328" y="549"/>
                  <a:pt x="325" y="549"/>
                </a:cubicBezTo>
                <a:close/>
                <a:moveTo>
                  <a:pt x="331" y="617"/>
                </a:moveTo>
                <a:cubicBezTo>
                  <a:pt x="331" y="616"/>
                  <a:pt x="332" y="616"/>
                  <a:pt x="333" y="617"/>
                </a:cubicBezTo>
                <a:cubicBezTo>
                  <a:pt x="333" y="617"/>
                  <a:pt x="331" y="619"/>
                  <a:pt x="331" y="617"/>
                </a:cubicBezTo>
                <a:close/>
                <a:moveTo>
                  <a:pt x="326" y="553"/>
                </a:moveTo>
                <a:cubicBezTo>
                  <a:pt x="326" y="553"/>
                  <a:pt x="327" y="552"/>
                  <a:pt x="327" y="552"/>
                </a:cubicBezTo>
                <a:cubicBezTo>
                  <a:pt x="327" y="552"/>
                  <a:pt x="327" y="553"/>
                  <a:pt x="326" y="553"/>
                </a:cubicBezTo>
                <a:close/>
                <a:moveTo>
                  <a:pt x="318" y="527"/>
                </a:moveTo>
                <a:cubicBezTo>
                  <a:pt x="323" y="523"/>
                  <a:pt x="328" y="520"/>
                  <a:pt x="335" y="518"/>
                </a:cubicBezTo>
                <a:cubicBezTo>
                  <a:pt x="329" y="521"/>
                  <a:pt x="324" y="524"/>
                  <a:pt x="318" y="527"/>
                </a:cubicBezTo>
                <a:close/>
                <a:moveTo>
                  <a:pt x="323" y="530"/>
                </a:moveTo>
                <a:cubicBezTo>
                  <a:pt x="323" y="531"/>
                  <a:pt x="321" y="531"/>
                  <a:pt x="321" y="530"/>
                </a:cubicBezTo>
                <a:cubicBezTo>
                  <a:pt x="321" y="529"/>
                  <a:pt x="323" y="530"/>
                  <a:pt x="323" y="530"/>
                </a:cubicBezTo>
                <a:close/>
                <a:moveTo>
                  <a:pt x="329" y="503"/>
                </a:moveTo>
                <a:cubicBezTo>
                  <a:pt x="329" y="503"/>
                  <a:pt x="330" y="502"/>
                  <a:pt x="330" y="502"/>
                </a:cubicBezTo>
                <a:cubicBezTo>
                  <a:pt x="332" y="503"/>
                  <a:pt x="329" y="505"/>
                  <a:pt x="329" y="503"/>
                </a:cubicBezTo>
                <a:close/>
                <a:moveTo>
                  <a:pt x="334" y="541"/>
                </a:moveTo>
                <a:cubicBezTo>
                  <a:pt x="333" y="541"/>
                  <a:pt x="334" y="539"/>
                  <a:pt x="335" y="539"/>
                </a:cubicBezTo>
                <a:cubicBezTo>
                  <a:pt x="335" y="540"/>
                  <a:pt x="334" y="540"/>
                  <a:pt x="334" y="541"/>
                </a:cubicBezTo>
                <a:close/>
                <a:moveTo>
                  <a:pt x="341" y="584"/>
                </a:moveTo>
                <a:cubicBezTo>
                  <a:pt x="345" y="586"/>
                  <a:pt x="341" y="593"/>
                  <a:pt x="339" y="594"/>
                </a:cubicBezTo>
                <a:cubicBezTo>
                  <a:pt x="330" y="597"/>
                  <a:pt x="335" y="582"/>
                  <a:pt x="341" y="584"/>
                </a:cubicBezTo>
                <a:close/>
                <a:moveTo>
                  <a:pt x="341" y="541"/>
                </a:moveTo>
                <a:cubicBezTo>
                  <a:pt x="339" y="543"/>
                  <a:pt x="336" y="544"/>
                  <a:pt x="335" y="544"/>
                </a:cubicBezTo>
                <a:cubicBezTo>
                  <a:pt x="335" y="544"/>
                  <a:pt x="339" y="541"/>
                  <a:pt x="341" y="541"/>
                </a:cubicBezTo>
                <a:close/>
                <a:moveTo>
                  <a:pt x="336" y="518"/>
                </a:moveTo>
                <a:cubicBezTo>
                  <a:pt x="336" y="516"/>
                  <a:pt x="339" y="516"/>
                  <a:pt x="340" y="515"/>
                </a:cubicBezTo>
                <a:cubicBezTo>
                  <a:pt x="340" y="517"/>
                  <a:pt x="337" y="516"/>
                  <a:pt x="336" y="518"/>
                </a:cubicBezTo>
                <a:close/>
                <a:moveTo>
                  <a:pt x="343" y="515"/>
                </a:moveTo>
                <a:cubicBezTo>
                  <a:pt x="342" y="516"/>
                  <a:pt x="341" y="516"/>
                  <a:pt x="341" y="515"/>
                </a:cubicBezTo>
                <a:cubicBezTo>
                  <a:pt x="340" y="514"/>
                  <a:pt x="344" y="514"/>
                  <a:pt x="343" y="515"/>
                </a:cubicBezTo>
                <a:close/>
                <a:moveTo>
                  <a:pt x="343" y="553"/>
                </a:moveTo>
                <a:cubicBezTo>
                  <a:pt x="341" y="554"/>
                  <a:pt x="343" y="552"/>
                  <a:pt x="343" y="553"/>
                </a:cubicBezTo>
                <a:close/>
                <a:moveTo>
                  <a:pt x="341" y="547"/>
                </a:moveTo>
                <a:cubicBezTo>
                  <a:pt x="341" y="547"/>
                  <a:pt x="341" y="547"/>
                  <a:pt x="341" y="547"/>
                </a:cubicBezTo>
                <a:cubicBezTo>
                  <a:pt x="341" y="547"/>
                  <a:pt x="341" y="547"/>
                  <a:pt x="341" y="547"/>
                </a:cubicBezTo>
                <a:cubicBezTo>
                  <a:pt x="341" y="547"/>
                  <a:pt x="341" y="547"/>
                  <a:pt x="341" y="547"/>
                </a:cubicBezTo>
                <a:close/>
                <a:moveTo>
                  <a:pt x="342" y="574"/>
                </a:moveTo>
                <a:cubicBezTo>
                  <a:pt x="343" y="575"/>
                  <a:pt x="340" y="576"/>
                  <a:pt x="340" y="574"/>
                </a:cubicBezTo>
                <a:cubicBezTo>
                  <a:pt x="340" y="573"/>
                  <a:pt x="342" y="573"/>
                  <a:pt x="342" y="574"/>
                </a:cubicBezTo>
                <a:close/>
                <a:moveTo>
                  <a:pt x="338" y="554"/>
                </a:moveTo>
                <a:cubicBezTo>
                  <a:pt x="339" y="554"/>
                  <a:pt x="337" y="556"/>
                  <a:pt x="337" y="554"/>
                </a:cubicBezTo>
                <a:cubicBezTo>
                  <a:pt x="337" y="553"/>
                  <a:pt x="338" y="553"/>
                  <a:pt x="338" y="554"/>
                </a:cubicBezTo>
                <a:close/>
                <a:moveTo>
                  <a:pt x="335" y="537"/>
                </a:moveTo>
                <a:cubicBezTo>
                  <a:pt x="335" y="537"/>
                  <a:pt x="335" y="537"/>
                  <a:pt x="336" y="536"/>
                </a:cubicBezTo>
                <a:cubicBezTo>
                  <a:pt x="336" y="536"/>
                  <a:pt x="336" y="536"/>
                  <a:pt x="336" y="536"/>
                </a:cubicBezTo>
                <a:cubicBezTo>
                  <a:pt x="336" y="536"/>
                  <a:pt x="335" y="537"/>
                  <a:pt x="335" y="537"/>
                </a:cubicBezTo>
                <a:close/>
                <a:moveTo>
                  <a:pt x="339" y="582"/>
                </a:moveTo>
                <a:cubicBezTo>
                  <a:pt x="334" y="582"/>
                  <a:pt x="344" y="577"/>
                  <a:pt x="345" y="578"/>
                </a:cubicBezTo>
                <a:cubicBezTo>
                  <a:pt x="346" y="579"/>
                  <a:pt x="340" y="582"/>
                  <a:pt x="339" y="582"/>
                </a:cubicBezTo>
                <a:close/>
                <a:moveTo>
                  <a:pt x="345" y="556"/>
                </a:moveTo>
                <a:cubicBezTo>
                  <a:pt x="343" y="557"/>
                  <a:pt x="345" y="554"/>
                  <a:pt x="345" y="555"/>
                </a:cubicBezTo>
                <a:cubicBezTo>
                  <a:pt x="346" y="555"/>
                  <a:pt x="345" y="556"/>
                  <a:pt x="345" y="556"/>
                </a:cubicBezTo>
                <a:close/>
                <a:moveTo>
                  <a:pt x="343" y="503"/>
                </a:moveTo>
                <a:cubicBezTo>
                  <a:pt x="341" y="504"/>
                  <a:pt x="342" y="500"/>
                  <a:pt x="344" y="502"/>
                </a:cubicBezTo>
                <a:cubicBezTo>
                  <a:pt x="344" y="502"/>
                  <a:pt x="343" y="502"/>
                  <a:pt x="343" y="503"/>
                </a:cubicBezTo>
                <a:close/>
                <a:moveTo>
                  <a:pt x="342" y="425"/>
                </a:moveTo>
                <a:cubicBezTo>
                  <a:pt x="339" y="426"/>
                  <a:pt x="340" y="421"/>
                  <a:pt x="342" y="422"/>
                </a:cubicBezTo>
                <a:cubicBezTo>
                  <a:pt x="343" y="423"/>
                  <a:pt x="342" y="425"/>
                  <a:pt x="342" y="425"/>
                </a:cubicBezTo>
                <a:close/>
                <a:moveTo>
                  <a:pt x="340" y="466"/>
                </a:moveTo>
                <a:cubicBezTo>
                  <a:pt x="344" y="464"/>
                  <a:pt x="338" y="467"/>
                  <a:pt x="340" y="466"/>
                </a:cubicBezTo>
                <a:close/>
                <a:moveTo>
                  <a:pt x="339" y="506"/>
                </a:moveTo>
                <a:cubicBezTo>
                  <a:pt x="340" y="504"/>
                  <a:pt x="343" y="506"/>
                  <a:pt x="339" y="506"/>
                </a:cubicBezTo>
                <a:close/>
                <a:moveTo>
                  <a:pt x="341" y="508"/>
                </a:moveTo>
                <a:cubicBezTo>
                  <a:pt x="342" y="508"/>
                  <a:pt x="334" y="513"/>
                  <a:pt x="334" y="513"/>
                </a:cubicBezTo>
                <a:cubicBezTo>
                  <a:pt x="333" y="514"/>
                  <a:pt x="332" y="514"/>
                  <a:pt x="332" y="514"/>
                </a:cubicBezTo>
                <a:cubicBezTo>
                  <a:pt x="331" y="513"/>
                  <a:pt x="340" y="507"/>
                  <a:pt x="341" y="508"/>
                </a:cubicBezTo>
                <a:close/>
                <a:moveTo>
                  <a:pt x="336" y="508"/>
                </a:moveTo>
                <a:cubicBezTo>
                  <a:pt x="336" y="507"/>
                  <a:pt x="337" y="506"/>
                  <a:pt x="338" y="506"/>
                </a:cubicBezTo>
                <a:cubicBezTo>
                  <a:pt x="338" y="507"/>
                  <a:pt x="337" y="507"/>
                  <a:pt x="336" y="508"/>
                </a:cubicBezTo>
                <a:close/>
                <a:moveTo>
                  <a:pt x="339" y="504"/>
                </a:moveTo>
                <a:cubicBezTo>
                  <a:pt x="337" y="506"/>
                  <a:pt x="337" y="502"/>
                  <a:pt x="339" y="503"/>
                </a:cubicBezTo>
                <a:cubicBezTo>
                  <a:pt x="339" y="503"/>
                  <a:pt x="339" y="504"/>
                  <a:pt x="339" y="504"/>
                </a:cubicBezTo>
                <a:close/>
                <a:moveTo>
                  <a:pt x="337" y="360"/>
                </a:moveTo>
                <a:cubicBezTo>
                  <a:pt x="337" y="357"/>
                  <a:pt x="339" y="359"/>
                  <a:pt x="337" y="360"/>
                </a:cubicBezTo>
                <a:close/>
                <a:moveTo>
                  <a:pt x="337" y="339"/>
                </a:moveTo>
                <a:cubicBezTo>
                  <a:pt x="337" y="340"/>
                  <a:pt x="335" y="339"/>
                  <a:pt x="337" y="339"/>
                </a:cubicBezTo>
                <a:close/>
                <a:moveTo>
                  <a:pt x="337" y="248"/>
                </a:moveTo>
                <a:cubicBezTo>
                  <a:pt x="335" y="250"/>
                  <a:pt x="336" y="245"/>
                  <a:pt x="337" y="246"/>
                </a:cubicBezTo>
                <a:cubicBezTo>
                  <a:pt x="338" y="246"/>
                  <a:pt x="337" y="248"/>
                  <a:pt x="337" y="248"/>
                </a:cubicBezTo>
                <a:close/>
                <a:moveTo>
                  <a:pt x="336" y="451"/>
                </a:moveTo>
                <a:cubicBezTo>
                  <a:pt x="335" y="452"/>
                  <a:pt x="338" y="450"/>
                  <a:pt x="336" y="451"/>
                </a:cubicBezTo>
                <a:close/>
                <a:moveTo>
                  <a:pt x="337" y="467"/>
                </a:moveTo>
                <a:cubicBezTo>
                  <a:pt x="337" y="469"/>
                  <a:pt x="336" y="469"/>
                  <a:pt x="334" y="470"/>
                </a:cubicBezTo>
                <a:cubicBezTo>
                  <a:pt x="335" y="469"/>
                  <a:pt x="336" y="468"/>
                  <a:pt x="337" y="467"/>
                </a:cubicBezTo>
                <a:close/>
                <a:moveTo>
                  <a:pt x="330" y="456"/>
                </a:moveTo>
                <a:cubicBezTo>
                  <a:pt x="330" y="456"/>
                  <a:pt x="333" y="452"/>
                  <a:pt x="335" y="451"/>
                </a:cubicBezTo>
                <a:cubicBezTo>
                  <a:pt x="334" y="453"/>
                  <a:pt x="332" y="455"/>
                  <a:pt x="330" y="456"/>
                </a:cubicBezTo>
                <a:close/>
                <a:moveTo>
                  <a:pt x="332" y="406"/>
                </a:moveTo>
                <a:cubicBezTo>
                  <a:pt x="331" y="405"/>
                  <a:pt x="332" y="403"/>
                  <a:pt x="334" y="403"/>
                </a:cubicBezTo>
                <a:cubicBezTo>
                  <a:pt x="333" y="404"/>
                  <a:pt x="332" y="405"/>
                  <a:pt x="332" y="406"/>
                </a:cubicBezTo>
                <a:close/>
                <a:moveTo>
                  <a:pt x="331" y="366"/>
                </a:moveTo>
                <a:cubicBezTo>
                  <a:pt x="329" y="368"/>
                  <a:pt x="330" y="364"/>
                  <a:pt x="331" y="364"/>
                </a:cubicBezTo>
                <a:cubicBezTo>
                  <a:pt x="333" y="365"/>
                  <a:pt x="331" y="366"/>
                  <a:pt x="331" y="366"/>
                </a:cubicBezTo>
                <a:close/>
                <a:moveTo>
                  <a:pt x="330" y="407"/>
                </a:moveTo>
                <a:cubicBezTo>
                  <a:pt x="330" y="409"/>
                  <a:pt x="328" y="410"/>
                  <a:pt x="326" y="412"/>
                </a:cubicBezTo>
                <a:cubicBezTo>
                  <a:pt x="327" y="411"/>
                  <a:pt x="329" y="409"/>
                  <a:pt x="330" y="407"/>
                </a:cubicBezTo>
                <a:close/>
                <a:moveTo>
                  <a:pt x="327" y="499"/>
                </a:moveTo>
                <a:cubicBezTo>
                  <a:pt x="327" y="498"/>
                  <a:pt x="327" y="498"/>
                  <a:pt x="327" y="498"/>
                </a:cubicBezTo>
                <a:cubicBezTo>
                  <a:pt x="327" y="496"/>
                  <a:pt x="329" y="499"/>
                  <a:pt x="327" y="499"/>
                </a:cubicBezTo>
                <a:close/>
                <a:moveTo>
                  <a:pt x="328" y="510"/>
                </a:moveTo>
                <a:cubicBezTo>
                  <a:pt x="328" y="511"/>
                  <a:pt x="327" y="511"/>
                  <a:pt x="327" y="510"/>
                </a:cubicBezTo>
                <a:cubicBezTo>
                  <a:pt x="327" y="510"/>
                  <a:pt x="328" y="510"/>
                  <a:pt x="328" y="510"/>
                </a:cubicBezTo>
                <a:close/>
                <a:moveTo>
                  <a:pt x="328" y="481"/>
                </a:moveTo>
                <a:cubicBezTo>
                  <a:pt x="327" y="482"/>
                  <a:pt x="329" y="480"/>
                  <a:pt x="328" y="481"/>
                </a:cubicBezTo>
                <a:close/>
                <a:moveTo>
                  <a:pt x="326" y="333"/>
                </a:moveTo>
                <a:cubicBezTo>
                  <a:pt x="326" y="333"/>
                  <a:pt x="326" y="333"/>
                  <a:pt x="325" y="333"/>
                </a:cubicBezTo>
                <a:cubicBezTo>
                  <a:pt x="325" y="332"/>
                  <a:pt x="327" y="332"/>
                  <a:pt x="326" y="333"/>
                </a:cubicBezTo>
                <a:close/>
                <a:moveTo>
                  <a:pt x="326" y="456"/>
                </a:moveTo>
                <a:cubicBezTo>
                  <a:pt x="326" y="457"/>
                  <a:pt x="324" y="458"/>
                  <a:pt x="323" y="459"/>
                </a:cubicBezTo>
                <a:cubicBezTo>
                  <a:pt x="324" y="458"/>
                  <a:pt x="325" y="457"/>
                  <a:pt x="326" y="456"/>
                </a:cubicBezTo>
                <a:close/>
                <a:moveTo>
                  <a:pt x="330" y="515"/>
                </a:moveTo>
                <a:cubicBezTo>
                  <a:pt x="326" y="518"/>
                  <a:pt x="323" y="521"/>
                  <a:pt x="317" y="522"/>
                </a:cubicBezTo>
                <a:cubicBezTo>
                  <a:pt x="320" y="519"/>
                  <a:pt x="325" y="516"/>
                  <a:pt x="330" y="515"/>
                </a:cubicBezTo>
                <a:close/>
                <a:moveTo>
                  <a:pt x="319" y="490"/>
                </a:moveTo>
                <a:cubicBezTo>
                  <a:pt x="318" y="491"/>
                  <a:pt x="318" y="489"/>
                  <a:pt x="319" y="489"/>
                </a:cubicBezTo>
                <a:cubicBezTo>
                  <a:pt x="320" y="489"/>
                  <a:pt x="320" y="490"/>
                  <a:pt x="319" y="490"/>
                </a:cubicBezTo>
                <a:close/>
                <a:moveTo>
                  <a:pt x="320" y="514"/>
                </a:moveTo>
                <a:cubicBezTo>
                  <a:pt x="320" y="514"/>
                  <a:pt x="319" y="515"/>
                  <a:pt x="319" y="514"/>
                </a:cubicBezTo>
                <a:cubicBezTo>
                  <a:pt x="319" y="513"/>
                  <a:pt x="322" y="513"/>
                  <a:pt x="320" y="514"/>
                </a:cubicBezTo>
                <a:close/>
                <a:moveTo>
                  <a:pt x="322" y="487"/>
                </a:moveTo>
                <a:cubicBezTo>
                  <a:pt x="324" y="489"/>
                  <a:pt x="319" y="490"/>
                  <a:pt x="319" y="488"/>
                </a:cubicBezTo>
                <a:cubicBezTo>
                  <a:pt x="319" y="487"/>
                  <a:pt x="320" y="486"/>
                  <a:pt x="321" y="486"/>
                </a:cubicBezTo>
                <a:cubicBezTo>
                  <a:pt x="321" y="486"/>
                  <a:pt x="321" y="485"/>
                  <a:pt x="321" y="485"/>
                </a:cubicBezTo>
                <a:cubicBezTo>
                  <a:pt x="323" y="484"/>
                  <a:pt x="323" y="486"/>
                  <a:pt x="322" y="487"/>
                </a:cubicBezTo>
                <a:cubicBezTo>
                  <a:pt x="322" y="487"/>
                  <a:pt x="322" y="487"/>
                  <a:pt x="322" y="487"/>
                </a:cubicBezTo>
                <a:cubicBezTo>
                  <a:pt x="322" y="487"/>
                  <a:pt x="322" y="487"/>
                  <a:pt x="322" y="487"/>
                </a:cubicBezTo>
                <a:close/>
                <a:moveTo>
                  <a:pt x="319" y="565"/>
                </a:moveTo>
                <a:cubicBezTo>
                  <a:pt x="316" y="567"/>
                  <a:pt x="316" y="562"/>
                  <a:pt x="319" y="563"/>
                </a:cubicBezTo>
                <a:cubicBezTo>
                  <a:pt x="319" y="563"/>
                  <a:pt x="319" y="564"/>
                  <a:pt x="319" y="565"/>
                </a:cubicBezTo>
                <a:close/>
                <a:moveTo>
                  <a:pt x="320" y="570"/>
                </a:moveTo>
                <a:cubicBezTo>
                  <a:pt x="321" y="569"/>
                  <a:pt x="322" y="571"/>
                  <a:pt x="320" y="570"/>
                </a:cubicBezTo>
                <a:close/>
                <a:moveTo>
                  <a:pt x="322" y="580"/>
                </a:moveTo>
                <a:cubicBezTo>
                  <a:pt x="322" y="580"/>
                  <a:pt x="322" y="581"/>
                  <a:pt x="322" y="581"/>
                </a:cubicBezTo>
                <a:cubicBezTo>
                  <a:pt x="322" y="580"/>
                  <a:pt x="323" y="579"/>
                  <a:pt x="322" y="580"/>
                </a:cubicBezTo>
                <a:close/>
                <a:moveTo>
                  <a:pt x="323" y="537"/>
                </a:moveTo>
                <a:cubicBezTo>
                  <a:pt x="322" y="538"/>
                  <a:pt x="320" y="542"/>
                  <a:pt x="318" y="542"/>
                </a:cubicBezTo>
                <a:cubicBezTo>
                  <a:pt x="313" y="543"/>
                  <a:pt x="324" y="535"/>
                  <a:pt x="325" y="534"/>
                </a:cubicBezTo>
                <a:cubicBezTo>
                  <a:pt x="322" y="537"/>
                  <a:pt x="326" y="533"/>
                  <a:pt x="327" y="534"/>
                </a:cubicBezTo>
                <a:cubicBezTo>
                  <a:pt x="328" y="535"/>
                  <a:pt x="324" y="537"/>
                  <a:pt x="323" y="537"/>
                </a:cubicBezTo>
                <a:close/>
                <a:moveTo>
                  <a:pt x="327" y="588"/>
                </a:moveTo>
                <a:cubicBezTo>
                  <a:pt x="326" y="589"/>
                  <a:pt x="324" y="589"/>
                  <a:pt x="324" y="588"/>
                </a:cubicBezTo>
                <a:cubicBezTo>
                  <a:pt x="324" y="586"/>
                  <a:pt x="327" y="587"/>
                  <a:pt x="327" y="588"/>
                </a:cubicBezTo>
                <a:close/>
                <a:moveTo>
                  <a:pt x="326" y="564"/>
                </a:moveTo>
                <a:cubicBezTo>
                  <a:pt x="326" y="563"/>
                  <a:pt x="329" y="562"/>
                  <a:pt x="329" y="564"/>
                </a:cubicBezTo>
                <a:cubicBezTo>
                  <a:pt x="329" y="565"/>
                  <a:pt x="325" y="566"/>
                  <a:pt x="326" y="564"/>
                </a:cubicBezTo>
                <a:close/>
                <a:moveTo>
                  <a:pt x="327" y="585"/>
                </a:moveTo>
                <a:cubicBezTo>
                  <a:pt x="328" y="585"/>
                  <a:pt x="329" y="586"/>
                  <a:pt x="328" y="586"/>
                </a:cubicBezTo>
                <a:cubicBezTo>
                  <a:pt x="328" y="586"/>
                  <a:pt x="326" y="586"/>
                  <a:pt x="327" y="585"/>
                </a:cubicBezTo>
                <a:close/>
                <a:moveTo>
                  <a:pt x="327" y="624"/>
                </a:moveTo>
                <a:cubicBezTo>
                  <a:pt x="327" y="624"/>
                  <a:pt x="326" y="624"/>
                  <a:pt x="326" y="624"/>
                </a:cubicBezTo>
                <a:cubicBezTo>
                  <a:pt x="326" y="623"/>
                  <a:pt x="328" y="622"/>
                  <a:pt x="327" y="624"/>
                </a:cubicBezTo>
                <a:close/>
                <a:moveTo>
                  <a:pt x="329" y="612"/>
                </a:moveTo>
                <a:cubicBezTo>
                  <a:pt x="326" y="613"/>
                  <a:pt x="328" y="608"/>
                  <a:pt x="330" y="609"/>
                </a:cubicBezTo>
                <a:cubicBezTo>
                  <a:pt x="332" y="610"/>
                  <a:pt x="330" y="612"/>
                  <a:pt x="329" y="612"/>
                </a:cubicBezTo>
                <a:close/>
                <a:moveTo>
                  <a:pt x="335" y="620"/>
                </a:moveTo>
                <a:cubicBezTo>
                  <a:pt x="335" y="620"/>
                  <a:pt x="335" y="620"/>
                  <a:pt x="334" y="620"/>
                </a:cubicBezTo>
                <a:cubicBezTo>
                  <a:pt x="334" y="620"/>
                  <a:pt x="334" y="620"/>
                  <a:pt x="334" y="620"/>
                </a:cubicBezTo>
                <a:cubicBezTo>
                  <a:pt x="333" y="620"/>
                  <a:pt x="332" y="621"/>
                  <a:pt x="330" y="621"/>
                </a:cubicBezTo>
                <a:cubicBezTo>
                  <a:pt x="332" y="619"/>
                  <a:pt x="334" y="619"/>
                  <a:pt x="337" y="618"/>
                </a:cubicBezTo>
                <a:cubicBezTo>
                  <a:pt x="336" y="619"/>
                  <a:pt x="336" y="619"/>
                  <a:pt x="335" y="620"/>
                </a:cubicBezTo>
                <a:close/>
                <a:moveTo>
                  <a:pt x="339" y="618"/>
                </a:moveTo>
                <a:cubicBezTo>
                  <a:pt x="338" y="618"/>
                  <a:pt x="338" y="619"/>
                  <a:pt x="337" y="618"/>
                </a:cubicBezTo>
                <a:cubicBezTo>
                  <a:pt x="337" y="617"/>
                  <a:pt x="342" y="617"/>
                  <a:pt x="339" y="618"/>
                </a:cubicBezTo>
                <a:close/>
                <a:moveTo>
                  <a:pt x="348" y="611"/>
                </a:moveTo>
                <a:cubicBezTo>
                  <a:pt x="346" y="612"/>
                  <a:pt x="346" y="609"/>
                  <a:pt x="348" y="609"/>
                </a:cubicBezTo>
                <a:cubicBezTo>
                  <a:pt x="349" y="610"/>
                  <a:pt x="348" y="611"/>
                  <a:pt x="348" y="611"/>
                </a:cubicBezTo>
                <a:close/>
                <a:moveTo>
                  <a:pt x="347" y="599"/>
                </a:moveTo>
                <a:cubicBezTo>
                  <a:pt x="347" y="598"/>
                  <a:pt x="348" y="599"/>
                  <a:pt x="348" y="599"/>
                </a:cubicBezTo>
                <a:cubicBezTo>
                  <a:pt x="348" y="600"/>
                  <a:pt x="347" y="600"/>
                  <a:pt x="347" y="599"/>
                </a:cubicBezTo>
                <a:close/>
                <a:moveTo>
                  <a:pt x="353" y="622"/>
                </a:moveTo>
                <a:cubicBezTo>
                  <a:pt x="352" y="622"/>
                  <a:pt x="352" y="622"/>
                  <a:pt x="352" y="622"/>
                </a:cubicBezTo>
                <a:cubicBezTo>
                  <a:pt x="351" y="620"/>
                  <a:pt x="354" y="621"/>
                  <a:pt x="353" y="622"/>
                </a:cubicBezTo>
                <a:close/>
                <a:moveTo>
                  <a:pt x="352" y="594"/>
                </a:moveTo>
                <a:cubicBezTo>
                  <a:pt x="349" y="595"/>
                  <a:pt x="344" y="598"/>
                  <a:pt x="340" y="598"/>
                </a:cubicBezTo>
                <a:cubicBezTo>
                  <a:pt x="343" y="596"/>
                  <a:pt x="350" y="593"/>
                  <a:pt x="353" y="593"/>
                </a:cubicBezTo>
                <a:cubicBezTo>
                  <a:pt x="352" y="593"/>
                  <a:pt x="355" y="593"/>
                  <a:pt x="355" y="593"/>
                </a:cubicBezTo>
                <a:cubicBezTo>
                  <a:pt x="355" y="595"/>
                  <a:pt x="353" y="594"/>
                  <a:pt x="352" y="594"/>
                </a:cubicBezTo>
                <a:close/>
                <a:moveTo>
                  <a:pt x="355" y="550"/>
                </a:moveTo>
                <a:cubicBezTo>
                  <a:pt x="355" y="549"/>
                  <a:pt x="356" y="549"/>
                  <a:pt x="358" y="549"/>
                </a:cubicBezTo>
                <a:cubicBezTo>
                  <a:pt x="357" y="550"/>
                  <a:pt x="356" y="550"/>
                  <a:pt x="355" y="550"/>
                </a:cubicBezTo>
                <a:close/>
                <a:moveTo>
                  <a:pt x="358" y="493"/>
                </a:moveTo>
                <a:cubicBezTo>
                  <a:pt x="358" y="493"/>
                  <a:pt x="358" y="493"/>
                  <a:pt x="357" y="493"/>
                </a:cubicBezTo>
                <a:cubicBezTo>
                  <a:pt x="357" y="492"/>
                  <a:pt x="359" y="492"/>
                  <a:pt x="358" y="493"/>
                </a:cubicBezTo>
                <a:close/>
                <a:moveTo>
                  <a:pt x="356" y="570"/>
                </a:moveTo>
                <a:cubicBezTo>
                  <a:pt x="357" y="569"/>
                  <a:pt x="359" y="570"/>
                  <a:pt x="359" y="570"/>
                </a:cubicBezTo>
                <a:cubicBezTo>
                  <a:pt x="359" y="571"/>
                  <a:pt x="356" y="572"/>
                  <a:pt x="356" y="570"/>
                </a:cubicBezTo>
                <a:close/>
                <a:moveTo>
                  <a:pt x="358" y="619"/>
                </a:moveTo>
                <a:cubicBezTo>
                  <a:pt x="357" y="618"/>
                  <a:pt x="359" y="618"/>
                  <a:pt x="359" y="619"/>
                </a:cubicBezTo>
                <a:cubicBezTo>
                  <a:pt x="360" y="620"/>
                  <a:pt x="358" y="619"/>
                  <a:pt x="358" y="619"/>
                </a:cubicBezTo>
                <a:close/>
                <a:moveTo>
                  <a:pt x="361" y="614"/>
                </a:moveTo>
                <a:cubicBezTo>
                  <a:pt x="359" y="615"/>
                  <a:pt x="360" y="612"/>
                  <a:pt x="361" y="613"/>
                </a:cubicBezTo>
                <a:cubicBezTo>
                  <a:pt x="362" y="613"/>
                  <a:pt x="361" y="614"/>
                  <a:pt x="361" y="614"/>
                </a:cubicBezTo>
                <a:close/>
                <a:moveTo>
                  <a:pt x="363" y="621"/>
                </a:moveTo>
                <a:cubicBezTo>
                  <a:pt x="361" y="622"/>
                  <a:pt x="362" y="619"/>
                  <a:pt x="363" y="621"/>
                </a:cubicBezTo>
                <a:close/>
                <a:moveTo>
                  <a:pt x="360" y="560"/>
                </a:moveTo>
                <a:cubicBezTo>
                  <a:pt x="360" y="558"/>
                  <a:pt x="365" y="557"/>
                  <a:pt x="366" y="560"/>
                </a:cubicBezTo>
                <a:cubicBezTo>
                  <a:pt x="366" y="563"/>
                  <a:pt x="359" y="564"/>
                  <a:pt x="360" y="560"/>
                </a:cubicBezTo>
                <a:close/>
                <a:moveTo>
                  <a:pt x="362" y="459"/>
                </a:moveTo>
                <a:cubicBezTo>
                  <a:pt x="360" y="461"/>
                  <a:pt x="362" y="457"/>
                  <a:pt x="362" y="459"/>
                </a:cubicBezTo>
                <a:cubicBezTo>
                  <a:pt x="362" y="459"/>
                  <a:pt x="362" y="459"/>
                  <a:pt x="362" y="459"/>
                </a:cubicBezTo>
                <a:close/>
                <a:moveTo>
                  <a:pt x="362" y="508"/>
                </a:moveTo>
                <a:cubicBezTo>
                  <a:pt x="363" y="507"/>
                  <a:pt x="361" y="510"/>
                  <a:pt x="362" y="508"/>
                </a:cubicBezTo>
                <a:close/>
                <a:moveTo>
                  <a:pt x="362" y="515"/>
                </a:moveTo>
                <a:cubicBezTo>
                  <a:pt x="361" y="516"/>
                  <a:pt x="363" y="514"/>
                  <a:pt x="362" y="515"/>
                </a:cubicBezTo>
                <a:close/>
                <a:moveTo>
                  <a:pt x="366" y="501"/>
                </a:moveTo>
                <a:cubicBezTo>
                  <a:pt x="366" y="501"/>
                  <a:pt x="366" y="501"/>
                  <a:pt x="366" y="501"/>
                </a:cubicBezTo>
                <a:cubicBezTo>
                  <a:pt x="365" y="503"/>
                  <a:pt x="367" y="499"/>
                  <a:pt x="366" y="501"/>
                </a:cubicBezTo>
                <a:close/>
                <a:moveTo>
                  <a:pt x="368" y="619"/>
                </a:moveTo>
                <a:cubicBezTo>
                  <a:pt x="367" y="618"/>
                  <a:pt x="369" y="618"/>
                  <a:pt x="369" y="617"/>
                </a:cubicBezTo>
                <a:cubicBezTo>
                  <a:pt x="369" y="618"/>
                  <a:pt x="368" y="618"/>
                  <a:pt x="368" y="619"/>
                </a:cubicBezTo>
                <a:close/>
                <a:moveTo>
                  <a:pt x="371" y="614"/>
                </a:moveTo>
                <a:cubicBezTo>
                  <a:pt x="371" y="614"/>
                  <a:pt x="372" y="615"/>
                  <a:pt x="372" y="615"/>
                </a:cubicBezTo>
                <a:cubicBezTo>
                  <a:pt x="370" y="616"/>
                  <a:pt x="372" y="612"/>
                  <a:pt x="371" y="614"/>
                </a:cubicBezTo>
                <a:close/>
                <a:moveTo>
                  <a:pt x="366" y="619"/>
                </a:moveTo>
                <a:cubicBezTo>
                  <a:pt x="367" y="616"/>
                  <a:pt x="370" y="613"/>
                  <a:pt x="372" y="611"/>
                </a:cubicBezTo>
                <a:cubicBezTo>
                  <a:pt x="370" y="614"/>
                  <a:pt x="368" y="617"/>
                  <a:pt x="366" y="619"/>
                </a:cubicBezTo>
                <a:close/>
                <a:moveTo>
                  <a:pt x="369" y="581"/>
                </a:moveTo>
                <a:cubicBezTo>
                  <a:pt x="369" y="582"/>
                  <a:pt x="368" y="582"/>
                  <a:pt x="367" y="582"/>
                </a:cubicBezTo>
                <a:cubicBezTo>
                  <a:pt x="365" y="579"/>
                  <a:pt x="372" y="579"/>
                  <a:pt x="369" y="581"/>
                </a:cubicBezTo>
                <a:close/>
                <a:moveTo>
                  <a:pt x="371" y="586"/>
                </a:moveTo>
                <a:cubicBezTo>
                  <a:pt x="371" y="586"/>
                  <a:pt x="370" y="587"/>
                  <a:pt x="370" y="587"/>
                </a:cubicBezTo>
                <a:cubicBezTo>
                  <a:pt x="369" y="586"/>
                  <a:pt x="371" y="585"/>
                  <a:pt x="371" y="586"/>
                </a:cubicBezTo>
                <a:close/>
                <a:moveTo>
                  <a:pt x="367" y="558"/>
                </a:moveTo>
                <a:cubicBezTo>
                  <a:pt x="368" y="557"/>
                  <a:pt x="365" y="556"/>
                  <a:pt x="366" y="555"/>
                </a:cubicBezTo>
                <a:cubicBezTo>
                  <a:pt x="367" y="553"/>
                  <a:pt x="368" y="555"/>
                  <a:pt x="369" y="554"/>
                </a:cubicBezTo>
                <a:cubicBezTo>
                  <a:pt x="371" y="552"/>
                  <a:pt x="372" y="548"/>
                  <a:pt x="375" y="546"/>
                </a:cubicBezTo>
                <a:cubicBezTo>
                  <a:pt x="373" y="550"/>
                  <a:pt x="370" y="554"/>
                  <a:pt x="367" y="558"/>
                </a:cubicBezTo>
                <a:close/>
                <a:moveTo>
                  <a:pt x="369" y="514"/>
                </a:moveTo>
                <a:cubicBezTo>
                  <a:pt x="369" y="514"/>
                  <a:pt x="368" y="514"/>
                  <a:pt x="368" y="514"/>
                </a:cubicBezTo>
                <a:cubicBezTo>
                  <a:pt x="366" y="516"/>
                  <a:pt x="369" y="511"/>
                  <a:pt x="369" y="514"/>
                </a:cubicBezTo>
                <a:close/>
                <a:moveTo>
                  <a:pt x="370" y="543"/>
                </a:moveTo>
                <a:cubicBezTo>
                  <a:pt x="371" y="544"/>
                  <a:pt x="369" y="545"/>
                  <a:pt x="369" y="545"/>
                </a:cubicBezTo>
                <a:cubicBezTo>
                  <a:pt x="366" y="546"/>
                  <a:pt x="368" y="541"/>
                  <a:pt x="370" y="543"/>
                </a:cubicBezTo>
                <a:close/>
                <a:moveTo>
                  <a:pt x="375" y="543"/>
                </a:moveTo>
                <a:cubicBezTo>
                  <a:pt x="375" y="544"/>
                  <a:pt x="372" y="545"/>
                  <a:pt x="372" y="543"/>
                </a:cubicBezTo>
                <a:cubicBezTo>
                  <a:pt x="372" y="542"/>
                  <a:pt x="374" y="542"/>
                  <a:pt x="375" y="543"/>
                </a:cubicBezTo>
                <a:close/>
                <a:moveTo>
                  <a:pt x="373" y="506"/>
                </a:moveTo>
                <a:cubicBezTo>
                  <a:pt x="373" y="505"/>
                  <a:pt x="372" y="507"/>
                  <a:pt x="373" y="506"/>
                </a:cubicBezTo>
                <a:close/>
                <a:moveTo>
                  <a:pt x="377" y="627"/>
                </a:moveTo>
                <a:cubicBezTo>
                  <a:pt x="377" y="629"/>
                  <a:pt x="375" y="627"/>
                  <a:pt x="377" y="627"/>
                </a:cubicBezTo>
                <a:close/>
                <a:moveTo>
                  <a:pt x="376" y="607"/>
                </a:moveTo>
                <a:cubicBezTo>
                  <a:pt x="376" y="608"/>
                  <a:pt x="375" y="606"/>
                  <a:pt x="376" y="607"/>
                </a:cubicBezTo>
                <a:close/>
                <a:moveTo>
                  <a:pt x="373" y="574"/>
                </a:moveTo>
                <a:cubicBezTo>
                  <a:pt x="374" y="573"/>
                  <a:pt x="376" y="572"/>
                  <a:pt x="377" y="572"/>
                </a:cubicBezTo>
                <a:cubicBezTo>
                  <a:pt x="376" y="573"/>
                  <a:pt x="375" y="573"/>
                  <a:pt x="373" y="574"/>
                </a:cubicBezTo>
                <a:close/>
                <a:moveTo>
                  <a:pt x="376" y="566"/>
                </a:moveTo>
                <a:cubicBezTo>
                  <a:pt x="373" y="566"/>
                  <a:pt x="376" y="562"/>
                  <a:pt x="377" y="564"/>
                </a:cubicBezTo>
                <a:cubicBezTo>
                  <a:pt x="377" y="565"/>
                  <a:pt x="376" y="565"/>
                  <a:pt x="376" y="566"/>
                </a:cubicBezTo>
                <a:close/>
                <a:moveTo>
                  <a:pt x="373" y="610"/>
                </a:moveTo>
                <a:cubicBezTo>
                  <a:pt x="373" y="609"/>
                  <a:pt x="374" y="608"/>
                  <a:pt x="375" y="607"/>
                </a:cubicBezTo>
                <a:cubicBezTo>
                  <a:pt x="376" y="608"/>
                  <a:pt x="374" y="610"/>
                  <a:pt x="373" y="610"/>
                </a:cubicBezTo>
                <a:close/>
                <a:moveTo>
                  <a:pt x="375" y="636"/>
                </a:moveTo>
                <a:cubicBezTo>
                  <a:pt x="375" y="635"/>
                  <a:pt x="382" y="634"/>
                  <a:pt x="382" y="637"/>
                </a:cubicBezTo>
                <a:cubicBezTo>
                  <a:pt x="382" y="641"/>
                  <a:pt x="373" y="640"/>
                  <a:pt x="375" y="636"/>
                </a:cubicBezTo>
                <a:close/>
                <a:moveTo>
                  <a:pt x="378" y="554"/>
                </a:moveTo>
                <a:cubicBezTo>
                  <a:pt x="378" y="555"/>
                  <a:pt x="377" y="553"/>
                  <a:pt x="378" y="554"/>
                </a:cubicBezTo>
                <a:close/>
                <a:moveTo>
                  <a:pt x="378" y="572"/>
                </a:moveTo>
                <a:cubicBezTo>
                  <a:pt x="378" y="572"/>
                  <a:pt x="377" y="572"/>
                  <a:pt x="378" y="572"/>
                </a:cubicBezTo>
                <a:close/>
                <a:moveTo>
                  <a:pt x="385" y="570"/>
                </a:moveTo>
                <a:cubicBezTo>
                  <a:pt x="384" y="571"/>
                  <a:pt x="382" y="571"/>
                  <a:pt x="380" y="571"/>
                </a:cubicBezTo>
                <a:cubicBezTo>
                  <a:pt x="381" y="570"/>
                  <a:pt x="383" y="570"/>
                  <a:pt x="385" y="570"/>
                </a:cubicBezTo>
                <a:close/>
                <a:moveTo>
                  <a:pt x="384" y="504"/>
                </a:moveTo>
                <a:cubicBezTo>
                  <a:pt x="385" y="504"/>
                  <a:pt x="384" y="505"/>
                  <a:pt x="384" y="504"/>
                </a:cubicBezTo>
                <a:cubicBezTo>
                  <a:pt x="383" y="504"/>
                  <a:pt x="384" y="504"/>
                  <a:pt x="384" y="504"/>
                </a:cubicBezTo>
                <a:close/>
                <a:moveTo>
                  <a:pt x="383" y="466"/>
                </a:moveTo>
                <a:cubicBezTo>
                  <a:pt x="381" y="468"/>
                  <a:pt x="379" y="469"/>
                  <a:pt x="377" y="470"/>
                </a:cubicBezTo>
                <a:cubicBezTo>
                  <a:pt x="378" y="469"/>
                  <a:pt x="380" y="467"/>
                  <a:pt x="383" y="466"/>
                </a:cubicBezTo>
                <a:close/>
                <a:moveTo>
                  <a:pt x="378" y="425"/>
                </a:moveTo>
                <a:cubicBezTo>
                  <a:pt x="378" y="425"/>
                  <a:pt x="378" y="426"/>
                  <a:pt x="378" y="426"/>
                </a:cubicBezTo>
                <a:cubicBezTo>
                  <a:pt x="378" y="427"/>
                  <a:pt x="377" y="425"/>
                  <a:pt x="378" y="425"/>
                </a:cubicBezTo>
                <a:close/>
                <a:moveTo>
                  <a:pt x="380" y="453"/>
                </a:moveTo>
                <a:cubicBezTo>
                  <a:pt x="381" y="452"/>
                  <a:pt x="381" y="452"/>
                  <a:pt x="382" y="452"/>
                </a:cubicBezTo>
                <a:cubicBezTo>
                  <a:pt x="381" y="452"/>
                  <a:pt x="380" y="453"/>
                  <a:pt x="380" y="453"/>
                </a:cubicBezTo>
                <a:close/>
                <a:moveTo>
                  <a:pt x="376" y="394"/>
                </a:moveTo>
                <a:cubicBezTo>
                  <a:pt x="377" y="394"/>
                  <a:pt x="381" y="388"/>
                  <a:pt x="384" y="388"/>
                </a:cubicBezTo>
                <a:cubicBezTo>
                  <a:pt x="381" y="389"/>
                  <a:pt x="379" y="394"/>
                  <a:pt x="376" y="394"/>
                </a:cubicBezTo>
                <a:close/>
                <a:moveTo>
                  <a:pt x="397" y="460"/>
                </a:moveTo>
                <a:cubicBezTo>
                  <a:pt x="394" y="463"/>
                  <a:pt x="387" y="465"/>
                  <a:pt x="383" y="468"/>
                </a:cubicBezTo>
                <a:cubicBezTo>
                  <a:pt x="387" y="464"/>
                  <a:pt x="392" y="463"/>
                  <a:pt x="397" y="460"/>
                </a:cubicBezTo>
                <a:close/>
                <a:moveTo>
                  <a:pt x="386" y="182"/>
                </a:moveTo>
                <a:cubicBezTo>
                  <a:pt x="386" y="181"/>
                  <a:pt x="388" y="181"/>
                  <a:pt x="388" y="182"/>
                </a:cubicBezTo>
                <a:cubicBezTo>
                  <a:pt x="389" y="183"/>
                  <a:pt x="386" y="183"/>
                  <a:pt x="386" y="182"/>
                </a:cubicBezTo>
                <a:close/>
                <a:moveTo>
                  <a:pt x="398" y="418"/>
                </a:moveTo>
                <a:cubicBezTo>
                  <a:pt x="398" y="419"/>
                  <a:pt x="396" y="420"/>
                  <a:pt x="396" y="421"/>
                </a:cubicBezTo>
                <a:cubicBezTo>
                  <a:pt x="395" y="420"/>
                  <a:pt x="397" y="418"/>
                  <a:pt x="398" y="418"/>
                </a:cubicBezTo>
                <a:close/>
                <a:moveTo>
                  <a:pt x="397" y="371"/>
                </a:moveTo>
                <a:cubicBezTo>
                  <a:pt x="395" y="372"/>
                  <a:pt x="398" y="370"/>
                  <a:pt x="397" y="371"/>
                </a:cubicBezTo>
                <a:close/>
                <a:moveTo>
                  <a:pt x="403" y="137"/>
                </a:moveTo>
                <a:cubicBezTo>
                  <a:pt x="405" y="139"/>
                  <a:pt x="398" y="141"/>
                  <a:pt x="398" y="140"/>
                </a:cubicBezTo>
                <a:cubicBezTo>
                  <a:pt x="397" y="140"/>
                  <a:pt x="401" y="135"/>
                  <a:pt x="403" y="137"/>
                </a:cubicBezTo>
                <a:close/>
                <a:moveTo>
                  <a:pt x="401" y="86"/>
                </a:moveTo>
                <a:cubicBezTo>
                  <a:pt x="402" y="84"/>
                  <a:pt x="404" y="89"/>
                  <a:pt x="401" y="88"/>
                </a:cubicBezTo>
                <a:cubicBezTo>
                  <a:pt x="400" y="88"/>
                  <a:pt x="400" y="87"/>
                  <a:pt x="401" y="86"/>
                </a:cubicBezTo>
                <a:close/>
                <a:moveTo>
                  <a:pt x="440" y="59"/>
                </a:moveTo>
                <a:cubicBezTo>
                  <a:pt x="440" y="60"/>
                  <a:pt x="438" y="61"/>
                  <a:pt x="438" y="60"/>
                </a:cubicBezTo>
                <a:cubicBezTo>
                  <a:pt x="437" y="60"/>
                  <a:pt x="440" y="58"/>
                  <a:pt x="440" y="59"/>
                </a:cubicBezTo>
                <a:close/>
                <a:moveTo>
                  <a:pt x="438" y="29"/>
                </a:moveTo>
                <a:cubicBezTo>
                  <a:pt x="438" y="28"/>
                  <a:pt x="440" y="29"/>
                  <a:pt x="440" y="29"/>
                </a:cubicBezTo>
                <a:cubicBezTo>
                  <a:pt x="441" y="30"/>
                  <a:pt x="438" y="30"/>
                  <a:pt x="438" y="29"/>
                </a:cubicBezTo>
                <a:close/>
                <a:moveTo>
                  <a:pt x="437" y="51"/>
                </a:moveTo>
                <a:cubicBezTo>
                  <a:pt x="437" y="51"/>
                  <a:pt x="438" y="50"/>
                  <a:pt x="438" y="51"/>
                </a:cubicBezTo>
                <a:cubicBezTo>
                  <a:pt x="439" y="52"/>
                  <a:pt x="437" y="51"/>
                  <a:pt x="437" y="51"/>
                </a:cubicBezTo>
                <a:close/>
                <a:moveTo>
                  <a:pt x="443" y="75"/>
                </a:moveTo>
                <a:cubicBezTo>
                  <a:pt x="442" y="77"/>
                  <a:pt x="431" y="76"/>
                  <a:pt x="432" y="75"/>
                </a:cubicBezTo>
                <a:cubicBezTo>
                  <a:pt x="432" y="74"/>
                  <a:pt x="440" y="76"/>
                  <a:pt x="443" y="75"/>
                </a:cubicBezTo>
                <a:close/>
                <a:moveTo>
                  <a:pt x="450" y="40"/>
                </a:moveTo>
                <a:cubicBezTo>
                  <a:pt x="450" y="40"/>
                  <a:pt x="448" y="39"/>
                  <a:pt x="448" y="39"/>
                </a:cubicBezTo>
                <a:cubicBezTo>
                  <a:pt x="448" y="39"/>
                  <a:pt x="450" y="39"/>
                  <a:pt x="450" y="40"/>
                </a:cubicBezTo>
                <a:close/>
                <a:moveTo>
                  <a:pt x="453" y="36"/>
                </a:moveTo>
                <a:cubicBezTo>
                  <a:pt x="449" y="39"/>
                  <a:pt x="447" y="36"/>
                  <a:pt x="453" y="36"/>
                </a:cubicBezTo>
                <a:close/>
                <a:moveTo>
                  <a:pt x="446" y="83"/>
                </a:moveTo>
                <a:cubicBezTo>
                  <a:pt x="448" y="81"/>
                  <a:pt x="448" y="83"/>
                  <a:pt x="446" y="83"/>
                </a:cubicBezTo>
                <a:close/>
                <a:moveTo>
                  <a:pt x="445" y="112"/>
                </a:moveTo>
                <a:cubicBezTo>
                  <a:pt x="446" y="111"/>
                  <a:pt x="446" y="112"/>
                  <a:pt x="447" y="111"/>
                </a:cubicBezTo>
                <a:cubicBezTo>
                  <a:pt x="447" y="111"/>
                  <a:pt x="446" y="112"/>
                  <a:pt x="445" y="112"/>
                </a:cubicBezTo>
                <a:close/>
                <a:moveTo>
                  <a:pt x="449" y="53"/>
                </a:moveTo>
                <a:cubicBezTo>
                  <a:pt x="449" y="54"/>
                  <a:pt x="449" y="55"/>
                  <a:pt x="448" y="55"/>
                </a:cubicBezTo>
                <a:cubicBezTo>
                  <a:pt x="446" y="55"/>
                  <a:pt x="448" y="51"/>
                  <a:pt x="449" y="53"/>
                </a:cubicBezTo>
                <a:close/>
                <a:moveTo>
                  <a:pt x="448" y="50"/>
                </a:moveTo>
                <a:cubicBezTo>
                  <a:pt x="447" y="51"/>
                  <a:pt x="446" y="51"/>
                  <a:pt x="445" y="52"/>
                </a:cubicBezTo>
                <a:cubicBezTo>
                  <a:pt x="445" y="51"/>
                  <a:pt x="447" y="50"/>
                  <a:pt x="448" y="50"/>
                </a:cubicBezTo>
                <a:close/>
                <a:moveTo>
                  <a:pt x="444" y="51"/>
                </a:moveTo>
                <a:cubicBezTo>
                  <a:pt x="444" y="51"/>
                  <a:pt x="445" y="50"/>
                  <a:pt x="445" y="51"/>
                </a:cubicBezTo>
                <a:cubicBezTo>
                  <a:pt x="445" y="51"/>
                  <a:pt x="444" y="52"/>
                  <a:pt x="444" y="51"/>
                </a:cubicBezTo>
                <a:close/>
                <a:moveTo>
                  <a:pt x="444" y="112"/>
                </a:moveTo>
                <a:cubicBezTo>
                  <a:pt x="444" y="112"/>
                  <a:pt x="445" y="112"/>
                  <a:pt x="445" y="112"/>
                </a:cubicBezTo>
                <a:cubicBezTo>
                  <a:pt x="445" y="114"/>
                  <a:pt x="442" y="111"/>
                  <a:pt x="444" y="112"/>
                </a:cubicBezTo>
                <a:close/>
                <a:moveTo>
                  <a:pt x="443" y="52"/>
                </a:moveTo>
                <a:cubicBezTo>
                  <a:pt x="445" y="51"/>
                  <a:pt x="441" y="52"/>
                  <a:pt x="443" y="52"/>
                </a:cubicBezTo>
                <a:close/>
                <a:moveTo>
                  <a:pt x="445" y="115"/>
                </a:moveTo>
                <a:cubicBezTo>
                  <a:pt x="453" y="112"/>
                  <a:pt x="454" y="123"/>
                  <a:pt x="446" y="122"/>
                </a:cubicBezTo>
                <a:cubicBezTo>
                  <a:pt x="445" y="122"/>
                  <a:pt x="442" y="121"/>
                  <a:pt x="442" y="118"/>
                </a:cubicBezTo>
                <a:cubicBezTo>
                  <a:pt x="443" y="119"/>
                  <a:pt x="444" y="116"/>
                  <a:pt x="445" y="115"/>
                </a:cubicBezTo>
                <a:close/>
                <a:moveTo>
                  <a:pt x="450" y="112"/>
                </a:moveTo>
                <a:cubicBezTo>
                  <a:pt x="451" y="113"/>
                  <a:pt x="449" y="113"/>
                  <a:pt x="449" y="113"/>
                </a:cubicBezTo>
                <a:cubicBezTo>
                  <a:pt x="449" y="113"/>
                  <a:pt x="449" y="112"/>
                  <a:pt x="450" y="112"/>
                </a:cubicBezTo>
                <a:close/>
                <a:moveTo>
                  <a:pt x="456" y="102"/>
                </a:moveTo>
                <a:cubicBezTo>
                  <a:pt x="456" y="104"/>
                  <a:pt x="453" y="105"/>
                  <a:pt x="452" y="103"/>
                </a:cubicBezTo>
                <a:cubicBezTo>
                  <a:pt x="450" y="102"/>
                  <a:pt x="456" y="100"/>
                  <a:pt x="456" y="102"/>
                </a:cubicBezTo>
                <a:close/>
                <a:moveTo>
                  <a:pt x="452" y="90"/>
                </a:moveTo>
                <a:cubicBezTo>
                  <a:pt x="452" y="89"/>
                  <a:pt x="454" y="89"/>
                  <a:pt x="454" y="89"/>
                </a:cubicBezTo>
                <a:cubicBezTo>
                  <a:pt x="455" y="90"/>
                  <a:pt x="453" y="91"/>
                  <a:pt x="452" y="90"/>
                </a:cubicBezTo>
                <a:close/>
                <a:moveTo>
                  <a:pt x="454" y="91"/>
                </a:moveTo>
                <a:cubicBezTo>
                  <a:pt x="455" y="89"/>
                  <a:pt x="456" y="92"/>
                  <a:pt x="454" y="91"/>
                </a:cubicBezTo>
                <a:close/>
                <a:moveTo>
                  <a:pt x="456" y="169"/>
                </a:moveTo>
                <a:cubicBezTo>
                  <a:pt x="461" y="172"/>
                  <a:pt x="453" y="179"/>
                  <a:pt x="448" y="175"/>
                </a:cubicBezTo>
                <a:cubicBezTo>
                  <a:pt x="450" y="175"/>
                  <a:pt x="449" y="174"/>
                  <a:pt x="447" y="173"/>
                </a:cubicBezTo>
                <a:cubicBezTo>
                  <a:pt x="448" y="170"/>
                  <a:pt x="452" y="167"/>
                  <a:pt x="456" y="169"/>
                </a:cubicBezTo>
                <a:close/>
                <a:moveTo>
                  <a:pt x="461" y="136"/>
                </a:moveTo>
                <a:cubicBezTo>
                  <a:pt x="465" y="134"/>
                  <a:pt x="460" y="140"/>
                  <a:pt x="457" y="139"/>
                </a:cubicBezTo>
                <a:cubicBezTo>
                  <a:pt x="458" y="138"/>
                  <a:pt x="460" y="136"/>
                  <a:pt x="461" y="136"/>
                </a:cubicBezTo>
                <a:close/>
                <a:moveTo>
                  <a:pt x="459" y="124"/>
                </a:moveTo>
                <a:cubicBezTo>
                  <a:pt x="458" y="124"/>
                  <a:pt x="460" y="124"/>
                  <a:pt x="459" y="124"/>
                </a:cubicBezTo>
                <a:close/>
                <a:moveTo>
                  <a:pt x="463" y="74"/>
                </a:moveTo>
                <a:cubicBezTo>
                  <a:pt x="462" y="74"/>
                  <a:pt x="463" y="73"/>
                  <a:pt x="464" y="74"/>
                </a:cubicBezTo>
                <a:cubicBezTo>
                  <a:pt x="464" y="74"/>
                  <a:pt x="463" y="75"/>
                  <a:pt x="463" y="74"/>
                </a:cubicBezTo>
                <a:close/>
                <a:moveTo>
                  <a:pt x="463" y="76"/>
                </a:moveTo>
                <a:cubicBezTo>
                  <a:pt x="464" y="74"/>
                  <a:pt x="465" y="76"/>
                  <a:pt x="463" y="76"/>
                </a:cubicBezTo>
                <a:close/>
                <a:moveTo>
                  <a:pt x="464" y="82"/>
                </a:moveTo>
                <a:cubicBezTo>
                  <a:pt x="464" y="84"/>
                  <a:pt x="459" y="84"/>
                  <a:pt x="460" y="81"/>
                </a:cubicBezTo>
                <a:cubicBezTo>
                  <a:pt x="460" y="80"/>
                  <a:pt x="464" y="81"/>
                  <a:pt x="464" y="82"/>
                </a:cubicBezTo>
                <a:close/>
                <a:moveTo>
                  <a:pt x="462" y="133"/>
                </a:moveTo>
                <a:cubicBezTo>
                  <a:pt x="463" y="134"/>
                  <a:pt x="461" y="135"/>
                  <a:pt x="461" y="135"/>
                </a:cubicBezTo>
                <a:cubicBezTo>
                  <a:pt x="460" y="134"/>
                  <a:pt x="462" y="133"/>
                  <a:pt x="462" y="133"/>
                </a:cubicBezTo>
                <a:close/>
                <a:moveTo>
                  <a:pt x="460" y="102"/>
                </a:moveTo>
                <a:cubicBezTo>
                  <a:pt x="460" y="102"/>
                  <a:pt x="461" y="102"/>
                  <a:pt x="461" y="102"/>
                </a:cubicBezTo>
                <a:cubicBezTo>
                  <a:pt x="463" y="99"/>
                  <a:pt x="462" y="103"/>
                  <a:pt x="460" y="102"/>
                </a:cubicBezTo>
                <a:close/>
                <a:moveTo>
                  <a:pt x="460" y="130"/>
                </a:moveTo>
                <a:cubicBezTo>
                  <a:pt x="460" y="130"/>
                  <a:pt x="460" y="131"/>
                  <a:pt x="460" y="131"/>
                </a:cubicBezTo>
                <a:cubicBezTo>
                  <a:pt x="459" y="131"/>
                  <a:pt x="460" y="130"/>
                  <a:pt x="460" y="130"/>
                </a:cubicBezTo>
                <a:close/>
                <a:moveTo>
                  <a:pt x="466" y="137"/>
                </a:moveTo>
                <a:cubicBezTo>
                  <a:pt x="466" y="138"/>
                  <a:pt x="464" y="138"/>
                  <a:pt x="464" y="138"/>
                </a:cubicBezTo>
                <a:cubicBezTo>
                  <a:pt x="464" y="137"/>
                  <a:pt x="466" y="136"/>
                  <a:pt x="466" y="137"/>
                </a:cubicBezTo>
                <a:close/>
                <a:moveTo>
                  <a:pt x="465" y="123"/>
                </a:moveTo>
                <a:cubicBezTo>
                  <a:pt x="467" y="122"/>
                  <a:pt x="467" y="123"/>
                  <a:pt x="465" y="123"/>
                </a:cubicBezTo>
                <a:close/>
                <a:moveTo>
                  <a:pt x="469" y="145"/>
                </a:moveTo>
                <a:cubicBezTo>
                  <a:pt x="469" y="145"/>
                  <a:pt x="468" y="147"/>
                  <a:pt x="468" y="147"/>
                </a:cubicBezTo>
                <a:cubicBezTo>
                  <a:pt x="467" y="148"/>
                  <a:pt x="467" y="149"/>
                  <a:pt x="465" y="148"/>
                </a:cubicBezTo>
                <a:cubicBezTo>
                  <a:pt x="465" y="148"/>
                  <a:pt x="465" y="147"/>
                  <a:pt x="465" y="147"/>
                </a:cubicBezTo>
                <a:cubicBezTo>
                  <a:pt x="465" y="147"/>
                  <a:pt x="462" y="146"/>
                  <a:pt x="462" y="145"/>
                </a:cubicBezTo>
                <a:cubicBezTo>
                  <a:pt x="462" y="142"/>
                  <a:pt x="469" y="144"/>
                  <a:pt x="469" y="145"/>
                </a:cubicBezTo>
                <a:close/>
                <a:moveTo>
                  <a:pt x="476" y="189"/>
                </a:moveTo>
                <a:cubicBezTo>
                  <a:pt x="475" y="192"/>
                  <a:pt x="472" y="193"/>
                  <a:pt x="470" y="195"/>
                </a:cubicBezTo>
                <a:cubicBezTo>
                  <a:pt x="471" y="193"/>
                  <a:pt x="474" y="191"/>
                  <a:pt x="476" y="189"/>
                </a:cubicBezTo>
                <a:close/>
                <a:moveTo>
                  <a:pt x="474" y="164"/>
                </a:moveTo>
                <a:cubicBezTo>
                  <a:pt x="476" y="162"/>
                  <a:pt x="475" y="166"/>
                  <a:pt x="473" y="165"/>
                </a:cubicBezTo>
                <a:cubicBezTo>
                  <a:pt x="473" y="165"/>
                  <a:pt x="474" y="164"/>
                  <a:pt x="474" y="164"/>
                </a:cubicBezTo>
                <a:close/>
                <a:moveTo>
                  <a:pt x="478" y="618"/>
                </a:moveTo>
                <a:cubicBezTo>
                  <a:pt x="478" y="617"/>
                  <a:pt x="481" y="616"/>
                  <a:pt x="482" y="618"/>
                </a:cubicBezTo>
                <a:cubicBezTo>
                  <a:pt x="483" y="621"/>
                  <a:pt x="477" y="622"/>
                  <a:pt x="478" y="618"/>
                </a:cubicBezTo>
                <a:close/>
                <a:moveTo>
                  <a:pt x="479" y="669"/>
                </a:moveTo>
                <a:cubicBezTo>
                  <a:pt x="479" y="669"/>
                  <a:pt x="477" y="670"/>
                  <a:pt x="477" y="669"/>
                </a:cubicBezTo>
                <a:cubicBezTo>
                  <a:pt x="476" y="667"/>
                  <a:pt x="479" y="668"/>
                  <a:pt x="479" y="669"/>
                </a:cubicBezTo>
                <a:close/>
                <a:moveTo>
                  <a:pt x="477" y="598"/>
                </a:moveTo>
                <a:cubicBezTo>
                  <a:pt x="477" y="597"/>
                  <a:pt x="480" y="596"/>
                  <a:pt x="481" y="594"/>
                </a:cubicBezTo>
                <a:cubicBezTo>
                  <a:pt x="481" y="596"/>
                  <a:pt x="478" y="597"/>
                  <a:pt x="477" y="598"/>
                </a:cubicBezTo>
                <a:close/>
                <a:moveTo>
                  <a:pt x="478" y="310"/>
                </a:moveTo>
                <a:cubicBezTo>
                  <a:pt x="480" y="308"/>
                  <a:pt x="480" y="313"/>
                  <a:pt x="478" y="312"/>
                </a:cubicBezTo>
                <a:cubicBezTo>
                  <a:pt x="477" y="311"/>
                  <a:pt x="478" y="310"/>
                  <a:pt x="478" y="310"/>
                </a:cubicBezTo>
                <a:close/>
                <a:moveTo>
                  <a:pt x="478" y="226"/>
                </a:moveTo>
                <a:cubicBezTo>
                  <a:pt x="479" y="224"/>
                  <a:pt x="480" y="227"/>
                  <a:pt x="478" y="227"/>
                </a:cubicBezTo>
                <a:cubicBezTo>
                  <a:pt x="478" y="226"/>
                  <a:pt x="478" y="226"/>
                  <a:pt x="478" y="226"/>
                </a:cubicBezTo>
                <a:close/>
                <a:moveTo>
                  <a:pt x="476" y="210"/>
                </a:moveTo>
                <a:cubicBezTo>
                  <a:pt x="475" y="208"/>
                  <a:pt x="480" y="205"/>
                  <a:pt x="480" y="209"/>
                </a:cubicBezTo>
                <a:cubicBezTo>
                  <a:pt x="481" y="210"/>
                  <a:pt x="476" y="211"/>
                  <a:pt x="476" y="210"/>
                </a:cubicBezTo>
                <a:close/>
                <a:moveTo>
                  <a:pt x="473" y="217"/>
                </a:moveTo>
                <a:cubicBezTo>
                  <a:pt x="472" y="219"/>
                  <a:pt x="467" y="225"/>
                  <a:pt x="465" y="226"/>
                </a:cubicBezTo>
                <a:cubicBezTo>
                  <a:pt x="462" y="227"/>
                  <a:pt x="466" y="224"/>
                  <a:pt x="467" y="223"/>
                </a:cubicBezTo>
                <a:cubicBezTo>
                  <a:pt x="469" y="222"/>
                  <a:pt x="471" y="218"/>
                  <a:pt x="472" y="215"/>
                </a:cubicBezTo>
                <a:cubicBezTo>
                  <a:pt x="472" y="216"/>
                  <a:pt x="472" y="216"/>
                  <a:pt x="472" y="215"/>
                </a:cubicBezTo>
                <a:cubicBezTo>
                  <a:pt x="472" y="215"/>
                  <a:pt x="472" y="215"/>
                  <a:pt x="473" y="215"/>
                </a:cubicBezTo>
                <a:cubicBezTo>
                  <a:pt x="473" y="215"/>
                  <a:pt x="473" y="215"/>
                  <a:pt x="473" y="215"/>
                </a:cubicBezTo>
                <a:cubicBezTo>
                  <a:pt x="474" y="214"/>
                  <a:pt x="474" y="213"/>
                  <a:pt x="475" y="212"/>
                </a:cubicBezTo>
                <a:cubicBezTo>
                  <a:pt x="475" y="212"/>
                  <a:pt x="476" y="213"/>
                  <a:pt x="476" y="213"/>
                </a:cubicBezTo>
                <a:cubicBezTo>
                  <a:pt x="476" y="213"/>
                  <a:pt x="474" y="215"/>
                  <a:pt x="473" y="217"/>
                </a:cubicBezTo>
                <a:close/>
                <a:moveTo>
                  <a:pt x="475" y="228"/>
                </a:moveTo>
                <a:cubicBezTo>
                  <a:pt x="474" y="227"/>
                  <a:pt x="475" y="227"/>
                  <a:pt x="475" y="227"/>
                </a:cubicBezTo>
                <a:cubicBezTo>
                  <a:pt x="476" y="227"/>
                  <a:pt x="475" y="229"/>
                  <a:pt x="475" y="228"/>
                </a:cubicBezTo>
                <a:close/>
                <a:moveTo>
                  <a:pt x="473" y="638"/>
                </a:moveTo>
                <a:cubicBezTo>
                  <a:pt x="473" y="638"/>
                  <a:pt x="474" y="637"/>
                  <a:pt x="474" y="638"/>
                </a:cubicBezTo>
                <a:cubicBezTo>
                  <a:pt x="475" y="639"/>
                  <a:pt x="472" y="640"/>
                  <a:pt x="473" y="638"/>
                </a:cubicBezTo>
                <a:close/>
                <a:moveTo>
                  <a:pt x="471" y="623"/>
                </a:moveTo>
                <a:cubicBezTo>
                  <a:pt x="471" y="622"/>
                  <a:pt x="473" y="622"/>
                  <a:pt x="473" y="623"/>
                </a:cubicBezTo>
                <a:cubicBezTo>
                  <a:pt x="473" y="624"/>
                  <a:pt x="471" y="624"/>
                  <a:pt x="471" y="623"/>
                </a:cubicBezTo>
                <a:close/>
                <a:moveTo>
                  <a:pt x="469" y="613"/>
                </a:moveTo>
                <a:cubicBezTo>
                  <a:pt x="465" y="614"/>
                  <a:pt x="462" y="616"/>
                  <a:pt x="459" y="615"/>
                </a:cubicBezTo>
                <a:cubicBezTo>
                  <a:pt x="460" y="612"/>
                  <a:pt x="468" y="613"/>
                  <a:pt x="470" y="613"/>
                </a:cubicBezTo>
                <a:cubicBezTo>
                  <a:pt x="471" y="613"/>
                  <a:pt x="476" y="611"/>
                  <a:pt x="475" y="613"/>
                </a:cubicBezTo>
                <a:cubicBezTo>
                  <a:pt x="474" y="614"/>
                  <a:pt x="469" y="613"/>
                  <a:pt x="469" y="613"/>
                </a:cubicBezTo>
                <a:close/>
                <a:moveTo>
                  <a:pt x="470" y="623"/>
                </a:moveTo>
                <a:cubicBezTo>
                  <a:pt x="470" y="623"/>
                  <a:pt x="469" y="623"/>
                  <a:pt x="469" y="623"/>
                </a:cubicBezTo>
                <a:cubicBezTo>
                  <a:pt x="469" y="623"/>
                  <a:pt x="470" y="622"/>
                  <a:pt x="470" y="623"/>
                </a:cubicBezTo>
                <a:close/>
                <a:moveTo>
                  <a:pt x="467" y="625"/>
                </a:moveTo>
                <a:cubicBezTo>
                  <a:pt x="467" y="625"/>
                  <a:pt x="467" y="624"/>
                  <a:pt x="468" y="624"/>
                </a:cubicBezTo>
                <a:cubicBezTo>
                  <a:pt x="468" y="624"/>
                  <a:pt x="467" y="625"/>
                  <a:pt x="467" y="625"/>
                </a:cubicBezTo>
                <a:close/>
                <a:moveTo>
                  <a:pt x="465" y="683"/>
                </a:moveTo>
                <a:cubicBezTo>
                  <a:pt x="465" y="682"/>
                  <a:pt x="469" y="682"/>
                  <a:pt x="469" y="684"/>
                </a:cubicBezTo>
                <a:cubicBezTo>
                  <a:pt x="469" y="686"/>
                  <a:pt x="464" y="686"/>
                  <a:pt x="465" y="683"/>
                </a:cubicBezTo>
                <a:close/>
                <a:moveTo>
                  <a:pt x="468" y="686"/>
                </a:moveTo>
                <a:cubicBezTo>
                  <a:pt x="467" y="688"/>
                  <a:pt x="465" y="686"/>
                  <a:pt x="468" y="686"/>
                </a:cubicBezTo>
                <a:close/>
                <a:moveTo>
                  <a:pt x="465" y="727"/>
                </a:moveTo>
                <a:cubicBezTo>
                  <a:pt x="464" y="728"/>
                  <a:pt x="464" y="727"/>
                  <a:pt x="464" y="727"/>
                </a:cubicBezTo>
                <a:cubicBezTo>
                  <a:pt x="464" y="727"/>
                  <a:pt x="466" y="727"/>
                  <a:pt x="465" y="727"/>
                </a:cubicBezTo>
                <a:close/>
                <a:moveTo>
                  <a:pt x="459" y="730"/>
                </a:moveTo>
                <a:cubicBezTo>
                  <a:pt x="460" y="729"/>
                  <a:pt x="461" y="729"/>
                  <a:pt x="463" y="729"/>
                </a:cubicBezTo>
                <a:cubicBezTo>
                  <a:pt x="461" y="729"/>
                  <a:pt x="460" y="730"/>
                  <a:pt x="459" y="730"/>
                </a:cubicBezTo>
                <a:close/>
                <a:moveTo>
                  <a:pt x="462" y="732"/>
                </a:moveTo>
                <a:cubicBezTo>
                  <a:pt x="461" y="733"/>
                  <a:pt x="460" y="733"/>
                  <a:pt x="459" y="733"/>
                </a:cubicBezTo>
                <a:cubicBezTo>
                  <a:pt x="459" y="732"/>
                  <a:pt x="461" y="732"/>
                  <a:pt x="462" y="732"/>
                </a:cubicBezTo>
                <a:close/>
                <a:moveTo>
                  <a:pt x="459" y="679"/>
                </a:moveTo>
                <a:cubicBezTo>
                  <a:pt x="459" y="679"/>
                  <a:pt x="462" y="677"/>
                  <a:pt x="463" y="678"/>
                </a:cubicBezTo>
                <a:cubicBezTo>
                  <a:pt x="462" y="679"/>
                  <a:pt x="460" y="679"/>
                  <a:pt x="459" y="679"/>
                </a:cubicBezTo>
                <a:close/>
                <a:moveTo>
                  <a:pt x="457" y="618"/>
                </a:moveTo>
                <a:cubicBezTo>
                  <a:pt x="457" y="618"/>
                  <a:pt x="456" y="618"/>
                  <a:pt x="456" y="618"/>
                </a:cubicBezTo>
                <a:cubicBezTo>
                  <a:pt x="454" y="616"/>
                  <a:pt x="460" y="616"/>
                  <a:pt x="457" y="618"/>
                </a:cubicBezTo>
                <a:close/>
                <a:moveTo>
                  <a:pt x="457" y="670"/>
                </a:moveTo>
                <a:cubicBezTo>
                  <a:pt x="457" y="670"/>
                  <a:pt x="457" y="670"/>
                  <a:pt x="456" y="670"/>
                </a:cubicBezTo>
                <a:cubicBezTo>
                  <a:pt x="456" y="669"/>
                  <a:pt x="458" y="670"/>
                  <a:pt x="457" y="670"/>
                </a:cubicBezTo>
                <a:close/>
                <a:moveTo>
                  <a:pt x="440" y="664"/>
                </a:moveTo>
                <a:cubicBezTo>
                  <a:pt x="436" y="659"/>
                  <a:pt x="445" y="655"/>
                  <a:pt x="449" y="659"/>
                </a:cubicBezTo>
                <a:cubicBezTo>
                  <a:pt x="448" y="660"/>
                  <a:pt x="448" y="661"/>
                  <a:pt x="449" y="661"/>
                </a:cubicBezTo>
                <a:cubicBezTo>
                  <a:pt x="448" y="664"/>
                  <a:pt x="443" y="666"/>
                  <a:pt x="440" y="664"/>
                </a:cubicBezTo>
                <a:close/>
                <a:moveTo>
                  <a:pt x="447" y="703"/>
                </a:moveTo>
                <a:cubicBezTo>
                  <a:pt x="447" y="703"/>
                  <a:pt x="445" y="703"/>
                  <a:pt x="445" y="703"/>
                </a:cubicBezTo>
                <a:cubicBezTo>
                  <a:pt x="444" y="702"/>
                  <a:pt x="447" y="702"/>
                  <a:pt x="447" y="703"/>
                </a:cubicBezTo>
                <a:close/>
                <a:moveTo>
                  <a:pt x="435" y="744"/>
                </a:moveTo>
                <a:cubicBezTo>
                  <a:pt x="435" y="743"/>
                  <a:pt x="435" y="743"/>
                  <a:pt x="436" y="742"/>
                </a:cubicBezTo>
                <a:cubicBezTo>
                  <a:pt x="436" y="739"/>
                  <a:pt x="440" y="739"/>
                  <a:pt x="441" y="741"/>
                </a:cubicBezTo>
                <a:cubicBezTo>
                  <a:pt x="441" y="741"/>
                  <a:pt x="441" y="741"/>
                  <a:pt x="441" y="741"/>
                </a:cubicBezTo>
                <a:cubicBezTo>
                  <a:pt x="441" y="741"/>
                  <a:pt x="441" y="741"/>
                  <a:pt x="442" y="741"/>
                </a:cubicBezTo>
                <a:cubicBezTo>
                  <a:pt x="445" y="742"/>
                  <a:pt x="439" y="750"/>
                  <a:pt x="435" y="744"/>
                </a:cubicBezTo>
                <a:close/>
                <a:moveTo>
                  <a:pt x="437" y="748"/>
                </a:moveTo>
                <a:cubicBezTo>
                  <a:pt x="436" y="747"/>
                  <a:pt x="438" y="748"/>
                  <a:pt x="437" y="748"/>
                </a:cubicBezTo>
                <a:close/>
                <a:moveTo>
                  <a:pt x="415" y="747"/>
                </a:moveTo>
                <a:cubicBezTo>
                  <a:pt x="415" y="748"/>
                  <a:pt x="411" y="747"/>
                  <a:pt x="411" y="746"/>
                </a:cubicBezTo>
                <a:cubicBezTo>
                  <a:pt x="412" y="744"/>
                  <a:pt x="417" y="745"/>
                  <a:pt x="415" y="747"/>
                </a:cubicBezTo>
                <a:close/>
                <a:moveTo>
                  <a:pt x="412" y="734"/>
                </a:moveTo>
                <a:cubicBezTo>
                  <a:pt x="413" y="733"/>
                  <a:pt x="413" y="735"/>
                  <a:pt x="412" y="734"/>
                </a:cubicBezTo>
                <a:close/>
                <a:moveTo>
                  <a:pt x="409" y="732"/>
                </a:moveTo>
                <a:cubicBezTo>
                  <a:pt x="407" y="731"/>
                  <a:pt x="406" y="729"/>
                  <a:pt x="409" y="727"/>
                </a:cubicBezTo>
                <a:cubicBezTo>
                  <a:pt x="410" y="726"/>
                  <a:pt x="412" y="726"/>
                  <a:pt x="413" y="727"/>
                </a:cubicBezTo>
                <a:cubicBezTo>
                  <a:pt x="415" y="727"/>
                  <a:pt x="417" y="727"/>
                  <a:pt x="417" y="727"/>
                </a:cubicBezTo>
                <a:cubicBezTo>
                  <a:pt x="417" y="727"/>
                  <a:pt x="416" y="728"/>
                  <a:pt x="416" y="728"/>
                </a:cubicBezTo>
                <a:cubicBezTo>
                  <a:pt x="416" y="728"/>
                  <a:pt x="417" y="728"/>
                  <a:pt x="417" y="728"/>
                </a:cubicBezTo>
                <a:cubicBezTo>
                  <a:pt x="417" y="728"/>
                  <a:pt x="417" y="728"/>
                  <a:pt x="417" y="728"/>
                </a:cubicBezTo>
                <a:cubicBezTo>
                  <a:pt x="418" y="730"/>
                  <a:pt x="411" y="733"/>
                  <a:pt x="409" y="732"/>
                </a:cubicBezTo>
                <a:close/>
                <a:moveTo>
                  <a:pt x="411" y="754"/>
                </a:moveTo>
                <a:cubicBezTo>
                  <a:pt x="411" y="755"/>
                  <a:pt x="410" y="754"/>
                  <a:pt x="409" y="754"/>
                </a:cubicBezTo>
                <a:cubicBezTo>
                  <a:pt x="409" y="753"/>
                  <a:pt x="411" y="753"/>
                  <a:pt x="411" y="754"/>
                </a:cubicBezTo>
                <a:close/>
                <a:moveTo>
                  <a:pt x="411" y="752"/>
                </a:moveTo>
                <a:cubicBezTo>
                  <a:pt x="409" y="753"/>
                  <a:pt x="409" y="751"/>
                  <a:pt x="411" y="752"/>
                </a:cubicBezTo>
                <a:close/>
                <a:moveTo>
                  <a:pt x="408" y="748"/>
                </a:moveTo>
                <a:cubicBezTo>
                  <a:pt x="408" y="749"/>
                  <a:pt x="407" y="748"/>
                  <a:pt x="407" y="747"/>
                </a:cubicBezTo>
                <a:cubicBezTo>
                  <a:pt x="407" y="746"/>
                  <a:pt x="409" y="747"/>
                  <a:pt x="408" y="748"/>
                </a:cubicBezTo>
                <a:close/>
                <a:moveTo>
                  <a:pt x="408" y="709"/>
                </a:moveTo>
                <a:cubicBezTo>
                  <a:pt x="409" y="709"/>
                  <a:pt x="408" y="710"/>
                  <a:pt x="408" y="710"/>
                </a:cubicBezTo>
                <a:cubicBezTo>
                  <a:pt x="407" y="709"/>
                  <a:pt x="408" y="709"/>
                  <a:pt x="408" y="709"/>
                </a:cubicBezTo>
                <a:close/>
                <a:moveTo>
                  <a:pt x="412" y="720"/>
                </a:moveTo>
                <a:cubicBezTo>
                  <a:pt x="413" y="721"/>
                  <a:pt x="412" y="722"/>
                  <a:pt x="411" y="721"/>
                </a:cubicBezTo>
                <a:cubicBezTo>
                  <a:pt x="411" y="721"/>
                  <a:pt x="412" y="720"/>
                  <a:pt x="412" y="720"/>
                </a:cubicBezTo>
                <a:close/>
                <a:moveTo>
                  <a:pt x="412" y="701"/>
                </a:moveTo>
                <a:cubicBezTo>
                  <a:pt x="413" y="700"/>
                  <a:pt x="415" y="699"/>
                  <a:pt x="417" y="700"/>
                </a:cubicBezTo>
                <a:cubicBezTo>
                  <a:pt x="417" y="699"/>
                  <a:pt x="416" y="699"/>
                  <a:pt x="417" y="698"/>
                </a:cubicBezTo>
                <a:cubicBezTo>
                  <a:pt x="417" y="697"/>
                  <a:pt x="420" y="698"/>
                  <a:pt x="420" y="698"/>
                </a:cubicBezTo>
                <a:cubicBezTo>
                  <a:pt x="420" y="699"/>
                  <a:pt x="419" y="700"/>
                  <a:pt x="418" y="700"/>
                </a:cubicBezTo>
                <a:cubicBezTo>
                  <a:pt x="418" y="700"/>
                  <a:pt x="418" y="700"/>
                  <a:pt x="418" y="700"/>
                </a:cubicBezTo>
                <a:cubicBezTo>
                  <a:pt x="416" y="701"/>
                  <a:pt x="414" y="700"/>
                  <a:pt x="412" y="701"/>
                </a:cubicBezTo>
                <a:close/>
                <a:moveTo>
                  <a:pt x="419" y="727"/>
                </a:moveTo>
                <a:cubicBezTo>
                  <a:pt x="420" y="728"/>
                  <a:pt x="419" y="728"/>
                  <a:pt x="419" y="728"/>
                </a:cubicBezTo>
                <a:cubicBezTo>
                  <a:pt x="416" y="729"/>
                  <a:pt x="418" y="726"/>
                  <a:pt x="419" y="727"/>
                </a:cubicBezTo>
                <a:close/>
                <a:moveTo>
                  <a:pt x="420" y="706"/>
                </a:moveTo>
                <a:cubicBezTo>
                  <a:pt x="418" y="707"/>
                  <a:pt x="419" y="705"/>
                  <a:pt x="420" y="706"/>
                </a:cubicBezTo>
                <a:close/>
                <a:moveTo>
                  <a:pt x="415" y="681"/>
                </a:moveTo>
                <a:cubicBezTo>
                  <a:pt x="418" y="679"/>
                  <a:pt x="422" y="679"/>
                  <a:pt x="425" y="679"/>
                </a:cubicBezTo>
                <a:cubicBezTo>
                  <a:pt x="422" y="681"/>
                  <a:pt x="419" y="680"/>
                  <a:pt x="415" y="681"/>
                </a:cubicBezTo>
                <a:close/>
                <a:moveTo>
                  <a:pt x="414" y="562"/>
                </a:moveTo>
                <a:cubicBezTo>
                  <a:pt x="412" y="562"/>
                  <a:pt x="415" y="560"/>
                  <a:pt x="414" y="562"/>
                </a:cubicBezTo>
                <a:cubicBezTo>
                  <a:pt x="414" y="562"/>
                  <a:pt x="414" y="562"/>
                  <a:pt x="414" y="562"/>
                </a:cubicBezTo>
                <a:close/>
                <a:moveTo>
                  <a:pt x="413" y="170"/>
                </a:moveTo>
                <a:cubicBezTo>
                  <a:pt x="413" y="168"/>
                  <a:pt x="418" y="167"/>
                  <a:pt x="419" y="169"/>
                </a:cubicBezTo>
                <a:cubicBezTo>
                  <a:pt x="420" y="173"/>
                  <a:pt x="413" y="172"/>
                  <a:pt x="413" y="170"/>
                </a:cubicBezTo>
                <a:close/>
                <a:moveTo>
                  <a:pt x="416" y="113"/>
                </a:moveTo>
                <a:cubicBezTo>
                  <a:pt x="417" y="112"/>
                  <a:pt x="418" y="113"/>
                  <a:pt x="417" y="113"/>
                </a:cubicBezTo>
                <a:cubicBezTo>
                  <a:pt x="417" y="114"/>
                  <a:pt x="416" y="114"/>
                  <a:pt x="416" y="113"/>
                </a:cubicBezTo>
                <a:close/>
                <a:moveTo>
                  <a:pt x="414" y="113"/>
                </a:moveTo>
                <a:cubicBezTo>
                  <a:pt x="414" y="112"/>
                  <a:pt x="416" y="111"/>
                  <a:pt x="417" y="111"/>
                </a:cubicBezTo>
                <a:cubicBezTo>
                  <a:pt x="416" y="112"/>
                  <a:pt x="415" y="112"/>
                  <a:pt x="414" y="113"/>
                </a:cubicBezTo>
                <a:close/>
                <a:moveTo>
                  <a:pt x="420" y="274"/>
                </a:moveTo>
                <a:cubicBezTo>
                  <a:pt x="421" y="276"/>
                  <a:pt x="418" y="277"/>
                  <a:pt x="417" y="278"/>
                </a:cubicBezTo>
                <a:cubicBezTo>
                  <a:pt x="417" y="277"/>
                  <a:pt x="419" y="276"/>
                  <a:pt x="420" y="274"/>
                </a:cubicBezTo>
                <a:close/>
                <a:moveTo>
                  <a:pt x="420" y="122"/>
                </a:moveTo>
                <a:cubicBezTo>
                  <a:pt x="419" y="122"/>
                  <a:pt x="420" y="122"/>
                  <a:pt x="420" y="122"/>
                </a:cubicBezTo>
                <a:close/>
                <a:moveTo>
                  <a:pt x="421" y="543"/>
                </a:moveTo>
                <a:cubicBezTo>
                  <a:pt x="422" y="545"/>
                  <a:pt x="417" y="547"/>
                  <a:pt x="417" y="544"/>
                </a:cubicBezTo>
                <a:cubicBezTo>
                  <a:pt x="416" y="542"/>
                  <a:pt x="421" y="541"/>
                  <a:pt x="421" y="543"/>
                </a:cubicBezTo>
                <a:close/>
                <a:moveTo>
                  <a:pt x="416" y="450"/>
                </a:moveTo>
                <a:cubicBezTo>
                  <a:pt x="416" y="449"/>
                  <a:pt x="418" y="450"/>
                  <a:pt x="416" y="450"/>
                </a:cubicBezTo>
                <a:close/>
                <a:moveTo>
                  <a:pt x="419" y="512"/>
                </a:moveTo>
                <a:cubicBezTo>
                  <a:pt x="418" y="511"/>
                  <a:pt x="420" y="511"/>
                  <a:pt x="419" y="512"/>
                </a:cubicBezTo>
                <a:close/>
                <a:moveTo>
                  <a:pt x="421" y="496"/>
                </a:moveTo>
                <a:cubicBezTo>
                  <a:pt x="422" y="496"/>
                  <a:pt x="421" y="497"/>
                  <a:pt x="420" y="497"/>
                </a:cubicBezTo>
                <a:cubicBezTo>
                  <a:pt x="419" y="498"/>
                  <a:pt x="420" y="495"/>
                  <a:pt x="421" y="496"/>
                </a:cubicBezTo>
                <a:close/>
                <a:moveTo>
                  <a:pt x="416" y="391"/>
                </a:moveTo>
                <a:cubicBezTo>
                  <a:pt x="416" y="390"/>
                  <a:pt x="419" y="387"/>
                  <a:pt x="421" y="386"/>
                </a:cubicBezTo>
                <a:cubicBezTo>
                  <a:pt x="420" y="388"/>
                  <a:pt x="414" y="394"/>
                  <a:pt x="416" y="391"/>
                </a:cubicBezTo>
                <a:close/>
                <a:moveTo>
                  <a:pt x="414" y="228"/>
                </a:moveTo>
                <a:cubicBezTo>
                  <a:pt x="414" y="227"/>
                  <a:pt x="417" y="226"/>
                  <a:pt x="417" y="228"/>
                </a:cubicBezTo>
                <a:cubicBezTo>
                  <a:pt x="417" y="229"/>
                  <a:pt x="414" y="229"/>
                  <a:pt x="414" y="228"/>
                </a:cubicBezTo>
                <a:close/>
                <a:moveTo>
                  <a:pt x="417" y="173"/>
                </a:moveTo>
                <a:cubicBezTo>
                  <a:pt x="417" y="173"/>
                  <a:pt x="418" y="172"/>
                  <a:pt x="419" y="173"/>
                </a:cubicBezTo>
                <a:cubicBezTo>
                  <a:pt x="420" y="174"/>
                  <a:pt x="417" y="174"/>
                  <a:pt x="417" y="173"/>
                </a:cubicBezTo>
                <a:close/>
                <a:moveTo>
                  <a:pt x="417" y="151"/>
                </a:moveTo>
                <a:cubicBezTo>
                  <a:pt x="418" y="150"/>
                  <a:pt x="418" y="150"/>
                  <a:pt x="419" y="149"/>
                </a:cubicBezTo>
                <a:cubicBezTo>
                  <a:pt x="419" y="150"/>
                  <a:pt x="418" y="151"/>
                  <a:pt x="417" y="151"/>
                </a:cubicBezTo>
                <a:close/>
                <a:moveTo>
                  <a:pt x="415" y="454"/>
                </a:moveTo>
                <a:cubicBezTo>
                  <a:pt x="415" y="454"/>
                  <a:pt x="415" y="455"/>
                  <a:pt x="414" y="454"/>
                </a:cubicBezTo>
                <a:cubicBezTo>
                  <a:pt x="413" y="453"/>
                  <a:pt x="417" y="452"/>
                  <a:pt x="415" y="454"/>
                </a:cubicBezTo>
                <a:close/>
                <a:moveTo>
                  <a:pt x="417" y="583"/>
                </a:moveTo>
                <a:cubicBezTo>
                  <a:pt x="416" y="584"/>
                  <a:pt x="416" y="583"/>
                  <a:pt x="415" y="583"/>
                </a:cubicBezTo>
                <a:cubicBezTo>
                  <a:pt x="415" y="583"/>
                  <a:pt x="417" y="582"/>
                  <a:pt x="417" y="583"/>
                </a:cubicBezTo>
                <a:close/>
                <a:moveTo>
                  <a:pt x="416" y="610"/>
                </a:moveTo>
                <a:cubicBezTo>
                  <a:pt x="416" y="610"/>
                  <a:pt x="417" y="610"/>
                  <a:pt x="417" y="610"/>
                </a:cubicBezTo>
                <a:cubicBezTo>
                  <a:pt x="417" y="611"/>
                  <a:pt x="415" y="610"/>
                  <a:pt x="416" y="610"/>
                </a:cubicBezTo>
                <a:close/>
                <a:moveTo>
                  <a:pt x="416" y="575"/>
                </a:moveTo>
                <a:cubicBezTo>
                  <a:pt x="417" y="573"/>
                  <a:pt x="419" y="568"/>
                  <a:pt x="422" y="567"/>
                </a:cubicBezTo>
                <a:cubicBezTo>
                  <a:pt x="419" y="570"/>
                  <a:pt x="419" y="573"/>
                  <a:pt x="416" y="575"/>
                </a:cubicBezTo>
                <a:close/>
                <a:moveTo>
                  <a:pt x="423" y="167"/>
                </a:moveTo>
                <a:cubicBezTo>
                  <a:pt x="423" y="167"/>
                  <a:pt x="422" y="168"/>
                  <a:pt x="422" y="167"/>
                </a:cubicBezTo>
                <a:cubicBezTo>
                  <a:pt x="421" y="166"/>
                  <a:pt x="423" y="165"/>
                  <a:pt x="423" y="167"/>
                </a:cubicBezTo>
                <a:close/>
                <a:moveTo>
                  <a:pt x="422" y="155"/>
                </a:moveTo>
                <a:cubicBezTo>
                  <a:pt x="421" y="154"/>
                  <a:pt x="424" y="155"/>
                  <a:pt x="422" y="155"/>
                </a:cubicBezTo>
                <a:close/>
                <a:moveTo>
                  <a:pt x="427" y="156"/>
                </a:moveTo>
                <a:cubicBezTo>
                  <a:pt x="427" y="157"/>
                  <a:pt x="423" y="158"/>
                  <a:pt x="423" y="156"/>
                </a:cubicBezTo>
                <a:cubicBezTo>
                  <a:pt x="422" y="154"/>
                  <a:pt x="427" y="153"/>
                  <a:pt x="427" y="156"/>
                </a:cubicBezTo>
                <a:close/>
                <a:moveTo>
                  <a:pt x="424" y="154"/>
                </a:moveTo>
                <a:cubicBezTo>
                  <a:pt x="424" y="152"/>
                  <a:pt x="426" y="153"/>
                  <a:pt x="424" y="154"/>
                </a:cubicBezTo>
                <a:close/>
                <a:moveTo>
                  <a:pt x="441" y="90"/>
                </a:moveTo>
                <a:cubicBezTo>
                  <a:pt x="442" y="90"/>
                  <a:pt x="441" y="91"/>
                  <a:pt x="441" y="92"/>
                </a:cubicBezTo>
                <a:cubicBezTo>
                  <a:pt x="441" y="95"/>
                  <a:pt x="437" y="95"/>
                  <a:pt x="436" y="94"/>
                </a:cubicBezTo>
                <a:cubicBezTo>
                  <a:pt x="436" y="94"/>
                  <a:pt x="436" y="94"/>
                  <a:pt x="436" y="94"/>
                </a:cubicBezTo>
                <a:cubicBezTo>
                  <a:pt x="436" y="94"/>
                  <a:pt x="436" y="94"/>
                  <a:pt x="436" y="94"/>
                </a:cubicBezTo>
                <a:cubicBezTo>
                  <a:pt x="432" y="94"/>
                  <a:pt x="437" y="85"/>
                  <a:pt x="441" y="90"/>
                </a:cubicBezTo>
                <a:close/>
                <a:moveTo>
                  <a:pt x="439" y="86"/>
                </a:moveTo>
                <a:cubicBezTo>
                  <a:pt x="439" y="87"/>
                  <a:pt x="438" y="86"/>
                  <a:pt x="439" y="86"/>
                </a:cubicBezTo>
                <a:close/>
                <a:moveTo>
                  <a:pt x="443" y="128"/>
                </a:moveTo>
                <a:cubicBezTo>
                  <a:pt x="443" y="127"/>
                  <a:pt x="445" y="126"/>
                  <a:pt x="446" y="128"/>
                </a:cubicBezTo>
                <a:cubicBezTo>
                  <a:pt x="447" y="130"/>
                  <a:pt x="443" y="129"/>
                  <a:pt x="443" y="128"/>
                </a:cubicBezTo>
                <a:close/>
                <a:moveTo>
                  <a:pt x="447" y="192"/>
                </a:moveTo>
                <a:cubicBezTo>
                  <a:pt x="448" y="193"/>
                  <a:pt x="447" y="194"/>
                  <a:pt x="447" y="194"/>
                </a:cubicBezTo>
                <a:cubicBezTo>
                  <a:pt x="444" y="194"/>
                  <a:pt x="446" y="191"/>
                  <a:pt x="447" y="192"/>
                </a:cubicBezTo>
                <a:close/>
                <a:moveTo>
                  <a:pt x="449" y="220"/>
                </a:moveTo>
                <a:cubicBezTo>
                  <a:pt x="449" y="223"/>
                  <a:pt x="441" y="225"/>
                  <a:pt x="439" y="225"/>
                </a:cubicBezTo>
                <a:cubicBezTo>
                  <a:pt x="438" y="225"/>
                  <a:pt x="434" y="228"/>
                  <a:pt x="434" y="226"/>
                </a:cubicBezTo>
                <a:cubicBezTo>
                  <a:pt x="434" y="225"/>
                  <a:pt x="440" y="225"/>
                  <a:pt x="440" y="225"/>
                </a:cubicBezTo>
                <a:cubicBezTo>
                  <a:pt x="443" y="223"/>
                  <a:pt x="446" y="220"/>
                  <a:pt x="449" y="220"/>
                </a:cubicBezTo>
                <a:close/>
                <a:moveTo>
                  <a:pt x="448" y="177"/>
                </a:moveTo>
                <a:cubicBezTo>
                  <a:pt x="449" y="177"/>
                  <a:pt x="449" y="177"/>
                  <a:pt x="449" y="177"/>
                </a:cubicBezTo>
                <a:cubicBezTo>
                  <a:pt x="449" y="179"/>
                  <a:pt x="446" y="175"/>
                  <a:pt x="448" y="177"/>
                </a:cubicBezTo>
                <a:close/>
                <a:moveTo>
                  <a:pt x="451" y="187"/>
                </a:moveTo>
                <a:cubicBezTo>
                  <a:pt x="452" y="188"/>
                  <a:pt x="450" y="189"/>
                  <a:pt x="449" y="188"/>
                </a:cubicBezTo>
                <a:cubicBezTo>
                  <a:pt x="448" y="187"/>
                  <a:pt x="451" y="185"/>
                  <a:pt x="451" y="187"/>
                </a:cubicBezTo>
                <a:close/>
                <a:moveTo>
                  <a:pt x="442" y="608"/>
                </a:moveTo>
                <a:cubicBezTo>
                  <a:pt x="441" y="609"/>
                  <a:pt x="438" y="612"/>
                  <a:pt x="435" y="614"/>
                </a:cubicBezTo>
                <a:cubicBezTo>
                  <a:pt x="436" y="614"/>
                  <a:pt x="436" y="614"/>
                  <a:pt x="436" y="615"/>
                </a:cubicBezTo>
                <a:cubicBezTo>
                  <a:pt x="436" y="615"/>
                  <a:pt x="435" y="615"/>
                  <a:pt x="435" y="615"/>
                </a:cubicBezTo>
                <a:cubicBezTo>
                  <a:pt x="435" y="615"/>
                  <a:pt x="435" y="615"/>
                  <a:pt x="435" y="615"/>
                </a:cubicBezTo>
                <a:cubicBezTo>
                  <a:pt x="434" y="616"/>
                  <a:pt x="433" y="617"/>
                  <a:pt x="432" y="617"/>
                </a:cubicBezTo>
                <a:cubicBezTo>
                  <a:pt x="432" y="617"/>
                  <a:pt x="431" y="616"/>
                  <a:pt x="431" y="616"/>
                </a:cubicBezTo>
                <a:cubicBezTo>
                  <a:pt x="431" y="615"/>
                  <a:pt x="434" y="614"/>
                  <a:pt x="435" y="613"/>
                </a:cubicBezTo>
                <a:cubicBezTo>
                  <a:pt x="437" y="612"/>
                  <a:pt x="443" y="606"/>
                  <a:pt x="445" y="606"/>
                </a:cubicBezTo>
                <a:cubicBezTo>
                  <a:pt x="448" y="605"/>
                  <a:pt x="443" y="608"/>
                  <a:pt x="442" y="608"/>
                </a:cubicBezTo>
                <a:close/>
                <a:moveTo>
                  <a:pt x="444" y="648"/>
                </a:moveTo>
                <a:cubicBezTo>
                  <a:pt x="444" y="648"/>
                  <a:pt x="442" y="648"/>
                  <a:pt x="442" y="648"/>
                </a:cubicBezTo>
                <a:cubicBezTo>
                  <a:pt x="442" y="647"/>
                  <a:pt x="444" y="647"/>
                  <a:pt x="444" y="648"/>
                </a:cubicBezTo>
                <a:close/>
                <a:moveTo>
                  <a:pt x="442" y="648"/>
                </a:moveTo>
                <a:cubicBezTo>
                  <a:pt x="440" y="649"/>
                  <a:pt x="440" y="646"/>
                  <a:pt x="442" y="648"/>
                </a:cubicBezTo>
                <a:close/>
                <a:moveTo>
                  <a:pt x="429" y="656"/>
                </a:moveTo>
                <a:cubicBezTo>
                  <a:pt x="429" y="655"/>
                  <a:pt x="431" y="655"/>
                  <a:pt x="431" y="656"/>
                </a:cubicBezTo>
                <a:cubicBezTo>
                  <a:pt x="431" y="657"/>
                  <a:pt x="430" y="657"/>
                  <a:pt x="429" y="656"/>
                </a:cubicBezTo>
                <a:close/>
                <a:moveTo>
                  <a:pt x="430" y="686"/>
                </a:moveTo>
                <a:cubicBezTo>
                  <a:pt x="429" y="689"/>
                  <a:pt x="427" y="687"/>
                  <a:pt x="430" y="686"/>
                </a:cubicBezTo>
                <a:close/>
                <a:moveTo>
                  <a:pt x="436" y="241"/>
                </a:moveTo>
                <a:cubicBezTo>
                  <a:pt x="436" y="242"/>
                  <a:pt x="434" y="244"/>
                  <a:pt x="432" y="246"/>
                </a:cubicBezTo>
                <a:cubicBezTo>
                  <a:pt x="433" y="244"/>
                  <a:pt x="435" y="242"/>
                  <a:pt x="436" y="241"/>
                </a:cubicBezTo>
                <a:close/>
                <a:moveTo>
                  <a:pt x="434" y="216"/>
                </a:moveTo>
                <a:cubicBezTo>
                  <a:pt x="434" y="215"/>
                  <a:pt x="435" y="215"/>
                  <a:pt x="436" y="216"/>
                </a:cubicBezTo>
                <a:cubicBezTo>
                  <a:pt x="436" y="217"/>
                  <a:pt x="434" y="217"/>
                  <a:pt x="434" y="216"/>
                </a:cubicBezTo>
                <a:close/>
                <a:moveTo>
                  <a:pt x="436" y="602"/>
                </a:moveTo>
                <a:cubicBezTo>
                  <a:pt x="436" y="602"/>
                  <a:pt x="436" y="602"/>
                  <a:pt x="435" y="602"/>
                </a:cubicBezTo>
                <a:cubicBezTo>
                  <a:pt x="435" y="602"/>
                  <a:pt x="436" y="601"/>
                  <a:pt x="436" y="602"/>
                </a:cubicBezTo>
                <a:close/>
                <a:moveTo>
                  <a:pt x="435" y="529"/>
                </a:moveTo>
                <a:cubicBezTo>
                  <a:pt x="434" y="529"/>
                  <a:pt x="435" y="527"/>
                  <a:pt x="436" y="528"/>
                </a:cubicBezTo>
                <a:cubicBezTo>
                  <a:pt x="436" y="529"/>
                  <a:pt x="435" y="529"/>
                  <a:pt x="435" y="529"/>
                </a:cubicBezTo>
                <a:close/>
                <a:moveTo>
                  <a:pt x="433" y="340"/>
                </a:moveTo>
                <a:cubicBezTo>
                  <a:pt x="433" y="341"/>
                  <a:pt x="432" y="342"/>
                  <a:pt x="431" y="342"/>
                </a:cubicBezTo>
                <a:cubicBezTo>
                  <a:pt x="431" y="341"/>
                  <a:pt x="432" y="341"/>
                  <a:pt x="433" y="340"/>
                </a:cubicBezTo>
                <a:close/>
                <a:moveTo>
                  <a:pt x="432" y="603"/>
                </a:moveTo>
                <a:cubicBezTo>
                  <a:pt x="431" y="604"/>
                  <a:pt x="431" y="601"/>
                  <a:pt x="432" y="602"/>
                </a:cubicBezTo>
                <a:cubicBezTo>
                  <a:pt x="433" y="602"/>
                  <a:pt x="432" y="603"/>
                  <a:pt x="432" y="603"/>
                </a:cubicBezTo>
                <a:close/>
                <a:moveTo>
                  <a:pt x="431" y="437"/>
                </a:moveTo>
                <a:cubicBezTo>
                  <a:pt x="433" y="438"/>
                  <a:pt x="430" y="440"/>
                  <a:pt x="429" y="441"/>
                </a:cubicBezTo>
                <a:cubicBezTo>
                  <a:pt x="426" y="442"/>
                  <a:pt x="430" y="435"/>
                  <a:pt x="431" y="437"/>
                </a:cubicBezTo>
                <a:close/>
                <a:moveTo>
                  <a:pt x="428" y="504"/>
                </a:moveTo>
                <a:cubicBezTo>
                  <a:pt x="429" y="503"/>
                  <a:pt x="427" y="506"/>
                  <a:pt x="428" y="504"/>
                </a:cubicBezTo>
                <a:close/>
                <a:moveTo>
                  <a:pt x="429" y="250"/>
                </a:moveTo>
                <a:cubicBezTo>
                  <a:pt x="429" y="252"/>
                  <a:pt x="427" y="251"/>
                  <a:pt x="429" y="250"/>
                </a:cubicBezTo>
                <a:close/>
                <a:moveTo>
                  <a:pt x="430" y="247"/>
                </a:moveTo>
                <a:cubicBezTo>
                  <a:pt x="430" y="247"/>
                  <a:pt x="429" y="248"/>
                  <a:pt x="429" y="248"/>
                </a:cubicBezTo>
                <a:cubicBezTo>
                  <a:pt x="428" y="247"/>
                  <a:pt x="430" y="246"/>
                  <a:pt x="430" y="247"/>
                </a:cubicBezTo>
                <a:close/>
                <a:moveTo>
                  <a:pt x="429" y="202"/>
                </a:moveTo>
                <a:cubicBezTo>
                  <a:pt x="428" y="201"/>
                  <a:pt x="430" y="200"/>
                  <a:pt x="431" y="202"/>
                </a:cubicBezTo>
                <a:cubicBezTo>
                  <a:pt x="431" y="202"/>
                  <a:pt x="430" y="203"/>
                  <a:pt x="429" y="202"/>
                </a:cubicBezTo>
                <a:close/>
                <a:moveTo>
                  <a:pt x="430" y="222"/>
                </a:moveTo>
                <a:cubicBezTo>
                  <a:pt x="430" y="223"/>
                  <a:pt x="428" y="225"/>
                  <a:pt x="426" y="223"/>
                </a:cubicBezTo>
                <a:cubicBezTo>
                  <a:pt x="425" y="221"/>
                  <a:pt x="430" y="218"/>
                  <a:pt x="430" y="222"/>
                </a:cubicBezTo>
                <a:close/>
                <a:moveTo>
                  <a:pt x="426" y="246"/>
                </a:moveTo>
                <a:cubicBezTo>
                  <a:pt x="423" y="248"/>
                  <a:pt x="426" y="241"/>
                  <a:pt x="427" y="243"/>
                </a:cubicBezTo>
                <a:cubicBezTo>
                  <a:pt x="428" y="243"/>
                  <a:pt x="426" y="246"/>
                  <a:pt x="426" y="246"/>
                </a:cubicBezTo>
                <a:close/>
                <a:moveTo>
                  <a:pt x="426" y="268"/>
                </a:moveTo>
                <a:cubicBezTo>
                  <a:pt x="426" y="267"/>
                  <a:pt x="427" y="267"/>
                  <a:pt x="427" y="266"/>
                </a:cubicBezTo>
                <a:cubicBezTo>
                  <a:pt x="428" y="266"/>
                  <a:pt x="427" y="268"/>
                  <a:pt x="426" y="268"/>
                </a:cubicBezTo>
                <a:close/>
                <a:moveTo>
                  <a:pt x="424" y="181"/>
                </a:moveTo>
                <a:cubicBezTo>
                  <a:pt x="424" y="180"/>
                  <a:pt x="426" y="180"/>
                  <a:pt x="426" y="180"/>
                </a:cubicBezTo>
                <a:cubicBezTo>
                  <a:pt x="426" y="180"/>
                  <a:pt x="425" y="182"/>
                  <a:pt x="424" y="181"/>
                </a:cubicBezTo>
                <a:close/>
                <a:moveTo>
                  <a:pt x="428" y="378"/>
                </a:moveTo>
                <a:cubicBezTo>
                  <a:pt x="428" y="380"/>
                  <a:pt x="425" y="382"/>
                  <a:pt x="424" y="383"/>
                </a:cubicBezTo>
                <a:cubicBezTo>
                  <a:pt x="425" y="381"/>
                  <a:pt x="426" y="379"/>
                  <a:pt x="428" y="378"/>
                </a:cubicBezTo>
                <a:close/>
                <a:moveTo>
                  <a:pt x="425" y="431"/>
                </a:moveTo>
                <a:cubicBezTo>
                  <a:pt x="425" y="432"/>
                  <a:pt x="423" y="432"/>
                  <a:pt x="423" y="433"/>
                </a:cubicBezTo>
                <a:cubicBezTo>
                  <a:pt x="422" y="432"/>
                  <a:pt x="424" y="432"/>
                  <a:pt x="425" y="431"/>
                </a:cubicBezTo>
                <a:close/>
                <a:moveTo>
                  <a:pt x="424" y="448"/>
                </a:moveTo>
                <a:cubicBezTo>
                  <a:pt x="425" y="449"/>
                  <a:pt x="423" y="449"/>
                  <a:pt x="424" y="448"/>
                </a:cubicBezTo>
                <a:close/>
                <a:moveTo>
                  <a:pt x="431" y="549"/>
                </a:moveTo>
                <a:cubicBezTo>
                  <a:pt x="428" y="552"/>
                  <a:pt x="425" y="556"/>
                  <a:pt x="423" y="558"/>
                </a:cubicBezTo>
                <a:cubicBezTo>
                  <a:pt x="424" y="556"/>
                  <a:pt x="428" y="550"/>
                  <a:pt x="431" y="549"/>
                </a:cubicBezTo>
                <a:close/>
                <a:moveTo>
                  <a:pt x="426" y="585"/>
                </a:moveTo>
                <a:cubicBezTo>
                  <a:pt x="425" y="583"/>
                  <a:pt x="429" y="585"/>
                  <a:pt x="426" y="585"/>
                </a:cubicBezTo>
                <a:close/>
                <a:moveTo>
                  <a:pt x="427" y="565"/>
                </a:moveTo>
                <a:cubicBezTo>
                  <a:pt x="427" y="564"/>
                  <a:pt x="428" y="564"/>
                  <a:pt x="428" y="564"/>
                </a:cubicBezTo>
                <a:cubicBezTo>
                  <a:pt x="428" y="564"/>
                  <a:pt x="427" y="565"/>
                  <a:pt x="427" y="565"/>
                </a:cubicBezTo>
                <a:close/>
                <a:moveTo>
                  <a:pt x="431" y="619"/>
                </a:moveTo>
                <a:cubicBezTo>
                  <a:pt x="431" y="621"/>
                  <a:pt x="425" y="622"/>
                  <a:pt x="426" y="619"/>
                </a:cubicBezTo>
                <a:cubicBezTo>
                  <a:pt x="426" y="618"/>
                  <a:pt x="431" y="617"/>
                  <a:pt x="431" y="619"/>
                </a:cubicBezTo>
                <a:close/>
                <a:moveTo>
                  <a:pt x="433" y="635"/>
                </a:moveTo>
                <a:cubicBezTo>
                  <a:pt x="431" y="637"/>
                  <a:pt x="428" y="638"/>
                  <a:pt x="425" y="639"/>
                </a:cubicBezTo>
                <a:cubicBezTo>
                  <a:pt x="427" y="637"/>
                  <a:pt x="431" y="636"/>
                  <a:pt x="433" y="635"/>
                </a:cubicBezTo>
                <a:close/>
                <a:moveTo>
                  <a:pt x="432" y="642"/>
                </a:moveTo>
                <a:cubicBezTo>
                  <a:pt x="432" y="643"/>
                  <a:pt x="431" y="642"/>
                  <a:pt x="431" y="642"/>
                </a:cubicBezTo>
                <a:cubicBezTo>
                  <a:pt x="430" y="641"/>
                  <a:pt x="432" y="641"/>
                  <a:pt x="432" y="642"/>
                </a:cubicBezTo>
                <a:close/>
                <a:moveTo>
                  <a:pt x="431" y="686"/>
                </a:moveTo>
                <a:cubicBezTo>
                  <a:pt x="431" y="686"/>
                  <a:pt x="431" y="686"/>
                  <a:pt x="431" y="686"/>
                </a:cubicBezTo>
                <a:cubicBezTo>
                  <a:pt x="430" y="686"/>
                  <a:pt x="431" y="685"/>
                  <a:pt x="431" y="686"/>
                </a:cubicBezTo>
                <a:close/>
                <a:moveTo>
                  <a:pt x="431" y="678"/>
                </a:moveTo>
                <a:cubicBezTo>
                  <a:pt x="431" y="677"/>
                  <a:pt x="435" y="677"/>
                  <a:pt x="436" y="678"/>
                </a:cubicBezTo>
                <a:cubicBezTo>
                  <a:pt x="436" y="679"/>
                  <a:pt x="431" y="680"/>
                  <a:pt x="431" y="678"/>
                </a:cubicBezTo>
                <a:close/>
                <a:moveTo>
                  <a:pt x="433" y="675"/>
                </a:moveTo>
                <a:cubicBezTo>
                  <a:pt x="432" y="677"/>
                  <a:pt x="434" y="674"/>
                  <a:pt x="433" y="675"/>
                </a:cubicBezTo>
                <a:close/>
                <a:moveTo>
                  <a:pt x="431" y="649"/>
                </a:moveTo>
                <a:cubicBezTo>
                  <a:pt x="431" y="646"/>
                  <a:pt x="437" y="647"/>
                  <a:pt x="437" y="650"/>
                </a:cubicBezTo>
                <a:cubicBezTo>
                  <a:pt x="437" y="652"/>
                  <a:pt x="430" y="652"/>
                  <a:pt x="431" y="649"/>
                </a:cubicBezTo>
                <a:close/>
                <a:moveTo>
                  <a:pt x="436" y="638"/>
                </a:moveTo>
                <a:cubicBezTo>
                  <a:pt x="437" y="639"/>
                  <a:pt x="436" y="640"/>
                  <a:pt x="435" y="640"/>
                </a:cubicBezTo>
                <a:cubicBezTo>
                  <a:pt x="433" y="642"/>
                  <a:pt x="435" y="636"/>
                  <a:pt x="436" y="638"/>
                </a:cubicBezTo>
                <a:close/>
                <a:moveTo>
                  <a:pt x="433" y="635"/>
                </a:moveTo>
                <a:cubicBezTo>
                  <a:pt x="435" y="635"/>
                  <a:pt x="436" y="633"/>
                  <a:pt x="437" y="634"/>
                </a:cubicBezTo>
                <a:cubicBezTo>
                  <a:pt x="436" y="635"/>
                  <a:pt x="435" y="635"/>
                  <a:pt x="433" y="635"/>
                </a:cubicBezTo>
                <a:close/>
                <a:moveTo>
                  <a:pt x="438" y="700"/>
                </a:moveTo>
                <a:cubicBezTo>
                  <a:pt x="438" y="701"/>
                  <a:pt x="437" y="700"/>
                  <a:pt x="437" y="700"/>
                </a:cubicBezTo>
                <a:cubicBezTo>
                  <a:pt x="437" y="699"/>
                  <a:pt x="438" y="700"/>
                  <a:pt x="438" y="700"/>
                </a:cubicBezTo>
                <a:close/>
                <a:moveTo>
                  <a:pt x="446" y="410"/>
                </a:moveTo>
                <a:cubicBezTo>
                  <a:pt x="444" y="411"/>
                  <a:pt x="441" y="414"/>
                  <a:pt x="438" y="415"/>
                </a:cubicBezTo>
                <a:cubicBezTo>
                  <a:pt x="440" y="413"/>
                  <a:pt x="443" y="411"/>
                  <a:pt x="446" y="410"/>
                </a:cubicBezTo>
                <a:close/>
                <a:moveTo>
                  <a:pt x="442" y="225"/>
                </a:moveTo>
                <a:cubicBezTo>
                  <a:pt x="442" y="225"/>
                  <a:pt x="444" y="224"/>
                  <a:pt x="445" y="224"/>
                </a:cubicBezTo>
                <a:cubicBezTo>
                  <a:pt x="445" y="225"/>
                  <a:pt x="443" y="226"/>
                  <a:pt x="442" y="225"/>
                </a:cubicBezTo>
                <a:close/>
                <a:moveTo>
                  <a:pt x="446" y="565"/>
                </a:moveTo>
                <a:cubicBezTo>
                  <a:pt x="445" y="565"/>
                  <a:pt x="445" y="565"/>
                  <a:pt x="445" y="565"/>
                </a:cubicBezTo>
                <a:cubicBezTo>
                  <a:pt x="445" y="565"/>
                  <a:pt x="445" y="565"/>
                  <a:pt x="445" y="565"/>
                </a:cubicBezTo>
                <a:cubicBezTo>
                  <a:pt x="445" y="565"/>
                  <a:pt x="445" y="565"/>
                  <a:pt x="446" y="565"/>
                </a:cubicBezTo>
                <a:close/>
                <a:moveTo>
                  <a:pt x="442" y="577"/>
                </a:moveTo>
                <a:cubicBezTo>
                  <a:pt x="442" y="578"/>
                  <a:pt x="441" y="578"/>
                  <a:pt x="441" y="577"/>
                </a:cubicBezTo>
                <a:cubicBezTo>
                  <a:pt x="440" y="575"/>
                  <a:pt x="443" y="576"/>
                  <a:pt x="442" y="577"/>
                </a:cubicBezTo>
                <a:close/>
                <a:moveTo>
                  <a:pt x="440" y="539"/>
                </a:moveTo>
                <a:cubicBezTo>
                  <a:pt x="441" y="539"/>
                  <a:pt x="442" y="540"/>
                  <a:pt x="441" y="540"/>
                </a:cubicBezTo>
                <a:cubicBezTo>
                  <a:pt x="440" y="541"/>
                  <a:pt x="440" y="540"/>
                  <a:pt x="440" y="539"/>
                </a:cubicBezTo>
                <a:close/>
                <a:moveTo>
                  <a:pt x="438" y="393"/>
                </a:moveTo>
                <a:cubicBezTo>
                  <a:pt x="439" y="392"/>
                  <a:pt x="437" y="395"/>
                  <a:pt x="438" y="393"/>
                </a:cubicBezTo>
                <a:close/>
                <a:moveTo>
                  <a:pt x="438" y="497"/>
                </a:moveTo>
                <a:cubicBezTo>
                  <a:pt x="438" y="497"/>
                  <a:pt x="438" y="497"/>
                  <a:pt x="438" y="497"/>
                </a:cubicBezTo>
                <a:cubicBezTo>
                  <a:pt x="438" y="497"/>
                  <a:pt x="438" y="497"/>
                  <a:pt x="438" y="497"/>
                </a:cubicBezTo>
                <a:close/>
                <a:moveTo>
                  <a:pt x="437" y="241"/>
                </a:moveTo>
                <a:cubicBezTo>
                  <a:pt x="437" y="241"/>
                  <a:pt x="437" y="239"/>
                  <a:pt x="438" y="239"/>
                </a:cubicBezTo>
                <a:cubicBezTo>
                  <a:pt x="439" y="239"/>
                  <a:pt x="437" y="241"/>
                  <a:pt x="437" y="241"/>
                </a:cubicBezTo>
                <a:close/>
                <a:moveTo>
                  <a:pt x="438" y="174"/>
                </a:moveTo>
                <a:cubicBezTo>
                  <a:pt x="439" y="175"/>
                  <a:pt x="437" y="175"/>
                  <a:pt x="437" y="175"/>
                </a:cubicBezTo>
                <a:cubicBezTo>
                  <a:pt x="436" y="174"/>
                  <a:pt x="438" y="174"/>
                  <a:pt x="438" y="174"/>
                </a:cubicBezTo>
                <a:close/>
                <a:moveTo>
                  <a:pt x="435" y="167"/>
                </a:moveTo>
                <a:cubicBezTo>
                  <a:pt x="435" y="166"/>
                  <a:pt x="437" y="165"/>
                  <a:pt x="437" y="167"/>
                </a:cubicBezTo>
                <a:cubicBezTo>
                  <a:pt x="437" y="168"/>
                  <a:pt x="435" y="168"/>
                  <a:pt x="435" y="167"/>
                </a:cubicBezTo>
                <a:close/>
                <a:moveTo>
                  <a:pt x="441" y="117"/>
                </a:moveTo>
                <a:cubicBezTo>
                  <a:pt x="441" y="118"/>
                  <a:pt x="437" y="119"/>
                  <a:pt x="437" y="117"/>
                </a:cubicBezTo>
                <a:cubicBezTo>
                  <a:pt x="437" y="117"/>
                  <a:pt x="441" y="115"/>
                  <a:pt x="441" y="117"/>
                </a:cubicBezTo>
                <a:close/>
                <a:moveTo>
                  <a:pt x="439" y="97"/>
                </a:moveTo>
                <a:cubicBezTo>
                  <a:pt x="439" y="97"/>
                  <a:pt x="438" y="98"/>
                  <a:pt x="437" y="97"/>
                </a:cubicBezTo>
                <a:cubicBezTo>
                  <a:pt x="437" y="96"/>
                  <a:pt x="438" y="96"/>
                  <a:pt x="439" y="97"/>
                </a:cubicBezTo>
                <a:close/>
                <a:moveTo>
                  <a:pt x="442" y="132"/>
                </a:moveTo>
                <a:cubicBezTo>
                  <a:pt x="442" y="132"/>
                  <a:pt x="440" y="133"/>
                  <a:pt x="440" y="133"/>
                </a:cubicBezTo>
                <a:cubicBezTo>
                  <a:pt x="440" y="132"/>
                  <a:pt x="442" y="132"/>
                  <a:pt x="442" y="132"/>
                </a:cubicBezTo>
                <a:close/>
                <a:moveTo>
                  <a:pt x="439" y="214"/>
                </a:moveTo>
                <a:cubicBezTo>
                  <a:pt x="438" y="214"/>
                  <a:pt x="439" y="213"/>
                  <a:pt x="439" y="213"/>
                </a:cubicBezTo>
                <a:cubicBezTo>
                  <a:pt x="440" y="213"/>
                  <a:pt x="439" y="214"/>
                  <a:pt x="439" y="214"/>
                </a:cubicBezTo>
                <a:close/>
                <a:moveTo>
                  <a:pt x="439" y="166"/>
                </a:moveTo>
                <a:cubicBezTo>
                  <a:pt x="439" y="167"/>
                  <a:pt x="437" y="167"/>
                  <a:pt x="438" y="166"/>
                </a:cubicBezTo>
                <a:cubicBezTo>
                  <a:pt x="438" y="166"/>
                  <a:pt x="438" y="166"/>
                  <a:pt x="439" y="166"/>
                </a:cubicBezTo>
                <a:close/>
                <a:moveTo>
                  <a:pt x="437" y="216"/>
                </a:moveTo>
                <a:cubicBezTo>
                  <a:pt x="437" y="216"/>
                  <a:pt x="438" y="215"/>
                  <a:pt x="438" y="215"/>
                </a:cubicBezTo>
                <a:cubicBezTo>
                  <a:pt x="438" y="215"/>
                  <a:pt x="437" y="217"/>
                  <a:pt x="437" y="216"/>
                </a:cubicBezTo>
                <a:close/>
                <a:moveTo>
                  <a:pt x="441" y="121"/>
                </a:moveTo>
                <a:cubicBezTo>
                  <a:pt x="441" y="121"/>
                  <a:pt x="442" y="121"/>
                  <a:pt x="442" y="121"/>
                </a:cubicBezTo>
                <a:cubicBezTo>
                  <a:pt x="443" y="122"/>
                  <a:pt x="441" y="122"/>
                  <a:pt x="441" y="121"/>
                </a:cubicBezTo>
                <a:close/>
                <a:moveTo>
                  <a:pt x="442" y="79"/>
                </a:moveTo>
                <a:cubicBezTo>
                  <a:pt x="441" y="80"/>
                  <a:pt x="441" y="79"/>
                  <a:pt x="442" y="79"/>
                </a:cubicBezTo>
                <a:close/>
                <a:moveTo>
                  <a:pt x="435" y="194"/>
                </a:moveTo>
                <a:cubicBezTo>
                  <a:pt x="435" y="194"/>
                  <a:pt x="437" y="193"/>
                  <a:pt x="436" y="194"/>
                </a:cubicBezTo>
                <a:cubicBezTo>
                  <a:pt x="434" y="197"/>
                  <a:pt x="430" y="199"/>
                  <a:pt x="426" y="200"/>
                </a:cubicBezTo>
                <a:cubicBezTo>
                  <a:pt x="429" y="198"/>
                  <a:pt x="433" y="195"/>
                  <a:pt x="435" y="194"/>
                </a:cubicBezTo>
                <a:close/>
                <a:moveTo>
                  <a:pt x="430" y="161"/>
                </a:moveTo>
                <a:cubicBezTo>
                  <a:pt x="431" y="159"/>
                  <a:pt x="433" y="159"/>
                  <a:pt x="434" y="158"/>
                </a:cubicBezTo>
                <a:cubicBezTo>
                  <a:pt x="434" y="159"/>
                  <a:pt x="432" y="161"/>
                  <a:pt x="430" y="161"/>
                </a:cubicBezTo>
                <a:close/>
                <a:moveTo>
                  <a:pt x="429" y="81"/>
                </a:moveTo>
                <a:cubicBezTo>
                  <a:pt x="431" y="80"/>
                  <a:pt x="432" y="79"/>
                  <a:pt x="434" y="78"/>
                </a:cubicBezTo>
                <a:cubicBezTo>
                  <a:pt x="434" y="80"/>
                  <a:pt x="431" y="81"/>
                  <a:pt x="429" y="81"/>
                </a:cubicBezTo>
                <a:close/>
                <a:moveTo>
                  <a:pt x="428" y="135"/>
                </a:moveTo>
                <a:cubicBezTo>
                  <a:pt x="431" y="133"/>
                  <a:pt x="432" y="135"/>
                  <a:pt x="428" y="135"/>
                </a:cubicBezTo>
                <a:close/>
                <a:moveTo>
                  <a:pt x="430" y="177"/>
                </a:moveTo>
                <a:cubicBezTo>
                  <a:pt x="430" y="178"/>
                  <a:pt x="428" y="179"/>
                  <a:pt x="427" y="179"/>
                </a:cubicBezTo>
                <a:cubicBezTo>
                  <a:pt x="428" y="178"/>
                  <a:pt x="429" y="178"/>
                  <a:pt x="430" y="177"/>
                </a:cubicBezTo>
                <a:close/>
                <a:moveTo>
                  <a:pt x="422" y="541"/>
                </a:moveTo>
                <a:cubicBezTo>
                  <a:pt x="421" y="543"/>
                  <a:pt x="423" y="540"/>
                  <a:pt x="422" y="541"/>
                </a:cubicBezTo>
                <a:close/>
                <a:moveTo>
                  <a:pt x="422" y="384"/>
                </a:moveTo>
                <a:cubicBezTo>
                  <a:pt x="422" y="384"/>
                  <a:pt x="422" y="384"/>
                  <a:pt x="422" y="384"/>
                </a:cubicBezTo>
                <a:cubicBezTo>
                  <a:pt x="422" y="384"/>
                  <a:pt x="423" y="384"/>
                  <a:pt x="423" y="384"/>
                </a:cubicBezTo>
                <a:cubicBezTo>
                  <a:pt x="422" y="384"/>
                  <a:pt x="422" y="384"/>
                  <a:pt x="422" y="384"/>
                </a:cubicBezTo>
                <a:close/>
                <a:moveTo>
                  <a:pt x="422" y="617"/>
                </a:moveTo>
                <a:cubicBezTo>
                  <a:pt x="422" y="618"/>
                  <a:pt x="421" y="617"/>
                  <a:pt x="421" y="617"/>
                </a:cubicBezTo>
                <a:cubicBezTo>
                  <a:pt x="420" y="617"/>
                  <a:pt x="422" y="616"/>
                  <a:pt x="422" y="617"/>
                </a:cubicBezTo>
                <a:close/>
                <a:moveTo>
                  <a:pt x="421" y="588"/>
                </a:moveTo>
                <a:cubicBezTo>
                  <a:pt x="420" y="588"/>
                  <a:pt x="419" y="589"/>
                  <a:pt x="420" y="587"/>
                </a:cubicBezTo>
                <a:cubicBezTo>
                  <a:pt x="420" y="587"/>
                  <a:pt x="421" y="587"/>
                  <a:pt x="421" y="588"/>
                </a:cubicBezTo>
                <a:close/>
                <a:moveTo>
                  <a:pt x="422" y="663"/>
                </a:moveTo>
                <a:cubicBezTo>
                  <a:pt x="423" y="663"/>
                  <a:pt x="422" y="664"/>
                  <a:pt x="421" y="664"/>
                </a:cubicBezTo>
                <a:cubicBezTo>
                  <a:pt x="419" y="665"/>
                  <a:pt x="421" y="662"/>
                  <a:pt x="422" y="663"/>
                </a:cubicBezTo>
                <a:close/>
                <a:moveTo>
                  <a:pt x="424" y="741"/>
                </a:moveTo>
                <a:cubicBezTo>
                  <a:pt x="424" y="742"/>
                  <a:pt x="423" y="742"/>
                  <a:pt x="423" y="741"/>
                </a:cubicBezTo>
                <a:cubicBezTo>
                  <a:pt x="422" y="740"/>
                  <a:pt x="424" y="740"/>
                  <a:pt x="424" y="741"/>
                </a:cubicBezTo>
                <a:close/>
                <a:moveTo>
                  <a:pt x="423" y="739"/>
                </a:moveTo>
                <a:cubicBezTo>
                  <a:pt x="422" y="741"/>
                  <a:pt x="421" y="738"/>
                  <a:pt x="423" y="739"/>
                </a:cubicBezTo>
                <a:close/>
                <a:moveTo>
                  <a:pt x="423" y="692"/>
                </a:moveTo>
                <a:cubicBezTo>
                  <a:pt x="422" y="691"/>
                  <a:pt x="425" y="691"/>
                  <a:pt x="425" y="692"/>
                </a:cubicBezTo>
                <a:cubicBezTo>
                  <a:pt x="425" y="692"/>
                  <a:pt x="423" y="693"/>
                  <a:pt x="423" y="692"/>
                </a:cubicBezTo>
                <a:close/>
                <a:moveTo>
                  <a:pt x="422" y="683"/>
                </a:moveTo>
                <a:cubicBezTo>
                  <a:pt x="422" y="683"/>
                  <a:pt x="423" y="682"/>
                  <a:pt x="423" y="682"/>
                </a:cubicBezTo>
                <a:cubicBezTo>
                  <a:pt x="424" y="681"/>
                  <a:pt x="425" y="680"/>
                  <a:pt x="426" y="682"/>
                </a:cubicBezTo>
                <a:cubicBezTo>
                  <a:pt x="426" y="682"/>
                  <a:pt x="426" y="682"/>
                  <a:pt x="425" y="683"/>
                </a:cubicBezTo>
                <a:cubicBezTo>
                  <a:pt x="426" y="683"/>
                  <a:pt x="428" y="684"/>
                  <a:pt x="428" y="685"/>
                </a:cubicBezTo>
                <a:cubicBezTo>
                  <a:pt x="428" y="688"/>
                  <a:pt x="422" y="684"/>
                  <a:pt x="422" y="683"/>
                </a:cubicBezTo>
                <a:close/>
                <a:moveTo>
                  <a:pt x="427" y="688"/>
                </a:moveTo>
                <a:cubicBezTo>
                  <a:pt x="428" y="689"/>
                  <a:pt x="426" y="688"/>
                  <a:pt x="426" y="689"/>
                </a:cubicBezTo>
                <a:cubicBezTo>
                  <a:pt x="425" y="688"/>
                  <a:pt x="427" y="688"/>
                  <a:pt x="427" y="688"/>
                </a:cubicBezTo>
                <a:close/>
                <a:moveTo>
                  <a:pt x="427" y="696"/>
                </a:moveTo>
                <a:cubicBezTo>
                  <a:pt x="427" y="696"/>
                  <a:pt x="426" y="697"/>
                  <a:pt x="425" y="696"/>
                </a:cubicBezTo>
                <a:cubicBezTo>
                  <a:pt x="425" y="696"/>
                  <a:pt x="427" y="695"/>
                  <a:pt x="427" y="696"/>
                </a:cubicBezTo>
                <a:close/>
                <a:moveTo>
                  <a:pt x="427" y="699"/>
                </a:moveTo>
                <a:cubicBezTo>
                  <a:pt x="428" y="700"/>
                  <a:pt x="427" y="700"/>
                  <a:pt x="427" y="700"/>
                </a:cubicBezTo>
                <a:cubicBezTo>
                  <a:pt x="426" y="700"/>
                  <a:pt x="427" y="699"/>
                  <a:pt x="427" y="699"/>
                </a:cubicBezTo>
                <a:close/>
                <a:moveTo>
                  <a:pt x="426" y="706"/>
                </a:moveTo>
                <a:cubicBezTo>
                  <a:pt x="427" y="707"/>
                  <a:pt x="425" y="707"/>
                  <a:pt x="426" y="706"/>
                </a:cubicBezTo>
                <a:close/>
                <a:moveTo>
                  <a:pt x="427" y="706"/>
                </a:moveTo>
                <a:cubicBezTo>
                  <a:pt x="430" y="703"/>
                  <a:pt x="428" y="709"/>
                  <a:pt x="426" y="708"/>
                </a:cubicBezTo>
                <a:cubicBezTo>
                  <a:pt x="426" y="708"/>
                  <a:pt x="427" y="707"/>
                  <a:pt x="427" y="706"/>
                </a:cubicBezTo>
                <a:close/>
                <a:moveTo>
                  <a:pt x="427" y="695"/>
                </a:moveTo>
                <a:cubicBezTo>
                  <a:pt x="423" y="695"/>
                  <a:pt x="429" y="691"/>
                  <a:pt x="432" y="692"/>
                </a:cubicBezTo>
                <a:cubicBezTo>
                  <a:pt x="430" y="693"/>
                  <a:pt x="428" y="694"/>
                  <a:pt x="427" y="695"/>
                </a:cubicBezTo>
                <a:close/>
                <a:moveTo>
                  <a:pt x="432" y="754"/>
                </a:moveTo>
                <a:cubicBezTo>
                  <a:pt x="433" y="753"/>
                  <a:pt x="433" y="755"/>
                  <a:pt x="432" y="754"/>
                </a:cubicBezTo>
                <a:close/>
                <a:moveTo>
                  <a:pt x="432" y="720"/>
                </a:moveTo>
                <a:cubicBezTo>
                  <a:pt x="431" y="719"/>
                  <a:pt x="433" y="719"/>
                  <a:pt x="433" y="719"/>
                </a:cubicBezTo>
                <a:cubicBezTo>
                  <a:pt x="434" y="719"/>
                  <a:pt x="433" y="720"/>
                  <a:pt x="432" y="720"/>
                </a:cubicBezTo>
                <a:close/>
                <a:moveTo>
                  <a:pt x="438" y="712"/>
                </a:moveTo>
                <a:cubicBezTo>
                  <a:pt x="440" y="712"/>
                  <a:pt x="442" y="714"/>
                  <a:pt x="442" y="717"/>
                </a:cubicBezTo>
                <a:cubicBezTo>
                  <a:pt x="441" y="715"/>
                  <a:pt x="439" y="718"/>
                  <a:pt x="438" y="718"/>
                </a:cubicBezTo>
                <a:cubicBezTo>
                  <a:pt x="429" y="720"/>
                  <a:pt x="431" y="709"/>
                  <a:pt x="438" y="712"/>
                </a:cubicBezTo>
                <a:close/>
                <a:moveTo>
                  <a:pt x="441" y="738"/>
                </a:moveTo>
                <a:cubicBezTo>
                  <a:pt x="441" y="738"/>
                  <a:pt x="439" y="738"/>
                  <a:pt x="439" y="738"/>
                </a:cubicBezTo>
                <a:cubicBezTo>
                  <a:pt x="439" y="737"/>
                  <a:pt x="440" y="737"/>
                  <a:pt x="441" y="738"/>
                </a:cubicBezTo>
                <a:close/>
                <a:moveTo>
                  <a:pt x="438" y="721"/>
                </a:moveTo>
                <a:cubicBezTo>
                  <a:pt x="438" y="721"/>
                  <a:pt x="437" y="721"/>
                  <a:pt x="437" y="721"/>
                </a:cubicBezTo>
                <a:cubicBezTo>
                  <a:pt x="437" y="719"/>
                  <a:pt x="439" y="723"/>
                  <a:pt x="438" y="721"/>
                </a:cubicBezTo>
                <a:close/>
                <a:moveTo>
                  <a:pt x="437" y="722"/>
                </a:moveTo>
                <a:cubicBezTo>
                  <a:pt x="436" y="722"/>
                  <a:pt x="436" y="721"/>
                  <a:pt x="435" y="722"/>
                </a:cubicBezTo>
                <a:cubicBezTo>
                  <a:pt x="434" y="722"/>
                  <a:pt x="436" y="721"/>
                  <a:pt x="437" y="722"/>
                </a:cubicBezTo>
                <a:close/>
                <a:moveTo>
                  <a:pt x="440" y="706"/>
                </a:moveTo>
                <a:cubicBezTo>
                  <a:pt x="440" y="704"/>
                  <a:pt x="443" y="705"/>
                  <a:pt x="443" y="706"/>
                </a:cubicBezTo>
                <a:cubicBezTo>
                  <a:pt x="443" y="708"/>
                  <a:pt x="440" y="707"/>
                  <a:pt x="440" y="706"/>
                </a:cubicBezTo>
                <a:close/>
                <a:moveTo>
                  <a:pt x="443" y="713"/>
                </a:moveTo>
                <a:cubicBezTo>
                  <a:pt x="443" y="713"/>
                  <a:pt x="442" y="713"/>
                  <a:pt x="442" y="713"/>
                </a:cubicBezTo>
                <a:cubicBezTo>
                  <a:pt x="442" y="712"/>
                  <a:pt x="443" y="713"/>
                  <a:pt x="443" y="713"/>
                </a:cubicBezTo>
                <a:close/>
                <a:moveTo>
                  <a:pt x="449" y="658"/>
                </a:moveTo>
                <a:cubicBezTo>
                  <a:pt x="449" y="658"/>
                  <a:pt x="449" y="658"/>
                  <a:pt x="449" y="658"/>
                </a:cubicBezTo>
                <a:cubicBezTo>
                  <a:pt x="449" y="655"/>
                  <a:pt x="451" y="660"/>
                  <a:pt x="449" y="658"/>
                </a:cubicBezTo>
                <a:close/>
                <a:moveTo>
                  <a:pt x="446" y="653"/>
                </a:moveTo>
                <a:cubicBezTo>
                  <a:pt x="447" y="652"/>
                  <a:pt x="449" y="651"/>
                  <a:pt x="450" y="651"/>
                </a:cubicBezTo>
                <a:cubicBezTo>
                  <a:pt x="449" y="652"/>
                  <a:pt x="448" y="653"/>
                  <a:pt x="446" y="653"/>
                </a:cubicBezTo>
                <a:close/>
                <a:moveTo>
                  <a:pt x="449" y="647"/>
                </a:moveTo>
                <a:cubicBezTo>
                  <a:pt x="449" y="646"/>
                  <a:pt x="451" y="645"/>
                  <a:pt x="451" y="646"/>
                </a:cubicBezTo>
                <a:cubicBezTo>
                  <a:pt x="452" y="647"/>
                  <a:pt x="449" y="649"/>
                  <a:pt x="449" y="647"/>
                </a:cubicBezTo>
                <a:close/>
                <a:moveTo>
                  <a:pt x="451" y="217"/>
                </a:moveTo>
                <a:cubicBezTo>
                  <a:pt x="451" y="217"/>
                  <a:pt x="451" y="217"/>
                  <a:pt x="451" y="217"/>
                </a:cubicBezTo>
                <a:cubicBezTo>
                  <a:pt x="454" y="218"/>
                  <a:pt x="448" y="220"/>
                  <a:pt x="451" y="217"/>
                </a:cubicBezTo>
                <a:close/>
                <a:moveTo>
                  <a:pt x="449" y="184"/>
                </a:moveTo>
                <a:cubicBezTo>
                  <a:pt x="450" y="182"/>
                  <a:pt x="451" y="181"/>
                  <a:pt x="453" y="181"/>
                </a:cubicBezTo>
                <a:cubicBezTo>
                  <a:pt x="452" y="182"/>
                  <a:pt x="451" y="183"/>
                  <a:pt x="449" y="184"/>
                </a:cubicBezTo>
                <a:close/>
                <a:moveTo>
                  <a:pt x="459" y="243"/>
                </a:moveTo>
                <a:cubicBezTo>
                  <a:pt x="458" y="244"/>
                  <a:pt x="455" y="246"/>
                  <a:pt x="452" y="247"/>
                </a:cubicBezTo>
                <a:cubicBezTo>
                  <a:pt x="454" y="245"/>
                  <a:pt x="457" y="244"/>
                  <a:pt x="459" y="243"/>
                </a:cubicBezTo>
                <a:close/>
                <a:moveTo>
                  <a:pt x="456" y="185"/>
                </a:moveTo>
                <a:cubicBezTo>
                  <a:pt x="456" y="185"/>
                  <a:pt x="458" y="184"/>
                  <a:pt x="458" y="185"/>
                </a:cubicBezTo>
                <a:cubicBezTo>
                  <a:pt x="458" y="185"/>
                  <a:pt x="456" y="186"/>
                  <a:pt x="456" y="185"/>
                </a:cubicBezTo>
                <a:close/>
                <a:moveTo>
                  <a:pt x="457" y="243"/>
                </a:moveTo>
                <a:cubicBezTo>
                  <a:pt x="457" y="245"/>
                  <a:pt x="457" y="241"/>
                  <a:pt x="457" y="243"/>
                </a:cubicBezTo>
                <a:close/>
                <a:moveTo>
                  <a:pt x="458" y="185"/>
                </a:moveTo>
                <a:cubicBezTo>
                  <a:pt x="459" y="183"/>
                  <a:pt x="460" y="185"/>
                  <a:pt x="458" y="185"/>
                </a:cubicBezTo>
                <a:close/>
                <a:moveTo>
                  <a:pt x="460" y="254"/>
                </a:moveTo>
                <a:cubicBezTo>
                  <a:pt x="460" y="255"/>
                  <a:pt x="456" y="257"/>
                  <a:pt x="456" y="255"/>
                </a:cubicBezTo>
                <a:cubicBezTo>
                  <a:pt x="455" y="252"/>
                  <a:pt x="460" y="252"/>
                  <a:pt x="460" y="254"/>
                </a:cubicBezTo>
                <a:close/>
                <a:moveTo>
                  <a:pt x="460" y="156"/>
                </a:moveTo>
                <a:cubicBezTo>
                  <a:pt x="461" y="154"/>
                  <a:pt x="459" y="157"/>
                  <a:pt x="460" y="156"/>
                </a:cubicBezTo>
                <a:close/>
                <a:moveTo>
                  <a:pt x="461" y="243"/>
                </a:moveTo>
                <a:cubicBezTo>
                  <a:pt x="462" y="243"/>
                  <a:pt x="461" y="244"/>
                  <a:pt x="461" y="244"/>
                </a:cubicBezTo>
                <a:cubicBezTo>
                  <a:pt x="461" y="244"/>
                  <a:pt x="461" y="243"/>
                  <a:pt x="461" y="243"/>
                </a:cubicBezTo>
                <a:close/>
                <a:moveTo>
                  <a:pt x="461" y="144"/>
                </a:moveTo>
                <a:cubicBezTo>
                  <a:pt x="461" y="142"/>
                  <a:pt x="463" y="143"/>
                  <a:pt x="461" y="144"/>
                </a:cubicBezTo>
                <a:close/>
                <a:moveTo>
                  <a:pt x="460" y="266"/>
                </a:moveTo>
                <a:cubicBezTo>
                  <a:pt x="459" y="267"/>
                  <a:pt x="463" y="264"/>
                  <a:pt x="460" y="266"/>
                </a:cubicBezTo>
                <a:close/>
                <a:moveTo>
                  <a:pt x="458" y="550"/>
                </a:moveTo>
                <a:cubicBezTo>
                  <a:pt x="457" y="550"/>
                  <a:pt x="459" y="549"/>
                  <a:pt x="458" y="550"/>
                </a:cubicBezTo>
                <a:cubicBezTo>
                  <a:pt x="458" y="550"/>
                  <a:pt x="458" y="550"/>
                  <a:pt x="458" y="550"/>
                </a:cubicBezTo>
                <a:close/>
                <a:moveTo>
                  <a:pt x="459" y="569"/>
                </a:moveTo>
                <a:cubicBezTo>
                  <a:pt x="460" y="568"/>
                  <a:pt x="456" y="570"/>
                  <a:pt x="459" y="569"/>
                </a:cubicBezTo>
                <a:close/>
                <a:moveTo>
                  <a:pt x="461" y="580"/>
                </a:moveTo>
                <a:cubicBezTo>
                  <a:pt x="461" y="583"/>
                  <a:pt x="456" y="582"/>
                  <a:pt x="456" y="580"/>
                </a:cubicBezTo>
                <a:cubicBezTo>
                  <a:pt x="456" y="579"/>
                  <a:pt x="461" y="578"/>
                  <a:pt x="461" y="580"/>
                </a:cubicBezTo>
                <a:close/>
                <a:moveTo>
                  <a:pt x="462" y="589"/>
                </a:moveTo>
                <a:cubicBezTo>
                  <a:pt x="460" y="590"/>
                  <a:pt x="457" y="590"/>
                  <a:pt x="454" y="591"/>
                </a:cubicBezTo>
                <a:cubicBezTo>
                  <a:pt x="456" y="590"/>
                  <a:pt x="460" y="589"/>
                  <a:pt x="462" y="589"/>
                </a:cubicBezTo>
                <a:close/>
                <a:moveTo>
                  <a:pt x="457" y="591"/>
                </a:moveTo>
                <a:cubicBezTo>
                  <a:pt x="457" y="590"/>
                  <a:pt x="456" y="593"/>
                  <a:pt x="457" y="591"/>
                </a:cubicBezTo>
                <a:close/>
                <a:moveTo>
                  <a:pt x="460" y="671"/>
                </a:moveTo>
                <a:cubicBezTo>
                  <a:pt x="460" y="671"/>
                  <a:pt x="457" y="672"/>
                  <a:pt x="458" y="670"/>
                </a:cubicBezTo>
                <a:cubicBezTo>
                  <a:pt x="458" y="669"/>
                  <a:pt x="460" y="669"/>
                  <a:pt x="460" y="671"/>
                </a:cubicBezTo>
                <a:close/>
                <a:moveTo>
                  <a:pt x="460" y="662"/>
                </a:moveTo>
                <a:cubicBezTo>
                  <a:pt x="460" y="663"/>
                  <a:pt x="459" y="663"/>
                  <a:pt x="459" y="663"/>
                </a:cubicBezTo>
                <a:cubicBezTo>
                  <a:pt x="458" y="662"/>
                  <a:pt x="460" y="662"/>
                  <a:pt x="460" y="662"/>
                </a:cubicBezTo>
                <a:close/>
                <a:moveTo>
                  <a:pt x="467" y="612"/>
                </a:moveTo>
                <a:cubicBezTo>
                  <a:pt x="467" y="613"/>
                  <a:pt x="465" y="613"/>
                  <a:pt x="465" y="613"/>
                </a:cubicBezTo>
                <a:cubicBezTo>
                  <a:pt x="464" y="612"/>
                  <a:pt x="467" y="612"/>
                  <a:pt x="467" y="612"/>
                </a:cubicBezTo>
                <a:close/>
                <a:moveTo>
                  <a:pt x="466" y="284"/>
                </a:moveTo>
                <a:cubicBezTo>
                  <a:pt x="466" y="284"/>
                  <a:pt x="466" y="283"/>
                  <a:pt x="466" y="283"/>
                </a:cubicBezTo>
                <a:cubicBezTo>
                  <a:pt x="467" y="284"/>
                  <a:pt x="466" y="285"/>
                  <a:pt x="466" y="284"/>
                </a:cubicBezTo>
                <a:close/>
                <a:moveTo>
                  <a:pt x="474" y="600"/>
                </a:moveTo>
                <a:cubicBezTo>
                  <a:pt x="474" y="599"/>
                  <a:pt x="476" y="598"/>
                  <a:pt x="476" y="598"/>
                </a:cubicBezTo>
                <a:cubicBezTo>
                  <a:pt x="476" y="599"/>
                  <a:pt x="475" y="600"/>
                  <a:pt x="474" y="600"/>
                </a:cubicBezTo>
                <a:close/>
                <a:moveTo>
                  <a:pt x="475" y="266"/>
                </a:moveTo>
                <a:cubicBezTo>
                  <a:pt x="475" y="266"/>
                  <a:pt x="474" y="266"/>
                  <a:pt x="474" y="266"/>
                </a:cubicBezTo>
                <a:cubicBezTo>
                  <a:pt x="475" y="266"/>
                  <a:pt x="475" y="265"/>
                  <a:pt x="475" y="265"/>
                </a:cubicBezTo>
                <a:cubicBezTo>
                  <a:pt x="475" y="265"/>
                  <a:pt x="475" y="265"/>
                  <a:pt x="475" y="266"/>
                </a:cubicBezTo>
                <a:close/>
                <a:moveTo>
                  <a:pt x="466" y="190"/>
                </a:moveTo>
                <a:cubicBezTo>
                  <a:pt x="469" y="188"/>
                  <a:pt x="468" y="194"/>
                  <a:pt x="466" y="192"/>
                </a:cubicBezTo>
                <a:cubicBezTo>
                  <a:pt x="465" y="192"/>
                  <a:pt x="466" y="191"/>
                  <a:pt x="466" y="190"/>
                </a:cubicBezTo>
                <a:close/>
                <a:moveTo>
                  <a:pt x="469" y="188"/>
                </a:moveTo>
                <a:cubicBezTo>
                  <a:pt x="468" y="187"/>
                  <a:pt x="470" y="187"/>
                  <a:pt x="470" y="188"/>
                </a:cubicBezTo>
                <a:cubicBezTo>
                  <a:pt x="471" y="188"/>
                  <a:pt x="469" y="189"/>
                  <a:pt x="469" y="188"/>
                </a:cubicBezTo>
                <a:close/>
                <a:moveTo>
                  <a:pt x="469" y="195"/>
                </a:moveTo>
                <a:cubicBezTo>
                  <a:pt x="468" y="196"/>
                  <a:pt x="467" y="197"/>
                  <a:pt x="466" y="197"/>
                </a:cubicBezTo>
                <a:cubicBezTo>
                  <a:pt x="467" y="196"/>
                  <a:pt x="468" y="195"/>
                  <a:pt x="469" y="195"/>
                </a:cubicBezTo>
                <a:close/>
                <a:moveTo>
                  <a:pt x="463" y="182"/>
                </a:moveTo>
                <a:cubicBezTo>
                  <a:pt x="462" y="180"/>
                  <a:pt x="468" y="178"/>
                  <a:pt x="469" y="181"/>
                </a:cubicBezTo>
                <a:cubicBezTo>
                  <a:pt x="469" y="184"/>
                  <a:pt x="463" y="184"/>
                  <a:pt x="463" y="182"/>
                </a:cubicBezTo>
                <a:close/>
                <a:moveTo>
                  <a:pt x="466" y="174"/>
                </a:moveTo>
                <a:cubicBezTo>
                  <a:pt x="466" y="174"/>
                  <a:pt x="468" y="173"/>
                  <a:pt x="468" y="174"/>
                </a:cubicBezTo>
                <a:cubicBezTo>
                  <a:pt x="469" y="174"/>
                  <a:pt x="466" y="175"/>
                  <a:pt x="466" y="174"/>
                </a:cubicBezTo>
                <a:close/>
                <a:moveTo>
                  <a:pt x="462" y="142"/>
                </a:moveTo>
                <a:cubicBezTo>
                  <a:pt x="462" y="141"/>
                  <a:pt x="464" y="141"/>
                  <a:pt x="464" y="141"/>
                </a:cubicBezTo>
                <a:cubicBezTo>
                  <a:pt x="464" y="141"/>
                  <a:pt x="463" y="142"/>
                  <a:pt x="462" y="142"/>
                </a:cubicBezTo>
                <a:close/>
                <a:moveTo>
                  <a:pt x="459" y="145"/>
                </a:moveTo>
                <a:cubicBezTo>
                  <a:pt x="459" y="145"/>
                  <a:pt x="460" y="145"/>
                  <a:pt x="460" y="145"/>
                </a:cubicBezTo>
                <a:cubicBezTo>
                  <a:pt x="460" y="145"/>
                  <a:pt x="459" y="146"/>
                  <a:pt x="459" y="145"/>
                </a:cubicBezTo>
                <a:close/>
                <a:moveTo>
                  <a:pt x="458" y="124"/>
                </a:moveTo>
                <a:cubicBezTo>
                  <a:pt x="456" y="128"/>
                  <a:pt x="457" y="122"/>
                  <a:pt x="459" y="122"/>
                </a:cubicBezTo>
                <a:cubicBezTo>
                  <a:pt x="459" y="123"/>
                  <a:pt x="459" y="124"/>
                  <a:pt x="458" y="124"/>
                </a:cubicBezTo>
                <a:close/>
                <a:moveTo>
                  <a:pt x="461" y="153"/>
                </a:moveTo>
                <a:cubicBezTo>
                  <a:pt x="461" y="154"/>
                  <a:pt x="457" y="155"/>
                  <a:pt x="457" y="154"/>
                </a:cubicBezTo>
                <a:cubicBezTo>
                  <a:pt x="456" y="153"/>
                  <a:pt x="460" y="151"/>
                  <a:pt x="461" y="153"/>
                </a:cubicBezTo>
                <a:close/>
                <a:moveTo>
                  <a:pt x="449" y="133"/>
                </a:moveTo>
                <a:cubicBezTo>
                  <a:pt x="448" y="132"/>
                  <a:pt x="450" y="133"/>
                  <a:pt x="450" y="133"/>
                </a:cubicBezTo>
                <a:cubicBezTo>
                  <a:pt x="451" y="133"/>
                  <a:pt x="449" y="133"/>
                  <a:pt x="449" y="133"/>
                </a:cubicBezTo>
                <a:close/>
                <a:moveTo>
                  <a:pt x="434" y="47"/>
                </a:moveTo>
                <a:cubicBezTo>
                  <a:pt x="435" y="47"/>
                  <a:pt x="436" y="47"/>
                  <a:pt x="436" y="47"/>
                </a:cubicBezTo>
                <a:cubicBezTo>
                  <a:pt x="436" y="47"/>
                  <a:pt x="435" y="48"/>
                  <a:pt x="434" y="47"/>
                </a:cubicBezTo>
                <a:close/>
                <a:moveTo>
                  <a:pt x="433" y="61"/>
                </a:moveTo>
                <a:cubicBezTo>
                  <a:pt x="434" y="60"/>
                  <a:pt x="435" y="62"/>
                  <a:pt x="433" y="61"/>
                </a:cubicBezTo>
                <a:close/>
                <a:moveTo>
                  <a:pt x="432" y="54"/>
                </a:moveTo>
                <a:cubicBezTo>
                  <a:pt x="432" y="53"/>
                  <a:pt x="433" y="53"/>
                  <a:pt x="433" y="53"/>
                </a:cubicBezTo>
                <a:cubicBezTo>
                  <a:pt x="434" y="54"/>
                  <a:pt x="432" y="54"/>
                  <a:pt x="432" y="54"/>
                </a:cubicBezTo>
                <a:close/>
                <a:moveTo>
                  <a:pt x="432" y="47"/>
                </a:moveTo>
                <a:cubicBezTo>
                  <a:pt x="431" y="47"/>
                  <a:pt x="432" y="46"/>
                  <a:pt x="432" y="46"/>
                </a:cubicBezTo>
                <a:cubicBezTo>
                  <a:pt x="433" y="47"/>
                  <a:pt x="432" y="47"/>
                  <a:pt x="432" y="47"/>
                </a:cubicBezTo>
                <a:close/>
                <a:moveTo>
                  <a:pt x="435" y="69"/>
                </a:moveTo>
                <a:cubicBezTo>
                  <a:pt x="435" y="72"/>
                  <a:pt x="431" y="71"/>
                  <a:pt x="431" y="69"/>
                </a:cubicBezTo>
                <a:cubicBezTo>
                  <a:pt x="431" y="67"/>
                  <a:pt x="435" y="66"/>
                  <a:pt x="435" y="69"/>
                </a:cubicBezTo>
                <a:close/>
                <a:moveTo>
                  <a:pt x="426" y="60"/>
                </a:moveTo>
                <a:cubicBezTo>
                  <a:pt x="425" y="58"/>
                  <a:pt x="430" y="57"/>
                  <a:pt x="431" y="59"/>
                </a:cubicBezTo>
                <a:cubicBezTo>
                  <a:pt x="432" y="62"/>
                  <a:pt x="427" y="61"/>
                  <a:pt x="426" y="60"/>
                </a:cubicBezTo>
                <a:close/>
                <a:moveTo>
                  <a:pt x="426" y="47"/>
                </a:moveTo>
                <a:cubicBezTo>
                  <a:pt x="426" y="47"/>
                  <a:pt x="426" y="47"/>
                  <a:pt x="426" y="47"/>
                </a:cubicBezTo>
                <a:cubicBezTo>
                  <a:pt x="427" y="48"/>
                  <a:pt x="424" y="45"/>
                  <a:pt x="426" y="47"/>
                </a:cubicBezTo>
                <a:close/>
                <a:moveTo>
                  <a:pt x="426" y="48"/>
                </a:moveTo>
                <a:cubicBezTo>
                  <a:pt x="426" y="50"/>
                  <a:pt x="424" y="49"/>
                  <a:pt x="424" y="49"/>
                </a:cubicBezTo>
                <a:cubicBezTo>
                  <a:pt x="424" y="48"/>
                  <a:pt x="425" y="48"/>
                  <a:pt x="426" y="48"/>
                </a:cubicBezTo>
                <a:close/>
                <a:moveTo>
                  <a:pt x="428" y="81"/>
                </a:moveTo>
                <a:cubicBezTo>
                  <a:pt x="426" y="82"/>
                  <a:pt x="425" y="83"/>
                  <a:pt x="423" y="83"/>
                </a:cubicBezTo>
                <a:cubicBezTo>
                  <a:pt x="424" y="83"/>
                  <a:pt x="426" y="81"/>
                  <a:pt x="428" y="81"/>
                </a:cubicBezTo>
                <a:close/>
                <a:moveTo>
                  <a:pt x="425" y="98"/>
                </a:moveTo>
                <a:cubicBezTo>
                  <a:pt x="424" y="101"/>
                  <a:pt x="421" y="99"/>
                  <a:pt x="425" y="98"/>
                </a:cubicBezTo>
                <a:close/>
                <a:moveTo>
                  <a:pt x="424" y="146"/>
                </a:moveTo>
                <a:cubicBezTo>
                  <a:pt x="424" y="148"/>
                  <a:pt x="422" y="148"/>
                  <a:pt x="421" y="149"/>
                </a:cubicBezTo>
                <a:cubicBezTo>
                  <a:pt x="421" y="147"/>
                  <a:pt x="423" y="147"/>
                  <a:pt x="424" y="146"/>
                </a:cubicBezTo>
                <a:close/>
                <a:moveTo>
                  <a:pt x="418" y="110"/>
                </a:moveTo>
                <a:cubicBezTo>
                  <a:pt x="419" y="110"/>
                  <a:pt x="420" y="109"/>
                  <a:pt x="422" y="109"/>
                </a:cubicBezTo>
                <a:cubicBezTo>
                  <a:pt x="421" y="110"/>
                  <a:pt x="419" y="111"/>
                  <a:pt x="418" y="110"/>
                </a:cubicBezTo>
                <a:close/>
                <a:moveTo>
                  <a:pt x="418" y="108"/>
                </a:moveTo>
                <a:cubicBezTo>
                  <a:pt x="419" y="106"/>
                  <a:pt x="420" y="106"/>
                  <a:pt x="421" y="106"/>
                </a:cubicBezTo>
                <a:cubicBezTo>
                  <a:pt x="421" y="107"/>
                  <a:pt x="419" y="108"/>
                  <a:pt x="418" y="108"/>
                </a:cubicBezTo>
                <a:close/>
                <a:moveTo>
                  <a:pt x="420" y="89"/>
                </a:moveTo>
                <a:cubicBezTo>
                  <a:pt x="420" y="89"/>
                  <a:pt x="420" y="89"/>
                  <a:pt x="420" y="89"/>
                </a:cubicBezTo>
                <a:cubicBezTo>
                  <a:pt x="420" y="89"/>
                  <a:pt x="420" y="89"/>
                  <a:pt x="420" y="89"/>
                </a:cubicBezTo>
                <a:cubicBezTo>
                  <a:pt x="420" y="89"/>
                  <a:pt x="420" y="89"/>
                  <a:pt x="420" y="89"/>
                </a:cubicBezTo>
                <a:close/>
                <a:moveTo>
                  <a:pt x="421" y="89"/>
                </a:moveTo>
                <a:cubicBezTo>
                  <a:pt x="421" y="89"/>
                  <a:pt x="421" y="88"/>
                  <a:pt x="421" y="89"/>
                </a:cubicBezTo>
                <a:close/>
                <a:moveTo>
                  <a:pt x="418" y="85"/>
                </a:moveTo>
                <a:cubicBezTo>
                  <a:pt x="418" y="84"/>
                  <a:pt x="420" y="84"/>
                  <a:pt x="421" y="84"/>
                </a:cubicBezTo>
                <a:cubicBezTo>
                  <a:pt x="421" y="85"/>
                  <a:pt x="418" y="86"/>
                  <a:pt x="418" y="85"/>
                </a:cubicBezTo>
                <a:close/>
                <a:moveTo>
                  <a:pt x="416" y="78"/>
                </a:moveTo>
                <a:cubicBezTo>
                  <a:pt x="416" y="78"/>
                  <a:pt x="418" y="77"/>
                  <a:pt x="419" y="78"/>
                </a:cubicBezTo>
                <a:cubicBezTo>
                  <a:pt x="420" y="80"/>
                  <a:pt x="416" y="80"/>
                  <a:pt x="416" y="78"/>
                </a:cubicBezTo>
                <a:close/>
                <a:moveTo>
                  <a:pt x="420" y="96"/>
                </a:moveTo>
                <a:cubicBezTo>
                  <a:pt x="420" y="98"/>
                  <a:pt x="417" y="99"/>
                  <a:pt x="415" y="98"/>
                </a:cubicBezTo>
                <a:cubicBezTo>
                  <a:pt x="411" y="95"/>
                  <a:pt x="420" y="92"/>
                  <a:pt x="420" y="96"/>
                </a:cubicBezTo>
                <a:close/>
                <a:moveTo>
                  <a:pt x="415" y="101"/>
                </a:moveTo>
                <a:cubicBezTo>
                  <a:pt x="417" y="103"/>
                  <a:pt x="410" y="105"/>
                  <a:pt x="413" y="102"/>
                </a:cubicBezTo>
                <a:cubicBezTo>
                  <a:pt x="413" y="101"/>
                  <a:pt x="414" y="101"/>
                  <a:pt x="415" y="101"/>
                </a:cubicBezTo>
                <a:close/>
                <a:moveTo>
                  <a:pt x="414" y="157"/>
                </a:moveTo>
                <a:cubicBezTo>
                  <a:pt x="414" y="158"/>
                  <a:pt x="412" y="159"/>
                  <a:pt x="410" y="159"/>
                </a:cubicBezTo>
                <a:cubicBezTo>
                  <a:pt x="411" y="158"/>
                  <a:pt x="413" y="158"/>
                  <a:pt x="414" y="157"/>
                </a:cubicBezTo>
                <a:close/>
                <a:moveTo>
                  <a:pt x="413" y="544"/>
                </a:moveTo>
                <a:cubicBezTo>
                  <a:pt x="412" y="547"/>
                  <a:pt x="410" y="546"/>
                  <a:pt x="413" y="544"/>
                </a:cubicBezTo>
                <a:close/>
                <a:moveTo>
                  <a:pt x="411" y="281"/>
                </a:moveTo>
                <a:cubicBezTo>
                  <a:pt x="413" y="282"/>
                  <a:pt x="410" y="282"/>
                  <a:pt x="411" y="281"/>
                </a:cubicBezTo>
                <a:close/>
                <a:moveTo>
                  <a:pt x="417" y="620"/>
                </a:moveTo>
                <a:cubicBezTo>
                  <a:pt x="418" y="619"/>
                  <a:pt x="419" y="618"/>
                  <a:pt x="420" y="619"/>
                </a:cubicBezTo>
                <a:cubicBezTo>
                  <a:pt x="420" y="620"/>
                  <a:pt x="420" y="620"/>
                  <a:pt x="420" y="620"/>
                </a:cubicBezTo>
                <a:cubicBezTo>
                  <a:pt x="420" y="620"/>
                  <a:pt x="420" y="620"/>
                  <a:pt x="420" y="620"/>
                </a:cubicBezTo>
                <a:cubicBezTo>
                  <a:pt x="421" y="620"/>
                  <a:pt x="420" y="621"/>
                  <a:pt x="420" y="621"/>
                </a:cubicBezTo>
                <a:cubicBezTo>
                  <a:pt x="418" y="622"/>
                  <a:pt x="418" y="621"/>
                  <a:pt x="418" y="620"/>
                </a:cubicBezTo>
                <a:cubicBezTo>
                  <a:pt x="417" y="620"/>
                  <a:pt x="416" y="620"/>
                  <a:pt x="416" y="620"/>
                </a:cubicBezTo>
                <a:cubicBezTo>
                  <a:pt x="415" y="621"/>
                  <a:pt x="408" y="625"/>
                  <a:pt x="407" y="624"/>
                </a:cubicBezTo>
                <a:cubicBezTo>
                  <a:pt x="406" y="622"/>
                  <a:pt x="416" y="620"/>
                  <a:pt x="417" y="620"/>
                </a:cubicBezTo>
                <a:close/>
                <a:moveTo>
                  <a:pt x="408" y="668"/>
                </a:moveTo>
                <a:cubicBezTo>
                  <a:pt x="408" y="669"/>
                  <a:pt x="410" y="667"/>
                  <a:pt x="410" y="668"/>
                </a:cubicBezTo>
                <a:cubicBezTo>
                  <a:pt x="410" y="669"/>
                  <a:pt x="408" y="670"/>
                  <a:pt x="408" y="668"/>
                </a:cubicBezTo>
                <a:close/>
                <a:moveTo>
                  <a:pt x="409" y="676"/>
                </a:moveTo>
                <a:cubicBezTo>
                  <a:pt x="409" y="676"/>
                  <a:pt x="409" y="677"/>
                  <a:pt x="408" y="676"/>
                </a:cubicBezTo>
                <a:cubicBezTo>
                  <a:pt x="407" y="676"/>
                  <a:pt x="410" y="675"/>
                  <a:pt x="409" y="676"/>
                </a:cubicBezTo>
                <a:close/>
                <a:moveTo>
                  <a:pt x="400" y="518"/>
                </a:moveTo>
                <a:cubicBezTo>
                  <a:pt x="397" y="519"/>
                  <a:pt x="400" y="515"/>
                  <a:pt x="401" y="517"/>
                </a:cubicBezTo>
                <a:cubicBezTo>
                  <a:pt x="401" y="518"/>
                  <a:pt x="401" y="518"/>
                  <a:pt x="400" y="518"/>
                </a:cubicBezTo>
                <a:close/>
                <a:moveTo>
                  <a:pt x="400" y="648"/>
                </a:moveTo>
                <a:cubicBezTo>
                  <a:pt x="400" y="647"/>
                  <a:pt x="400" y="647"/>
                  <a:pt x="400" y="647"/>
                </a:cubicBezTo>
                <a:cubicBezTo>
                  <a:pt x="400" y="647"/>
                  <a:pt x="400" y="647"/>
                  <a:pt x="400" y="647"/>
                </a:cubicBezTo>
                <a:cubicBezTo>
                  <a:pt x="400" y="647"/>
                  <a:pt x="400" y="647"/>
                  <a:pt x="400" y="648"/>
                </a:cubicBezTo>
                <a:close/>
                <a:moveTo>
                  <a:pt x="392" y="551"/>
                </a:moveTo>
                <a:cubicBezTo>
                  <a:pt x="393" y="549"/>
                  <a:pt x="397" y="551"/>
                  <a:pt x="396" y="553"/>
                </a:cubicBezTo>
                <a:cubicBezTo>
                  <a:pt x="395" y="555"/>
                  <a:pt x="390" y="554"/>
                  <a:pt x="392" y="551"/>
                </a:cubicBezTo>
                <a:close/>
                <a:moveTo>
                  <a:pt x="393" y="587"/>
                </a:moveTo>
                <a:cubicBezTo>
                  <a:pt x="390" y="588"/>
                  <a:pt x="394" y="586"/>
                  <a:pt x="393" y="587"/>
                </a:cubicBezTo>
                <a:close/>
                <a:moveTo>
                  <a:pt x="394" y="493"/>
                </a:moveTo>
                <a:cubicBezTo>
                  <a:pt x="394" y="493"/>
                  <a:pt x="393" y="494"/>
                  <a:pt x="393" y="493"/>
                </a:cubicBezTo>
                <a:cubicBezTo>
                  <a:pt x="391" y="492"/>
                  <a:pt x="396" y="491"/>
                  <a:pt x="394" y="493"/>
                </a:cubicBezTo>
                <a:close/>
                <a:moveTo>
                  <a:pt x="394" y="530"/>
                </a:moveTo>
                <a:cubicBezTo>
                  <a:pt x="394" y="530"/>
                  <a:pt x="394" y="531"/>
                  <a:pt x="394" y="530"/>
                </a:cubicBezTo>
                <a:cubicBezTo>
                  <a:pt x="393" y="530"/>
                  <a:pt x="395" y="529"/>
                  <a:pt x="394" y="530"/>
                </a:cubicBezTo>
                <a:close/>
                <a:moveTo>
                  <a:pt x="397" y="543"/>
                </a:moveTo>
                <a:cubicBezTo>
                  <a:pt x="397" y="543"/>
                  <a:pt x="396" y="544"/>
                  <a:pt x="396" y="543"/>
                </a:cubicBezTo>
                <a:cubicBezTo>
                  <a:pt x="395" y="543"/>
                  <a:pt x="398" y="542"/>
                  <a:pt x="397" y="543"/>
                </a:cubicBezTo>
                <a:close/>
                <a:moveTo>
                  <a:pt x="396" y="585"/>
                </a:moveTo>
                <a:cubicBezTo>
                  <a:pt x="396" y="586"/>
                  <a:pt x="396" y="586"/>
                  <a:pt x="396" y="586"/>
                </a:cubicBezTo>
                <a:cubicBezTo>
                  <a:pt x="394" y="587"/>
                  <a:pt x="396" y="586"/>
                  <a:pt x="396" y="585"/>
                </a:cubicBezTo>
                <a:close/>
                <a:moveTo>
                  <a:pt x="396" y="601"/>
                </a:moveTo>
                <a:cubicBezTo>
                  <a:pt x="397" y="601"/>
                  <a:pt x="396" y="602"/>
                  <a:pt x="395" y="603"/>
                </a:cubicBezTo>
                <a:cubicBezTo>
                  <a:pt x="395" y="602"/>
                  <a:pt x="396" y="601"/>
                  <a:pt x="396" y="601"/>
                </a:cubicBezTo>
                <a:close/>
                <a:moveTo>
                  <a:pt x="399" y="645"/>
                </a:moveTo>
                <a:cubicBezTo>
                  <a:pt x="399" y="646"/>
                  <a:pt x="396" y="647"/>
                  <a:pt x="397" y="645"/>
                </a:cubicBezTo>
                <a:cubicBezTo>
                  <a:pt x="397" y="643"/>
                  <a:pt x="399" y="644"/>
                  <a:pt x="399" y="645"/>
                </a:cubicBezTo>
                <a:close/>
                <a:moveTo>
                  <a:pt x="398" y="622"/>
                </a:moveTo>
                <a:cubicBezTo>
                  <a:pt x="395" y="624"/>
                  <a:pt x="397" y="618"/>
                  <a:pt x="399" y="619"/>
                </a:cubicBezTo>
                <a:cubicBezTo>
                  <a:pt x="401" y="620"/>
                  <a:pt x="399" y="622"/>
                  <a:pt x="398" y="622"/>
                </a:cubicBezTo>
                <a:close/>
                <a:moveTo>
                  <a:pt x="397" y="513"/>
                </a:moveTo>
                <a:cubicBezTo>
                  <a:pt x="397" y="513"/>
                  <a:pt x="399" y="513"/>
                  <a:pt x="399" y="513"/>
                </a:cubicBezTo>
                <a:cubicBezTo>
                  <a:pt x="399" y="514"/>
                  <a:pt x="397" y="514"/>
                  <a:pt x="397" y="513"/>
                </a:cubicBezTo>
                <a:close/>
                <a:moveTo>
                  <a:pt x="397" y="606"/>
                </a:moveTo>
                <a:cubicBezTo>
                  <a:pt x="397" y="605"/>
                  <a:pt x="397" y="605"/>
                  <a:pt x="398" y="605"/>
                </a:cubicBezTo>
                <a:cubicBezTo>
                  <a:pt x="399" y="605"/>
                  <a:pt x="398" y="607"/>
                  <a:pt x="397" y="606"/>
                </a:cubicBezTo>
                <a:close/>
                <a:moveTo>
                  <a:pt x="397" y="461"/>
                </a:moveTo>
                <a:cubicBezTo>
                  <a:pt x="398" y="459"/>
                  <a:pt x="400" y="459"/>
                  <a:pt x="402" y="458"/>
                </a:cubicBezTo>
                <a:cubicBezTo>
                  <a:pt x="401" y="460"/>
                  <a:pt x="399" y="460"/>
                  <a:pt x="397" y="461"/>
                </a:cubicBezTo>
                <a:close/>
                <a:moveTo>
                  <a:pt x="401" y="364"/>
                </a:moveTo>
                <a:cubicBezTo>
                  <a:pt x="399" y="366"/>
                  <a:pt x="401" y="361"/>
                  <a:pt x="402" y="362"/>
                </a:cubicBezTo>
                <a:cubicBezTo>
                  <a:pt x="403" y="362"/>
                  <a:pt x="401" y="364"/>
                  <a:pt x="401" y="364"/>
                </a:cubicBezTo>
                <a:close/>
                <a:moveTo>
                  <a:pt x="400" y="245"/>
                </a:moveTo>
                <a:cubicBezTo>
                  <a:pt x="401" y="244"/>
                  <a:pt x="399" y="246"/>
                  <a:pt x="400" y="245"/>
                </a:cubicBezTo>
                <a:close/>
                <a:moveTo>
                  <a:pt x="402" y="477"/>
                </a:moveTo>
                <a:cubicBezTo>
                  <a:pt x="401" y="478"/>
                  <a:pt x="403" y="476"/>
                  <a:pt x="402" y="477"/>
                </a:cubicBezTo>
                <a:close/>
                <a:moveTo>
                  <a:pt x="402" y="458"/>
                </a:moveTo>
                <a:cubicBezTo>
                  <a:pt x="401" y="457"/>
                  <a:pt x="406" y="457"/>
                  <a:pt x="404" y="458"/>
                </a:cubicBezTo>
                <a:cubicBezTo>
                  <a:pt x="403" y="458"/>
                  <a:pt x="403" y="459"/>
                  <a:pt x="402" y="458"/>
                </a:cubicBezTo>
                <a:close/>
                <a:moveTo>
                  <a:pt x="406" y="578"/>
                </a:moveTo>
                <a:cubicBezTo>
                  <a:pt x="406" y="578"/>
                  <a:pt x="408" y="577"/>
                  <a:pt x="409" y="578"/>
                </a:cubicBezTo>
                <a:cubicBezTo>
                  <a:pt x="409" y="579"/>
                  <a:pt x="406" y="580"/>
                  <a:pt x="406" y="578"/>
                </a:cubicBezTo>
                <a:close/>
                <a:moveTo>
                  <a:pt x="409" y="606"/>
                </a:moveTo>
                <a:cubicBezTo>
                  <a:pt x="408" y="607"/>
                  <a:pt x="407" y="606"/>
                  <a:pt x="409" y="606"/>
                </a:cubicBezTo>
                <a:close/>
                <a:moveTo>
                  <a:pt x="408" y="313"/>
                </a:moveTo>
                <a:cubicBezTo>
                  <a:pt x="407" y="314"/>
                  <a:pt x="409" y="312"/>
                  <a:pt x="408" y="313"/>
                </a:cubicBezTo>
                <a:close/>
                <a:moveTo>
                  <a:pt x="407" y="275"/>
                </a:moveTo>
                <a:cubicBezTo>
                  <a:pt x="407" y="273"/>
                  <a:pt x="410" y="273"/>
                  <a:pt x="407" y="275"/>
                </a:cubicBezTo>
                <a:close/>
                <a:moveTo>
                  <a:pt x="408" y="442"/>
                </a:moveTo>
                <a:cubicBezTo>
                  <a:pt x="408" y="443"/>
                  <a:pt x="407" y="443"/>
                  <a:pt x="406" y="443"/>
                </a:cubicBezTo>
                <a:cubicBezTo>
                  <a:pt x="406" y="443"/>
                  <a:pt x="407" y="442"/>
                  <a:pt x="408" y="442"/>
                </a:cubicBezTo>
                <a:close/>
                <a:moveTo>
                  <a:pt x="406" y="543"/>
                </a:moveTo>
                <a:cubicBezTo>
                  <a:pt x="406" y="544"/>
                  <a:pt x="405" y="543"/>
                  <a:pt x="405" y="543"/>
                </a:cubicBezTo>
                <a:cubicBezTo>
                  <a:pt x="406" y="542"/>
                  <a:pt x="406" y="543"/>
                  <a:pt x="406" y="543"/>
                </a:cubicBezTo>
                <a:close/>
                <a:moveTo>
                  <a:pt x="405" y="445"/>
                </a:moveTo>
                <a:cubicBezTo>
                  <a:pt x="404" y="444"/>
                  <a:pt x="406" y="443"/>
                  <a:pt x="405" y="445"/>
                </a:cubicBezTo>
                <a:close/>
                <a:moveTo>
                  <a:pt x="404" y="396"/>
                </a:moveTo>
                <a:cubicBezTo>
                  <a:pt x="404" y="395"/>
                  <a:pt x="405" y="395"/>
                  <a:pt x="406" y="395"/>
                </a:cubicBezTo>
                <a:cubicBezTo>
                  <a:pt x="405" y="395"/>
                  <a:pt x="405" y="396"/>
                  <a:pt x="404" y="396"/>
                </a:cubicBezTo>
                <a:close/>
                <a:moveTo>
                  <a:pt x="403" y="318"/>
                </a:moveTo>
                <a:cubicBezTo>
                  <a:pt x="403" y="317"/>
                  <a:pt x="404" y="317"/>
                  <a:pt x="404" y="316"/>
                </a:cubicBezTo>
                <a:cubicBezTo>
                  <a:pt x="405" y="316"/>
                  <a:pt x="403" y="318"/>
                  <a:pt x="403" y="318"/>
                </a:cubicBezTo>
                <a:close/>
                <a:moveTo>
                  <a:pt x="404" y="524"/>
                </a:moveTo>
                <a:cubicBezTo>
                  <a:pt x="404" y="524"/>
                  <a:pt x="404" y="523"/>
                  <a:pt x="404" y="523"/>
                </a:cubicBezTo>
                <a:cubicBezTo>
                  <a:pt x="404" y="521"/>
                  <a:pt x="406" y="524"/>
                  <a:pt x="404" y="524"/>
                </a:cubicBezTo>
                <a:close/>
                <a:moveTo>
                  <a:pt x="405" y="525"/>
                </a:moveTo>
                <a:cubicBezTo>
                  <a:pt x="405" y="525"/>
                  <a:pt x="405" y="525"/>
                  <a:pt x="405" y="525"/>
                </a:cubicBezTo>
                <a:cubicBezTo>
                  <a:pt x="405" y="525"/>
                  <a:pt x="405" y="525"/>
                  <a:pt x="405" y="525"/>
                </a:cubicBezTo>
                <a:close/>
                <a:moveTo>
                  <a:pt x="404" y="655"/>
                </a:moveTo>
                <a:cubicBezTo>
                  <a:pt x="405" y="653"/>
                  <a:pt x="407" y="655"/>
                  <a:pt x="404" y="655"/>
                </a:cubicBezTo>
                <a:close/>
                <a:moveTo>
                  <a:pt x="407" y="684"/>
                </a:moveTo>
                <a:cubicBezTo>
                  <a:pt x="407" y="684"/>
                  <a:pt x="405" y="685"/>
                  <a:pt x="405" y="683"/>
                </a:cubicBezTo>
                <a:cubicBezTo>
                  <a:pt x="405" y="683"/>
                  <a:pt x="407" y="683"/>
                  <a:pt x="407" y="684"/>
                </a:cubicBezTo>
                <a:close/>
                <a:moveTo>
                  <a:pt x="409" y="608"/>
                </a:moveTo>
                <a:cubicBezTo>
                  <a:pt x="410" y="608"/>
                  <a:pt x="408" y="610"/>
                  <a:pt x="407" y="609"/>
                </a:cubicBezTo>
                <a:cubicBezTo>
                  <a:pt x="407" y="609"/>
                  <a:pt x="409" y="608"/>
                  <a:pt x="409" y="608"/>
                </a:cubicBezTo>
                <a:close/>
                <a:moveTo>
                  <a:pt x="410" y="568"/>
                </a:moveTo>
                <a:cubicBezTo>
                  <a:pt x="410" y="568"/>
                  <a:pt x="409" y="568"/>
                  <a:pt x="409" y="568"/>
                </a:cubicBezTo>
                <a:cubicBezTo>
                  <a:pt x="408" y="567"/>
                  <a:pt x="411" y="566"/>
                  <a:pt x="410" y="568"/>
                </a:cubicBezTo>
                <a:close/>
                <a:moveTo>
                  <a:pt x="409" y="52"/>
                </a:moveTo>
                <a:cubicBezTo>
                  <a:pt x="410" y="51"/>
                  <a:pt x="412" y="49"/>
                  <a:pt x="414" y="50"/>
                </a:cubicBezTo>
                <a:cubicBezTo>
                  <a:pt x="416" y="51"/>
                  <a:pt x="411" y="53"/>
                  <a:pt x="409" y="52"/>
                </a:cubicBezTo>
                <a:close/>
                <a:moveTo>
                  <a:pt x="409" y="237"/>
                </a:moveTo>
                <a:cubicBezTo>
                  <a:pt x="409" y="239"/>
                  <a:pt x="407" y="238"/>
                  <a:pt x="409" y="237"/>
                </a:cubicBezTo>
                <a:close/>
                <a:moveTo>
                  <a:pt x="408" y="55"/>
                </a:moveTo>
                <a:cubicBezTo>
                  <a:pt x="408" y="55"/>
                  <a:pt x="408" y="55"/>
                  <a:pt x="409" y="55"/>
                </a:cubicBezTo>
                <a:cubicBezTo>
                  <a:pt x="409" y="57"/>
                  <a:pt x="406" y="53"/>
                  <a:pt x="408" y="55"/>
                </a:cubicBezTo>
                <a:close/>
                <a:moveTo>
                  <a:pt x="406" y="162"/>
                </a:moveTo>
                <a:cubicBezTo>
                  <a:pt x="404" y="163"/>
                  <a:pt x="403" y="163"/>
                  <a:pt x="401" y="163"/>
                </a:cubicBezTo>
                <a:cubicBezTo>
                  <a:pt x="401" y="164"/>
                  <a:pt x="400" y="164"/>
                  <a:pt x="400" y="164"/>
                </a:cubicBezTo>
                <a:cubicBezTo>
                  <a:pt x="400" y="164"/>
                  <a:pt x="401" y="164"/>
                  <a:pt x="401" y="163"/>
                </a:cubicBezTo>
                <a:cubicBezTo>
                  <a:pt x="403" y="162"/>
                  <a:pt x="406" y="160"/>
                  <a:pt x="407" y="159"/>
                </a:cubicBezTo>
                <a:cubicBezTo>
                  <a:pt x="410" y="159"/>
                  <a:pt x="406" y="162"/>
                  <a:pt x="406" y="162"/>
                </a:cubicBezTo>
                <a:close/>
                <a:moveTo>
                  <a:pt x="393" y="311"/>
                </a:moveTo>
                <a:cubicBezTo>
                  <a:pt x="391" y="311"/>
                  <a:pt x="394" y="305"/>
                  <a:pt x="395" y="306"/>
                </a:cubicBezTo>
                <a:cubicBezTo>
                  <a:pt x="397" y="307"/>
                  <a:pt x="394" y="311"/>
                  <a:pt x="393" y="311"/>
                </a:cubicBezTo>
                <a:close/>
                <a:moveTo>
                  <a:pt x="396" y="305"/>
                </a:moveTo>
                <a:cubicBezTo>
                  <a:pt x="397" y="304"/>
                  <a:pt x="395" y="306"/>
                  <a:pt x="396" y="305"/>
                </a:cubicBezTo>
                <a:close/>
                <a:moveTo>
                  <a:pt x="394" y="421"/>
                </a:moveTo>
                <a:cubicBezTo>
                  <a:pt x="395" y="422"/>
                  <a:pt x="393" y="423"/>
                  <a:pt x="394" y="421"/>
                </a:cubicBezTo>
                <a:close/>
                <a:moveTo>
                  <a:pt x="393" y="423"/>
                </a:moveTo>
                <a:cubicBezTo>
                  <a:pt x="393" y="424"/>
                  <a:pt x="392" y="424"/>
                  <a:pt x="391" y="424"/>
                </a:cubicBezTo>
                <a:cubicBezTo>
                  <a:pt x="391" y="423"/>
                  <a:pt x="392" y="423"/>
                  <a:pt x="393" y="423"/>
                </a:cubicBezTo>
                <a:close/>
                <a:moveTo>
                  <a:pt x="391" y="240"/>
                </a:moveTo>
                <a:cubicBezTo>
                  <a:pt x="390" y="240"/>
                  <a:pt x="392" y="238"/>
                  <a:pt x="391" y="240"/>
                </a:cubicBezTo>
                <a:close/>
                <a:moveTo>
                  <a:pt x="392" y="270"/>
                </a:moveTo>
                <a:cubicBezTo>
                  <a:pt x="391" y="270"/>
                  <a:pt x="393" y="269"/>
                  <a:pt x="393" y="268"/>
                </a:cubicBezTo>
                <a:cubicBezTo>
                  <a:pt x="394" y="269"/>
                  <a:pt x="392" y="269"/>
                  <a:pt x="392" y="270"/>
                </a:cubicBezTo>
                <a:close/>
                <a:moveTo>
                  <a:pt x="392" y="138"/>
                </a:moveTo>
                <a:cubicBezTo>
                  <a:pt x="394" y="139"/>
                  <a:pt x="391" y="137"/>
                  <a:pt x="392" y="138"/>
                </a:cubicBezTo>
                <a:close/>
                <a:moveTo>
                  <a:pt x="390" y="132"/>
                </a:moveTo>
                <a:cubicBezTo>
                  <a:pt x="391" y="132"/>
                  <a:pt x="392" y="132"/>
                  <a:pt x="392" y="132"/>
                </a:cubicBezTo>
                <a:cubicBezTo>
                  <a:pt x="392" y="132"/>
                  <a:pt x="391" y="133"/>
                  <a:pt x="390" y="132"/>
                </a:cubicBezTo>
                <a:close/>
                <a:moveTo>
                  <a:pt x="384" y="595"/>
                </a:moveTo>
                <a:cubicBezTo>
                  <a:pt x="392" y="593"/>
                  <a:pt x="390" y="603"/>
                  <a:pt x="384" y="604"/>
                </a:cubicBezTo>
                <a:cubicBezTo>
                  <a:pt x="378" y="604"/>
                  <a:pt x="379" y="597"/>
                  <a:pt x="384" y="595"/>
                </a:cubicBezTo>
                <a:close/>
                <a:moveTo>
                  <a:pt x="380" y="627"/>
                </a:moveTo>
                <a:cubicBezTo>
                  <a:pt x="380" y="627"/>
                  <a:pt x="379" y="627"/>
                  <a:pt x="379" y="627"/>
                </a:cubicBezTo>
                <a:cubicBezTo>
                  <a:pt x="379" y="624"/>
                  <a:pt x="381" y="628"/>
                  <a:pt x="380" y="627"/>
                </a:cubicBezTo>
                <a:close/>
                <a:moveTo>
                  <a:pt x="387" y="569"/>
                </a:moveTo>
                <a:cubicBezTo>
                  <a:pt x="387" y="569"/>
                  <a:pt x="387" y="569"/>
                  <a:pt x="387" y="569"/>
                </a:cubicBezTo>
                <a:cubicBezTo>
                  <a:pt x="388" y="569"/>
                  <a:pt x="388" y="569"/>
                  <a:pt x="388" y="569"/>
                </a:cubicBezTo>
                <a:cubicBezTo>
                  <a:pt x="388" y="569"/>
                  <a:pt x="388" y="569"/>
                  <a:pt x="389" y="569"/>
                </a:cubicBezTo>
                <a:cubicBezTo>
                  <a:pt x="388" y="569"/>
                  <a:pt x="388" y="569"/>
                  <a:pt x="388" y="569"/>
                </a:cubicBezTo>
                <a:cubicBezTo>
                  <a:pt x="388" y="569"/>
                  <a:pt x="387" y="569"/>
                  <a:pt x="387" y="569"/>
                </a:cubicBezTo>
                <a:close/>
                <a:moveTo>
                  <a:pt x="380" y="511"/>
                </a:moveTo>
                <a:cubicBezTo>
                  <a:pt x="380" y="511"/>
                  <a:pt x="380" y="512"/>
                  <a:pt x="380" y="512"/>
                </a:cubicBezTo>
                <a:cubicBezTo>
                  <a:pt x="379" y="511"/>
                  <a:pt x="381" y="510"/>
                  <a:pt x="380" y="511"/>
                </a:cubicBezTo>
                <a:close/>
                <a:moveTo>
                  <a:pt x="379" y="533"/>
                </a:moveTo>
                <a:cubicBezTo>
                  <a:pt x="380" y="532"/>
                  <a:pt x="381" y="533"/>
                  <a:pt x="379" y="533"/>
                </a:cubicBezTo>
                <a:close/>
                <a:moveTo>
                  <a:pt x="379" y="572"/>
                </a:moveTo>
                <a:cubicBezTo>
                  <a:pt x="379" y="572"/>
                  <a:pt x="379" y="572"/>
                  <a:pt x="379" y="572"/>
                </a:cubicBezTo>
                <a:cubicBezTo>
                  <a:pt x="379" y="572"/>
                  <a:pt x="379" y="572"/>
                  <a:pt x="379" y="572"/>
                </a:cubicBezTo>
                <a:cubicBezTo>
                  <a:pt x="379" y="572"/>
                  <a:pt x="379" y="572"/>
                  <a:pt x="379" y="572"/>
                </a:cubicBezTo>
                <a:close/>
                <a:moveTo>
                  <a:pt x="380" y="590"/>
                </a:moveTo>
                <a:cubicBezTo>
                  <a:pt x="380" y="590"/>
                  <a:pt x="379" y="591"/>
                  <a:pt x="379" y="591"/>
                </a:cubicBezTo>
                <a:cubicBezTo>
                  <a:pt x="378" y="592"/>
                  <a:pt x="379" y="589"/>
                  <a:pt x="380" y="590"/>
                </a:cubicBezTo>
                <a:close/>
                <a:moveTo>
                  <a:pt x="381" y="633"/>
                </a:moveTo>
                <a:cubicBezTo>
                  <a:pt x="382" y="633"/>
                  <a:pt x="384" y="632"/>
                  <a:pt x="384" y="632"/>
                </a:cubicBezTo>
                <a:cubicBezTo>
                  <a:pt x="385" y="633"/>
                  <a:pt x="381" y="634"/>
                  <a:pt x="381" y="633"/>
                </a:cubicBezTo>
                <a:close/>
                <a:moveTo>
                  <a:pt x="382" y="620"/>
                </a:moveTo>
                <a:cubicBezTo>
                  <a:pt x="379" y="617"/>
                  <a:pt x="382" y="612"/>
                  <a:pt x="386" y="611"/>
                </a:cubicBezTo>
                <a:cubicBezTo>
                  <a:pt x="387" y="610"/>
                  <a:pt x="390" y="611"/>
                  <a:pt x="392" y="611"/>
                </a:cubicBezTo>
                <a:cubicBezTo>
                  <a:pt x="395" y="611"/>
                  <a:pt x="393" y="611"/>
                  <a:pt x="395" y="613"/>
                </a:cubicBezTo>
                <a:cubicBezTo>
                  <a:pt x="397" y="616"/>
                  <a:pt x="396" y="621"/>
                  <a:pt x="392" y="620"/>
                </a:cubicBezTo>
                <a:cubicBezTo>
                  <a:pt x="394" y="614"/>
                  <a:pt x="391" y="621"/>
                  <a:pt x="389" y="622"/>
                </a:cubicBezTo>
                <a:cubicBezTo>
                  <a:pt x="388" y="622"/>
                  <a:pt x="383" y="621"/>
                  <a:pt x="382" y="620"/>
                </a:cubicBezTo>
                <a:close/>
                <a:moveTo>
                  <a:pt x="388" y="623"/>
                </a:moveTo>
                <a:cubicBezTo>
                  <a:pt x="389" y="623"/>
                  <a:pt x="397" y="619"/>
                  <a:pt x="396" y="622"/>
                </a:cubicBezTo>
                <a:cubicBezTo>
                  <a:pt x="396" y="623"/>
                  <a:pt x="390" y="624"/>
                  <a:pt x="388" y="623"/>
                </a:cubicBezTo>
                <a:close/>
                <a:moveTo>
                  <a:pt x="394" y="625"/>
                </a:moveTo>
                <a:cubicBezTo>
                  <a:pt x="394" y="626"/>
                  <a:pt x="393" y="626"/>
                  <a:pt x="392" y="625"/>
                </a:cubicBezTo>
                <a:cubicBezTo>
                  <a:pt x="392" y="624"/>
                  <a:pt x="395" y="625"/>
                  <a:pt x="394" y="625"/>
                </a:cubicBezTo>
                <a:close/>
                <a:moveTo>
                  <a:pt x="392" y="698"/>
                </a:moveTo>
                <a:cubicBezTo>
                  <a:pt x="392" y="698"/>
                  <a:pt x="394" y="697"/>
                  <a:pt x="394" y="698"/>
                </a:cubicBezTo>
                <a:cubicBezTo>
                  <a:pt x="394" y="699"/>
                  <a:pt x="393" y="698"/>
                  <a:pt x="392" y="698"/>
                </a:cubicBezTo>
                <a:close/>
                <a:moveTo>
                  <a:pt x="392" y="637"/>
                </a:moveTo>
                <a:cubicBezTo>
                  <a:pt x="392" y="636"/>
                  <a:pt x="394" y="636"/>
                  <a:pt x="394" y="637"/>
                </a:cubicBezTo>
                <a:cubicBezTo>
                  <a:pt x="395" y="638"/>
                  <a:pt x="392" y="637"/>
                  <a:pt x="392" y="637"/>
                </a:cubicBezTo>
                <a:close/>
                <a:moveTo>
                  <a:pt x="395" y="671"/>
                </a:moveTo>
                <a:cubicBezTo>
                  <a:pt x="394" y="671"/>
                  <a:pt x="396" y="670"/>
                  <a:pt x="397" y="671"/>
                </a:cubicBezTo>
                <a:cubicBezTo>
                  <a:pt x="397" y="672"/>
                  <a:pt x="395" y="672"/>
                  <a:pt x="395" y="671"/>
                </a:cubicBezTo>
                <a:close/>
                <a:moveTo>
                  <a:pt x="396" y="648"/>
                </a:moveTo>
                <a:cubicBezTo>
                  <a:pt x="396" y="647"/>
                  <a:pt x="397" y="647"/>
                  <a:pt x="398" y="648"/>
                </a:cubicBezTo>
                <a:cubicBezTo>
                  <a:pt x="397" y="648"/>
                  <a:pt x="397" y="648"/>
                  <a:pt x="396" y="648"/>
                </a:cubicBezTo>
                <a:close/>
                <a:moveTo>
                  <a:pt x="400" y="692"/>
                </a:moveTo>
                <a:cubicBezTo>
                  <a:pt x="399" y="692"/>
                  <a:pt x="397" y="692"/>
                  <a:pt x="397" y="691"/>
                </a:cubicBezTo>
                <a:cubicBezTo>
                  <a:pt x="397" y="689"/>
                  <a:pt x="400" y="691"/>
                  <a:pt x="400" y="692"/>
                </a:cubicBezTo>
                <a:close/>
                <a:moveTo>
                  <a:pt x="401" y="665"/>
                </a:moveTo>
                <a:cubicBezTo>
                  <a:pt x="401" y="663"/>
                  <a:pt x="401" y="666"/>
                  <a:pt x="401" y="665"/>
                </a:cubicBezTo>
                <a:close/>
                <a:moveTo>
                  <a:pt x="400" y="653"/>
                </a:moveTo>
                <a:cubicBezTo>
                  <a:pt x="400" y="650"/>
                  <a:pt x="404" y="652"/>
                  <a:pt x="403" y="653"/>
                </a:cubicBezTo>
                <a:cubicBezTo>
                  <a:pt x="403" y="655"/>
                  <a:pt x="400" y="654"/>
                  <a:pt x="400" y="653"/>
                </a:cubicBezTo>
                <a:close/>
                <a:moveTo>
                  <a:pt x="402" y="661"/>
                </a:moveTo>
                <a:cubicBezTo>
                  <a:pt x="401" y="660"/>
                  <a:pt x="403" y="660"/>
                  <a:pt x="403" y="660"/>
                </a:cubicBezTo>
                <a:cubicBezTo>
                  <a:pt x="403" y="661"/>
                  <a:pt x="402" y="661"/>
                  <a:pt x="402" y="661"/>
                </a:cubicBezTo>
                <a:close/>
                <a:moveTo>
                  <a:pt x="405" y="663"/>
                </a:moveTo>
                <a:cubicBezTo>
                  <a:pt x="404" y="664"/>
                  <a:pt x="404" y="664"/>
                  <a:pt x="403" y="663"/>
                </a:cubicBezTo>
                <a:cubicBezTo>
                  <a:pt x="403" y="662"/>
                  <a:pt x="406" y="662"/>
                  <a:pt x="405" y="663"/>
                </a:cubicBezTo>
                <a:close/>
                <a:moveTo>
                  <a:pt x="404" y="703"/>
                </a:moveTo>
                <a:cubicBezTo>
                  <a:pt x="405" y="701"/>
                  <a:pt x="409" y="701"/>
                  <a:pt x="411" y="701"/>
                </a:cubicBezTo>
                <a:cubicBezTo>
                  <a:pt x="409" y="702"/>
                  <a:pt x="406" y="702"/>
                  <a:pt x="404" y="703"/>
                </a:cubicBezTo>
                <a:close/>
                <a:moveTo>
                  <a:pt x="407" y="752"/>
                </a:moveTo>
                <a:cubicBezTo>
                  <a:pt x="407" y="753"/>
                  <a:pt x="406" y="751"/>
                  <a:pt x="406" y="751"/>
                </a:cubicBezTo>
                <a:cubicBezTo>
                  <a:pt x="406" y="750"/>
                  <a:pt x="409" y="751"/>
                  <a:pt x="407" y="752"/>
                </a:cubicBezTo>
                <a:close/>
                <a:moveTo>
                  <a:pt x="404" y="753"/>
                </a:moveTo>
                <a:cubicBezTo>
                  <a:pt x="405" y="752"/>
                  <a:pt x="406" y="753"/>
                  <a:pt x="407" y="753"/>
                </a:cubicBezTo>
                <a:cubicBezTo>
                  <a:pt x="406" y="754"/>
                  <a:pt x="405" y="753"/>
                  <a:pt x="404" y="753"/>
                </a:cubicBezTo>
                <a:close/>
                <a:moveTo>
                  <a:pt x="413" y="782"/>
                </a:moveTo>
                <a:cubicBezTo>
                  <a:pt x="412" y="781"/>
                  <a:pt x="415" y="781"/>
                  <a:pt x="415" y="782"/>
                </a:cubicBezTo>
                <a:cubicBezTo>
                  <a:pt x="415" y="782"/>
                  <a:pt x="413" y="783"/>
                  <a:pt x="413" y="782"/>
                </a:cubicBezTo>
                <a:close/>
                <a:moveTo>
                  <a:pt x="415" y="790"/>
                </a:moveTo>
                <a:cubicBezTo>
                  <a:pt x="415" y="790"/>
                  <a:pt x="416" y="791"/>
                  <a:pt x="416" y="791"/>
                </a:cubicBezTo>
                <a:cubicBezTo>
                  <a:pt x="416" y="792"/>
                  <a:pt x="414" y="791"/>
                  <a:pt x="415" y="790"/>
                </a:cubicBezTo>
                <a:close/>
                <a:moveTo>
                  <a:pt x="416" y="769"/>
                </a:moveTo>
                <a:cubicBezTo>
                  <a:pt x="415" y="771"/>
                  <a:pt x="412" y="767"/>
                  <a:pt x="409" y="767"/>
                </a:cubicBezTo>
                <a:cubicBezTo>
                  <a:pt x="408" y="767"/>
                  <a:pt x="403" y="768"/>
                  <a:pt x="402" y="766"/>
                </a:cubicBezTo>
                <a:cubicBezTo>
                  <a:pt x="402" y="764"/>
                  <a:pt x="408" y="766"/>
                  <a:pt x="409" y="765"/>
                </a:cubicBezTo>
                <a:cubicBezTo>
                  <a:pt x="409" y="765"/>
                  <a:pt x="407" y="761"/>
                  <a:pt x="407" y="760"/>
                </a:cubicBezTo>
                <a:cubicBezTo>
                  <a:pt x="407" y="752"/>
                  <a:pt x="419" y="758"/>
                  <a:pt x="422" y="761"/>
                </a:cubicBezTo>
                <a:cubicBezTo>
                  <a:pt x="426" y="765"/>
                  <a:pt x="417" y="761"/>
                  <a:pt x="419" y="766"/>
                </a:cubicBezTo>
                <a:cubicBezTo>
                  <a:pt x="416" y="764"/>
                  <a:pt x="417" y="769"/>
                  <a:pt x="416" y="769"/>
                </a:cubicBezTo>
                <a:close/>
                <a:moveTo>
                  <a:pt x="420" y="776"/>
                </a:moveTo>
                <a:cubicBezTo>
                  <a:pt x="422" y="777"/>
                  <a:pt x="419" y="780"/>
                  <a:pt x="419" y="777"/>
                </a:cubicBezTo>
                <a:cubicBezTo>
                  <a:pt x="419" y="777"/>
                  <a:pt x="419" y="776"/>
                  <a:pt x="420" y="776"/>
                </a:cubicBezTo>
                <a:close/>
                <a:moveTo>
                  <a:pt x="419" y="781"/>
                </a:moveTo>
                <a:cubicBezTo>
                  <a:pt x="420" y="780"/>
                  <a:pt x="421" y="780"/>
                  <a:pt x="423" y="780"/>
                </a:cubicBezTo>
                <a:cubicBezTo>
                  <a:pt x="422" y="781"/>
                  <a:pt x="420" y="781"/>
                  <a:pt x="419" y="781"/>
                </a:cubicBezTo>
                <a:close/>
                <a:moveTo>
                  <a:pt x="422" y="781"/>
                </a:moveTo>
                <a:cubicBezTo>
                  <a:pt x="422" y="780"/>
                  <a:pt x="423" y="780"/>
                  <a:pt x="423" y="781"/>
                </a:cubicBezTo>
                <a:cubicBezTo>
                  <a:pt x="423" y="781"/>
                  <a:pt x="422" y="782"/>
                  <a:pt x="422" y="781"/>
                </a:cubicBezTo>
                <a:close/>
                <a:moveTo>
                  <a:pt x="424" y="780"/>
                </a:moveTo>
                <a:cubicBezTo>
                  <a:pt x="423" y="780"/>
                  <a:pt x="426" y="781"/>
                  <a:pt x="424" y="780"/>
                </a:cubicBezTo>
                <a:close/>
                <a:moveTo>
                  <a:pt x="428" y="750"/>
                </a:moveTo>
                <a:cubicBezTo>
                  <a:pt x="427" y="750"/>
                  <a:pt x="427" y="749"/>
                  <a:pt x="428" y="750"/>
                </a:cubicBezTo>
                <a:close/>
                <a:moveTo>
                  <a:pt x="424" y="728"/>
                </a:moveTo>
                <a:cubicBezTo>
                  <a:pt x="424" y="727"/>
                  <a:pt x="428" y="726"/>
                  <a:pt x="428" y="728"/>
                </a:cubicBezTo>
                <a:cubicBezTo>
                  <a:pt x="429" y="730"/>
                  <a:pt x="424" y="731"/>
                  <a:pt x="424" y="728"/>
                </a:cubicBezTo>
                <a:close/>
                <a:moveTo>
                  <a:pt x="429" y="774"/>
                </a:moveTo>
                <a:cubicBezTo>
                  <a:pt x="429" y="773"/>
                  <a:pt x="431" y="773"/>
                  <a:pt x="431" y="773"/>
                </a:cubicBezTo>
                <a:cubicBezTo>
                  <a:pt x="432" y="774"/>
                  <a:pt x="429" y="775"/>
                  <a:pt x="429" y="774"/>
                </a:cubicBezTo>
                <a:close/>
                <a:moveTo>
                  <a:pt x="436" y="765"/>
                </a:moveTo>
                <a:cubicBezTo>
                  <a:pt x="437" y="763"/>
                  <a:pt x="441" y="765"/>
                  <a:pt x="441" y="767"/>
                </a:cubicBezTo>
                <a:cubicBezTo>
                  <a:pt x="440" y="769"/>
                  <a:pt x="435" y="768"/>
                  <a:pt x="436" y="765"/>
                </a:cubicBezTo>
                <a:close/>
                <a:moveTo>
                  <a:pt x="430" y="758"/>
                </a:moveTo>
                <a:cubicBezTo>
                  <a:pt x="432" y="757"/>
                  <a:pt x="442" y="760"/>
                  <a:pt x="441" y="760"/>
                </a:cubicBezTo>
                <a:cubicBezTo>
                  <a:pt x="440" y="761"/>
                  <a:pt x="433" y="758"/>
                  <a:pt x="430" y="758"/>
                </a:cubicBezTo>
                <a:close/>
                <a:moveTo>
                  <a:pt x="439" y="757"/>
                </a:moveTo>
                <a:cubicBezTo>
                  <a:pt x="440" y="755"/>
                  <a:pt x="443" y="755"/>
                  <a:pt x="445" y="756"/>
                </a:cubicBezTo>
                <a:cubicBezTo>
                  <a:pt x="443" y="756"/>
                  <a:pt x="441" y="757"/>
                  <a:pt x="439" y="757"/>
                </a:cubicBezTo>
                <a:close/>
                <a:moveTo>
                  <a:pt x="442" y="718"/>
                </a:moveTo>
                <a:cubicBezTo>
                  <a:pt x="442" y="716"/>
                  <a:pt x="446" y="716"/>
                  <a:pt x="446" y="718"/>
                </a:cubicBezTo>
                <a:cubicBezTo>
                  <a:pt x="446" y="718"/>
                  <a:pt x="442" y="720"/>
                  <a:pt x="442" y="718"/>
                </a:cubicBezTo>
                <a:close/>
                <a:moveTo>
                  <a:pt x="446" y="755"/>
                </a:moveTo>
                <a:cubicBezTo>
                  <a:pt x="448" y="755"/>
                  <a:pt x="450" y="754"/>
                  <a:pt x="452" y="755"/>
                </a:cubicBezTo>
                <a:cubicBezTo>
                  <a:pt x="450" y="755"/>
                  <a:pt x="448" y="756"/>
                  <a:pt x="446" y="755"/>
                </a:cubicBezTo>
                <a:close/>
                <a:moveTo>
                  <a:pt x="453" y="520"/>
                </a:moveTo>
                <a:cubicBezTo>
                  <a:pt x="454" y="520"/>
                  <a:pt x="453" y="521"/>
                  <a:pt x="453" y="521"/>
                </a:cubicBezTo>
                <a:cubicBezTo>
                  <a:pt x="450" y="523"/>
                  <a:pt x="452" y="518"/>
                  <a:pt x="453" y="520"/>
                </a:cubicBezTo>
                <a:close/>
                <a:moveTo>
                  <a:pt x="453" y="590"/>
                </a:moveTo>
                <a:cubicBezTo>
                  <a:pt x="452" y="590"/>
                  <a:pt x="453" y="590"/>
                  <a:pt x="453" y="590"/>
                </a:cubicBezTo>
                <a:cubicBezTo>
                  <a:pt x="454" y="590"/>
                  <a:pt x="453" y="590"/>
                  <a:pt x="453" y="590"/>
                </a:cubicBezTo>
                <a:close/>
                <a:moveTo>
                  <a:pt x="455" y="750"/>
                </a:moveTo>
                <a:cubicBezTo>
                  <a:pt x="455" y="750"/>
                  <a:pt x="454" y="750"/>
                  <a:pt x="455" y="750"/>
                </a:cubicBezTo>
                <a:close/>
                <a:moveTo>
                  <a:pt x="455" y="750"/>
                </a:moveTo>
                <a:cubicBezTo>
                  <a:pt x="455" y="750"/>
                  <a:pt x="455" y="750"/>
                  <a:pt x="455" y="750"/>
                </a:cubicBezTo>
                <a:cubicBezTo>
                  <a:pt x="455" y="750"/>
                  <a:pt x="455" y="750"/>
                  <a:pt x="455" y="750"/>
                </a:cubicBezTo>
                <a:cubicBezTo>
                  <a:pt x="455" y="750"/>
                  <a:pt x="455" y="750"/>
                  <a:pt x="455" y="750"/>
                </a:cubicBezTo>
                <a:close/>
                <a:moveTo>
                  <a:pt x="453" y="740"/>
                </a:moveTo>
                <a:cubicBezTo>
                  <a:pt x="455" y="737"/>
                  <a:pt x="457" y="739"/>
                  <a:pt x="453" y="740"/>
                </a:cubicBezTo>
                <a:close/>
                <a:moveTo>
                  <a:pt x="454" y="643"/>
                </a:moveTo>
                <a:cubicBezTo>
                  <a:pt x="454" y="642"/>
                  <a:pt x="455" y="641"/>
                  <a:pt x="455" y="641"/>
                </a:cubicBezTo>
                <a:cubicBezTo>
                  <a:pt x="458" y="642"/>
                  <a:pt x="455" y="645"/>
                  <a:pt x="454" y="643"/>
                </a:cubicBezTo>
                <a:close/>
                <a:moveTo>
                  <a:pt x="459" y="703"/>
                </a:moveTo>
                <a:cubicBezTo>
                  <a:pt x="456" y="704"/>
                  <a:pt x="455" y="702"/>
                  <a:pt x="459" y="703"/>
                </a:cubicBezTo>
                <a:close/>
                <a:moveTo>
                  <a:pt x="457" y="743"/>
                </a:moveTo>
                <a:cubicBezTo>
                  <a:pt x="458" y="741"/>
                  <a:pt x="461" y="740"/>
                  <a:pt x="462" y="742"/>
                </a:cubicBezTo>
                <a:cubicBezTo>
                  <a:pt x="465" y="746"/>
                  <a:pt x="457" y="747"/>
                  <a:pt x="457" y="743"/>
                </a:cubicBezTo>
                <a:close/>
                <a:moveTo>
                  <a:pt x="464" y="717"/>
                </a:moveTo>
                <a:cubicBezTo>
                  <a:pt x="463" y="717"/>
                  <a:pt x="463" y="717"/>
                  <a:pt x="464" y="717"/>
                </a:cubicBezTo>
                <a:close/>
                <a:moveTo>
                  <a:pt x="466" y="739"/>
                </a:moveTo>
                <a:cubicBezTo>
                  <a:pt x="465" y="739"/>
                  <a:pt x="464" y="740"/>
                  <a:pt x="464" y="739"/>
                </a:cubicBezTo>
                <a:cubicBezTo>
                  <a:pt x="462" y="736"/>
                  <a:pt x="469" y="737"/>
                  <a:pt x="466" y="739"/>
                </a:cubicBezTo>
                <a:close/>
                <a:moveTo>
                  <a:pt x="464" y="729"/>
                </a:moveTo>
                <a:cubicBezTo>
                  <a:pt x="465" y="728"/>
                  <a:pt x="466" y="728"/>
                  <a:pt x="467" y="728"/>
                </a:cubicBezTo>
                <a:cubicBezTo>
                  <a:pt x="467" y="729"/>
                  <a:pt x="465" y="729"/>
                  <a:pt x="464" y="729"/>
                </a:cubicBezTo>
                <a:close/>
                <a:moveTo>
                  <a:pt x="465" y="693"/>
                </a:moveTo>
                <a:cubicBezTo>
                  <a:pt x="466" y="692"/>
                  <a:pt x="468" y="692"/>
                  <a:pt x="469" y="692"/>
                </a:cubicBezTo>
                <a:cubicBezTo>
                  <a:pt x="469" y="693"/>
                  <a:pt x="466" y="692"/>
                  <a:pt x="465" y="693"/>
                </a:cubicBezTo>
                <a:close/>
                <a:moveTo>
                  <a:pt x="470" y="685"/>
                </a:moveTo>
                <a:cubicBezTo>
                  <a:pt x="470" y="686"/>
                  <a:pt x="468" y="685"/>
                  <a:pt x="470" y="685"/>
                </a:cubicBezTo>
                <a:close/>
                <a:moveTo>
                  <a:pt x="467" y="662"/>
                </a:moveTo>
                <a:cubicBezTo>
                  <a:pt x="468" y="661"/>
                  <a:pt x="470" y="660"/>
                  <a:pt x="471" y="661"/>
                </a:cubicBezTo>
                <a:cubicBezTo>
                  <a:pt x="470" y="661"/>
                  <a:pt x="468" y="662"/>
                  <a:pt x="467" y="662"/>
                </a:cubicBezTo>
                <a:close/>
                <a:moveTo>
                  <a:pt x="471" y="692"/>
                </a:moveTo>
                <a:cubicBezTo>
                  <a:pt x="471" y="691"/>
                  <a:pt x="473" y="690"/>
                  <a:pt x="473" y="691"/>
                </a:cubicBezTo>
                <a:cubicBezTo>
                  <a:pt x="473" y="691"/>
                  <a:pt x="472" y="691"/>
                  <a:pt x="471" y="692"/>
                </a:cubicBezTo>
                <a:close/>
                <a:moveTo>
                  <a:pt x="472" y="674"/>
                </a:moveTo>
                <a:cubicBezTo>
                  <a:pt x="472" y="673"/>
                  <a:pt x="472" y="673"/>
                  <a:pt x="473" y="674"/>
                </a:cubicBezTo>
                <a:cubicBezTo>
                  <a:pt x="474" y="674"/>
                  <a:pt x="471" y="676"/>
                  <a:pt x="472" y="674"/>
                </a:cubicBezTo>
                <a:close/>
                <a:moveTo>
                  <a:pt x="472" y="660"/>
                </a:moveTo>
                <a:cubicBezTo>
                  <a:pt x="472" y="660"/>
                  <a:pt x="473" y="659"/>
                  <a:pt x="474" y="660"/>
                </a:cubicBezTo>
                <a:cubicBezTo>
                  <a:pt x="474" y="660"/>
                  <a:pt x="472" y="660"/>
                  <a:pt x="472" y="660"/>
                </a:cubicBezTo>
                <a:close/>
                <a:moveTo>
                  <a:pt x="466" y="644"/>
                </a:moveTo>
                <a:cubicBezTo>
                  <a:pt x="466" y="644"/>
                  <a:pt x="464" y="645"/>
                  <a:pt x="465" y="644"/>
                </a:cubicBezTo>
                <a:cubicBezTo>
                  <a:pt x="468" y="641"/>
                  <a:pt x="473" y="641"/>
                  <a:pt x="476" y="640"/>
                </a:cubicBezTo>
                <a:cubicBezTo>
                  <a:pt x="473" y="642"/>
                  <a:pt x="468" y="644"/>
                  <a:pt x="466" y="644"/>
                </a:cubicBezTo>
                <a:close/>
                <a:moveTo>
                  <a:pt x="475" y="253"/>
                </a:moveTo>
                <a:cubicBezTo>
                  <a:pt x="475" y="253"/>
                  <a:pt x="476" y="252"/>
                  <a:pt x="476" y="253"/>
                </a:cubicBezTo>
                <a:cubicBezTo>
                  <a:pt x="477" y="255"/>
                  <a:pt x="474" y="255"/>
                  <a:pt x="475" y="253"/>
                </a:cubicBezTo>
                <a:close/>
                <a:moveTo>
                  <a:pt x="478" y="685"/>
                </a:moveTo>
                <a:cubicBezTo>
                  <a:pt x="478" y="684"/>
                  <a:pt x="481" y="684"/>
                  <a:pt x="482" y="684"/>
                </a:cubicBezTo>
                <a:cubicBezTo>
                  <a:pt x="482" y="685"/>
                  <a:pt x="479" y="685"/>
                  <a:pt x="478" y="685"/>
                </a:cubicBezTo>
                <a:close/>
                <a:moveTo>
                  <a:pt x="476" y="672"/>
                </a:moveTo>
                <a:cubicBezTo>
                  <a:pt x="476" y="668"/>
                  <a:pt x="483" y="671"/>
                  <a:pt x="482" y="673"/>
                </a:cubicBezTo>
                <a:cubicBezTo>
                  <a:pt x="482" y="675"/>
                  <a:pt x="476" y="675"/>
                  <a:pt x="476" y="672"/>
                </a:cubicBezTo>
                <a:close/>
                <a:moveTo>
                  <a:pt x="484" y="112"/>
                </a:moveTo>
                <a:cubicBezTo>
                  <a:pt x="484" y="111"/>
                  <a:pt x="486" y="111"/>
                  <a:pt x="486" y="111"/>
                </a:cubicBezTo>
                <a:cubicBezTo>
                  <a:pt x="488" y="111"/>
                  <a:pt x="489" y="111"/>
                  <a:pt x="489" y="113"/>
                </a:cubicBezTo>
                <a:cubicBezTo>
                  <a:pt x="489" y="114"/>
                  <a:pt x="484" y="115"/>
                  <a:pt x="483" y="114"/>
                </a:cubicBezTo>
                <a:cubicBezTo>
                  <a:pt x="483" y="113"/>
                  <a:pt x="484" y="113"/>
                  <a:pt x="484" y="112"/>
                </a:cubicBezTo>
                <a:cubicBezTo>
                  <a:pt x="484" y="112"/>
                  <a:pt x="484" y="112"/>
                  <a:pt x="484" y="112"/>
                </a:cubicBezTo>
                <a:close/>
                <a:moveTo>
                  <a:pt x="483" y="110"/>
                </a:moveTo>
                <a:cubicBezTo>
                  <a:pt x="483" y="111"/>
                  <a:pt x="482" y="111"/>
                  <a:pt x="481" y="111"/>
                </a:cubicBezTo>
                <a:cubicBezTo>
                  <a:pt x="481" y="110"/>
                  <a:pt x="483" y="111"/>
                  <a:pt x="483" y="110"/>
                </a:cubicBezTo>
                <a:close/>
                <a:moveTo>
                  <a:pt x="476" y="116"/>
                </a:moveTo>
                <a:cubicBezTo>
                  <a:pt x="477" y="116"/>
                  <a:pt x="476" y="117"/>
                  <a:pt x="476" y="117"/>
                </a:cubicBezTo>
                <a:cubicBezTo>
                  <a:pt x="475" y="117"/>
                  <a:pt x="476" y="116"/>
                  <a:pt x="476" y="116"/>
                </a:cubicBezTo>
                <a:close/>
                <a:moveTo>
                  <a:pt x="482" y="122"/>
                </a:moveTo>
                <a:cubicBezTo>
                  <a:pt x="481" y="124"/>
                  <a:pt x="477" y="125"/>
                  <a:pt x="475" y="126"/>
                </a:cubicBezTo>
                <a:cubicBezTo>
                  <a:pt x="477" y="124"/>
                  <a:pt x="479" y="123"/>
                  <a:pt x="482" y="122"/>
                </a:cubicBezTo>
                <a:close/>
                <a:moveTo>
                  <a:pt x="476" y="146"/>
                </a:moveTo>
                <a:cubicBezTo>
                  <a:pt x="474" y="149"/>
                  <a:pt x="470" y="149"/>
                  <a:pt x="467" y="150"/>
                </a:cubicBezTo>
                <a:cubicBezTo>
                  <a:pt x="469" y="148"/>
                  <a:pt x="473" y="148"/>
                  <a:pt x="476" y="146"/>
                </a:cubicBezTo>
                <a:close/>
                <a:moveTo>
                  <a:pt x="474" y="126"/>
                </a:moveTo>
                <a:cubicBezTo>
                  <a:pt x="473" y="127"/>
                  <a:pt x="471" y="128"/>
                  <a:pt x="469" y="128"/>
                </a:cubicBezTo>
                <a:cubicBezTo>
                  <a:pt x="470" y="128"/>
                  <a:pt x="471" y="129"/>
                  <a:pt x="470" y="130"/>
                </a:cubicBezTo>
                <a:cubicBezTo>
                  <a:pt x="470" y="131"/>
                  <a:pt x="467" y="131"/>
                  <a:pt x="467" y="130"/>
                </a:cubicBezTo>
                <a:cubicBezTo>
                  <a:pt x="467" y="129"/>
                  <a:pt x="468" y="129"/>
                  <a:pt x="469" y="128"/>
                </a:cubicBezTo>
                <a:cubicBezTo>
                  <a:pt x="469" y="128"/>
                  <a:pt x="468" y="128"/>
                  <a:pt x="468" y="128"/>
                </a:cubicBezTo>
                <a:cubicBezTo>
                  <a:pt x="470" y="127"/>
                  <a:pt x="472" y="127"/>
                  <a:pt x="474" y="126"/>
                </a:cubicBezTo>
                <a:close/>
                <a:moveTo>
                  <a:pt x="470" y="106"/>
                </a:moveTo>
                <a:cubicBezTo>
                  <a:pt x="470" y="106"/>
                  <a:pt x="470" y="107"/>
                  <a:pt x="469" y="107"/>
                </a:cubicBezTo>
                <a:cubicBezTo>
                  <a:pt x="469" y="107"/>
                  <a:pt x="469" y="106"/>
                  <a:pt x="470" y="106"/>
                </a:cubicBezTo>
                <a:close/>
                <a:moveTo>
                  <a:pt x="469" y="74"/>
                </a:moveTo>
                <a:cubicBezTo>
                  <a:pt x="468" y="74"/>
                  <a:pt x="467" y="74"/>
                  <a:pt x="466" y="74"/>
                </a:cubicBezTo>
                <a:cubicBezTo>
                  <a:pt x="467" y="73"/>
                  <a:pt x="468" y="73"/>
                  <a:pt x="469" y="74"/>
                </a:cubicBezTo>
                <a:close/>
                <a:moveTo>
                  <a:pt x="466" y="75"/>
                </a:moveTo>
                <a:cubicBezTo>
                  <a:pt x="466" y="75"/>
                  <a:pt x="468" y="76"/>
                  <a:pt x="468" y="75"/>
                </a:cubicBezTo>
                <a:cubicBezTo>
                  <a:pt x="468" y="77"/>
                  <a:pt x="465" y="76"/>
                  <a:pt x="466" y="75"/>
                </a:cubicBezTo>
                <a:close/>
                <a:moveTo>
                  <a:pt x="468" y="80"/>
                </a:moveTo>
                <a:cubicBezTo>
                  <a:pt x="468" y="81"/>
                  <a:pt x="466" y="81"/>
                  <a:pt x="466" y="79"/>
                </a:cubicBezTo>
                <a:cubicBezTo>
                  <a:pt x="467" y="79"/>
                  <a:pt x="468" y="79"/>
                  <a:pt x="468" y="80"/>
                </a:cubicBezTo>
                <a:close/>
                <a:moveTo>
                  <a:pt x="466" y="93"/>
                </a:moveTo>
                <a:cubicBezTo>
                  <a:pt x="466" y="95"/>
                  <a:pt x="465" y="93"/>
                  <a:pt x="466" y="93"/>
                </a:cubicBezTo>
                <a:close/>
                <a:moveTo>
                  <a:pt x="470" y="95"/>
                </a:moveTo>
                <a:cubicBezTo>
                  <a:pt x="472" y="95"/>
                  <a:pt x="473" y="98"/>
                  <a:pt x="471" y="100"/>
                </a:cubicBezTo>
                <a:cubicBezTo>
                  <a:pt x="470" y="101"/>
                  <a:pt x="468" y="101"/>
                  <a:pt x="467" y="101"/>
                </a:cubicBezTo>
                <a:cubicBezTo>
                  <a:pt x="465" y="101"/>
                  <a:pt x="463" y="102"/>
                  <a:pt x="463" y="101"/>
                </a:cubicBezTo>
                <a:cubicBezTo>
                  <a:pt x="463" y="101"/>
                  <a:pt x="463" y="101"/>
                  <a:pt x="464" y="101"/>
                </a:cubicBezTo>
                <a:cubicBezTo>
                  <a:pt x="463" y="101"/>
                  <a:pt x="463" y="101"/>
                  <a:pt x="463" y="101"/>
                </a:cubicBezTo>
                <a:cubicBezTo>
                  <a:pt x="463" y="101"/>
                  <a:pt x="462" y="100"/>
                  <a:pt x="462" y="101"/>
                </a:cubicBezTo>
                <a:cubicBezTo>
                  <a:pt x="461" y="99"/>
                  <a:pt x="467" y="94"/>
                  <a:pt x="470" y="95"/>
                </a:cubicBezTo>
                <a:close/>
                <a:moveTo>
                  <a:pt x="470" y="59"/>
                </a:moveTo>
                <a:cubicBezTo>
                  <a:pt x="470" y="59"/>
                  <a:pt x="470" y="60"/>
                  <a:pt x="470" y="59"/>
                </a:cubicBezTo>
                <a:cubicBezTo>
                  <a:pt x="469" y="59"/>
                  <a:pt x="470" y="58"/>
                  <a:pt x="470" y="59"/>
                </a:cubicBezTo>
                <a:close/>
                <a:moveTo>
                  <a:pt x="453" y="60"/>
                </a:moveTo>
                <a:cubicBezTo>
                  <a:pt x="455" y="59"/>
                  <a:pt x="458" y="61"/>
                  <a:pt x="461" y="61"/>
                </a:cubicBezTo>
                <a:cubicBezTo>
                  <a:pt x="462" y="61"/>
                  <a:pt x="467" y="59"/>
                  <a:pt x="468" y="61"/>
                </a:cubicBezTo>
                <a:cubicBezTo>
                  <a:pt x="468" y="62"/>
                  <a:pt x="462" y="62"/>
                  <a:pt x="462" y="62"/>
                </a:cubicBezTo>
                <a:cubicBezTo>
                  <a:pt x="462" y="63"/>
                  <a:pt x="465" y="66"/>
                  <a:pt x="465" y="67"/>
                </a:cubicBezTo>
                <a:cubicBezTo>
                  <a:pt x="467" y="75"/>
                  <a:pt x="454" y="72"/>
                  <a:pt x="450" y="70"/>
                </a:cubicBezTo>
                <a:cubicBezTo>
                  <a:pt x="445" y="67"/>
                  <a:pt x="455" y="69"/>
                  <a:pt x="451" y="64"/>
                </a:cubicBezTo>
                <a:cubicBezTo>
                  <a:pt x="455" y="66"/>
                  <a:pt x="453" y="61"/>
                  <a:pt x="453" y="60"/>
                </a:cubicBezTo>
                <a:close/>
                <a:moveTo>
                  <a:pt x="454" y="47"/>
                </a:moveTo>
                <a:cubicBezTo>
                  <a:pt x="455" y="48"/>
                  <a:pt x="452" y="49"/>
                  <a:pt x="452" y="48"/>
                </a:cubicBezTo>
                <a:cubicBezTo>
                  <a:pt x="452" y="47"/>
                  <a:pt x="454" y="47"/>
                  <a:pt x="454" y="47"/>
                </a:cubicBezTo>
                <a:close/>
                <a:moveTo>
                  <a:pt x="455" y="21"/>
                </a:moveTo>
                <a:cubicBezTo>
                  <a:pt x="456" y="22"/>
                  <a:pt x="453" y="22"/>
                  <a:pt x="453" y="21"/>
                </a:cubicBezTo>
                <a:cubicBezTo>
                  <a:pt x="453" y="20"/>
                  <a:pt x="455" y="20"/>
                  <a:pt x="455" y="21"/>
                </a:cubicBezTo>
                <a:close/>
                <a:moveTo>
                  <a:pt x="454" y="23"/>
                </a:moveTo>
                <a:cubicBezTo>
                  <a:pt x="454" y="25"/>
                  <a:pt x="450" y="24"/>
                  <a:pt x="450" y="23"/>
                </a:cubicBezTo>
                <a:cubicBezTo>
                  <a:pt x="450" y="22"/>
                  <a:pt x="454" y="21"/>
                  <a:pt x="454" y="23"/>
                </a:cubicBezTo>
                <a:close/>
                <a:moveTo>
                  <a:pt x="447" y="8"/>
                </a:moveTo>
                <a:cubicBezTo>
                  <a:pt x="448" y="9"/>
                  <a:pt x="446" y="9"/>
                  <a:pt x="446" y="9"/>
                </a:cubicBezTo>
                <a:cubicBezTo>
                  <a:pt x="446" y="8"/>
                  <a:pt x="447" y="8"/>
                  <a:pt x="447" y="8"/>
                </a:cubicBezTo>
                <a:close/>
                <a:moveTo>
                  <a:pt x="446" y="11"/>
                </a:moveTo>
                <a:cubicBezTo>
                  <a:pt x="447" y="11"/>
                  <a:pt x="450" y="8"/>
                  <a:pt x="451" y="10"/>
                </a:cubicBezTo>
                <a:cubicBezTo>
                  <a:pt x="453" y="14"/>
                  <a:pt x="448" y="13"/>
                  <a:pt x="447" y="13"/>
                </a:cubicBezTo>
                <a:cubicBezTo>
                  <a:pt x="447" y="13"/>
                  <a:pt x="447" y="13"/>
                  <a:pt x="446" y="13"/>
                </a:cubicBezTo>
                <a:cubicBezTo>
                  <a:pt x="446" y="14"/>
                  <a:pt x="444" y="14"/>
                  <a:pt x="444" y="13"/>
                </a:cubicBezTo>
                <a:cubicBezTo>
                  <a:pt x="444" y="13"/>
                  <a:pt x="444" y="13"/>
                  <a:pt x="444" y="13"/>
                </a:cubicBezTo>
                <a:cubicBezTo>
                  <a:pt x="444" y="12"/>
                  <a:pt x="444" y="12"/>
                  <a:pt x="444" y="12"/>
                </a:cubicBezTo>
                <a:cubicBezTo>
                  <a:pt x="444" y="12"/>
                  <a:pt x="444" y="11"/>
                  <a:pt x="444" y="12"/>
                </a:cubicBezTo>
                <a:cubicBezTo>
                  <a:pt x="444" y="11"/>
                  <a:pt x="445" y="11"/>
                  <a:pt x="445" y="11"/>
                </a:cubicBezTo>
                <a:cubicBezTo>
                  <a:pt x="446" y="11"/>
                  <a:pt x="446" y="11"/>
                  <a:pt x="446" y="11"/>
                </a:cubicBezTo>
                <a:close/>
                <a:moveTo>
                  <a:pt x="442" y="4"/>
                </a:moveTo>
                <a:cubicBezTo>
                  <a:pt x="444" y="3"/>
                  <a:pt x="444" y="5"/>
                  <a:pt x="442" y="4"/>
                </a:cubicBezTo>
                <a:close/>
                <a:moveTo>
                  <a:pt x="442" y="6"/>
                </a:moveTo>
                <a:cubicBezTo>
                  <a:pt x="442" y="6"/>
                  <a:pt x="443" y="7"/>
                  <a:pt x="443" y="7"/>
                </a:cubicBezTo>
                <a:cubicBezTo>
                  <a:pt x="444" y="9"/>
                  <a:pt x="440" y="7"/>
                  <a:pt x="442" y="6"/>
                </a:cubicBezTo>
                <a:close/>
                <a:moveTo>
                  <a:pt x="442" y="12"/>
                </a:moveTo>
                <a:cubicBezTo>
                  <a:pt x="441" y="12"/>
                  <a:pt x="442" y="11"/>
                  <a:pt x="442" y="12"/>
                </a:cubicBezTo>
                <a:cubicBezTo>
                  <a:pt x="443" y="12"/>
                  <a:pt x="442" y="12"/>
                  <a:pt x="442" y="12"/>
                </a:cubicBezTo>
                <a:close/>
                <a:moveTo>
                  <a:pt x="442" y="23"/>
                </a:moveTo>
                <a:cubicBezTo>
                  <a:pt x="442" y="23"/>
                  <a:pt x="441" y="24"/>
                  <a:pt x="441" y="23"/>
                </a:cubicBezTo>
                <a:cubicBezTo>
                  <a:pt x="441" y="23"/>
                  <a:pt x="442" y="23"/>
                  <a:pt x="442" y="23"/>
                </a:cubicBezTo>
                <a:close/>
                <a:moveTo>
                  <a:pt x="440" y="7"/>
                </a:moveTo>
                <a:cubicBezTo>
                  <a:pt x="441" y="7"/>
                  <a:pt x="439" y="7"/>
                  <a:pt x="439" y="7"/>
                </a:cubicBezTo>
                <a:cubicBezTo>
                  <a:pt x="439" y="6"/>
                  <a:pt x="440" y="6"/>
                  <a:pt x="440" y="7"/>
                </a:cubicBezTo>
                <a:close/>
                <a:moveTo>
                  <a:pt x="441" y="16"/>
                </a:moveTo>
                <a:cubicBezTo>
                  <a:pt x="441" y="17"/>
                  <a:pt x="438" y="17"/>
                  <a:pt x="439" y="16"/>
                </a:cubicBezTo>
                <a:cubicBezTo>
                  <a:pt x="439" y="15"/>
                  <a:pt x="440" y="16"/>
                  <a:pt x="441" y="16"/>
                </a:cubicBezTo>
                <a:close/>
                <a:moveTo>
                  <a:pt x="439" y="25"/>
                </a:moveTo>
                <a:cubicBezTo>
                  <a:pt x="440" y="26"/>
                  <a:pt x="437" y="27"/>
                  <a:pt x="437" y="26"/>
                </a:cubicBezTo>
                <a:cubicBezTo>
                  <a:pt x="436" y="25"/>
                  <a:pt x="439" y="25"/>
                  <a:pt x="439" y="25"/>
                </a:cubicBezTo>
                <a:close/>
                <a:moveTo>
                  <a:pt x="436" y="30"/>
                </a:moveTo>
                <a:cubicBezTo>
                  <a:pt x="437" y="29"/>
                  <a:pt x="438" y="31"/>
                  <a:pt x="436" y="30"/>
                </a:cubicBezTo>
                <a:close/>
                <a:moveTo>
                  <a:pt x="434" y="10"/>
                </a:moveTo>
                <a:cubicBezTo>
                  <a:pt x="435" y="11"/>
                  <a:pt x="433" y="11"/>
                  <a:pt x="433" y="11"/>
                </a:cubicBezTo>
                <a:cubicBezTo>
                  <a:pt x="432" y="11"/>
                  <a:pt x="434" y="10"/>
                  <a:pt x="434" y="10"/>
                </a:cubicBezTo>
                <a:close/>
                <a:moveTo>
                  <a:pt x="432" y="13"/>
                </a:moveTo>
                <a:cubicBezTo>
                  <a:pt x="433" y="14"/>
                  <a:pt x="429" y="15"/>
                  <a:pt x="430" y="13"/>
                </a:cubicBezTo>
                <a:cubicBezTo>
                  <a:pt x="430" y="13"/>
                  <a:pt x="431" y="12"/>
                  <a:pt x="432" y="13"/>
                </a:cubicBezTo>
                <a:close/>
                <a:moveTo>
                  <a:pt x="430" y="16"/>
                </a:moveTo>
                <a:cubicBezTo>
                  <a:pt x="430" y="16"/>
                  <a:pt x="431" y="15"/>
                  <a:pt x="432" y="16"/>
                </a:cubicBezTo>
                <a:cubicBezTo>
                  <a:pt x="432" y="17"/>
                  <a:pt x="430" y="17"/>
                  <a:pt x="430" y="16"/>
                </a:cubicBezTo>
                <a:close/>
                <a:moveTo>
                  <a:pt x="432" y="26"/>
                </a:moveTo>
                <a:cubicBezTo>
                  <a:pt x="431" y="26"/>
                  <a:pt x="430" y="27"/>
                  <a:pt x="429" y="26"/>
                </a:cubicBezTo>
                <a:cubicBezTo>
                  <a:pt x="430" y="25"/>
                  <a:pt x="431" y="25"/>
                  <a:pt x="432" y="26"/>
                </a:cubicBezTo>
                <a:close/>
                <a:moveTo>
                  <a:pt x="428" y="27"/>
                </a:moveTo>
                <a:cubicBezTo>
                  <a:pt x="428" y="27"/>
                  <a:pt x="427" y="28"/>
                  <a:pt x="426" y="27"/>
                </a:cubicBezTo>
                <a:cubicBezTo>
                  <a:pt x="426" y="26"/>
                  <a:pt x="427" y="26"/>
                  <a:pt x="428" y="27"/>
                </a:cubicBezTo>
                <a:close/>
                <a:moveTo>
                  <a:pt x="426" y="23"/>
                </a:moveTo>
                <a:cubicBezTo>
                  <a:pt x="425" y="22"/>
                  <a:pt x="428" y="23"/>
                  <a:pt x="426" y="23"/>
                </a:cubicBezTo>
                <a:close/>
                <a:moveTo>
                  <a:pt x="426" y="37"/>
                </a:moveTo>
                <a:cubicBezTo>
                  <a:pt x="428" y="33"/>
                  <a:pt x="436" y="29"/>
                  <a:pt x="439" y="33"/>
                </a:cubicBezTo>
                <a:cubicBezTo>
                  <a:pt x="440" y="35"/>
                  <a:pt x="438" y="39"/>
                  <a:pt x="437" y="39"/>
                </a:cubicBezTo>
                <a:cubicBezTo>
                  <a:pt x="436" y="39"/>
                  <a:pt x="435" y="39"/>
                  <a:pt x="434" y="39"/>
                </a:cubicBezTo>
                <a:cubicBezTo>
                  <a:pt x="433" y="39"/>
                  <a:pt x="433" y="40"/>
                  <a:pt x="433" y="40"/>
                </a:cubicBezTo>
                <a:cubicBezTo>
                  <a:pt x="431" y="41"/>
                  <a:pt x="429" y="40"/>
                  <a:pt x="427" y="40"/>
                </a:cubicBezTo>
                <a:cubicBezTo>
                  <a:pt x="426" y="39"/>
                  <a:pt x="426" y="40"/>
                  <a:pt x="425" y="40"/>
                </a:cubicBezTo>
                <a:cubicBezTo>
                  <a:pt x="425" y="39"/>
                  <a:pt x="426" y="37"/>
                  <a:pt x="426" y="37"/>
                </a:cubicBezTo>
                <a:close/>
                <a:moveTo>
                  <a:pt x="426" y="42"/>
                </a:moveTo>
                <a:cubicBezTo>
                  <a:pt x="426" y="43"/>
                  <a:pt x="423" y="43"/>
                  <a:pt x="423" y="43"/>
                </a:cubicBezTo>
                <a:cubicBezTo>
                  <a:pt x="422" y="41"/>
                  <a:pt x="425" y="41"/>
                  <a:pt x="426" y="42"/>
                </a:cubicBezTo>
                <a:close/>
                <a:moveTo>
                  <a:pt x="421" y="63"/>
                </a:moveTo>
                <a:cubicBezTo>
                  <a:pt x="418" y="65"/>
                  <a:pt x="413" y="66"/>
                  <a:pt x="411" y="64"/>
                </a:cubicBezTo>
                <a:cubicBezTo>
                  <a:pt x="410" y="64"/>
                  <a:pt x="410" y="61"/>
                  <a:pt x="412" y="62"/>
                </a:cubicBezTo>
                <a:cubicBezTo>
                  <a:pt x="413" y="62"/>
                  <a:pt x="413" y="64"/>
                  <a:pt x="413" y="64"/>
                </a:cubicBezTo>
                <a:cubicBezTo>
                  <a:pt x="414" y="64"/>
                  <a:pt x="415" y="62"/>
                  <a:pt x="415" y="62"/>
                </a:cubicBezTo>
                <a:cubicBezTo>
                  <a:pt x="415" y="61"/>
                  <a:pt x="413" y="61"/>
                  <a:pt x="414" y="60"/>
                </a:cubicBezTo>
                <a:cubicBezTo>
                  <a:pt x="413" y="61"/>
                  <a:pt x="412" y="60"/>
                  <a:pt x="414" y="60"/>
                </a:cubicBezTo>
                <a:cubicBezTo>
                  <a:pt x="414" y="59"/>
                  <a:pt x="415" y="60"/>
                  <a:pt x="416" y="60"/>
                </a:cubicBezTo>
                <a:cubicBezTo>
                  <a:pt x="417" y="59"/>
                  <a:pt x="417" y="59"/>
                  <a:pt x="419" y="59"/>
                </a:cubicBezTo>
                <a:cubicBezTo>
                  <a:pt x="420" y="59"/>
                  <a:pt x="424" y="62"/>
                  <a:pt x="421" y="63"/>
                </a:cubicBezTo>
                <a:close/>
                <a:moveTo>
                  <a:pt x="422" y="29"/>
                </a:moveTo>
                <a:cubicBezTo>
                  <a:pt x="422" y="31"/>
                  <a:pt x="418" y="31"/>
                  <a:pt x="417" y="30"/>
                </a:cubicBezTo>
                <a:cubicBezTo>
                  <a:pt x="416" y="29"/>
                  <a:pt x="421" y="27"/>
                  <a:pt x="422" y="29"/>
                </a:cubicBezTo>
                <a:close/>
                <a:moveTo>
                  <a:pt x="416" y="12"/>
                </a:moveTo>
                <a:cubicBezTo>
                  <a:pt x="415" y="12"/>
                  <a:pt x="417" y="13"/>
                  <a:pt x="416" y="12"/>
                </a:cubicBezTo>
                <a:close/>
                <a:moveTo>
                  <a:pt x="414" y="18"/>
                </a:moveTo>
                <a:cubicBezTo>
                  <a:pt x="414" y="19"/>
                  <a:pt x="413" y="19"/>
                  <a:pt x="412" y="18"/>
                </a:cubicBezTo>
                <a:cubicBezTo>
                  <a:pt x="411" y="18"/>
                  <a:pt x="414" y="17"/>
                  <a:pt x="414" y="18"/>
                </a:cubicBezTo>
                <a:close/>
                <a:moveTo>
                  <a:pt x="410" y="17"/>
                </a:moveTo>
                <a:cubicBezTo>
                  <a:pt x="412" y="16"/>
                  <a:pt x="413" y="18"/>
                  <a:pt x="410" y="17"/>
                </a:cubicBezTo>
                <a:close/>
                <a:moveTo>
                  <a:pt x="409" y="31"/>
                </a:moveTo>
                <a:cubicBezTo>
                  <a:pt x="411" y="29"/>
                  <a:pt x="412" y="33"/>
                  <a:pt x="409" y="31"/>
                </a:cubicBezTo>
                <a:close/>
                <a:moveTo>
                  <a:pt x="410" y="38"/>
                </a:moveTo>
                <a:cubicBezTo>
                  <a:pt x="409" y="37"/>
                  <a:pt x="411" y="38"/>
                  <a:pt x="410" y="38"/>
                </a:cubicBezTo>
                <a:close/>
                <a:moveTo>
                  <a:pt x="410" y="14"/>
                </a:moveTo>
                <a:cubicBezTo>
                  <a:pt x="410" y="15"/>
                  <a:pt x="410" y="15"/>
                  <a:pt x="409" y="15"/>
                </a:cubicBezTo>
                <a:cubicBezTo>
                  <a:pt x="407" y="16"/>
                  <a:pt x="409" y="12"/>
                  <a:pt x="410" y="14"/>
                </a:cubicBezTo>
                <a:close/>
                <a:moveTo>
                  <a:pt x="410" y="23"/>
                </a:moveTo>
                <a:cubicBezTo>
                  <a:pt x="411" y="24"/>
                  <a:pt x="408" y="25"/>
                  <a:pt x="408" y="24"/>
                </a:cubicBezTo>
                <a:cubicBezTo>
                  <a:pt x="407" y="23"/>
                  <a:pt x="410" y="22"/>
                  <a:pt x="410" y="23"/>
                </a:cubicBezTo>
                <a:close/>
                <a:moveTo>
                  <a:pt x="406" y="35"/>
                </a:moveTo>
                <a:cubicBezTo>
                  <a:pt x="405" y="35"/>
                  <a:pt x="404" y="34"/>
                  <a:pt x="404" y="34"/>
                </a:cubicBezTo>
                <a:cubicBezTo>
                  <a:pt x="402" y="31"/>
                  <a:pt x="411" y="34"/>
                  <a:pt x="406" y="35"/>
                </a:cubicBezTo>
                <a:close/>
                <a:moveTo>
                  <a:pt x="406" y="37"/>
                </a:moveTo>
                <a:cubicBezTo>
                  <a:pt x="405" y="36"/>
                  <a:pt x="406" y="37"/>
                  <a:pt x="407" y="36"/>
                </a:cubicBezTo>
                <a:cubicBezTo>
                  <a:pt x="407" y="37"/>
                  <a:pt x="406" y="37"/>
                  <a:pt x="406" y="37"/>
                </a:cubicBezTo>
                <a:close/>
                <a:moveTo>
                  <a:pt x="394" y="46"/>
                </a:moveTo>
                <a:cubicBezTo>
                  <a:pt x="400" y="45"/>
                  <a:pt x="404" y="44"/>
                  <a:pt x="409" y="43"/>
                </a:cubicBezTo>
                <a:cubicBezTo>
                  <a:pt x="411" y="43"/>
                  <a:pt x="417" y="42"/>
                  <a:pt x="418" y="43"/>
                </a:cubicBezTo>
                <a:cubicBezTo>
                  <a:pt x="419" y="44"/>
                  <a:pt x="410" y="45"/>
                  <a:pt x="407" y="45"/>
                </a:cubicBezTo>
                <a:cubicBezTo>
                  <a:pt x="403" y="46"/>
                  <a:pt x="401" y="46"/>
                  <a:pt x="398" y="47"/>
                </a:cubicBezTo>
                <a:cubicBezTo>
                  <a:pt x="400" y="47"/>
                  <a:pt x="403" y="48"/>
                  <a:pt x="402" y="51"/>
                </a:cubicBezTo>
                <a:cubicBezTo>
                  <a:pt x="402" y="56"/>
                  <a:pt x="394" y="55"/>
                  <a:pt x="390" y="53"/>
                </a:cubicBezTo>
                <a:cubicBezTo>
                  <a:pt x="390" y="53"/>
                  <a:pt x="390" y="52"/>
                  <a:pt x="390" y="52"/>
                </a:cubicBezTo>
                <a:cubicBezTo>
                  <a:pt x="389" y="51"/>
                  <a:pt x="392" y="48"/>
                  <a:pt x="394" y="47"/>
                </a:cubicBezTo>
                <a:cubicBezTo>
                  <a:pt x="393" y="48"/>
                  <a:pt x="391" y="48"/>
                  <a:pt x="390" y="48"/>
                </a:cubicBezTo>
                <a:cubicBezTo>
                  <a:pt x="385" y="48"/>
                  <a:pt x="394" y="46"/>
                  <a:pt x="394" y="46"/>
                </a:cubicBezTo>
                <a:close/>
                <a:moveTo>
                  <a:pt x="393" y="64"/>
                </a:moveTo>
                <a:cubicBezTo>
                  <a:pt x="392" y="65"/>
                  <a:pt x="389" y="66"/>
                  <a:pt x="387" y="66"/>
                </a:cubicBezTo>
                <a:cubicBezTo>
                  <a:pt x="389" y="64"/>
                  <a:pt x="391" y="65"/>
                  <a:pt x="393" y="64"/>
                </a:cubicBezTo>
                <a:close/>
                <a:moveTo>
                  <a:pt x="388" y="66"/>
                </a:moveTo>
                <a:cubicBezTo>
                  <a:pt x="389" y="66"/>
                  <a:pt x="387" y="68"/>
                  <a:pt x="387" y="67"/>
                </a:cubicBezTo>
                <a:cubicBezTo>
                  <a:pt x="387" y="66"/>
                  <a:pt x="388" y="66"/>
                  <a:pt x="388" y="66"/>
                </a:cubicBezTo>
                <a:close/>
                <a:moveTo>
                  <a:pt x="387" y="116"/>
                </a:moveTo>
                <a:cubicBezTo>
                  <a:pt x="387" y="116"/>
                  <a:pt x="387" y="116"/>
                  <a:pt x="387" y="116"/>
                </a:cubicBezTo>
                <a:cubicBezTo>
                  <a:pt x="388" y="116"/>
                  <a:pt x="387" y="116"/>
                  <a:pt x="387" y="116"/>
                </a:cubicBezTo>
                <a:close/>
                <a:moveTo>
                  <a:pt x="388" y="136"/>
                </a:moveTo>
                <a:cubicBezTo>
                  <a:pt x="387" y="137"/>
                  <a:pt x="386" y="135"/>
                  <a:pt x="388" y="136"/>
                </a:cubicBezTo>
                <a:close/>
                <a:moveTo>
                  <a:pt x="386" y="125"/>
                </a:moveTo>
                <a:cubicBezTo>
                  <a:pt x="385" y="126"/>
                  <a:pt x="381" y="127"/>
                  <a:pt x="381" y="126"/>
                </a:cubicBezTo>
                <a:cubicBezTo>
                  <a:pt x="383" y="126"/>
                  <a:pt x="384" y="124"/>
                  <a:pt x="386" y="125"/>
                </a:cubicBezTo>
                <a:close/>
                <a:moveTo>
                  <a:pt x="382" y="167"/>
                </a:moveTo>
                <a:cubicBezTo>
                  <a:pt x="382" y="165"/>
                  <a:pt x="384" y="165"/>
                  <a:pt x="385" y="166"/>
                </a:cubicBezTo>
                <a:cubicBezTo>
                  <a:pt x="385" y="168"/>
                  <a:pt x="382" y="168"/>
                  <a:pt x="382" y="167"/>
                </a:cubicBezTo>
                <a:close/>
                <a:moveTo>
                  <a:pt x="384" y="66"/>
                </a:moveTo>
                <a:cubicBezTo>
                  <a:pt x="385" y="65"/>
                  <a:pt x="386" y="67"/>
                  <a:pt x="384" y="66"/>
                </a:cubicBezTo>
                <a:close/>
                <a:moveTo>
                  <a:pt x="383" y="67"/>
                </a:moveTo>
                <a:cubicBezTo>
                  <a:pt x="382" y="67"/>
                  <a:pt x="381" y="68"/>
                  <a:pt x="380" y="68"/>
                </a:cubicBezTo>
                <a:cubicBezTo>
                  <a:pt x="380" y="66"/>
                  <a:pt x="382" y="67"/>
                  <a:pt x="383" y="67"/>
                </a:cubicBezTo>
                <a:close/>
                <a:moveTo>
                  <a:pt x="386" y="172"/>
                </a:moveTo>
                <a:cubicBezTo>
                  <a:pt x="387" y="176"/>
                  <a:pt x="379" y="176"/>
                  <a:pt x="379" y="173"/>
                </a:cubicBezTo>
                <a:cubicBezTo>
                  <a:pt x="378" y="170"/>
                  <a:pt x="386" y="168"/>
                  <a:pt x="386" y="172"/>
                </a:cubicBezTo>
                <a:close/>
                <a:moveTo>
                  <a:pt x="379" y="127"/>
                </a:moveTo>
                <a:cubicBezTo>
                  <a:pt x="380" y="127"/>
                  <a:pt x="377" y="128"/>
                  <a:pt x="377" y="128"/>
                </a:cubicBezTo>
                <a:cubicBezTo>
                  <a:pt x="377" y="128"/>
                  <a:pt x="378" y="127"/>
                  <a:pt x="379" y="127"/>
                </a:cubicBezTo>
                <a:close/>
                <a:moveTo>
                  <a:pt x="377" y="223"/>
                </a:moveTo>
                <a:cubicBezTo>
                  <a:pt x="376" y="224"/>
                  <a:pt x="373" y="225"/>
                  <a:pt x="372" y="227"/>
                </a:cubicBezTo>
                <a:cubicBezTo>
                  <a:pt x="372" y="225"/>
                  <a:pt x="375" y="224"/>
                  <a:pt x="377" y="223"/>
                </a:cubicBezTo>
                <a:close/>
                <a:moveTo>
                  <a:pt x="376" y="378"/>
                </a:moveTo>
                <a:cubicBezTo>
                  <a:pt x="376" y="378"/>
                  <a:pt x="375" y="379"/>
                  <a:pt x="376" y="378"/>
                </a:cubicBezTo>
                <a:cubicBezTo>
                  <a:pt x="376" y="378"/>
                  <a:pt x="376" y="378"/>
                  <a:pt x="376" y="378"/>
                </a:cubicBezTo>
                <a:close/>
                <a:moveTo>
                  <a:pt x="375" y="462"/>
                </a:moveTo>
                <a:cubicBezTo>
                  <a:pt x="376" y="462"/>
                  <a:pt x="375" y="464"/>
                  <a:pt x="375" y="464"/>
                </a:cubicBezTo>
                <a:cubicBezTo>
                  <a:pt x="372" y="466"/>
                  <a:pt x="374" y="460"/>
                  <a:pt x="375" y="462"/>
                </a:cubicBezTo>
                <a:close/>
                <a:moveTo>
                  <a:pt x="374" y="451"/>
                </a:moveTo>
                <a:cubicBezTo>
                  <a:pt x="374" y="451"/>
                  <a:pt x="374" y="451"/>
                  <a:pt x="374" y="451"/>
                </a:cubicBezTo>
                <a:cubicBezTo>
                  <a:pt x="373" y="451"/>
                  <a:pt x="374" y="451"/>
                  <a:pt x="374" y="451"/>
                </a:cubicBezTo>
                <a:close/>
                <a:moveTo>
                  <a:pt x="369" y="182"/>
                </a:moveTo>
                <a:cubicBezTo>
                  <a:pt x="369" y="182"/>
                  <a:pt x="369" y="182"/>
                  <a:pt x="369" y="182"/>
                </a:cubicBezTo>
                <a:cubicBezTo>
                  <a:pt x="369" y="182"/>
                  <a:pt x="369" y="182"/>
                  <a:pt x="369" y="182"/>
                </a:cubicBezTo>
                <a:cubicBezTo>
                  <a:pt x="369" y="182"/>
                  <a:pt x="369" y="182"/>
                  <a:pt x="369" y="182"/>
                </a:cubicBezTo>
                <a:close/>
                <a:moveTo>
                  <a:pt x="375" y="371"/>
                </a:moveTo>
                <a:cubicBezTo>
                  <a:pt x="375" y="372"/>
                  <a:pt x="374" y="373"/>
                  <a:pt x="372" y="373"/>
                </a:cubicBezTo>
                <a:cubicBezTo>
                  <a:pt x="371" y="374"/>
                  <a:pt x="370" y="374"/>
                  <a:pt x="370" y="372"/>
                </a:cubicBezTo>
                <a:cubicBezTo>
                  <a:pt x="368" y="368"/>
                  <a:pt x="375" y="367"/>
                  <a:pt x="375" y="371"/>
                </a:cubicBezTo>
                <a:close/>
                <a:moveTo>
                  <a:pt x="374" y="472"/>
                </a:moveTo>
                <a:cubicBezTo>
                  <a:pt x="373" y="473"/>
                  <a:pt x="371" y="475"/>
                  <a:pt x="369" y="475"/>
                </a:cubicBezTo>
                <a:cubicBezTo>
                  <a:pt x="370" y="474"/>
                  <a:pt x="372" y="473"/>
                  <a:pt x="374" y="472"/>
                </a:cubicBezTo>
                <a:close/>
                <a:moveTo>
                  <a:pt x="369" y="228"/>
                </a:moveTo>
                <a:cubicBezTo>
                  <a:pt x="367" y="231"/>
                  <a:pt x="366" y="228"/>
                  <a:pt x="369" y="228"/>
                </a:cubicBezTo>
                <a:close/>
                <a:moveTo>
                  <a:pt x="368" y="370"/>
                </a:moveTo>
                <a:cubicBezTo>
                  <a:pt x="367" y="371"/>
                  <a:pt x="370" y="369"/>
                  <a:pt x="368" y="370"/>
                </a:cubicBezTo>
                <a:close/>
                <a:moveTo>
                  <a:pt x="368" y="319"/>
                </a:moveTo>
                <a:cubicBezTo>
                  <a:pt x="369" y="319"/>
                  <a:pt x="368" y="320"/>
                  <a:pt x="368" y="320"/>
                </a:cubicBezTo>
                <a:cubicBezTo>
                  <a:pt x="367" y="322"/>
                  <a:pt x="367" y="318"/>
                  <a:pt x="368" y="319"/>
                </a:cubicBezTo>
                <a:close/>
                <a:moveTo>
                  <a:pt x="367" y="94"/>
                </a:moveTo>
                <a:cubicBezTo>
                  <a:pt x="366" y="92"/>
                  <a:pt x="368" y="94"/>
                  <a:pt x="367" y="94"/>
                </a:cubicBezTo>
                <a:close/>
                <a:moveTo>
                  <a:pt x="374" y="488"/>
                </a:moveTo>
                <a:cubicBezTo>
                  <a:pt x="375" y="486"/>
                  <a:pt x="380" y="483"/>
                  <a:pt x="383" y="481"/>
                </a:cubicBezTo>
                <a:cubicBezTo>
                  <a:pt x="383" y="481"/>
                  <a:pt x="383" y="479"/>
                  <a:pt x="384" y="480"/>
                </a:cubicBezTo>
                <a:cubicBezTo>
                  <a:pt x="385" y="481"/>
                  <a:pt x="382" y="484"/>
                  <a:pt x="382" y="484"/>
                </a:cubicBezTo>
                <a:cubicBezTo>
                  <a:pt x="380" y="485"/>
                  <a:pt x="378" y="486"/>
                  <a:pt x="376" y="487"/>
                </a:cubicBezTo>
                <a:cubicBezTo>
                  <a:pt x="372" y="489"/>
                  <a:pt x="369" y="494"/>
                  <a:pt x="365" y="496"/>
                </a:cubicBezTo>
                <a:cubicBezTo>
                  <a:pt x="365" y="492"/>
                  <a:pt x="372" y="491"/>
                  <a:pt x="374" y="488"/>
                </a:cubicBezTo>
                <a:close/>
                <a:moveTo>
                  <a:pt x="365" y="407"/>
                </a:moveTo>
                <a:cubicBezTo>
                  <a:pt x="366" y="406"/>
                  <a:pt x="364" y="408"/>
                  <a:pt x="365" y="407"/>
                </a:cubicBezTo>
                <a:close/>
                <a:moveTo>
                  <a:pt x="354" y="444"/>
                </a:moveTo>
                <a:cubicBezTo>
                  <a:pt x="356" y="441"/>
                  <a:pt x="360" y="438"/>
                  <a:pt x="365" y="437"/>
                </a:cubicBezTo>
                <a:cubicBezTo>
                  <a:pt x="361" y="439"/>
                  <a:pt x="358" y="442"/>
                  <a:pt x="354" y="444"/>
                </a:cubicBezTo>
                <a:close/>
                <a:moveTo>
                  <a:pt x="354" y="419"/>
                </a:moveTo>
                <a:cubicBezTo>
                  <a:pt x="353" y="419"/>
                  <a:pt x="356" y="417"/>
                  <a:pt x="354" y="419"/>
                </a:cubicBezTo>
                <a:close/>
                <a:moveTo>
                  <a:pt x="358" y="413"/>
                </a:moveTo>
                <a:cubicBezTo>
                  <a:pt x="358" y="414"/>
                  <a:pt x="357" y="415"/>
                  <a:pt x="356" y="415"/>
                </a:cubicBezTo>
                <a:cubicBezTo>
                  <a:pt x="356" y="414"/>
                  <a:pt x="357" y="414"/>
                  <a:pt x="358" y="413"/>
                </a:cubicBezTo>
                <a:close/>
                <a:moveTo>
                  <a:pt x="358" y="130"/>
                </a:moveTo>
                <a:cubicBezTo>
                  <a:pt x="357" y="129"/>
                  <a:pt x="358" y="132"/>
                  <a:pt x="358" y="130"/>
                </a:cubicBezTo>
                <a:close/>
                <a:moveTo>
                  <a:pt x="359" y="414"/>
                </a:moveTo>
                <a:cubicBezTo>
                  <a:pt x="358" y="415"/>
                  <a:pt x="358" y="416"/>
                  <a:pt x="357" y="416"/>
                </a:cubicBezTo>
                <a:cubicBezTo>
                  <a:pt x="358" y="415"/>
                  <a:pt x="358" y="414"/>
                  <a:pt x="359" y="414"/>
                </a:cubicBezTo>
                <a:close/>
                <a:moveTo>
                  <a:pt x="357" y="416"/>
                </a:moveTo>
                <a:cubicBezTo>
                  <a:pt x="357" y="417"/>
                  <a:pt x="356" y="417"/>
                  <a:pt x="355" y="418"/>
                </a:cubicBezTo>
                <a:cubicBezTo>
                  <a:pt x="355" y="417"/>
                  <a:pt x="356" y="416"/>
                  <a:pt x="357" y="416"/>
                </a:cubicBezTo>
                <a:close/>
                <a:moveTo>
                  <a:pt x="360" y="312"/>
                </a:moveTo>
                <a:cubicBezTo>
                  <a:pt x="360" y="312"/>
                  <a:pt x="360" y="313"/>
                  <a:pt x="359" y="313"/>
                </a:cubicBezTo>
                <a:cubicBezTo>
                  <a:pt x="359" y="312"/>
                  <a:pt x="361" y="311"/>
                  <a:pt x="360" y="312"/>
                </a:cubicBezTo>
                <a:close/>
                <a:moveTo>
                  <a:pt x="360" y="411"/>
                </a:moveTo>
                <a:cubicBezTo>
                  <a:pt x="359" y="413"/>
                  <a:pt x="361" y="411"/>
                  <a:pt x="360" y="411"/>
                </a:cubicBezTo>
                <a:close/>
                <a:moveTo>
                  <a:pt x="359" y="414"/>
                </a:moveTo>
                <a:cubicBezTo>
                  <a:pt x="360" y="412"/>
                  <a:pt x="361" y="414"/>
                  <a:pt x="359" y="414"/>
                </a:cubicBezTo>
                <a:close/>
                <a:moveTo>
                  <a:pt x="361" y="412"/>
                </a:moveTo>
                <a:cubicBezTo>
                  <a:pt x="362" y="411"/>
                  <a:pt x="362" y="410"/>
                  <a:pt x="364" y="410"/>
                </a:cubicBezTo>
                <a:cubicBezTo>
                  <a:pt x="363" y="411"/>
                  <a:pt x="363" y="412"/>
                  <a:pt x="361" y="412"/>
                </a:cubicBezTo>
                <a:close/>
                <a:moveTo>
                  <a:pt x="364" y="204"/>
                </a:moveTo>
                <a:cubicBezTo>
                  <a:pt x="364" y="203"/>
                  <a:pt x="365" y="205"/>
                  <a:pt x="364" y="204"/>
                </a:cubicBezTo>
                <a:close/>
                <a:moveTo>
                  <a:pt x="363" y="409"/>
                </a:moveTo>
                <a:cubicBezTo>
                  <a:pt x="362" y="409"/>
                  <a:pt x="366" y="407"/>
                  <a:pt x="363" y="409"/>
                </a:cubicBezTo>
                <a:close/>
                <a:moveTo>
                  <a:pt x="362" y="253"/>
                </a:moveTo>
                <a:cubicBezTo>
                  <a:pt x="361" y="253"/>
                  <a:pt x="361" y="254"/>
                  <a:pt x="360" y="253"/>
                </a:cubicBezTo>
                <a:cubicBezTo>
                  <a:pt x="358" y="249"/>
                  <a:pt x="366" y="251"/>
                  <a:pt x="362" y="253"/>
                </a:cubicBezTo>
                <a:close/>
                <a:moveTo>
                  <a:pt x="362" y="67"/>
                </a:moveTo>
                <a:cubicBezTo>
                  <a:pt x="362" y="68"/>
                  <a:pt x="361" y="68"/>
                  <a:pt x="360" y="68"/>
                </a:cubicBezTo>
                <a:cubicBezTo>
                  <a:pt x="360" y="67"/>
                  <a:pt x="362" y="67"/>
                  <a:pt x="362" y="67"/>
                </a:cubicBezTo>
                <a:close/>
                <a:moveTo>
                  <a:pt x="363" y="73"/>
                </a:moveTo>
                <a:cubicBezTo>
                  <a:pt x="363" y="73"/>
                  <a:pt x="360" y="73"/>
                  <a:pt x="359" y="73"/>
                </a:cubicBezTo>
                <a:cubicBezTo>
                  <a:pt x="359" y="72"/>
                  <a:pt x="363" y="70"/>
                  <a:pt x="363" y="73"/>
                </a:cubicBezTo>
                <a:close/>
                <a:moveTo>
                  <a:pt x="359" y="40"/>
                </a:moveTo>
                <a:cubicBezTo>
                  <a:pt x="360" y="40"/>
                  <a:pt x="359" y="41"/>
                  <a:pt x="358" y="40"/>
                </a:cubicBezTo>
                <a:cubicBezTo>
                  <a:pt x="358" y="40"/>
                  <a:pt x="358" y="39"/>
                  <a:pt x="359" y="40"/>
                </a:cubicBezTo>
                <a:close/>
                <a:moveTo>
                  <a:pt x="359" y="47"/>
                </a:moveTo>
                <a:cubicBezTo>
                  <a:pt x="359" y="47"/>
                  <a:pt x="357" y="47"/>
                  <a:pt x="357" y="46"/>
                </a:cubicBezTo>
                <a:cubicBezTo>
                  <a:pt x="357" y="46"/>
                  <a:pt x="358" y="46"/>
                  <a:pt x="359" y="47"/>
                </a:cubicBezTo>
                <a:close/>
                <a:moveTo>
                  <a:pt x="350" y="49"/>
                </a:moveTo>
                <a:cubicBezTo>
                  <a:pt x="350" y="49"/>
                  <a:pt x="350" y="50"/>
                  <a:pt x="349" y="50"/>
                </a:cubicBezTo>
                <a:cubicBezTo>
                  <a:pt x="348" y="49"/>
                  <a:pt x="350" y="48"/>
                  <a:pt x="350" y="49"/>
                </a:cubicBezTo>
                <a:close/>
                <a:moveTo>
                  <a:pt x="347" y="81"/>
                </a:moveTo>
                <a:cubicBezTo>
                  <a:pt x="347" y="82"/>
                  <a:pt x="346" y="82"/>
                  <a:pt x="346" y="82"/>
                </a:cubicBezTo>
                <a:cubicBezTo>
                  <a:pt x="345" y="81"/>
                  <a:pt x="347" y="80"/>
                  <a:pt x="347" y="81"/>
                </a:cubicBezTo>
                <a:close/>
                <a:moveTo>
                  <a:pt x="346" y="127"/>
                </a:moveTo>
                <a:cubicBezTo>
                  <a:pt x="348" y="124"/>
                  <a:pt x="357" y="125"/>
                  <a:pt x="357" y="129"/>
                </a:cubicBezTo>
                <a:cubicBezTo>
                  <a:pt x="356" y="136"/>
                  <a:pt x="342" y="134"/>
                  <a:pt x="346" y="127"/>
                </a:cubicBezTo>
                <a:close/>
                <a:moveTo>
                  <a:pt x="353" y="149"/>
                </a:moveTo>
                <a:cubicBezTo>
                  <a:pt x="354" y="147"/>
                  <a:pt x="357" y="148"/>
                  <a:pt x="353" y="149"/>
                </a:cubicBezTo>
                <a:close/>
                <a:moveTo>
                  <a:pt x="345" y="114"/>
                </a:moveTo>
                <a:cubicBezTo>
                  <a:pt x="345" y="115"/>
                  <a:pt x="343" y="114"/>
                  <a:pt x="345" y="114"/>
                </a:cubicBezTo>
                <a:close/>
                <a:moveTo>
                  <a:pt x="344" y="85"/>
                </a:moveTo>
                <a:cubicBezTo>
                  <a:pt x="343" y="85"/>
                  <a:pt x="343" y="84"/>
                  <a:pt x="343" y="84"/>
                </a:cubicBezTo>
                <a:cubicBezTo>
                  <a:pt x="342" y="82"/>
                  <a:pt x="345" y="84"/>
                  <a:pt x="344" y="85"/>
                </a:cubicBezTo>
                <a:close/>
                <a:moveTo>
                  <a:pt x="347" y="145"/>
                </a:moveTo>
                <a:cubicBezTo>
                  <a:pt x="345" y="147"/>
                  <a:pt x="341" y="149"/>
                  <a:pt x="338" y="149"/>
                </a:cubicBezTo>
                <a:cubicBezTo>
                  <a:pt x="340" y="148"/>
                  <a:pt x="344" y="147"/>
                  <a:pt x="347" y="145"/>
                </a:cubicBezTo>
                <a:close/>
                <a:moveTo>
                  <a:pt x="339" y="111"/>
                </a:moveTo>
                <a:cubicBezTo>
                  <a:pt x="339" y="111"/>
                  <a:pt x="338" y="112"/>
                  <a:pt x="338" y="112"/>
                </a:cubicBezTo>
                <a:cubicBezTo>
                  <a:pt x="337" y="111"/>
                  <a:pt x="338" y="111"/>
                  <a:pt x="339" y="111"/>
                </a:cubicBezTo>
                <a:close/>
                <a:moveTo>
                  <a:pt x="340" y="58"/>
                </a:moveTo>
                <a:cubicBezTo>
                  <a:pt x="340" y="58"/>
                  <a:pt x="338" y="59"/>
                  <a:pt x="338" y="58"/>
                </a:cubicBezTo>
                <a:cubicBezTo>
                  <a:pt x="338" y="58"/>
                  <a:pt x="340" y="57"/>
                  <a:pt x="340" y="58"/>
                </a:cubicBezTo>
                <a:close/>
                <a:moveTo>
                  <a:pt x="338" y="85"/>
                </a:moveTo>
                <a:cubicBezTo>
                  <a:pt x="337" y="85"/>
                  <a:pt x="337" y="86"/>
                  <a:pt x="336" y="85"/>
                </a:cubicBezTo>
                <a:cubicBezTo>
                  <a:pt x="336" y="85"/>
                  <a:pt x="337" y="85"/>
                  <a:pt x="338" y="85"/>
                </a:cubicBezTo>
                <a:close/>
                <a:moveTo>
                  <a:pt x="336" y="151"/>
                </a:moveTo>
                <a:cubicBezTo>
                  <a:pt x="336" y="151"/>
                  <a:pt x="336" y="150"/>
                  <a:pt x="337" y="150"/>
                </a:cubicBezTo>
                <a:cubicBezTo>
                  <a:pt x="337" y="150"/>
                  <a:pt x="336" y="151"/>
                  <a:pt x="336" y="151"/>
                </a:cubicBezTo>
                <a:close/>
                <a:moveTo>
                  <a:pt x="337" y="161"/>
                </a:moveTo>
                <a:cubicBezTo>
                  <a:pt x="337" y="162"/>
                  <a:pt x="335" y="163"/>
                  <a:pt x="335" y="161"/>
                </a:cubicBezTo>
                <a:cubicBezTo>
                  <a:pt x="335" y="160"/>
                  <a:pt x="337" y="161"/>
                  <a:pt x="337" y="161"/>
                </a:cubicBezTo>
                <a:close/>
                <a:moveTo>
                  <a:pt x="335" y="151"/>
                </a:moveTo>
                <a:cubicBezTo>
                  <a:pt x="336" y="151"/>
                  <a:pt x="333" y="153"/>
                  <a:pt x="333" y="152"/>
                </a:cubicBezTo>
                <a:cubicBezTo>
                  <a:pt x="333" y="151"/>
                  <a:pt x="335" y="151"/>
                  <a:pt x="335" y="151"/>
                </a:cubicBezTo>
                <a:close/>
                <a:moveTo>
                  <a:pt x="334" y="65"/>
                </a:moveTo>
                <a:cubicBezTo>
                  <a:pt x="333" y="65"/>
                  <a:pt x="333" y="65"/>
                  <a:pt x="332" y="65"/>
                </a:cubicBezTo>
                <a:cubicBezTo>
                  <a:pt x="332" y="65"/>
                  <a:pt x="333" y="64"/>
                  <a:pt x="334" y="65"/>
                </a:cubicBezTo>
                <a:close/>
                <a:moveTo>
                  <a:pt x="356" y="172"/>
                </a:moveTo>
                <a:cubicBezTo>
                  <a:pt x="348" y="177"/>
                  <a:pt x="339" y="182"/>
                  <a:pt x="329" y="187"/>
                </a:cubicBezTo>
                <a:cubicBezTo>
                  <a:pt x="329" y="187"/>
                  <a:pt x="327" y="189"/>
                  <a:pt x="326" y="188"/>
                </a:cubicBezTo>
                <a:cubicBezTo>
                  <a:pt x="325" y="187"/>
                  <a:pt x="329" y="186"/>
                  <a:pt x="327" y="187"/>
                </a:cubicBezTo>
                <a:cubicBezTo>
                  <a:pt x="336" y="181"/>
                  <a:pt x="347" y="175"/>
                  <a:pt x="356" y="172"/>
                </a:cubicBezTo>
                <a:close/>
                <a:moveTo>
                  <a:pt x="331" y="92"/>
                </a:moveTo>
                <a:cubicBezTo>
                  <a:pt x="331" y="94"/>
                  <a:pt x="328" y="93"/>
                  <a:pt x="328" y="92"/>
                </a:cubicBezTo>
                <a:cubicBezTo>
                  <a:pt x="329" y="91"/>
                  <a:pt x="330" y="91"/>
                  <a:pt x="331" y="92"/>
                </a:cubicBezTo>
                <a:close/>
                <a:moveTo>
                  <a:pt x="326" y="66"/>
                </a:moveTo>
                <a:cubicBezTo>
                  <a:pt x="325" y="67"/>
                  <a:pt x="324" y="66"/>
                  <a:pt x="323" y="66"/>
                </a:cubicBezTo>
                <a:cubicBezTo>
                  <a:pt x="323" y="65"/>
                  <a:pt x="325" y="66"/>
                  <a:pt x="326" y="66"/>
                </a:cubicBezTo>
                <a:close/>
                <a:moveTo>
                  <a:pt x="323" y="101"/>
                </a:moveTo>
                <a:cubicBezTo>
                  <a:pt x="323" y="101"/>
                  <a:pt x="325" y="99"/>
                  <a:pt x="325" y="101"/>
                </a:cubicBezTo>
                <a:cubicBezTo>
                  <a:pt x="326" y="102"/>
                  <a:pt x="322" y="103"/>
                  <a:pt x="323" y="101"/>
                </a:cubicBezTo>
                <a:close/>
                <a:moveTo>
                  <a:pt x="320" y="102"/>
                </a:moveTo>
                <a:cubicBezTo>
                  <a:pt x="321" y="100"/>
                  <a:pt x="323" y="102"/>
                  <a:pt x="320" y="102"/>
                </a:cubicBezTo>
                <a:close/>
                <a:moveTo>
                  <a:pt x="313" y="98"/>
                </a:moveTo>
                <a:cubicBezTo>
                  <a:pt x="313" y="98"/>
                  <a:pt x="316" y="96"/>
                  <a:pt x="317" y="98"/>
                </a:cubicBezTo>
                <a:cubicBezTo>
                  <a:pt x="317" y="99"/>
                  <a:pt x="313" y="99"/>
                  <a:pt x="313" y="98"/>
                </a:cubicBezTo>
                <a:close/>
                <a:moveTo>
                  <a:pt x="316" y="67"/>
                </a:moveTo>
                <a:cubicBezTo>
                  <a:pt x="317" y="67"/>
                  <a:pt x="315" y="68"/>
                  <a:pt x="314" y="68"/>
                </a:cubicBezTo>
                <a:cubicBezTo>
                  <a:pt x="315" y="67"/>
                  <a:pt x="315" y="67"/>
                  <a:pt x="316" y="67"/>
                </a:cubicBezTo>
                <a:close/>
                <a:moveTo>
                  <a:pt x="313" y="68"/>
                </a:moveTo>
                <a:cubicBezTo>
                  <a:pt x="313" y="68"/>
                  <a:pt x="312" y="68"/>
                  <a:pt x="311" y="68"/>
                </a:cubicBezTo>
                <a:cubicBezTo>
                  <a:pt x="311" y="68"/>
                  <a:pt x="313" y="67"/>
                  <a:pt x="313" y="68"/>
                </a:cubicBezTo>
                <a:close/>
                <a:moveTo>
                  <a:pt x="300" y="82"/>
                </a:moveTo>
                <a:cubicBezTo>
                  <a:pt x="298" y="83"/>
                  <a:pt x="298" y="82"/>
                  <a:pt x="300" y="82"/>
                </a:cubicBezTo>
                <a:close/>
                <a:moveTo>
                  <a:pt x="299" y="99"/>
                </a:moveTo>
                <a:cubicBezTo>
                  <a:pt x="298" y="100"/>
                  <a:pt x="294" y="100"/>
                  <a:pt x="294" y="100"/>
                </a:cubicBezTo>
                <a:cubicBezTo>
                  <a:pt x="293" y="100"/>
                  <a:pt x="293" y="99"/>
                  <a:pt x="293" y="99"/>
                </a:cubicBezTo>
                <a:cubicBezTo>
                  <a:pt x="293" y="99"/>
                  <a:pt x="291" y="101"/>
                  <a:pt x="291" y="99"/>
                </a:cubicBezTo>
                <a:cubicBezTo>
                  <a:pt x="290" y="98"/>
                  <a:pt x="300" y="95"/>
                  <a:pt x="299" y="99"/>
                </a:cubicBezTo>
                <a:close/>
                <a:moveTo>
                  <a:pt x="293" y="116"/>
                </a:moveTo>
                <a:cubicBezTo>
                  <a:pt x="299" y="113"/>
                  <a:pt x="305" y="113"/>
                  <a:pt x="311" y="110"/>
                </a:cubicBezTo>
                <a:cubicBezTo>
                  <a:pt x="316" y="108"/>
                  <a:pt x="321" y="105"/>
                  <a:pt x="327" y="105"/>
                </a:cubicBezTo>
                <a:cubicBezTo>
                  <a:pt x="327" y="105"/>
                  <a:pt x="328" y="105"/>
                  <a:pt x="328" y="106"/>
                </a:cubicBezTo>
                <a:cubicBezTo>
                  <a:pt x="328" y="107"/>
                  <a:pt x="318" y="110"/>
                  <a:pt x="315" y="111"/>
                </a:cubicBezTo>
                <a:cubicBezTo>
                  <a:pt x="310" y="112"/>
                  <a:pt x="306" y="113"/>
                  <a:pt x="301" y="114"/>
                </a:cubicBezTo>
                <a:cubicBezTo>
                  <a:pt x="299" y="115"/>
                  <a:pt x="294" y="118"/>
                  <a:pt x="292" y="118"/>
                </a:cubicBezTo>
                <a:cubicBezTo>
                  <a:pt x="288" y="118"/>
                  <a:pt x="293" y="116"/>
                  <a:pt x="293" y="116"/>
                </a:cubicBezTo>
                <a:close/>
                <a:moveTo>
                  <a:pt x="294" y="382"/>
                </a:moveTo>
                <a:cubicBezTo>
                  <a:pt x="294" y="382"/>
                  <a:pt x="293" y="382"/>
                  <a:pt x="292" y="384"/>
                </a:cubicBezTo>
                <a:cubicBezTo>
                  <a:pt x="289" y="386"/>
                  <a:pt x="286" y="391"/>
                  <a:pt x="283" y="396"/>
                </a:cubicBezTo>
                <a:cubicBezTo>
                  <a:pt x="281" y="399"/>
                  <a:pt x="280" y="403"/>
                  <a:pt x="278" y="405"/>
                </a:cubicBezTo>
                <a:cubicBezTo>
                  <a:pt x="278" y="406"/>
                  <a:pt x="277" y="406"/>
                  <a:pt x="277" y="406"/>
                </a:cubicBezTo>
                <a:cubicBezTo>
                  <a:pt x="276" y="406"/>
                  <a:pt x="280" y="399"/>
                  <a:pt x="281" y="398"/>
                </a:cubicBezTo>
                <a:cubicBezTo>
                  <a:pt x="283" y="395"/>
                  <a:pt x="284" y="392"/>
                  <a:pt x="286" y="390"/>
                </a:cubicBezTo>
                <a:cubicBezTo>
                  <a:pt x="287" y="388"/>
                  <a:pt x="291" y="385"/>
                  <a:pt x="291" y="382"/>
                </a:cubicBezTo>
                <a:cubicBezTo>
                  <a:pt x="291" y="382"/>
                  <a:pt x="290" y="380"/>
                  <a:pt x="290" y="379"/>
                </a:cubicBezTo>
                <a:cubicBezTo>
                  <a:pt x="290" y="375"/>
                  <a:pt x="298" y="376"/>
                  <a:pt x="294" y="382"/>
                </a:cubicBezTo>
                <a:close/>
                <a:moveTo>
                  <a:pt x="286" y="197"/>
                </a:moveTo>
                <a:cubicBezTo>
                  <a:pt x="286" y="197"/>
                  <a:pt x="286" y="198"/>
                  <a:pt x="286" y="198"/>
                </a:cubicBezTo>
                <a:cubicBezTo>
                  <a:pt x="285" y="198"/>
                  <a:pt x="285" y="196"/>
                  <a:pt x="286" y="197"/>
                </a:cubicBezTo>
                <a:close/>
                <a:moveTo>
                  <a:pt x="286" y="346"/>
                </a:moveTo>
                <a:cubicBezTo>
                  <a:pt x="287" y="346"/>
                  <a:pt x="286" y="347"/>
                  <a:pt x="286" y="348"/>
                </a:cubicBezTo>
                <a:cubicBezTo>
                  <a:pt x="284" y="350"/>
                  <a:pt x="284" y="344"/>
                  <a:pt x="286" y="346"/>
                </a:cubicBezTo>
                <a:close/>
                <a:moveTo>
                  <a:pt x="284" y="385"/>
                </a:moveTo>
                <a:cubicBezTo>
                  <a:pt x="284" y="386"/>
                  <a:pt x="283" y="386"/>
                  <a:pt x="283" y="386"/>
                </a:cubicBezTo>
                <a:cubicBezTo>
                  <a:pt x="282" y="386"/>
                  <a:pt x="284" y="385"/>
                  <a:pt x="284" y="385"/>
                </a:cubicBezTo>
                <a:close/>
                <a:moveTo>
                  <a:pt x="281" y="387"/>
                </a:moveTo>
                <a:cubicBezTo>
                  <a:pt x="283" y="388"/>
                  <a:pt x="280" y="390"/>
                  <a:pt x="279" y="391"/>
                </a:cubicBezTo>
                <a:cubicBezTo>
                  <a:pt x="280" y="389"/>
                  <a:pt x="281" y="388"/>
                  <a:pt x="281" y="387"/>
                </a:cubicBezTo>
                <a:close/>
                <a:moveTo>
                  <a:pt x="278" y="392"/>
                </a:moveTo>
                <a:cubicBezTo>
                  <a:pt x="278" y="393"/>
                  <a:pt x="277" y="393"/>
                  <a:pt x="277" y="394"/>
                </a:cubicBezTo>
                <a:cubicBezTo>
                  <a:pt x="276" y="394"/>
                  <a:pt x="277" y="392"/>
                  <a:pt x="278" y="392"/>
                </a:cubicBezTo>
                <a:close/>
                <a:moveTo>
                  <a:pt x="275" y="342"/>
                </a:moveTo>
                <a:cubicBezTo>
                  <a:pt x="274" y="343"/>
                  <a:pt x="274" y="343"/>
                  <a:pt x="273" y="344"/>
                </a:cubicBezTo>
                <a:cubicBezTo>
                  <a:pt x="273" y="344"/>
                  <a:pt x="274" y="342"/>
                  <a:pt x="275" y="342"/>
                </a:cubicBezTo>
                <a:close/>
                <a:moveTo>
                  <a:pt x="273" y="119"/>
                </a:moveTo>
                <a:cubicBezTo>
                  <a:pt x="273" y="120"/>
                  <a:pt x="272" y="119"/>
                  <a:pt x="271" y="120"/>
                </a:cubicBezTo>
                <a:cubicBezTo>
                  <a:pt x="271" y="119"/>
                  <a:pt x="273" y="119"/>
                  <a:pt x="273" y="119"/>
                </a:cubicBezTo>
                <a:close/>
                <a:moveTo>
                  <a:pt x="272" y="481"/>
                </a:moveTo>
                <a:cubicBezTo>
                  <a:pt x="273" y="482"/>
                  <a:pt x="271" y="483"/>
                  <a:pt x="271" y="483"/>
                </a:cubicBezTo>
                <a:cubicBezTo>
                  <a:pt x="269" y="483"/>
                  <a:pt x="271" y="480"/>
                  <a:pt x="272" y="481"/>
                </a:cubicBezTo>
                <a:close/>
                <a:moveTo>
                  <a:pt x="270" y="120"/>
                </a:moveTo>
                <a:cubicBezTo>
                  <a:pt x="269" y="119"/>
                  <a:pt x="271" y="121"/>
                  <a:pt x="270" y="120"/>
                </a:cubicBezTo>
                <a:close/>
                <a:moveTo>
                  <a:pt x="270" y="409"/>
                </a:moveTo>
                <a:cubicBezTo>
                  <a:pt x="270" y="410"/>
                  <a:pt x="269" y="410"/>
                  <a:pt x="269" y="411"/>
                </a:cubicBezTo>
                <a:cubicBezTo>
                  <a:pt x="268" y="410"/>
                  <a:pt x="270" y="409"/>
                  <a:pt x="270" y="409"/>
                </a:cubicBezTo>
                <a:close/>
                <a:moveTo>
                  <a:pt x="269" y="378"/>
                </a:moveTo>
                <a:cubicBezTo>
                  <a:pt x="269" y="380"/>
                  <a:pt x="267" y="379"/>
                  <a:pt x="266" y="380"/>
                </a:cubicBezTo>
                <a:cubicBezTo>
                  <a:pt x="266" y="379"/>
                  <a:pt x="268" y="379"/>
                  <a:pt x="269" y="378"/>
                </a:cubicBezTo>
                <a:close/>
                <a:moveTo>
                  <a:pt x="267" y="407"/>
                </a:moveTo>
                <a:cubicBezTo>
                  <a:pt x="269" y="408"/>
                  <a:pt x="267" y="411"/>
                  <a:pt x="266" y="411"/>
                </a:cubicBezTo>
                <a:cubicBezTo>
                  <a:pt x="263" y="412"/>
                  <a:pt x="265" y="406"/>
                  <a:pt x="267" y="407"/>
                </a:cubicBezTo>
                <a:close/>
                <a:moveTo>
                  <a:pt x="264" y="422"/>
                </a:moveTo>
                <a:cubicBezTo>
                  <a:pt x="265" y="423"/>
                  <a:pt x="264" y="423"/>
                  <a:pt x="264" y="423"/>
                </a:cubicBezTo>
                <a:cubicBezTo>
                  <a:pt x="263" y="424"/>
                  <a:pt x="264" y="422"/>
                  <a:pt x="264" y="422"/>
                </a:cubicBezTo>
                <a:close/>
                <a:moveTo>
                  <a:pt x="264" y="455"/>
                </a:moveTo>
                <a:cubicBezTo>
                  <a:pt x="266" y="456"/>
                  <a:pt x="265" y="457"/>
                  <a:pt x="264" y="458"/>
                </a:cubicBezTo>
                <a:cubicBezTo>
                  <a:pt x="262" y="459"/>
                  <a:pt x="262" y="454"/>
                  <a:pt x="264" y="455"/>
                </a:cubicBezTo>
                <a:close/>
                <a:moveTo>
                  <a:pt x="262" y="487"/>
                </a:moveTo>
                <a:cubicBezTo>
                  <a:pt x="263" y="486"/>
                  <a:pt x="262" y="487"/>
                  <a:pt x="262" y="487"/>
                </a:cubicBezTo>
                <a:cubicBezTo>
                  <a:pt x="262" y="487"/>
                  <a:pt x="262" y="487"/>
                  <a:pt x="262" y="487"/>
                </a:cubicBezTo>
                <a:close/>
                <a:moveTo>
                  <a:pt x="262" y="390"/>
                </a:moveTo>
                <a:cubicBezTo>
                  <a:pt x="262" y="390"/>
                  <a:pt x="261" y="391"/>
                  <a:pt x="261" y="391"/>
                </a:cubicBezTo>
                <a:cubicBezTo>
                  <a:pt x="260" y="392"/>
                  <a:pt x="261" y="389"/>
                  <a:pt x="262" y="390"/>
                </a:cubicBezTo>
                <a:close/>
                <a:moveTo>
                  <a:pt x="261" y="409"/>
                </a:moveTo>
                <a:cubicBezTo>
                  <a:pt x="262" y="410"/>
                  <a:pt x="261" y="412"/>
                  <a:pt x="261" y="412"/>
                </a:cubicBezTo>
                <a:cubicBezTo>
                  <a:pt x="258" y="415"/>
                  <a:pt x="259" y="408"/>
                  <a:pt x="261" y="409"/>
                </a:cubicBezTo>
                <a:close/>
                <a:moveTo>
                  <a:pt x="260" y="161"/>
                </a:moveTo>
                <a:cubicBezTo>
                  <a:pt x="259" y="162"/>
                  <a:pt x="258" y="162"/>
                  <a:pt x="257" y="162"/>
                </a:cubicBezTo>
                <a:cubicBezTo>
                  <a:pt x="258" y="161"/>
                  <a:pt x="259" y="161"/>
                  <a:pt x="260" y="161"/>
                </a:cubicBezTo>
                <a:close/>
                <a:moveTo>
                  <a:pt x="256" y="236"/>
                </a:moveTo>
                <a:cubicBezTo>
                  <a:pt x="257" y="236"/>
                  <a:pt x="257" y="237"/>
                  <a:pt x="257" y="237"/>
                </a:cubicBezTo>
                <a:cubicBezTo>
                  <a:pt x="255" y="239"/>
                  <a:pt x="255" y="235"/>
                  <a:pt x="256" y="236"/>
                </a:cubicBezTo>
                <a:close/>
                <a:moveTo>
                  <a:pt x="220" y="484"/>
                </a:moveTo>
                <a:cubicBezTo>
                  <a:pt x="219" y="485"/>
                  <a:pt x="219" y="482"/>
                  <a:pt x="220" y="482"/>
                </a:cubicBezTo>
                <a:cubicBezTo>
                  <a:pt x="220" y="483"/>
                  <a:pt x="220" y="483"/>
                  <a:pt x="220" y="484"/>
                </a:cubicBezTo>
                <a:close/>
                <a:moveTo>
                  <a:pt x="219" y="482"/>
                </a:moveTo>
                <a:cubicBezTo>
                  <a:pt x="218" y="481"/>
                  <a:pt x="220" y="479"/>
                  <a:pt x="220" y="480"/>
                </a:cubicBezTo>
                <a:cubicBezTo>
                  <a:pt x="221" y="482"/>
                  <a:pt x="219" y="483"/>
                  <a:pt x="219" y="482"/>
                </a:cubicBezTo>
                <a:close/>
                <a:moveTo>
                  <a:pt x="223" y="478"/>
                </a:moveTo>
                <a:cubicBezTo>
                  <a:pt x="219" y="481"/>
                  <a:pt x="218" y="471"/>
                  <a:pt x="222" y="470"/>
                </a:cubicBezTo>
                <a:cubicBezTo>
                  <a:pt x="220" y="474"/>
                  <a:pt x="224" y="473"/>
                  <a:pt x="224" y="475"/>
                </a:cubicBezTo>
                <a:cubicBezTo>
                  <a:pt x="224" y="475"/>
                  <a:pt x="223" y="477"/>
                  <a:pt x="223" y="478"/>
                </a:cubicBezTo>
                <a:close/>
                <a:moveTo>
                  <a:pt x="226" y="519"/>
                </a:moveTo>
                <a:cubicBezTo>
                  <a:pt x="226" y="519"/>
                  <a:pt x="226" y="519"/>
                  <a:pt x="226" y="519"/>
                </a:cubicBezTo>
                <a:cubicBezTo>
                  <a:pt x="226" y="518"/>
                  <a:pt x="227" y="518"/>
                  <a:pt x="227" y="518"/>
                </a:cubicBezTo>
                <a:cubicBezTo>
                  <a:pt x="226" y="518"/>
                  <a:pt x="226" y="519"/>
                  <a:pt x="226" y="519"/>
                </a:cubicBezTo>
                <a:close/>
                <a:moveTo>
                  <a:pt x="231" y="488"/>
                </a:moveTo>
                <a:cubicBezTo>
                  <a:pt x="232" y="486"/>
                  <a:pt x="234" y="487"/>
                  <a:pt x="231" y="488"/>
                </a:cubicBezTo>
                <a:close/>
                <a:moveTo>
                  <a:pt x="236" y="473"/>
                </a:moveTo>
                <a:cubicBezTo>
                  <a:pt x="236" y="474"/>
                  <a:pt x="238" y="474"/>
                  <a:pt x="236" y="476"/>
                </a:cubicBezTo>
                <a:cubicBezTo>
                  <a:pt x="237" y="475"/>
                  <a:pt x="234" y="476"/>
                  <a:pt x="234" y="476"/>
                </a:cubicBezTo>
                <a:cubicBezTo>
                  <a:pt x="233" y="475"/>
                  <a:pt x="233" y="474"/>
                  <a:pt x="235" y="473"/>
                </a:cubicBezTo>
                <a:cubicBezTo>
                  <a:pt x="233" y="473"/>
                  <a:pt x="231" y="472"/>
                  <a:pt x="231" y="470"/>
                </a:cubicBezTo>
                <a:cubicBezTo>
                  <a:pt x="231" y="467"/>
                  <a:pt x="233" y="465"/>
                  <a:pt x="236" y="464"/>
                </a:cubicBezTo>
                <a:cubicBezTo>
                  <a:pt x="236" y="464"/>
                  <a:pt x="236" y="464"/>
                  <a:pt x="236" y="464"/>
                </a:cubicBezTo>
                <a:cubicBezTo>
                  <a:pt x="237" y="464"/>
                  <a:pt x="238" y="466"/>
                  <a:pt x="238" y="466"/>
                </a:cubicBezTo>
                <a:cubicBezTo>
                  <a:pt x="240" y="467"/>
                  <a:pt x="239" y="462"/>
                  <a:pt x="241" y="463"/>
                </a:cubicBezTo>
                <a:cubicBezTo>
                  <a:pt x="244" y="463"/>
                  <a:pt x="241" y="465"/>
                  <a:pt x="241" y="466"/>
                </a:cubicBezTo>
                <a:cubicBezTo>
                  <a:pt x="240" y="468"/>
                  <a:pt x="242" y="468"/>
                  <a:pt x="239" y="470"/>
                </a:cubicBezTo>
                <a:cubicBezTo>
                  <a:pt x="238" y="470"/>
                  <a:pt x="236" y="473"/>
                  <a:pt x="236" y="473"/>
                </a:cubicBezTo>
                <a:close/>
                <a:moveTo>
                  <a:pt x="232" y="444"/>
                </a:moveTo>
                <a:cubicBezTo>
                  <a:pt x="233" y="444"/>
                  <a:pt x="233" y="443"/>
                  <a:pt x="233" y="444"/>
                </a:cubicBezTo>
                <a:cubicBezTo>
                  <a:pt x="232" y="444"/>
                  <a:pt x="232" y="444"/>
                  <a:pt x="232" y="444"/>
                </a:cubicBezTo>
                <a:close/>
                <a:moveTo>
                  <a:pt x="237" y="453"/>
                </a:moveTo>
                <a:cubicBezTo>
                  <a:pt x="239" y="450"/>
                  <a:pt x="241" y="447"/>
                  <a:pt x="243" y="445"/>
                </a:cubicBezTo>
                <a:cubicBezTo>
                  <a:pt x="242" y="448"/>
                  <a:pt x="240" y="450"/>
                  <a:pt x="237" y="453"/>
                </a:cubicBezTo>
                <a:close/>
                <a:moveTo>
                  <a:pt x="243" y="461"/>
                </a:moveTo>
                <a:cubicBezTo>
                  <a:pt x="242" y="462"/>
                  <a:pt x="243" y="460"/>
                  <a:pt x="243" y="460"/>
                </a:cubicBezTo>
                <a:cubicBezTo>
                  <a:pt x="244" y="460"/>
                  <a:pt x="244" y="461"/>
                  <a:pt x="243" y="461"/>
                </a:cubicBezTo>
                <a:close/>
                <a:moveTo>
                  <a:pt x="238" y="463"/>
                </a:moveTo>
                <a:cubicBezTo>
                  <a:pt x="237" y="462"/>
                  <a:pt x="239" y="461"/>
                  <a:pt x="239" y="462"/>
                </a:cubicBezTo>
                <a:cubicBezTo>
                  <a:pt x="241" y="463"/>
                  <a:pt x="238" y="465"/>
                  <a:pt x="238" y="463"/>
                </a:cubicBezTo>
                <a:close/>
                <a:moveTo>
                  <a:pt x="237" y="446"/>
                </a:moveTo>
                <a:cubicBezTo>
                  <a:pt x="234" y="447"/>
                  <a:pt x="235" y="441"/>
                  <a:pt x="238" y="443"/>
                </a:cubicBezTo>
                <a:cubicBezTo>
                  <a:pt x="239" y="443"/>
                  <a:pt x="237" y="445"/>
                  <a:pt x="237" y="446"/>
                </a:cubicBezTo>
                <a:close/>
                <a:moveTo>
                  <a:pt x="236" y="453"/>
                </a:moveTo>
                <a:cubicBezTo>
                  <a:pt x="236" y="455"/>
                  <a:pt x="234" y="458"/>
                  <a:pt x="233" y="458"/>
                </a:cubicBezTo>
                <a:cubicBezTo>
                  <a:pt x="233" y="458"/>
                  <a:pt x="235" y="454"/>
                  <a:pt x="236" y="453"/>
                </a:cubicBezTo>
                <a:close/>
                <a:moveTo>
                  <a:pt x="234" y="464"/>
                </a:moveTo>
                <a:cubicBezTo>
                  <a:pt x="235" y="462"/>
                  <a:pt x="233" y="465"/>
                  <a:pt x="234" y="464"/>
                </a:cubicBezTo>
                <a:close/>
                <a:moveTo>
                  <a:pt x="241" y="500"/>
                </a:moveTo>
                <a:cubicBezTo>
                  <a:pt x="240" y="501"/>
                  <a:pt x="241" y="499"/>
                  <a:pt x="241" y="499"/>
                </a:cubicBezTo>
                <a:cubicBezTo>
                  <a:pt x="242" y="499"/>
                  <a:pt x="242" y="500"/>
                  <a:pt x="241" y="500"/>
                </a:cubicBezTo>
                <a:close/>
                <a:moveTo>
                  <a:pt x="243" y="497"/>
                </a:moveTo>
                <a:cubicBezTo>
                  <a:pt x="241" y="498"/>
                  <a:pt x="243" y="494"/>
                  <a:pt x="244" y="496"/>
                </a:cubicBezTo>
                <a:cubicBezTo>
                  <a:pt x="244" y="496"/>
                  <a:pt x="243" y="497"/>
                  <a:pt x="243" y="497"/>
                </a:cubicBezTo>
                <a:close/>
                <a:moveTo>
                  <a:pt x="245" y="513"/>
                </a:moveTo>
                <a:cubicBezTo>
                  <a:pt x="246" y="513"/>
                  <a:pt x="244" y="514"/>
                  <a:pt x="245" y="513"/>
                </a:cubicBezTo>
                <a:close/>
                <a:moveTo>
                  <a:pt x="244" y="494"/>
                </a:moveTo>
                <a:cubicBezTo>
                  <a:pt x="245" y="492"/>
                  <a:pt x="249" y="492"/>
                  <a:pt x="248" y="495"/>
                </a:cubicBezTo>
                <a:cubicBezTo>
                  <a:pt x="248" y="497"/>
                  <a:pt x="242" y="497"/>
                  <a:pt x="244" y="494"/>
                </a:cubicBezTo>
                <a:close/>
                <a:moveTo>
                  <a:pt x="248" y="489"/>
                </a:moveTo>
                <a:cubicBezTo>
                  <a:pt x="247" y="488"/>
                  <a:pt x="249" y="488"/>
                  <a:pt x="248" y="489"/>
                </a:cubicBezTo>
                <a:close/>
                <a:moveTo>
                  <a:pt x="249" y="485"/>
                </a:moveTo>
                <a:cubicBezTo>
                  <a:pt x="248" y="486"/>
                  <a:pt x="249" y="483"/>
                  <a:pt x="249" y="484"/>
                </a:cubicBezTo>
                <a:cubicBezTo>
                  <a:pt x="250" y="484"/>
                  <a:pt x="249" y="485"/>
                  <a:pt x="249" y="485"/>
                </a:cubicBezTo>
                <a:close/>
                <a:moveTo>
                  <a:pt x="251" y="501"/>
                </a:moveTo>
                <a:cubicBezTo>
                  <a:pt x="251" y="501"/>
                  <a:pt x="251" y="501"/>
                  <a:pt x="251" y="501"/>
                </a:cubicBezTo>
                <a:cubicBezTo>
                  <a:pt x="251" y="499"/>
                  <a:pt x="252" y="503"/>
                  <a:pt x="251" y="501"/>
                </a:cubicBezTo>
                <a:close/>
                <a:moveTo>
                  <a:pt x="252" y="488"/>
                </a:moveTo>
                <a:cubicBezTo>
                  <a:pt x="252" y="488"/>
                  <a:pt x="251" y="489"/>
                  <a:pt x="251" y="488"/>
                </a:cubicBezTo>
                <a:cubicBezTo>
                  <a:pt x="248" y="485"/>
                  <a:pt x="256" y="486"/>
                  <a:pt x="252" y="488"/>
                </a:cubicBezTo>
                <a:close/>
                <a:moveTo>
                  <a:pt x="252" y="480"/>
                </a:moveTo>
                <a:cubicBezTo>
                  <a:pt x="251" y="480"/>
                  <a:pt x="251" y="480"/>
                  <a:pt x="251" y="480"/>
                </a:cubicBezTo>
                <a:cubicBezTo>
                  <a:pt x="250" y="480"/>
                  <a:pt x="252" y="479"/>
                  <a:pt x="252" y="480"/>
                </a:cubicBezTo>
                <a:close/>
                <a:moveTo>
                  <a:pt x="250" y="475"/>
                </a:moveTo>
                <a:cubicBezTo>
                  <a:pt x="248" y="477"/>
                  <a:pt x="245" y="480"/>
                  <a:pt x="244" y="481"/>
                </a:cubicBezTo>
                <a:cubicBezTo>
                  <a:pt x="242" y="482"/>
                  <a:pt x="241" y="485"/>
                  <a:pt x="239" y="485"/>
                </a:cubicBezTo>
                <a:cubicBezTo>
                  <a:pt x="243" y="480"/>
                  <a:pt x="249" y="474"/>
                  <a:pt x="253" y="470"/>
                </a:cubicBezTo>
                <a:cubicBezTo>
                  <a:pt x="256" y="466"/>
                  <a:pt x="251" y="474"/>
                  <a:pt x="250" y="475"/>
                </a:cubicBezTo>
                <a:close/>
                <a:moveTo>
                  <a:pt x="251" y="410"/>
                </a:moveTo>
                <a:cubicBezTo>
                  <a:pt x="252" y="411"/>
                  <a:pt x="251" y="412"/>
                  <a:pt x="250" y="412"/>
                </a:cubicBezTo>
                <a:cubicBezTo>
                  <a:pt x="248" y="414"/>
                  <a:pt x="248" y="409"/>
                  <a:pt x="251" y="410"/>
                </a:cubicBezTo>
                <a:close/>
                <a:moveTo>
                  <a:pt x="249" y="314"/>
                </a:moveTo>
                <a:cubicBezTo>
                  <a:pt x="250" y="313"/>
                  <a:pt x="251" y="314"/>
                  <a:pt x="251" y="314"/>
                </a:cubicBezTo>
                <a:cubicBezTo>
                  <a:pt x="250" y="315"/>
                  <a:pt x="249" y="314"/>
                  <a:pt x="249" y="314"/>
                </a:cubicBezTo>
                <a:close/>
                <a:moveTo>
                  <a:pt x="250" y="459"/>
                </a:moveTo>
                <a:cubicBezTo>
                  <a:pt x="251" y="458"/>
                  <a:pt x="248" y="460"/>
                  <a:pt x="250" y="459"/>
                </a:cubicBezTo>
                <a:close/>
                <a:moveTo>
                  <a:pt x="254" y="448"/>
                </a:moveTo>
                <a:cubicBezTo>
                  <a:pt x="254" y="447"/>
                  <a:pt x="254" y="450"/>
                  <a:pt x="254" y="448"/>
                </a:cubicBezTo>
                <a:close/>
                <a:moveTo>
                  <a:pt x="254" y="252"/>
                </a:moveTo>
                <a:cubicBezTo>
                  <a:pt x="255" y="252"/>
                  <a:pt x="254" y="253"/>
                  <a:pt x="254" y="254"/>
                </a:cubicBezTo>
                <a:cubicBezTo>
                  <a:pt x="253" y="255"/>
                  <a:pt x="253" y="252"/>
                  <a:pt x="254" y="252"/>
                </a:cubicBezTo>
                <a:close/>
                <a:moveTo>
                  <a:pt x="253" y="418"/>
                </a:moveTo>
                <a:cubicBezTo>
                  <a:pt x="254" y="416"/>
                  <a:pt x="255" y="417"/>
                  <a:pt x="253" y="418"/>
                </a:cubicBezTo>
                <a:close/>
                <a:moveTo>
                  <a:pt x="253" y="419"/>
                </a:moveTo>
                <a:cubicBezTo>
                  <a:pt x="253" y="421"/>
                  <a:pt x="252" y="419"/>
                  <a:pt x="253" y="419"/>
                </a:cubicBezTo>
                <a:close/>
                <a:moveTo>
                  <a:pt x="251" y="212"/>
                </a:moveTo>
                <a:cubicBezTo>
                  <a:pt x="252" y="213"/>
                  <a:pt x="251" y="213"/>
                  <a:pt x="251" y="214"/>
                </a:cubicBezTo>
                <a:cubicBezTo>
                  <a:pt x="250" y="214"/>
                  <a:pt x="251" y="213"/>
                  <a:pt x="251" y="212"/>
                </a:cubicBezTo>
                <a:close/>
                <a:moveTo>
                  <a:pt x="250" y="272"/>
                </a:moveTo>
                <a:cubicBezTo>
                  <a:pt x="250" y="273"/>
                  <a:pt x="250" y="273"/>
                  <a:pt x="249" y="274"/>
                </a:cubicBezTo>
                <a:cubicBezTo>
                  <a:pt x="248" y="275"/>
                  <a:pt x="250" y="272"/>
                  <a:pt x="250" y="272"/>
                </a:cubicBezTo>
                <a:close/>
                <a:moveTo>
                  <a:pt x="249" y="219"/>
                </a:moveTo>
                <a:cubicBezTo>
                  <a:pt x="248" y="218"/>
                  <a:pt x="250" y="217"/>
                  <a:pt x="249" y="219"/>
                </a:cubicBezTo>
                <a:close/>
                <a:moveTo>
                  <a:pt x="250" y="374"/>
                </a:moveTo>
                <a:cubicBezTo>
                  <a:pt x="250" y="374"/>
                  <a:pt x="250" y="376"/>
                  <a:pt x="249" y="376"/>
                </a:cubicBezTo>
                <a:cubicBezTo>
                  <a:pt x="248" y="377"/>
                  <a:pt x="248" y="374"/>
                  <a:pt x="250" y="374"/>
                </a:cubicBezTo>
                <a:close/>
                <a:moveTo>
                  <a:pt x="245" y="428"/>
                </a:moveTo>
                <a:cubicBezTo>
                  <a:pt x="246" y="428"/>
                  <a:pt x="245" y="428"/>
                  <a:pt x="245" y="429"/>
                </a:cubicBezTo>
                <a:cubicBezTo>
                  <a:pt x="244" y="430"/>
                  <a:pt x="244" y="427"/>
                  <a:pt x="245" y="428"/>
                </a:cubicBezTo>
                <a:close/>
                <a:moveTo>
                  <a:pt x="244" y="378"/>
                </a:moveTo>
                <a:cubicBezTo>
                  <a:pt x="245" y="378"/>
                  <a:pt x="244" y="379"/>
                  <a:pt x="243" y="379"/>
                </a:cubicBezTo>
                <a:cubicBezTo>
                  <a:pt x="243" y="378"/>
                  <a:pt x="244" y="378"/>
                  <a:pt x="244" y="378"/>
                </a:cubicBezTo>
                <a:close/>
                <a:moveTo>
                  <a:pt x="243" y="406"/>
                </a:moveTo>
                <a:cubicBezTo>
                  <a:pt x="246" y="408"/>
                  <a:pt x="243" y="412"/>
                  <a:pt x="242" y="413"/>
                </a:cubicBezTo>
                <a:cubicBezTo>
                  <a:pt x="237" y="414"/>
                  <a:pt x="239" y="404"/>
                  <a:pt x="243" y="406"/>
                </a:cubicBezTo>
                <a:close/>
                <a:moveTo>
                  <a:pt x="236" y="275"/>
                </a:moveTo>
                <a:cubicBezTo>
                  <a:pt x="237" y="275"/>
                  <a:pt x="237" y="277"/>
                  <a:pt x="236" y="278"/>
                </a:cubicBezTo>
                <a:cubicBezTo>
                  <a:pt x="235" y="279"/>
                  <a:pt x="235" y="275"/>
                  <a:pt x="236" y="275"/>
                </a:cubicBezTo>
                <a:close/>
                <a:moveTo>
                  <a:pt x="236" y="430"/>
                </a:moveTo>
                <a:cubicBezTo>
                  <a:pt x="235" y="431"/>
                  <a:pt x="235" y="429"/>
                  <a:pt x="236" y="429"/>
                </a:cubicBezTo>
                <a:cubicBezTo>
                  <a:pt x="237" y="429"/>
                  <a:pt x="236" y="430"/>
                  <a:pt x="236" y="430"/>
                </a:cubicBezTo>
                <a:close/>
                <a:moveTo>
                  <a:pt x="236" y="371"/>
                </a:moveTo>
                <a:cubicBezTo>
                  <a:pt x="237" y="370"/>
                  <a:pt x="235" y="372"/>
                  <a:pt x="236" y="371"/>
                </a:cubicBezTo>
                <a:close/>
                <a:moveTo>
                  <a:pt x="236" y="412"/>
                </a:moveTo>
                <a:cubicBezTo>
                  <a:pt x="237" y="413"/>
                  <a:pt x="235" y="414"/>
                  <a:pt x="235" y="415"/>
                </a:cubicBezTo>
                <a:cubicBezTo>
                  <a:pt x="234" y="416"/>
                  <a:pt x="235" y="411"/>
                  <a:pt x="236" y="412"/>
                </a:cubicBezTo>
                <a:close/>
                <a:moveTo>
                  <a:pt x="236" y="431"/>
                </a:moveTo>
                <a:cubicBezTo>
                  <a:pt x="240" y="431"/>
                  <a:pt x="238" y="437"/>
                  <a:pt x="234" y="438"/>
                </a:cubicBezTo>
                <a:cubicBezTo>
                  <a:pt x="233" y="438"/>
                  <a:pt x="230" y="438"/>
                  <a:pt x="231" y="435"/>
                </a:cubicBezTo>
                <a:cubicBezTo>
                  <a:pt x="231" y="433"/>
                  <a:pt x="232" y="434"/>
                  <a:pt x="234" y="433"/>
                </a:cubicBezTo>
                <a:cubicBezTo>
                  <a:pt x="234" y="432"/>
                  <a:pt x="234" y="431"/>
                  <a:pt x="236" y="431"/>
                </a:cubicBezTo>
                <a:close/>
                <a:moveTo>
                  <a:pt x="234" y="353"/>
                </a:moveTo>
                <a:cubicBezTo>
                  <a:pt x="232" y="355"/>
                  <a:pt x="235" y="352"/>
                  <a:pt x="234" y="353"/>
                </a:cubicBezTo>
                <a:close/>
                <a:moveTo>
                  <a:pt x="233" y="336"/>
                </a:moveTo>
                <a:cubicBezTo>
                  <a:pt x="233" y="336"/>
                  <a:pt x="233" y="337"/>
                  <a:pt x="232" y="337"/>
                </a:cubicBezTo>
                <a:cubicBezTo>
                  <a:pt x="231" y="338"/>
                  <a:pt x="232" y="335"/>
                  <a:pt x="233" y="336"/>
                </a:cubicBezTo>
                <a:close/>
                <a:moveTo>
                  <a:pt x="232" y="409"/>
                </a:moveTo>
                <a:cubicBezTo>
                  <a:pt x="232" y="409"/>
                  <a:pt x="232" y="409"/>
                  <a:pt x="232" y="409"/>
                </a:cubicBezTo>
                <a:cubicBezTo>
                  <a:pt x="230" y="410"/>
                  <a:pt x="233" y="407"/>
                  <a:pt x="232" y="409"/>
                </a:cubicBezTo>
                <a:close/>
                <a:moveTo>
                  <a:pt x="230" y="395"/>
                </a:moveTo>
                <a:cubicBezTo>
                  <a:pt x="231" y="394"/>
                  <a:pt x="231" y="395"/>
                  <a:pt x="231" y="395"/>
                </a:cubicBezTo>
                <a:cubicBezTo>
                  <a:pt x="231" y="395"/>
                  <a:pt x="230" y="395"/>
                  <a:pt x="230" y="395"/>
                </a:cubicBezTo>
                <a:close/>
                <a:moveTo>
                  <a:pt x="230" y="490"/>
                </a:moveTo>
                <a:cubicBezTo>
                  <a:pt x="230" y="490"/>
                  <a:pt x="230" y="490"/>
                  <a:pt x="230" y="490"/>
                </a:cubicBezTo>
                <a:cubicBezTo>
                  <a:pt x="230" y="490"/>
                  <a:pt x="231" y="489"/>
                  <a:pt x="230" y="490"/>
                </a:cubicBezTo>
                <a:close/>
                <a:moveTo>
                  <a:pt x="230" y="495"/>
                </a:moveTo>
                <a:cubicBezTo>
                  <a:pt x="230" y="498"/>
                  <a:pt x="226" y="498"/>
                  <a:pt x="225" y="501"/>
                </a:cubicBezTo>
                <a:cubicBezTo>
                  <a:pt x="225" y="498"/>
                  <a:pt x="228" y="496"/>
                  <a:pt x="230" y="495"/>
                </a:cubicBezTo>
                <a:close/>
                <a:moveTo>
                  <a:pt x="225" y="486"/>
                </a:moveTo>
                <a:cubicBezTo>
                  <a:pt x="226" y="485"/>
                  <a:pt x="227" y="487"/>
                  <a:pt x="225" y="486"/>
                </a:cubicBezTo>
                <a:close/>
                <a:moveTo>
                  <a:pt x="223" y="437"/>
                </a:moveTo>
                <a:cubicBezTo>
                  <a:pt x="222" y="438"/>
                  <a:pt x="223" y="435"/>
                  <a:pt x="223" y="435"/>
                </a:cubicBezTo>
                <a:cubicBezTo>
                  <a:pt x="224" y="436"/>
                  <a:pt x="223" y="437"/>
                  <a:pt x="223" y="437"/>
                </a:cubicBezTo>
                <a:close/>
                <a:moveTo>
                  <a:pt x="223" y="313"/>
                </a:moveTo>
                <a:cubicBezTo>
                  <a:pt x="224" y="313"/>
                  <a:pt x="223" y="315"/>
                  <a:pt x="223" y="316"/>
                </a:cubicBezTo>
                <a:cubicBezTo>
                  <a:pt x="219" y="317"/>
                  <a:pt x="220" y="312"/>
                  <a:pt x="223" y="313"/>
                </a:cubicBezTo>
                <a:close/>
                <a:moveTo>
                  <a:pt x="219" y="387"/>
                </a:moveTo>
                <a:cubicBezTo>
                  <a:pt x="219" y="389"/>
                  <a:pt x="220" y="388"/>
                  <a:pt x="220" y="389"/>
                </a:cubicBezTo>
                <a:cubicBezTo>
                  <a:pt x="222" y="391"/>
                  <a:pt x="219" y="394"/>
                  <a:pt x="218" y="392"/>
                </a:cubicBezTo>
                <a:cubicBezTo>
                  <a:pt x="216" y="391"/>
                  <a:pt x="218" y="389"/>
                  <a:pt x="219" y="387"/>
                </a:cubicBezTo>
                <a:close/>
                <a:moveTo>
                  <a:pt x="213" y="346"/>
                </a:moveTo>
                <a:cubicBezTo>
                  <a:pt x="213" y="348"/>
                  <a:pt x="211" y="346"/>
                  <a:pt x="213" y="346"/>
                </a:cubicBezTo>
                <a:close/>
                <a:moveTo>
                  <a:pt x="216" y="395"/>
                </a:moveTo>
                <a:cubicBezTo>
                  <a:pt x="215" y="395"/>
                  <a:pt x="215" y="396"/>
                  <a:pt x="215" y="396"/>
                </a:cubicBezTo>
                <a:cubicBezTo>
                  <a:pt x="214" y="396"/>
                  <a:pt x="215" y="394"/>
                  <a:pt x="216" y="395"/>
                </a:cubicBezTo>
                <a:close/>
                <a:moveTo>
                  <a:pt x="214" y="449"/>
                </a:moveTo>
                <a:cubicBezTo>
                  <a:pt x="214" y="450"/>
                  <a:pt x="215" y="447"/>
                  <a:pt x="214" y="449"/>
                </a:cubicBezTo>
                <a:close/>
                <a:moveTo>
                  <a:pt x="214" y="417"/>
                </a:moveTo>
                <a:cubicBezTo>
                  <a:pt x="215" y="418"/>
                  <a:pt x="213" y="419"/>
                  <a:pt x="214" y="417"/>
                </a:cubicBezTo>
                <a:close/>
                <a:moveTo>
                  <a:pt x="213" y="341"/>
                </a:moveTo>
                <a:cubicBezTo>
                  <a:pt x="213" y="343"/>
                  <a:pt x="211" y="341"/>
                  <a:pt x="213" y="341"/>
                </a:cubicBezTo>
                <a:close/>
                <a:moveTo>
                  <a:pt x="211" y="453"/>
                </a:moveTo>
                <a:cubicBezTo>
                  <a:pt x="211" y="454"/>
                  <a:pt x="210" y="451"/>
                  <a:pt x="211" y="451"/>
                </a:cubicBezTo>
                <a:cubicBezTo>
                  <a:pt x="211" y="451"/>
                  <a:pt x="212" y="452"/>
                  <a:pt x="211" y="453"/>
                </a:cubicBezTo>
                <a:close/>
                <a:moveTo>
                  <a:pt x="211" y="238"/>
                </a:moveTo>
                <a:cubicBezTo>
                  <a:pt x="211" y="238"/>
                  <a:pt x="211" y="238"/>
                  <a:pt x="211" y="238"/>
                </a:cubicBezTo>
                <a:cubicBezTo>
                  <a:pt x="211" y="238"/>
                  <a:pt x="212" y="237"/>
                  <a:pt x="211" y="238"/>
                </a:cubicBezTo>
                <a:close/>
                <a:moveTo>
                  <a:pt x="211" y="409"/>
                </a:moveTo>
                <a:cubicBezTo>
                  <a:pt x="210" y="408"/>
                  <a:pt x="212" y="408"/>
                  <a:pt x="211" y="409"/>
                </a:cubicBezTo>
                <a:close/>
                <a:moveTo>
                  <a:pt x="210" y="299"/>
                </a:moveTo>
                <a:cubicBezTo>
                  <a:pt x="210" y="299"/>
                  <a:pt x="210" y="299"/>
                  <a:pt x="210" y="298"/>
                </a:cubicBezTo>
                <a:cubicBezTo>
                  <a:pt x="210" y="299"/>
                  <a:pt x="209" y="299"/>
                  <a:pt x="209" y="299"/>
                </a:cubicBezTo>
                <a:cubicBezTo>
                  <a:pt x="209" y="299"/>
                  <a:pt x="210" y="299"/>
                  <a:pt x="210" y="299"/>
                </a:cubicBezTo>
                <a:close/>
                <a:moveTo>
                  <a:pt x="209" y="464"/>
                </a:moveTo>
                <a:cubicBezTo>
                  <a:pt x="209" y="465"/>
                  <a:pt x="209" y="462"/>
                  <a:pt x="209" y="464"/>
                </a:cubicBezTo>
                <a:close/>
                <a:moveTo>
                  <a:pt x="201" y="445"/>
                </a:moveTo>
                <a:cubicBezTo>
                  <a:pt x="200" y="446"/>
                  <a:pt x="200" y="443"/>
                  <a:pt x="201" y="443"/>
                </a:cubicBezTo>
                <a:cubicBezTo>
                  <a:pt x="202" y="443"/>
                  <a:pt x="201" y="444"/>
                  <a:pt x="201" y="445"/>
                </a:cubicBezTo>
                <a:close/>
                <a:moveTo>
                  <a:pt x="202" y="438"/>
                </a:moveTo>
                <a:cubicBezTo>
                  <a:pt x="201" y="438"/>
                  <a:pt x="202" y="437"/>
                  <a:pt x="203" y="437"/>
                </a:cubicBezTo>
                <a:cubicBezTo>
                  <a:pt x="203" y="437"/>
                  <a:pt x="203" y="438"/>
                  <a:pt x="202" y="438"/>
                </a:cubicBezTo>
                <a:close/>
                <a:moveTo>
                  <a:pt x="201" y="428"/>
                </a:moveTo>
                <a:cubicBezTo>
                  <a:pt x="201" y="430"/>
                  <a:pt x="201" y="435"/>
                  <a:pt x="199" y="435"/>
                </a:cubicBezTo>
                <a:cubicBezTo>
                  <a:pt x="198" y="436"/>
                  <a:pt x="197" y="436"/>
                  <a:pt x="197" y="434"/>
                </a:cubicBezTo>
                <a:cubicBezTo>
                  <a:pt x="198" y="432"/>
                  <a:pt x="203" y="423"/>
                  <a:pt x="203" y="423"/>
                </a:cubicBezTo>
                <a:cubicBezTo>
                  <a:pt x="205" y="424"/>
                  <a:pt x="202" y="427"/>
                  <a:pt x="201" y="428"/>
                </a:cubicBezTo>
                <a:close/>
                <a:moveTo>
                  <a:pt x="204" y="400"/>
                </a:moveTo>
                <a:cubicBezTo>
                  <a:pt x="202" y="401"/>
                  <a:pt x="203" y="398"/>
                  <a:pt x="204" y="399"/>
                </a:cubicBezTo>
                <a:cubicBezTo>
                  <a:pt x="204" y="399"/>
                  <a:pt x="204" y="400"/>
                  <a:pt x="204" y="400"/>
                </a:cubicBezTo>
                <a:close/>
                <a:moveTo>
                  <a:pt x="204" y="455"/>
                </a:moveTo>
                <a:cubicBezTo>
                  <a:pt x="204" y="455"/>
                  <a:pt x="206" y="455"/>
                  <a:pt x="205" y="456"/>
                </a:cubicBezTo>
                <a:cubicBezTo>
                  <a:pt x="205" y="457"/>
                  <a:pt x="204" y="456"/>
                  <a:pt x="204" y="455"/>
                </a:cubicBezTo>
                <a:close/>
                <a:moveTo>
                  <a:pt x="205" y="428"/>
                </a:moveTo>
                <a:cubicBezTo>
                  <a:pt x="206" y="428"/>
                  <a:pt x="206" y="429"/>
                  <a:pt x="205" y="430"/>
                </a:cubicBezTo>
                <a:cubicBezTo>
                  <a:pt x="204" y="430"/>
                  <a:pt x="205" y="428"/>
                  <a:pt x="205" y="428"/>
                </a:cubicBezTo>
                <a:close/>
                <a:moveTo>
                  <a:pt x="206" y="456"/>
                </a:moveTo>
                <a:cubicBezTo>
                  <a:pt x="207" y="456"/>
                  <a:pt x="206" y="457"/>
                  <a:pt x="206" y="457"/>
                </a:cubicBezTo>
                <a:cubicBezTo>
                  <a:pt x="205" y="457"/>
                  <a:pt x="206" y="456"/>
                  <a:pt x="206" y="456"/>
                </a:cubicBezTo>
                <a:close/>
                <a:moveTo>
                  <a:pt x="206" y="467"/>
                </a:moveTo>
                <a:cubicBezTo>
                  <a:pt x="207" y="468"/>
                  <a:pt x="205" y="469"/>
                  <a:pt x="206" y="467"/>
                </a:cubicBezTo>
                <a:close/>
                <a:moveTo>
                  <a:pt x="206" y="465"/>
                </a:moveTo>
                <a:cubicBezTo>
                  <a:pt x="206" y="465"/>
                  <a:pt x="208" y="465"/>
                  <a:pt x="208" y="465"/>
                </a:cubicBezTo>
                <a:cubicBezTo>
                  <a:pt x="208" y="466"/>
                  <a:pt x="205" y="466"/>
                  <a:pt x="206" y="465"/>
                </a:cubicBezTo>
                <a:close/>
                <a:moveTo>
                  <a:pt x="207" y="448"/>
                </a:moveTo>
                <a:cubicBezTo>
                  <a:pt x="208" y="447"/>
                  <a:pt x="208" y="448"/>
                  <a:pt x="208" y="449"/>
                </a:cubicBezTo>
                <a:cubicBezTo>
                  <a:pt x="208" y="450"/>
                  <a:pt x="207" y="448"/>
                  <a:pt x="207" y="448"/>
                </a:cubicBezTo>
                <a:close/>
                <a:moveTo>
                  <a:pt x="206" y="415"/>
                </a:moveTo>
                <a:cubicBezTo>
                  <a:pt x="205" y="416"/>
                  <a:pt x="207" y="413"/>
                  <a:pt x="206" y="415"/>
                </a:cubicBezTo>
                <a:close/>
                <a:moveTo>
                  <a:pt x="204" y="380"/>
                </a:moveTo>
                <a:cubicBezTo>
                  <a:pt x="206" y="379"/>
                  <a:pt x="207" y="384"/>
                  <a:pt x="205" y="385"/>
                </a:cubicBezTo>
                <a:cubicBezTo>
                  <a:pt x="202" y="386"/>
                  <a:pt x="202" y="381"/>
                  <a:pt x="204" y="380"/>
                </a:cubicBezTo>
                <a:close/>
                <a:moveTo>
                  <a:pt x="203" y="416"/>
                </a:moveTo>
                <a:cubicBezTo>
                  <a:pt x="203" y="417"/>
                  <a:pt x="203" y="417"/>
                  <a:pt x="202" y="418"/>
                </a:cubicBezTo>
                <a:cubicBezTo>
                  <a:pt x="201" y="419"/>
                  <a:pt x="202" y="416"/>
                  <a:pt x="203" y="416"/>
                </a:cubicBezTo>
                <a:close/>
                <a:moveTo>
                  <a:pt x="202" y="401"/>
                </a:moveTo>
                <a:cubicBezTo>
                  <a:pt x="202" y="402"/>
                  <a:pt x="201" y="403"/>
                  <a:pt x="201" y="403"/>
                </a:cubicBezTo>
                <a:cubicBezTo>
                  <a:pt x="200" y="404"/>
                  <a:pt x="201" y="401"/>
                  <a:pt x="202" y="401"/>
                </a:cubicBezTo>
                <a:close/>
                <a:moveTo>
                  <a:pt x="200" y="405"/>
                </a:moveTo>
                <a:cubicBezTo>
                  <a:pt x="200" y="406"/>
                  <a:pt x="200" y="406"/>
                  <a:pt x="199" y="407"/>
                </a:cubicBezTo>
                <a:cubicBezTo>
                  <a:pt x="199" y="407"/>
                  <a:pt x="199" y="405"/>
                  <a:pt x="200" y="405"/>
                </a:cubicBezTo>
                <a:close/>
                <a:moveTo>
                  <a:pt x="198" y="419"/>
                </a:moveTo>
                <a:cubicBezTo>
                  <a:pt x="197" y="421"/>
                  <a:pt x="198" y="418"/>
                  <a:pt x="198" y="418"/>
                </a:cubicBezTo>
                <a:cubicBezTo>
                  <a:pt x="198" y="418"/>
                  <a:pt x="198" y="419"/>
                  <a:pt x="198" y="419"/>
                </a:cubicBezTo>
                <a:close/>
                <a:moveTo>
                  <a:pt x="198" y="411"/>
                </a:moveTo>
                <a:cubicBezTo>
                  <a:pt x="198" y="413"/>
                  <a:pt x="197" y="415"/>
                  <a:pt x="196" y="416"/>
                </a:cubicBezTo>
                <a:cubicBezTo>
                  <a:pt x="195" y="415"/>
                  <a:pt x="197" y="412"/>
                  <a:pt x="198" y="411"/>
                </a:cubicBezTo>
                <a:close/>
                <a:moveTo>
                  <a:pt x="196" y="426"/>
                </a:moveTo>
                <a:cubicBezTo>
                  <a:pt x="196" y="426"/>
                  <a:pt x="196" y="427"/>
                  <a:pt x="195" y="427"/>
                </a:cubicBezTo>
                <a:cubicBezTo>
                  <a:pt x="194" y="428"/>
                  <a:pt x="195" y="426"/>
                  <a:pt x="196" y="426"/>
                </a:cubicBezTo>
                <a:close/>
                <a:moveTo>
                  <a:pt x="75" y="451"/>
                </a:moveTo>
                <a:cubicBezTo>
                  <a:pt x="74" y="451"/>
                  <a:pt x="74" y="449"/>
                  <a:pt x="75" y="449"/>
                </a:cubicBezTo>
                <a:cubicBezTo>
                  <a:pt x="75" y="450"/>
                  <a:pt x="75" y="450"/>
                  <a:pt x="75" y="451"/>
                </a:cubicBezTo>
                <a:close/>
                <a:moveTo>
                  <a:pt x="84" y="417"/>
                </a:moveTo>
                <a:cubicBezTo>
                  <a:pt x="86" y="416"/>
                  <a:pt x="89" y="422"/>
                  <a:pt x="86" y="423"/>
                </a:cubicBezTo>
                <a:cubicBezTo>
                  <a:pt x="82" y="425"/>
                  <a:pt x="82" y="417"/>
                  <a:pt x="84" y="417"/>
                </a:cubicBezTo>
                <a:close/>
                <a:moveTo>
                  <a:pt x="82" y="401"/>
                </a:moveTo>
                <a:cubicBezTo>
                  <a:pt x="82" y="402"/>
                  <a:pt x="83" y="398"/>
                  <a:pt x="82" y="401"/>
                </a:cubicBezTo>
                <a:close/>
                <a:moveTo>
                  <a:pt x="88" y="429"/>
                </a:moveTo>
                <a:cubicBezTo>
                  <a:pt x="88" y="428"/>
                  <a:pt x="88" y="428"/>
                  <a:pt x="88" y="427"/>
                </a:cubicBezTo>
                <a:cubicBezTo>
                  <a:pt x="87" y="427"/>
                  <a:pt x="86" y="427"/>
                  <a:pt x="87" y="426"/>
                </a:cubicBezTo>
                <a:cubicBezTo>
                  <a:pt x="87" y="426"/>
                  <a:pt x="87" y="426"/>
                  <a:pt x="88" y="426"/>
                </a:cubicBezTo>
                <a:cubicBezTo>
                  <a:pt x="88" y="423"/>
                  <a:pt x="90" y="418"/>
                  <a:pt x="90" y="418"/>
                </a:cubicBezTo>
                <a:cubicBezTo>
                  <a:pt x="91" y="419"/>
                  <a:pt x="88" y="426"/>
                  <a:pt x="88" y="429"/>
                </a:cubicBezTo>
                <a:close/>
                <a:moveTo>
                  <a:pt x="88" y="449"/>
                </a:moveTo>
                <a:cubicBezTo>
                  <a:pt x="87" y="449"/>
                  <a:pt x="89" y="448"/>
                  <a:pt x="88" y="449"/>
                </a:cubicBezTo>
                <a:close/>
                <a:moveTo>
                  <a:pt x="85" y="448"/>
                </a:moveTo>
                <a:cubicBezTo>
                  <a:pt x="84" y="450"/>
                  <a:pt x="84" y="446"/>
                  <a:pt x="85" y="446"/>
                </a:cubicBezTo>
                <a:cubicBezTo>
                  <a:pt x="86" y="447"/>
                  <a:pt x="86" y="448"/>
                  <a:pt x="85" y="448"/>
                </a:cubicBezTo>
                <a:close/>
                <a:moveTo>
                  <a:pt x="86" y="437"/>
                </a:moveTo>
                <a:cubicBezTo>
                  <a:pt x="83" y="434"/>
                  <a:pt x="90" y="436"/>
                  <a:pt x="86" y="437"/>
                </a:cubicBezTo>
                <a:cubicBezTo>
                  <a:pt x="86" y="437"/>
                  <a:pt x="86" y="438"/>
                  <a:pt x="86" y="437"/>
                </a:cubicBezTo>
                <a:close/>
                <a:moveTo>
                  <a:pt x="88" y="451"/>
                </a:moveTo>
                <a:cubicBezTo>
                  <a:pt x="88" y="451"/>
                  <a:pt x="88" y="452"/>
                  <a:pt x="88" y="452"/>
                </a:cubicBezTo>
                <a:cubicBezTo>
                  <a:pt x="87" y="453"/>
                  <a:pt x="87" y="451"/>
                  <a:pt x="88" y="451"/>
                </a:cubicBezTo>
                <a:close/>
                <a:moveTo>
                  <a:pt x="88" y="462"/>
                </a:moveTo>
                <a:cubicBezTo>
                  <a:pt x="88" y="460"/>
                  <a:pt x="86" y="457"/>
                  <a:pt x="89" y="457"/>
                </a:cubicBezTo>
                <a:cubicBezTo>
                  <a:pt x="93" y="456"/>
                  <a:pt x="88" y="463"/>
                  <a:pt x="88" y="462"/>
                </a:cubicBezTo>
                <a:close/>
                <a:moveTo>
                  <a:pt x="91" y="450"/>
                </a:moveTo>
                <a:cubicBezTo>
                  <a:pt x="90" y="451"/>
                  <a:pt x="90" y="450"/>
                  <a:pt x="90" y="449"/>
                </a:cubicBezTo>
                <a:cubicBezTo>
                  <a:pt x="90" y="449"/>
                  <a:pt x="91" y="450"/>
                  <a:pt x="91" y="450"/>
                </a:cubicBezTo>
                <a:close/>
                <a:moveTo>
                  <a:pt x="92" y="442"/>
                </a:moveTo>
                <a:cubicBezTo>
                  <a:pt x="91" y="443"/>
                  <a:pt x="89" y="440"/>
                  <a:pt x="90" y="440"/>
                </a:cubicBezTo>
                <a:cubicBezTo>
                  <a:pt x="91" y="439"/>
                  <a:pt x="93" y="441"/>
                  <a:pt x="92" y="442"/>
                </a:cubicBezTo>
                <a:close/>
                <a:moveTo>
                  <a:pt x="92" y="428"/>
                </a:moveTo>
                <a:cubicBezTo>
                  <a:pt x="93" y="429"/>
                  <a:pt x="93" y="430"/>
                  <a:pt x="93" y="431"/>
                </a:cubicBezTo>
                <a:cubicBezTo>
                  <a:pt x="91" y="432"/>
                  <a:pt x="91" y="428"/>
                  <a:pt x="92" y="428"/>
                </a:cubicBezTo>
                <a:close/>
                <a:moveTo>
                  <a:pt x="92" y="416"/>
                </a:moveTo>
                <a:cubicBezTo>
                  <a:pt x="93" y="416"/>
                  <a:pt x="93" y="417"/>
                  <a:pt x="93" y="417"/>
                </a:cubicBezTo>
                <a:cubicBezTo>
                  <a:pt x="92" y="418"/>
                  <a:pt x="92" y="416"/>
                  <a:pt x="92" y="416"/>
                </a:cubicBezTo>
                <a:close/>
                <a:moveTo>
                  <a:pt x="97" y="465"/>
                </a:moveTo>
                <a:cubicBezTo>
                  <a:pt x="96" y="466"/>
                  <a:pt x="96" y="463"/>
                  <a:pt x="97" y="463"/>
                </a:cubicBezTo>
                <a:cubicBezTo>
                  <a:pt x="98" y="463"/>
                  <a:pt x="98" y="465"/>
                  <a:pt x="97" y="465"/>
                </a:cubicBezTo>
                <a:close/>
                <a:moveTo>
                  <a:pt x="95" y="461"/>
                </a:moveTo>
                <a:cubicBezTo>
                  <a:pt x="96" y="462"/>
                  <a:pt x="99" y="462"/>
                  <a:pt x="96" y="463"/>
                </a:cubicBezTo>
                <a:cubicBezTo>
                  <a:pt x="95" y="463"/>
                  <a:pt x="94" y="463"/>
                  <a:pt x="93" y="462"/>
                </a:cubicBezTo>
                <a:cubicBezTo>
                  <a:pt x="93" y="462"/>
                  <a:pt x="94" y="459"/>
                  <a:pt x="94" y="460"/>
                </a:cubicBezTo>
                <a:cubicBezTo>
                  <a:pt x="96" y="458"/>
                  <a:pt x="95" y="461"/>
                  <a:pt x="95" y="461"/>
                </a:cubicBezTo>
                <a:close/>
                <a:moveTo>
                  <a:pt x="103" y="430"/>
                </a:moveTo>
                <a:cubicBezTo>
                  <a:pt x="104" y="431"/>
                  <a:pt x="101" y="432"/>
                  <a:pt x="103" y="430"/>
                </a:cubicBezTo>
                <a:close/>
                <a:moveTo>
                  <a:pt x="107" y="428"/>
                </a:moveTo>
                <a:cubicBezTo>
                  <a:pt x="106" y="429"/>
                  <a:pt x="105" y="426"/>
                  <a:pt x="107" y="427"/>
                </a:cubicBezTo>
                <a:cubicBezTo>
                  <a:pt x="108" y="427"/>
                  <a:pt x="107" y="428"/>
                  <a:pt x="107" y="428"/>
                </a:cubicBezTo>
                <a:close/>
                <a:moveTo>
                  <a:pt x="112" y="444"/>
                </a:moveTo>
                <a:cubicBezTo>
                  <a:pt x="111" y="442"/>
                  <a:pt x="112" y="441"/>
                  <a:pt x="112" y="444"/>
                </a:cubicBezTo>
                <a:close/>
                <a:moveTo>
                  <a:pt x="113" y="428"/>
                </a:moveTo>
                <a:cubicBezTo>
                  <a:pt x="112" y="429"/>
                  <a:pt x="112" y="426"/>
                  <a:pt x="113" y="427"/>
                </a:cubicBezTo>
                <a:cubicBezTo>
                  <a:pt x="113" y="427"/>
                  <a:pt x="113" y="428"/>
                  <a:pt x="113" y="428"/>
                </a:cubicBezTo>
                <a:close/>
                <a:moveTo>
                  <a:pt x="114" y="420"/>
                </a:moveTo>
                <a:cubicBezTo>
                  <a:pt x="112" y="420"/>
                  <a:pt x="113" y="419"/>
                  <a:pt x="112" y="418"/>
                </a:cubicBezTo>
                <a:cubicBezTo>
                  <a:pt x="111" y="418"/>
                  <a:pt x="111" y="419"/>
                  <a:pt x="110" y="419"/>
                </a:cubicBezTo>
                <a:cubicBezTo>
                  <a:pt x="109" y="417"/>
                  <a:pt x="108" y="407"/>
                  <a:pt x="111" y="406"/>
                </a:cubicBezTo>
                <a:cubicBezTo>
                  <a:pt x="111" y="406"/>
                  <a:pt x="113" y="408"/>
                  <a:pt x="114" y="406"/>
                </a:cubicBezTo>
                <a:cubicBezTo>
                  <a:pt x="114" y="404"/>
                  <a:pt x="117" y="415"/>
                  <a:pt x="117" y="418"/>
                </a:cubicBezTo>
                <a:cubicBezTo>
                  <a:pt x="115" y="416"/>
                  <a:pt x="114" y="420"/>
                  <a:pt x="114" y="420"/>
                </a:cubicBezTo>
                <a:close/>
                <a:moveTo>
                  <a:pt x="108" y="393"/>
                </a:moveTo>
                <a:cubicBezTo>
                  <a:pt x="110" y="393"/>
                  <a:pt x="112" y="398"/>
                  <a:pt x="109" y="399"/>
                </a:cubicBezTo>
                <a:cubicBezTo>
                  <a:pt x="106" y="401"/>
                  <a:pt x="106" y="394"/>
                  <a:pt x="108" y="393"/>
                </a:cubicBezTo>
                <a:close/>
                <a:moveTo>
                  <a:pt x="113" y="402"/>
                </a:moveTo>
                <a:cubicBezTo>
                  <a:pt x="112" y="403"/>
                  <a:pt x="112" y="405"/>
                  <a:pt x="111" y="406"/>
                </a:cubicBezTo>
                <a:cubicBezTo>
                  <a:pt x="110" y="405"/>
                  <a:pt x="111" y="402"/>
                  <a:pt x="113" y="402"/>
                </a:cubicBezTo>
                <a:close/>
                <a:moveTo>
                  <a:pt x="112" y="359"/>
                </a:moveTo>
                <a:cubicBezTo>
                  <a:pt x="110" y="359"/>
                  <a:pt x="113" y="358"/>
                  <a:pt x="112" y="359"/>
                </a:cubicBezTo>
                <a:close/>
                <a:moveTo>
                  <a:pt x="115" y="382"/>
                </a:moveTo>
                <a:cubicBezTo>
                  <a:pt x="115" y="382"/>
                  <a:pt x="117" y="385"/>
                  <a:pt x="116" y="386"/>
                </a:cubicBezTo>
                <a:cubicBezTo>
                  <a:pt x="116" y="389"/>
                  <a:pt x="113" y="387"/>
                  <a:pt x="114" y="390"/>
                </a:cubicBezTo>
                <a:cubicBezTo>
                  <a:pt x="113" y="390"/>
                  <a:pt x="113" y="390"/>
                  <a:pt x="113" y="390"/>
                </a:cubicBezTo>
                <a:cubicBezTo>
                  <a:pt x="113" y="387"/>
                  <a:pt x="111" y="381"/>
                  <a:pt x="115" y="382"/>
                </a:cubicBezTo>
                <a:close/>
                <a:moveTo>
                  <a:pt x="113" y="361"/>
                </a:moveTo>
                <a:cubicBezTo>
                  <a:pt x="114" y="362"/>
                  <a:pt x="112" y="363"/>
                  <a:pt x="113" y="361"/>
                </a:cubicBezTo>
                <a:close/>
                <a:moveTo>
                  <a:pt x="117" y="394"/>
                </a:moveTo>
                <a:cubicBezTo>
                  <a:pt x="116" y="395"/>
                  <a:pt x="116" y="393"/>
                  <a:pt x="116" y="393"/>
                </a:cubicBezTo>
                <a:cubicBezTo>
                  <a:pt x="117" y="392"/>
                  <a:pt x="117" y="394"/>
                  <a:pt x="117" y="394"/>
                </a:cubicBezTo>
                <a:close/>
                <a:moveTo>
                  <a:pt x="115" y="440"/>
                </a:moveTo>
                <a:cubicBezTo>
                  <a:pt x="114" y="439"/>
                  <a:pt x="116" y="439"/>
                  <a:pt x="115" y="440"/>
                </a:cubicBezTo>
                <a:close/>
                <a:moveTo>
                  <a:pt x="117" y="429"/>
                </a:moveTo>
                <a:cubicBezTo>
                  <a:pt x="116" y="430"/>
                  <a:pt x="115" y="424"/>
                  <a:pt x="116" y="423"/>
                </a:cubicBezTo>
                <a:cubicBezTo>
                  <a:pt x="117" y="424"/>
                  <a:pt x="118" y="429"/>
                  <a:pt x="117" y="429"/>
                </a:cubicBezTo>
                <a:close/>
                <a:moveTo>
                  <a:pt x="122" y="437"/>
                </a:moveTo>
                <a:cubicBezTo>
                  <a:pt x="121" y="438"/>
                  <a:pt x="123" y="435"/>
                  <a:pt x="122" y="437"/>
                </a:cubicBezTo>
                <a:close/>
                <a:moveTo>
                  <a:pt x="121" y="400"/>
                </a:moveTo>
                <a:cubicBezTo>
                  <a:pt x="122" y="400"/>
                  <a:pt x="123" y="405"/>
                  <a:pt x="122" y="406"/>
                </a:cubicBezTo>
                <a:cubicBezTo>
                  <a:pt x="119" y="407"/>
                  <a:pt x="121" y="400"/>
                  <a:pt x="121" y="400"/>
                </a:cubicBezTo>
                <a:close/>
                <a:moveTo>
                  <a:pt x="124" y="434"/>
                </a:moveTo>
                <a:cubicBezTo>
                  <a:pt x="124" y="432"/>
                  <a:pt x="124" y="436"/>
                  <a:pt x="124" y="434"/>
                </a:cubicBezTo>
                <a:close/>
                <a:moveTo>
                  <a:pt x="124" y="420"/>
                </a:moveTo>
                <a:cubicBezTo>
                  <a:pt x="123" y="418"/>
                  <a:pt x="124" y="417"/>
                  <a:pt x="122" y="417"/>
                </a:cubicBezTo>
                <a:cubicBezTo>
                  <a:pt x="124" y="417"/>
                  <a:pt x="124" y="408"/>
                  <a:pt x="127" y="412"/>
                </a:cubicBezTo>
                <a:cubicBezTo>
                  <a:pt x="128" y="413"/>
                  <a:pt x="128" y="416"/>
                  <a:pt x="127" y="416"/>
                </a:cubicBezTo>
                <a:cubicBezTo>
                  <a:pt x="125" y="417"/>
                  <a:pt x="124" y="415"/>
                  <a:pt x="124" y="420"/>
                </a:cubicBezTo>
                <a:close/>
                <a:moveTo>
                  <a:pt x="125" y="428"/>
                </a:moveTo>
                <a:cubicBezTo>
                  <a:pt x="125" y="430"/>
                  <a:pt x="124" y="426"/>
                  <a:pt x="125" y="427"/>
                </a:cubicBezTo>
                <a:cubicBezTo>
                  <a:pt x="125" y="427"/>
                  <a:pt x="125" y="428"/>
                  <a:pt x="125" y="428"/>
                </a:cubicBezTo>
                <a:close/>
                <a:moveTo>
                  <a:pt x="128" y="431"/>
                </a:moveTo>
                <a:cubicBezTo>
                  <a:pt x="127" y="433"/>
                  <a:pt x="128" y="440"/>
                  <a:pt x="126" y="440"/>
                </a:cubicBezTo>
                <a:cubicBezTo>
                  <a:pt x="127" y="437"/>
                  <a:pt x="126" y="433"/>
                  <a:pt x="127" y="429"/>
                </a:cubicBezTo>
                <a:cubicBezTo>
                  <a:pt x="128" y="425"/>
                  <a:pt x="128" y="429"/>
                  <a:pt x="128" y="431"/>
                </a:cubicBezTo>
                <a:close/>
                <a:moveTo>
                  <a:pt x="128" y="426"/>
                </a:moveTo>
                <a:cubicBezTo>
                  <a:pt x="129" y="425"/>
                  <a:pt x="128" y="422"/>
                  <a:pt x="129" y="421"/>
                </a:cubicBezTo>
                <a:cubicBezTo>
                  <a:pt x="129" y="423"/>
                  <a:pt x="129" y="425"/>
                  <a:pt x="128" y="426"/>
                </a:cubicBezTo>
                <a:close/>
                <a:moveTo>
                  <a:pt x="129" y="421"/>
                </a:moveTo>
                <a:cubicBezTo>
                  <a:pt x="128" y="420"/>
                  <a:pt x="129" y="418"/>
                  <a:pt x="130" y="417"/>
                </a:cubicBezTo>
                <a:cubicBezTo>
                  <a:pt x="130" y="418"/>
                  <a:pt x="129" y="420"/>
                  <a:pt x="129" y="421"/>
                </a:cubicBezTo>
                <a:close/>
                <a:moveTo>
                  <a:pt x="130" y="416"/>
                </a:moveTo>
                <a:cubicBezTo>
                  <a:pt x="130" y="417"/>
                  <a:pt x="129" y="415"/>
                  <a:pt x="130" y="415"/>
                </a:cubicBezTo>
                <a:cubicBezTo>
                  <a:pt x="130" y="414"/>
                  <a:pt x="131" y="415"/>
                  <a:pt x="130" y="416"/>
                </a:cubicBezTo>
                <a:close/>
                <a:moveTo>
                  <a:pt x="129" y="392"/>
                </a:moveTo>
                <a:cubicBezTo>
                  <a:pt x="127" y="393"/>
                  <a:pt x="127" y="398"/>
                  <a:pt x="126" y="400"/>
                </a:cubicBezTo>
                <a:cubicBezTo>
                  <a:pt x="125" y="404"/>
                  <a:pt x="124" y="407"/>
                  <a:pt x="122" y="410"/>
                </a:cubicBezTo>
                <a:cubicBezTo>
                  <a:pt x="121" y="405"/>
                  <a:pt x="128" y="396"/>
                  <a:pt x="128" y="391"/>
                </a:cubicBezTo>
                <a:cubicBezTo>
                  <a:pt x="128" y="387"/>
                  <a:pt x="126" y="384"/>
                  <a:pt x="132" y="383"/>
                </a:cubicBezTo>
                <a:cubicBezTo>
                  <a:pt x="131" y="386"/>
                  <a:pt x="135" y="390"/>
                  <a:pt x="131" y="392"/>
                </a:cubicBezTo>
                <a:cubicBezTo>
                  <a:pt x="131" y="392"/>
                  <a:pt x="129" y="391"/>
                  <a:pt x="129" y="392"/>
                </a:cubicBezTo>
                <a:close/>
                <a:moveTo>
                  <a:pt x="124" y="396"/>
                </a:moveTo>
                <a:cubicBezTo>
                  <a:pt x="125" y="396"/>
                  <a:pt x="124" y="398"/>
                  <a:pt x="124" y="398"/>
                </a:cubicBezTo>
                <a:cubicBezTo>
                  <a:pt x="124" y="398"/>
                  <a:pt x="124" y="397"/>
                  <a:pt x="124" y="396"/>
                </a:cubicBezTo>
                <a:close/>
                <a:moveTo>
                  <a:pt x="125" y="394"/>
                </a:moveTo>
                <a:cubicBezTo>
                  <a:pt x="125" y="395"/>
                  <a:pt x="125" y="395"/>
                  <a:pt x="125" y="395"/>
                </a:cubicBezTo>
                <a:cubicBezTo>
                  <a:pt x="125" y="396"/>
                  <a:pt x="125" y="395"/>
                  <a:pt x="125" y="394"/>
                </a:cubicBezTo>
                <a:close/>
                <a:moveTo>
                  <a:pt x="132" y="409"/>
                </a:moveTo>
                <a:cubicBezTo>
                  <a:pt x="133" y="408"/>
                  <a:pt x="136" y="412"/>
                  <a:pt x="133" y="412"/>
                </a:cubicBezTo>
                <a:cubicBezTo>
                  <a:pt x="132" y="413"/>
                  <a:pt x="130" y="410"/>
                  <a:pt x="132" y="409"/>
                </a:cubicBezTo>
                <a:close/>
                <a:moveTo>
                  <a:pt x="133" y="420"/>
                </a:moveTo>
                <a:cubicBezTo>
                  <a:pt x="134" y="422"/>
                  <a:pt x="131" y="422"/>
                  <a:pt x="133" y="420"/>
                </a:cubicBezTo>
                <a:close/>
                <a:moveTo>
                  <a:pt x="133" y="456"/>
                </a:moveTo>
                <a:cubicBezTo>
                  <a:pt x="134" y="455"/>
                  <a:pt x="135" y="459"/>
                  <a:pt x="135" y="460"/>
                </a:cubicBezTo>
                <a:cubicBezTo>
                  <a:pt x="134" y="461"/>
                  <a:pt x="132" y="456"/>
                  <a:pt x="133" y="456"/>
                </a:cubicBezTo>
                <a:close/>
                <a:moveTo>
                  <a:pt x="135" y="433"/>
                </a:moveTo>
                <a:cubicBezTo>
                  <a:pt x="135" y="433"/>
                  <a:pt x="136" y="433"/>
                  <a:pt x="135" y="433"/>
                </a:cubicBezTo>
                <a:cubicBezTo>
                  <a:pt x="133" y="433"/>
                  <a:pt x="137" y="431"/>
                  <a:pt x="135" y="433"/>
                </a:cubicBezTo>
                <a:close/>
                <a:moveTo>
                  <a:pt x="136" y="461"/>
                </a:moveTo>
                <a:cubicBezTo>
                  <a:pt x="134" y="461"/>
                  <a:pt x="137" y="460"/>
                  <a:pt x="136" y="461"/>
                </a:cubicBezTo>
                <a:close/>
                <a:moveTo>
                  <a:pt x="140" y="485"/>
                </a:moveTo>
                <a:cubicBezTo>
                  <a:pt x="138" y="486"/>
                  <a:pt x="139" y="481"/>
                  <a:pt x="141" y="482"/>
                </a:cubicBezTo>
                <a:cubicBezTo>
                  <a:pt x="141" y="483"/>
                  <a:pt x="141" y="484"/>
                  <a:pt x="140" y="485"/>
                </a:cubicBezTo>
                <a:close/>
                <a:moveTo>
                  <a:pt x="139" y="447"/>
                </a:moveTo>
                <a:cubicBezTo>
                  <a:pt x="140" y="447"/>
                  <a:pt x="140" y="447"/>
                  <a:pt x="140" y="447"/>
                </a:cubicBezTo>
                <a:cubicBezTo>
                  <a:pt x="141" y="448"/>
                  <a:pt x="139" y="448"/>
                  <a:pt x="139" y="447"/>
                </a:cubicBezTo>
                <a:close/>
                <a:moveTo>
                  <a:pt x="143" y="469"/>
                </a:moveTo>
                <a:cubicBezTo>
                  <a:pt x="143" y="469"/>
                  <a:pt x="142" y="470"/>
                  <a:pt x="142" y="470"/>
                </a:cubicBezTo>
                <a:cubicBezTo>
                  <a:pt x="141" y="469"/>
                  <a:pt x="143" y="469"/>
                  <a:pt x="143" y="469"/>
                </a:cubicBezTo>
                <a:close/>
                <a:moveTo>
                  <a:pt x="143" y="464"/>
                </a:moveTo>
                <a:cubicBezTo>
                  <a:pt x="141" y="466"/>
                  <a:pt x="140" y="460"/>
                  <a:pt x="142" y="461"/>
                </a:cubicBezTo>
                <a:cubicBezTo>
                  <a:pt x="144" y="461"/>
                  <a:pt x="143" y="464"/>
                  <a:pt x="143" y="464"/>
                </a:cubicBezTo>
                <a:close/>
                <a:moveTo>
                  <a:pt x="145" y="481"/>
                </a:moveTo>
                <a:cubicBezTo>
                  <a:pt x="144" y="483"/>
                  <a:pt x="143" y="479"/>
                  <a:pt x="144" y="479"/>
                </a:cubicBezTo>
                <a:cubicBezTo>
                  <a:pt x="144" y="479"/>
                  <a:pt x="145" y="479"/>
                  <a:pt x="145" y="481"/>
                </a:cubicBezTo>
                <a:close/>
                <a:moveTo>
                  <a:pt x="147" y="486"/>
                </a:moveTo>
                <a:cubicBezTo>
                  <a:pt x="147" y="486"/>
                  <a:pt x="147" y="486"/>
                  <a:pt x="147" y="486"/>
                </a:cubicBezTo>
                <a:cubicBezTo>
                  <a:pt x="147" y="486"/>
                  <a:pt x="147" y="486"/>
                  <a:pt x="147" y="486"/>
                </a:cubicBezTo>
                <a:cubicBezTo>
                  <a:pt x="147" y="486"/>
                  <a:pt x="147" y="486"/>
                  <a:pt x="147" y="486"/>
                </a:cubicBezTo>
                <a:close/>
                <a:moveTo>
                  <a:pt x="147" y="483"/>
                </a:moveTo>
                <a:cubicBezTo>
                  <a:pt x="145" y="484"/>
                  <a:pt x="145" y="480"/>
                  <a:pt x="147" y="481"/>
                </a:cubicBezTo>
                <a:cubicBezTo>
                  <a:pt x="148" y="481"/>
                  <a:pt x="147" y="483"/>
                  <a:pt x="147" y="483"/>
                </a:cubicBezTo>
                <a:close/>
                <a:moveTo>
                  <a:pt x="148" y="479"/>
                </a:moveTo>
                <a:cubicBezTo>
                  <a:pt x="147" y="480"/>
                  <a:pt x="146" y="478"/>
                  <a:pt x="147" y="478"/>
                </a:cubicBezTo>
                <a:cubicBezTo>
                  <a:pt x="147" y="478"/>
                  <a:pt x="148" y="479"/>
                  <a:pt x="148" y="479"/>
                </a:cubicBezTo>
                <a:close/>
                <a:moveTo>
                  <a:pt x="151" y="479"/>
                </a:moveTo>
                <a:cubicBezTo>
                  <a:pt x="151" y="479"/>
                  <a:pt x="148" y="478"/>
                  <a:pt x="147" y="478"/>
                </a:cubicBezTo>
                <a:cubicBezTo>
                  <a:pt x="146" y="473"/>
                  <a:pt x="153" y="476"/>
                  <a:pt x="151" y="479"/>
                </a:cubicBezTo>
                <a:close/>
                <a:moveTo>
                  <a:pt x="149" y="487"/>
                </a:moveTo>
                <a:cubicBezTo>
                  <a:pt x="148" y="486"/>
                  <a:pt x="147" y="482"/>
                  <a:pt x="150" y="484"/>
                </a:cubicBezTo>
                <a:cubicBezTo>
                  <a:pt x="148" y="481"/>
                  <a:pt x="152" y="481"/>
                  <a:pt x="151" y="484"/>
                </a:cubicBezTo>
                <a:cubicBezTo>
                  <a:pt x="151" y="484"/>
                  <a:pt x="149" y="487"/>
                  <a:pt x="149" y="487"/>
                </a:cubicBezTo>
                <a:close/>
                <a:moveTo>
                  <a:pt x="151" y="488"/>
                </a:moveTo>
                <a:cubicBezTo>
                  <a:pt x="151" y="488"/>
                  <a:pt x="151" y="488"/>
                  <a:pt x="151" y="488"/>
                </a:cubicBezTo>
                <a:cubicBezTo>
                  <a:pt x="151" y="488"/>
                  <a:pt x="151" y="488"/>
                  <a:pt x="152" y="487"/>
                </a:cubicBezTo>
                <a:cubicBezTo>
                  <a:pt x="152" y="487"/>
                  <a:pt x="152" y="487"/>
                  <a:pt x="151" y="488"/>
                </a:cubicBezTo>
                <a:close/>
                <a:moveTo>
                  <a:pt x="153" y="489"/>
                </a:moveTo>
                <a:cubicBezTo>
                  <a:pt x="153" y="489"/>
                  <a:pt x="153" y="488"/>
                  <a:pt x="153" y="488"/>
                </a:cubicBezTo>
                <a:cubicBezTo>
                  <a:pt x="153" y="489"/>
                  <a:pt x="152" y="489"/>
                  <a:pt x="153" y="489"/>
                </a:cubicBezTo>
                <a:close/>
                <a:moveTo>
                  <a:pt x="153" y="459"/>
                </a:moveTo>
                <a:cubicBezTo>
                  <a:pt x="152" y="459"/>
                  <a:pt x="144" y="455"/>
                  <a:pt x="145" y="452"/>
                </a:cubicBezTo>
                <a:cubicBezTo>
                  <a:pt x="145" y="451"/>
                  <a:pt x="146" y="452"/>
                  <a:pt x="146" y="451"/>
                </a:cubicBezTo>
                <a:cubicBezTo>
                  <a:pt x="147" y="449"/>
                  <a:pt x="145" y="449"/>
                  <a:pt x="145" y="447"/>
                </a:cubicBezTo>
                <a:cubicBezTo>
                  <a:pt x="149" y="452"/>
                  <a:pt x="148" y="440"/>
                  <a:pt x="152" y="443"/>
                </a:cubicBezTo>
                <a:cubicBezTo>
                  <a:pt x="154" y="444"/>
                  <a:pt x="152" y="448"/>
                  <a:pt x="155" y="446"/>
                </a:cubicBezTo>
                <a:cubicBezTo>
                  <a:pt x="152" y="448"/>
                  <a:pt x="158" y="450"/>
                  <a:pt x="157" y="454"/>
                </a:cubicBezTo>
                <a:cubicBezTo>
                  <a:pt x="157" y="457"/>
                  <a:pt x="155" y="459"/>
                  <a:pt x="153" y="459"/>
                </a:cubicBezTo>
                <a:close/>
                <a:moveTo>
                  <a:pt x="152" y="394"/>
                </a:moveTo>
                <a:cubicBezTo>
                  <a:pt x="150" y="396"/>
                  <a:pt x="150" y="391"/>
                  <a:pt x="151" y="391"/>
                </a:cubicBezTo>
                <a:cubicBezTo>
                  <a:pt x="152" y="391"/>
                  <a:pt x="152" y="394"/>
                  <a:pt x="152" y="394"/>
                </a:cubicBezTo>
                <a:close/>
                <a:moveTo>
                  <a:pt x="153" y="410"/>
                </a:moveTo>
                <a:cubicBezTo>
                  <a:pt x="153" y="411"/>
                  <a:pt x="153" y="411"/>
                  <a:pt x="153" y="411"/>
                </a:cubicBezTo>
                <a:cubicBezTo>
                  <a:pt x="151" y="412"/>
                  <a:pt x="152" y="410"/>
                  <a:pt x="153" y="410"/>
                </a:cubicBezTo>
                <a:close/>
                <a:moveTo>
                  <a:pt x="151" y="434"/>
                </a:moveTo>
                <a:cubicBezTo>
                  <a:pt x="150" y="435"/>
                  <a:pt x="148" y="434"/>
                  <a:pt x="149" y="432"/>
                </a:cubicBezTo>
                <a:cubicBezTo>
                  <a:pt x="150" y="432"/>
                  <a:pt x="153" y="433"/>
                  <a:pt x="151" y="434"/>
                </a:cubicBezTo>
                <a:close/>
                <a:moveTo>
                  <a:pt x="149" y="411"/>
                </a:moveTo>
                <a:cubicBezTo>
                  <a:pt x="148" y="413"/>
                  <a:pt x="148" y="428"/>
                  <a:pt x="146" y="429"/>
                </a:cubicBezTo>
                <a:cubicBezTo>
                  <a:pt x="144" y="430"/>
                  <a:pt x="145" y="425"/>
                  <a:pt x="145" y="424"/>
                </a:cubicBezTo>
                <a:cubicBezTo>
                  <a:pt x="146" y="422"/>
                  <a:pt x="148" y="407"/>
                  <a:pt x="149" y="406"/>
                </a:cubicBezTo>
                <a:cubicBezTo>
                  <a:pt x="151" y="405"/>
                  <a:pt x="149" y="411"/>
                  <a:pt x="149" y="411"/>
                </a:cubicBezTo>
                <a:close/>
                <a:moveTo>
                  <a:pt x="154" y="385"/>
                </a:moveTo>
                <a:cubicBezTo>
                  <a:pt x="153" y="386"/>
                  <a:pt x="153" y="385"/>
                  <a:pt x="154" y="384"/>
                </a:cubicBezTo>
                <a:cubicBezTo>
                  <a:pt x="154" y="384"/>
                  <a:pt x="154" y="385"/>
                  <a:pt x="154" y="385"/>
                </a:cubicBezTo>
                <a:close/>
                <a:moveTo>
                  <a:pt x="155" y="440"/>
                </a:moveTo>
                <a:cubicBezTo>
                  <a:pt x="156" y="441"/>
                  <a:pt x="155" y="441"/>
                  <a:pt x="155" y="442"/>
                </a:cubicBezTo>
                <a:cubicBezTo>
                  <a:pt x="153" y="443"/>
                  <a:pt x="154" y="439"/>
                  <a:pt x="155" y="440"/>
                </a:cubicBezTo>
                <a:close/>
                <a:moveTo>
                  <a:pt x="160" y="417"/>
                </a:moveTo>
                <a:cubicBezTo>
                  <a:pt x="160" y="417"/>
                  <a:pt x="158" y="417"/>
                  <a:pt x="159" y="415"/>
                </a:cubicBezTo>
                <a:cubicBezTo>
                  <a:pt x="161" y="419"/>
                  <a:pt x="164" y="409"/>
                  <a:pt x="165" y="414"/>
                </a:cubicBezTo>
                <a:cubicBezTo>
                  <a:pt x="166" y="416"/>
                  <a:pt x="168" y="419"/>
                  <a:pt x="167" y="421"/>
                </a:cubicBezTo>
                <a:cubicBezTo>
                  <a:pt x="166" y="422"/>
                  <a:pt x="163" y="423"/>
                  <a:pt x="163" y="423"/>
                </a:cubicBezTo>
                <a:cubicBezTo>
                  <a:pt x="163" y="425"/>
                  <a:pt x="165" y="427"/>
                  <a:pt x="163" y="428"/>
                </a:cubicBezTo>
                <a:cubicBezTo>
                  <a:pt x="160" y="430"/>
                  <a:pt x="158" y="427"/>
                  <a:pt x="158" y="427"/>
                </a:cubicBezTo>
                <a:cubicBezTo>
                  <a:pt x="157" y="424"/>
                  <a:pt x="162" y="421"/>
                  <a:pt x="160" y="417"/>
                </a:cubicBezTo>
                <a:close/>
                <a:moveTo>
                  <a:pt x="160" y="402"/>
                </a:moveTo>
                <a:cubicBezTo>
                  <a:pt x="161" y="406"/>
                  <a:pt x="158" y="404"/>
                  <a:pt x="160" y="402"/>
                </a:cubicBezTo>
                <a:close/>
                <a:moveTo>
                  <a:pt x="161" y="383"/>
                </a:moveTo>
                <a:cubicBezTo>
                  <a:pt x="162" y="384"/>
                  <a:pt x="161" y="387"/>
                  <a:pt x="160" y="387"/>
                </a:cubicBezTo>
                <a:cubicBezTo>
                  <a:pt x="159" y="388"/>
                  <a:pt x="160" y="383"/>
                  <a:pt x="161" y="383"/>
                </a:cubicBezTo>
                <a:close/>
                <a:moveTo>
                  <a:pt x="166" y="387"/>
                </a:moveTo>
                <a:cubicBezTo>
                  <a:pt x="166" y="387"/>
                  <a:pt x="165" y="387"/>
                  <a:pt x="165" y="387"/>
                </a:cubicBezTo>
                <a:cubicBezTo>
                  <a:pt x="164" y="386"/>
                  <a:pt x="166" y="386"/>
                  <a:pt x="166" y="387"/>
                </a:cubicBezTo>
                <a:close/>
                <a:moveTo>
                  <a:pt x="167" y="395"/>
                </a:moveTo>
                <a:cubicBezTo>
                  <a:pt x="169" y="395"/>
                  <a:pt x="168" y="398"/>
                  <a:pt x="167" y="398"/>
                </a:cubicBezTo>
                <a:cubicBezTo>
                  <a:pt x="166" y="399"/>
                  <a:pt x="166" y="395"/>
                  <a:pt x="167" y="395"/>
                </a:cubicBezTo>
                <a:close/>
                <a:moveTo>
                  <a:pt x="168" y="392"/>
                </a:moveTo>
                <a:cubicBezTo>
                  <a:pt x="169" y="392"/>
                  <a:pt x="170" y="393"/>
                  <a:pt x="168" y="393"/>
                </a:cubicBezTo>
                <a:cubicBezTo>
                  <a:pt x="166" y="394"/>
                  <a:pt x="166" y="392"/>
                  <a:pt x="168" y="392"/>
                </a:cubicBezTo>
                <a:close/>
                <a:moveTo>
                  <a:pt x="167" y="413"/>
                </a:moveTo>
                <a:cubicBezTo>
                  <a:pt x="167" y="415"/>
                  <a:pt x="166" y="411"/>
                  <a:pt x="167" y="412"/>
                </a:cubicBezTo>
                <a:cubicBezTo>
                  <a:pt x="167" y="412"/>
                  <a:pt x="167" y="413"/>
                  <a:pt x="167" y="413"/>
                </a:cubicBezTo>
                <a:close/>
                <a:moveTo>
                  <a:pt x="163" y="443"/>
                </a:moveTo>
                <a:cubicBezTo>
                  <a:pt x="162" y="444"/>
                  <a:pt x="161" y="442"/>
                  <a:pt x="162" y="441"/>
                </a:cubicBezTo>
                <a:cubicBezTo>
                  <a:pt x="162" y="442"/>
                  <a:pt x="163" y="442"/>
                  <a:pt x="163" y="443"/>
                </a:cubicBezTo>
                <a:close/>
                <a:moveTo>
                  <a:pt x="160" y="459"/>
                </a:moveTo>
                <a:cubicBezTo>
                  <a:pt x="159" y="460"/>
                  <a:pt x="159" y="458"/>
                  <a:pt x="160" y="457"/>
                </a:cubicBezTo>
                <a:cubicBezTo>
                  <a:pt x="160" y="457"/>
                  <a:pt x="161" y="458"/>
                  <a:pt x="160" y="459"/>
                </a:cubicBezTo>
                <a:close/>
                <a:moveTo>
                  <a:pt x="157" y="404"/>
                </a:moveTo>
                <a:cubicBezTo>
                  <a:pt x="155" y="406"/>
                  <a:pt x="156" y="399"/>
                  <a:pt x="158" y="401"/>
                </a:cubicBezTo>
                <a:cubicBezTo>
                  <a:pt x="159" y="402"/>
                  <a:pt x="157" y="404"/>
                  <a:pt x="157" y="404"/>
                </a:cubicBezTo>
                <a:close/>
                <a:moveTo>
                  <a:pt x="154" y="466"/>
                </a:moveTo>
                <a:cubicBezTo>
                  <a:pt x="155" y="466"/>
                  <a:pt x="156" y="467"/>
                  <a:pt x="155" y="468"/>
                </a:cubicBezTo>
                <a:cubicBezTo>
                  <a:pt x="154" y="468"/>
                  <a:pt x="154" y="467"/>
                  <a:pt x="154" y="466"/>
                </a:cubicBezTo>
                <a:close/>
                <a:moveTo>
                  <a:pt x="155" y="476"/>
                </a:moveTo>
                <a:cubicBezTo>
                  <a:pt x="154" y="476"/>
                  <a:pt x="158" y="472"/>
                  <a:pt x="157" y="471"/>
                </a:cubicBezTo>
                <a:cubicBezTo>
                  <a:pt x="159" y="473"/>
                  <a:pt x="156" y="477"/>
                  <a:pt x="155" y="476"/>
                </a:cubicBezTo>
                <a:close/>
                <a:moveTo>
                  <a:pt x="158" y="470"/>
                </a:moveTo>
                <a:cubicBezTo>
                  <a:pt x="156" y="466"/>
                  <a:pt x="160" y="467"/>
                  <a:pt x="158" y="470"/>
                </a:cubicBezTo>
                <a:close/>
                <a:moveTo>
                  <a:pt x="159" y="461"/>
                </a:moveTo>
                <a:cubicBezTo>
                  <a:pt x="159" y="461"/>
                  <a:pt x="159" y="462"/>
                  <a:pt x="159" y="462"/>
                </a:cubicBezTo>
                <a:cubicBezTo>
                  <a:pt x="157" y="464"/>
                  <a:pt x="158" y="460"/>
                  <a:pt x="159" y="461"/>
                </a:cubicBezTo>
                <a:close/>
                <a:moveTo>
                  <a:pt x="159" y="490"/>
                </a:moveTo>
                <a:cubicBezTo>
                  <a:pt x="159" y="489"/>
                  <a:pt x="160" y="488"/>
                  <a:pt x="160" y="488"/>
                </a:cubicBezTo>
                <a:cubicBezTo>
                  <a:pt x="160" y="489"/>
                  <a:pt x="160" y="489"/>
                  <a:pt x="159" y="490"/>
                </a:cubicBezTo>
                <a:close/>
                <a:moveTo>
                  <a:pt x="160" y="486"/>
                </a:moveTo>
                <a:cubicBezTo>
                  <a:pt x="160" y="487"/>
                  <a:pt x="159" y="484"/>
                  <a:pt x="160" y="484"/>
                </a:cubicBezTo>
                <a:cubicBezTo>
                  <a:pt x="160" y="484"/>
                  <a:pt x="161" y="485"/>
                  <a:pt x="160" y="486"/>
                </a:cubicBezTo>
                <a:close/>
                <a:moveTo>
                  <a:pt x="161" y="468"/>
                </a:moveTo>
                <a:cubicBezTo>
                  <a:pt x="162" y="470"/>
                  <a:pt x="159" y="470"/>
                  <a:pt x="161" y="468"/>
                </a:cubicBezTo>
                <a:close/>
                <a:moveTo>
                  <a:pt x="162" y="461"/>
                </a:moveTo>
                <a:cubicBezTo>
                  <a:pt x="163" y="462"/>
                  <a:pt x="163" y="462"/>
                  <a:pt x="162" y="463"/>
                </a:cubicBezTo>
                <a:cubicBezTo>
                  <a:pt x="161" y="465"/>
                  <a:pt x="161" y="460"/>
                  <a:pt x="162" y="461"/>
                </a:cubicBezTo>
                <a:close/>
                <a:moveTo>
                  <a:pt x="162" y="497"/>
                </a:moveTo>
                <a:cubicBezTo>
                  <a:pt x="164" y="497"/>
                  <a:pt x="161" y="499"/>
                  <a:pt x="162" y="497"/>
                </a:cubicBezTo>
                <a:close/>
                <a:moveTo>
                  <a:pt x="163" y="483"/>
                </a:moveTo>
                <a:cubicBezTo>
                  <a:pt x="162" y="485"/>
                  <a:pt x="162" y="481"/>
                  <a:pt x="163" y="483"/>
                </a:cubicBezTo>
                <a:cubicBezTo>
                  <a:pt x="163" y="483"/>
                  <a:pt x="164" y="483"/>
                  <a:pt x="163" y="483"/>
                </a:cubicBezTo>
                <a:close/>
                <a:moveTo>
                  <a:pt x="164" y="472"/>
                </a:moveTo>
                <a:cubicBezTo>
                  <a:pt x="163" y="474"/>
                  <a:pt x="163" y="471"/>
                  <a:pt x="164" y="472"/>
                </a:cubicBezTo>
                <a:cubicBezTo>
                  <a:pt x="164" y="472"/>
                  <a:pt x="164" y="472"/>
                  <a:pt x="164" y="472"/>
                </a:cubicBezTo>
                <a:close/>
                <a:moveTo>
                  <a:pt x="166" y="461"/>
                </a:moveTo>
                <a:cubicBezTo>
                  <a:pt x="160" y="465"/>
                  <a:pt x="163" y="449"/>
                  <a:pt x="168" y="453"/>
                </a:cubicBezTo>
                <a:cubicBezTo>
                  <a:pt x="167" y="452"/>
                  <a:pt x="168" y="456"/>
                  <a:pt x="168" y="455"/>
                </a:cubicBezTo>
                <a:cubicBezTo>
                  <a:pt x="168" y="456"/>
                  <a:pt x="166" y="461"/>
                  <a:pt x="166" y="461"/>
                </a:cubicBezTo>
                <a:close/>
                <a:moveTo>
                  <a:pt x="168" y="450"/>
                </a:moveTo>
                <a:cubicBezTo>
                  <a:pt x="167" y="450"/>
                  <a:pt x="167" y="448"/>
                  <a:pt x="168" y="448"/>
                </a:cubicBezTo>
                <a:cubicBezTo>
                  <a:pt x="168" y="448"/>
                  <a:pt x="169" y="449"/>
                  <a:pt x="168" y="450"/>
                </a:cubicBezTo>
                <a:close/>
                <a:moveTo>
                  <a:pt x="168" y="433"/>
                </a:moveTo>
                <a:cubicBezTo>
                  <a:pt x="168" y="431"/>
                  <a:pt x="168" y="434"/>
                  <a:pt x="168" y="433"/>
                </a:cubicBezTo>
                <a:close/>
                <a:moveTo>
                  <a:pt x="169" y="454"/>
                </a:moveTo>
                <a:cubicBezTo>
                  <a:pt x="169" y="455"/>
                  <a:pt x="169" y="452"/>
                  <a:pt x="169" y="454"/>
                </a:cubicBezTo>
                <a:close/>
                <a:moveTo>
                  <a:pt x="171" y="467"/>
                </a:moveTo>
                <a:cubicBezTo>
                  <a:pt x="170" y="463"/>
                  <a:pt x="174" y="463"/>
                  <a:pt x="171" y="467"/>
                </a:cubicBezTo>
                <a:close/>
                <a:moveTo>
                  <a:pt x="173" y="473"/>
                </a:moveTo>
                <a:cubicBezTo>
                  <a:pt x="172" y="474"/>
                  <a:pt x="172" y="469"/>
                  <a:pt x="173" y="470"/>
                </a:cubicBezTo>
                <a:cubicBezTo>
                  <a:pt x="174" y="471"/>
                  <a:pt x="173" y="472"/>
                  <a:pt x="173" y="473"/>
                </a:cubicBezTo>
                <a:close/>
                <a:moveTo>
                  <a:pt x="173" y="462"/>
                </a:moveTo>
                <a:cubicBezTo>
                  <a:pt x="172" y="463"/>
                  <a:pt x="173" y="461"/>
                  <a:pt x="173" y="460"/>
                </a:cubicBezTo>
                <a:cubicBezTo>
                  <a:pt x="174" y="460"/>
                  <a:pt x="174" y="462"/>
                  <a:pt x="173" y="462"/>
                </a:cubicBezTo>
                <a:close/>
                <a:moveTo>
                  <a:pt x="173" y="460"/>
                </a:moveTo>
                <a:cubicBezTo>
                  <a:pt x="172" y="460"/>
                  <a:pt x="170" y="460"/>
                  <a:pt x="170" y="458"/>
                </a:cubicBezTo>
                <a:cubicBezTo>
                  <a:pt x="171" y="457"/>
                  <a:pt x="176" y="458"/>
                  <a:pt x="173" y="460"/>
                </a:cubicBezTo>
                <a:close/>
                <a:moveTo>
                  <a:pt x="173" y="418"/>
                </a:moveTo>
                <a:cubicBezTo>
                  <a:pt x="174" y="418"/>
                  <a:pt x="174" y="418"/>
                  <a:pt x="173" y="419"/>
                </a:cubicBezTo>
                <a:cubicBezTo>
                  <a:pt x="172" y="420"/>
                  <a:pt x="172" y="417"/>
                  <a:pt x="173" y="418"/>
                </a:cubicBezTo>
                <a:close/>
                <a:moveTo>
                  <a:pt x="174" y="409"/>
                </a:moveTo>
                <a:cubicBezTo>
                  <a:pt x="175" y="409"/>
                  <a:pt x="174" y="409"/>
                  <a:pt x="174" y="410"/>
                </a:cubicBezTo>
                <a:cubicBezTo>
                  <a:pt x="173" y="410"/>
                  <a:pt x="173" y="408"/>
                  <a:pt x="174" y="409"/>
                </a:cubicBezTo>
                <a:close/>
                <a:moveTo>
                  <a:pt x="175" y="414"/>
                </a:moveTo>
                <a:cubicBezTo>
                  <a:pt x="177" y="414"/>
                  <a:pt x="177" y="418"/>
                  <a:pt x="176" y="419"/>
                </a:cubicBezTo>
                <a:cubicBezTo>
                  <a:pt x="173" y="420"/>
                  <a:pt x="175" y="414"/>
                  <a:pt x="175" y="414"/>
                </a:cubicBezTo>
                <a:close/>
                <a:moveTo>
                  <a:pt x="176" y="430"/>
                </a:moveTo>
                <a:cubicBezTo>
                  <a:pt x="175" y="431"/>
                  <a:pt x="175" y="428"/>
                  <a:pt x="176" y="428"/>
                </a:cubicBezTo>
                <a:cubicBezTo>
                  <a:pt x="177" y="428"/>
                  <a:pt x="177" y="429"/>
                  <a:pt x="176" y="430"/>
                </a:cubicBezTo>
                <a:close/>
                <a:moveTo>
                  <a:pt x="177" y="433"/>
                </a:moveTo>
                <a:cubicBezTo>
                  <a:pt x="178" y="434"/>
                  <a:pt x="178" y="436"/>
                  <a:pt x="177" y="436"/>
                </a:cubicBezTo>
                <a:cubicBezTo>
                  <a:pt x="175" y="439"/>
                  <a:pt x="175" y="431"/>
                  <a:pt x="177" y="433"/>
                </a:cubicBezTo>
                <a:close/>
                <a:moveTo>
                  <a:pt x="178" y="429"/>
                </a:moveTo>
                <a:cubicBezTo>
                  <a:pt x="177" y="428"/>
                  <a:pt x="178" y="426"/>
                  <a:pt x="179" y="426"/>
                </a:cubicBezTo>
                <a:cubicBezTo>
                  <a:pt x="178" y="427"/>
                  <a:pt x="178" y="428"/>
                  <a:pt x="178" y="429"/>
                </a:cubicBezTo>
                <a:close/>
                <a:moveTo>
                  <a:pt x="178" y="432"/>
                </a:moveTo>
                <a:cubicBezTo>
                  <a:pt x="177" y="433"/>
                  <a:pt x="178" y="431"/>
                  <a:pt x="178" y="430"/>
                </a:cubicBezTo>
                <a:cubicBezTo>
                  <a:pt x="179" y="430"/>
                  <a:pt x="179" y="431"/>
                  <a:pt x="178" y="432"/>
                </a:cubicBezTo>
                <a:close/>
                <a:moveTo>
                  <a:pt x="179" y="411"/>
                </a:moveTo>
                <a:cubicBezTo>
                  <a:pt x="176" y="413"/>
                  <a:pt x="176" y="406"/>
                  <a:pt x="178" y="408"/>
                </a:cubicBezTo>
                <a:cubicBezTo>
                  <a:pt x="179" y="408"/>
                  <a:pt x="179" y="410"/>
                  <a:pt x="179" y="411"/>
                </a:cubicBezTo>
                <a:close/>
                <a:moveTo>
                  <a:pt x="178" y="467"/>
                </a:moveTo>
                <a:cubicBezTo>
                  <a:pt x="176" y="466"/>
                  <a:pt x="179" y="464"/>
                  <a:pt x="179" y="462"/>
                </a:cubicBezTo>
                <a:cubicBezTo>
                  <a:pt x="180" y="463"/>
                  <a:pt x="179" y="468"/>
                  <a:pt x="178" y="467"/>
                </a:cubicBezTo>
                <a:close/>
                <a:moveTo>
                  <a:pt x="182" y="477"/>
                </a:moveTo>
                <a:cubicBezTo>
                  <a:pt x="182" y="477"/>
                  <a:pt x="179" y="477"/>
                  <a:pt x="180" y="476"/>
                </a:cubicBezTo>
                <a:cubicBezTo>
                  <a:pt x="181" y="475"/>
                  <a:pt x="184" y="477"/>
                  <a:pt x="182" y="477"/>
                </a:cubicBezTo>
                <a:close/>
                <a:moveTo>
                  <a:pt x="180" y="459"/>
                </a:moveTo>
                <a:cubicBezTo>
                  <a:pt x="181" y="457"/>
                  <a:pt x="182" y="456"/>
                  <a:pt x="182" y="455"/>
                </a:cubicBezTo>
                <a:cubicBezTo>
                  <a:pt x="182" y="456"/>
                  <a:pt x="182" y="458"/>
                  <a:pt x="180" y="459"/>
                </a:cubicBezTo>
                <a:close/>
                <a:moveTo>
                  <a:pt x="183" y="432"/>
                </a:moveTo>
                <a:cubicBezTo>
                  <a:pt x="182" y="433"/>
                  <a:pt x="182" y="430"/>
                  <a:pt x="183" y="431"/>
                </a:cubicBezTo>
                <a:cubicBezTo>
                  <a:pt x="183" y="431"/>
                  <a:pt x="183" y="432"/>
                  <a:pt x="183" y="432"/>
                </a:cubicBezTo>
                <a:close/>
                <a:moveTo>
                  <a:pt x="184" y="458"/>
                </a:moveTo>
                <a:cubicBezTo>
                  <a:pt x="183" y="456"/>
                  <a:pt x="186" y="456"/>
                  <a:pt x="184" y="458"/>
                </a:cubicBezTo>
                <a:close/>
                <a:moveTo>
                  <a:pt x="184" y="423"/>
                </a:moveTo>
                <a:cubicBezTo>
                  <a:pt x="184" y="423"/>
                  <a:pt x="184" y="423"/>
                  <a:pt x="184" y="423"/>
                </a:cubicBezTo>
                <a:cubicBezTo>
                  <a:pt x="185" y="422"/>
                  <a:pt x="185" y="422"/>
                  <a:pt x="184" y="423"/>
                </a:cubicBezTo>
                <a:cubicBezTo>
                  <a:pt x="184" y="423"/>
                  <a:pt x="184" y="423"/>
                  <a:pt x="184" y="423"/>
                </a:cubicBezTo>
                <a:cubicBezTo>
                  <a:pt x="184" y="423"/>
                  <a:pt x="184" y="423"/>
                  <a:pt x="184" y="423"/>
                </a:cubicBezTo>
                <a:close/>
                <a:moveTo>
                  <a:pt x="184" y="452"/>
                </a:moveTo>
                <a:cubicBezTo>
                  <a:pt x="182" y="449"/>
                  <a:pt x="186" y="449"/>
                  <a:pt x="184" y="452"/>
                </a:cubicBezTo>
                <a:close/>
                <a:moveTo>
                  <a:pt x="184" y="464"/>
                </a:moveTo>
                <a:cubicBezTo>
                  <a:pt x="185" y="466"/>
                  <a:pt x="182" y="465"/>
                  <a:pt x="184" y="464"/>
                </a:cubicBezTo>
                <a:close/>
                <a:moveTo>
                  <a:pt x="185" y="467"/>
                </a:moveTo>
                <a:cubicBezTo>
                  <a:pt x="186" y="471"/>
                  <a:pt x="182" y="470"/>
                  <a:pt x="185" y="467"/>
                </a:cubicBezTo>
                <a:close/>
                <a:moveTo>
                  <a:pt x="190" y="491"/>
                </a:moveTo>
                <a:cubicBezTo>
                  <a:pt x="189" y="492"/>
                  <a:pt x="189" y="488"/>
                  <a:pt x="190" y="489"/>
                </a:cubicBezTo>
                <a:cubicBezTo>
                  <a:pt x="191" y="490"/>
                  <a:pt x="190" y="491"/>
                  <a:pt x="190" y="491"/>
                </a:cubicBezTo>
                <a:close/>
                <a:moveTo>
                  <a:pt x="194" y="474"/>
                </a:moveTo>
                <a:cubicBezTo>
                  <a:pt x="195" y="475"/>
                  <a:pt x="194" y="475"/>
                  <a:pt x="194" y="475"/>
                </a:cubicBezTo>
                <a:cubicBezTo>
                  <a:pt x="193" y="476"/>
                  <a:pt x="193" y="473"/>
                  <a:pt x="194" y="474"/>
                </a:cubicBezTo>
                <a:close/>
                <a:moveTo>
                  <a:pt x="195" y="474"/>
                </a:moveTo>
                <a:cubicBezTo>
                  <a:pt x="197" y="475"/>
                  <a:pt x="194" y="476"/>
                  <a:pt x="195" y="474"/>
                </a:cubicBezTo>
                <a:close/>
                <a:moveTo>
                  <a:pt x="195" y="490"/>
                </a:moveTo>
                <a:cubicBezTo>
                  <a:pt x="195" y="490"/>
                  <a:pt x="195" y="491"/>
                  <a:pt x="195" y="491"/>
                </a:cubicBezTo>
                <a:cubicBezTo>
                  <a:pt x="194" y="493"/>
                  <a:pt x="194" y="489"/>
                  <a:pt x="195" y="490"/>
                </a:cubicBezTo>
                <a:close/>
                <a:moveTo>
                  <a:pt x="194" y="384"/>
                </a:moveTo>
                <a:cubicBezTo>
                  <a:pt x="193" y="385"/>
                  <a:pt x="194" y="382"/>
                  <a:pt x="195" y="383"/>
                </a:cubicBezTo>
                <a:cubicBezTo>
                  <a:pt x="195" y="383"/>
                  <a:pt x="194" y="384"/>
                  <a:pt x="194" y="384"/>
                </a:cubicBezTo>
                <a:close/>
                <a:moveTo>
                  <a:pt x="194" y="321"/>
                </a:moveTo>
                <a:cubicBezTo>
                  <a:pt x="195" y="321"/>
                  <a:pt x="194" y="322"/>
                  <a:pt x="194" y="322"/>
                </a:cubicBezTo>
                <a:cubicBezTo>
                  <a:pt x="192" y="324"/>
                  <a:pt x="193" y="321"/>
                  <a:pt x="194" y="321"/>
                </a:cubicBezTo>
                <a:close/>
                <a:moveTo>
                  <a:pt x="192" y="489"/>
                </a:moveTo>
                <a:cubicBezTo>
                  <a:pt x="191" y="491"/>
                  <a:pt x="192" y="487"/>
                  <a:pt x="193" y="488"/>
                </a:cubicBezTo>
                <a:cubicBezTo>
                  <a:pt x="194" y="489"/>
                  <a:pt x="193" y="489"/>
                  <a:pt x="192" y="489"/>
                </a:cubicBezTo>
                <a:close/>
                <a:moveTo>
                  <a:pt x="192" y="466"/>
                </a:moveTo>
                <a:cubicBezTo>
                  <a:pt x="190" y="466"/>
                  <a:pt x="191" y="463"/>
                  <a:pt x="192" y="464"/>
                </a:cubicBezTo>
                <a:cubicBezTo>
                  <a:pt x="193" y="465"/>
                  <a:pt x="192" y="465"/>
                  <a:pt x="192" y="466"/>
                </a:cubicBezTo>
                <a:close/>
                <a:moveTo>
                  <a:pt x="191" y="461"/>
                </a:moveTo>
                <a:cubicBezTo>
                  <a:pt x="192" y="460"/>
                  <a:pt x="193" y="460"/>
                  <a:pt x="191" y="461"/>
                </a:cubicBezTo>
                <a:close/>
                <a:moveTo>
                  <a:pt x="191" y="403"/>
                </a:moveTo>
                <a:cubicBezTo>
                  <a:pt x="189" y="404"/>
                  <a:pt x="190" y="400"/>
                  <a:pt x="191" y="400"/>
                </a:cubicBezTo>
                <a:cubicBezTo>
                  <a:pt x="192" y="400"/>
                  <a:pt x="193" y="403"/>
                  <a:pt x="191" y="403"/>
                </a:cubicBezTo>
                <a:close/>
                <a:moveTo>
                  <a:pt x="191" y="311"/>
                </a:moveTo>
                <a:cubicBezTo>
                  <a:pt x="192" y="310"/>
                  <a:pt x="192" y="311"/>
                  <a:pt x="192" y="312"/>
                </a:cubicBezTo>
                <a:cubicBezTo>
                  <a:pt x="191" y="313"/>
                  <a:pt x="191" y="311"/>
                  <a:pt x="191" y="311"/>
                </a:cubicBezTo>
                <a:close/>
                <a:moveTo>
                  <a:pt x="190" y="343"/>
                </a:moveTo>
                <a:cubicBezTo>
                  <a:pt x="190" y="340"/>
                  <a:pt x="192" y="342"/>
                  <a:pt x="190" y="343"/>
                </a:cubicBezTo>
                <a:close/>
                <a:moveTo>
                  <a:pt x="191" y="480"/>
                </a:moveTo>
                <a:cubicBezTo>
                  <a:pt x="191" y="481"/>
                  <a:pt x="189" y="483"/>
                  <a:pt x="188" y="483"/>
                </a:cubicBezTo>
                <a:cubicBezTo>
                  <a:pt x="183" y="484"/>
                  <a:pt x="190" y="478"/>
                  <a:pt x="191" y="480"/>
                </a:cubicBezTo>
                <a:close/>
                <a:moveTo>
                  <a:pt x="188" y="475"/>
                </a:moveTo>
                <a:cubicBezTo>
                  <a:pt x="187" y="476"/>
                  <a:pt x="188" y="473"/>
                  <a:pt x="189" y="474"/>
                </a:cubicBezTo>
                <a:cubicBezTo>
                  <a:pt x="189" y="474"/>
                  <a:pt x="189" y="475"/>
                  <a:pt x="188" y="475"/>
                </a:cubicBezTo>
                <a:close/>
                <a:moveTo>
                  <a:pt x="189" y="478"/>
                </a:moveTo>
                <a:cubicBezTo>
                  <a:pt x="188" y="479"/>
                  <a:pt x="188" y="479"/>
                  <a:pt x="188" y="479"/>
                </a:cubicBezTo>
                <a:cubicBezTo>
                  <a:pt x="188" y="479"/>
                  <a:pt x="188" y="479"/>
                  <a:pt x="188" y="479"/>
                </a:cubicBezTo>
                <a:cubicBezTo>
                  <a:pt x="188" y="479"/>
                  <a:pt x="189" y="478"/>
                  <a:pt x="189" y="478"/>
                </a:cubicBezTo>
                <a:close/>
                <a:moveTo>
                  <a:pt x="189" y="439"/>
                </a:moveTo>
                <a:cubicBezTo>
                  <a:pt x="188" y="441"/>
                  <a:pt x="189" y="438"/>
                  <a:pt x="189" y="439"/>
                </a:cubicBezTo>
                <a:close/>
                <a:moveTo>
                  <a:pt x="188" y="458"/>
                </a:moveTo>
                <a:cubicBezTo>
                  <a:pt x="190" y="459"/>
                  <a:pt x="190" y="462"/>
                  <a:pt x="189" y="462"/>
                </a:cubicBezTo>
                <a:cubicBezTo>
                  <a:pt x="186" y="464"/>
                  <a:pt x="186" y="458"/>
                  <a:pt x="188" y="458"/>
                </a:cubicBezTo>
                <a:close/>
                <a:moveTo>
                  <a:pt x="187" y="458"/>
                </a:moveTo>
                <a:cubicBezTo>
                  <a:pt x="186" y="459"/>
                  <a:pt x="188" y="457"/>
                  <a:pt x="187" y="458"/>
                </a:cubicBezTo>
                <a:close/>
                <a:moveTo>
                  <a:pt x="187" y="433"/>
                </a:moveTo>
                <a:cubicBezTo>
                  <a:pt x="185" y="434"/>
                  <a:pt x="185" y="430"/>
                  <a:pt x="187" y="431"/>
                </a:cubicBezTo>
                <a:cubicBezTo>
                  <a:pt x="188" y="432"/>
                  <a:pt x="187" y="433"/>
                  <a:pt x="187" y="433"/>
                </a:cubicBezTo>
                <a:close/>
                <a:moveTo>
                  <a:pt x="187" y="298"/>
                </a:moveTo>
                <a:cubicBezTo>
                  <a:pt x="187" y="299"/>
                  <a:pt x="186" y="300"/>
                  <a:pt x="186" y="301"/>
                </a:cubicBezTo>
                <a:cubicBezTo>
                  <a:pt x="185" y="302"/>
                  <a:pt x="186" y="298"/>
                  <a:pt x="187" y="298"/>
                </a:cubicBezTo>
                <a:close/>
                <a:moveTo>
                  <a:pt x="185" y="303"/>
                </a:moveTo>
                <a:cubicBezTo>
                  <a:pt x="186" y="304"/>
                  <a:pt x="185" y="306"/>
                  <a:pt x="185" y="308"/>
                </a:cubicBezTo>
                <a:cubicBezTo>
                  <a:pt x="183" y="307"/>
                  <a:pt x="185" y="304"/>
                  <a:pt x="185" y="303"/>
                </a:cubicBezTo>
                <a:close/>
                <a:moveTo>
                  <a:pt x="185" y="380"/>
                </a:moveTo>
                <a:cubicBezTo>
                  <a:pt x="187" y="380"/>
                  <a:pt x="186" y="386"/>
                  <a:pt x="184" y="386"/>
                </a:cubicBezTo>
                <a:cubicBezTo>
                  <a:pt x="181" y="387"/>
                  <a:pt x="182" y="380"/>
                  <a:pt x="185" y="380"/>
                </a:cubicBezTo>
                <a:close/>
                <a:moveTo>
                  <a:pt x="185" y="400"/>
                </a:moveTo>
                <a:cubicBezTo>
                  <a:pt x="184" y="400"/>
                  <a:pt x="185" y="397"/>
                  <a:pt x="186" y="398"/>
                </a:cubicBezTo>
                <a:cubicBezTo>
                  <a:pt x="186" y="399"/>
                  <a:pt x="186" y="400"/>
                  <a:pt x="185" y="400"/>
                </a:cubicBezTo>
                <a:close/>
                <a:moveTo>
                  <a:pt x="183" y="360"/>
                </a:moveTo>
                <a:cubicBezTo>
                  <a:pt x="182" y="361"/>
                  <a:pt x="184" y="358"/>
                  <a:pt x="183" y="360"/>
                </a:cubicBezTo>
                <a:close/>
                <a:moveTo>
                  <a:pt x="183" y="311"/>
                </a:moveTo>
                <a:cubicBezTo>
                  <a:pt x="184" y="312"/>
                  <a:pt x="183" y="313"/>
                  <a:pt x="182" y="314"/>
                </a:cubicBezTo>
                <a:cubicBezTo>
                  <a:pt x="181" y="315"/>
                  <a:pt x="181" y="310"/>
                  <a:pt x="183" y="311"/>
                </a:cubicBezTo>
                <a:close/>
                <a:moveTo>
                  <a:pt x="184" y="408"/>
                </a:moveTo>
                <a:cubicBezTo>
                  <a:pt x="185" y="409"/>
                  <a:pt x="185" y="411"/>
                  <a:pt x="186" y="411"/>
                </a:cubicBezTo>
                <a:cubicBezTo>
                  <a:pt x="188" y="412"/>
                  <a:pt x="187" y="416"/>
                  <a:pt x="185" y="417"/>
                </a:cubicBezTo>
                <a:cubicBezTo>
                  <a:pt x="181" y="418"/>
                  <a:pt x="182" y="416"/>
                  <a:pt x="181" y="414"/>
                </a:cubicBezTo>
                <a:cubicBezTo>
                  <a:pt x="181" y="414"/>
                  <a:pt x="180" y="413"/>
                  <a:pt x="180" y="413"/>
                </a:cubicBezTo>
                <a:cubicBezTo>
                  <a:pt x="180" y="411"/>
                  <a:pt x="182" y="408"/>
                  <a:pt x="184" y="408"/>
                </a:cubicBezTo>
                <a:close/>
                <a:moveTo>
                  <a:pt x="180" y="440"/>
                </a:moveTo>
                <a:cubicBezTo>
                  <a:pt x="181" y="440"/>
                  <a:pt x="180" y="441"/>
                  <a:pt x="180" y="441"/>
                </a:cubicBezTo>
                <a:cubicBezTo>
                  <a:pt x="179" y="441"/>
                  <a:pt x="180" y="440"/>
                  <a:pt x="180" y="440"/>
                </a:cubicBezTo>
                <a:close/>
                <a:moveTo>
                  <a:pt x="179" y="443"/>
                </a:moveTo>
                <a:cubicBezTo>
                  <a:pt x="178" y="441"/>
                  <a:pt x="181" y="441"/>
                  <a:pt x="179" y="443"/>
                </a:cubicBezTo>
                <a:close/>
                <a:moveTo>
                  <a:pt x="179" y="317"/>
                </a:moveTo>
                <a:cubicBezTo>
                  <a:pt x="180" y="320"/>
                  <a:pt x="177" y="318"/>
                  <a:pt x="179" y="317"/>
                </a:cubicBezTo>
                <a:close/>
                <a:moveTo>
                  <a:pt x="178" y="324"/>
                </a:moveTo>
                <a:cubicBezTo>
                  <a:pt x="176" y="323"/>
                  <a:pt x="178" y="321"/>
                  <a:pt x="178" y="320"/>
                </a:cubicBezTo>
                <a:cubicBezTo>
                  <a:pt x="179" y="321"/>
                  <a:pt x="178" y="323"/>
                  <a:pt x="178" y="324"/>
                </a:cubicBezTo>
                <a:close/>
                <a:moveTo>
                  <a:pt x="178" y="296"/>
                </a:moveTo>
                <a:cubicBezTo>
                  <a:pt x="179" y="297"/>
                  <a:pt x="177" y="298"/>
                  <a:pt x="177" y="298"/>
                </a:cubicBezTo>
                <a:cubicBezTo>
                  <a:pt x="176" y="299"/>
                  <a:pt x="177" y="295"/>
                  <a:pt x="178" y="296"/>
                </a:cubicBezTo>
                <a:close/>
                <a:moveTo>
                  <a:pt x="174" y="309"/>
                </a:moveTo>
                <a:cubicBezTo>
                  <a:pt x="175" y="310"/>
                  <a:pt x="173" y="310"/>
                  <a:pt x="174" y="309"/>
                </a:cubicBezTo>
                <a:close/>
                <a:moveTo>
                  <a:pt x="175" y="357"/>
                </a:moveTo>
                <a:cubicBezTo>
                  <a:pt x="175" y="359"/>
                  <a:pt x="173" y="358"/>
                  <a:pt x="175" y="357"/>
                </a:cubicBezTo>
                <a:close/>
                <a:moveTo>
                  <a:pt x="174" y="377"/>
                </a:moveTo>
                <a:cubicBezTo>
                  <a:pt x="175" y="378"/>
                  <a:pt x="174" y="379"/>
                  <a:pt x="173" y="380"/>
                </a:cubicBezTo>
                <a:cubicBezTo>
                  <a:pt x="173" y="379"/>
                  <a:pt x="174" y="378"/>
                  <a:pt x="174" y="377"/>
                </a:cubicBezTo>
                <a:close/>
                <a:moveTo>
                  <a:pt x="172" y="391"/>
                </a:moveTo>
                <a:cubicBezTo>
                  <a:pt x="172" y="390"/>
                  <a:pt x="175" y="392"/>
                  <a:pt x="176" y="391"/>
                </a:cubicBezTo>
                <a:cubicBezTo>
                  <a:pt x="176" y="390"/>
                  <a:pt x="174" y="389"/>
                  <a:pt x="175" y="388"/>
                </a:cubicBezTo>
                <a:cubicBezTo>
                  <a:pt x="178" y="385"/>
                  <a:pt x="181" y="394"/>
                  <a:pt x="178" y="396"/>
                </a:cubicBezTo>
                <a:cubicBezTo>
                  <a:pt x="176" y="397"/>
                  <a:pt x="174" y="397"/>
                  <a:pt x="173" y="396"/>
                </a:cubicBezTo>
                <a:cubicBezTo>
                  <a:pt x="173" y="396"/>
                  <a:pt x="172" y="392"/>
                  <a:pt x="172" y="391"/>
                </a:cubicBezTo>
                <a:close/>
                <a:moveTo>
                  <a:pt x="172" y="439"/>
                </a:moveTo>
                <a:cubicBezTo>
                  <a:pt x="173" y="439"/>
                  <a:pt x="173" y="441"/>
                  <a:pt x="172" y="441"/>
                </a:cubicBezTo>
                <a:cubicBezTo>
                  <a:pt x="170" y="443"/>
                  <a:pt x="170" y="437"/>
                  <a:pt x="172" y="439"/>
                </a:cubicBezTo>
                <a:close/>
                <a:moveTo>
                  <a:pt x="169" y="427"/>
                </a:moveTo>
                <a:cubicBezTo>
                  <a:pt x="166" y="428"/>
                  <a:pt x="167" y="422"/>
                  <a:pt x="169" y="422"/>
                </a:cubicBezTo>
                <a:cubicBezTo>
                  <a:pt x="171" y="422"/>
                  <a:pt x="171" y="426"/>
                  <a:pt x="169" y="427"/>
                </a:cubicBezTo>
                <a:close/>
                <a:moveTo>
                  <a:pt x="165" y="288"/>
                </a:moveTo>
                <a:cubicBezTo>
                  <a:pt x="166" y="288"/>
                  <a:pt x="166" y="289"/>
                  <a:pt x="166" y="290"/>
                </a:cubicBezTo>
                <a:cubicBezTo>
                  <a:pt x="165" y="291"/>
                  <a:pt x="164" y="288"/>
                  <a:pt x="165" y="288"/>
                </a:cubicBezTo>
                <a:close/>
                <a:moveTo>
                  <a:pt x="163" y="282"/>
                </a:moveTo>
                <a:cubicBezTo>
                  <a:pt x="164" y="282"/>
                  <a:pt x="164" y="284"/>
                  <a:pt x="163" y="284"/>
                </a:cubicBezTo>
                <a:cubicBezTo>
                  <a:pt x="162" y="286"/>
                  <a:pt x="161" y="282"/>
                  <a:pt x="163" y="282"/>
                </a:cubicBezTo>
                <a:close/>
                <a:moveTo>
                  <a:pt x="161" y="324"/>
                </a:moveTo>
                <a:cubicBezTo>
                  <a:pt x="161" y="324"/>
                  <a:pt x="162" y="322"/>
                  <a:pt x="162" y="321"/>
                </a:cubicBezTo>
                <a:cubicBezTo>
                  <a:pt x="162" y="322"/>
                  <a:pt x="166" y="321"/>
                  <a:pt x="166" y="321"/>
                </a:cubicBezTo>
                <a:cubicBezTo>
                  <a:pt x="166" y="321"/>
                  <a:pt x="166" y="322"/>
                  <a:pt x="166" y="322"/>
                </a:cubicBezTo>
                <a:cubicBezTo>
                  <a:pt x="167" y="323"/>
                  <a:pt x="168" y="322"/>
                  <a:pt x="168" y="323"/>
                </a:cubicBezTo>
                <a:cubicBezTo>
                  <a:pt x="171" y="328"/>
                  <a:pt x="168" y="335"/>
                  <a:pt x="165" y="336"/>
                </a:cubicBezTo>
                <a:cubicBezTo>
                  <a:pt x="163" y="337"/>
                  <a:pt x="160" y="335"/>
                  <a:pt x="160" y="334"/>
                </a:cubicBezTo>
                <a:cubicBezTo>
                  <a:pt x="160" y="334"/>
                  <a:pt x="160" y="332"/>
                  <a:pt x="160" y="333"/>
                </a:cubicBezTo>
                <a:cubicBezTo>
                  <a:pt x="160" y="331"/>
                  <a:pt x="158" y="332"/>
                  <a:pt x="158" y="330"/>
                </a:cubicBezTo>
                <a:cubicBezTo>
                  <a:pt x="156" y="327"/>
                  <a:pt x="159" y="326"/>
                  <a:pt x="161" y="324"/>
                </a:cubicBezTo>
                <a:close/>
                <a:moveTo>
                  <a:pt x="157" y="351"/>
                </a:moveTo>
                <a:cubicBezTo>
                  <a:pt x="159" y="352"/>
                  <a:pt x="156" y="353"/>
                  <a:pt x="157" y="351"/>
                </a:cubicBezTo>
                <a:close/>
                <a:moveTo>
                  <a:pt x="157" y="367"/>
                </a:moveTo>
                <a:cubicBezTo>
                  <a:pt x="157" y="366"/>
                  <a:pt x="158" y="367"/>
                  <a:pt x="158" y="367"/>
                </a:cubicBezTo>
                <a:cubicBezTo>
                  <a:pt x="159" y="366"/>
                  <a:pt x="157" y="364"/>
                  <a:pt x="159" y="364"/>
                </a:cubicBezTo>
                <a:cubicBezTo>
                  <a:pt x="162" y="364"/>
                  <a:pt x="159" y="373"/>
                  <a:pt x="159" y="374"/>
                </a:cubicBezTo>
                <a:cubicBezTo>
                  <a:pt x="159" y="372"/>
                  <a:pt x="154" y="369"/>
                  <a:pt x="157" y="367"/>
                </a:cubicBezTo>
                <a:close/>
                <a:moveTo>
                  <a:pt x="157" y="386"/>
                </a:moveTo>
                <a:cubicBezTo>
                  <a:pt x="158" y="386"/>
                  <a:pt x="157" y="388"/>
                  <a:pt x="156" y="389"/>
                </a:cubicBezTo>
                <a:cubicBezTo>
                  <a:pt x="155" y="389"/>
                  <a:pt x="155" y="385"/>
                  <a:pt x="157" y="386"/>
                </a:cubicBezTo>
                <a:close/>
                <a:moveTo>
                  <a:pt x="155" y="373"/>
                </a:moveTo>
                <a:cubicBezTo>
                  <a:pt x="154" y="374"/>
                  <a:pt x="154" y="372"/>
                  <a:pt x="155" y="371"/>
                </a:cubicBezTo>
                <a:cubicBezTo>
                  <a:pt x="156" y="371"/>
                  <a:pt x="156" y="373"/>
                  <a:pt x="155" y="373"/>
                </a:cubicBezTo>
                <a:close/>
                <a:moveTo>
                  <a:pt x="153" y="242"/>
                </a:moveTo>
                <a:cubicBezTo>
                  <a:pt x="153" y="242"/>
                  <a:pt x="154" y="237"/>
                  <a:pt x="155" y="238"/>
                </a:cubicBezTo>
                <a:cubicBezTo>
                  <a:pt x="156" y="238"/>
                  <a:pt x="154" y="243"/>
                  <a:pt x="154" y="241"/>
                </a:cubicBezTo>
                <a:cubicBezTo>
                  <a:pt x="153" y="247"/>
                  <a:pt x="153" y="255"/>
                  <a:pt x="152" y="262"/>
                </a:cubicBezTo>
                <a:cubicBezTo>
                  <a:pt x="152" y="262"/>
                  <a:pt x="151" y="264"/>
                  <a:pt x="151" y="264"/>
                </a:cubicBezTo>
                <a:cubicBezTo>
                  <a:pt x="149" y="265"/>
                  <a:pt x="152" y="246"/>
                  <a:pt x="153" y="242"/>
                </a:cubicBezTo>
                <a:close/>
                <a:moveTo>
                  <a:pt x="150" y="352"/>
                </a:moveTo>
                <a:cubicBezTo>
                  <a:pt x="151" y="351"/>
                  <a:pt x="155" y="357"/>
                  <a:pt x="155" y="359"/>
                </a:cubicBezTo>
                <a:cubicBezTo>
                  <a:pt x="155" y="360"/>
                  <a:pt x="154" y="362"/>
                  <a:pt x="152" y="363"/>
                </a:cubicBezTo>
                <a:cubicBezTo>
                  <a:pt x="147" y="365"/>
                  <a:pt x="149" y="352"/>
                  <a:pt x="150" y="352"/>
                </a:cubicBezTo>
                <a:close/>
                <a:moveTo>
                  <a:pt x="148" y="397"/>
                </a:moveTo>
                <a:cubicBezTo>
                  <a:pt x="148" y="397"/>
                  <a:pt x="148" y="398"/>
                  <a:pt x="148" y="398"/>
                </a:cubicBezTo>
                <a:cubicBezTo>
                  <a:pt x="146" y="396"/>
                  <a:pt x="149" y="396"/>
                  <a:pt x="148" y="397"/>
                </a:cubicBezTo>
                <a:close/>
                <a:moveTo>
                  <a:pt x="147" y="373"/>
                </a:moveTo>
                <a:cubicBezTo>
                  <a:pt x="148" y="377"/>
                  <a:pt x="145" y="374"/>
                  <a:pt x="147" y="373"/>
                </a:cubicBezTo>
                <a:close/>
                <a:moveTo>
                  <a:pt x="145" y="340"/>
                </a:moveTo>
                <a:cubicBezTo>
                  <a:pt x="148" y="342"/>
                  <a:pt x="144" y="344"/>
                  <a:pt x="145" y="340"/>
                </a:cubicBezTo>
                <a:close/>
                <a:moveTo>
                  <a:pt x="145" y="351"/>
                </a:moveTo>
                <a:cubicBezTo>
                  <a:pt x="145" y="351"/>
                  <a:pt x="145" y="352"/>
                  <a:pt x="145" y="352"/>
                </a:cubicBezTo>
                <a:cubicBezTo>
                  <a:pt x="143" y="354"/>
                  <a:pt x="143" y="350"/>
                  <a:pt x="145" y="351"/>
                </a:cubicBezTo>
                <a:close/>
                <a:moveTo>
                  <a:pt x="143" y="299"/>
                </a:moveTo>
                <a:cubicBezTo>
                  <a:pt x="143" y="299"/>
                  <a:pt x="144" y="301"/>
                  <a:pt x="143" y="301"/>
                </a:cubicBezTo>
                <a:cubicBezTo>
                  <a:pt x="142" y="303"/>
                  <a:pt x="142" y="298"/>
                  <a:pt x="143" y="299"/>
                </a:cubicBezTo>
                <a:close/>
                <a:moveTo>
                  <a:pt x="143" y="429"/>
                </a:moveTo>
                <a:cubicBezTo>
                  <a:pt x="145" y="430"/>
                  <a:pt x="143" y="430"/>
                  <a:pt x="144" y="431"/>
                </a:cubicBezTo>
                <a:cubicBezTo>
                  <a:pt x="145" y="433"/>
                  <a:pt x="146" y="433"/>
                  <a:pt x="146" y="433"/>
                </a:cubicBezTo>
                <a:cubicBezTo>
                  <a:pt x="147" y="435"/>
                  <a:pt x="146" y="438"/>
                  <a:pt x="145" y="439"/>
                </a:cubicBezTo>
                <a:cubicBezTo>
                  <a:pt x="142" y="440"/>
                  <a:pt x="140" y="438"/>
                  <a:pt x="140" y="435"/>
                </a:cubicBezTo>
                <a:cubicBezTo>
                  <a:pt x="141" y="433"/>
                  <a:pt x="143" y="433"/>
                  <a:pt x="143" y="432"/>
                </a:cubicBezTo>
                <a:cubicBezTo>
                  <a:pt x="143" y="431"/>
                  <a:pt x="141" y="429"/>
                  <a:pt x="143" y="429"/>
                </a:cubicBezTo>
                <a:close/>
                <a:moveTo>
                  <a:pt x="142" y="354"/>
                </a:moveTo>
                <a:cubicBezTo>
                  <a:pt x="143" y="355"/>
                  <a:pt x="140" y="357"/>
                  <a:pt x="142" y="354"/>
                </a:cubicBezTo>
                <a:close/>
                <a:moveTo>
                  <a:pt x="141" y="298"/>
                </a:moveTo>
                <a:cubicBezTo>
                  <a:pt x="142" y="301"/>
                  <a:pt x="139" y="299"/>
                  <a:pt x="141" y="298"/>
                </a:cubicBezTo>
                <a:close/>
                <a:moveTo>
                  <a:pt x="140" y="375"/>
                </a:moveTo>
                <a:cubicBezTo>
                  <a:pt x="141" y="375"/>
                  <a:pt x="142" y="377"/>
                  <a:pt x="141" y="378"/>
                </a:cubicBezTo>
                <a:cubicBezTo>
                  <a:pt x="140" y="380"/>
                  <a:pt x="139" y="375"/>
                  <a:pt x="140" y="375"/>
                </a:cubicBezTo>
                <a:close/>
                <a:moveTo>
                  <a:pt x="142" y="405"/>
                </a:moveTo>
                <a:cubicBezTo>
                  <a:pt x="141" y="406"/>
                  <a:pt x="141" y="406"/>
                  <a:pt x="141" y="406"/>
                </a:cubicBezTo>
                <a:cubicBezTo>
                  <a:pt x="141" y="406"/>
                  <a:pt x="141" y="406"/>
                  <a:pt x="142" y="405"/>
                </a:cubicBezTo>
                <a:close/>
                <a:moveTo>
                  <a:pt x="141" y="417"/>
                </a:moveTo>
                <a:cubicBezTo>
                  <a:pt x="142" y="418"/>
                  <a:pt x="141" y="420"/>
                  <a:pt x="141" y="420"/>
                </a:cubicBezTo>
                <a:cubicBezTo>
                  <a:pt x="139" y="422"/>
                  <a:pt x="139" y="417"/>
                  <a:pt x="141" y="417"/>
                </a:cubicBezTo>
                <a:close/>
                <a:moveTo>
                  <a:pt x="137" y="465"/>
                </a:moveTo>
                <a:cubicBezTo>
                  <a:pt x="135" y="470"/>
                  <a:pt x="131" y="464"/>
                  <a:pt x="136" y="463"/>
                </a:cubicBezTo>
                <a:cubicBezTo>
                  <a:pt x="136" y="463"/>
                  <a:pt x="139" y="463"/>
                  <a:pt x="139" y="463"/>
                </a:cubicBezTo>
                <a:cubicBezTo>
                  <a:pt x="142" y="466"/>
                  <a:pt x="137" y="469"/>
                  <a:pt x="137" y="465"/>
                </a:cubicBezTo>
                <a:close/>
                <a:moveTo>
                  <a:pt x="138" y="439"/>
                </a:moveTo>
                <a:cubicBezTo>
                  <a:pt x="139" y="439"/>
                  <a:pt x="139" y="440"/>
                  <a:pt x="139" y="441"/>
                </a:cubicBezTo>
                <a:cubicBezTo>
                  <a:pt x="138" y="441"/>
                  <a:pt x="138" y="439"/>
                  <a:pt x="138" y="439"/>
                </a:cubicBezTo>
                <a:close/>
                <a:moveTo>
                  <a:pt x="138" y="452"/>
                </a:moveTo>
                <a:cubicBezTo>
                  <a:pt x="137" y="454"/>
                  <a:pt x="136" y="451"/>
                  <a:pt x="137" y="451"/>
                </a:cubicBezTo>
                <a:cubicBezTo>
                  <a:pt x="138" y="451"/>
                  <a:pt x="138" y="452"/>
                  <a:pt x="138" y="452"/>
                </a:cubicBezTo>
                <a:close/>
                <a:moveTo>
                  <a:pt x="137" y="363"/>
                </a:moveTo>
                <a:cubicBezTo>
                  <a:pt x="137" y="363"/>
                  <a:pt x="135" y="363"/>
                  <a:pt x="135" y="364"/>
                </a:cubicBezTo>
                <a:cubicBezTo>
                  <a:pt x="133" y="367"/>
                  <a:pt x="138" y="377"/>
                  <a:pt x="134" y="379"/>
                </a:cubicBezTo>
                <a:cubicBezTo>
                  <a:pt x="132" y="380"/>
                  <a:pt x="133" y="366"/>
                  <a:pt x="134" y="364"/>
                </a:cubicBezTo>
                <a:cubicBezTo>
                  <a:pt x="134" y="360"/>
                  <a:pt x="134" y="356"/>
                  <a:pt x="134" y="353"/>
                </a:cubicBezTo>
                <a:cubicBezTo>
                  <a:pt x="134" y="353"/>
                  <a:pt x="135" y="352"/>
                  <a:pt x="135" y="352"/>
                </a:cubicBezTo>
                <a:cubicBezTo>
                  <a:pt x="137" y="353"/>
                  <a:pt x="135" y="355"/>
                  <a:pt x="135" y="357"/>
                </a:cubicBezTo>
                <a:cubicBezTo>
                  <a:pt x="135" y="360"/>
                  <a:pt x="138" y="360"/>
                  <a:pt x="137" y="363"/>
                </a:cubicBezTo>
                <a:close/>
                <a:moveTo>
                  <a:pt x="133" y="337"/>
                </a:moveTo>
                <a:cubicBezTo>
                  <a:pt x="134" y="338"/>
                  <a:pt x="132" y="339"/>
                  <a:pt x="133" y="337"/>
                </a:cubicBezTo>
                <a:close/>
                <a:moveTo>
                  <a:pt x="136" y="331"/>
                </a:moveTo>
                <a:cubicBezTo>
                  <a:pt x="137" y="332"/>
                  <a:pt x="136" y="334"/>
                  <a:pt x="136" y="334"/>
                </a:cubicBezTo>
                <a:cubicBezTo>
                  <a:pt x="135" y="335"/>
                  <a:pt x="135" y="331"/>
                  <a:pt x="136" y="331"/>
                </a:cubicBezTo>
                <a:close/>
                <a:moveTo>
                  <a:pt x="133" y="322"/>
                </a:moveTo>
                <a:cubicBezTo>
                  <a:pt x="134" y="322"/>
                  <a:pt x="135" y="323"/>
                  <a:pt x="134" y="324"/>
                </a:cubicBezTo>
                <a:cubicBezTo>
                  <a:pt x="133" y="325"/>
                  <a:pt x="132" y="322"/>
                  <a:pt x="133" y="322"/>
                </a:cubicBezTo>
                <a:close/>
                <a:moveTo>
                  <a:pt x="133" y="325"/>
                </a:moveTo>
                <a:cubicBezTo>
                  <a:pt x="135" y="324"/>
                  <a:pt x="136" y="328"/>
                  <a:pt x="134" y="329"/>
                </a:cubicBezTo>
                <a:cubicBezTo>
                  <a:pt x="132" y="331"/>
                  <a:pt x="132" y="325"/>
                  <a:pt x="133" y="325"/>
                </a:cubicBezTo>
                <a:close/>
                <a:moveTo>
                  <a:pt x="132" y="371"/>
                </a:moveTo>
                <a:cubicBezTo>
                  <a:pt x="132" y="371"/>
                  <a:pt x="131" y="371"/>
                  <a:pt x="131" y="371"/>
                </a:cubicBezTo>
                <a:cubicBezTo>
                  <a:pt x="131" y="370"/>
                  <a:pt x="133" y="370"/>
                  <a:pt x="132" y="371"/>
                </a:cubicBezTo>
                <a:close/>
                <a:moveTo>
                  <a:pt x="129" y="374"/>
                </a:moveTo>
                <a:cubicBezTo>
                  <a:pt x="129" y="376"/>
                  <a:pt x="127" y="374"/>
                  <a:pt x="129" y="374"/>
                </a:cubicBezTo>
                <a:close/>
                <a:moveTo>
                  <a:pt x="128" y="318"/>
                </a:moveTo>
                <a:cubicBezTo>
                  <a:pt x="128" y="319"/>
                  <a:pt x="127" y="319"/>
                  <a:pt x="127" y="320"/>
                </a:cubicBezTo>
                <a:cubicBezTo>
                  <a:pt x="127" y="320"/>
                  <a:pt x="127" y="318"/>
                  <a:pt x="128" y="318"/>
                </a:cubicBezTo>
                <a:close/>
                <a:moveTo>
                  <a:pt x="126" y="325"/>
                </a:moveTo>
                <a:cubicBezTo>
                  <a:pt x="127" y="326"/>
                  <a:pt x="126" y="328"/>
                  <a:pt x="126" y="329"/>
                </a:cubicBezTo>
                <a:cubicBezTo>
                  <a:pt x="124" y="329"/>
                  <a:pt x="126" y="326"/>
                  <a:pt x="126" y="325"/>
                </a:cubicBezTo>
                <a:close/>
                <a:moveTo>
                  <a:pt x="124" y="375"/>
                </a:moveTo>
                <a:cubicBezTo>
                  <a:pt x="124" y="374"/>
                  <a:pt x="125" y="375"/>
                  <a:pt x="125" y="375"/>
                </a:cubicBezTo>
                <a:cubicBezTo>
                  <a:pt x="125" y="375"/>
                  <a:pt x="124" y="375"/>
                  <a:pt x="124" y="375"/>
                </a:cubicBezTo>
                <a:close/>
                <a:moveTo>
                  <a:pt x="120" y="352"/>
                </a:moveTo>
                <a:cubicBezTo>
                  <a:pt x="121" y="352"/>
                  <a:pt x="122" y="353"/>
                  <a:pt x="121" y="354"/>
                </a:cubicBezTo>
                <a:cubicBezTo>
                  <a:pt x="120" y="356"/>
                  <a:pt x="119" y="352"/>
                  <a:pt x="120" y="352"/>
                </a:cubicBezTo>
                <a:close/>
                <a:moveTo>
                  <a:pt x="124" y="362"/>
                </a:moveTo>
                <a:cubicBezTo>
                  <a:pt x="126" y="364"/>
                  <a:pt x="124" y="368"/>
                  <a:pt x="121" y="367"/>
                </a:cubicBezTo>
                <a:cubicBezTo>
                  <a:pt x="120" y="367"/>
                  <a:pt x="121" y="364"/>
                  <a:pt x="120" y="362"/>
                </a:cubicBezTo>
                <a:cubicBezTo>
                  <a:pt x="121" y="365"/>
                  <a:pt x="124" y="362"/>
                  <a:pt x="124" y="362"/>
                </a:cubicBezTo>
                <a:close/>
                <a:moveTo>
                  <a:pt x="121" y="425"/>
                </a:moveTo>
                <a:cubicBezTo>
                  <a:pt x="121" y="425"/>
                  <a:pt x="120" y="425"/>
                  <a:pt x="120" y="425"/>
                </a:cubicBezTo>
                <a:cubicBezTo>
                  <a:pt x="118" y="423"/>
                  <a:pt x="123" y="422"/>
                  <a:pt x="121" y="425"/>
                </a:cubicBezTo>
                <a:close/>
                <a:moveTo>
                  <a:pt x="119" y="435"/>
                </a:moveTo>
                <a:cubicBezTo>
                  <a:pt x="118" y="435"/>
                  <a:pt x="119" y="435"/>
                  <a:pt x="119" y="434"/>
                </a:cubicBezTo>
                <a:cubicBezTo>
                  <a:pt x="119" y="434"/>
                  <a:pt x="119" y="435"/>
                  <a:pt x="119" y="435"/>
                </a:cubicBezTo>
                <a:close/>
                <a:moveTo>
                  <a:pt x="112" y="346"/>
                </a:moveTo>
                <a:cubicBezTo>
                  <a:pt x="112" y="346"/>
                  <a:pt x="114" y="344"/>
                  <a:pt x="116" y="345"/>
                </a:cubicBezTo>
                <a:cubicBezTo>
                  <a:pt x="118" y="345"/>
                  <a:pt x="119" y="348"/>
                  <a:pt x="119" y="351"/>
                </a:cubicBezTo>
                <a:cubicBezTo>
                  <a:pt x="118" y="352"/>
                  <a:pt x="117" y="355"/>
                  <a:pt x="117" y="355"/>
                </a:cubicBezTo>
                <a:cubicBezTo>
                  <a:pt x="117" y="355"/>
                  <a:pt x="113" y="354"/>
                  <a:pt x="112" y="352"/>
                </a:cubicBezTo>
                <a:cubicBezTo>
                  <a:pt x="112" y="352"/>
                  <a:pt x="111" y="347"/>
                  <a:pt x="112" y="346"/>
                </a:cubicBezTo>
                <a:close/>
                <a:moveTo>
                  <a:pt x="111" y="354"/>
                </a:moveTo>
                <a:cubicBezTo>
                  <a:pt x="112" y="354"/>
                  <a:pt x="111" y="355"/>
                  <a:pt x="111" y="355"/>
                </a:cubicBezTo>
                <a:cubicBezTo>
                  <a:pt x="110" y="356"/>
                  <a:pt x="110" y="353"/>
                  <a:pt x="111" y="354"/>
                </a:cubicBezTo>
                <a:close/>
                <a:moveTo>
                  <a:pt x="110" y="283"/>
                </a:moveTo>
                <a:cubicBezTo>
                  <a:pt x="110" y="283"/>
                  <a:pt x="110" y="284"/>
                  <a:pt x="110" y="284"/>
                </a:cubicBezTo>
                <a:cubicBezTo>
                  <a:pt x="109" y="286"/>
                  <a:pt x="109" y="282"/>
                  <a:pt x="110" y="283"/>
                </a:cubicBezTo>
                <a:close/>
                <a:moveTo>
                  <a:pt x="108" y="299"/>
                </a:moveTo>
                <a:cubicBezTo>
                  <a:pt x="109" y="299"/>
                  <a:pt x="109" y="300"/>
                  <a:pt x="109" y="301"/>
                </a:cubicBezTo>
                <a:cubicBezTo>
                  <a:pt x="108" y="302"/>
                  <a:pt x="107" y="299"/>
                  <a:pt x="108" y="299"/>
                </a:cubicBezTo>
                <a:close/>
                <a:moveTo>
                  <a:pt x="109" y="347"/>
                </a:moveTo>
                <a:cubicBezTo>
                  <a:pt x="111" y="348"/>
                  <a:pt x="110" y="352"/>
                  <a:pt x="109" y="353"/>
                </a:cubicBezTo>
                <a:cubicBezTo>
                  <a:pt x="106" y="355"/>
                  <a:pt x="106" y="346"/>
                  <a:pt x="109" y="347"/>
                </a:cubicBezTo>
                <a:close/>
                <a:moveTo>
                  <a:pt x="108" y="421"/>
                </a:moveTo>
                <a:cubicBezTo>
                  <a:pt x="109" y="422"/>
                  <a:pt x="107" y="425"/>
                  <a:pt x="107" y="425"/>
                </a:cubicBezTo>
                <a:cubicBezTo>
                  <a:pt x="104" y="426"/>
                  <a:pt x="106" y="420"/>
                  <a:pt x="108" y="421"/>
                </a:cubicBezTo>
                <a:close/>
                <a:moveTo>
                  <a:pt x="105" y="283"/>
                </a:moveTo>
                <a:cubicBezTo>
                  <a:pt x="106" y="283"/>
                  <a:pt x="107" y="285"/>
                  <a:pt x="106" y="286"/>
                </a:cubicBezTo>
                <a:cubicBezTo>
                  <a:pt x="104" y="287"/>
                  <a:pt x="104" y="284"/>
                  <a:pt x="105" y="283"/>
                </a:cubicBezTo>
                <a:close/>
                <a:moveTo>
                  <a:pt x="105" y="425"/>
                </a:moveTo>
                <a:cubicBezTo>
                  <a:pt x="105" y="423"/>
                  <a:pt x="104" y="426"/>
                  <a:pt x="105" y="425"/>
                </a:cubicBezTo>
                <a:close/>
                <a:moveTo>
                  <a:pt x="104" y="301"/>
                </a:moveTo>
                <a:cubicBezTo>
                  <a:pt x="106" y="302"/>
                  <a:pt x="103" y="304"/>
                  <a:pt x="104" y="301"/>
                </a:cubicBezTo>
                <a:close/>
                <a:moveTo>
                  <a:pt x="104" y="370"/>
                </a:moveTo>
                <a:cubicBezTo>
                  <a:pt x="104" y="370"/>
                  <a:pt x="104" y="372"/>
                  <a:pt x="104" y="372"/>
                </a:cubicBezTo>
                <a:cubicBezTo>
                  <a:pt x="103" y="373"/>
                  <a:pt x="103" y="370"/>
                  <a:pt x="104" y="370"/>
                </a:cubicBezTo>
                <a:close/>
                <a:moveTo>
                  <a:pt x="102" y="425"/>
                </a:moveTo>
                <a:cubicBezTo>
                  <a:pt x="103" y="426"/>
                  <a:pt x="103" y="426"/>
                  <a:pt x="103" y="426"/>
                </a:cubicBezTo>
                <a:cubicBezTo>
                  <a:pt x="104" y="426"/>
                  <a:pt x="106" y="426"/>
                  <a:pt x="104" y="428"/>
                </a:cubicBezTo>
                <a:cubicBezTo>
                  <a:pt x="104" y="428"/>
                  <a:pt x="104" y="428"/>
                  <a:pt x="103" y="428"/>
                </a:cubicBezTo>
                <a:cubicBezTo>
                  <a:pt x="103" y="428"/>
                  <a:pt x="103" y="428"/>
                  <a:pt x="103" y="427"/>
                </a:cubicBezTo>
                <a:cubicBezTo>
                  <a:pt x="102" y="428"/>
                  <a:pt x="102" y="428"/>
                  <a:pt x="102" y="428"/>
                </a:cubicBezTo>
                <a:cubicBezTo>
                  <a:pt x="100" y="429"/>
                  <a:pt x="100" y="424"/>
                  <a:pt x="102" y="425"/>
                </a:cubicBezTo>
                <a:close/>
                <a:moveTo>
                  <a:pt x="101" y="363"/>
                </a:moveTo>
                <a:cubicBezTo>
                  <a:pt x="99" y="362"/>
                  <a:pt x="101" y="362"/>
                  <a:pt x="101" y="363"/>
                </a:cubicBezTo>
                <a:close/>
                <a:moveTo>
                  <a:pt x="100" y="315"/>
                </a:moveTo>
                <a:cubicBezTo>
                  <a:pt x="100" y="318"/>
                  <a:pt x="98" y="316"/>
                  <a:pt x="100" y="315"/>
                </a:cubicBezTo>
                <a:close/>
                <a:moveTo>
                  <a:pt x="99" y="422"/>
                </a:moveTo>
                <a:cubicBezTo>
                  <a:pt x="99" y="422"/>
                  <a:pt x="100" y="423"/>
                  <a:pt x="99" y="424"/>
                </a:cubicBezTo>
                <a:cubicBezTo>
                  <a:pt x="98" y="426"/>
                  <a:pt x="98" y="421"/>
                  <a:pt x="99" y="422"/>
                </a:cubicBezTo>
                <a:close/>
                <a:moveTo>
                  <a:pt x="96" y="297"/>
                </a:moveTo>
                <a:cubicBezTo>
                  <a:pt x="97" y="298"/>
                  <a:pt x="95" y="298"/>
                  <a:pt x="96" y="297"/>
                </a:cubicBezTo>
                <a:cubicBezTo>
                  <a:pt x="96" y="297"/>
                  <a:pt x="96" y="297"/>
                  <a:pt x="96" y="297"/>
                </a:cubicBezTo>
                <a:close/>
                <a:moveTo>
                  <a:pt x="96" y="305"/>
                </a:moveTo>
                <a:cubicBezTo>
                  <a:pt x="96" y="305"/>
                  <a:pt x="96" y="304"/>
                  <a:pt x="96" y="303"/>
                </a:cubicBezTo>
                <a:cubicBezTo>
                  <a:pt x="96" y="303"/>
                  <a:pt x="97" y="304"/>
                  <a:pt x="96" y="305"/>
                </a:cubicBezTo>
                <a:close/>
                <a:moveTo>
                  <a:pt x="96" y="380"/>
                </a:moveTo>
                <a:cubicBezTo>
                  <a:pt x="97" y="380"/>
                  <a:pt x="97" y="383"/>
                  <a:pt x="96" y="384"/>
                </a:cubicBezTo>
                <a:cubicBezTo>
                  <a:pt x="93" y="385"/>
                  <a:pt x="94" y="379"/>
                  <a:pt x="96" y="380"/>
                </a:cubicBezTo>
                <a:close/>
                <a:moveTo>
                  <a:pt x="95" y="393"/>
                </a:moveTo>
                <a:cubicBezTo>
                  <a:pt x="94" y="391"/>
                  <a:pt x="97" y="391"/>
                  <a:pt x="95" y="393"/>
                </a:cubicBezTo>
                <a:close/>
                <a:moveTo>
                  <a:pt x="97" y="431"/>
                </a:moveTo>
                <a:cubicBezTo>
                  <a:pt x="97" y="432"/>
                  <a:pt x="95" y="434"/>
                  <a:pt x="94" y="434"/>
                </a:cubicBezTo>
                <a:cubicBezTo>
                  <a:pt x="95" y="434"/>
                  <a:pt x="94" y="436"/>
                  <a:pt x="93" y="436"/>
                </a:cubicBezTo>
                <a:cubicBezTo>
                  <a:pt x="93" y="435"/>
                  <a:pt x="93" y="433"/>
                  <a:pt x="94" y="434"/>
                </a:cubicBezTo>
                <a:cubicBezTo>
                  <a:pt x="93" y="433"/>
                  <a:pt x="93" y="430"/>
                  <a:pt x="94" y="430"/>
                </a:cubicBezTo>
                <a:cubicBezTo>
                  <a:pt x="95" y="430"/>
                  <a:pt x="97" y="431"/>
                  <a:pt x="97" y="431"/>
                </a:cubicBezTo>
                <a:close/>
                <a:moveTo>
                  <a:pt x="93" y="359"/>
                </a:moveTo>
                <a:cubicBezTo>
                  <a:pt x="94" y="362"/>
                  <a:pt x="91" y="360"/>
                  <a:pt x="93" y="359"/>
                </a:cubicBezTo>
                <a:close/>
                <a:moveTo>
                  <a:pt x="93" y="379"/>
                </a:moveTo>
                <a:cubicBezTo>
                  <a:pt x="94" y="382"/>
                  <a:pt x="91" y="380"/>
                  <a:pt x="93" y="379"/>
                </a:cubicBezTo>
                <a:close/>
                <a:moveTo>
                  <a:pt x="92" y="391"/>
                </a:moveTo>
                <a:cubicBezTo>
                  <a:pt x="92" y="393"/>
                  <a:pt x="91" y="393"/>
                  <a:pt x="91" y="391"/>
                </a:cubicBezTo>
                <a:cubicBezTo>
                  <a:pt x="91" y="391"/>
                  <a:pt x="92" y="391"/>
                  <a:pt x="92" y="391"/>
                </a:cubicBezTo>
                <a:close/>
                <a:moveTo>
                  <a:pt x="89" y="352"/>
                </a:moveTo>
                <a:cubicBezTo>
                  <a:pt x="90" y="354"/>
                  <a:pt x="88" y="354"/>
                  <a:pt x="89" y="352"/>
                </a:cubicBezTo>
                <a:close/>
                <a:moveTo>
                  <a:pt x="89" y="400"/>
                </a:moveTo>
                <a:cubicBezTo>
                  <a:pt x="88" y="401"/>
                  <a:pt x="90" y="399"/>
                  <a:pt x="89" y="400"/>
                </a:cubicBezTo>
                <a:close/>
                <a:moveTo>
                  <a:pt x="87" y="362"/>
                </a:moveTo>
                <a:cubicBezTo>
                  <a:pt x="88" y="361"/>
                  <a:pt x="89" y="364"/>
                  <a:pt x="88" y="364"/>
                </a:cubicBezTo>
                <a:cubicBezTo>
                  <a:pt x="87" y="365"/>
                  <a:pt x="86" y="362"/>
                  <a:pt x="87" y="362"/>
                </a:cubicBezTo>
                <a:close/>
                <a:moveTo>
                  <a:pt x="85" y="385"/>
                </a:moveTo>
                <a:cubicBezTo>
                  <a:pt x="86" y="384"/>
                  <a:pt x="87" y="385"/>
                  <a:pt x="87" y="385"/>
                </a:cubicBezTo>
                <a:cubicBezTo>
                  <a:pt x="89" y="388"/>
                  <a:pt x="84" y="388"/>
                  <a:pt x="85" y="385"/>
                </a:cubicBezTo>
                <a:close/>
                <a:moveTo>
                  <a:pt x="86" y="398"/>
                </a:moveTo>
                <a:cubicBezTo>
                  <a:pt x="86" y="398"/>
                  <a:pt x="85" y="398"/>
                  <a:pt x="85" y="398"/>
                </a:cubicBezTo>
                <a:cubicBezTo>
                  <a:pt x="85" y="397"/>
                  <a:pt x="86" y="398"/>
                  <a:pt x="86" y="398"/>
                </a:cubicBezTo>
                <a:close/>
                <a:moveTo>
                  <a:pt x="87" y="400"/>
                </a:moveTo>
                <a:cubicBezTo>
                  <a:pt x="88" y="400"/>
                  <a:pt x="87" y="402"/>
                  <a:pt x="88" y="402"/>
                </a:cubicBezTo>
                <a:cubicBezTo>
                  <a:pt x="88" y="403"/>
                  <a:pt x="91" y="402"/>
                  <a:pt x="92" y="402"/>
                </a:cubicBezTo>
                <a:cubicBezTo>
                  <a:pt x="92" y="402"/>
                  <a:pt x="94" y="405"/>
                  <a:pt x="94" y="405"/>
                </a:cubicBezTo>
                <a:cubicBezTo>
                  <a:pt x="96" y="408"/>
                  <a:pt x="92" y="411"/>
                  <a:pt x="92" y="414"/>
                </a:cubicBezTo>
                <a:cubicBezTo>
                  <a:pt x="90" y="412"/>
                  <a:pt x="86" y="411"/>
                  <a:pt x="86" y="407"/>
                </a:cubicBezTo>
                <a:cubicBezTo>
                  <a:pt x="83" y="412"/>
                  <a:pt x="83" y="400"/>
                  <a:pt x="87" y="400"/>
                </a:cubicBezTo>
                <a:close/>
                <a:moveTo>
                  <a:pt x="84" y="412"/>
                </a:moveTo>
                <a:cubicBezTo>
                  <a:pt x="84" y="412"/>
                  <a:pt x="84" y="413"/>
                  <a:pt x="84" y="413"/>
                </a:cubicBezTo>
                <a:cubicBezTo>
                  <a:pt x="83" y="414"/>
                  <a:pt x="83" y="412"/>
                  <a:pt x="84" y="412"/>
                </a:cubicBezTo>
                <a:close/>
                <a:moveTo>
                  <a:pt x="82" y="395"/>
                </a:moveTo>
                <a:cubicBezTo>
                  <a:pt x="83" y="395"/>
                  <a:pt x="84" y="397"/>
                  <a:pt x="83" y="398"/>
                </a:cubicBezTo>
                <a:cubicBezTo>
                  <a:pt x="81" y="398"/>
                  <a:pt x="81" y="396"/>
                  <a:pt x="82" y="395"/>
                </a:cubicBezTo>
                <a:close/>
                <a:moveTo>
                  <a:pt x="81" y="405"/>
                </a:moveTo>
                <a:cubicBezTo>
                  <a:pt x="81" y="405"/>
                  <a:pt x="81" y="405"/>
                  <a:pt x="81" y="405"/>
                </a:cubicBezTo>
                <a:cubicBezTo>
                  <a:pt x="79" y="406"/>
                  <a:pt x="83" y="403"/>
                  <a:pt x="81" y="405"/>
                </a:cubicBezTo>
                <a:close/>
                <a:moveTo>
                  <a:pt x="80" y="427"/>
                </a:moveTo>
                <a:cubicBezTo>
                  <a:pt x="80" y="425"/>
                  <a:pt x="82" y="427"/>
                  <a:pt x="80" y="427"/>
                </a:cubicBezTo>
                <a:close/>
                <a:moveTo>
                  <a:pt x="79" y="403"/>
                </a:moveTo>
                <a:cubicBezTo>
                  <a:pt x="80" y="402"/>
                  <a:pt x="80" y="403"/>
                  <a:pt x="80" y="403"/>
                </a:cubicBezTo>
                <a:cubicBezTo>
                  <a:pt x="80" y="403"/>
                  <a:pt x="79" y="403"/>
                  <a:pt x="79" y="403"/>
                </a:cubicBezTo>
                <a:close/>
                <a:moveTo>
                  <a:pt x="79" y="352"/>
                </a:moveTo>
                <a:cubicBezTo>
                  <a:pt x="79" y="355"/>
                  <a:pt x="78" y="357"/>
                  <a:pt x="79" y="361"/>
                </a:cubicBezTo>
                <a:cubicBezTo>
                  <a:pt x="77" y="359"/>
                  <a:pt x="77" y="353"/>
                  <a:pt x="79" y="352"/>
                </a:cubicBezTo>
                <a:close/>
                <a:moveTo>
                  <a:pt x="79" y="363"/>
                </a:moveTo>
                <a:cubicBezTo>
                  <a:pt x="78" y="366"/>
                  <a:pt x="80" y="370"/>
                  <a:pt x="79" y="372"/>
                </a:cubicBezTo>
                <a:cubicBezTo>
                  <a:pt x="78" y="375"/>
                  <a:pt x="76" y="365"/>
                  <a:pt x="79" y="363"/>
                </a:cubicBezTo>
                <a:close/>
                <a:moveTo>
                  <a:pt x="77" y="429"/>
                </a:moveTo>
                <a:cubicBezTo>
                  <a:pt x="79" y="430"/>
                  <a:pt x="78" y="431"/>
                  <a:pt x="78" y="432"/>
                </a:cubicBezTo>
                <a:cubicBezTo>
                  <a:pt x="80" y="429"/>
                  <a:pt x="81" y="434"/>
                  <a:pt x="83" y="433"/>
                </a:cubicBezTo>
                <a:cubicBezTo>
                  <a:pt x="82" y="436"/>
                  <a:pt x="84" y="439"/>
                  <a:pt x="82" y="441"/>
                </a:cubicBezTo>
                <a:cubicBezTo>
                  <a:pt x="81" y="442"/>
                  <a:pt x="79" y="442"/>
                  <a:pt x="78" y="441"/>
                </a:cubicBezTo>
                <a:cubicBezTo>
                  <a:pt x="76" y="440"/>
                  <a:pt x="75" y="433"/>
                  <a:pt x="75" y="432"/>
                </a:cubicBezTo>
                <a:cubicBezTo>
                  <a:pt x="75" y="433"/>
                  <a:pt x="78" y="431"/>
                  <a:pt x="77" y="429"/>
                </a:cubicBezTo>
                <a:close/>
                <a:moveTo>
                  <a:pt x="76" y="420"/>
                </a:moveTo>
                <a:cubicBezTo>
                  <a:pt x="76" y="420"/>
                  <a:pt x="76" y="420"/>
                  <a:pt x="76" y="420"/>
                </a:cubicBezTo>
                <a:cubicBezTo>
                  <a:pt x="76" y="420"/>
                  <a:pt x="76" y="420"/>
                  <a:pt x="76" y="420"/>
                </a:cubicBezTo>
                <a:cubicBezTo>
                  <a:pt x="76" y="420"/>
                  <a:pt x="76" y="420"/>
                  <a:pt x="76" y="420"/>
                </a:cubicBezTo>
                <a:close/>
                <a:moveTo>
                  <a:pt x="76" y="370"/>
                </a:moveTo>
                <a:cubicBezTo>
                  <a:pt x="78" y="371"/>
                  <a:pt x="76" y="374"/>
                  <a:pt x="76" y="370"/>
                </a:cubicBezTo>
                <a:close/>
                <a:moveTo>
                  <a:pt x="75" y="384"/>
                </a:moveTo>
                <a:cubicBezTo>
                  <a:pt x="76" y="386"/>
                  <a:pt x="74" y="386"/>
                  <a:pt x="75" y="384"/>
                </a:cubicBezTo>
                <a:close/>
                <a:moveTo>
                  <a:pt x="75" y="426"/>
                </a:moveTo>
                <a:cubicBezTo>
                  <a:pt x="74" y="426"/>
                  <a:pt x="75" y="424"/>
                  <a:pt x="75" y="426"/>
                </a:cubicBezTo>
                <a:close/>
                <a:moveTo>
                  <a:pt x="74" y="369"/>
                </a:moveTo>
                <a:cubicBezTo>
                  <a:pt x="74" y="371"/>
                  <a:pt x="74" y="367"/>
                  <a:pt x="74" y="369"/>
                </a:cubicBezTo>
                <a:close/>
                <a:moveTo>
                  <a:pt x="57" y="427"/>
                </a:moveTo>
                <a:cubicBezTo>
                  <a:pt x="55" y="426"/>
                  <a:pt x="55" y="426"/>
                  <a:pt x="56" y="423"/>
                </a:cubicBezTo>
                <a:cubicBezTo>
                  <a:pt x="57" y="424"/>
                  <a:pt x="60" y="430"/>
                  <a:pt x="57" y="427"/>
                </a:cubicBezTo>
                <a:close/>
                <a:moveTo>
                  <a:pt x="58" y="394"/>
                </a:moveTo>
                <a:cubicBezTo>
                  <a:pt x="58" y="395"/>
                  <a:pt x="57" y="395"/>
                  <a:pt x="57" y="395"/>
                </a:cubicBezTo>
                <a:cubicBezTo>
                  <a:pt x="57" y="395"/>
                  <a:pt x="57" y="393"/>
                  <a:pt x="58" y="394"/>
                </a:cubicBezTo>
                <a:close/>
                <a:moveTo>
                  <a:pt x="60" y="383"/>
                </a:moveTo>
                <a:cubicBezTo>
                  <a:pt x="60" y="384"/>
                  <a:pt x="59" y="382"/>
                  <a:pt x="59" y="382"/>
                </a:cubicBezTo>
                <a:cubicBezTo>
                  <a:pt x="60" y="381"/>
                  <a:pt x="60" y="382"/>
                  <a:pt x="60" y="383"/>
                </a:cubicBezTo>
                <a:close/>
                <a:moveTo>
                  <a:pt x="62" y="438"/>
                </a:moveTo>
                <a:cubicBezTo>
                  <a:pt x="61" y="439"/>
                  <a:pt x="61" y="436"/>
                  <a:pt x="61" y="436"/>
                </a:cubicBezTo>
                <a:cubicBezTo>
                  <a:pt x="62" y="435"/>
                  <a:pt x="63" y="437"/>
                  <a:pt x="62" y="438"/>
                </a:cubicBezTo>
                <a:close/>
                <a:moveTo>
                  <a:pt x="63" y="434"/>
                </a:moveTo>
                <a:cubicBezTo>
                  <a:pt x="64" y="434"/>
                  <a:pt x="64" y="435"/>
                  <a:pt x="64" y="435"/>
                </a:cubicBezTo>
                <a:cubicBezTo>
                  <a:pt x="63" y="436"/>
                  <a:pt x="62" y="433"/>
                  <a:pt x="63" y="434"/>
                </a:cubicBezTo>
                <a:close/>
                <a:moveTo>
                  <a:pt x="63" y="409"/>
                </a:moveTo>
                <a:cubicBezTo>
                  <a:pt x="62" y="410"/>
                  <a:pt x="62" y="407"/>
                  <a:pt x="63" y="409"/>
                </a:cubicBezTo>
                <a:close/>
                <a:moveTo>
                  <a:pt x="64" y="436"/>
                </a:moveTo>
                <a:cubicBezTo>
                  <a:pt x="65" y="437"/>
                  <a:pt x="63" y="438"/>
                  <a:pt x="64" y="436"/>
                </a:cubicBezTo>
                <a:close/>
                <a:moveTo>
                  <a:pt x="66" y="438"/>
                </a:moveTo>
                <a:cubicBezTo>
                  <a:pt x="66" y="439"/>
                  <a:pt x="65" y="437"/>
                  <a:pt x="65" y="437"/>
                </a:cubicBezTo>
                <a:cubicBezTo>
                  <a:pt x="66" y="437"/>
                  <a:pt x="66" y="437"/>
                  <a:pt x="66" y="438"/>
                </a:cubicBezTo>
                <a:close/>
                <a:moveTo>
                  <a:pt x="67" y="426"/>
                </a:moveTo>
                <a:cubicBezTo>
                  <a:pt x="68" y="426"/>
                  <a:pt x="68" y="427"/>
                  <a:pt x="68" y="428"/>
                </a:cubicBezTo>
                <a:cubicBezTo>
                  <a:pt x="67" y="428"/>
                  <a:pt x="67" y="426"/>
                  <a:pt x="67" y="426"/>
                </a:cubicBezTo>
                <a:close/>
                <a:moveTo>
                  <a:pt x="68" y="438"/>
                </a:moveTo>
                <a:cubicBezTo>
                  <a:pt x="67" y="439"/>
                  <a:pt x="70" y="438"/>
                  <a:pt x="68" y="438"/>
                </a:cubicBezTo>
                <a:close/>
                <a:moveTo>
                  <a:pt x="69" y="428"/>
                </a:moveTo>
                <a:cubicBezTo>
                  <a:pt x="70" y="428"/>
                  <a:pt x="70" y="429"/>
                  <a:pt x="70" y="430"/>
                </a:cubicBezTo>
                <a:cubicBezTo>
                  <a:pt x="70" y="431"/>
                  <a:pt x="69" y="429"/>
                  <a:pt x="69" y="428"/>
                </a:cubicBezTo>
                <a:close/>
                <a:moveTo>
                  <a:pt x="70" y="403"/>
                </a:moveTo>
                <a:cubicBezTo>
                  <a:pt x="70" y="401"/>
                  <a:pt x="70" y="404"/>
                  <a:pt x="70" y="403"/>
                </a:cubicBezTo>
                <a:close/>
                <a:moveTo>
                  <a:pt x="72" y="435"/>
                </a:moveTo>
                <a:cubicBezTo>
                  <a:pt x="70" y="436"/>
                  <a:pt x="70" y="433"/>
                  <a:pt x="71" y="433"/>
                </a:cubicBezTo>
                <a:cubicBezTo>
                  <a:pt x="72" y="432"/>
                  <a:pt x="73" y="434"/>
                  <a:pt x="72" y="435"/>
                </a:cubicBezTo>
                <a:close/>
                <a:moveTo>
                  <a:pt x="72" y="432"/>
                </a:moveTo>
                <a:cubicBezTo>
                  <a:pt x="71" y="431"/>
                  <a:pt x="71" y="430"/>
                  <a:pt x="70" y="429"/>
                </a:cubicBezTo>
                <a:cubicBezTo>
                  <a:pt x="71" y="430"/>
                  <a:pt x="72" y="431"/>
                  <a:pt x="72" y="432"/>
                </a:cubicBezTo>
                <a:close/>
                <a:moveTo>
                  <a:pt x="70" y="364"/>
                </a:moveTo>
                <a:cubicBezTo>
                  <a:pt x="68" y="366"/>
                  <a:pt x="67" y="361"/>
                  <a:pt x="69" y="360"/>
                </a:cubicBezTo>
                <a:cubicBezTo>
                  <a:pt x="70" y="360"/>
                  <a:pt x="71" y="363"/>
                  <a:pt x="70" y="364"/>
                </a:cubicBezTo>
                <a:close/>
                <a:moveTo>
                  <a:pt x="68" y="340"/>
                </a:moveTo>
                <a:cubicBezTo>
                  <a:pt x="71" y="345"/>
                  <a:pt x="67" y="346"/>
                  <a:pt x="68" y="340"/>
                </a:cubicBezTo>
                <a:close/>
                <a:moveTo>
                  <a:pt x="69" y="393"/>
                </a:moveTo>
                <a:cubicBezTo>
                  <a:pt x="70" y="394"/>
                  <a:pt x="70" y="395"/>
                  <a:pt x="69" y="395"/>
                </a:cubicBezTo>
                <a:cubicBezTo>
                  <a:pt x="67" y="397"/>
                  <a:pt x="67" y="390"/>
                  <a:pt x="69" y="393"/>
                </a:cubicBezTo>
                <a:close/>
                <a:moveTo>
                  <a:pt x="66" y="377"/>
                </a:moveTo>
                <a:cubicBezTo>
                  <a:pt x="67" y="377"/>
                  <a:pt x="68" y="378"/>
                  <a:pt x="67" y="379"/>
                </a:cubicBezTo>
                <a:cubicBezTo>
                  <a:pt x="66" y="380"/>
                  <a:pt x="65" y="377"/>
                  <a:pt x="66" y="377"/>
                </a:cubicBezTo>
                <a:close/>
                <a:moveTo>
                  <a:pt x="65" y="423"/>
                </a:moveTo>
                <a:cubicBezTo>
                  <a:pt x="65" y="424"/>
                  <a:pt x="64" y="420"/>
                  <a:pt x="65" y="420"/>
                </a:cubicBezTo>
                <a:cubicBezTo>
                  <a:pt x="66" y="420"/>
                  <a:pt x="66" y="422"/>
                  <a:pt x="65" y="423"/>
                </a:cubicBezTo>
                <a:close/>
                <a:moveTo>
                  <a:pt x="65" y="406"/>
                </a:moveTo>
                <a:cubicBezTo>
                  <a:pt x="65" y="407"/>
                  <a:pt x="65" y="405"/>
                  <a:pt x="64" y="404"/>
                </a:cubicBezTo>
                <a:cubicBezTo>
                  <a:pt x="66" y="404"/>
                  <a:pt x="65" y="406"/>
                  <a:pt x="65" y="406"/>
                </a:cubicBezTo>
                <a:close/>
                <a:moveTo>
                  <a:pt x="65" y="377"/>
                </a:moveTo>
                <a:cubicBezTo>
                  <a:pt x="65" y="377"/>
                  <a:pt x="65" y="378"/>
                  <a:pt x="65" y="378"/>
                </a:cubicBezTo>
                <a:cubicBezTo>
                  <a:pt x="64" y="380"/>
                  <a:pt x="63" y="376"/>
                  <a:pt x="65" y="377"/>
                </a:cubicBezTo>
                <a:close/>
                <a:moveTo>
                  <a:pt x="62" y="377"/>
                </a:moveTo>
                <a:cubicBezTo>
                  <a:pt x="64" y="376"/>
                  <a:pt x="65" y="381"/>
                  <a:pt x="63" y="382"/>
                </a:cubicBezTo>
                <a:cubicBezTo>
                  <a:pt x="61" y="384"/>
                  <a:pt x="61" y="378"/>
                  <a:pt x="62" y="377"/>
                </a:cubicBezTo>
                <a:close/>
                <a:moveTo>
                  <a:pt x="61" y="384"/>
                </a:moveTo>
                <a:cubicBezTo>
                  <a:pt x="61" y="384"/>
                  <a:pt x="62" y="386"/>
                  <a:pt x="62" y="387"/>
                </a:cubicBezTo>
                <a:cubicBezTo>
                  <a:pt x="61" y="388"/>
                  <a:pt x="60" y="384"/>
                  <a:pt x="61" y="384"/>
                </a:cubicBezTo>
                <a:close/>
                <a:moveTo>
                  <a:pt x="59" y="359"/>
                </a:moveTo>
                <a:cubicBezTo>
                  <a:pt x="60" y="358"/>
                  <a:pt x="61" y="362"/>
                  <a:pt x="60" y="362"/>
                </a:cubicBezTo>
                <a:cubicBezTo>
                  <a:pt x="58" y="363"/>
                  <a:pt x="58" y="359"/>
                  <a:pt x="59" y="359"/>
                </a:cubicBezTo>
                <a:close/>
                <a:moveTo>
                  <a:pt x="57" y="368"/>
                </a:moveTo>
                <a:cubicBezTo>
                  <a:pt x="58" y="368"/>
                  <a:pt x="58" y="370"/>
                  <a:pt x="57" y="370"/>
                </a:cubicBezTo>
                <a:cubicBezTo>
                  <a:pt x="56" y="371"/>
                  <a:pt x="56" y="367"/>
                  <a:pt x="57" y="368"/>
                </a:cubicBezTo>
                <a:close/>
                <a:moveTo>
                  <a:pt x="57" y="352"/>
                </a:moveTo>
                <a:cubicBezTo>
                  <a:pt x="57" y="354"/>
                  <a:pt x="56" y="354"/>
                  <a:pt x="56" y="352"/>
                </a:cubicBezTo>
                <a:cubicBezTo>
                  <a:pt x="56" y="352"/>
                  <a:pt x="56" y="352"/>
                  <a:pt x="57" y="352"/>
                </a:cubicBezTo>
                <a:close/>
                <a:moveTo>
                  <a:pt x="57" y="422"/>
                </a:moveTo>
                <a:cubicBezTo>
                  <a:pt x="56" y="423"/>
                  <a:pt x="55" y="421"/>
                  <a:pt x="56" y="421"/>
                </a:cubicBezTo>
                <a:cubicBezTo>
                  <a:pt x="56" y="420"/>
                  <a:pt x="57" y="421"/>
                  <a:pt x="57" y="422"/>
                </a:cubicBezTo>
                <a:close/>
                <a:moveTo>
                  <a:pt x="55" y="396"/>
                </a:moveTo>
                <a:cubicBezTo>
                  <a:pt x="55" y="396"/>
                  <a:pt x="56" y="397"/>
                  <a:pt x="56" y="398"/>
                </a:cubicBezTo>
                <a:cubicBezTo>
                  <a:pt x="55" y="399"/>
                  <a:pt x="54" y="397"/>
                  <a:pt x="55" y="396"/>
                </a:cubicBezTo>
                <a:close/>
                <a:moveTo>
                  <a:pt x="53" y="387"/>
                </a:moveTo>
                <a:cubicBezTo>
                  <a:pt x="53" y="387"/>
                  <a:pt x="54" y="388"/>
                  <a:pt x="53" y="389"/>
                </a:cubicBezTo>
                <a:cubicBezTo>
                  <a:pt x="52" y="390"/>
                  <a:pt x="51" y="387"/>
                  <a:pt x="53" y="387"/>
                </a:cubicBezTo>
                <a:close/>
                <a:moveTo>
                  <a:pt x="13" y="370"/>
                </a:moveTo>
                <a:cubicBezTo>
                  <a:pt x="14" y="371"/>
                  <a:pt x="12" y="371"/>
                  <a:pt x="13" y="370"/>
                </a:cubicBezTo>
                <a:close/>
                <a:moveTo>
                  <a:pt x="49" y="418"/>
                </a:moveTo>
                <a:cubicBezTo>
                  <a:pt x="51" y="418"/>
                  <a:pt x="49" y="420"/>
                  <a:pt x="49" y="418"/>
                </a:cubicBezTo>
                <a:close/>
                <a:moveTo>
                  <a:pt x="51" y="423"/>
                </a:moveTo>
                <a:cubicBezTo>
                  <a:pt x="50" y="424"/>
                  <a:pt x="51" y="419"/>
                  <a:pt x="51" y="423"/>
                </a:cubicBezTo>
                <a:cubicBezTo>
                  <a:pt x="51" y="423"/>
                  <a:pt x="51" y="423"/>
                  <a:pt x="51" y="423"/>
                </a:cubicBezTo>
                <a:close/>
                <a:moveTo>
                  <a:pt x="51" y="402"/>
                </a:moveTo>
                <a:cubicBezTo>
                  <a:pt x="50" y="402"/>
                  <a:pt x="50" y="401"/>
                  <a:pt x="50" y="401"/>
                </a:cubicBezTo>
                <a:cubicBezTo>
                  <a:pt x="51" y="401"/>
                  <a:pt x="51" y="401"/>
                  <a:pt x="51" y="402"/>
                </a:cubicBezTo>
                <a:close/>
                <a:moveTo>
                  <a:pt x="50" y="364"/>
                </a:moveTo>
                <a:cubicBezTo>
                  <a:pt x="49" y="365"/>
                  <a:pt x="49" y="361"/>
                  <a:pt x="50" y="361"/>
                </a:cubicBezTo>
                <a:cubicBezTo>
                  <a:pt x="50" y="360"/>
                  <a:pt x="51" y="363"/>
                  <a:pt x="50" y="364"/>
                </a:cubicBezTo>
                <a:close/>
                <a:moveTo>
                  <a:pt x="50" y="340"/>
                </a:moveTo>
                <a:cubicBezTo>
                  <a:pt x="50" y="340"/>
                  <a:pt x="51" y="341"/>
                  <a:pt x="50" y="342"/>
                </a:cubicBezTo>
                <a:cubicBezTo>
                  <a:pt x="50" y="343"/>
                  <a:pt x="50" y="341"/>
                  <a:pt x="50" y="340"/>
                </a:cubicBezTo>
                <a:close/>
                <a:moveTo>
                  <a:pt x="45" y="343"/>
                </a:moveTo>
                <a:cubicBezTo>
                  <a:pt x="43" y="342"/>
                  <a:pt x="45" y="340"/>
                  <a:pt x="45" y="343"/>
                </a:cubicBezTo>
                <a:close/>
                <a:moveTo>
                  <a:pt x="33" y="345"/>
                </a:moveTo>
                <a:cubicBezTo>
                  <a:pt x="33" y="345"/>
                  <a:pt x="33" y="346"/>
                  <a:pt x="33" y="346"/>
                </a:cubicBezTo>
                <a:cubicBezTo>
                  <a:pt x="31" y="346"/>
                  <a:pt x="35" y="343"/>
                  <a:pt x="33" y="345"/>
                </a:cubicBezTo>
                <a:close/>
                <a:moveTo>
                  <a:pt x="32" y="346"/>
                </a:moveTo>
                <a:cubicBezTo>
                  <a:pt x="31" y="347"/>
                  <a:pt x="35" y="345"/>
                  <a:pt x="34" y="345"/>
                </a:cubicBezTo>
                <a:cubicBezTo>
                  <a:pt x="35" y="345"/>
                  <a:pt x="38" y="351"/>
                  <a:pt x="37" y="355"/>
                </a:cubicBezTo>
                <a:cubicBezTo>
                  <a:pt x="37" y="354"/>
                  <a:pt x="34" y="356"/>
                  <a:pt x="34" y="357"/>
                </a:cubicBezTo>
                <a:cubicBezTo>
                  <a:pt x="33" y="356"/>
                  <a:pt x="30" y="349"/>
                  <a:pt x="32" y="346"/>
                </a:cubicBezTo>
                <a:close/>
                <a:moveTo>
                  <a:pt x="31" y="370"/>
                </a:moveTo>
                <a:cubicBezTo>
                  <a:pt x="32" y="370"/>
                  <a:pt x="32" y="371"/>
                  <a:pt x="32" y="372"/>
                </a:cubicBezTo>
                <a:cubicBezTo>
                  <a:pt x="32" y="373"/>
                  <a:pt x="30" y="370"/>
                  <a:pt x="31" y="370"/>
                </a:cubicBezTo>
                <a:close/>
                <a:moveTo>
                  <a:pt x="16" y="392"/>
                </a:moveTo>
                <a:cubicBezTo>
                  <a:pt x="15" y="391"/>
                  <a:pt x="14" y="386"/>
                  <a:pt x="14" y="383"/>
                </a:cubicBezTo>
                <a:cubicBezTo>
                  <a:pt x="14" y="383"/>
                  <a:pt x="14" y="384"/>
                  <a:pt x="14" y="384"/>
                </a:cubicBezTo>
                <a:cubicBezTo>
                  <a:pt x="15" y="387"/>
                  <a:pt x="17" y="389"/>
                  <a:pt x="16" y="392"/>
                </a:cubicBezTo>
                <a:close/>
                <a:moveTo>
                  <a:pt x="20" y="381"/>
                </a:moveTo>
                <a:cubicBezTo>
                  <a:pt x="15" y="383"/>
                  <a:pt x="12" y="373"/>
                  <a:pt x="15" y="371"/>
                </a:cubicBezTo>
                <a:cubicBezTo>
                  <a:pt x="18" y="370"/>
                  <a:pt x="25" y="379"/>
                  <a:pt x="20" y="381"/>
                </a:cubicBezTo>
                <a:close/>
                <a:moveTo>
                  <a:pt x="21" y="396"/>
                </a:moveTo>
                <a:cubicBezTo>
                  <a:pt x="23" y="396"/>
                  <a:pt x="21" y="398"/>
                  <a:pt x="21" y="396"/>
                </a:cubicBezTo>
                <a:close/>
                <a:moveTo>
                  <a:pt x="22" y="368"/>
                </a:moveTo>
                <a:cubicBezTo>
                  <a:pt x="20" y="369"/>
                  <a:pt x="17" y="364"/>
                  <a:pt x="19" y="363"/>
                </a:cubicBezTo>
                <a:cubicBezTo>
                  <a:pt x="19" y="363"/>
                  <a:pt x="20" y="362"/>
                  <a:pt x="20" y="362"/>
                </a:cubicBezTo>
                <a:cubicBezTo>
                  <a:pt x="23" y="361"/>
                  <a:pt x="24" y="367"/>
                  <a:pt x="22" y="368"/>
                </a:cubicBezTo>
                <a:close/>
                <a:moveTo>
                  <a:pt x="23" y="397"/>
                </a:moveTo>
                <a:cubicBezTo>
                  <a:pt x="24" y="398"/>
                  <a:pt x="23" y="401"/>
                  <a:pt x="23" y="397"/>
                </a:cubicBezTo>
                <a:close/>
                <a:moveTo>
                  <a:pt x="27" y="376"/>
                </a:moveTo>
                <a:cubicBezTo>
                  <a:pt x="28" y="375"/>
                  <a:pt x="31" y="380"/>
                  <a:pt x="29" y="381"/>
                </a:cubicBezTo>
                <a:cubicBezTo>
                  <a:pt x="27" y="382"/>
                  <a:pt x="26" y="377"/>
                  <a:pt x="27" y="376"/>
                </a:cubicBezTo>
                <a:close/>
                <a:moveTo>
                  <a:pt x="26" y="382"/>
                </a:moveTo>
                <a:cubicBezTo>
                  <a:pt x="26" y="382"/>
                  <a:pt x="27" y="382"/>
                  <a:pt x="27" y="383"/>
                </a:cubicBezTo>
                <a:cubicBezTo>
                  <a:pt x="27" y="383"/>
                  <a:pt x="26" y="383"/>
                  <a:pt x="26" y="382"/>
                </a:cubicBezTo>
                <a:close/>
                <a:moveTo>
                  <a:pt x="33" y="400"/>
                </a:moveTo>
                <a:cubicBezTo>
                  <a:pt x="34" y="403"/>
                  <a:pt x="32" y="404"/>
                  <a:pt x="33" y="400"/>
                </a:cubicBezTo>
                <a:close/>
                <a:moveTo>
                  <a:pt x="34" y="395"/>
                </a:moveTo>
                <a:cubicBezTo>
                  <a:pt x="32" y="396"/>
                  <a:pt x="29" y="395"/>
                  <a:pt x="28" y="393"/>
                </a:cubicBezTo>
                <a:cubicBezTo>
                  <a:pt x="28" y="393"/>
                  <a:pt x="29" y="392"/>
                  <a:pt x="29" y="391"/>
                </a:cubicBezTo>
                <a:cubicBezTo>
                  <a:pt x="28" y="389"/>
                  <a:pt x="26" y="390"/>
                  <a:pt x="28" y="388"/>
                </a:cubicBezTo>
                <a:cubicBezTo>
                  <a:pt x="30" y="387"/>
                  <a:pt x="27" y="387"/>
                  <a:pt x="29" y="386"/>
                </a:cubicBezTo>
                <a:cubicBezTo>
                  <a:pt x="30" y="386"/>
                  <a:pt x="31" y="382"/>
                  <a:pt x="33" y="382"/>
                </a:cubicBezTo>
                <a:cubicBezTo>
                  <a:pt x="34" y="382"/>
                  <a:pt x="34" y="385"/>
                  <a:pt x="35" y="385"/>
                </a:cubicBezTo>
                <a:cubicBezTo>
                  <a:pt x="38" y="386"/>
                  <a:pt x="35" y="385"/>
                  <a:pt x="36" y="387"/>
                </a:cubicBezTo>
                <a:cubicBezTo>
                  <a:pt x="36" y="387"/>
                  <a:pt x="38" y="388"/>
                  <a:pt x="38" y="388"/>
                </a:cubicBezTo>
                <a:cubicBezTo>
                  <a:pt x="38" y="390"/>
                  <a:pt x="36" y="395"/>
                  <a:pt x="34" y="395"/>
                </a:cubicBezTo>
                <a:close/>
                <a:moveTo>
                  <a:pt x="39" y="373"/>
                </a:moveTo>
                <a:cubicBezTo>
                  <a:pt x="40" y="374"/>
                  <a:pt x="40" y="375"/>
                  <a:pt x="40" y="376"/>
                </a:cubicBezTo>
                <a:cubicBezTo>
                  <a:pt x="38" y="377"/>
                  <a:pt x="37" y="373"/>
                  <a:pt x="39" y="373"/>
                </a:cubicBezTo>
                <a:close/>
                <a:moveTo>
                  <a:pt x="39" y="406"/>
                </a:moveTo>
                <a:cubicBezTo>
                  <a:pt x="40" y="406"/>
                  <a:pt x="38" y="408"/>
                  <a:pt x="39" y="406"/>
                </a:cubicBezTo>
                <a:close/>
                <a:moveTo>
                  <a:pt x="40" y="384"/>
                </a:moveTo>
                <a:cubicBezTo>
                  <a:pt x="40" y="384"/>
                  <a:pt x="41" y="385"/>
                  <a:pt x="40" y="386"/>
                </a:cubicBezTo>
                <a:cubicBezTo>
                  <a:pt x="40" y="386"/>
                  <a:pt x="39" y="385"/>
                  <a:pt x="40" y="384"/>
                </a:cubicBezTo>
                <a:close/>
                <a:moveTo>
                  <a:pt x="42" y="412"/>
                </a:moveTo>
                <a:cubicBezTo>
                  <a:pt x="41" y="414"/>
                  <a:pt x="40" y="411"/>
                  <a:pt x="41" y="411"/>
                </a:cubicBezTo>
                <a:cubicBezTo>
                  <a:pt x="41" y="411"/>
                  <a:pt x="42" y="411"/>
                  <a:pt x="42" y="412"/>
                </a:cubicBezTo>
                <a:close/>
                <a:moveTo>
                  <a:pt x="43" y="354"/>
                </a:moveTo>
                <a:cubicBezTo>
                  <a:pt x="43" y="355"/>
                  <a:pt x="42" y="353"/>
                  <a:pt x="43" y="353"/>
                </a:cubicBezTo>
                <a:cubicBezTo>
                  <a:pt x="43" y="353"/>
                  <a:pt x="44" y="354"/>
                  <a:pt x="43" y="354"/>
                </a:cubicBezTo>
                <a:close/>
                <a:moveTo>
                  <a:pt x="45" y="344"/>
                </a:moveTo>
                <a:cubicBezTo>
                  <a:pt x="45" y="344"/>
                  <a:pt x="47" y="345"/>
                  <a:pt x="48" y="344"/>
                </a:cubicBezTo>
                <a:cubicBezTo>
                  <a:pt x="46" y="345"/>
                  <a:pt x="50" y="347"/>
                  <a:pt x="50" y="348"/>
                </a:cubicBezTo>
                <a:cubicBezTo>
                  <a:pt x="50" y="349"/>
                  <a:pt x="50" y="355"/>
                  <a:pt x="46" y="354"/>
                </a:cubicBezTo>
                <a:cubicBezTo>
                  <a:pt x="43" y="353"/>
                  <a:pt x="43" y="346"/>
                  <a:pt x="45" y="344"/>
                </a:cubicBezTo>
                <a:close/>
                <a:moveTo>
                  <a:pt x="48" y="390"/>
                </a:moveTo>
                <a:cubicBezTo>
                  <a:pt x="49" y="390"/>
                  <a:pt x="47" y="392"/>
                  <a:pt x="48" y="390"/>
                </a:cubicBezTo>
                <a:close/>
                <a:moveTo>
                  <a:pt x="48" y="406"/>
                </a:moveTo>
                <a:cubicBezTo>
                  <a:pt x="47" y="407"/>
                  <a:pt x="47" y="405"/>
                  <a:pt x="48" y="404"/>
                </a:cubicBezTo>
                <a:cubicBezTo>
                  <a:pt x="48" y="404"/>
                  <a:pt x="48" y="405"/>
                  <a:pt x="48" y="406"/>
                </a:cubicBezTo>
                <a:close/>
                <a:moveTo>
                  <a:pt x="46" y="416"/>
                </a:moveTo>
                <a:cubicBezTo>
                  <a:pt x="47" y="417"/>
                  <a:pt x="47" y="418"/>
                  <a:pt x="48" y="419"/>
                </a:cubicBezTo>
                <a:cubicBezTo>
                  <a:pt x="46" y="419"/>
                  <a:pt x="47" y="417"/>
                  <a:pt x="46" y="416"/>
                </a:cubicBezTo>
                <a:close/>
                <a:moveTo>
                  <a:pt x="45" y="412"/>
                </a:moveTo>
                <a:cubicBezTo>
                  <a:pt x="46" y="411"/>
                  <a:pt x="45" y="410"/>
                  <a:pt x="45" y="410"/>
                </a:cubicBezTo>
                <a:cubicBezTo>
                  <a:pt x="47" y="409"/>
                  <a:pt x="46" y="411"/>
                  <a:pt x="48" y="412"/>
                </a:cubicBezTo>
                <a:cubicBezTo>
                  <a:pt x="48" y="412"/>
                  <a:pt x="49" y="412"/>
                  <a:pt x="49" y="412"/>
                </a:cubicBezTo>
                <a:cubicBezTo>
                  <a:pt x="50" y="414"/>
                  <a:pt x="49" y="416"/>
                  <a:pt x="48" y="416"/>
                </a:cubicBezTo>
                <a:cubicBezTo>
                  <a:pt x="45" y="417"/>
                  <a:pt x="44" y="414"/>
                  <a:pt x="45" y="412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209" name="Rectangle 208">
            <a:extLst>
              <a:ext uri="{FF2B5EF4-FFF2-40B4-BE49-F238E27FC236}">
                <a16:creationId xmlns="" xmlns:a16="http://schemas.microsoft.com/office/drawing/2014/main" id="{F19BBED1-42EE-4266-9F71-A6EC83A7D148}"/>
              </a:ext>
            </a:extLst>
          </p:cNvPr>
          <p:cNvSpPr/>
          <p:nvPr/>
        </p:nvSpPr>
        <p:spPr>
          <a:xfrm>
            <a:off x="6566717" y="3812875"/>
            <a:ext cx="20201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AREHOUSING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211" name="Rectangle 210">
            <a:extLst>
              <a:ext uri="{FF2B5EF4-FFF2-40B4-BE49-F238E27FC236}">
                <a16:creationId xmlns="" xmlns:a16="http://schemas.microsoft.com/office/drawing/2014/main" id="{99A948FE-1DA8-4F82-B842-680FB4EE9E20}"/>
              </a:ext>
            </a:extLst>
          </p:cNvPr>
          <p:cNvSpPr/>
          <p:nvPr/>
        </p:nvSpPr>
        <p:spPr>
          <a:xfrm>
            <a:off x="6566717" y="4264049"/>
            <a:ext cx="2029127" cy="15081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lo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l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213" name="Freeform 140">
            <a:extLst>
              <a:ext uri="{FF2B5EF4-FFF2-40B4-BE49-F238E27FC236}">
                <a16:creationId xmlns="" xmlns:a16="http://schemas.microsoft.com/office/drawing/2014/main" id="{5ECDC1CE-E2DC-4A95-95BA-716EEF5A9EF5}"/>
              </a:ext>
            </a:extLst>
          </p:cNvPr>
          <p:cNvSpPr>
            <a:spLocks noEditPoints="1"/>
          </p:cNvSpPr>
          <p:nvPr/>
        </p:nvSpPr>
        <p:spPr bwMode="auto">
          <a:xfrm>
            <a:off x="9537278" y="1707772"/>
            <a:ext cx="2029127" cy="1930777"/>
          </a:xfrm>
          <a:custGeom>
            <a:avLst/>
            <a:gdLst>
              <a:gd name="T0" fmla="*/ 138 w 832"/>
              <a:gd name="T1" fmla="*/ 476 h 793"/>
              <a:gd name="T2" fmla="*/ 201 w 832"/>
              <a:gd name="T3" fmla="*/ 469 h 793"/>
              <a:gd name="T4" fmla="*/ 181 w 832"/>
              <a:gd name="T5" fmla="*/ 508 h 793"/>
              <a:gd name="T6" fmla="*/ 228 w 832"/>
              <a:gd name="T7" fmla="*/ 531 h 793"/>
              <a:gd name="T8" fmla="*/ 299 w 832"/>
              <a:gd name="T9" fmla="*/ 524 h 793"/>
              <a:gd name="T10" fmla="*/ 313 w 832"/>
              <a:gd name="T11" fmla="*/ 582 h 793"/>
              <a:gd name="T12" fmla="*/ 386 w 832"/>
              <a:gd name="T13" fmla="*/ 657 h 793"/>
              <a:gd name="T14" fmla="*/ 377 w 832"/>
              <a:gd name="T15" fmla="*/ 733 h 793"/>
              <a:gd name="T16" fmla="*/ 730 w 832"/>
              <a:gd name="T17" fmla="*/ 282 h 793"/>
              <a:gd name="T18" fmla="*/ 710 w 832"/>
              <a:gd name="T19" fmla="*/ 255 h 793"/>
              <a:gd name="T20" fmla="*/ 636 w 832"/>
              <a:gd name="T21" fmla="*/ 285 h 793"/>
              <a:gd name="T22" fmla="*/ 609 w 832"/>
              <a:gd name="T23" fmla="*/ 220 h 793"/>
              <a:gd name="T24" fmla="*/ 513 w 832"/>
              <a:gd name="T25" fmla="*/ 163 h 793"/>
              <a:gd name="T26" fmla="*/ 489 w 832"/>
              <a:gd name="T27" fmla="*/ 92 h 793"/>
              <a:gd name="T28" fmla="*/ 475 w 832"/>
              <a:gd name="T29" fmla="*/ 43 h 793"/>
              <a:gd name="T30" fmla="*/ 354 w 832"/>
              <a:gd name="T31" fmla="*/ 39 h 793"/>
              <a:gd name="T32" fmla="*/ 277 w 832"/>
              <a:gd name="T33" fmla="*/ 496 h 793"/>
              <a:gd name="T34" fmla="*/ 815 w 832"/>
              <a:gd name="T35" fmla="*/ 374 h 793"/>
              <a:gd name="T36" fmla="*/ 776 w 832"/>
              <a:gd name="T37" fmla="*/ 327 h 793"/>
              <a:gd name="T38" fmla="*/ 741 w 832"/>
              <a:gd name="T39" fmla="*/ 324 h 793"/>
              <a:gd name="T40" fmla="*/ 695 w 832"/>
              <a:gd name="T41" fmla="*/ 438 h 793"/>
              <a:gd name="T42" fmla="*/ 691 w 832"/>
              <a:gd name="T43" fmla="*/ 299 h 793"/>
              <a:gd name="T44" fmla="*/ 644 w 832"/>
              <a:gd name="T45" fmla="*/ 398 h 793"/>
              <a:gd name="T46" fmla="*/ 484 w 832"/>
              <a:gd name="T47" fmla="*/ 157 h 793"/>
              <a:gd name="T48" fmla="*/ 527 w 832"/>
              <a:gd name="T49" fmla="*/ 671 h 793"/>
              <a:gd name="T50" fmla="*/ 570 w 832"/>
              <a:gd name="T51" fmla="*/ 335 h 793"/>
              <a:gd name="T52" fmla="*/ 591 w 832"/>
              <a:gd name="T53" fmla="*/ 396 h 793"/>
              <a:gd name="T54" fmla="*/ 613 w 832"/>
              <a:gd name="T55" fmla="*/ 276 h 793"/>
              <a:gd name="T56" fmla="*/ 607 w 832"/>
              <a:gd name="T57" fmla="*/ 228 h 793"/>
              <a:gd name="T58" fmla="*/ 549 w 832"/>
              <a:gd name="T59" fmla="*/ 270 h 793"/>
              <a:gd name="T60" fmla="*/ 506 w 832"/>
              <a:gd name="T61" fmla="*/ 202 h 793"/>
              <a:gd name="T62" fmla="*/ 481 w 832"/>
              <a:gd name="T63" fmla="*/ 85 h 793"/>
              <a:gd name="T64" fmla="*/ 300 w 832"/>
              <a:gd name="T65" fmla="*/ 462 h 793"/>
              <a:gd name="T66" fmla="*/ 312 w 832"/>
              <a:gd name="T67" fmla="*/ 574 h 793"/>
              <a:gd name="T68" fmla="*/ 341 w 832"/>
              <a:gd name="T69" fmla="*/ 515 h 793"/>
              <a:gd name="T70" fmla="*/ 319 w 832"/>
              <a:gd name="T71" fmla="*/ 563 h 793"/>
              <a:gd name="T72" fmla="*/ 367 w 832"/>
              <a:gd name="T73" fmla="*/ 558 h 793"/>
              <a:gd name="T74" fmla="*/ 445 w 832"/>
              <a:gd name="T75" fmla="*/ 112 h 793"/>
              <a:gd name="T76" fmla="*/ 469 w 832"/>
              <a:gd name="T77" fmla="*/ 613 h 793"/>
              <a:gd name="T78" fmla="*/ 416 w 832"/>
              <a:gd name="T79" fmla="*/ 113 h 793"/>
              <a:gd name="T80" fmla="*/ 432 w 832"/>
              <a:gd name="T81" fmla="*/ 246 h 793"/>
              <a:gd name="T82" fmla="*/ 442 w 832"/>
              <a:gd name="T83" fmla="*/ 577 h 793"/>
              <a:gd name="T84" fmla="*/ 427 w 832"/>
              <a:gd name="T85" fmla="*/ 695 h 793"/>
              <a:gd name="T86" fmla="*/ 469 w 832"/>
              <a:gd name="T87" fmla="*/ 188 h 793"/>
              <a:gd name="T88" fmla="*/ 410 w 832"/>
              <a:gd name="T89" fmla="*/ 668 h 793"/>
              <a:gd name="T90" fmla="*/ 409 w 832"/>
              <a:gd name="T91" fmla="*/ 52 h 793"/>
              <a:gd name="T92" fmla="*/ 411 w 832"/>
              <a:gd name="T93" fmla="*/ 701 h 793"/>
              <a:gd name="T94" fmla="*/ 472 w 832"/>
              <a:gd name="T95" fmla="*/ 674 h 793"/>
              <a:gd name="T96" fmla="*/ 442 w 832"/>
              <a:gd name="T97" fmla="*/ 6 h 793"/>
              <a:gd name="T98" fmla="*/ 387 w 832"/>
              <a:gd name="T99" fmla="*/ 67 h 793"/>
              <a:gd name="T100" fmla="*/ 360 w 832"/>
              <a:gd name="T101" fmla="*/ 68 h 793"/>
              <a:gd name="T102" fmla="*/ 290 w 832"/>
              <a:gd name="T103" fmla="*/ 379 h 793"/>
              <a:gd name="T104" fmla="*/ 238 w 832"/>
              <a:gd name="T105" fmla="*/ 443 h 793"/>
              <a:gd name="T106" fmla="*/ 231 w 832"/>
              <a:gd name="T107" fmla="*/ 395 h 793"/>
              <a:gd name="T108" fmla="*/ 75 w 832"/>
              <a:gd name="T109" fmla="*/ 451 h 793"/>
              <a:gd name="T110" fmla="*/ 124 w 832"/>
              <a:gd name="T111" fmla="*/ 420 h 793"/>
              <a:gd name="T112" fmla="*/ 149 w 832"/>
              <a:gd name="T113" fmla="*/ 411 h 793"/>
              <a:gd name="T114" fmla="*/ 173 w 832"/>
              <a:gd name="T115" fmla="*/ 418 h 793"/>
              <a:gd name="T116" fmla="*/ 187 w 832"/>
              <a:gd name="T117" fmla="*/ 433 h 793"/>
              <a:gd name="T118" fmla="*/ 147 w 832"/>
              <a:gd name="T119" fmla="*/ 373 h 793"/>
              <a:gd name="T120" fmla="*/ 108 w 832"/>
              <a:gd name="T121" fmla="*/ 299 h 793"/>
              <a:gd name="T122" fmla="*/ 78 w 832"/>
              <a:gd name="T123" fmla="*/ 441 h 793"/>
              <a:gd name="T124" fmla="*/ 49 w 832"/>
              <a:gd name="T125" fmla="*/ 418 h 7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32" h="793">
                <a:moveTo>
                  <a:pt x="49" y="426"/>
                </a:moveTo>
                <a:cubicBezTo>
                  <a:pt x="70" y="447"/>
                  <a:pt x="70" y="447"/>
                  <a:pt x="70" y="447"/>
                </a:cubicBezTo>
                <a:cubicBezTo>
                  <a:pt x="71" y="445"/>
                  <a:pt x="72" y="443"/>
                  <a:pt x="73" y="446"/>
                </a:cubicBezTo>
                <a:cubicBezTo>
                  <a:pt x="73" y="446"/>
                  <a:pt x="74" y="448"/>
                  <a:pt x="72" y="449"/>
                </a:cubicBezTo>
                <a:cubicBezTo>
                  <a:pt x="72" y="449"/>
                  <a:pt x="72" y="449"/>
                  <a:pt x="72" y="449"/>
                </a:cubicBezTo>
                <a:cubicBezTo>
                  <a:pt x="76" y="453"/>
                  <a:pt x="76" y="453"/>
                  <a:pt x="76" y="453"/>
                </a:cubicBezTo>
                <a:cubicBezTo>
                  <a:pt x="76" y="451"/>
                  <a:pt x="76" y="449"/>
                  <a:pt x="76" y="449"/>
                </a:cubicBezTo>
                <a:cubicBezTo>
                  <a:pt x="77" y="449"/>
                  <a:pt x="78" y="450"/>
                  <a:pt x="78" y="451"/>
                </a:cubicBezTo>
                <a:cubicBezTo>
                  <a:pt x="78" y="451"/>
                  <a:pt x="78" y="451"/>
                  <a:pt x="78" y="451"/>
                </a:cubicBezTo>
                <a:cubicBezTo>
                  <a:pt x="79" y="452"/>
                  <a:pt x="78" y="454"/>
                  <a:pt x="78" y="455"/>
                </a:cubicBezTo>
                <a:cubicBezTo>
                  <a:pt x="80" y="457"/>
                  <a:pt x="80" y="457"/>
                  <a:pt x="80" y="457"/>
                </a:cubicBezTo>
                <a:cubicBezTo>
                  <a:pt x="80" y="457"/>
                  <a:pt x="80" y="457"/>
                  <a:pt x="80" y="457"/>
                </a:cubicBezTo>
                <a:cubicBezTo>
                  <a:pt x="80" y="457"/>
                  <a:pt x="80" y="457"/>
                  <a:pt x="80" y="457"/>
                </a:cubicBezTo>
                <a:cubicBezTo>
                  <a:pt x="80" y="457"/>
                  <a:pt x="80" y="457"/>
                  <a:pt x="80" y="457"/>
                </a:cubicBezTo>
                <a:cubicBezTo>
                  <a:pt x="81" y="458"/>
                  <a:pt x="83" y="459"/>
                  <a:pt x="83" y="460"/>
                </a:cubicBezTo>
                <a:cubicBezTo>
                  <a:pt x="83" y="460"/>
                  <a:pt x="84" y="460"/>
                  <a:pt x="84" y="460"/>
                </a:cubicBezTo>
                <a:cubicBezTo>
                  <a:pt x="88" y="465"/>
                  <a:pt x="88" y="465"/>
                  <a:pt x="88" y="465"/>
                </a:cubicBezTo>
                <a:cubicBezTo>
                  <a:pt x="88" y="464"/>
                  <a:pt x="88" y="463"/>
                  <a:pt x="88" y="463"/>
                </a:cubicBezTo>
                <a:cubicBezTo>
                  <a:pt x="88" y="464"/>
                  <a:pt x="88" y="464"/>
                  <a:pt x="88" y="465"/>
                </a:cubicBezTo>
                <a:cubicBezTo>
                  <a:pt x="90" y="467"/>
                  <a:pt x="90" y="467"/>
                  <a:pt x="90" y="467"/>
                </a:cubicBezTo>
                <a:cubicBezTo>
                  <a:pt x="90" y="463"/>
                  <a:pt x="97" y="464"/>
                  <a:pt x="96" y="468"/>
                </a:cubicBezTo>
                <a:cubicBezTo>
                  <a:pt x="96" y="468"/>
                  <a:pt x="95" y="469"/>
                  <a:pt x="95" y="469"/>
                </a:cubicBezTo>
                <a:cubicBezTo>
                  <a:pt x="95" y="470"/>
                  <a:pt x="96" y="472"/>
                  <a:pt x="96" y="473"/>
                </a:cubicBezTo>
                <a:cubicBezTo>
                  <a:pt x="98" y="475"/>
                  <a:pt x="98" y="475"/>
                  <a:pt x="98" y="475"/>
                </a:cubicBezTo>
                <a:cubicBezTo>
                  <a:pt x="98" y="473"/>
                  <a:pt x="98" y="471"/>
                  <a:pt x="99" y="471"/>
                </a:cubicBezTo>
                <a:cubicBezTo>
                  <a:pt x="99" y="471"/>
                  <a:pt x="100" y="472"/>
                  <a:pt x="101" y="471"/>
                </a:cubicBezTo>
                <a:cubicBezTo>
                  <a:pt x="102" y="471"/>
                  <a:pt x="101" y="469"/>
                  <a:pt x="102" y="466"/>
                </a:cubicBezTo>
                <a:cubicBezTo>
                  <a:pt x="102" y="465"/>
                  <a:pt x="104" y="464"/>
                  <a:pt x="103" y="463"/>
                </a:cubicBezTo>
                <a:cubicBezTo>
                  <a:pt x="104" y="462"/>
                  <a:pt x="104" y="463"/>
                  <a:pt x="105" y="463"/>
                </a:cubicBezTo>
                <a:cubicBezTo>
                  <a:pt x="104" y="462"/>
                  <a:pt x="104" y="462"/>
                  <a:pt x="104" y="461"/>
                </a:cubicBezTo>
                <a:cubicBezTo>
                  <a:pt x="104" y="461"/>
                  <a:pt x="104" y="461"/>
                  <a:pt x="103" y="461"/>
                </a:cubicBezTo>
                <a:cubicBezTo>
                  <a:pt x="101" y="464"/>
                  <a:pt x="99" y="462"/>
                  <a:pt x="97" y="459"/>
                </a:cubicBezTo>
                <a:cubicBezTo>
                  <a:pt x="96" y="459"/>
                  <a:pt x="96" y="458"/>
                  <a:pt x="96" y="458"/>
                </a:cubicBezTo>
                <a:cubicBezTo>
                  <a:pt x="96" y="457"/>
                  <a:pt x="96" y="456"/>
                  <a:pt x="96" y="455"/>
                </a:cubicBezTo>
                <a:cubicBezTo>
                  <a:pt x="97" y="457"/>
                  <a:pt x="97" y="456"/>
                  <a:pt x="97" y="456"/>
                </a:cubicBezTo>
                <a:cubicBezTo>
                  <a:pt x="95" y="457"/>
                  <a:pt x="98" y="448"/>
                  <a:pt x="97" y="446"/>
                </a:cubicBezTo>
                <a:cubicBezTo>
                  <a:pt x="96" y="445"/>
                  <a:pt x="95" y="445"/>
                  <a:pt x="95" y="445"/>
                </a:cubicBezTo>
                <a:cubicBezTo>
                  <a:pt x="95" y="444"/>
                  <a:pt x="95" y="437"/>
                  <a:pt x="96" y="436"/>
                </a:cubicBezTo>
                <a:cubicBezTo>
                  <a:pt x="96" y="436"/>
                  <a:pt x="98" y="434"/>
                  <a:pt x="98" y="434"/>
                </a:cubicBezTo>
                <a:cubicBezTo>
                  <a:pt x="98" y="434"/>
                  <a:pt x="98" y="433"/>
                  <a:pt x="99" y="433"/>
                </a:cubicBezTo>
                <a:cubicBezTo>
                  <a:pt x="100" y="432"/>
                  <a:pt x="102" y="436"/>
                  <a:pt x="103" y="440"/>
                </a:cubicBezTo>
                <a:cubicBezTo>
                  <a:pt x="103" y="440"/>
                  <a:pt x="103" y="440"/>
                  <a:pt x="103" y="440"/>
                </a:cubicBezTo>
                <a:cubicBezTo>
                  <a:pt x="103" y="440"/>
                  <a:pt x="103" y="440"/>
                  <a:pt x="103" y="440"/>
                </a:cubicBezTo>
                <a:cubicBezTo>
                  <a:pt x="104" y="440"/>
                  <a:pt x="104" y="441"/>
                  <a:pt x="104" y="442"/>
                </a:cubicBezTo>
                <a:cubicBezTo>
                  <a:pt x="105" y="444"/>
                  <a:pt x="107" y="445"/>
                  <a:pt x="108" y="443"/>
                </a:cubicBezTo>
                <a:cubicBezTo>
                  <a:pt x="107" y="444"/>
                  <a:pt x="106" y="440"/>
                  <a:pt x="107" y="440"/>
                </a:cubicBezTo>
                <a:cubicBezTo>
                  <a:pt x="108" y="440"/>
                  <a:pt x="110" y="446"/>
                  <a:pt x="112" y="445"/>
                </a:cubicBezTo>
                <a:cubicBezTo>
                  <a:pt x="111" y="445"/>
                  <a:pt x="113" y="442"/>
                  <a:pt x="113" y="442"/>
                </a:cubicBezTo>
                <a:cubicBezTo>
                  <a:pt x="114" y="442"/>
                  <a:pt x="114" y="445"/>
                  <a:pt x="115" y="446"/>
                </a:cubicBezTo>
                <a:cubicBezTo>
                  <a:pt x="116" y="446"/>
                  <a:pt x="116" y="446"/>
                  <a:pt x="116" y="446"/>
                </a:cubicBezTo>
                <a:cubicBezTo>
                  <a:pt x="117" y="446"/>
                  <a:pt x="117" y="446"/>
                  <a:pt x="118" y="446"/>
                </a:cubicBezTo>
                <a:cubicBezTo>
                  <a:pt x="118" y="445"/>
                  <a:pt x="117" y="444"/>
                  <a:pt x="119" y="444"/>
                </a:cubicBezTo>
                <a:cubicBezTo>
                  <a:pt x="117" y="443"/>
                  <a:pt x="117" y="442"/>
                  <a:pt x="116" y="440"/>
                </a:cubicBezTo>
                <a:cubicBezTo>
                  <a:pt x="117" y="442"/>
                  <a:pt x="119" y="442"/>
                  <a:pt x="119" y="443"/>
                </a:cubicBezTo>
                <a:cubicBezTo>
                  <a:pt x="120" y="445"/>
                  <a:pt x="119" y="443"/>
                  <a:pt x="121" y="440"/>
                </a:cubicBezTo>
                <a:cubicBezTo>
                  <a:pt x="120" y="440"/>
                  <a:pt x="120" y="441"/>
                  <a:pt x="119" y="441"/>
                </a:cubicBezTo>
                <a:cubicBezTo>
                  <a:pt x="114" y="441"/>
                  <a:pt x="118" y="433"/>
                  <a:pt x="121" y="436"/>
                </a:cubicBezTo>
                <a:cubicBezTo>
                  <a:pt x="122" y="436"/>
                  <a:pt x="121" y="440"/>
                  <a:pt x="121" y="440"/>
                </a:cubicBezTo>
                <a:cubicBezTo>
                  <a:pt x="122" y="442"/>
                  <a:pt x="123" y="441"/>
                  <a:pt x="125" y="441"/>
                </a:cubicBezTo>
                <a:cubicBezTo>
                  <a:pt x="125" y="442"/>
                  <a:pt x="124" y="443"/>
                  <a:pt x="125" y="444"/>
                </a:cubicBezTo>
                <a:cubicBezTo>
                  <a:pt x="125" y="445"/>
                  <a:pt x="126" y="444"/>
                  <a:pt x="126" y="444"/>
                </a:cubicBezTo>
                <a:cubicBezTo>
                  <a:pt x="128" y="445"/>
                  <a:pt x="128" y="451"/>
                  <a:pt x="129" y="450"/>
                </a:cubicBezTo>
                <a:cubicBezTo>
                  <a:pt x="129" y="450"/>
                  <a:pt x="129" y="450"/>
                  <a:pt x="129" y="451"/>
                </a:cubicBezTo>
                <a:cubicBezTo>
                  <a:pt x="129" y="451"/>
                  <a:pt x="129" y="451"/>
                  <a:pt x="130" y="451"/>
                </a:cubicBezTo>
                <a:cubicBezTo>
                  <a:pt x="130" y="451"/>
                  <a:pt x="130" y="451"/>
                  <a:pt x="130" y="451"/>
                </a:cubicBezTo>
                <a:cubicBezTo>
                  <a:pt x="130" y="451"/>
                  <a:pt x="129" y="451"/>
                  <a:pt x="129" y="451"/>
                </a:cubicBezTo>
                <a:cubicBezTo>
                  <a:pt x="128" y="452"/>
                  <a:pt x="126" y="454"/>
                  <a:pt x="124" y="455"/>
                </a:cubicBezTo>
                <a:cubicBezTo>
                  <a:pt x="124" y="456"/>
                  <a:pt x="124" y="457"/>
                  <a:pt x="123" y="457"/>
                </a:cubicBezTo>
                <a:cubicBezTo>
                  <a:pt x="121" y="456"/>
                  <a:pt x="123" y="453"/>
                  <a:pt x="121" y="454"/>
                </a:cubicBezTo>
                <a:cubicBezTo>
                  <a:pt x="117" y="455"/>
                  <a:pt x="122" y="462"/>
                  <a:pt x="126" y="460"/>
                </a:cubicBezTo>
                <a:cubicBezTo>
                  <a:pt x="126" y="462"/>
                  <a:pt x="125" y="464"/>
                  <a:pt x="123" y="465"/>
                </a:cubicBezTo>
                <a:cubicBezTo>
                  <a:pt x="124" y="465"/>
                  <a:pt x="125" y="466"/>
                  <a:pt x="124" y="467"/>
                </a:cubicBezTo>
                <a:cubicBezTo>
                  <a:pt x="123" y="468"/>
                  <a:pt x="122" y="466"/>
                  <a:pt x="123" y="466"/>
                </a:cubicBezTo>
                <a:cubicBezTo>
                  <a:pt x="122" y="466"/>
                  <a:pt x="122" y="466"/>
                  <a:pt x="121" y="467"/>
                </a:cubicBezTo>
                <a:cubicBezTo>
                  <a:pt x="122" y="467"/>
                  <a:pt x="122" y="467"/>
                  <a:pt x="122" y="468"/>
                </a:cubicBezTo>
                <a:cubicBezTo>
                  <a:pt x="121" y="468"/>
                  <a:pt x="121" y="467"/>
                  <a:pt x="121" y="467"/>
                </a:cubicBezTo>
                <a:cubicBezTo>
                  <a:pt x="121" y="467"/>
                  <a:pt x="120" y="467"/>
                  <a:pt x="120" y="467"/>
                </a:cubicBezTo>
                <a:cubicBezTo>
                  <a:pt x="121" y="467"/>
                  <a:pt x="121" y="469"/>
                  <a:pt x="121" y="471"/>
                </a:cubicBezTo>
                <a:cubicBezTo>
                  <a:pt x="121" y="471"/>
                  <a:pt x="121" y="471"/>
                  <a:pt x="121" y="471"/>
                </a:cubicBezTo>
                <a:cubicBezTo>
                  <a:pt x="122" y="471"/>
                  <a:pt x="122" y="472"/>
                  <a:pt x="122" y="472"/>
                </a:cubicBezTo>
                <a:cubicBezTo>
                  <a:pt x="122" y="472"/>
                  <a:pt x="122" y="472"/>
                  <a:pt x="122" y="472"/>
                </a:cubicBezTo>
                <a:cubicBezTo>
                  <a:pt x="122" y="472"/>
                  <a:pt x="122" y="473"/>
                  <a:pt x="122" y="473"/>
                </a:cubicBezTo>
                <a:cubicBezTo>
                  <a:pt x="123" y="474"/>
                  <a:pt x="123" y="473"/>
                  <a:pt x="123" y="472"/>
                </a:cubicBezTo>
                <a:cubicBezTo>
                  <a:pt x="124" y="471"/>
                  <a:pt x="124" y="476"/>
                  <a:pt x="123" y="476"/>
                </a:cubicBezTo>
                <a:cubicBezTo>
                  <a:pt x="124" y="476"/>
                  <a:pt x="125" y="475"/>
                  <a:pt x="125" y="474"/>
                </a:cubicBezTo>
                <a:cubicBezTo>
                  <a:pt x="124" y="474"/>
                  <a:pt x="124" y="470"/>
                  <a:pt x="125" y="471"/>
                </a:cubicBezTo>
                <a:cubicBezTo>
                  <a:pt x="125" y="472"/>
                  <a:pt x="125" y="472"/>
                  <a:pt x="125" y="472"/>
                </a:cubicBezTo>
                <a:cubicBezTo>
                  <a:pt x="125" y="472"/>
                  <a:pt x="126" y="472"/>
                  <a:pt x="126" y="472"/>
                </a:cubicBezTo>
                <a:cubicBezTo>
                  <a:pt x="125" y="472"/>
                  <a:pt x="127" y="473"/>
                  <a:pt x="126" y="474"/>
                </a:cubicBezTo>
                <a:cubicBezTo>
                  <a:pt x="128" y="473"/>
                  <a:pt x="127" y="470"/>
                  <a:pt x="128" y="470"/>
                </a:cubicBezTo>
                <a:cubicBezTo>
                  <a:pt x="131" y="472"/>
                  <a:pt x="127" y="476"/>
                  <a:pt x="127" y="477"/>
                </a:cubicBezTo>
                <a:cubicBezTo>
                  <a:pt x="127" y="477"/>
                  <a:pt x="128" y="478"/>
                  <a:pt x="128" y="478"/>
                </a:cubicBezTo>
                <a:cubicBezTo>
                  <a:pt x="128" y="478"/>
                  <a:pt x="128" y="477"/>
                  <a:pt x="128" y="477"/>
                </a:cubicBezTo>
                <a:cubicBezTo>
                  <a:pt x="129" y="475"/>
                  <a:pt x="130" y="471"/>
                  <a:pt x="132" y="473"/>
                </a:cubicBezTo>
                <a:cubicBezTo>
                  <a:pt x="131" y="473"/>
                  <a:pt x="131" y="472"/>
                  <a:pt x="132" y="471"/>
                </a:cubicBezTo>
                <a:cubicBezTo>
                  <a:pt x="133" y="471"/>
                  <a:pt x="133" y="471"/>
                  <a:pt x="133" y="471"/>
                </a:cubicBezTo>
                <a:cubicBezTo>
                  <a:pt x="133" y="471"/>
                  <a:pt x="133" y="471"/>
                  <a:pt x="133" y="471"/>
                </a:cubicBezTo>
                <a:cubicBezTo>
                  <a:pt x="134" y="470"/>
                  <a:pt x="136" y="471"/>
                  <a:pt x="135" y="472"/>
                </a:cubicBezTo>
                <a:cubicBezTo>
                  <a:pt x="136" y="475"/>
                  <a:pt x="136" y="481"/>
                  <a:pt x="138" y="476"/>
                </a:cubicBezTo>
                <a:cubicBezTo>
                  <a:pt x="137" y="478"/>
                  <a:pt x="141" y="480"/>
                  <a:pt x="139" y="482"/>
                </a:cubicBezTo>
                <a:cubicBezTo>
                  <a:pt x="139" y="482"/>
                  <a:pt x="138" y="482"/>
                  <a:pt x="138" y="482"/>
                </a:cubicBezTo>
                <a:cubicBezTo>
                  <a:pt x="138" y="483"/>
                  <a:pt x="141" y="489"/>
                  <a:pt x="142" y="489"/>
                </a:cubicBezTo>
                <a:cubicBezTo>
                  <a:pt x="143" y="489"/>
                  <a:pt x="144" y="483"/>
                  <a:pt x="146" y="486"/>
                </a:cubicBezTo>
                <a:cubicBezTo>
                  <a:pt x="146" y="487"/>
                  <a:pt x="145" y="490"/>
                  <a:pt x="145" y="490"/>
                </a:cubicBezTo>
                <a:cubicBezTo>
                  <a:pt x="141" y="491"/>
                  <a:pt x="146" y="492"/>
                  <a:pt x="147" y="492"/>
                </a:cubicBezTo>
                <a:cubicBezTo>
                  <a:pt x="148" y="492"/>
                  <a:pt x="147" y="490"/>
                  <a:pt x="148" y="490"/>
                </a:cubicBezTo>
                <a:cubicBezTo>
                  <a:pt x="148" y="490"/>
                  <a:pt x="151" y="493"/>
                  <a:pt x="151" y="492"/>
                </a:cubicBezTo>
                <a:cubicBezTo>
                  <a:pt x="152" y="493"/>
                  <a:pt x="153" y="492"/>
                  <a:pt x="152" y="495"/>
                </a:cubicBezTo>
                <a:cubicBezTo>
                  <a:pt x="153" y="495"/>
                  <a:pt x="153" y="493"/>
                  <a:pt x="154" y="492"/>
                </a:cubicBezTo>
                <a:cubicBezTo>
                  <a:pt x="154" y="491"/>
                  <a:pt x="155" y="490"/>
                  <a:pt x="156" y="491"/>
                </a:cubicBezTo>
                <a:cubicBezTo>
                  <a:pt x="156" y="491"/>
                  <a:pt x="157" y="491"/>
                  <a:pt x="157" y="491"/>
                </a:cubicBezTo>
                <a:cubicBezTo>
                  <a:pt x="157" y="492"/>
                  <a:pt x="157" y="492"/>
                  <a:pt x="157" y="492"/>
                </a:cubicBezTo>
                <a:cubicBezTo>
                  <a:pt x="157" y="493"/>
                  <a:pt x="156" y="494"/>
                  <a:pt x="156" y="494"/>
                </a:cubicBezTo>
                <a:cubicBezTo>
                  <a:pt x="156" y="494"/>
                  <a:pt x="156" y="495"/>
                  <a:pt x="155" y="495"/>
                </a:cubicBezTo>
                <a:cubicBezTo>
                  <a:pt x="156" y="495"/>
                  <a:pt x="156" y="495"/>
                  <a:pt x="157" y="496"/>
                </a:cubicBezTo>
                <a:cubicBezTo>
                  <a:pt x="157" y="495"/>
                  <a:pt x="158" y="495"/>
                  <a:pt x="158" y="495"/>
                </a:cubicBezTo>
                <a:cubicBezTo>
                  <a:pt x="160" y="495"/>
                  <a:pt x="161" y="498"/>
                  <a:pt x="160" y="499"/>
                </a:cubicBezTo>
                <a:cubicBezTo>
                  <a:pt x="160" y="500"/>
                  <a:pt x="160" y="500"/>
                  <a:pt x="161" y="500"/>
                </a:cubicBezTo>
                <a:cubicBezTo>
                  <a:pt x="160" y="501"/>
                  <a:pt x="158" y="503"/>
                  <a:pt x="158" y="504"/>
                </a:cubicBezTo>
                <a:cubicBezTo>
                  <a:pt x="158" y="504"/>
                  <a:pt x="158" y="504"/>
                  <a:pt x="158" y="504"/>
                </a:cubicBezTo>
                <a:cubicBezTo>
                  <a:pt x="158" y="504"/>
                  <a:pt x="157" y="504"/>
                  <a:pt x="157" y="504"/>
                </a:cubicBezTo>
                <a:cubicBezTo>
                  <a:pt x="157" y="504"/>
                  <a:pt x="157" y="505"/>
                  <a:pt x="157" y="505"/>
                </a:cubicBezTo>
                <a:cubicBezTo>
                  <a:pt x="157" y="507"/>
                  <a:pt x="161" y="504"/>
                  <a:pt x="162" y="507"/>
                </a:cubicBezTo>
                <a:cubicBezTo>
                  <a:pt x="161" y="505"/>
                  <a:pt x="162" y="504"/>
                  <a:pt x="163" y="503"/>
                </a:cubicBezTo>
                <a:cubicBezTo>
                  <a:pt x="162" y="502"/>
                  <a:pt x="163" y="499"/>
                  <a:pt x="165" y="500"/>
                </a:cubicBezTo>
                <a:cubicBezTo>
                  <a:pt x="164" y="498"/>
                  <a:pt x="163" y="495"/>
                  <a:pt x="166" y="496"/>
                </a:cubicBezTo>
                <a:cubicBezTo>
                  <a:pt x="166" y="495"/>
                  <a:pt x="166" y="495"/>
                  <a:pt x="166" y="494"/>
                </a:cubicBezTo>
                <a:cubicBezTo>
                  <a:pt x="165" y="497"/>
                  <a:pt x="164" y="494"/>
                  <a:pt x="165" y="493"/>
                </a:cubicBezTo>
                <a:cubicBezTo>
                  <a:pt x="165" y="492"/>
                  <a:pt x="166" y="493"/>
                  <a:pt x="166" y="493"/>
                </a:cubicBezTo>
                <a:cubicBezTo>
                  <a:pt x="167" y="493"/>
                  <a:pt x="166" y="491"/>
                  <a:pt x="167" y="490"/>
                </a:cubicBezTo>
                <a:cubicBezTo>
                  <a:pt x="169" y="488"/>
                  <a:pt x="170" y="489"/>
                  <a:pt x="170" y="486"/>
                </a:cubicBezTo>
                <a:cubicBezTo>
                  <a:pt x="169" y="483"/>
                  <a:pt x="172" y="482"/>
                  <a:pt x="171" y="480"/>
                </a:cubicBezTo>
                <a:cubicBezTo>
                  <a:pt x="170" y="479"/>
                  <a:pt x="164" y="481"/>
                  <a:pt x="165" y="477"/>
                </a:cubicBezTo>
                <a:cubicBezTo>
                  <a:pt x="165" y="476"/>
                  <a:pt x="166" y="477"/>
                  <a:pt x="166" y="475"/>
                </a:cubicBezTo>
                <a:cubicBezTo>
                  <a:pt x="165" y="474"/>
                  <a:pt x="167" y="467"/>
                  <a:pt x="169" y="473"/>
                </a:cubicBezTo>
                <a:cubicBezTo>
                  <a:pt x="169" y="473"/>
                  <a:pt x="168" y="475"/>
                  <a:pt x="168" y="475"/>
                </a:cubicBezTo>
                <a:cubicBezTo>
                  <a:pt x="168" y="477"/>
                  <a:pt x="171" y="477"/>
                  <a:pt x="171" y="478"/>
                </a:cubicBezTo>
                <a:cubicBezTo>
                  <a:pt x="172" y="478"/>
                  <a:pt x="170" y="480"/>
                  <a:pt x="171" y="480"/>
                </a:cubicBezTo>
                <a:cubicBezTo>
                  <a:pt x="173" y="480"/>
                  <a:pt x="173" y="477"/>
                  <a:pt x="174" y="477"/>
                </a:cubicBezTo>
                <a:cubicBezTo>
                  <a:pt x="173" y="476"/>
                  <a:pt x="170" y="476"/>
                  <a:pt x="172" y="475"/>
                </a:cubicBezTo>
                <a:cubicBezTo>
                  <a:pt x="172" y="474"/>
                  <a:pt x="176" y="476"/>
                  <a:pt x="176" y="476"/>
                </a:cubicBezTo>
                <a:cubicBezTo>
                  <a:pt x="179" y="476"/>
                  <a:pt x="179" y="475"/>
                  <a:pt x="180" y="478"/>
                </a:cubicBezTo>
                <a:cubicBezTo>
                  <a:pt x="180" y="480"/>
                  <a:pt x="179" y="483"/>
                  <a:pt x="178" y="484"/>
                </a:cubicBezTo>
                <a:cubicBezTo>
                  <a:pt x="176" y="486"/>
                  <a:pt x="178" y="484"/>
                  <a:pt x="180" y="485"/>
                </a:cubicBezTo>
                <a:cubicBezTo>
                  <a:pt x="181" y="486"/>
                  <a:pt x="182" y="488"/>
                  <a:pt x="182" y="490"/>
                </a:cubicBezTo>
                <a:cubicBezTo>
                  <a:pt x="183" y="489"/>
                  <a:pt x="185" y="488"/>
                  <a:pt x="185" y="490"/>
                </a:cubicBezTo>
                <a:cubicBezTo>
                  <a:pt x="185" y="489"/>
                  <a:pt x="185" y="489"/>
                  <a:pt x="185" y="489"/>
                </a:cubicBezTo>
                <a:cubicBezTo>
                  <a:pt x="186" y="490"/>
                  <a:pt x="185" y="490"/>
                  <a:pt x="185" y="490"/>
                </a:cubicBezTo>
                <a:cubicBezTo>
                  <a:pt x="185" y="490"/>
                  <a:pt x="185" y="490"/>
                  <a:pt x="185" y="491"/>
                </a:cubicBezTo>
                <a:cubicBezTo>
                  <a:pt x="185" y="487"/>
                  <a:pt x="190" y="497"/>
                  <a:pt x="191" y="494"/>
                </a:cubicBezTo>
                <a:cubicBezTo>
                  <a:pt x="192" y="494"/>
                  <a:pt x="192" y="493"/>
                  <a:pt x="192" y="493"/>
                </a:cubicBezTo>
                <a:cubicBezTo>
                  <a:pt x="192" y="493"/>
                  <a:pt x="192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3" y="493"/>
                  <a:pt x="193" y="493"/>
                  <a:pt x="193" y="493"/>
                </a:cubicBezTo>
                <a:cubicBezTo>
                  <a:pt x="194" y="493"/>
                  <a:pt x="195" y="492"/>
                  <a:pt x="196" y="492"/>
                </a:cubicBezTo>
                <a:cubicBezTo>
                  <a:pt x="196" y="491"/>
                  <a:pt x="197" y="491"/>
                  <a:pt x="197" y="491"/>
                </a:cubicBezTo>
                <a:cubicBezTo>
                  <a:pt x="198" y="491"/>
                  <a:pt x="199" y="491"/>
                  <a:pt x="200" y="493"/>
                </a:cubicBezTo>
                <a:cubicBezTo>
                  <a:pt x="202" y="496"/>
                  <a:pt x="201" y="491"/>
                  <a:pt x="200" y="491"/>
                </a:cubicBezTo>
                <a:cubicBezTo>
                  <a:pt x="200" y="491"/>
                  <a:pt x="200" y="490"/>
                  <a:pt x="200" y="489"/>
                </a:cubicBezTo>
                <a:cubicBezTo>
                  <a:pt x="199" y="489"/>
                  <a:pt x="199" y="489"/>
                  <a:pt x="199" y="489"/>
                </a:cubicBezTo>
                <a:cubicBezTo>
                  <a:pt x="199" y="487"/>
                  <a:pt x="199" y="484"/>
                  <a:pt x="200" y="483"/>
                </a:cubicBezTo>
                <a:cubicBezTo>
                  <a:pt x="200" y="485"/>
                  <a:pt x="200" y="486"/>
                  <a:pt x="201" y="488"/>
                </a:cubicBezTo>
                <a:cubicBezTo>
                  <a:pt x="201" y="487"/>
                  <a:pt x="202" y="487"/>
                  <a:pt x="202" y="488"/>
                </a:cubicBezTo>
                <a:cubicBezTo>
                  <a:pt x="202" y="488"/>
                  <a:pt x="202" y="489"/>
                  <a:pt x="201" y="489"/>
                </a:cubicBezTo>
                <a:cubicBezTo>
                  <a:pt x="201" y="489"/>
                  <a:pt x="201" y="490"/>
                  <a:pt x="201" y="490"/>
                </a:cubicBezTo>
                <a:cubicBezTo>
                  <a:pt x="202" y="489"/>
                  <a:pt x="202" y="488"/>
                  <a:pt x="203" y="487"/>
                </a:cubicBezTo>
                <a:cubicBezTo>
                  <a:pt x="202" y="488"/>
                  <a:pt x="203" y="490"/>
                  <a:pt x="204" y="491"/>
                </a:cubicBezTo>
                <a:cubicBezTo>
                  <a:pt x="204" y="491"/>
                  <a:pt x="204" y="491"/>
                  <a:pt x="204" y="491"/>
                </a:cubicBezTo>
                <a:cubicBezTo>
                  <a:pt x="204" y="491"/>
                  <a:pt x="204" y="491"/>
                  <a:pt x="204" y="491"/>
                </a:cubicBezTo>
                <a:cubicBezTo>
                  <a:pt x="205" y="491"/>
                  <a:pt x="205" y="491"/>
                  <a:pt x="205" y="490"/>
                </a:cubicBezTo>
                <a:cubicBezTo>
                  <a:pt x="205" y="490"/>
                  <a:pt x="205" y="490"/>
                  <a:pt x="205" y="490"/>
                </a:cubicBezTo>
                <a:cubicBezTo>
                  <a:pt x="205" y="490"/>
                  <a:pt x="205" y="490"/>
                  <a:pt x="205" y="490"/>
                </a:cubicBezTo>
                <a:cubicBezTo>
                  <a:pt x="204" y="490"/>
                  <a:pt x="204" y="490"/>
                  <a:pt x="204" y="490"/>
                </a:cubicBezTo>
                <a:cubicBezTo>
                  <a:pt x="204" y="490"/>
                  <a:pt x="204" y="490"/>
                  <a:pt x="204" y="490"/>
                </a:cubicBezTo>
                <a:cubicBezTo>
                  <a:pt x="204" y="490"/>
                  <a:pt x="204" y="490"/>
                  <a:pt x="205" y="489"/>
                </a:cubicBezTo>
                <a:cubicBezTo>
                  <a:pt x="205" y="489"/>
                  <a:pt x="205" y="489"/>
                  <a:pt x="205" y="489"/>
                </a:cubicBezTo>
                <a:cubicBezTo>
                  <a:pt x="205" y="489"/>
                  <a:pt x="205" y="489"/>
                  <a:pt x="205" y="489"/>
                </a:cubicBezTo>
                <a:cubicBezTo>
                  <a:pt x="205" y="488"/>
                  <a:pt x="206" y="487"/>
                  <a:pt x="206" y="487"/>
                </a:cubicBezTo>
                <a:cubicBezTo>
                  <a:pt x="205" y="486"/>
                  <a:pt x="204" y="486"/>
                  <a:pt x="203" y="486"/>
                </a:cubicBezTo>
                <a:cubicBezTo>
                  <a:pt x="203" y="487"/>
                  <a:pt x="202" y="487"/>
                  <a:pt x="202" y="487"/>
                </a:cubicBezTo>
                <a:cubicBezTo>
                  <a:pt x="201" y="487"/>
                  <a:pt x="201" y="486"/>
                  <a:pt x="202" y="486"/>
                </a:cubicBezTo>
                <a:cubicBezTo>
                  <a:pt x="202" y="486"/>
                  <a:pt x="201" y="486"/>
                  <a:pt x="201" y="486"/>
                </a:cubicBezTo>
                <a:cubicBezTo>
                  <a:pt x="201" y="485"/>
                  <a:pt x="201" y="483"/>
                  <a:pt x="202" y="481"/>
                </a:cubicBezTo>
                <a:cubicBezTo>
                  <a:pt x="200" y="482"/>
                  <a:pt x="199" y="481"/>
                  <a:pt x="199" y="478"/>
                </a:cubicBezTo>
                <a:cubicBezTo>
                  <a:pt x="199" y="478"/>
                  <a:pt x="199" y="478"/>
                  <a:pt x="199" y="478"/>
                </a:cubicBezTo>
                <a:cubicBezTo>
                  <a:pt x="199" y="479"/>
                  <a:pt x="197" y="484"/>
                  <a:pt x="197" y="485"/>
                </a:cubicBezTo>
                <a:cubicBezTo>
                  <a:pt x="197" y="485"/>
                  <a:pt x="198" y="490"/>
                  <a:pt x="196" y="487"/>
                </a:cubicBezTo>
                <a:cubicBezTo>
                  <a:pt x="194" y="486"/>
                  <a:pt x="198" y="481"/>
                  <a:pt x="198" y="478"/>
                </a:cubicBezTo>
                <a:cubicBezTo>
                  <a:pt x="197" y="478"/>
                  <a:pt x="197" y="477"/>
                  <a:pt x="197" y="477"/>
                </a:cubicBezTo>
                <a:cubicBezTo>
                  <a:pt x="197" y="476"/>
                  <a:pt x="197" y="475"/>
                  <a:pt x="198" y="475"/>
                </a:cubicBezTo>
                <a:cubicBezTo>
                  <a:pt x="198" y="474"/>
                  <a:pt x="198" y="474"/>
                  <a:pt x="198" y="473"/>
                </a:cubicBezTo>
                <a:cubicBezTo>
                  <a:pt x="198" y="472"/>
                  <a:pt x="197" y="473"/>
                  <a:pt x="196" y="473"/>
                </a:cubicBezTo>
                <a:cubicBezTo>
                  <a:pt x="196" y="472"/>
                  <a:pt x="195" y="470"/>
                  <a:pt x="195" y="470"/>
                </a:cubicBezTo>
                <a:cubicBezTo>
                  <a:pt x="195" y="468"/>
                  <a:pt x="198" y="469"/>
                  <a:pt x="199" y="470"/>
                </a:cubicBezTo>
                <a:cubicBezTo>
                  <a:pt x="198" y="469"/>
                  <a:pt x="200" y="470"/>
                  <a:pt x="201" y="469"/>
                </a:cubicBezTo>
                <a:cubicBezTo>
                  <a:pt x="200" y="470"/>
                  <a:pt x="202" y="464"/>
                  <a:pt x="204" y="464"/>
                </a:cubicBezTo>
                <a:cubicBezTo>
                  <a:pt x="204" y="465"/>
                  <a:pt x="203" y="468"/>
                  <a:pt x="203" y="469"/>
                </a:cubicBezTo>
                <a:cubicBezTo>
                  <a:pt x="203" y="469"/>
                  <a:pt x="203" y="469"/>
                  <a:pt x="203" y="469"/>
                </a:cubicBezTo>
                <a:cubicBezTo>
                  <a:pt x="203" y="469"/>
                  <a:pt x="204" y="468"/>
                  <a:pt x="204" y="469"/>
                </a:cubicBezTo>
                <a:cubicBezTo>
                  <a:pt x="205" y="469"/>
                  <a:pt x="205" y="470"/>
                  <a:pt x="205" y="471"/>
                </a:cubicBezTo>
                <a:cubicBezTo>
                  <a:pt x="205" y="471"/>
                  <a:pt x="205" y="471"/>
                  <a:pt x="205" y="471"/>
                </a:cubicBezTo>
                <a:cubicBezTo>
                  <a:pt x="205" y="471"/>
                  <a:pt x="205" y="472"/>
                  <a:pt x="203" y="472"/>
                </a:cubicBezTo>
                <a:cubicBezTo>
                  <a:pt x="201" y="472"/>
                  <a:pt x="203" y="473"/>
                  <a:pt x="204" y="474"/>
                </a:cubicBezTo>
                <a:cubicBezTo>
                  <a:pt x="204" y="474"/>
                  <a:pt x="204" y="474"/>
                  <a:pt x="204" y="474"/>
                </a:cubicBezTo>
                <a:cubicBezTo>
                  <a:pt x="205" y="474"/>
                  <a:pt x="205" y="474"/>
                  <a:pt x="205" y="474"/>
                </a:cubicBezTo>
                <a:cubicBezTo>
                  <a:pt x="206" y="475"/>
                  <a:pt x="206" y="476"/>
                  <a:pt x="205" y="476"/>
                </a:cubicBezTo>
                <a:cubicBezTo>
                  <a:pt x="206" y="477"/>
                  <a:pt x="207" y="476"/>
                  <a:pt x="208" y="476"/>
                </a:cubicBezTo>
                <a:cubicBezTo>
                  <a:pt x="209" y="476"/>
                  <a:pt x="208" y="477"/>
                  <a:pt x="209" y="478"/>
                </a:cubicBezTo>
                <a:cubicBezTo>
                  <a:pt x="209" y="478"/>
                  <a:pt x="209" y="478"/>
                  <a:pt x="209" y="478"/>
                </a:cubicBezTo>
                <a:cubicBezTo>
                  <a:pt x="212" y="475"/>
                  <a:pt x="215" y="470"/>
                  <a:pt x="211" y="471"/>
                </a:cubicBezTo>
                <a:cubicBezTo>
                  <a:pt x="214" y="469"/>
                  <a:pt x="210" y="467"/>
                  <a:pt x="209" y="466"/>
                </a:cubicBezTo>
                <a:cubicBezTo>
                  <a:pt x="208" y="464"/>
                  <a:pt x="210" y="467"/>
                  <a:pt x="210" y="466"/>
                </a:cubicBezTo>
                <a:cubicBezTo>
                  <a:pt x="212" y="465"/>
                  <a:pt x="209" y="463"/>
                  <a:pt x="210" y="460"/>
                </a:cubicBezTo>
                <a:cubicBezTo>
                  <a:pt x="210" y="460"/>
                  <a:pt x="212" y="458"/>
                  <a:pt x="212" y="458"/>
                </a:cubicBezTo>
                <a:cubicBezTo>
                  <a:pt x="213" y="456"/>
                  <a:pt x="210" y="457"/>
                  <a:pt x="213" y="456"/>
                </a:cubicBezTo>
                <a:cubicBezTo>
                  <a:pt x="215" y="456"/>
                  <a:pt x="216" y="452"/>
                  <a:pt x="217" y="451"/>
                </a:cubicBezTo>
                <a:cubicBezTo>
                  <a:pt x="217" y="451"/>
                  <a:pt x="221" y="451"/>
                  <a:pt x="221" y="449"/>
                </a:cubicBezTo>
                <a:cubicBezTo>
                  <a:pt x="217" y="452"/>
                  <a:pt x="215" y="447"/>
                  <a:pt x="217" y="446"/>
                </a:cubicBezTo>
                <a:cubicBezTo>
                  <a:pt x="217" y="446"/>
                  <a:pt x="216" y="443"/>
                  <a:pt x="219" y="443"/>
                </a:cubicBezTo>
                <a:cubicBezTo>
                  <a:pt x="221" y="442"/>
                  <a:pt x="220" y="443"/>
                  <a:pt x="222" y="441"/>
                </a:cubicBezTo>
                <a:cubicBezTo>
                  <a:pt x="224" y="440"/>
                  <a:pt x="222" y="448"/>
                  <a:pt x="222" y="449"/>
                </a:cubicBezTo>
                <a:cubicBezTo>
                  <a:pt x="223" y="451"/>
                  <a:pt x="224" y="448"/>
                  <a:pt x="224" y="451"/>
                </a:cubicBezTo>
                <a:cubicBezTo>
                  <a:pt x="225" y="457"/>
                  <a:pt x="228" y="468"/>
                  <a:pt x="219" y="471"/>
                </a:cubicBezTo>
                <a:cubicBezTo>
                  <a:pt x="217" y="471"/>
                  <a:pt x="216" y="470"/>
                  <a:pt x="215" y="471"/>
                </a:cubicBezTo>
                <a:cubicBezTo>
                  <a:pt x="213" y="473"/>
                  <a:pt x="212" y="475"/>
                  <a:pt x="211" y="478"/>
                </a:cubicBezTo>
                <a:cubicBezTo>
                  <a:pt x="211" y="478"/>
                  <a:pt x="211" y="478"/>
                  <a:pt x="211" y="478"/>
                </a:cubicBezTo>
                <a:cubicBezTo>
                  <a:pt x="212" y="478"/>
                  <a:pt x="211" y="480"/>
                  <a:pt x="211" y="480"/>
                </a:cubicBezTo>
                <a:cubicBezTo>
                  <a:pt x="212" y="480"/>
                  <a:pt x="213" y="480"/>
                  <a:pt x="213" y="480"/>
                </a:cubicBezTo>
                <a:cubicBezTo>
                  <a:pt x="214" y="480"/>
                  <a:pt x="214" y="479"/>
                  <a:pt x="215" y="479"/>
                </a:cubicBezTo>
                <a:cubicBezTo>
                  <a:pt x="215" y="480"/>
                  <a:pt x="215" y="480"/>
                  <a:pt x="215" y="480"/>
                </a:cubicBezTo>
                <a:cubicBezTo>
                  <a:pt x="215" y="480"/>
                  <a:pt x="216" y="480"/>
                  <a:pt x="216" y="481"/>
                </a:cubicBezTo>
                <a:cubicBezTo>
                  <a:pt x="216" y="482"/>
                  <a:pt x="215" y="484"/>
                  <a:pt x="217" y="483"/>
                </a:cubicBezTo>
                <a:cubicBezTo>
                  <a:pt x="216" y="484"/>
                  <a:pt x="216" y="486"/>
                  <a:pt x="216" y="487"/>
                </a:cubicBezTo>
                <a:cubicBezTo>
                  <a:pt x="216" y="487"/>
                  <a:pt x="216" y="487"/>
                  <a:pt x="216" y="487"/>
                </a:cubicBezTo>
                <a:cubicBezTo>
                  <a:pt x="217" y="487"/>
                  <a:pt x="219" y="486"/>
                  <a:pt x="219" y="486"/>
                </a:cubicBezTo>
                <a:cubicBezTo>
                  <a:pt x="220" y="486"/>
                  <a:pt x="219" y="489"/>
                  <a:pt x="217" y="490"/>
                </a:cubicBezTo>
                <a:cubicBezTo>
                  <a:pt x="217" y="491"/>
                  <a:pt x="217" y="492"/>
                  <a:pt x="217" y="492"/>
                </a:cubicBezTo>
                <a:cubicBezTo>
                  <a:pt x="217" y="492"/>
                  <a:pt x="221" y="486"/>
                  <a:pt x="222" y="489"/>
                </a:cubicBezTo>
                <a:cubicBezTo>
                  <a:pt x="222" y="489"/>
                  <a:pt x="222" y="489"/>
                  <a:pt x="222" y="489"/>
                </a:cubicBezTo>
                <a:cubicBezTo>
                  <a:pt x="222" y="489"/>
                  <a:pt x="225" y="487"/>
                  <a:pt x="225" y="487"/>
                </a:cubicBezTo>
                <a:cubicBezTo>
                  <a:pt x="227" y="489"/>
                  <a:pt x="224" y="492"/>
                  <a:pt x="223" y="494"/>
                </a:cubicBezTo>
                <a:cubicBezTo>
                  <a:pt x="225" y="494"/>
                  <a:pt x="226" y="495"/>
                  <a:pt x="225" y="496"/>
                </a:cubicBezTo>
                <a:cubicBezTo>
                  <a:pt x="225" y="497"/>
                  <a:pt x="225" y="497"/>
                  <a:pt x="224" y="497"/>
                </a:cubicBezTo>
                <a:cubicBezTo>
                  <a:pt x="225" y="498"/>
                  <a:pt x="225" y="498"/>
                  <a:pt x="223" y="499"/>
                </a:cubicBezTo>
                <a:cubicBezTo>
                  <a:pt x="223" y="499"/>
                  <a:pt x="223" y="500"/>
                  <a:pt x="222" y="499"/>
                </a:cubicBezTo>
                <a:cubicBezTo>
                  <a:pt x="221" y="499"/>
                  <a:pt x="221" y="498"/>
                  <a:pt x="222" y="498"/>
                </a:cubicBezTo>
                <a:cubicBezTo>
                  <a:pt x="222" y="498"/>
                  <a:pt x="222" y="498"/>
                  <a:pt x="221" y="498"/>
                </a:cubicBezTo>
                <a:cubicBezTo>
                  <a:pt x="221" y="500"/>
                  <a:pt x="221" y="502"/>
                  <a:pt x="219" y="503"/>
                </a:cubicBezTo>
                <a:cubicBezTo>
                  <a:pt x="219" y="504"/>
                  <a:pt x="219" y="504"/>
                  <a:pt x="220" y="505"/>
                </a:cubicBezTo>
                <a:cubicBezTo>
                  <a:pt x="220" y="505"/>
                  <a:pt x="220" y="505"/>
                  <a:pt x="220" y="505"/>
                </a:cubicBezTo>
                <a:cubicBezTo>
                  <a:pt x="221" y="504"/>
                  <a:pt x="222" y="503"/>
                  <a:pt x="223" y="502"/>
                </a:cubicBezTo>
                <a:cubicBezTo>
                  <a:pt x="223" y="504"/>
                  <a:pt x="222" y="505"/>
                  <a:pt x="220" y="506"/>
                </a:cubicBezTo>
                <a:cubicBezTo>
                  <a:pt x="220" y="507"/>
                  <a:pt x="220" y="507"/>
                  <a:pt x="220" y="507"/>
                </a:cubicBezTo>
                <a:cubicBezTo>
                  <a:pt x="221" y="506"/>
                  <a:pt x="221" y="506"/>
                  <a:pt x="221" y="506"/>
                </a:cubicBezTo>
                <a:cubicBezTo>
                  <a:pt x="222" y="507"/>
                  <a:pt x="221" y="507"/>
                  <a:pt x="220" y="507"/>
                </a:cubicBezTo>
                <a:cubicBezTo>
                  <a:pt x="219" y="509"/>
                  <a:pt x="216" y="511"/>
                  <a:pt x="215" y="512"/>
                </a:cubicBezTo>
                <a:cubicBezTo>
                  <a:pt x="216" y="512"/>
                  <a:pt x="216" y="512"/>
                  <a:pt x="216" y="512"/>
                </a:cubicBezTo>
                <a:cubicBezTo>
                  <a:pt x="217" y="512"/>
                  <a:pt x="217" y="513"/>
                  <a:pt x="217" y="514"/>
                </a:cubicBezTo>
                <a:cubicBezTo>
                  <a:pt x="217" y="515"/>
                  <a:pt x="217" y="515"/>
                  <a:pt x="217" y="515"/>
                </a:cubicBezTo>
                <a:cubicBezTo>
                  <a:pt x="217" y="516"/>
                  <a:pt x="215" y="519"/>
                  <a:pt x="214" y="518"/>
                </a:cubicBezTo>
                <a:cubicBezTo>
                  <a:pt x="214" y="518"/>
                  <a:pt x="214" y="518"/>
                  <a:pt x="214" y="517"/>
                </a:cubicBezTo>
                <a:cubicBezTo>
                  <a:pt x="214" y="518"/>
                  <a:pt x="214" y="518"/>
                  <a:pt x="214" y="518"/>
                </a:cubicBezTo>
                <a:cubicBezTo>
                  <a:pt x="214" y="518"/>
                  <a:pt x="213" y="518"/>
                  <a:pt x="213" y="518"/>
                </a:cubicBezTo>
                <a:cubicBezTo>
                  <a:pt x="211" y="517"/>
                  <a:pt x="213" y="516"/>
                  <a:pt x="214" y="517"/>
                </a:cubicBezTo>
                <a:cubicBezTo>
                  <a:pt x="214" y="516"/>
                  <a:pt x="214" y="516"/>
                  <a:pt x="214" y="515"/>
                </a:cubicBezTo>
                <a:cubicBezTo>
                  <a:pt x="213" y="516"/>
                  <a:pt x="213" y="516"/>
                  <a:pt x="213" y="516"/>
                </a:cubicBezTo>
                <a:cubicBezTo>
                  <a:pt x="212" y="517"/>
                  <a:pt x="211" y="516"/>
                  <a:pt x="212" y="515"/>
                </a:cubicBezTo>
                <a:cubicBezTo>
                  <a:pt x="209" y="515"/>
                  <a:pt x="203" y="515"/>
                  <a:pt x="204" y="515"/>
                </a:cubicBezTo>
                <a:cubicBezTo>
                  <a:pt x="203" y="515"/>
                  <a:pt x="200" y="523"/>
                  <a:pt x="200" y="518"/>
                </a:cubicBezTo>
                <a:cubicBezTo>
                  <a:pt x="200" y="519"/>
                  <a:pt x="200" y="519"/>
                  <a:pt x="200" y="519"/>
                </a:cubicBezTo>
                <a:cubicBezTo>
                  <a:pt x="200" y="519"/>
                  <a:pt x="200" y="519"/>
                  <a:pt x="199" y="519"/>
                </a:cubicBezTo>
                <a:cubicBezTo>
                  <a:pt x="199" y="520"/>
                  <a:pt x="199" y="520"/>
                  <a:pt x="198" y="519"/>
                </a:cubicBezTo>
                <a:cubicBezTo>
                  <a:pt x="198" y="520"/>
                  <a:pt x="198" y="520"/>
                  <a:pt x="198" y="520"/>
                </a:cubicBezTo>
                <a:cubicBezTo>
                  <a:pt x="197" y="521"/>
                  <a:pt x="197" y="519"/>
                  <a:pt x="197" y="519"/>
                </a:cubicBezTo>
                <a:cubicBezTo>
                  <a:pt x="196" y="518"/>
                  <a:pt x="196" y="517"/>
                  <a:pt x="195" y="517"/>
                </a:cubicBezTo>
                <a:cubicBezTo>
                  <a:pt x="195" y="517"/>
                  <a:pt x="193" y="516"/>
                  <a:pt x="193" y="517"/>
                </a:cubicBezTo>
                <a:cubicBezTo>
                  <a:pt x="192" y="515"/>
                  <a:pt x="194" y="514"/>
                  <a:pt x="194" y="513"/>
                </a:cubicBezTo>
                <a:cubicBezTo>
                  <a:pt x="194" y="512"/>
                  <a:pt x="194" y="512"/>
                  <a:pt x="194" y="511"/>
                </a:cubicBezTo>
                <a:cubicBezTo>
                  <a:pt x="194" y="513"/>
                  <a:pt x="193" y="514"/>
                  <a:pt x="192" y="513"/>
                </a:cubicBezTo>
                <a:cubicBezTo>
                  <a:pt x="191" y="513"/>
                  <a:pt x="191" y="513"/>
                  <a:pt x="191" y="512"/>
                </a:cubicBezTo>
                <a:cubicBezTo>
                  <a:pt x="190" y="512"/>
                  <a:pt x="189" y="511"/>
                  <a:pt x="189" y="510"/>
                </a:cubicBezTo>
                <a:cubicBezTo>
                  <a:pt x="190" y="509"/>
                  <a:pt x="190" y="509"/>
                  <a:pt x="191" y="509"/>
                </a:cubicBezTo>
                <a:cubicBezTo>
                  <a:pt x="191" y="508"/>
                  <a:pt x="192" y="507"/>
                  <a:pt x="193" y="507"/>
                </a:cubicBezTo>
                <a:cubicBezTo>
                  <a:pt x="193" y="507"/>
                  <a:pt x="194" y="508"/>
                  <a:pt x="194" y="508"/>
                </a:cubicBezTo>
                <a:cubicBezTo>
                  <a:pt x="196" y="507"/>
                  <a:pt x="193" y="505"/>
                  <a:pt x="197" y="505"/>
                </a:cubicBezTo>
                <a:cubicBezTo>
                  <a:pt x="194" y="505"/>
                  <a:pt x="194" y="501"/>
                  <a:pt x="191" y="501"/>
                </a:cubicBezTo>
                <a:cubicBezTo>
                  <a:pt x="190" y="501"/>
                  <a:pt x="185" y="504"/>
                  <a:pt x="185" y="505"/>
                </a:cubicBezTo>
                <a:cubicBezTo>
                  <a:pt x="185" y="505"/>
                  <a:pt x="186" y="505"/>
                  <a:pt x="185" y="506"/>
                </a:cubicBezTo>
                <a:cubicBezTo>
                  <a:pt x="186" y="506"/>
                  <a:pt x="186" y="506"/>
                  <a:pt x="186" y="506"/>
                </a:cubicBezTo>
                <a:cubicBezTo>
                  <a:pt x="186" y="506"/>
                  <a:pt x="186" y="506"/>
                  <a:pt x="185" y="506"/>
                </a:cubicBezTo>
                <a:cubicBezTo>
                  <a:pt x="185" y="506"/>
                  <a:pt x="185" y="506"/>
                  <a:pt x="185" y="506"/>
                </a:cubicBezTo>
                <a:cubicBezTo>
                  <a:pt x="185" y="507"/>
                  <a:pt x="182" y="505"/>
                  <a:pt x="180" y="507"/>
                </a:cubicBezTo>
                <a:cubicBezTo>
                  <a:pt x="181" y="506"/>
                  <a:pt x="179" y="508"/>
                  <a:pt x="180" y="508"/>
                </a:cubicBezTo>
                <a:cubicBezTo>
                  <a:pt x="180" y="509"/>
                  <a:pt x="181" y="508"/>
                  <a:pt x="181" y="508"/>
                </a:cubicBezTo>
                <a:cubicBezTo>
                  <a:pt x="181" y="507"/>
                  <a:pt x="181" y="506"/>
                  <a:pt x="182" y="506"/>
                </a:cubicBezTo>
                <a:cubicBezTo>
                  <a:pt x="183" y="507"/>
                  <a:pt x="182" y="508"/>
                  <a:pt x="182" y="508"/>
                </a:cubicBezTo>
                <a:cubicBezTo>
                  <a:pt x="183" y="509"/>
                  <a:pt x="181" y="511"/>
                  <a:pt x="182" y="512"/>
                </a:cubicBezTo>
                <a:cubicBezTo>
                  <a:pt x="182" y="514"/>
                  <a:pt x="183" y="512"/>
                  <a:pt x="184" y="514"/>
                </a:cubicBezTo>
                <a:cubicBezTo>
                  <a:pt x="181" y="513"/>
                  <a:pt x="182" y="514"/>
                  <a:pt x="182" y="515"/>
                </a:cubicBezTo>
                <a:cubicBezTo>
                  <a:pt x="182" y="515"/>
                  <a:pt x="182" y="515"/>
                  <a:pt x="182" y="516"/>
                </a:cubicBezTo>
                <a:cubicBezTo>
                  <a:pt x="182" y="516"/>
                  <a:pt x="182" y="516"/>
                  <a:pt x="182" y="516"/>
                </a:cubicBezTo>
                <a:cubicBezTo>
                  <a:pt x="182" y="516"/>
                  <a:pt x="182" y="516"/>
                  <a:pt x="182" y="516"/>
                </a:cubicBezTo>
                <a:cubicBezTo>
                  <a:pt x="182" y="516"/>
                  <a:pt x="182" y="517"/>
                  <a:pt x="182" y="517"/>
                </a:cubicBezTo>
                <a:cubicBezTo>
                  <a:pt x="182" y="519"/>
                  <a:pt x="180" y="520"/>
                  <a:pt x="180" y="522"/>
                </a:cubicBezTo>
                <a:cubicBezTo>
                  <a:pt x="180" y="522"/>
                  <a:pt x="181" y="523"/>
                  <a:pt x="181" y="523"/>
                </a:cubicBezTo>
                <a:cubicBezTo>
                  <a:pt x="181" y="523"/>
                  <a:pt x="180" y="523"/>
                  <a:pt x="180" y="523"/>
                </a:cubicBezTo>
                <a:cubicBezTo>
                  <a:pt x="180" y="523"/>
                  <a:pt x="180" y="524"/>
                  <a:pt x="180" y="524"/>
                </a:cubicBezTo>
                <a:cubicBezTo>
                  <a:pt x="180" y="524"/>
                  <a:pt x="182" y="523"/>
                  <a:pt x="183" y="524"/>
                </a:cubicBezTo>
                <a:cubicBezTo>
                  <a:pt x="185" y="525"/>
                  <a:pt x="183" y="527"/>
                  <a:pt x="184" y="528"/>
                </a:cubicBezTo>
                <a:cubicBezTo>
                  <a:pt x="184" y="528"/>
                  <a:pt x="186" y="529"/>
                  <a:pt x="186" y="530"/>
                </a:cubicBezTo>
                <a:cubicBezTo>
                  <a:pt x="187" y="529"/>
                  <a:pt x="188" y="528"/>
                  <a:pt x="190" y="528"/>
                </a:cubicBezTo>
                <a:cubicBezTo>
                  <a:pt x="191" y="529"/>
                  <a:pt x="188" y="530"/>
                  <a:pt x="189" y="530"/>
                </a:cubicBezTo>
                <a:cubicBezTo>
                  <a:pt x="189" y="530"/>
                  <a:pt x="189" y="530"/>
                  <a:pt x="189" y="531"/>
                </a:cubicBezTo>
                <a:cubicBezTo>
                  <a:pt x="189" y="531"/>
                  <a:pt x="189" y="531"/>
                  <a:pt x="189" y="530"/>
                </a:cubicBezTo>
                <a:cubicBezTo>
                  <a:pt x="190" y="530"/>
                  <a:pt x="190" y="528"/>
                  <a:pt x="191" y="529"/>
                </a:cubicBezTo>
                <a:cubicBezTo>
                  <a:pt x="192" y="529"/>
                  <a:pt x="192" y="530"/>
                  <a:pt x="192" y="531"/>
                </a:cubicBezTo>
                <a:cubicBezTo>
                  <a:pt x="193" y="531"/>
                  <a:pt x="193" y="532"/>
                  <a:pt x="192" y="534"/>
                </a:cubicBezTo>
                <a:cubicBezTo>
                  <a:pt x="192" y="534"/>
                  <a:pt x="192" y="534"/>
                  <a:pt x="191" y="535"/>
                </a:cubicBezTo>
                <a:cubicBezTo>
                  <a:pt x="191" y="535"/>
                  <a:pt x="190" y="535"/>
                  <a:pt x="189" y="535"/>
                </a:cubicBezTo>
                <a:cubicBezTo>
                  <a:pt x="188" y="535"/>
                  <a:pt x="188" y="535"/>
                  <a:pt x="187" y="537"/>
                </a:cubicBezTo>
                <a:cubicBezTo>
                  <a:pt x="187" y="536"/>
                  <a:pt x="187" y="535"/>
                  <a:pt x="187" y="535"/>
                </a:cubicBezTo>
                <a:cubicBezTo>
                  <a:pt x="187" y="535"/>
                  <a:pt x="187" y="535"/>
                  <a:pt x="187" y="535"/>
                </a:cubicBezTo>
                <a:cubicBezTo>
                  <a:pt x="187" y="536"/>
                  <a:pt x="186" y="538"/>
                  <a:pt x="186" y="539"/>
                </a:cubicBezTo>
                <a:cubicBezTo>
                  <a:pt x="186" y="539"/>
                  <a:pt x="185" y="538"/>
                  <a:pt x="185" y="538"/>
                </a:cubicBezTo>
                <a:cubicBezTo>
                  <a:pt x="185" y="538"/>
                  <a:pt x="185" y="539"/>
                  <a:pt x="185" y="539"/>
                </a:cubicBezTo>
                <a:cubicBezTo>
                  <a:pt x="184" y="540"/>
                  <a:pt x="182" y="542"/>
                  <a:pt x="185" y="541"/>
                </a:cubicBezTo>
                <a:cubicBezTo>
                  <a:pt x="186" y="540"/>
                  <a:pt x="184" y="544"/>
                  <a:pt x="185" y="543"/>
                </a:cubicBezTo>
                <a:cubicBezTo>
                  <a:pt x="186" y="543"/>
                  <a:pt x="186" y="543"/>
                  <a:pt x="186" y="543"/>
                </a:cubicBezTo>
                <a:cubicBezTo>
                  <a:pt x="186" y="543"/>
                  <a:pt x="186" y="543"/>
                  <a:pt x="186" y="543"/>
                </a:cubicBezTo>
                <a:cubicBezTo>
                  <a:pt x="187" y="541"/>
                  <a:pt x="184" y="539"/>
                  <a:pt x="187" y="538"/>
                </a:cubicBezTo>
                <a:cubicBezTo>
                  <a:pt x="187" y="538"/>
                  <a:pt x="187" y="539"/>
                  <a:pt x="187" y="539"/>
                </a:cubicBezTo>
                <a:cubicBezTo>
                  <a:pt x="189" y="540"/>
                  <a:pt x="191" y="538"/>
                  <a:pt x="192" y="540"/>
                </a:cubicBezTo>
                <a:cubicBezTo>
                  <a:pt x="192" y="541"/>
                  <a:pt x="190" y="540"/>
                  <a:pt x="190" y="542"/>
                </a:cubicBezTo>
                <a:cubicBezTo>
                  <a:pt x="190" y="543"/>
                  <a:pt x="194" y="542"/>
                  <a:pt x="195" y="540"/>
                </a:cubicBezTo>
                <a:cubicBezTo>
                  <a:pt x="194" y="540"/>
                  <a:pt x="194" y="539"/>
                  <a:pt x="194" y="538"/>
                </a:cubicBezTo>
                <a:cubicBezTo>
                  <a:pt x="194" y="538"/>
                  <a:pt x="194" y="538"/>
                  <a:pt x="194" y="537"/>
                </a:cubicBezTo>
                <a:cubicBezTo>
                  <a:pt x="194" y="538"/>
                  <a:pt x="194" y="538"/>
                  <a:pt x="194" y="538"/>
                </a:cubicBezTo>
                <a:cubicBezTo>
                  <a:pt x="195" y="537"/>
                  <a:pt x="195" y="537"/>
                  <a:pt x="195" y="537"/>
                </a:cubicBezTo>
                <a:cubicBezTo>
                  <a:pt x="195" y="537"/>
                  <a:pt x="197" y="538"/>
                  <a:pt x="197" y="538"/>
                </a:cubicBezTo>
                <a:cubicBezTo>
                  <a:pt x="198" y="538"/>
                  <a:pt x="199" y="537"/>
                  <a:pt x="199" y="536"/>
                </a:cubicBezTo>
                <a:cubicBezTo>
                  <a:pt x="198" y="536"/>
                  <a:pt x="197" y="535"/>
                  <a:pt x="197" y="534"/>
                </a:cubicBezTo>
                <a:cubicBezTo>
                  <a:pt x="197" y="534"/>
                  <a:pt x="196" y="534"/>
                  <a:pt x="196" y="534"/>
                </a:cubicBezTo>
                <a:cubicBezTo>
                  <a:pt x="196" y="534"/>
                  <a:pt x="196" y="533"/>
                  <a:pt x="196" y="533"/>
                </a:cubicBezTo>
                <a:cubicBezTo>
                  <a:pt x="196" y="533"/>
                  <a:pt x="196" y="533"/>
                  <a:pt x="196" y="532"/>
                </a:cubicBezTo>
                <a:cubicBezTo>
                  <a:pt x="196" y="532"/>
                  <a:pt x="196" y="532"/>
                  <a:pt x="196" y="532"/>
                </a:cubicBezTo>
                <a:cubicBezTo>
                  <a:pt x="195" y="533"/>
                  <a:pt x="195" y="532"/>
                  <a:pt x="195" y="532"/>
                </a:cubicBezTo>
                <a:cubicBezTo>
                  <a:pt x="195" y="531"/>
                  <a:pt x="195" y="531"/>
                  <a:pt x="196" y="531"/>
                </a:cubicBezTo>
                <a:cubicBezTo>
                  <a:pt x="195" y="529"/>
                  <a:pt x="196" y="527"/>
                  <a:pt x="198" y="526"/>
                </a:cubicBezTo>
                <a:cubicBezTo>
                  <a:pt x="198" y="525"/>
                  <a:pt x="199" y="524"/>
                  <a:pt x="200" y="524"/>
                </a:cubicBezTo>
                <a:cubicBezTo>
                  <a:pt x="200" y="523"/>
                  <a:pt x="201" y="520"/>
                  <a:pt x="202" y="521"/>
                </a:cubicBezTo>
                <a:cubicBezTo>
                  <a:pt x="203" y="522"/>
                  <a:pt x="202" y="523"/>
                  <a:pt x="202" y="523"/>
                </a:cubicBezTo>
                <a:cubicBezTo>
                  <a:pt x="202" y="523"/>
                  <a:pt x="202" y="523"/>
                  <a:pt x="202" y="523"/>
                </a:cubicBezTo>
                <a:cubicBezTo>
                  <a:pt x="202" y="523"/>
                  <a:pt x="202" y="523"/>
                  <a:pt x="202" y="523"/>
                </a:cubicBezTo>
                <a:cubicBezTo>
                  <a:pt x="202" y="523"/>
                  <a:pt x="202" y="523"/>
                  <a:pt x="202" y="523"/>
                </a:cubicBezTo>
                <a:cubicBezTo>
                  <a:pt x="202" y="523"/>
                  <a:pt x="202" y="523"/>
                  <a:pt x="202" y="523"/>
                </a:cubicBezTo>
                <a:cubicBezTo>
                  <a:pt x="205" y="523"/>
                  <a:pt x="207" y="524"/>
                  <a:pt x="208" y="525"/>
                </a:cubicBezTo>
                <a:cubicBezTo>
                  <a:pt x="208" y="525"/>
                  <a:pt x="209" y="525"/>
                  <a:pt x="209" y="525"/>
                </a:cubicBezTo>
                <a:cubicBezTo>
                  <a:pt x="209" y="525"/>
                  <a:pt x="209" y="525"/>
                  <a:pt x="209" y="526"/>
                </a:cubicBezTo>
                <a:cubicBezTo>
                  <a:pt x="209" y="526"/>
                  <a:pt x="209" y="526"/>
                  <a:pt x="209" y="526"/>
                </a:cubicBezTo>
                <a:cubicBezTo>
                  <a:pt x="211" y="528"/>
                  <a:pt x="212" y="531"/>
                  <a:pt x="211" y="533"/>
                </a:cubicBezTo>
                <a:cubicBezTo>
                  <a:pt x="211" y="533"/>
                  <a:pt x="210" y="536"/>
                  <a:pt x="209" y="536"/>
                </a:cubicBezTo>
                <a:cubicBezTo>
                  <a:pt x="209" y="536"/>
                  <a:pt x="208" y="535"/>
                  <a:pt x="208" y="535"/>
                </a:cubicBezTo>
                <a:cubicBezTo>
                  <a:pt x="208" y="535"/>
                  <a:pt x="208" y="535"/>
                  <a:pt x="208" y="535"/>
                </a:cubicBezTo>
                <a:cubicBezTo>
                  <a:pt x="207" y="536"/>
                  <a:pt x="207" y="537"/>
                  <a:pt x="206" y="537"/>
                </a:cubicBezTo>
                <a:cubicBezTo>
                  <a:pt x="207" y="537"/>
                  <a:pt x="207" y="537"/>
                  <a:pt x="208" y="538"/>
                </a:cubicBezTo>
                <a:cubicBezTo>
                  <a:pt x="208" y="538"/>
                  <a:pt x="206" y="539"/>
                  <a:pt x="206" y="538"/>
                </a:cubicBezTo>
                <a:cubicBezTo>
                  <a:pt x="206" y="538"/>
                  <a:pt x="206" y="538"/>
                  <a:pt x="206" y="538"/>
                </a:cubicBezTo>
                <a:cubicBezTo>
                  <a:pt x="205" y="539"/>
                  <a:pt x="205" y="540"/>
                  <a:pt x="206" y="541"/>
                </a:cubicBezTo>
                <a:cubicBezTo>
                  <a:pt x="206" y="541"/>
                  <a:pt x="209" y="539"/>
                  <a:pt x="209" y="542"/>
                </a:cubicBezTo>
                <a:cubicBezTo>
                  <a:pt x="206" y="541"/>
                  <a:pt x="208" y="542"/>
                  <a:pt x="208" y="545"/>
                </a:cubicBezTo>
                <a:cubicBezTo>
                  <a:pt x="207" y="549"/>
                  <a:pt x="207" y="547"/>
                  <a:pt x="209" y="545"/>
                </a:cubicBezTo>
                <a:cubicBezTo>
                  <a:pt x="211" y="543"/>
                  <a:pt x="211" y="545"/>
                  <a:pt x="212" y="543"/>
                </a:cubicBezTo>
                <a:cubicBezTo>
                  <a:pt x="212" y="543"/>
                  <a:pt x="213" y="541"/>
                  <a:pt x="213" y="539"/>
                </a:cubicBezTo>
                <a:cubicBezTo>
                  <a:pt x="213" y="539"/>
                  <a:pt x="213" y="539"/>
                  <a:pt x="213" y="538"/>
                </a:cubicBezTo>
                <a:cubicBezTo>
                  <a:pt x="213" y="538"/>
                  <a:pt x="213" y="537"/>
                  <a:pt x="213" y="537"/>
                </a:cubicBezTo>
                <a:cubicBezTo>
                  <a:pt x="213" y="538"/>
                  <a:pt x="209" y="536"/>
                  <a:pt x="211" y="535"/>
                </a:cubicBezTo>
                <a:cubicBezTo>
                  <a:pt x="211" y="535"/>
                  <a:pt x="212" y="535"/>
                  <a:pt x="212" y="535"/>
                </a:cubicBezTo>
                <a:cubicBezTo>
                  <a:pt x="212" y="533"/>
                  <a:pt x="214" y="530"/>
                  <a:pt x="214" y="529"/>
                </a:cubicBezTo>
                <a:cubicBezTo>
                  <a:pt x="216" y="526"/>
                  <a:pt x="216" y="526"/>
                  <a:pt x="215" y="529"/>
                </a:cubicBezTo>
                <a:cubicBezTo>
                  <a:pt x="214" y="531"/>
                  <a:pt x="214" y="533"/>
                  <a:pt x="214" y="534"/>
                </a:cubicBezTo>
                <a:cubicBezTo>
                  <a:pt x="215" y="534"/>
                  <a:pt x="214" y="532"/>
                  <a:pt x="215" y="531"/>
                </a:cubicBezTo>
                <a:cubicBezTo>
                  <a:pt x="215" y="530"/>
                  <a:pt x="217" y="530"/>
                  <a:pt x="218" y="529"/>
                </a:cubicBezTo>
                <a:cubicBezTo>
                  <a:pt x="218" y="528"/>
                  <a:pt x="219" y="528"/>
                  <a:pt x="219" y="528"/>
                </a:cubicBezTo>
                <a:cubicBezTo>
                  <a:pt x="219" y="528"/>
                  <a:pt x="219" y="528"/>
                  <a:pt x="220" y="528"/>
                </a:cubicBezTo>
                <a:cubicBezTo>
                  <a:pt x="220" y="528"/>
                  <a:pt x="220" y="528"/>
                  <a:pt x="220" y="528"/>
                </a:cubicBezTo>
                <a:cubicBezTo>
                  <a:pt x="219" y="526"/>
                  <a:pt x="222" y="526"/>
                  <a:pt x="222" y="527"/>
                </a:cubicBezTo>
                <a:cubicBezTo>
                  <a:pt x="222" y="527"/>
                  <a:pt x="223" y="527"/>
                  <a:pt x="223" y="527"/>
                </a:cubicBezTo>
                <a:cubicBezTo>
                  <a:pt x="223" y="527"/>
                  <a:pt x="223" y="527"/>
                  <a:pt x="223" y="528"/>
                </a:cubicBezTo>
                <a:cubicBezTo>
                  <a:pt x="223" y="528"/>
                  <a:pt x="223" y="528"/>
                  <a:pt x="223" y="528"/>
                </a:cubicBezTo>
                <a:cubicBezTo>
                  <a:pt x="223" y="528"/>
                  <a:pt x="224" y="530"/>
                  <a:pt x="225" y="532"/>
                </a:cubicBezTo>
                <a:cubicBezTo>
                  <a:pt x="225" y="531"/>
                  <a:pt x="227" y="531"/>
                  <a:pt x="227" y="532"/>
                </a:cubicBezTo>
                <a:cubicBezTo>
                  <a:pt x="227" y="532"/>
                  <a:pt x="226" y="532"/>
                  <a:pt x="226" y="532"/>
                </a:cubicBezTo>
                <a:cubicBezTo>
                  <a:pt x="227" y="533"/>
                  <a:pt x="227" y="533"/>
                  <a:pt x="228" y="531"/>
                </a:cubicBezTo>
                <a:cubicBezTo>
                  <a:pt x="228" y="531"/>
                  <a:pt x="228" y="531"/>
                  <a:pt x="228" y="531"/>
                </a:cubicBezTo>
                <a:cubicBezTo>
                  <a:pt x="229" y="531"/>
                  <a:pt x="236" y="530"/>
                  <a:pt x="233" y="528"/>
                </a:cubicBezTo>
                <a:cubicBezTo>
                  <a:pt x="232" y="527"/>
                  <a:pt x="232" y="529"/>
                  <a:pt x="232" y="529"/>
                </a:cubicBezTo>
                <a:cubicBezTo>
                  <a:pt x="231" y="529"/>
                  <a:pt x="232" y="528"/>
                  <a:pt x="231" y="528"/>
                </a:cubicBezTo>
                <a:cubicBezTo>
                  <a:pt x="230" y="527"/>
                  <a:pt x="229" y="530"/>
                  <a:pt x="227" y="529"/>
                </a:cubicBezTo>
                <a:cubicBezTo>
                  <a:pt x="230" y="529"/>
                  <a:pt x="228" y="525"/>
                  <a:pt x="230" y="525"/>
                </a:cubicBezTo>
                <a:cubicBezTo>
                  <a:pt x="231" y="524"/>
                  <a:pt x="234" y="528"/>
                  <a:pt x="235" y="528"/>
                </a:cubicBezTo>
                <a:cubicBezTo>
                  <a:pt x="238" y="528"/>
                  <a:pt x="239" y="526"/>
                  <a:pt x="241" y="523"/>
                </a:cubicBezTo>
                <a:cubicBezTo>
                  <a:pt x="239" y="524"/>
                  <a:pt x="238" y="524"/>
                  <a:pt x="236" y="523"/>
                </a:cubicBezTo>
                <a:cubicBezTo>
                  <a:pt x="235" y="524"/>
                  <a:pt x="234" y="525"/>
                  <a:pt x="233" y="522"/>
                </a:cubicBezTo>
                <a:cubicBezTo>
                  <a:pt x="232" y="521"/>
                  <a:pt x="229" y="517"/>
                  <a:pt x="231" y="515"/>
                </a:cubicBezTo>
                <a:cubicBezTo>
                  <a:pt x="235" y="512"/>
                  <a:pt x="241" y="508"/>
                  <a:pt x="242" y="503"/>
                </a:cubicBezTo>
                <a:cubicBezTo>
                  <a:pt x="237" y="508"/>
                  <a:pt x="237" y="501"/>
                  <a:pt x="243" y="501"/>
                </a:cubicBezTo>
                <a:cubicBezTo>
                  <a:pt x="241" y="503"/>
                  <a:pt x="244" y="501"/>
                  <a:pt x="244" y="503"/>
                </a:cubicBezTo>
                <a:cubicBezTo>
                  <a:pt x="244" y="503"/>
                  <a:pt x="244" y="503"/>
                  <a:pt x="244" y="504"/>
                </a:cubicBezTo>
                <a:cubicBezTo>
                  <a:pt x="244" y="504"/>
                  <a:pt x="244" y="504"/>
                  <a:pt x="244" y="504"/>
                </a:cubicBezTo>
                <a:cubicBezTo>
                  <a:pt x="247" y="504"/>
                  <a:pt x="242" y="508"/>
                  <a:pt x="243" y="505"/>
                </a:cubicBezTo>
                <a:cubicBezTo>
                  <a:pt x="243" y="505"/>
                  <a:pt x="243" y="505"/>
                  <a:pt x="243" y="505"/>
                </a:cubicBezTo>
                <a:cubicBezTo>
                  <a:pt x="243" y="505"/>
                  <a:pt x="242" y="506"/>
                  <a:pt x="242" y="507"/>
                </a:cubicBezTo>
                <a:cubicBezTo>
                  <a:pt x="241" y="510"/>
                  <a:pt x="241" y="514"/>
                  <a:pt x="242" y="517"/>
                </a:cubicBezTo>
                <a:cubicBezTo>
                  <a:pt x="243" y="517"/>
                  <a:pt x="243" y="518"/>
                  <a:pt x="243" y="518"/>
                </a:cubicBezTo>
                <a:cubicBezTo>
                  <a:pt x="243" y="519"/>
                  <a:pt x="243" y="519"/>
                  <a:pt x="243" y="519"/>
                </a:cubicBezTo>
                <a:cubicBezTo>
                  <a:pt x="244" y="520"/>
                  <a:pt x="246" y="520"/>
                  <a:pt x="248" y="516"/>
                </a:cubicBezTo>
                <a:cubicBezTo>
                  <a:pt x="248" y="523"/>
                  <a:pt x="254" y="514"/>
                  <a:pt x="253" y="512"/>
                </a:cubicBezTo>
                <a:cubicBezTo>
                  <a:pt x="253" y="512"/>
                  <a:pt x="251" y="511"/>
                  <a:pt x="251" y="511"/>
                </a:cubicBezTo>
                <a:cubicBezTo>
                  <a:pt x="250" y="510"/>
                  <a:pt x="251" y="507"/>
                  <a:pt x="252" y="506"/>
                </a:cubicBezTo>
                <a:cubicBezTo>
                  <a:pt x="253" y="505"/>
                  <a:pt x="257" y="499"/>
                  <a:pt x="255" y="503"/>
                </a:cubicBezTo>
                <a:cubicBezTo>
                  <a:pt x="255" y="505"/>
                  <a:pt x="255" y="507"/>
                  <a:pt x="255" y="508"/>
                </a:cubicBezTo>
                <a:cubicBezTo>
                  <a:pt x="255" y="508"/>
                  <a:pt x="255" y="508"/>
                  <a:pt x="255" y="508"/>
                </a:cubicBezTo>
                <a:cubicBezTo>
                  <a:pt x="255" y="508"/>
                  <a:pt x="255" y="508"/>
                  <a:pt x="255" y="508"/>
                </a:cubicBezTo>
                <a:cubicBezTo>
                  <a:pt x="254" y="510"/>
                  <a:pt x="254" y="511"/>
                  <a:pt x="254" y="513"/>
                </a:cubicBezTo>
                <a:cubicBezTo>
                  <a:pt x="254" y="515"/>
                  <a:pt x="252" y="517"/>
                  <a:pt x="252" y="518"/>
                </a:cubicBezTo>
                <a:cubicBezTo>
                  <a:pt x="252" y="517"/>
                  <a:pt x="252" y="517"/>
                  <a:pt x="253" y="518"/>
                </a:cubicBezTo>
                <a:cubicBezTo>
                  <a:pt x="253" y="519"/>
                  <a:pt x="254" y="519"/>
                  <a:pt x="254" y="519"/>
                </a:cubicBezTo>
                <a:cubicBezTo>
                  <a:pt x="253" y="520"/>
                  <a:pt x="253" y="520"/>
                  <a:pt x="253" y="520"/>
                </a:cubicBezTo>
                <a:cubicBezTo>
                  <a:pt x="253" y="520"/>
                  <a:pt x="253" y="521"/>
                  <a:pt x="254" y="521"/>
                </a:cubicBezTo>
                <a:cubicBezTo>
                  <a:pt x="256" y="521"/>
                  <a:pt x="256" y="513"/>
                  <a:pt x="257" y="510"/>
                </a:cubicBezTo>
                <a:cubicBezTo>
                  <a:pt x="256" y="510"/>
                  <a:pt x="256" y="510"/>
                  <a:pt x="256" y="510"/>
                </a:cubicBezTo>
                <a:cubicBezTo>
                  <a:pt x="255" y="509"/>
                  <a:pt x="256" y="509"/>
                  <a:pt x="257" y="509"/>
                </a:cubicBezTo>
                <a:cubicBezTo>
                  <a:pt x="257" y="509"/>
                  <a:pt x="257" y="509"/>
                  <a:pt x="257" y="509"/>
                </a:cubicBezTo>
                <a:cubicBezTo>
                  <a:pt x="257" y="508"/>
                  <a:pt x="257" y="507"/>
                  <a:pt x="257" y="506"/>
                </a:cubicBezTo>
                <a:cubicBezTo>
                  <a:pt x="257" y="506"/>
                  <a:pt x="257" y="506"/>
                  <a:pt x="257" y="506"/>
                </a:cubicBezTo>
                <a:cubicBezTo>
                  <a:pt x="257" y="506"/>
                  <a:pt x="257" y="506"/>
                  <a:pt x="257" y="506"/>
                </a:cubicBezTo>
                <a:cubicBezTo>
                  <a:pt x="258" y="504"/>
                  <a:pt x="259" y="501"/>
                  <a:pt x="259" y="501"/>
                </a:cubicBezTo>
                <a:cubicBezTo>
                  <a:pt x="262" y="499"/>
                  <a:pt x="256" y="514"/>
                  <a:pt x="262" y="510"/>
                </a:cubicBezTo>
                <a:cubicBezTo>
                  <a:pt x="262" y="510"/>
                  <a:pt x="267" y="506"/>
                  <a:pt x="267" y="505"/>
                </a:cubicBezTo>
                <a:cubicBezTo>
                  <a:pt x="267" y="504"/>
                  <a:pt x="265" y="505"/>
                  <a:pt x="264" y="505"/>
                </a:cubicBezTo>
                <a:cubicBezTo>
                  <a:pt x="263" y="504"/>
                  <a:pt x="264" y="501"/>
                  <a:pt x="265" y="500"/>
                </a:cubicBezTo>
                <a:cubicBezTo>
                  <a:pt x="267" y="500"/>
                  <a:pt x="267" y="502"/>
                  <a:pt x="267" y="502"/>
                </a:cubicBezTo>
                <a:cubicBezTo>
                  <a:pt x="269" y="502"/>
                  <a:pt x="270" y="500"/>
                  <a:pt x="271" y="498"/>
                </a:cubicBezTo>
                <a:cubicBezTo>
                  <a:pt x="271" y="498"/>
                  <a:pt x="271" y="498"/>
                  <a:pt x="270" y="498"/>
                </a:cubicBezTo>
                <a:cubicBezTo>
                  <a:pt x="271" y="497"/>
                  <a:pt x="271" y="497"/>
                  <a:pt x="271" y="497"/>
                </a:cubicBezTo>
                <a:cubicBezTo>
                  <a:pt x="272" y="495"/>
                  <a:pt x="273" y="494"/>
                  <a:pt x="274" y="493"/>
                </a:cubicBezTo>
                <a:cubicBezTo>
                  <a:pt x="276" y="490"/>
                  <a:pt x="277" y="487"/>
                  <a:pt x="278" y="487"/>
                </a:cubicBezTo>
                <a:cubicBezTo>
                  <a:pt x="278" y="486"/>
                  <a:pt x="280" y="489"/>
                  <a:pt x="282" y="489"/>
                </a:cubicBezTo>
                <a:cubicBezTo>
                  <a:pt x="284" y="489"/>
                  <a:pt x="284" y="486"/>
                  <a:pt x="284" y="489"/>
                </a:cubicBezTo>
                <a:cubicBezTo>
                  <a:pt x="284" y="491"/>
                  <a:pt x="285" y="489"/>
                  <a:pt x="285" y="492"/>
                </a:cubicBezTo>
                <a:cubicBezTo>
                  <a:pt x="285" y="493"/>
                  <a:pt x="281" y="498"/>
                  <a:pt x="278" y="496"/>
                </a:cubicBezTo>
                <a:cubicBezTo>
                  <a:pt x="277" y="496"/>
                  <a:pt x="277" y="493"/>
                  <a:pt x="275" y="495"/>
                </a:cubicBezTo>
                <a:cubicBezTo>
                  <a:pt x="275" y="496"/>
                  <a:pt x="275" y="498"/>
                  <a:pt x="274" y="499"/>
                </a:cubicBezTo>
                <a:cubicBezTo>
                  <a:pt x="273" y="502"/>
                  <a:pt x="268" y="505"/>
                  <a:pt x="267" y="508"/>
                </a:cubicBezTo>
                <a:cubicBezTo>
                  <a:pt x="266" y="510"/>
                  <a:pt x="266" y="513"/>
                  <a:pt x="264" y="516"/>
                </a:cubicBezTo>
                <a:cubicBezTo>
                  <a:pt x="263" y="518"/>
                  <a:pt x="257" y="521"/>
                  <a:pt x="257" y="523"/>
                </a:cubicBezTo>
                <a:cubicBezTo>
                  <a:pt x="257" y="523"/>
                  <a:pt x="258" y="524"/>
                  <a:pt x="258" y="525"/>
                </a:cubicBezTo>
                <a:cubicBezTo>
                  <a:pt x="258" y="525"/>
                  <a:pt x="259" y="525"/>
                  <a:pt x="259" y="525"/>
                </a:cubicBezTo>
                <a:cubicBezTo>
                  <a:pt x="259" y="525"/>
                  <a:pt x="259" y="525"/>
                  <a:pt x="259" y="525"/>
                </a:cubicBezTo>
                <a:cubicBezTo>
                  <a:pt x="261" y="527"/>
                  <a:pt x="265" y="529"/>
                  <a:pt x="267" y="528"/>
                </a:cubicBezTo>
                <a:cubicBezTo>
                  <a:pt x="268" y="528"/>
                  <a:pt x="268" y="528"/>
                  <a:pt x="268" y="528"/>
                </a:cubicBezTo>
                <a:cubicBezTo>
                  <a:pt x="268" y="527"/>
                  <a:pt x="268" y="526"/>
                  <a:pt x="268" y="525"/>
                </a:cubicBezTo>
                <a:cubicBezTo>
                  <a:pt x="270" y="521"/>
                  <a:pt x="278" y="518"/>
                  <a:pt x="282" y="521"/>
                </a:cubicBezTo>
                <a:cubicBezTo>
                  <a:pt x="282" y="521"/>
                  <a:pt x="282" y="521"/>
                  <a:pt x="282" y="522"/>
                </a:cubicBezTo>
                <a:cubicBezTo>
                  <a:pt x="282" y="522"/>
                  <a:pt x="282" y="522"/>
                  <a:pt x="282" y="521"/>
                </a:cubicBezTo>
                <a:cubicBezTo>
                  <a:pt x="283" y="520"/>
                  <a:pt x="282" y="521"/>
                  <a:pt x="282" y="522"/>
                </a:cubicBezTo>
                <a:cubicBezTo>
                  <a:pt x="282" y="522"/>
                  <a:pt x="282" y="522"/>
                  <a:pt x="283" y="523"/>
                </a:cubicBezTo>
                <a:cubicBezTo>
                  <a:pt x="284" y="522"/>
                  <a:pt x="285" y="522"/>
                  <a:pt x="285" y="521"/>
                </a:cubicBezTo>
                <a:cubicBezTo>
                  <a:pt x="286" y="523"/>
                  <a:pt x="287" y="519"/>
                  <a:pt x="289" y="519"/>
                </a:cubicBezTo>
                <a:cubicBezTo>
                  <a:pt x="290" y="519"/>
                  <a:pt x="292" y="521"/>
                  <a:pt x="292" y="519"/>
                </a:cubicBezTo>
                <a:cubicBezTo>
                  <a:pt x="292" y="524"/>
                  <a:pt x="301" y="516"/>
                  <a:pt x="302" y="515"/>
                </a:cubicBezTo>
                <a:cubicBezTo>
                  <a:pt x="301" y="515"/>
                  <a:pt x="295" y="514"/>
                  <a:pt x="295" y="514"/>
                </a:cubicBezTo>
                <a:cubicBezTo>
                  <a:pt x="295" y="514"/>
                  <a:pt x="295" y="514"/>
                  <a:pt x="295" y="514"/>
                </a:cubicBezTo>
                <a:cubicBezTo>
                  <a:pt x="295" y="514"/>
                  <a:pt x="295" y="514"/>
                  <a:pt x="295" y="514"/>
                </a:cubicBezTo>
                <a:cubicBezTo>
                  <a:pt x="294" y="515"/>
                  <a:pt x="293" y="515"/>
                  <a:pt x="293" y="515"/>
                </a:cubicBezTo>
                <a:cubicBezTo>
                  <a:pt x="292" y="513"/>
                  <a:pt x="294" y="514"/>
                  <a:pt x="295" y="512"/>
                </a:cubicBezTo>
                <a:cubicBezTo>
                  <a:pt x="295" y="512"/>
                  <a:pt x="295" y="512"/>
                  <a:pt x="295" y="512"/>
                </a:cubicBezTo>
                <a:cubicBezTo>
                  <a:pt x="294" y="512"/>
                  <a:pt x="293" y="511"/>
                  <a:pt x="294" y="510"/>
                </a:cubicBezTo>
                <a:cubicBezTo>
                  <a:pt x="294" y="510"/>
                  <a:pt x="294" y="510"/>
                  <a:pt x="294" y="510"/>
                </a:cubicBezTo>
                <a:cubicBezTo>
                  <a:pt x="293" y="509"/>
                  <a:pt x="293" y="508"/>
                  <a:pt x="293" y="507"/>
                </a:cubicBezTo>
                <a:cubicBezTo>
                  <a:pt x="293" y="507"/>
                  <a:pt x="296" y="504"/>
                  <a:pt x="297" y="504"/>
                </a:cubicBezTo>
                <a:cubicBezTo>
                  <a:pt x="298" y="504"/>
                  <a:pt x="300" y="499"/>
                  <a:pt x="302" y="499"/>
                </a:cubicBezTo>
                <a:cubicBezTo>
                  <a:pt x="303" y="500"/>
                  <a:pt x="300" y="501"/>
                  <a:pt x="301" y="503"/>
                </a:cubicBezTo>
                <a:cubicBezTo>
                  <a:pt x="302" y="503"/>
                  <a:pt x="304" y="502"/>
                  <a:pt x="305" y="503"/>
                </a:cubicBezTo>
                <a:cubicBezTo>
                  <a:pt x="305" y="503"/>
                  <a:pt x="304" y="505"/>
                  <a:pt x="305" y="506"/>
                </a:cubicBezTo>
                <a:cubicBezTo>
                  <a:pt x="305" y="505"/>
                  <a:pt x="308" y="505"/>
                  <a:pt x="308" y="506"/>
                </a:cubicBezTo>
                <a:cubicBezTo>
                  <a:pt x="309" y="508"/>
                  <a:pt x="306" y="507"/>
                  <a:pt x="306" y="508"/>
                </a:cubicBezTo>
                <a:cubicBezTo>
                  <a:pt x="305" y="509"/>
                  <a:pt x="306" y="509"/>
                  <a:pt x="306" y="510"/>
                </a:cubicBezTo>
                <a:cubicBezTo>
                  <a:pt x="306" y="511"/>
                  <a:pt x="305" y="511"/>
                  <a:pt x="304" y="513"/>
                </a:cubicBezTo>
                <a:cubicBezTo>
                  <a:pt x="304" y="513"/>
                  <a:pt x="304" y="514"/>
                  <a:pt x="304" y="514"/>
                </a:cubicBezTo>
                <a:cubicBezTo>
                  <a:pt x="302" y="517"/>
                  <a:pt x="296" y="519"/>
                  <a:pt x="297" y="524"/>
                </a:cubicBezTo>
                <a:cubicBezTo>
                  <a:pt x="297" y="525"/>
                  <a:pt x="298" y="525"/>
                  <a:pt x="299" y="524"/>
                </a:cubicBezTo>
                <a:cubicBezTo>
                  <a:pt x="298" y="527"/>
                  <a:pt x="295" y="535"/>
                  <a:pt x="289" y="536"/>
                </a:cubicBezTo>
                <a:cubicBezTo>
                  <a:pt x="289" y="536"/>
                  <a:pt x="286" y="535"/>
                  <a:pt x="285" y="534"/>
                </a:cubicBezTo>
                <a:cubicBezTo>
                  <a:pt x="285" y="534"/>
                  <a:pt x="284" y="533"/>
                  <a:pt x="283" y="532"/>
                </a:cubicBezTo>
                <a:cubicBezTo>
                  <a:pt x="283" y="532"/>
                  <a:pt x="283" y="532"/>
                  <a:pt x="283" y="531"/>
                </a:cubicBezTo>
                <a:cubicBezTo>
                  <a:pt x="283" y="531"/>
                  <a:pt x="283" y="531"/>
                  <a:pt x="283" y="531"/>
                </a:cubicBezTo>
                <a:cubicBezTo>
                  <a:pt x="282" y="531"/>
                  <a:pt x="282" y="530"/>
                  <a:pt x="282" y="530"/>
                </a:cubicBezTo>
                <a:cubicBezTo>
                  <a:pt x="280" y="531"/>
                  <a:pt x="278" y="533"/>
                  <a:pt x="277" y="533"/>
                </a:cubicBezTo>
                <a:cubicBezTo>
                  <a:pt x="278" y="535"/>
                  <a:pt x="280" y="534"/>
                  <a:pt x="281" y="534"/>
                </a:cubicBezTo>
                <a:cubicBezTo>
                  <a:pt x="281" y="534"/>
                  <a:pt x="280" y="534"/>
                  <a:pt x="280" y="535"/>
                </a:cubicBezTo>
                <a:cubicBezTo>
                  <a:pt x="281" y="535"/>
                  <a:pt x="282" y="535"/>
                  <a:pt x="282" y="536"/>
                </a:cubicBezTo>
                <a:cubicBezTo>
                  <a:pt x="283" y="537"/>
                  <a:pt x="281" y="536"/>
                  <a:pt x="281" y="537"/>
                </a:cubicBezTo>
                <a:cubicBezTo>
                  <a:pt x="280" y="538"/>
                  <a:pt x="282" y="537"/>
                  <a:pt x="280" y="539"/>
                </a:cubicBezTo>
                <a:cubicBezTo>
                  <a:pt x="279" y="541"/>
                  <a:pt x="276" y="540"/>
                  <a:pt x="275" y="541"/>
                </a:cubicBezTo>
                <a:cubicBezTo>
                  <a:pt x="275" y="541"/>
                  <a:pt x="275" y="541"/>
                  <a:pt x="275" y="542"/>
                </a:cubicBezTo>
                <a:cubicBezTo>
                  <a:pt x="276" y="542"/>
                  <a:pt x="276" y="543"/>
                  <a:pt x="277" y="543"/>
                </a:cubicBezTo>
                <a:cubicBezTo>
                  <a:pt x="277" y="543"/>
                  <a:pt x="275" y="544"/>
                  <a:pt x="276" y="546"/>
                </a:cubicBezTo>
                <a:cubicBezTo>
                  <a:pt x="276" y="547"/>
                  <a:pt x="277" y="546"/>
                  <a:pt x="277" y="546"/>
                </a:cubicBezTo>
                <a:cubicBezTo>
                  <a:pt x="277" y="547"/>
                  <a:pt x="277" y="551"/>
                  <a:pt x="277" y="551"/>
                </a:cubicBezTo>
                <a:cubicBezTo>
                  <a:pt x="276" y="552"/>
                  <a:pt x="274" y="550"/>
                  <a:pt x="272" y="551"/>
                </a:cubicBezTo>
                <a:cubicBezTo>
                  <a:pt x="273" y="551"/>
                  <a:pt x="269" y="553"/>
                  <a:pt x="269" y="553"/>
                </a:cubicBezTo>
                <a:cubicBezTo>
                  <a:pt x="269" y="554"/>
                  <a:pt x="270" y="555"/>
                  <a:pt x="270" y="556"/>
                </a:cubicBezTo>
                <a:cubicBezTo>
                  <a:pt x="269" y="558"/>
                  <a:pt x="267" y="558"/>
                  <a:pt x="267" y="560"/>
                </a:cubicBezTo>
                <a:cubicBezTo>
                  <a:pt x="267" y="561"/>
                  <a:pt x="264" y="565"/>
                  <a:pt x="262" y="565"/>
                </a:cubicBezTo>
                <a:cubicBezTo>
                  <a:pt x="257" y="564"/>
                  <a:pt x="260" y="557"/>
                  <a:pt x="254" y="558"/>
                </a:cubicBezTo>
                <a:cubicBezTo>
                  <a:pt x="254" y="552"/>
                  <a:pt x="248" y="563"/>
                  <a:pt x="247" y="562"/>
                </a:cubicBezTo>
                <a:cubicBezTo>
                  <a:pt x="246" y="562"/>
                  <a:pt x="246" y="562"/>
                  <a:pt x="246" y="562"/>
                </a:cubicBezTo>
                <a:cubicBezTo>
                  <a:pt x="246" y="563"/>
                  <a:pt x="246" y="563"/>
                  <a:pt x="246" y="563"/>
                </a:cubicBezTo>
                <a:cubicBezTo>
                  <a:pt x="245" y="563"/>
                  <a:pt x="246" y="562"/>
                  <a:pt x="246" y="562"/>
                </a:cubicBezTo>
                <a:cubicBezTo>
                  <a:pt x="245" y="561"/>
                  <a:pt x="246" y="561"/>
                  <a:pt x="246" y="562"/>
                </a:cubicBezTo>
                <a:cubicBezTo>
                  <a:pt x="247" y="560"/>
                  <a:pt x="251" y="555"/>
                  <a:pt x="246" y="557"/>
                </a:cubicBezTo>
                <a:cubicBezTo>
                  <a:pt x="245" y="558"/>
                  <a:pt x="246" y="561"/>
                  <a:pt x="245" y="561"/>
                </a:cubicBezTo>
                <a:cubicBezTo>
                  <a:pt x="244" y="562"/>
                  <a:pt x="241" y="560"/>
                  <a:pt x="239" y="561"/>
                </a:cubicBezTo>
                <a:cubicBezTo>
                  <a:pt x="239" y="561"/>
                  <a:pt x="237" y="564"/>
                  <a:pt x="238" y="565"/>
                </a:cubicBezTo>
                <a:cubicBezTo>
                  <a:pt x="238" y="567"/>
                  <a:pt x="240" y="566"/>
                  <a:pt x="238" y="568"/>
                </a:cubicBezTo>
                <a:cubicBezTo>
                  <a:pt x="238" y="569"/>
                  <a:pt x="239" y="568"/>
                  <a:pt x="239" y="568"/>
                </a:cubicBezTo>
                <a:cubicBezTo>
                  <a:pt x="238" y="569"/>
                  <a:pt x="239" y="570"/>
                  <a:pt x="241" y="570"/>
                </a:cubicBezTo>
                <a:cubicBezTo>
                  <a:pt x="238" y="572"/>
                  <a:pt x="235" y="572"/>
                  <a:pt x="237" y="575"/>
                </a:cubicBezTo>
                <a:cubicBezTo>
                  <a:pt x="237" y="575"/>
                  <a:pt x="242" y="578"/>
                  <a:pt x="242" y="579"/>
                </a:cubicBezTo>
                <a:cubicBezTo>
                  <a:pt x="245" y="577"/>
                  <a:pt x="240" y="574"/>
                  <a:pt x="241" y="571"/>
                </a:cubicBezTo>
                <a:cubicBezTo>
                  <a:pt x="243" y="569"/>
                  <a:pt x="244" y="576"/>
                  <a:pt x="245" y="576"/>
                </a:cubicBezTo>
                <a:cubicBezTo>
                  <a:pt x="246" y="577"/>
                  <a:pt x="245" y="575"/>
                  <a:pt x="246" y="576"/>
                </a:cubicBezTo>
                <a:cubicBezTo>
                  <a:pt x="248" y="576"/>
                  <a:pt x="249" y="578"/>
                  <a:pt x="250" y="577"/>
                </a:cubicBezTo>
                <a:cubicBezTo>
                  <a:pt x="250" y="576"/>
                  <a:pt x="247" y="576"/>
                  <a:pt x="248" y="574"/>
                </a:cubicBezTo>
                <a:cubicBezTo>
                  <a:pt x="249" y="573"/>
                  <a:pt x="252" y="575"/>
                  <a:pt x="251" y="576"/>
                </a:cubicBezTo>
                <a:cubicBezTo>
                  <a:pt x="252" y="576"/>
                  <a:pt x="253" y="576"/>
                  <a:pt x="254" y="577"/>
                </a:cubicBezTo>
                <a:cubicBezTo>
                  <a:pt x="254" y="576"/>
                  <a:pt x="254" y="576"/>
                  <a:pt x="255" y="576"/>
                </a:cubicBezTo>
                <a:cubicBezTo>
                  <a:pt x="255" y="576"/>
                  <a:pt x="255" y="577"/>
                  <a:pt x="254" y="578"/>
                </a:cubicBezTo>
                <a:cubicBezTo>
                  <a:pt x="255" y="580"/>
                  <a:pt x="254" y="582"/>
                  <a:pt x="253" y="583"/>
                </a:cubicBezTo>
                <a:cubicBezTo>
                  <a:pt x="253" y="583"/>
                  <a:pt x="253" y="583"/>
                  <a:pt x="253" y="583"/>
                </a:cubicBezTo>
                <a:cubicBezTo>
                  <a:pt x="255" y="584"/>
                  <a:pt x="254" y="582"/>
                  <a:pt x="255" y="583"/>
                </a:cubicBezTo>
                <a:cubicBezTo>
                  <a:pt x="255" y="583"/>
                  <a:pt x="256" y="583"/>
                  <a:pt x="256" y="583"/>
                </a:cubicBezTo>
                <a:cubicBezTo>
                  <a:pt x="257" y="581"/>
                  <a:pt x="258" y="578"/>
                  <a:pt x="259" y="578"/>
                </a:cubicBezTo>
                <a:cubicBezTo>
                  <a:pt x="260" y="577"/>
                  <a:pt x="262" y="580"/>
                  <a:pt x="262" y="578"/>
                </a:cubicBezTo>
                <a:cubicBezTo>
                  <a:pt x="263" y="577"/>
                  <a:pt x="261" y="575"/>
                  <a:pt x="260" y="575"/>
                </a:cubicBezTo>
                <a:cubicBezTo>
                  <a:pt x="261" y="575"/>
                  <a:pt x="261" y="572"/>
                  <a:pt x="261" y="572"/>
                </a:cubicBezTo>
                <a:cubicBezTo>
                  <a:pt x="259" y="572"/>
                  <a:pt x="257" y="574"/>
                  <a:pt x="256" y="573"/>
                </a:cubicBezTo>
                <a:cubicBezTo>
                  <a:pt x="255" y="573"/>
                  <a:pt x="258" y="571"/>
                  <a:pt x="258" y="570"/>
                </a:cubicBezTo>
                <a:cubicBezTo>
                  <a:pt x="258" y="573"/>
                  <a:pt x="261" y="569"/>
                  <a:pt x="263" y="568"/>
                </a:cubicBezTo>
                <a:cubicBezTo>
                  <a:pt x="264" y="568"/>
                  <a:pt x="266" y="568"/>
                  <a:pt x="267" y="568"/>
                </a:cubicBezTo>
                <a:cubicBezTo>
                  <a:pt x="268" y="567"/>
                  <a:pt x="266" y="565"/>
                  <a:pt x="269" y="564"/>
                </a:cubicBezTo>
                <a:cubicBezTo>
                  <a:pt x="269" y="564"/>
                  <a:pt x="268" y="566"/>
                  <a:pt x="269" y="566"/>
                </a:cubicBezTo>
                <a:cubicBezTo>
                  <a:pt x="269" y="567"/>
                  <a:pt x="271" y="564"/>
                  <a:pt x="273" y="566"/>
                </a:cubicBezTo>
                <a:cubicBezTo>
                  <a:pt x="273" y="566"/>
                  <a:pt x="272" y="568"/>
                  <a:pt x="272" y="570"/>
                </a:cubicBezTo>
                <a:cubicBezTo>
                  <a:pt x="272" y="570"/>
                  <a:pt x="272" y="571"/>
                  <a:pt x="272" y="572"/>
                </a:cubicBezTo>
                <a:cubicBezTo>
                  <a:pt x="274" y="572"/>
                  <a:pt x="279" y="573"/>
                  <a:pt x="280" y="573"/>
                </a:cubicBezTo>
                <a:cubicBezTo>
                  <a:pt x="281" y="574"/>
                  <a:pt x="279" y="576"/>
                  <a:pt x="282" y="576"/>
                </a:cubicBezTo>
                <a:cubicBezTo>
                  <a:pt x="279" y="578"/>
                  <a:pt x="284" y="579"/>
                  <a:pt x="283" y="581"/>
                </a:cubicBezTo>
                <a:cubicBezTo>
                  <a:pt x="283" y="581"/>
                  <a:pt x="281" y="581"/>
                  <a:pt x="281" y="582"/>
                </a:cubicBezTo>
                <a:cubicBezTo>
                  <a:pt x="281" y="582"/>
                  <a:pt x="282" y="583"/>
                  <a:pt x="281" y="584"/>
                </a:cubicBezTo>
                <a:cubicBezTo>
                  <a:pt x="281" y="584"/>
                  <a:pt x="281" y="584"/>
                  <a:pt x="281" y="584"/>
                </a:cubicBezTo>
                <a:cubicBezTo>
                  <a:pt x="282" y="585"/>
                  <a:pt x="283" y="587"/>
                  <a:pt x="282" y="588"/>
                </a:cubicBezTo>
                <a:cubicBezTo>
                  <a:pt x="283" y="588"/>
                  <a:pt x="283" y="588"/>
                  <a:pt x="284" y="588"/>
                </a:cubicBezTo>
                <a:cubicBezTo>
                  <a:pt x="283" y="588"/>
                  <a:pt x="283" y="587"/>
                  <a:pt x="283" y="586"/>
                </a:cubicBezTo>
                <a:cubicBezTo>
                  <a:pt x="283" y="585"/>
                  <a:pt x="284" y="585"/>
                  <a:pt x="285" y="584"/>
                </a:cubicBezTo>
                <a:cubicBezTo>
                  <a:pt x="285" y="584"/>
                  <a:pt x="285" y="583"/>
                  <a:pt x="286" y="582"/>
                </a:cubicBezTo>
                <a:cubicBezTo>
                  <a:pt x="286" y="582"/>
                  <a:pt x="286" y="582"/>
                  <a:pt x="286" y="582"/>
                </a:cubicBezTo>
                <a:cubicBezTo>
                  <a:pt x="286" y="582"/>
                  <a:pt x="287" y="582"/>
                  <a:pt x="287" y="582"/>
                </a:cubicBezTo>
                <a:cubicBezTo>
                  <a:pt x="288" y="581"/>
                  <a:pt x="290" y="580"/>
                  <a:pt x="291" y="578"/>
                </a:cubicBezTo>
                <a:cubicBezTo>
                  <a:pt x="289" y="581"/>
                  <a:pt x="293" y="581"/>
                  <a:pt x="293" y="581"/>
                </a:cubicBezTo>
                <a:cubicBezTo>
                  <a:pt x="294" y="581"/>
                  <a:pt x="294" y="581"/>
                  <a:pt x="294" y="581"/>
                </a:cubicBezTo>
                <a:cubicBezTo>
                  <a:pt x="294" y="581"/>
                  <a:pt x="294" y="581"/>
                  <a:pt x="294" y="581"/>
                </a:cubicBezTo>
                <a:cubicBezTo>
                  <a:pt x="293" y="581"/>
                  <a:pt x="293" y="580"/>
                  <a:pt x="293" y="580"/>
                </a:cubicBezTo>
                <a:cubicBezTo>
                  <a:pt x="292" y="579"/>
                  <a:pt x="293" y="574"/>
                  <a:pt x="294" y="574"/>
                </a:cubicBezTo>
                <a:cubicBezTo>
                  <a:pt x="295" y="573"/>
                  <a:pt x="295" y="574"/>
                  <a:pt x="295" y="574"/>
                </a:cubicBezTo>
                <a:cubicBezTo>
                  <a:pt x="297" y="574"/>
                  <a:pt x="299" y="572"/>
                  <a:pt x="302" y="573"/>
                </a:cubicBezTo>
                <a:cubicBezTo>
                  <a:pt x="301" y="574"/>
                  <a:pt x="299" y="573"/>
                  <a:pt x="299" y="575"/>
                </a:cubicBezTo>
                <a:cubicBezTo>
                  <a:pt x="298" y="576"/>
                  <a:pt x="300" y="575"/>
                  <a:pt x="300" y="576"/>
                </a:cubicBezTo>
                <a:cubicBezTo>
                  <a:pt x="301" y="577"/>
                  <a:pt x="298" y="581"/>
                  <a:pt x="295" y="581"/>
                </a:cubicBezTo>
                <a:cubicBezTo>
                  <a:pt x="295" y="582"/>
                  <a:pt x="294" y="583"/>
                  <a:pt x="294" y="584"/>
                </a:cubicBezTo>
                <a:cubicBezTo>
                  <a:pt x="294" y="584"/>
                  <a:pt x="295" y="584"/>
                  <a:pt x="295" y="584"/>
                </a:cubicBezTo>
                <a:cubicBezTo>
                  <a:pt x="296" y="583"/>
                  <a:pt x="299" y="582"/>
                  <a:pt x="300" y="580"/>
                </a:cubicBezTo>
                <a:cubicBezTo>
                  <a:pt x="301" y="580"/>
                  <a:pt x="300" y="578"/>
                  <a:pt x="301" y="578"/>
                </a:cubicBezTo>
                <a:cubicBezTo>
                  <a:pt x="301" y="577"/>
                  <a:pt x="302" y="577"/>
                  <a:pt x="302" y="576"/>
                </a:cubicBezTo>
                <a:cubicBezTo>
                  <a:pt x="302" y="575"/>
                  <a:pt x="301" y="576"/>
                  <a:pt x="301" y="574"/>
                </a:cubicBezTo>
                <a:cubicBezTo>
                  <a:pt x="302" y="573"/>
                  <a:pt x="303" y="573"/>
                  <a:pt x="304" y="573"/>
                </a:cubicBezTo>
                <a:cubicBezTo>
                  <a:pt x="304" y="574"/>
                  <a:pt x="303" y="576"/>
                  <a:pt x="304" y="578"/>
                </a:cubicBezTo>
                <a:cubicBezTo>
                  <a:pt x="304" y="578"/>
                  <a:pt x="306" y="578"/>
                  <a:pt x="307" y="579"/>
                </a:cubicBezTo>
                <a:cubicBezTo>
                  <a:pt x="308" y="580"/>
                  <a:pt x="308" y="581"/>
                  <a:pt x="311" y="579"/>
                </a:cubicBezTo>
                <a:cubicBezTo>
                  <a:pt x="307" y="583"/>
                  <a:pt x="312" y="581"/>
                  <a:pt x="313" y="582"/>
                </a:cubicBezTo>
                <a:cubicBezTo>
                  <a:pt x="312" y="582"/>
                  <a:pt x="312" y="589"/>
                  <a:pt x="312" y="589"/>
                </a:cubicBezTo>
                <a:cubicBezTo>
                  <a:pt x="312" y="590"/>
                  <a:pt x="310" y="593"/>
                  <a:pt x="310" y="595"/>
                </a:cubicBezTo>
                <a:cubicBezTo>
                  <a:pt x="310" y="594"/>
                  <a:pt x="310" y="594"/>
                  <a:pt x="311" y="594"/>
                </a:cubicBezTo>
                <a:cubicBezTo>
                  <a:pt x="311" y="595"/>
                  <a:pt x="310" y="595"/>
                  <a:pt x="310" y="596"/>
                </a:cubicBezTo>
                <a:cubicBezTo>
                  <a:pt x="310" y="596"/>
                  <a:pt x="310" y="596"/>
                  <a:pt x="310" y="596"/>
                </a:cubicBezTo>
                <a:cubicBezTo>
                  <a:pt x="310" y="596"/>
                  <a:pt x="310" y="596"/>
                  <a:pt x="311" y="595"/>
                </a:cubicBezTo>
                <a:cubicBezTo>
                  <a:pt x="311" y="595"/>
                  <a:pt x="311" y="595"/>
                  <a:pt x="311" y="595"/>
                </a:cubicBezTo>
                <a:cubicBezTo>
                  <a:pt x="311" y="595"/>
                  <a:pt x="311" y="595"/>
                  <a:pt x="311" y="595"/>
                </a:cubicBezTo>
                <a:cubicBezTo>
                  <a:pt x="311" y="595"/>
                  <a:pt x="311" y="595"/>
                  <a:pt x="311" y="595"/>
                </a:cubicBezTo>
                <a:cubicBezTo>
                  <a:pt x="314" y="594"/>
                  <a:pt x="320" y="594"/>
                  <a:pt x="324" y="595"/>
                </a:cubicBezTo>
                <a:cubicBezTo>
                  <a:pt x="324" y="594"/>
                  <a:pt x="324" y="593"/>
                  <a:pt x="324" y="593"/>
                </a:cubicBezTo>
                <a:cubicBezTo>
                  <a:pt x="325" y="593"/>
                  <a:pt x="325" y="594"/>
                  <a:pt x="325" y="595"/>
                </a:cubicBezTo>
                <a:cubicBezTo>
                  <a:pt x="326" y="595"/>
                  <a:pt x="326" y="596"/>
                  <a:pt x="326" y="596"/>
                </a:cubicBezTo>
                <a:cubicBezTo>
                  <a:pt x="326" y="597"/>
                  <a:pt x="325" y="597"/>
                  <a:pt x="323" y="598"/>
                </a:cubicBezTo>
                <a:cubicBezTo>
                  <a:pt x="324" y="598"/>
                  <a:pt x="324" y="598"/>
                  <a:pt x="324" y="599"/>
                </a:cubicBezTo>
                <a:cubicBezTo>
                  <a:pt x="324" y="600"/>
                  <a:pt x="323" y="601"/>
                  <a:pt x="322" y="601"/>
                </a:cubicBezTo>
                <a:cubicBezTo>
                  <a:pt x="323" y="602"/>
                  <a:pt x="322" y="603"/>
                  <a:pt x="321" y="604"/>
                </a:cubicBezTo>
                <a:cubicBezTo>
                  <a:pt x="321" y="604"/>
                  <a:pt x="320" y="604"/>
                  <a:pt x="319" y="604"/>
                </a:cubicBezTo>
                <a:cubicBezTo>
                  <a:pt x="319" y="605"/>
                  <a:pt x="320" y="605"/>
                  <a:pt x="321" y="605"/>
                </a:cubicBezTo>
                <a:cubicBezTo>
                  <a:pt x="323" y="604"/>
                  <a:pt x="325" y="602"/>
                  <a:pt x="325" y="602"/>
                </a:cubicBezTo>
                <a:cubicBezTo>
                  <a:pt x="325" y="601"/>
                  <a:pt x="325" y="601"/>
                  <a:pt x="325" y="601"/>
                </a:cubicBezTo>
                <a:cubicBezTo>
                  <a:pt x="329" y="600"/>
                  <a:pt x="327" y="609"/>
                  <a:pt x="325" y="607"/>
                </a:cubicBezTo>
                <a:cubicBezTo>
                  <a:pt x="325" y="607"/>
                  <a:pt x="324" y="605"/>
                  <a:pt x="324" y="605"/>
                </a:cubicBezTo>
                <a:cubicBezTo>
                  <a:pt x="323" y="605"/>
                  <a:pt x="319" y="608"/>
                  <a:pt x="318" y="609"/>
                </a:cubicBezTo>
                <a:cubicBezTo>
                  <a:pt x="317" y="609"/>
                  <a:pt x="316" y="609"/>
                  <a:pt x="316" y="610"/>
                </a:cubicBezTo>
                <a:cubicBezTo>
                  <a:pt x="316" y="610"/>
                  <a:pt x="317" y="612"/>
                  <a:pt x="316" y="613"/>
                </a:cubicBezTo>
                <a:cubicBezTo>
                  <a:pt x="316" y="613"/>
                  <a:pt x="315" y="614"/>
                  <a:pt x="315" y="614"/>
                </a:cubicBezTo>
                <a:cubicBezTo>
                  <a:pt x="315" y="614"/>
                  <a:pt x="313" y="617"/>
                  <a:pt x="313" y="618"/>
                </a:cubicBezTo>
                <a:cubicBezTo>
                  <a:pt x="314" y="618"/>
                  <a:pt x="315" y="618"/>
                  <a:pt x="315" y="617"/>
                </a:cubicBezTo>
                <a:cubicBezTo>
                  <a:pt x="315" y="617"/>
                  <a:pt x="316" y="619"/>
                  <a:pt x="315" y="620"/>
                </a:cubicBezTo>
                <a:cubicBezTo>
                  <a:pt x="315" y="620"/>
                  <a:pt x="315" y="620"/>
                  <a:pt x="315" y="620"/>
                </a:cubicBezTo>
                <a:cubicBezTo>
                  <a:pt x="315" y="621"/>
                  <a:pt x="315" y="621"/>
                  <a:pt x="316" y="621"/>
                </a:cubicBezTo>
                <a:cubicBezTo>
                  <a:pt x="316" y="621"/>
                  <a:pt x="316" y="620"/>
                  <a:pt x="317" y="619"/>
                </a:cubicBezTo>
                <a:cubicBezTo>
                  <a:pt x="317" y="620"/>
                  <a:pt x="316" y="620"/>
                  <a:pt x="316" y="619"/>
                </a:cubicBezTo>
                <a:cubicBezTo>
                  <a:pt x="316" y="618"/>
                  <a:pt x="316" y="618"/>
                  <a:pt x="316" y="618"/>
                </a:cubicBezTo>
                <a:cubicBezTo>
                  <a:pt x="316" y="617"/>
                  <a:pt x="317" y="616"/>
                  <a:pt x="318" y="617"/>
                </a:cubicBezTo>
                <a:cubicBezTo>
                  <a:pt x="318" y="618"/>
                  <a:pt x="318" y="618"/>
                  <a:pt x="317" y="618"/>
                </a:cubicBezTo>
                <a:cubicBezTo>
                  <a:pt x="317" y="618"/>
                  <a:pt x="317" y="618"/>
                  <a:pt x="317" y="618"/>
                </a:cubicBezTo>
                <a:cubicBezTo>
                  <a:pt x="318" y="618"/>
                  <a:pt x="318" y="618"/>
                  <a:pt x="318" y="618"/>
                </a:cubicBezTo>
                <a:cubicBezTo>
                  <a:pt x="318" y="619"/>
                  <a:pt x="318" y="619"/>
                  <a:pt x="317" y="619"/>
                </a:cubicBezTo>
                <a:cubicBezTo>
                  <a:pt x="319" y="618"/>
                  <a:pt x="320" y="618"/>
                  <a:pt x="321" y="620"/>
                </a:cubicBezTo>
                <a:cubicBezTo>
                  <a:pt x="322" y="621"/>
                  <a:pt x="321" y="623"/>
                  <a:pt x="320" y="623"/>
                </a:cubicBezTo>
                <a:cubicBezTo>
                  <a:pt x="320" y="623"/>
                  <a:pt x="320" y="623"/>
                  <a:pt x="320" y="623"/>
                </a:cubicBezTo>
                <a:cubicBezTo>
                  <a:pt x="322" y="623"/>
                  <a:pt x="320" y="624"/>
                  <a:pt x="321" y="624"/>
                </a:cubicBezTo>
                <a:cubicBezTo>
                  <a:pt x="321" y="625"/>
                  <a:pt x="322" y="624"/>
                  <a:pt x="322" y="624"/>
                </a:cubicBezTo>
                <a:cubicBezTo>
                  <a:pt x="322" y="624"/>
                  <a:pt x="322" y="624"/>
                  <a:pt x="322" y="624"/>
                </a:cubicBezTo>
                <a:cubicBezTo>
                  <a:pt x="323" y="624"/>
                  <a:pt x="323" y="624"/>
                  <a:pt x="324" y="624"/>
                </a:cubicBezTo>
                <a:cubicBezTo>
                  <a:pt x="326" y="625"/>
                  <a:pt x="323" y="629"/>
                  <a:pt x="324" y="631"/>
                </a:cubicBezTo>
                <a:cubicBezTo>
                  <a:pt x="325" y="631"/>
                  <a:pt x="326" y="631"/>
                  <a:pt x="327" y="631"/>
                </a:cubicBezTo>
                <a:cubicBezTo>
                  <a:pt x="328" y="630"/>
                  <a:pt x="328" y="629"/>
                  <a:pt x="329" y="628"/>
                </a:cubicBezTo>
                <a:cubicBezTo>
                  <a:pt x="328" y="627"/>
                  <a:pt x="327" y="626"/>
                  <a:pt x="328" y="624"/>
                </a:cubicBezTo>
                <a:cubicBezTo>
                  <a:pt x="330" y="620"/>
                  <a:pt x="335" y="622"/>
                  <a:pt x="336" y="625"/>
                </a:cubicBezTo>
                <a:cubicBezTo>
                  <a:pt x="337" y="625"/>
                  <a:pt x="337" y="625"/>
                  <a:pt x="338" y="624"/>
                </a:cubicBezTo>
                <a:cubicBezTo>
                  <a:pt x="338" y="624"/>
                  <a:pt x="337" y="625"/>
                  <a:pt x="337" y="625"/>
                </a:cubicBezTo>
                <a:cubicBezTo>
                  <a:pt x="339" y="624"/>
                  <a:pt x="342" y="623"/>
                  <a:pt x="344" y="624"/>
                </a:cubicBezTo>
                <a:cubicBezTo>
                  <a:pt x="345" y="624"/>
                  <a:pt x="347" y="624"/>
                  <a:pt x="347" y="624"/>
                </a:cubicBezTo>
                <a:cubicBezTo>
                  <a:pt x="347" y="625"/>
                  <a:pt x="346" y="625"/>
                  <a:pt x="345" y="625"/>
                </a:cubicBezTo>
                <a:cubicBezTo>
                  <a:pt x="345" y="625"/>
                  <a:pt x="345" y="626"/>
                  <a:pt x="345" y="626"/>
                </a:cubicBezTo>
                <a:cubicBezTo>
                  <a:pt x="345" y="627"/>
                  <a:pt x="345" y="628"/>
                  <a:pt x="345" y="629"/>
                </a:cubicBezTo>
                <a:cubicBezTo>
                  <a:pt x="347" y="629"/>
                  <a:pt x="348" y="630"/>
                  <a:pt x="346" y="632"/>
                </a:cubicBezTo>
                <a:cubicBezTo>
                  <a:pt x="345" y="634"/>
                  <a:pt x="346" y="636"/>
                  <a:pt x="346" y="636"/>
                </a:cubicBezTo>
                <a:cubicBezTo>
                  <a:pt x="346" y="637"/>
                  <a:pt x="345" y="637"/>
                  <a:pt x="345" y="638"/>
                </a:cubicBezTo>
                <a:cubicBezTo>
                  <a:pt x="347" y="637"/>
                  <a:pt x="349" y="635"/>
                  <a:pt x="351" y="634"/>
                </a:cubicBezTo>
                <a:cubicBezTo>
                  <a:pt x="349" y="632"/>
                  <a:pt x="347" y="629"/>
                  <a:pt x="351" y="627"/>
                </a:cubicBezTo>
                <a:cubicBezTo>
                  <a:pt x="352" y="627"/>
                  <a:pt x="352" y="627"/>
                  <a:pt x="353" y="627"/>
                </a:cubicBezTo>
                <a:cubicBezTo>
                  <a:pt x="352" y="627"/>
                  <a:pt x="353" y="622"/>
                  <a:pt x="355" y="624"/>
                </a:cubicBezTo>
                <a:cubicBezTo>
                  <a:pt x="356" y="625"/>
                  <a:pt x="355" y="626"/>
                  <a:pt x="355" y="626"/>
                </a:cubicBezTo>
                <a:cubicBezTo>
                  <a:pt x="354" y="627"/>
                  <a:pt x="354" y="627"/>
                  <a:pt x="354" y="627"/>
                </a:cubicBezTo>
                <a:cubicBezTo>
                  <a:pt x="356" y="627"/>
                  <a:pt x="358" y="627"/>
                  <a:pt x="359" y="626"/>
                </a:cubicBezTo>
                <a:cubicBezTo>
                  <a:pt x="362" y="624"/>
                  <a:pt x="361" y="624"/>
                  <a:pt x="363" y="625"/>
                </a:cubicBezTo>
                <a:cubicBezTo>
                  <a:pt x="363" y="626"/>
                  <a:pt x="363" y="627"/>
                  <a:pt x="365" y="626"/>
                </a:cubicBezTo>
                <a:cubicBezTo>
                  <a:pt x="365" y="626"/>
                  <a:pt x="369" y="622"/>
                  <a:pt x="368" y="625"/>
                </a:cubicBezTo>
                <a:cubicBezTo>
                  <a:pt x="368" y="626"/>
                  <a:pt x="367" y="626"/>
                  <a:pt x="367" y="626"/>
                </a:cubicBezTo>
                <a:cubicBezTo>
                  <a:pt x="367" y="627"/>
                  <a:pt x="371" y="627"/>
                  <a:pt x="372" y="628"/>
                </a:cubicBezTo>
                <a:cubicBezTo>
                  <a:pt x="372" y="629"/>
                  <a:pt x="367" y="630"/>
                  <a:pt x="370" y="632"/>
                </a:cubicBezTo>
                <a:cubicBezTo>
                  <a:pt x="370" y="633"/>
                  <a:pt x="371" y="633"/>
                  <a:pt x="371" y="633"/>
                </a:cubicBezTo>
                <a:cubicBezTo>
                  <a:pt x="371" y="633"/>
                  <a:pt x="370" y="633"/>
                  <a:pt x="370" y="634"/>
                </a:cubicBezTo>
                <a:cubicBezTo>
                  <a:pt x="369" y="635"/>
                  <a:pt x="369" y="636"/>
                  <a:pt x="370" y="636"/>
                </a:cubicBezTo>
                <a:cubicBezTo>
                  <a:pt x="371" y="636"/>
                  <a:pt x="372" y="636"/>
                  <a:pt x="372" y="637"/>
                </a:cubicBezTo>
                <a:cubicBezTo>
                  <a:pt x="372" y="638"/>
                  <a:pt x="372" y="638"/>
                  <a:pt x="371" y="638"/>
                </a:cubicBezTo>
                <a:cubicBezTo>
                  <a:pt x="371" y="639"/>
                  <a:pt x="370" y="639"/>
                  <a:pt x="370" y="639"/>
                </a:cubicBezTo>
                <a:cubicBezTo>
                  <a:pt x="371" y="640"/>
                  <a:pt x="372" y="640"/>
                  <a:pt x="373" y="640"/>
                </a:cubicBezTo>
                <a:cubicBezTo>
                  <a:pt x="373" y="642"/>
                  <a:pt x="371" y="643"/>
                  <a:pt x="371" y="644"/>
                </a:cubicBezTo>
                <a:cubicBezTo>
                  <a:pt x="372" y="647"/>
                  <a:pt x="375" y="644"/>
                  <a:pt x="377" y="645"/>
                </a:cubicBezTo>
                <a:cubicBezTo>
                  <a:pt x="378" y="645"/>
                  <a:pt x="379" y="648"/>
                  <a:pt x="381" y="646"/>
                </a:cubicBezTo>
                <a:cubicBezTo>
                  <a:pt x="382" y="645"/>
                  <a:pt x="381" y="642"/>
                  <a:pt x="385" y="641"/>
                </a:cubicBezTo>
                <a:cubicBezTo>
                  <a:pt x="386" y="641"/>
                  <a:pt x="391" y="640"/>
                  <a:pt x="392" y="642"/>
                </a:cubicBezTo>
                <a:cubicBezTo>
                  <a:pt x="392" y="643"/>
                  <a:pt x="390" y="642"/>
                  <a:pt x="389" y="643"/>
                </a:cubicBezTo>
                <a:cubicBezTo>
                  <a:pt x="388" y="644"/>
                  <a:pt x="390" y="646"/>
                  <a:pt x="390" y="646"/>
                </a:cubicBezTo>
                <a:cubicBezTo>
                  <a:pt x="389" y="648"/>
                  <a:pt x="387" y="647"/>
                  <a:pt x="386" y="648"/>
                </a:cubicBezTo>
                <a:cubicBezTo>
                  <a:pt x="386" y="648"/>
                  <a:pt x="387" y="648"/>
                  <a:pt x="387" y="649"/>
                </a:cubicBezTo>
                <a:cubicBezTo>
                  <a:pt x="387" y="649"/>
                  <a:pt x="386" y="649"/>
                  <a:pt x="386" y="649"/>
                </a:cubicBezTo>
                <a:cubicBezTo>
                  <a:pt x="386" y="651"/>
                  <a:pt x="387" y="652"/>
                  <a:pt x="385" y="653"/>
                </a:cubicBezTo>
                <a:cubicBezTo>
                  <a:pt x="385" y="653"/>
                  <a:pt x="385" y="653"/>
                  <a:pt x="385" y="653"/>
                </a:cubicBezTo>
                <a:cubicBezTo>
                  <a:pt x="385" y="653"/>
                  <a:pt x="385" y="654"/>
                  <a:pt x="385" y="654"/>
                </a:cubicBezTo>
                <a:cubicBezTo>
                  <a:pt x="385" y="654"/>
                  <a:pt x="386" y="655"/>
                  <a:pt x="384" y="656"/>
                </a:cubicBezTo>
                <a:cubicBezTo>
                  <a:pt x="383" y="656"/>
                  <a:pt x="383" y="656"/>
                  <a:pt x="383" y="656"/>
                </a:cubicBezTo>
                <a:cubicBezTo>
                  <a:pt x="383" y="656"/>
                  <a:pt x="384" y="657"/>
                  <a:pt x="384" y="657"/>
                </a:cubicBezTo>
                <a:cubicBezTo>
                  <a:pt x="385" y="657"/>
                  <a:pt x="386" y="657"/>
                  <a:pt x="386" y="657"/>
                </a:cubicBezTo>
                <a:cubicBezTo>
                  <a:pt x="387" y="657"/>
                  <a:pt x="387" y="658"/>
                  <a:pt x="387" y="658"/>
                </a:cubicBezTo>
                <a:cubicBezTo>
                  <a:pt x="387" y="658"/>
                  <a:pt x="387" y="659"/>
                  <a:pt x="386" y="659"/>
                </a:cubicBezTo>
                <a:cubicBezTo>
                  <a:pt x="386" y="660"/>
                  <a:pt x="386" y="661"/>
                  <a:pt x="386" y="661"/>
                </a:cubicBezTo>
                <a:cubicBezTo>
                  <a:pt x="385" y="662"/>
                  <a:pt x="382" y="661"/>
                  <a:pt x="380" y="662"/>
                </a:cubicBezTo>
                <a:cubicBezTo>
                  <a:pt x="381" y="660"/>
                  <a:pt x="381" y="659"/>
                  <a:pt x="379" y="660"/>
                </a:cubicBezTo>
                <a:cubicBezTo>
                  <a:pt x="377" y="661"/>
                  <a:pt x="379" y="661"/>
                  <a:pt x="379" y="662"/>
                </a:cubicBezTo>
                <a:cubicBezTo>
                  <a:pt x="379" y="662"/>
                  <a:pt x="377" y="662"/>
                  <a:pt x="378" y="663"/>
                </a:cubicBezTo>
                <a:cubicBezTo>
                  <a:pt x="378" y="663"/>
                  <a:pt x="378" y="663"/>
                  <a:pt x="378" y="663"/>
                </a:cubicBezTo>
                <a:cubicBezTo>
                  <a:pt x="380" y="663"/>
                  <a:pt x="383" y="663"/>
                  <a:pt x="384" y="663"/>
                </a:cubicBezTo>
                <a:cubicBezTo>
                  <a:pt x="384" y="663"/>
                  <a:pt x="384" y="663"/>
                  <a:pt x="384" y="663"/>
                </a:cubicBezTo>
                <a:cubicBezTo>
                  <a:pt x="384" y="663"/>
                  <a:pt x="384" y="663"/>
                  <a:pt x="384" y="663"/>
                </a:cubicBezTo>
                <a:cubicBezTo>
                  <a:pt x="385" y="662"/>
                  <a:pt x="385" y="663"/>
                  <a:pt x="384" y="664"/>
                </a:cubicBezTo>
                <a:cubicBezTo>
                  <a:pt x="385" y="664"/>
                  <a:pt x="385" y="665"/>
                  <a:pt x="385" y="666"/>
                </a:cubicBezTo>
                <a:cubicBezTo>
                  <a:pt x="385" y="668"/>
                  <a:pt x="382" y="668"/>
                  <a:pt x="379" y="668"/>
                </a:cubicBezTo>
                <a:cubicBezTo>
                  <a:pt x="379" y="669"/>
                  <a:pt x="380" y="670"/>
                  <a:pt x="379" y="671"/>
                </a:cubicBezTo>
                <a:cubicBezTo>
                  <a:pt x="378" y="673"/>
                  <a:pt x="375" y="673"/>
                  <a:pt x="376" y="674"/>
                </a:cubicBezTo>
                <a:cubicBezTo>
                  <a:pt x="374" y="673"/>
                  <a:pt x="372" y="674"/>
                  <a:pt x="371" y="673"/>
                </a:cubicBezTo>
                <a:cubicBezTo>
                  <a:pt x="368" y="671"/>
                  <a:pt x="369" y="671"/>
                  <a:pt x="365" y="671"/>
                </a:cubicBezTo>
                <a:cubicBezTo>
                  <a:pt x="365" y="671"/>
                  <a:pt x="364" y="671"/>
                  <a:pt x="363" y="671"/>
                </a:cubicBezTo>
                <a:cubicBezTo>
                  <a:pt x="360" y="671"/>
                  <a:pt x="361" y="672"/>
                  <a:pt x="362" y="674"/>
                </a:cubicBezTo>
                <a:cubicBezTo>
                  <a:pt x="359" y="672"/>
                  <a:pt x="360" y="674"/>
                  <a:pt x="362" y="675"/>
                </a:cubicBezTo>
                <a:cubicBezTo>
                  <a:pt x="362" y="675"/>
                  <a:pt x="362" y="675"/>
                  <a:pt x="362" y="675"/>
                </a:cubicBezTo>
                <a:cubicBezTo>
                  <a:pt x="362" y="675"/>
                  <a:pt x="362" y="675"/>
                  <a:pt x="362" y="676"/>
                </a:cubicBezTo>
                <a:cubicBezTo>
                  <a:pt x="362" y="676"/>
                  <a:pt x="363" y="676"/>
                  <a:pt x="363" y="676"/>
                </a:cubicBezTo>
                <a:cubicBezTo>
                  <a:pt x="363" y="676"/>
                  <a:pt x="365" y="674"/>
                  <a:pt x="365" y="675"/>
                </a:cubicBezTo>
                <a:cubicBezTo>
                  <a:pt x="366" y="676"/>
                  <a:pt x="361" y="679"/>
                  <a:pt x="365" y="680"/>
                </a:cubicBezTo>
                <a:cubicBezTo>
                  <a:pt x="359" y="680"/>
                  <a:pt x="366" y="684"/>
                  <a:pt x="368" y="686"/>
                </a:cubicBezTo>
                <a:cubicBezTo>
                  <a:pt x="369" y="687"/>
                  <a:pt x="369" y="689"/>
                  <a:pt x="370" y="690"/>
                </a:cubicBezTo>
                <a:cubicBezTo>
                  <a:pt x="370" y="691"/>
                  <a:pt x="371" y="692"/>
                  <a:pt x="370" y="692"/>
                </a:cubicBezTo>
                <a:cubicBezTo>
                  <a:pt x="370" y="692"/>
                  <a:pt x="370" y="692"/>
                  <a:pt x="370" y="692"/>
                </a:cubicBezTo>
                <a:cubicBezTo>
                  <a:pt x="371" y="693"/>
                  <a:pt x="371" y="694"/>
                  <a:pt x="372" y="694"/>
                </a:cubicBezTo>
                <a:cubicBezTo>
                  <a:pt x="372" y="694"/>
                  <a:pt x="372" y="694"/>
                  <a:pt x="372" y="694"/>
                </a:cubicBezTo>
                <a:cubicBezTo>
                  <a:pt x="373" y="694"/>
                  <a:pt x="373" y="694"/>
                  <a:pt x="373" y="694"/>
                </a:cubicBezTo>
                <a:cubicBezTo>
                  <a:pt x="374" y="693"/>
                  <a:pt x="376" y="692"/>
                  <a:pt x="377" y="693"/>
                </a:cubicBezTo>
                <a:cubicBezTo>
                  <a:pt x="378" y="692"/>
                  <a:pt x="379" y="694"/>
                  <a:pt x="379" y="695"/>
                </a:cubicBezTo>
                <a:cubicBezTo>
                  <a:pt x="380" y="695"/>
                  <a:pt x="381" y="694"/>
                  <a:pt x="382" y="695"/>
                </a:cubicBezTo>
                <a:cubicBezTo>
                  <a:pt x="383" y="695"/>
                  <a:pt x="381" y="695"/>
                  <a:pt x="379" y="695"/>
                </a:cubicBezTo>
                <a:cubicBezTo>
                  <a:pt x="379" y="696"/>
                  <a:pt x="379" y="697"/>
                  <a:pt x="378" y="697"/>
                </a:cubicBezTo>
                <a:cubicBezTo>
                  <a:pt x="380" y="698"/>
                  <a:pt x="382" y="698"/>
                  <a:pt x="382" y="698"/>
                </a:cubicBezTo>
                <a:cubicBezTo>
                  <a:pt x="382" y="698"/>
                  <a:pt x="382" y="698"/>
                  <a:pt x="383" y="698"/>
                </a:cubicBezTo>
                <a:cubicBezTo>
                  <a:pt x="382" y="698"/>
                  <a:pt x="381" y="697"/>
                  <a:pt x="380" y="697"/>
                </a:cubicBezTo>
                <a:cubicBezTo>
                  <a:pt x="381" y="697"/>
                  <a:pt x="383" y="697"/>
                  <a:pt x="384" y="697"/>
                </a:cubicBezTo>
                <a:cubicBezTo>
                  <a:pt x="384" y="697"/>
                  <a:pt x="384" y="697"/>
                  <a:pt x="385" y="697"/>
                </a:cubicBezTo>
                <a:cubicBezTo>
                  <a:pt x="384" y="696"/>
                  <a:pt x="385" y="695"/>
                  <a:pt x="386" y="696"/>
                </a:cubicBezTo>
                <a:cubicBezTo>
                  <a:pt x="387" y="695"/>
                  <a:pt x="388" y="695"/>
                  <a:pt x="389" y="696"/>
                </a:cubicBezTo>
                <a:cubicBezTo>
                  <a:pt x="389" y="696"/>
                  <a:pt x="388" y="696"/>
                  <a:pt x="387" y="697"/>
                </a:cubicBezTo>
                <a:cubicBezTo>
                  <a:pt x="387" y="697"/>
                  <a:pt x="388" y="699"/>
                  <a:pt x="387" y="698"/>
                </a:cubicBezTo>
                <a:cubicBezTo>
                  <a:pt x="387" y="698"/>
                  <a:pt x="387" y="698"/>
                  <a:pt x="387" y="698"/>
                </a:cubicBezTo>
                <a:cubicBezTo>
                  <a:pt x="387" y="697"/>
                  <a:pt x="387" y="697"/>
                  <a:pt x="387" y="697"/>
                </a:cubicBezTo>
                <a:cubicBezTo>
                  <a:pt x="386" y="697"/>
                  <a:pt x="386" y="698"/>
                  <a:pt x="385" y="698"/>
                </a:cubicBezTo>
                <a:cubicBezTo>
                  <a:pt x="386" y="698"/>
                  <a:pt x="387" y="699"/>
                  <a:pt x="387" y="699"/>
                </a:cubicBezTo>
                <a:cubicBezTo>
                  <a:pt x="387" y="700"/>
                  <a:pt x="386" y="699"/>
                  <a:pt x="385" y="699"/>
                </a:cubicBezTo>
                <a:cubicBezTo>
                  <a:pt x="385" y="699"/>
                  <a:pt x="385" y="700"/>
                  <a:pt x="385" y="700"/>
                </a:cubicBezTo>
                <a:cubicBezTo>
                  <a:pt x="386" y="700"/>
                  <a:pt x="387" y="699"/>
                  <a:pt x="388" y="700"/>
                </a:cubicBezTo>
                <a:cubicBezTo>
                  <a:pt x="389" y="700"/>
                  <a:pt x="388" y="704"/>
                  <a:pt x="391" y="702"/>
                </a:cubicBezTo>
                <a:cubicBezTo>
                  <a:pt x="392" y="702"/>
                  <a:pt x="391" y="701"/>
                  <a:pt x="391" y="701"/>
                </a:cubicBezTo>
                <a:cubicBezTo>
                  <a:pt x="391" y="701"/>
                  <a:pt x="391" y="700"/>
                  <a:pt x="391" y="700"/>
                </a:cubicBezTo>
                <a:cubicBezTo>
                  <a:pt x="390" y="700"/>
                  <a:pt x="390" y="700"/>
                  <a:pt x="390" y="700"/>
                </a:cubicBezTo>
                <a:cubicBezTo>
                  <a:pt x="389" y="699"/>
                  <a:pt x="391" y="698"/>
                  <a:pt x="391" y="699"/>
                </a:cubicBezTo>
                <a:cubicBezTo>
                  <a:pt x="391" y="699"/>
                  <a:pt x="391" y="699"/>
                  <a:pt x="391" y="699"/>
                </a:cubicBezTo>
                <a:cubicBezTo>
                  <a:pt x="392" y="699"/>
                  <a:pt x="395" y="701"/>
                  <a:pt x="397" y="701"/>
                </a:cubicBezTo>
                <a:cubicBezTo>
                  <a:pt x="395" y="702"/>
                  <a:pt x="396" y="703"/>
                  <a:pt x="397" y="704"/>
                </a:cubicBezTo>
                <a:cubicBezTo>
                  <a:pt x="399" y="704"/>
                  <a:pt x="401" y="703"/>
                  <a:pt x="403" y="702"/>
                </a:cubicBezTo>
                <a:cubicBezTo>
                  <a:pt x="402" y="704"/>
                  <a:pt x="399" y="704"/>
                  <a:pt x="397" y="704"/>
                </a:cubicBezTo>
                <a:cubicBezTo>
                  <a:pt x="398" y="705"/>
                  <a:pt x="398" y="706"/>
                  <a:pt x="397" y="707"/>
                </a:cubicBezTo>
                <a:cubicBezTo>
                  <a:pt x="396" y="708"/>
                  <a:pt x="392" y="706"/>
                  <a:pt x="391" y="708"/>
                </a:cubicBezTo>
                <a:cubicBezTo>
                  <a:pt x="391" y="708"/>
                  <a:pt x="392" y="708"/>
                  <a:pt x="392" y="709"/>
                </a:cubicBezTo>
                <a:cubicBezTo>
                  <a:pt x="392" y="710"/>
                  <a:pt x="389" y="711"/>
                  <a:pt x="392" y="712"/>
                </a:cubicBezTo>
                <a:cubicBezTo>
                  <a:pt x="392" y="712"/>
                  <a:pt x="397" y="714"/>
                  <a:pt x="398" y="714"/>
                </a:cubicBezTo>
                <a:cubicBezTo>
                  <a:pt x="401" y="715"/>
                  <a:pt x="403" y="715"/>
                  <a:pt x="406" y="717"/>
                </a:cubicBezTo>
                <a:cubicBezTo>
                  <a:pt x="402" y="716"/>
                  <a:pt x="401" y="718"/>
                  <a:pt x="397" y="718"/>
                </a:cubicBezTo>
                <a:cubicBezTo>
                  <a:pt x="394" y="718"/>
                  <a:pt x="391" y="714"/>
                  <a:pt x="388" y="714"/>
                </a:cubicBezTo>
                <a:cubicBezTo>
                  <a:pt x="388" y="714"/>
                  <a:pt x="384" y="717"/>
                  <a:pt x="383" y="717"/>
                </a:cubicBezTo>
                <a:cubicBezTo>
                  <a:pt x="382" y="717"/>
                  <a:pt x="381" y="715"/>
                  <a:pt x="381" y="716"/>
                </a:cubicBezTo>
                <a:cubicBezTo>
                  <a:pt x="381" y="717"/>
                  <a:pt x="382" y="717"/>
                  <a:pt x="382" y="717"/>
                </a:cubicBezTo>
                <a:cubicBezTo>
                  <a:pt x="382" y="717"/>
                  <a:pt x="382" y="717"/>
                  <a:pt x="383" y="717"/>
                </a:cubicBezTo>
                <a:cubicBezTo>
                  <a:pt x="383" y="717"/>
                  <a:pt x="384" y="717"/>
                  <a:pt x="386" y="717"/>
                </a:cubicBezTo>
                <a:cubicBezTo>
                  <a:pt x="386" y="717"/>
                  <a:pt x="386" y="717"/>
                  <a:pt x="386" y="717"/>
                </a:cubicBezTo>
                <a:cubicBezTo>
                  <a:pt x="386" y="717"/>
                  <a:pt x="386" y="717"/>
                  <a:pt x="386" y="717"/>
                </a:cubicBezTo>
                <a:cubicBezTo>
                  <a:pt x="387" y="717"/>
                  <a:pt x="388" y="718"/>
                  <a:pt x="388" y="718"/>
                </a:cubicBezTo>
                <a:cubicBezTo>
                  <a:pt x="388" y="718"/>
                  <a:pt x="388" y="719"/>
                  <a:pt x="388" y="719"/>
                </a:cubicBezTo>
                <a:cubicBezTo>
                  <a:pt x="387" y="720"/>
                  <a:pt x="386" y="721"/>
                  <a:pt x="385" y="721"/>
                </a:cubicBezTo>
                <a:cubicBezTo>
                  <a:pt x="384" y="721"/>
                  <a:pt x="382" y="720"/>
                  <a:pt x="382" y="718"/>
                </a:cubicBezTo>
                <a:cubicBezTo>
                  <a:pt x="382" y="719"/>
                  <a:pt x="382" y="718"/>
                  <a:pt x="382" y="719"/>
                </a:cubicBezTo>
                <a:cubicBezTo>
                  <a:pt x="382" y="719"/>
                  <a:pt x="380" y="720"/>
                  <a:pt x="379" y="719"/>
                </a:cubicBezTo>
                <a:cubicBezTo>
                  <a:pt x="379" y="720"/>
                  <a:pt x="379" y="720"/>
                  <a:pt x="379" y="721"/>
                </a:cubicBezTo>
                <a:cubicBezTo>
                  <a:pt x="379" y="721"/>
                  <a:pt x="380" y="720"/>
                  <a:pt x="380" y="720"/>
                </a:cubicBezTo>
                <a:cubicBezTo>
                  <a:pt x="380" y="720"/>
                  <a:pt x="380" y="721"/>
                  <a:pt x="380" y="721"/>
                </a:cubicBezTo>
                <a:cubicBezTo>
                  <a:pt x="381" y="722"/>
                  <a:pt x="383" y="724"/>
                  <a:pt x="384" y="725"/>
                </a:cubicBezTo>
                <a:cubicBezTo>
                  <a:pt x="383" y="725"/>
                  <a:pt x="382" y="726"/>
                  <a:pt x="383" y="726"/>
                </a:cubicBezTo>
                <a:cubicBezTo>
                  <a:pt x="384" y="726"/>
                  <a:pt x="387" y="726"/>
                  <a:pt x="384" y="728"/>
                </a:cubicBezTo>
                <a:cubicBezTo>
                  <a:pt x="384" y="728"/>
                  <a:pt x="384" y="728"/>
                  <a:pt x="384" y="728"/>
                </a:cubicBezTo>
                <a:cubicBezTo>
                  <a:pt x="385" y="728"/>
                  <a:pt x="385" y="729"/>
                  <a:pt x="385" y="729"/>
                </a:cubicBezTo>
                <a:cubicBezTo>
                  <a:pt x="388" y="729"/>
                  <a:pt x="390" y="728"/>
                  <a:pt x="393" y="728"/>
                </a:cubicBezTo>
                <a:cubicBezTo>
                  <a:pt x="397" y="727"/>
                  <a:pt x="391" y="730"/>
                  <a:pt x="390" y="730"/>
                </a:cubicBezTo>
                <a:cubicBezTo>
                  <a:pt x="388" y="730"/>
                  <a:pt x="386" y="731"/>
                  <a:pt x="384" y="731"/>
                </a:cubicBezTo>
                <a:cubicBezTo>
                  <a:pt x="384" y="731"/>
                  <a:pt x="383" y="731"/>
                  <a:pt x="383" y="732"/>
                </a:cubicBezTo>
                <a:cubicBezTo>
                  <a:pt x="383" y="732"/>
                  <a:pt x="382" y="732"/>
                  <a:pt x="381" y="731"/>
                </a:cubicBezTo>
                <a:cubicBezTo>
                  <a:pt x="380" y="732"/>
                  <a:pt x="378" y="732"/>
                  <a:pt x="377" y="733"/>
                </a:cubicBezTo>
                <a:cubicBezTo>
                  <a:pt x="376" y="734"/>
                  <a:pt x="375" y="735"/>
                  <a:pt x="375" y="736"/>
                </a:cubicBezTo>
                <a:cubicBezTo>
                  <a:pt x="376" y="736"/>
                  <a:pt x="376" y="736"/>
                  <a:pt x="377" y="737"/>
                </a:cubicBezTo>
                <a:cubicBezTo>
                  <a:pt x="377" y="737"/>
                  <a:pt x="377" y="737"/>
                  <a:pt x="377" y="737"/>
                </a:cubicBezTo>
                <a:cubicBezTo>
                  <a:pt x="377" y="737"/>
                  <a:pt x="377" y="737"/>
                  <a:pt x="377" y="737"/>
                </a:cubicBezTo>
                <a:cubicBezTo>
                  <a:pt x="378" y="737"/>
                  <a:pt x="380" y="738"/>
                  <a:pt x="379" y="739"/>
                </a:cubicBezTo>
                <a:cubicBezTo>
                  <a:pt x="380" y="739"/>
                  <a:pt x="380" y="739"/>
                  <a:pt x="380" y="739"/>
                </a:cubicBezTo>
                <a:cubicBezTo>
                  <a:pt x="380" y="741"/>
                  <a:pt x="378" y="741"/>
                  <a:pt x="376" y="742"/>
                </a:cubicBezTo>
                <a:cubicBezTo>
                  <a:pt x="377" y="742"/>
                  <a:pt x="376" y="743"/>
                  <a:pt x="375" y="743"/>
                </a:cubicBezTo>
                <a:cubicBezTo>
                  <a:pt x="375" y="743"/>
                  <a:pt x="375" y="743"/>
                  <a:pt x="375" y="743"/>
                </a:cubicBezTo>
                <a:cubicBezTo>
                  <a:pt x="376" y="744"/>
                  <a:pt x="378" y="745"/>
                  <a:pt x="379" y="745"/>
                </a:cubicBezTo>
                <a:cubicBezTo>
                  <a:pt x="380" y="745"/>
                  <a:pt x="382" y="746"/>
                  <a:pt x="382" y="747"/>
                </a:cubicBezTo>
                <a:cubicBezTo>
                  <a:pt x="383" y="747"/>
                  <a:pt x="384" y="748"/>
                  <a:pt x="384" y="749"/>
                </a:cubicBezTo>
                <a:cubicBezTo>
                  <a:pt x="384" y="749"/>
                  <a:pt x="385" y="749"/>
                  <a:pt x="386" y="750"/>
                </a:cubicBezTo>
                <a:cubicBezTo>
                  <a:pt x="387" y="751"/>
                  <a:pt x="386" y="753"/>
                  <a:pt x="385" y="753"/>
                </a:cubicBezTo>
                <a:cubicBezTo>
                  <a:pt x="385" y="753"/>
                  <a:pt x="385" y="753"/>
                  <a:pt x="385" y="753"/>
                </a:cubicBezTo>
                <a:cubicBezTo>
                  <a:pt x="385" y="754"/>
                  <a:pt x="385" y="754"/>
                  <a:pt x="384" y="755"/>
                </a:cubicBezTo>
                <a:cubicBezTo>
                  <a:pt x="385" y="755"/>
                  <a:pt x="386" y="754"/>
                  <a:pt x="387" y="755"/>
                </a:cubicBezTo>
                <a:cubicBezTo>
                  <a:pt x="388" y="754"/>
                  <a:pt x="388" y="753"/>
                  <a:pt x="388" y="753"/>
                </a:cubicBezTo>
                <a:cubicBezTo>
                  <a:pt x="389" y="753"/>
                  <a:pt x="391" y="753"/>
                  <a:pt x="392" y="752"/>
                </a:cubicBezTo>
                <a:cubicBezTo>
                  <a:pt x="393" y="751"/>
                  <a:pt x="394" y="751"/>
                  <a:pt x="396" y="751"/>
                </a:cubicBezTo>
                <a:cubicBezTo>
                  <a:pt x="396" y="750"/>
                  <a:pt x="396" y="750"/>
                  <a:pt x="396" y="749"/>
                </a:cubicBezTo>
                <a:cubicBezTo>
                  <a:pt x="397" y="749"/>
                  <a:pt x="398" y="751"/>
                  <a:pt x="399" y="751"/>
                </a:cubicBezTo>
                <a:cubicBezTo>
                  <a:pt x="399" y="750"/>
                  <a:pt x="399" y="750"/>
                  <a:pt x="399" y="750"/>
                </a:cubicBezTo>
                <a:cubicBezTo>
                  <a:pt x="399" y="750"/>
                  <a:pt x="400" y="750"/>
                  <a:pt x="399" y="750"/>
                </a:cubicBezTo>
                <a:cubicBezTo>
                  <a:pt x="399" y="750"/>
                  <a:pt x="400" y="751"/>
                  <a:pt x="400" y="751"/>
                </a:cubicBezTo>
                <a:cubicBezTo>
                  <a:pt x="401" y="751"/>
                  <a:pt x="402" y="750"/>
                  <a:pt x="403" y="750"/>
                </a:cubicBezTo>
                <a:cubicBezTo>
                  <a:pt x="403" y="750"/>
                  <a:pt x="402" y="751"/>
                  <a:pt x="402" y="751"/>
                </a:cubicBezTo>
                <a:cubicBezTo>
                  <a:pt x="403" y="753"/>
                  <a:pt x="407" y="757"/>
                  <a:pt x="407" y="758"/>
                </a:cubicBezTo>
                <a:cubicBezTo>
                  <a:pt x="407" y="760"/>
                  <a:pt x="402" y="760"/>
                  <a:pt x="400" y="762"/>
                </a:cubicBezTo>
                <a:cubicBezTo>
                  <a:pt x="400" y="763"/>
                  <a:pt x="401" y="764"/>
                  <a:pt x="400" y="765"/>
                </a:cubicBezTo>
                <a:cubicBezTo>
                  <a:pt x="398" y="765"/>
                  <a:pt x="399" y="763"/>
                  <a:pt x="398" y="763"/>
                </a:cubicBezTo>
                <a:cubicBezTo>
                  <a:pt x="397" y="762"/>
                  <a:pt x="393" y="761"/>
                  <a:pt x="391" y="760"/>
                </a:cubicBezTo>
                <a:cubicBezTo>
                  <a:pt x="390" y="760"/>
                  <a:pt x="389" y="759"/>
                  <a:pt x="388" y="758"/>
                </a:cubicBezTo>
                <a:cubicBezTo>
                  <a:pt x="387" y="759"/>
                  <a:pt x="384" y="759"/>
                  <a:pt x="382" y="759"/>
                </a:cubicBezTo>
                <a:cubicBezTo>
                  <a:pt x="385" y="762"/>
                  <a:pt x="385" y="762"/>
                  <a:pt x="385" y="762"/>
                </a:cubicBezTo>
                <a:cubicBezTo>
                  <a:pt x="386" y="762"/>
                  <a:pt x="387" y="763"/>
                  <a:pt x="387" y="763"/>
                </a:cubicBezTo>
                <a:cubicBezTo>
                  <a:pt x="387" y="763"/>
                  <a:pt x="386" y="763"/>
                  <a:pt x="386" y="763"/>
                </a:cubicBezTo>
                <a:cubicBezTo>
                  <a:pt x="393" y="769"/>
                  <a:pt x="393" y="769"/>
                  <a:pt x="393" y="769"/>
                </a:cubicBezTo>
                <a:cubicBezTo>
                  <a:pt x="394" y="769"/>
                  <a:pt x="395" y="769"/>
                  <a:pt x="396" y="770"/>
                </a:cubicBezTo>
                <a:cubicBezTo>
                  <a:pt x="396" y="771"/>
                  <a:pt x="396" y="772"/>
                  <a:pt x="395" y="772"/>
                </a:cubicBezTo>
                <a:cubicBezTo>
                  <a:pt x="397" y="774"/>
                  <a:pt x="397" y="774"/>
                  <a:pt x="397" y="774"/>
                </a:cubicBezTo>
                <a:cubicBezTo>
                  <a:pt x="398" y="773"/>
                  <a:pt x="401" y="773"/>
                  <a:pt x="404" y="772"/>
                </a:cubicBezTo>
                <a:cubicBezTo>
                  <a:pt x="405" y="771"/>
                  <a:pt x="408" y="769"/>
                  <a:pt x="410" y="769"/>
                </a:cubicBezTo>
                <a:cubicBezTo>
                  <a:pt x="411" y="770"/>
                  <a:pt x="411" y="772"/>
                  <a:pt x="411" y="772"/>
                </a:cubicBezTo>
                <a:cubicBezTo>
                  <a:pt x="412" y="772"/>
                  <a:pt x="412" y="771"/>
                  <a:pt x="412" y="771"/>
                </a:cubicBezTo>
                <a:cubicBezTo>
                  <a:pt x="413" y="772"/>
                  <a:pt x="414" y="773"/>
                  <a:pt x="414" y="774"/>
                </a:cubicBezTo>
                <a:cubicBezTo>
                  <a:pt x="415" y="774"/>
                  <a:pt x="416" y="774"/>
                  <a:pt x="416" y="775"/>
                </a:cubicBezTo>
                <a:cubicBezTo>
                  <a:pt x="416" y="775"/>
                  <a:pt x="415" y="776"/>
                  <a:pt x="414" y="776"/>
                </a:cubicBezTo>
                <a:cubicBezTo>
                  <a:pt x="413" y="777"/>
                  <a:pt x="412" y="778"/>
                  <a:pt x="411" y="776"/>
                </a:cubicBezTo>
                <a:cubicBezTo>
                  <a:pt x="411" y="775"/>
                  <a:pt x="410" y="776"/>
                  <a:pt x="410" y="777"/>
                </a:cubicBezTo>
                <a:cubicBezTo>
                  <a:pt x="411" y="778"/>
                  <a:pt x="412" y="778"/>
                  <a:pt x="412" y="779"/>
                </a:cubicBezTo>
                <a:cubicBezTo>
                  <a:pt x="412" y="780"/>
                  <a:pt x="411" y="780"/>
                  <a:pt x="409" y="781"/>
                </a:cubicBezTo>
                <a:cubicBezTo>
                  <a:pt x="411" y="782"/>
                  <a:pt x="412" y="783"/>
                  <a:pt x="412" y="784"/>
                </a:cubicBezTo>
                <a:cubicBezTo>
                  <a:pt x="412" y="784"/>
                  <a:pt x="411" y="786"/>
                  <a:pt x="410" y="787"/>
                </a:cubicBezTo>
                <a:cubicBezTo>
                  <a:pt x="416" y="793"/>
                  <a:pt x="416" y="793"/>
                  <a:pt x="416" y="793"/>
                </a:cubicBezTo>
                <a:cubicBezTo>
                  <a:pt x="435" y="774"/>
                  <a:pt x="435" y="774"/>
                  <a:pt x="435" y="774"/>
                </a:cubicBezTo>
                <a:cubicBezTo>
                  <a:pt x="435" y="773"/>
                  <a:pt x="435" y="773"/>
                  <a:pt x="436" y="773"/>
                </a:cubicBezTo>
                <a:cubicBezTo>
                  <a:pt x="454" y="755"/>
                  <a:pt x="454" y="755"/>
                  <a:pt x="454" y="755"/>
                </a:cubicBezTo>
                <a:cubicBezTo>
                  <a:pt x="454" y="755"/>
                  <a:pt x="454" y="755"/>
                  <a:pt x="454" y="754"/>
                </a:cubicBezTo>
                <a:cubicBezTo>
                  <a:pt x="453" y="754"/>
                  <a:pt x="454" y="754"/>
                  <a:pt x="455" y="754"/>
                </a:cubicBezTo>
                <a:cubicBezTo>
                  <a:pt x="494" y="715"/>
                  <a:pt x="494" y="715"/>
                  <a:pt x="494" y="715"/>
                </a:cubicBezTo>
                <a:cubicBezTo>
                  <a:pt x="494" y="715"/>
                  <a:pt x="493" y="715"/>
                  <a:pt x="493" y="715"/>
                </a:cubicBezTo>
                <a:cubicBezTo>
                  <a:pt x="493" y="715"/>
                  <a:pt x="494" y="715"/>
                  <a:pt x="494" y="715"/>
                </a:cubicBezTo>
                <a:cubicBezTo>
                  <a:pt x="805" y="403"/>
                  <a:pt x="805" y="403"/>
                  <a:pt x="805" y="403"/>
                </a:cubicBezTo>
                <a:cubicBezTo>
                  <a:pt x="804" y="403"/>
                  <a:pt x="806" y="402"/>
                  <a:pt x="806" y="403"/>
                </a:cubicBezTo>
                <a:cubicBezTo>
                  <a:pt x="809" y="400"/>
                  <a:pt x="809" y="400"/>
                  <a:pt x="809" y="400"/>
                </a:cubicBezTo>
                <a:cubicBezTo>
                  <a:pt x="808" y="398"/>
                  <a:pt x="807" y="397"/>
                  <a:pt x="806" y="396"/>
                </a:cubicBezTo>
                <a:cubicBezTo>
                  <a:pt x="806" y="394"/>
                  <a:pt x="806" y="392"/>
                  <a:pt x="808" y="391"/>
                </a:cubicBezTo>
                <a:cubicBezTo>
                  <a:pt x="810" y="389"/>
                  <a:pt x="812" y="393"/>
                  <a:pt x="813" y="396"/>
                </a:cubicBezTo>
                <a:cubicBezTo>
                  <a:pt x="824" y="384"/>
                  <a:pt x="824" y="384"/>
                  <a:pt x="824" y="384"/>
                </a:cubicBezTo>
                <a:cubicBezTo>
                  <a:pt x="824" y="380"/>
                  <a:pt x="819" y="373"/>
                  <a:pt x="822" y="371"/>
                </a:cubicBezTo>
                <a:cubicBezTo>
                  <a:pt x="823" y="370"/>
                  <a:pt x="825" y="379"/>
                  <a:pt x="825" y="383"/>
                </a:cubicBezTo>
                <a:cubicBezTo>
                  <a:pt x="832" y="377"/>
                  <a:pt x="832" y="377"/>
                  <a:pt x="832" y="377"/>
                </a:cubicBezTo>
                <a:cubicBezTo>
                  <a:pt x="801" y="346"/>
                  <a:pt x="801" y="346"/>
                  <a:pt x="801" y="346"/>
                </a:cubicBezTo>
                <a:cubicBezTo>
                  <a:pt x="801" y="347"/>
                  <a:pt x="801" y="348"/>
                  <a:pt x="800" y="348"/>
                </a:cubicBezTo>
                <a:cubicBezTo>
                  <a:pt x="799" y="349"/>
                  <a:pt x="799" y="346"/>
                  <a:pt x="800" y="345"/>
                </a:cubicBezTo>
                <a:cubicBezTo>
                  <a:pt x="787" y="332"/>
                  <a:pt x="787" y="332"/>
                  <a:pt x="787" y="332"/>
                </a:cubicBezTo>
                <a:cubicBezTo>
                  <a:pt x="787" y="334"/>
                  <a:pt x="785" y="338"/>
                  <a:pt x="787" y="340"/>
                </a:cubicBezTo>
                <a:cubicBezTo>
                  <a:pt x="788" y="341"/>
                  <a:pt x="789" y="341"/>
                  <a:pt x="788" y="342"/>
                </a:cubicBezTo>
                <a:cubicBezTo>
                  <a:pt x="786" y="339"/>
                  <a:pt x="785" y="349"/>
                  <a:pt x="783" y="344"/>
                </a:cubicBezTo>
                <a:cubicBezTo>
                  <a:pt x="781" y="343"/>
                  <a:pt x="779" y="341"/>
                  <a:pt x="780" y="338"/>
                </a:cubicBezTo>
                <a:cubicBezTo>
                  <a:pt x="780" y="337"/>
                  <a:pt x="782" y="336"/>
                  <a:pt x="783" y="335"/>
                </a:cubicBezTo>
                <a:cubicBezTo>
                  <a:pt x="783" y="334"/>
                  <a:pt x="780" y="332"/>
                  <a:pt x="782" y="330"/>
                </a:cubicBezTo>
                <a:cubicBezTo>
                  <a:pt x="783" y="329"/>
                  <a:pt x="783" y="329"/>
                  <a:pt x="784" y="329"/>
                </a:cubicBezTo>
                <a:cubicBezTo>
                  <a:pt x="751" y="296"/>
                  <a:pt x="751" y="296"/>
                  <a:pt x="751" y="296"/>
                </a:cubicBezTo>
                <a:cubicBezTo>
                  <a:pt x="751" y="297"/>
                  <a:pt x="751" y="297"/>
                  <a:pt x="751" y="298"/>
                </a:cubicBezTo>
                <a:cubicBezTo>
                  <a:pt x="750" y="297"/>
                  <a:pt x="750" y="296"/>
                  <a:pt x="751" y="296"/>
                </a:cubicBezTo>
                <a:cubicBezTo>
                  <a:pt x="746" y="291"/>
                  <a:pt x="746" y="291"/>
                  <a:pt x="746" y="291"/>
                </a:cubicBezTo>
                <a:cubicBezTo>
                  <a:pt x="746" y="292"/>
                  <a:pt x="746" y="293"/>
                  <a:pt x="746" y="293"/>
                </a:cubicBezTo>
                <a:cubicBezTo>
                  <a:pt x="745" y="292"/>
                  <a:pt x="746" y="292"/>
                  <a:pt x="746" y="291"/>
                </a:cubicBezTo>
                <a:cubicBezTo>
                  <a:pt x="746" y="291"/>
                  <a:pt x="746" y="291"/>
                  <a:pt x="746" y="291"/>
                </a:cubicBezTo>
                <a:cubicBezTo>
                  <a:pt x="733" y="278"/>
                  <a:pt x="733" y="278"/>
                  <a:pt x="733" y="278"/>
                </a:cubicBezTo>
                <a:cubicBezTo>
                  <a:pt x="732" y="278"/>
                  <a:pt x="731" y="278"/>
                  <a:pt x="730" y="276"/>
                </a:cubicBezTo>
                <a:cubicBezTo>
                  <a:pt x="728" y="274"/>
                  <a:pt x="730" y="279"/>
                  <a:pt x="730" y="279"/>
                </a:cubicBezTo>
                <a:cubicBezTo>
                  <a:pt x="731" y="279"/>
                  <a:pt x="731" y="279"/>
                  <a:pt x="731" y="280"/>
                </a:cubicBezTo>
                <a:cubicBezTo>
                  <a:pt x="732" y="280"/>
                  <a:pt x="732" y="280"/>
                  <a:pt x="732" y="281"/>
                </a:cubicBezTo>
                <a:cubicBezTo>
                  <a:pt x="732" y="282"/>
                  <a:pt x="733" y="285"/>
                  <a:pt x="732" y="286"/>
                </a:cubicBezTo>
                <a:cubicBezTo>
                  <a:pt x="732" y="284"/>
                  <a:pt x="731" y="283"/>
                  <a:pt x="731" y="282"/>
                </a:cubicBezTo>
                <a:cubicBezTo>
                  <a:pt x="730" y="282"/>
                  <a:pt x="730" y="282"/>
                  <a:pt x="730" y="282"/>
                </a:cubicBezTo>
                <a:cubicBezTo>
                  <a:pt x="729" y="282"/>
                  <a:pt x="730" y="281"/>
                  <a:pt x="730" y="281"/>
                </a:cubicBezTo>
                <a:cubicBezTo>
                  <a:pt x="730" y="280"/>
                  <a:pt x="730" y="280"/>
                  <a:pt x="730" y="279"/>
                </a:cubicBezTo>
                <a:cubicBezTo>
                  <a:pt x="729" y="281"/>
                  <a:pt x="730" y="282"/>
                  <a:pt x="728" y="283"/>
                </a:cubicBezTo>
                <a:cubicBezTo>
                  <a:pt x="729" y="282"/>
                  <a:pt x="728" y="280"/>
                  <a:pt x="727" y="280"/>
                </a:cubicBezTo>
                <a:cubicBezTo>
                  <a:pt x="727" y="280"/>
                  <a:pt x="727" y="280"/>
                  <a:pt x="727" y="280"/>
                </a:cubicBezTo>
                <a:cubicBezTo>
                  <a:pt x="727" y="280"/>
                  <a:pt x="727" y="279"/>
                  <a:pt x="726" y="279"/>
                </a:cubicBezTo>
                <a:cubicBezTo>
                  <a:pt x="726" y="279"/>
                  <a:pt x="725" y="279"/>
                  <a:pt x="726" y="281"/>
                </a:cubicBezTo>
                <a:cubicBezTo>
                  <a:pt x="726" y="281"/>
                  <a:pt x="726" y="281"/>
                  <a:pt x="726" y="281"/>
                </a:cubicBezTo>
                <a:cubicBezTo>
                  <a:pt x="726" y="280"/>
                  <a:pt x="726" y="280"/>
                  <a:pt x="726" y="280"/>
                </a:cubicBezTo>
                <a:cubicBezTo>
                  <a:pt x="726" y="280"/>
                  <a:pt x="726" y="280"/>
                  <a:pt x="726" y="280"/>
                </a:cubicBezTo>
                <a:cubicBezTo>
                  <a:pt x="727" y="280"/>
                  <a:pt x="727" y="280"/>
                  <a:pt x="727" y="280"/>
                </a:cubicBezTo>
                <a:cubicBezTo>
                  <a:pt x="727" y="280"/>
                  <a:pt x="727" y="281"/>
                  <a:pt x="727" y="281"/>
                </a:cubicBezTo>
                <a:cubicBezTo>
                  <a:pt x="727" y="281"/>
                  <a:pt x="727" y="282"/>
                  <a:pt x="727" y="282"/>
                </a:cubicBezTo>
                <a:cubicBezTo>
                  <a:pt x="727" y="282"/>
                  <a:pt x="727" y="282"/>
                  <a:pt x="726" y="282"/>
                </a:cubicBezTo>
                <a:cubicBezTo>
                  <a:pt x="726" y="283"/>
                  <a:pt x="726" y="284"/>
                  <a:pt x="726" y="284"/>
                </a:cubicBezTo>
                <a:cubicBezTo>
                  <a:pt x="726" y="284"/>
                  <a:pt x="727" y="284"/>
                  <a:pt x="728" y="284"/>
                </a:cubicBezTo>
                <a:cubicBezTo>
                  <a:pt x="729" y="283"/>
                  <a:pt x="729" y="282"/>
                  <a:pt x="730" y="283"/>
                </a:cubicBezTo>
                <a:cubicBezTo>
                  <a:pt x="730" y="283"/>
                  <a:pt x="730" y="283"/>
                  <a:pt x="730" y="284"/>
                </a:cubicBezTo>
                <a:cubicBezTo>
                  <a:pt x="730" y="284"/>
                  <a:pt x="730" y="284"/>
                  <a:pt x="730" y="284"/>
                </a:cubicBezTo>
                <a:cubicBezTo>
                  <a:pt x="731" y="284"/>
                  <a:pt x="731" y="287"/>
                  <a:pt x="731" y="288"/>
                </a:cubicBezTo>
                <a:cubicBezTo>
                  <a:pt x="732" y="287"/>
                  <a:pt x="734" y="288"/>
                  <a:pt x="735" y="291"/>
                </a:cubicBezTo>
                <a:cubicBezTo>
                  <a:pt x="735" y="291"/>
                  <a:pt x="735" y="291"/>
                  <a:pt x="735" y="291"/>
                </a:cubicBezTo>
                <a:cubicBezTo>
                  <a:pt x="735" y="290"/>
                  <a:pt x="736" y="285"/>
                  <a:pt x="735" y="284"/>
                </a:cubicBezTo>
                <a:cubicBezTo>
                  <a:pt x="735" y="284"/>
                  <a:pt x="732" y="279"/>
                  <a:pt x="736" y="281"/>
                </a:cubicBezTo>
                <a:cubicBezTo>
                  <a:pt x="737" y="282"/>
                  <a:pt x="735" y="287"/>
                  <a:pt x="736" y="291"/>
                </a:cubicBezTo>
                <a:cubicBezTo>
                  <a:pt x="736" y="291"/>
                  <a:pt x="737" y="291"/>
                  <a:pt x="737" y="291"/>
                </a:cubicBezTo>
                <a:cubicBezTo>
                  <a:pt x="737" y="293"/>
                  <a:pt x="737" y="293"/>
                  <a:pt x="737" y="293"/>
                </a:cubicBezTo>
                <a:cubicBezTo>
                  <a:pt x="737" y="294"/>
                  <a:pt x="737" y="295"/>
                  <a:pt x="736" y="295"/>
                </a:cubicBezTo>
                <a:cubicBezTo>
                  <a:pt x="737" y="296"/>
                  <a:pt x="738" y="295"/>
                  <a:pt x="739" y="295"/>
                </a:cubicBezTo>
                <a:cubicBezTo>
                  <a:pt x="739" y="295"/>
                  <a:pt x="741" y="297"/>
                  <a:pt x="741" y="297"/>
                </a:cubicBezTo>
                <a:cubicBezTo>
                  <a:pt x="741" y="300"/>
                  <a:pt x="738" y="300"/>
                  <a:pt x="736" y="298"/>
                </a:cubicBezTo>
                <a:cubicBezTo>
                  <a:pt x="738" y="300"/>
                  <a:pt x="735" y="299"/>
                  <a:pt x="735" y="300"/>
                </a:cubicBezTo>
                <a:cubicBezTo>
                  <a:pt x="735" y="299"/>
                  <a:pt x="735" y="305"/>
                  <a:pt x="733" y="305"/>
                </a:cubicBezTo>
                <a:cubicBezTo>
                  <a:pt x="733" y="305"/>
                  <a:pt x="734" y="301"/>
                  <a:pt x="733" y="300"/>
                </a:cubicBezTo>
                <a:cubicBezTo>
                  <a:pt x="733" y="300"/>
                  <a:pt x="733" y="300"/>
                  <a:pt x="733" y="300"/>
                </a:cubicBezTo>
                <a:cubicBezTo>
                  <a:pt x="733" y="301"/>
                  <a:pt x="732" y="301"/>
                  <a:pt x="732" y="301"/>
                </a:cubicBezTo>
                <a:cubicBezTo>
                  <a:pt x="731" y="301"/>
                  <a:pt x="731" y="300"/>
                  <a:pt x="731" y="299"/>
                </a:cubicBezTo>
                <a:cubicBezTo>
                  <a:pt x="731" y="299"/>
                  <a:pt x="731" y="299"/>
                  <a:pt x="731" y="299"/>
                </a:cubicBezTo>
                <a:cubicBezTo>
                  <a:pt x="731" y="299"/>
                  <a:pt x="731" y="298"/>
                  <a:pt x="732" y="298"/>
                </a:cubicBezTo>
                <a:cubicBezTo>
                  <a:pt x="734" y="297"/>
                  <a:pt x="732" y="297"/>
                  <a:pt x="730" y="296"/>
                </a:cubicBezTo>
                <a:cubicBezTo>
                  <a:pt x="730" y="296"/>
                  <a:pt x="730" y="296"/>
                  <a:pt x="730" y="296"/>
                </a:cubicBezTo>
                <a:cubicBezTo>
                  <a:pt x="730" y="296"/>
                  <a:pt x="730" y="296"/>
                  <a:pt x="730" y="296"/>
                </a:cubicBezTo>
                <a:cubicBezTo>
                  <a:pt x="729" y="295"/>
                  <a:pt x="729" y="295"/>
                  <a:pt x="729" y="294"/>
                </a:cubicBezTo>
                <a:cubicBezTo>
                  <a:pt x="728" y="294"/>
                  <a:pt x="728" y="295"/>
                  <a:pt x="727" y="295"/>
                </a:cubicBezTo>
                <a:cubicBezTo>
                  <a:pt x="725" y="295"/>
                  <a:pt x="726" y="293"/>
                  <a:pt x="725" y="293"/>
                </a:cubicBezTo>
                <a:cubicBezTo>
                  <a:pt x="725" y="293"/>
                  <a:pt x="725" y="293"/>
                  <a:pt x="725" y="293"/>
                </a:cubicBezTo>
                <a:cubicBezTo>
                  <a:pt x="723" y="297"/>
                  <a:pt x="721" y="302"/>
                  <a:pt x="725" y="300"/>
                </a:cubicBezTo>
                <a:cubicBezTo>
                  <a:pt x="723" y="303"/>
                  <a:pt x="726" y="304"/>
                  <a:pt x="728" y="305"/>
                </a:cubicBezTo>
                <a:cubicBezTo>
                  <a:pt x="729" y="306"/>
                  <a:pt x="727" y="304"/>
                  <a:pt x="726" y="305"/>
                </a:cubicBezTo>
                <a:cubicBezTo>
                  <a:pt x="725" y="306"/>
                  <a:pt x="728" y="308"/>
                  <a:pt x="728" y="310"/>
                </a:cubicBezTo>
                <a:cubicBezTo>
                  <a:pt x="728" y="311"/>
                  <a:pt x="727" y="313"/>
                  <a:pt x="727" y="313"/>
                </a:cubicBezTo>
                <a:cubicBezTo>
                  <a:pt x="727" y="315"/>
                  <a:pt x="729" y="314"/>
                  <a:pt x="727" y="315"/>
                </a:cubicBezTo>
                <a:cubicBezTo>
                  <a:pt x="724" y="316"/>
                  <a:pt x="725" y="320"/>
                  <a:pt x="724" y="321"/>
                </a:cubicBezTo>
                <a:cubicBezTo>
                  <a:pt x="723" y="322"/>
                  <a:pt x="720" y="322"/>
                  <a:pt x="720" y="324"/>
                </a:cubicBezTo>
                <a:cubicBezTo>
                  <a:pt x="723" y="320"/>
                  <a:pt x="727" y="325"/>
                  <a:pt x="725" y="326"/>
                </a:cubicBezTo>
                <a:cubicBezTo>
                  <a:pt x="725" y="326"/>
                  <a:pt x="727" y="329"/>
                  <a:pt x="724" y="330"/>
                </a:cubicBezTo>
                <a:cubicBezTo>
                  <a:pt x="722" y="330"/>
                  <a:pt x="723" y="330"/>
                  <a:pt x="721" y="332"/>
                </a:cubicBezTo>
                <a:cubicBezTo>
                  <a:pt x="720" y="334"/>
                  <a:pt x="720" y="325"/>
                  <a:pt x="719" y="324"/>
                </a:cubicBezTo>
                <a:cubicBezTo>
                  <a:pt x="718" y="323"/>
                  <a:pt x="718" y="326"/>
                  <a:pt x="717" y="323"/>
                </a:cubicBezTo>
                <a:cubicBezTo>
                  <a:pt x="715" y="317"/>
                  <a:pt x="709" y="307"/>
                  <a:pt x="717" y="303"/>
                </a:cubicBezTo>
                <a:cubicBezTo>
                  <a:pt x="718" y="302"/>
                  <a:pt x="720" y="302"/>
                  <a:pt x="721" y="301"/>
                </a:cubicBezTo>
                <a:cubicBezTo>
                  <a:pt x="722" y="299"/>
                  <a:pt x="723" y="297"/>
                  <a:pt x="723" y="294"/>
                </a:cubicBezTo>
                <a:cubicBezTo>
                  <a:pt x="723" y="294"/>
                  <a:pt x="723" y="294"/>
                  <a:pt x="723" y="294"/>
                </a:cubicBezTo>
                <a:cubicBezTo>
                  <a:pt x="722" y="294"/>
                  <a:pt x="723" y="292"/>
                  <a:pt x="722" y="292"/>
                </a:cubicBezTo>
                <a:cubicBezTo>
                  <a:pt x="722" y="292"/>
                  <a:pt x="721" y="292"/>
                  <a:pt x="720" y="292"/>
                </a:cubicBezTo>
                <a:cubicBezTo>
                  <a:pt x="720" y="293"/>
                  <a:pt x="719" y="293"/>
                  <a:pt x="719" y="293"/>
                </a:cubicBezTo>
                <a:cubicBezTo>
                  <a:pt x="719" y="293"/>
                  <a:pt x="719" y="293"/>
                  <a:pt x="719" y="292"/>
                </a:cubicBezTo>
                <a:cubicBezTo>
                  <a:pt x="718" y="293"/>
                  <a:pt x="718" y="292"/>
                  <a:pt x="718" y="292"/>
                </a:cubicBezTo>
                <a:cubicBezTo>
                  <a:pt x="717" y="291"/>
                  <a:pt x="718" y="289"/>
                  <a:pt x="716" y="290"/>
                </a:cubicBezTo>
                <a:cubicBezTo>
                  <a:pt x="716" y="289"/>
                  <a:pt x="716" y="287"/>
                  <a:pt x="716" y="286"/>
                </a:cubicBezTo>
                <a:cubicBezTo>
                  <a:pt x="716" y="286"/>
                  <a:pt x="716" y="286"/>
                  <a:pt x="716" y="286"/>
                </a:cubicBezTo>
                <a:cubicBezTo>
                  <a:pt x="715" y="286"/>
                  <a:pt x="713" y="288"/>
                  <a:pt x="713" y="288"/>
                </a:cubicBezTo>
                <a:cubicBezTo>
                  <a:pt x="712" y="288"/>
                  <a:pt x="713" y="285"/>
                  <a:pt x="714" y="283"/>
                </a:cubicBezTo>
                <a:cubicBezTo>
                  <a:pt x="714" y="282"/>
                  <a:pt x="714" y="282"/>
                  <a:pt x="713" y="282"/>
                </a:cubicBezTo>
                <a:cubicBezTo>
                  <a:pt x="714" y="282"/>
                  <a:pt x="711" y="288"/>
                  <a:pt x="709" y="285"/>
                </a:cubicBezTo>
                <a:cubicBezTo>
                  <a:pt x="709" y="286"/>
                  <a:pt x="709" y="286"/>
                  <a:pt x="709" y="286"/>
                </a:cubicBezTo>
                <a:cubicBezTo>
                  <a:pt x="709" y="286"/>
                  <a:pt x="707" y="288"/>
                  <a:pt x="707" y="288"/>
                </a:cubicBezTo>
                <a:cubicBezTo>
                  <a:pt x="705" y="287"/>
                  <a:pt x="707" y="283"/>
                  <a:pt x="707" y="281"/>
                </a:cubicBezTo>
                <a:cubicBezTo>
                  <a:pt x="706" y="281"/>
                  <a:pt x="705" y="280"/>
                  <a:pt x="705" y="279"/>
                </a:cubicBezTo>
                <a:cubicBezTo>
                  <a:pt x="705" y="279"/>
                  <a:pt x="705" y="278"/>
                  <a:pt x="706" y="278"/>
                </a:cubicBezTo>
                <a:cubicBezTo>
                  <a:pt x="705" y="278"/>
                  <a:pt x="705" y="277"/>
                  <a:pt x="706" y="276"/>
                </a:cubicBezTo>
                <a:cubicBezTo>
                  <a:pt x="706" y="276"/>
                  <a:pt x="707" y="275"/>
                  <a:pt x="707" y="276"/>
                </a:cubicBezTo>
                <a:cubicBezTo>
                  <a:pt x="708" y="276"/>
                  <a:pt x="708" y="277"/>
                  <a:pt x="708" y="277"/>
                </a:cubicBezTo>
                <a:cubicBezTo>
                  <a:pt x="708" y="277"/>
                  <a:pt x="708" y="277"/>
                  <a:pt x="708" y="277"/>
                </a:cubicBezTo>
                <a:cubicBezTo>
                  <a:pt x="708" y="275"/>
                  <a:pt x="707" y="273"/>
                  <a:pt x="709" y="271"/>
                </a:cubicBezTo>
                <a:cubicBezTo>
                  <a:pt x="709" y="270"/>
                  <a:pt x="708" y="270"/>
                  <a:pt x="708" y="270"/>
                </a:cubicBezTo>
                <a:cubicBezTo>
                  <a:pt x="708" y="269"/>
                  <a:pt x="708" y="269"/>
                  <a:pt x="707" y="269"/>
                </a:cubicBezTo>
                <a:cubicBezTo>
                  <a:pt x="707" y="271"/>
                  <a:pt x="706" y="272"/>
                  <a:pt x="705" y="273"/>
                </a:cubicBezTo>
                <a:cubicBezTo>
                  <a:pt x="705" y="272"/>
                  <a:pt x="706" y="270"/>
                  <a:pt x="707" y="268"/>
                </a:cubicBezTo>
                <a:cubicBezTo>
                  <a:pt x="707" y="268"/>
                  <a:pt x="707" y="268"/>
                  <a:pt x="707" y="268"/>
                </a:cubicBezTo>
                <a:cubicBezTo>
                  <a:pt x="707" y="268"/>
                  <a:pt x="706" y="269"/>
                  <a:pt x="706" y="269"/>
                </a:cubicBezTo>
                <a:cubicBezTo>
                  <a:pt x="705" y="268"/>
                  <a:pt x="707" y="267"/>
                  <a:pt x="707" y="268"/>
                </a:cubicBezTo>
                <a:cubicBezTo>
                  <a:pt x="708" y="266"/>
                  <a:pt x="710" y="263"/>
                  <a:pt x="711" y="262"/>
                </a:cubicBezTo>
                <a:cubicBezTo>
                  <a:pt x="710" y="262"/>
                  <a:pt x="710" y="262"/>
                  <a:pt x="710" y="262"/>
                </a:cubicBezTo>
                <a:cubicBezTo>
                  <a:pt x="709" y="262"/>
                  <a:pt x="709" y="261"/>
                  <a:pt x="709" y="260"/>
                </a:cubicBezTo>
                <a:cubicBezTo>
                  <a:pt x="708" y="260"/>
                  <a:pt x="708" y="259"/>
                  <a:pt x="708" y="259"/>
                </a:cubicBezTo>
                <a:cubicBezTo>
                  <a:pt x="708" y="258"/>
                  <a:pt x="709" y="256"/>
                  <a:pt x="710" y="255"/>
                </a:cubicBezTo>
                <a:cubicBezTo>
                  <a:pt x="710" y="255"/>
                  <a:pt x="710" y="255"/>
                  <a:pt x="710" y="255"/>
                </a:cubicBezTo>
                <a:cubicBezTo>
                  <a:pt x="710" y="255"/>
                  <a:pt x="710" y="255"/>
                  <a:pt x="710" y="255"/>
                </a:cubicBezTo>
                <a:cubicBezTo>
                  <a:pt x="708" y="256"/>
                  <a:pt x="707" y="254"/>
                  <a:pt x="708" y="253"/>
                </a:cubicBezTo>
                <a:cubicBezTo>
                  <a:pt x="703" y="248"/>
                  <a:pt x="703" y="248"/>
                  <a:pt x="703" y="248"/>
                </a:cubicBezTo>
                <a:cubicBezTo>
                  <a:pt x="702" y="248"/>
                  <a:pt x="702" y="248"/>
                  <a:pt x="702" y="248"/>
                </a:cubicBezTo>
                <a:cubicBezTo>
                  <a:pt x="702" y="248"/>
                  <a:pt x="702" y="248"/>
                  <a:pt x="703" y="248"/>
                </a:cubicBezTo>
                <a:cubicBezTo>
                  <a:pt x="704" y="249"/>
                  <a:pt x="700" y="250"/>
                  <a:pt x="701" y="249"/>
                </a:cubicBezTo>
                <a:cubicBezTo>
                  <a:pt x="700" y="249"/>
                  <a:pt x="700" y="249"/>
                  <a:pt x="700" y="249"/>
                </a:cubicBezTo>
                <a:cubicBezTo>
                  <a:pt x="699" y="249"/>
                  <a:pt x="699" y="249"/>
                  <a:pt x="699" y="248"/>
                </a:cubicBezTo>
                <a:cubicBezTo>
                  <a:pt x="699" y="248"/>
                  <a:pt x="699" y="248"/>
                  <a:pt x="699" y="248"/>
                </a:cubicBezTo>
                <a:cubicBezTo>
                  <a:pt x="699" y="248"/>
                  <a:pt x="698" y="246"/>
                  <a:pt x="696" y="245"/>
                </a:cubicBezTo>
                <a:cubicBezTo>
                  <a:pt x="696" y="246"/>
                  <a:pt x="695" y="246"/>
                  <a:pt x="695" y="245"/>
                </a:cubicBezTo>
                <a:cubicBezTo>
                  <a:pt x="695" y="245"/>
                  <a:pt x="695" y="245"/>
                  <a:pt x="695" y="245"/>
                </a:cubicBezTo>
                <a:cubicBezTo>
                  <a:pt x="695" y="244"/>
                  <a:pt x="694" y="245"/>
                  <a:pt x="694" y="246"/>
                </a:cubicBezTo>
                <a:cubicBezTo>
                  <a:pt x="694" y="246"/>
                  <a:pt x="694" y="246"/>
                  <a:pt x="694" y="247"/>
                </a:cubicBezTo>
                <a:cubicBezTo>
                  <a:pt x="693" y="247"/>
                  <a:pt x="686" y="249"/>
                  <a:pt x="690" y="250"/>
                </a:cubicBezTo>
                <a:cubicBezTo>
                  <a:pt x="691" y="251"/>
                  <a:pt x="690" y="249"/>
                  <a:pt x="690" y="249"/>
                </a:cubicBezTo>
                <a:cubicBezTo>
                  <a:pt x="691" y="249"/>
                  <a:pt x="691" y="250"/>
                  <a:pt x="691" y="250"/>
                </a:cubicBezTo>
                <a:cubicBezTo>
                  <a:pt x="692" y="250"/>
                  <a:pt x="693" y="248"/>
                  <a:pt x="695" y="248"/>
                </a:cubicBezTo>
                <a:cubicBezTo>
                  <a:pt x="692" y="249"/>
                  <a:pt x="695" y="252"/>
                  <a:pt x="694" y="253"/>
                </a:cubicBezTo>
                <a:cubicBezTo>
                  <a:pt x="692" y="254"/>
                  <a:pt x="689" y="251"/>
                  <a:pt x="688" y="251"/>
                </a:cubicBezTo>
                <a:cubicBezTo>
                  <a:pt x="685" y="252"/>
                  <a:pt x="684" y="254"/>
                  <a:pt x="683" y="257"/>
                </a:cubicBezTo>
                <a:cubicBezTo>
                  <a:pt x="684" y="256"/>
                  <a:pt x="686" y="256"/>
                  <a:pt x="688" y="256"/>
                </a:cubicBezTo>
                <a:cubicBezTo>
                  <a:pt x="688" y="255"/>
                  <a:pt x="689" y="254"/>
                  <a:pt x="691" y="256"/>
                </a:cubicBezTo>
                <a:cubicBezTo>
                  <a:pt x="692" y="257"/>
                  <a:pt x="696" y="260"/>
                  <a:pt x="695" y="262"/>
                </a:cubicBezTo>
                <a:cubicBezTo>
                  <a:pt x="692" y="266"/>
                  <a:pt x="687" y="271"/>
                  <a:pt x="687" y="277"/>
                </a:cubicBezTo>
                <a:cubicBezTo>
                  <a:pt x="690" y="271"/>
                  <a:pt x="692" y="278"/>
                  <a:pt x="687" y="279"/>
                </a:cubicBezTo>
                <a:cubicBezTo>
                  <a:pt x="688" y="277"/>
                  <a:pt x="686" y="279"/>
                  <a:pt x="685" y="278"/>
                </a:cubicBezTo>
                <a:cubicBezTo>
                  <a:pt x="685" y="277"/>
                  <a:pt x="685" y="277"/>
                  <a:pt x="685" y="277"/>
                </a:cubicBezTo>
                <a:cubicBezTo>
                  <a:pt x="685" y="277"/>
                  <a:pt x="685" y="277"/>
                  <a:pt x="685" y="277"/>
                </a:cubicBezTo>
                <a:cubicBezTo>
                  <a:pt x="682" y="277"/>
                  <a:pt x="685" y="272"/>
                  <a:pt x="685" y="275"/>
                </a:cubicBezTo>
                <a:cubicBezTo>
                  <a:pt x="685" y="275"/>
                  <a:pt x="685" y="275"/>
                  <a:pt x="685" y="275"/>
                </a:cubicBezTo>
                <a:cubicBezTo>
                  <a:pt x="686" y="275"/>
                  <a:pt x="686" y="274"/>
                  <a:pt x="686" y="273"/>
                </a:cubicBezTo>
                <a:cubicBezTo>
                  <a:pt x="686" y="270"/>
                  <a:pt x="685" y="266"/>
                  <a:pt x="684" y="263"/>
                </a:cubicBezTo>
                <a:cubicBezTo>
                  <a:pt x="683" y="263"/>
                  <a:pt x="682" y="263"/>
                  <a:pt x="682" y="262"/>
                </a:cubicBezTo>
                <a:cubicBezTo>
                  <a:pt x="682" y="262"/>
                  <a:pt x="682" y="262"/>
                  <a:pt x="682" y="261"/>
                </a:cubicBezTo>
                <a:cubicBezTo>
                  <a:pt x="680" y="261"/>
                  <a:pt x="679" y="261"/>
                  <a:pt x="678" y="265"/>
                </a:cubicBezTo>
                <a:cubicBezTo>
                  <a:pt x="676" y="258"/>
                  <a:pt x="673" y="269"/>
                  <a:pt x="674" y="271"/>
                </a:cubicBezTo>
                <a:cubicBezTo>
                  <a:pt x="674" y="271"/>
                  <a:pt x="676" y="271"/>
                  <a:pt x="676" y="271"/>
                </a:cubicBezTo>
                <a:cubicBezTo>
                  <a:pt x="677" y="272"/>
                  <a:pt x="677" y="275"/>
                  <a:pt x="677" y="276"/>
                </a:cubicBezTo>
                <a:cubicBezTo>
                  <a:pt x="676" y="278"/>
                  <a:pt x="673" y="285"/>
                  <a:pt x="674" y="280"/>
                </a:cubicBezTo>
                <a:cubicBezTo>
                  <a:pt x="674" y="278"/>
                  <a:pt x="674" y="276"/>
                  <a:pt x="673" y="275"/>
                </a:cubicBezTo>
                <a:cubicBezTo>
                  <a:pt x="673" y="275"/>
                  <a:pt x="673" y="275"/>
                  <a:pt x="673" y="275"/>
                </a:cubicBezTo>
                <a:cubicBezTo>
                  <a:pt x="673" y="275"/>
                  <a:pt x="673" y="275"/>
                  <a:pt x="673" y="275"/>
                </a:cubicBezTo>
                <a:cubicBezTo>
                  <a:pt x="673" y="273"/>
                  <a:pt x="673" y="272"/>
                  <a:pt x="673" y="270"/>
                </a:cubicBezTo>
                <a:cubicBezTo>
                  <a:pt x="673" y="268"/>
                  <a:pt x="674" y="266"/>
                  <a:pt x="674" y="265"/>
                </a:cubicBezTo>
                <a:cubicBezTo>
                  <a:pt x="674" y="265"/>
                  <a:pt x="673" y="265"/>
                  <a:pt x="672" y="265"/>
                </a:cubicBezTo>
                <a:cubicBezTo>
                  <a:pt x="672" y="264"/>
                  <a:pt x="672" y="264"/>
                  <a:pt x="672" y="264"/>
                </a:cubicBezTo>
                <a:cubicBezTo>
                  <a:pt x="672" y="263"/>
                  <a:pt x="672" y="263"/>
                  <a:pt x="672" y="263"/>
                </a:cubicBezTo>
                <a:cubicBezTo>
                  <a:pt x="672" y="263"/>
                  <a:pt x="671" y="262"/>
                  <a:pt x="671" y="262"/>
                </a:cubicBezTo>
                <a:cubicBezTo>
                  <a:pt x="669" y="263"/>
                  <a:pt x="671" y="271"/>
                  <a:pt x="671" y="274"/>
                </a:cubicBezTo>
                <a:cubicBezTo>
                  <a:pt x="671" y="274"/>
                  <a:pt x="672" y="273"/>
                  <a:pt x="672" y="274"/>
                </a:cubicBezTo>
                <a:cubicBezTo>
                  <a:pt x="673" y="274"/>
                  <a:pt x="672" y="275"/>
                  <a:pt x="671" y="275"/>
                </a:cubicBezTo>
                <a:cubicBezTo>
                  <a:pt x="671" y="275"/>
                  <a:pt x="671" y="275"/>
                  <a:pt x="671" y="275"/>
                </a:cubicBezTo>
                <a:cubicBezTo>
                  <a:pt x="671" y="275"/>
                  <a:pt x="671" y="276"/>
                  <a:pt x="671" y="277"/>
                </a:cubicBezTo>
                <a:cubicBezTo>
                  <a:pt x="671" y="277"/>
                  <a:pt x="671" y="277"/>
                  <a:pt x="671" y="277"/>
                </a:cubicBezTo>
                <a:cubicBezTo>
                  <a:pt x="671" y="277"/>
                  <a:pt x="671" y="277"/>
                  <a:pt x="671" y="277"/>
                </a:cubicBezTo>
                <a:cubicBezTo>
                  <a:pt x="671" y="280"/>
                  <a:pt x="671" y="282"/>
                  <a:pt x="671" y="283"/>
                </a:cubicBezTo>
                <a:cubicBezTo>
                  <a:pt x="668" y="286"/>
                  <a:pt x="671" y="269"/>
                  <a:pt x="666" y="275"/>
                </a:cubicBezTo>
                <a:cubicBezTo>
                  <a:pt x="666" y="275"/>
                  <a:pt x="662" y="280"/>
                  <a:pt x="662" y="281"/>
                </a:cubicBezTo>
                <a:cubicBezTo>
                  <a:pt x="663" y="282"/>
                  <a:pt x="664" y="280"/>
                  <a:pt x="665" y="281"/>
                </a:cubicBezTo>
                <a:cubicBezTo>
                  <a:pt x="667" y="281"/>
                  <a:pt x="666" y="284"/>
                  <a:pt x="665" y="285"/>
                </a:cubicBezTo>
                <a:cubicBezTo>
                  <a:pt x="664" y="286"/>
                  <a:pt x="663" y="284"/>
                  <a:pt x="663" y="284"/>
                </a:cubicBezTo>
                <a:cubicBezTo>
                  <a:pt x="661" y="285"/>
                  <a:pt x="660" y="287"/>
                  <a:pt x="660" y="289"/>
                </a:cubicBezTo>
                <a:cubicBezTo>
                  <a:pt x="660" y="289"/>
                  <a:pt x="660" y="289"/>
                  <a:pt x="661" y="289"/>
                </a:cubicBezTo>
                <a:cubicBezTo>
                  <a:pt x="661" y="289"/>
                  <a:pt x="660" y="290"/>
                  <a:pt x="660" y="290"/>
                </a:cubicBezTo>
                <a:cubicBezTo>
                  <a:pt x="660" y="291"/>
                  <a:pt x="660" y="293"/>
                  <a:pt x="659" y="295"/>
                </a:cubicBezTo>
                <a:cubicBezTo>
                  <a:pt x="657" y="298"/>
                  <a:pt x="657" y="301"/>
                  <a:pt x="656" y="301"/>
                </a:cubicBezTo>
                <a:cubicBezTo>
                  <a:pt x="656" y="302"/>
                  <a:pt x="654" y="300"/>
                  <a:pt x="652" y="300"/>
                </a:cubicBezTo>
                <a:cubicBezTo>
                  <a:pt x="650" y="301"/>
                  <a:pt x="651" y="303"/>
                  <a:pt x="649" y="300"/>
                </a:cubicBezTo>
                <a:cubicBezTo>
                  <a:pt x="649" y="299"/>
                  <a:pt x="649" y="301"/>
                  <a:pt x="648" y="298"/>
                </a:cubicBezTo>
                <a:cubicBezTo>
                  <a:pt x="648" y="297"/>
                  <a:pt x="650" y="291"/>
                  <a:pt x="654" y="292"/>
                </a:cubicBezTo>
                <a:cubicBezTo>
                  <a:pt x="655" y="292"/>
                  <a:pt x="656" y="295"/>
                  <a:pt x="657" y="292"/>
                </a:cubicBezTo>
                <a:cubicBezTo>
                  <a:pt x="657" y="291"/>
                  <a:pt x="656" y="290"/>
                  <a:pt x="656" y="288"/>
                </a:cubicBezTo>
                <a:cubicBezTo>
                  <a:pt x="657" y="285"/>
                  <a:pt x="661" y="281"/>
                  <a:pt x="662" y="278"/>
                </a:cubicBezTo>
                <a:cubicBezTo>
                  <a:pt x="662" y="276"/>
                  <a:pt x="661" y="273"/>
                  <a:pt x="662" y="269"/>
                </a:cubicBezTo>
                <a:cubicBezTo>
                  <a:pt x="663" y="267"/>
                  <a:pt x="668" y="263"/>
                  <a:pt x="667" y="261"/>
                </a:cubicBezTo>
                <a:cubicBezTo>
                  <a:pt x="667" y="261"/>
                  <a:pt x="667" y="260"/>
                  <a:pt x="666" y="260"/>
                </a:cubicBezTo>
                <a:cubicBezTo>
                  <a:pt x="666" y="260"/>
                  <a:pt x="665" y="260"/>
                  <a:pt x="665" y="260"/>
                </a:cubicBezTo>
                <a:cubicBezTo>
                  <a:pt x="665" y="260"/>
                  <a:pt x="665" y="259"/>
                  <a:pt x="665" y="259"/>
                </a:cubicBezTo>
                <a:cubicBezTo>
                  <a:pt x="663" y="258"/>
                  <a:pt x="659" y="257"/>
                  <a:pt x="656" y="259"/>
                </a:cubicBezTo>
                <a:cubicBezTo>
                  <a:pt x="656" y="259"/>
                  <a:pt x="656" y="259"/>
                  <a:pt x="656" y="259"/>
                </a:cubicBezTo>
                <a:cubicBezTo>
                  <a:pt x="656" y="260"/>
                  <a:pt x="656" y="261"/>
                  <a:pt x="656" y="262"/>
                </a:cubicBezTo>
                <a:cubicBezTo>
                  <a:pt x="655" y="266"/>
                  <a:pt x="648" y="271"/>
                  <a:pt x="644" y="269"/>
                </a:cubicBezTo>
                <a:cubicBezTo>
                  <a:pt x="644" y="269"/>
                  <a:pt x="644" y="269"/>
                  <a:pt x="643" y="268"/>
                </a:cubicBezTo>
                <a:cubicBezTo>
                  <a:pt x="643" y="269"/>
                  <a:pt x="643" y="269"/>
                  <a:pt x="643" y="269"/>
                </a:cubicBezTo>
                <a:cubicBezTo>
                  <a:pt x="643" y="270"/>
                  <a:pt x="643" y="269"/>
                  <a:pt x="643" y="268"/>
                </a:cubicBezTo>
                <a:cubicBezTo>
                  <a:pt x="643" y="268"/>
                  <a:pt x="643" y="268"/>
                  <a:pt x="643" y="268"/>
                </a:cubicBezTo>
                <a:cubicBezTo>
                  <a:pt x="642" y="268"/>
                  <a:pt x="641" y="269"/>
                  <a:pt x="641" y="270"/>
                </a:cubicBezTo>
                <a:cubicBezTo>
                  <a:pt x="639" y="269"/>
                  <a:pt x="639" y="272"/>
                  <a:pt x="638" y="272"/>
                </a:cubicBezTo>
                <a:cubicBezTo>
                  <a:pt x="636" y="273"/>
                  <a:pt x="634" y="271"/>
                  <a:pt x="634" y="274"/>
                </a:cubicBezTo>
                <a:cubicBezTo>
                  <a:pt x="633" y="269"/>
                  <a:pt x="626" y="278"/>
                  <a:pt x="626" y="280"/>
                </a:cubicBezTo>
                <a:cubicBezTo>
                  <a:pt x="627" y="279"/>
                  <a:pt x="633" y="279"/>
                  <a:pt x="633" y="279"/>
                </a:cubicBezTo>
                <a:cubicBezTo>
                  <a:pt x="633" y="279"/>
                  <a:pt x="633" y="279"/>
                  <a:pt x="633" y="279"/>
                </a:cubicBezTo>
                <a:cubicBezTo>
                  <a:pt x="633" y="279"/>
                  <a:pt x="633" y="279"/>
                  <a:pt x="633" y="279"/>
                </a:cubicBezTo>
                <a:cubicBezTo>
                  <a:pt x="634" y="278"/>
                  <a:pt x="634" y="277"/>
                  <a:pt x="635" y="278"/>
                </a:cubicBezTo>
                <a:cubicBezTo>
                  <a:pt x="636" y="279"/>
                  <a:pt x="634" y="279"/>
                  <a:pt x="634" y="280"/>
                </a:cubicBezTo>
                <a:cubicBezTo>
                  <a:pt x="634" y="281"/>
                  <a:pt x="634" y="281"/>
                  <a:pt x="634" y="281"/>
                </a:cubicBezTo>
                <a:cubicBezTo>
                  <a:pt x="635" y="281"/>
                  <a:pt x="635" y="281"/>
                  <a:pt x="635" y="283"/>
                </a:cubicBezTo>
                <a:cubicBezTo>
                  <a:pt x="635" y="283"/>
                  <a:pt x="635" y="283"/>
                  <a:pt x="635" y="283"/>
                </a:cubicBezTo>
                <a:cubicBezTo>
                  <a:pt x="636" y="284"/>
                  <a:pt x="636" y="284"/>
                  <a:pt x="636" y="285"/>
                </a:cubicBezTo>
                <a:cubicBezTo>
                  <a:pt x="636" y="285"/>
                  <a:pt x="634" y="289"/>
                  <a:pt x="633" y="289"/>
                </a:cubicBezTo>
                <a:cubicBezTo>
                  <a:pt x="633" y="290"/>
                  <a:pt x="631" y="295"/>
                  <a:pt x="630" y="295"/>
                </a:cubicBezTo>
                <a:cubicBezTo>
                  <a:pt x="628" y="294"/>
                  <a:pt x="631" y="293"/>
                  <a:pt x="630" y="292"/>
                </a:cubicBezTo>
                <a:cubicBezTo>
                  <a:pt x="629" y="291"/>
                  <a:pt x="627" y="292"/>
                  <a:pt x="626" y="292"/>
                </a:cubicBezTo>
                <a:cubicBezTo>
                  <a:pt x="625" y="292"/>
                  <a:pt x="626" y="290"/>
                  <a:pt x="625" y="290"/>
                </a:cubicBezTo>
                <a:cubicBezTo>
                  <a:pt x="625" y="290"/>
                  <a:pt x="622" y="291"/>
                  <a:pt x="622" y="290"/>
                </a:cubicBezTo>
                <a:cubicBezTo>
                  <a:pt x="621" y="288"/>
                  <a:pt x="624" y="289"/>
                  <a:pt x="624" y="287"/>
                </a:cubicBezTo>
                <a:cubicBezTo>
                  <a:pt x="624" y="287"/>
                  <a:pt x="623" y="286"/>
                  <a:pt x="623" y="286"/>
                </a:cubicBezTo>
                <a:cubicBezTo>
                  <a:pt x="622" y="285"/>
                  <a:pt x="624" y="284"/>
                  <a:pt x="624" y="282"/>
                </a:cubicBezTo>
                <a:cubicBezTo>
                  <a:pt x="624" y="282"/>
                  <a:pt x="624" y="281"/>
                  <a:pt x="624" y="281"/>
                </a:cubicBezTo>
                <a:cubicBezTo>
                  <a:pt x="625" y="278"/>
                  <a:pt x="631" y="274"/>
                  <a:pt x="629" y="270"/>
                </a:cubicBezTo>
                <a:cubicBezTo>
                  <a:pt x="628" y="269"/>
                  <a:pt x="627" y="269"/>
                  <a:pt x="627" y="270"/>
                </a:cubicBezTo>
                <a:cubicBezTo>
                  <a:pt x="627" y="267"/>
                  <a:pt x="628" y="258"/>
                  <a:pt x="633" y="256"/>
                </a:cubicBezTo>
                <a:cubicBezTo>
                  <a:pt x="634" y="256"/>
                  <a:pt x="636" y="256"/>
                  <a:pt x="637" y="257"/>
                </a:cubicBezTo>
                <a:cubicBezTo>
                  <a:pt x="638" y="257"/>
                  <a:pt x="639" y="258"/>
                  <a:pt x="640" y="258"/>
                </a:cubicBezTo>
                <a:cubicBezTo>
                  <a:pt x="640" y="258"/>
                  <a:pt x="640" y="259"/>
                  <a:pt x="640" y="259"/>
                </a:cubicBezTo>
                <a:cubicBezTo>
                  <a:pt x="640" y="259"/>
                  <a:pt x="640" y="259"/>
                  <a:pt x="640" y="259"/>
                </a:cubicBezTo>
                <a:cubicBezTo>
                  <a:pt x="641" y="260"/>
                  <a:pt x="641" y="260"/>
                  <a:pt x="642" y="260"/>
                </a:cubicBezTo>
                <a:cubicBezTo>
                  <a:pt x="643" y="259"/>
                  <a:pt x="644" y="257"/>
                  <a:pt x="645" y="256"/>
                </a:cubicBezTo>
                <a:cubicBezTo>
                  <a:pt x="644" y="254"/>
                  <a:pt x="643" y="256"/>
                  <a:pt x="641" y="257"/>
                </a:cubicBezTo>
                <a:cubicBezTo>
                  <a:pt x="642" y="256"/>
                  <a:pt x="642" y="256"/>
                  <a:pt x="642" y="255"/>
                </a:cubicBezTo>
                <a:cubicBezTo>
                  <a:pt x="641" y="255"/>
                  <a:pt x="640" y="255"/>
                  <a:pt x="640" y="255"/>
                </a:cubicBezTo>
                <a:cubicBezTo>
                  <a:pt x="639" y="254"/>
                  <a:pt x="641" y="254"/>
                  <a:pt x="641" y="253"/>
                </a:cubicBezTo>
                <a:cubicBezTo>
                  <a:pt x="642" y="252"/>
                  <a:pt x="640" y="253"/>
                  <a:pt x="641" y="251"/>
                </a:cubicBezTo>
                <a:cubicBezTo>
                  <a:pt x="642" y="249"/>
                  <a:pt x="645" y="249"/>
                  <a:pt x="646" y="248"/>
                </a:cubicBezTo>
                <a:cubicBezTo>
                  <a:pt x="646" y="248"/>
                  <a:pt x="646" y="248"/>
                  <a:pt x="646" y="247"/>
                </a:cubicBezTo>
                <a:cubicBezTo>
                  <a:pt x="645" y="247"/>
                  <a:pt x="644" y="247"/>
                  <a:pt x="644" y="247"/>
                </a:cubicBezTo>
                <a:cubicBezTo>
                  <a:pt x="644" y="246"/>
                  <a:pt x="645" y="245"/>
                  <a:pt x="644" y="243"/>
                </a:cubicBezTo>
                <a:cubicBezTo>
                  <a:pt x="643" y="243"/>
                  <a:pt x="643" y="243"/>
                  <a:pt x="643" y="243"/>
                </a:cubicBezTo>
                <a:cubicBezTo>
                  <a:pt x="642" y="243"/>
                  <a:pt x="641" y="239"/>
                  <a:pt x="641" y="239"/>
                </a:cubicBezTo>
                <a:cubicBezTo>
                  <a:pt x="642" y="237"/>
                  <a:pt x="644" y="239"/>
                  <a:pt x="646" y="237"/>
                </a:cubicBezTo>
                <a:cubicBezTo>
                  <a:pt x="645" y="238"/>
                  <a:pt x="648" y="235"/>
                  <a:pt x="648" y="235"/>
                </a:cubicBezTo>
                <a:cubicBezTo>
                  <a:pt x="648" y="234"/>
                  <a:pt x="647" y="233"/>
                  <a:pt x="647" y="232"/>
                </a:cubicBezTo>
                <a:cubicBezTo>
                  <a:pt x="647" y="230"/>
                  <a:pt x="649" y="230"/>
                  <a:pt x="649" y="228"/>
                </a:cubicBezTo>
                <a:cubicBezTo>
                  <a:pt x="648" y="226"/>
                  <a:pt x="651" y="222"/>
                  <a:pt x="653" y="222"/>
                </a:cubicBezTo>
                <a:cubicBezTo>
                  <a:pt x="657" y="221"/>
                  <a:pt x="656" y="229"/>
                  <a:pt x="662" y="226"/>
                </a:cubicBezTo>
                <a:cubicBezTo>
                  <a:pt x="663" y="232"/>
                  <a:pt x="667" y="220"/>
                  <a:pt x="668" y="220"/>
                </a:cubicBezTo>
                <a:cubicBezTo>
                  <a:pt x="668" y="220"/>
                  <a:pt x="668" y="220"/>
                  <a:pt x="668" y="220"/>
                </a:cubicBezTo>
                <a:cubicBezTo>
                  <a:pt x="668" y="220"/>
                  <a:pt x="668" y="220"/>
                  <a:pt x="669" y="220"/>
                </a:cubicBezTo>
                <a:cubicBezTo>
                  <a:pt x="669" y="220"/>
                  <a:pt x="669" y="220"/>
                  <a:pt x="669" y="220"/>
                </a:cubicBezTo>
                <a:cubicBezTo>
                  <a:pt x="670" y="222"/>
                  <a:pt x="669" y="221"/>
                  <a:pt x="668" y="221"/>
                </a:cubicBezTo>
                <a:cubicBezTo>
                  <a:pt x="669" y="222"/>
                  <a:pt x="665" y="229"/>
                  <a:pt x="670" y="225"/>
                </a:cubicBezTo>
                <a:cubicBezTo>
                  <a:pt x="671" y="224"/>
                  <a:pt x="669" y="222"/>
                  <a:pt x="670" y="221"/>
                </a:cubicBezTo>
                <a:cubicBezTo>
                  <a:pt x="671" y="220"/>
                  <a:pt x="674" y="221"/>
                  <a:pt x="675" y="220"/>
                </a:cubicBezTo>
                <a:cubicBezTo>
                  <a:pt x="664" y="209"/>
                  <a:pt x="664" y="209"/>
                  <a:pt x="664" y="209"/>
                </a:cubicBezTo>
                <a:cubicBezTo>
                  <a:pt x="664" y="209"/>
                  <a:pt x="664" y="209"/>
                  <a:pt x="664" y="209"/>
                </a:cubicBezTo>
                <a:cubicBezTo>
                  <a:pt x="663" y="211"/>
                  <a:pt x="660" y="209"/>
                  <a:pt x="661" y="208"/>
                </a:cubicBezTo>
                <a:cubicBezTo>
                  <a:pt x="659" y="209"/>
                  <a:pt x="658" y="209"/>
                  <a:pt x="658" y="208"/>
                </a:cubicBezTo>
                <a:cubicBezTo>
                  <a:pt x="657" y="209"/>
                  <a:pt x="657" y="209"/>
                  <a:pt x="657" y="209"/>
                </a:cubicBezTo>
                <a:cubicBezTo>
                  <a:pt x="657" y="209"/>
                  <a:pt x="657" y="208"/>
                  <a:pt x="657" y="207"/>
                </a:cubicBezTo>
                <a:cubicBezTo>
                  <a:pt x="656" y="206"/>
                  <a:pt x="656" y="203"/>
                  <a:pt x="656" y="202"/>
                </a:cubicBezTo>
                <a:cubicBezTo>
                  <a:pt x="656" y="202"/>
                  <a:pt x="656" y="202"/>
                  <a:pt x="656" y="202"/>
                </a:cubicBezTo>
                <a:cubicBezTo>
                  <a:pt x="655" y="202"/>
                  <a:pt x="656" y="203"/>
                  <a:pt x="655" y="203"/>
                </a:cubicBezTo>
                <a:cubicBezTo>
                  <a:pt x="655" y="203"/>
                  <a:pt x="654" y="202"/>
                  <a:pt x="654" y="202"/>
                </a:cubicBezTo>
                <a:cubicBezTo>
                  <a:pt x="654" y="205"/>
                  <a:pt x="653" y="207"/>
                  <a:pt x="652" y="208"/>
                </a:cubicBezTo>
                <a:cubicBezTo>
                  <a:pt x="651" y="209"/>
                  <a:pt x="649" y="207"/>
                  <a:pt x="649" y="209"/>
                </a:cubicBezTo>
                <a:cubicBezTo>
                  <a:pt x="649" y="210"/>
                  <a:pt x="651" y="211"/>
                  <a:pt x="652" y="212"/>
                </a:cubicBezTo>
                <a:cubicBezTo>
                  <a:pt x="652" y="212"/>
                  <a:pt x="652" y="214"/>
                  <a:pt x="652" y="214"/>
                </a:cubicBezTo>
                <a:cubicBezTo>
                  <a:pt x="653" y="214"/>
                  <a:pt x="655" y="212"/>
                  <a:pt x="656" y="212"/>
                </a:cubicBezTo>
                <a:cubicBezTo>
                  <a:pt x="657" y="213"/>
                  <a:pt x="655" y="215"/>
                  <a:pt x="655" y="216"/>
                </a:cubicBezTo>
                <a:cubicBezTo>
                  <a:pt x="654" y="213"/>
                  <a:pt x="652" y="217"/>
                  <a:pt x="651" y="218"/>
                </a:cubicBezTo>
                <a:cubicBezTo>
                  <a:pt x="650" y="220"/>
                  <a:pt x="647" y="220"/>
                  <a:pt x="647" y="220"/>
                </a:cubicBezTo>
                <a:cubicBezTo>
                  <a:pt x="646" y="221"/>
                  <a:pt x="649" y="223"/>
                  <a:pt x="646" y="224"/>
                </a:cubicBezTo>
                <a:cubicBezTo>
                  <a:pt x="645" y="224"/>
                  <a:pt x="646" y="223"/>
                  <a:pt x="646" y="222"/>
                </a:cubicBezTo>
                <a:cubicBezTo>
                  <a:pt x="645" y="222"/>
                  <a:pt x="643" y="224"/>
                  <a:pt x="642" y="223"/>
                </a:cubicBezTo>
                <a:cubicBezTo>
                  <a:pt x="641" y="223"/>
                  <a:pt x="642" y="221"/>
                  <a:pt x="641" y="220"/>
                </a:cubicBezTo>
                <a:cubicBezTo>
                  <a:pt x="641" y="219"/>
                  <a:pt x="641" y="218"/>
                  <a:pt x="641" y="217"/>
                </a:cubicBezTo>
                <a:cubicBezTo>
                  <a:pt x="639" y="218"/>
                  <a:pt x="634" y="218"/>
                  <a:pt x="633" y="218"/>
                </a:cubicBezTo>
                <a:cubicBezTo>
                  <a:pt x="632" y="217"/>
                  <a:pt x="633" y="215"/>
                  <a:pt x="630" y="216"/>
                </a:cubicBezTo>
                <a:cubicBezTo>
                  <a:pt x="633" y="213"/>
                  <a:pt x="628" y="213"/>
                  <a:pt x="628" y="212"/>
                </a:cubicBezTo>
                <a:cubicBezTo>
                  <a:pt x="628" y="211"/>
                  <a:pt x="630" y="210"/>
                  <a:pt x="630" y="210"/>
                </a:cubicBezTo>
                <a:cubicBezTo>
                  <a:pt x="630" y="209"/>
                  <a:pt x="629" y="209"/>
                  <a:pt x="629" y="208"/>
                </a:cubicBezTo>
                <a:cubicBezTo>
                  <a:pt x="629" y="208"/>
                  <a:pt x="629" y="208"/>
                  <a:pt x="629" y="207"/>
                </a:cubicBezTo>
                <a:cubicBezTo>
                  <a:pt x="628" y="207"/>
                  <a:pt x="627" y="205"/>
                  <a:pt x="627" y="204"/>
                </a:cubicBezTo>
                <a:cubicBezTo>
                  <a:pt x="627" y="204"/>
                  <a:pt x="626" y="204"/>
                  <a:pt x="626" y="204"/>
                </a:cubicBezTo>
                <a:cubicBezTo>
                  <a:pt x="626" y="205"/>
                  <a:pt x="627" y="205"/>
                  <a:pt x="627" y="206"/>
                </a:cubicBezTo>
                <a:cubicBezTo>
                  <a:pt x="627" y="207"/>
                  <a:pt x="626" y="208"/>
                  <a:pt x="626" y="208"/>
                </a:cubicBezTo>
                <a:cubicBezTo>
                  <a:pt x="626" y="209"/>
                  <a:pt x="625" y="210"/>
                  <a:pt x="625" y="210"/>
                </a:cubicBezTo>
                <a:cubicBezTo>
                  <a:pt x="625" y="210"/>
                  <a:pt x="625" y="210"/>
                  <a:pt x="625" y="211"/>
                </a:cubicBezTo>
                <a:cubicBezTo>
                  <a:pt x="625" y="211"/>
                  <a:pt x="625" y="211"/>
                  <a:pt x="624" y="211"/>
                </a:cubicBezTo>
                <a:cubicBezTo>
                  <a:pt x="623" y="212"/>
                  <a:pt x="622" y="214"/>
                  <a:pt x="621" y="216"/>
                </a:cubicBezTo>
                <a:cubicBezTo>
                  <a:pt x="622" y="213"/>
                  <a:pt x="618" y="214"/>
                  <a:pt x="618" y="214"/>
                </a:cubicBezTo>
                <a:cubicBezTo>
                  <a:pt x="618" y="214"/>
                  <a:pt x="618" y="214"/>
                  <a:pt x="618" y="214"/>
                </a:cubicBezTo>
                <a:cubicBezTo>
                  <a:pt x="618" y="214"/>
                  <a:pt x="618" y="214"/>
                  <a:pt x="618" y="214"/>
                </a:cubicBezTo>
                <a:cubicBezTo>
                  <a:pt x="618" y="214"/>
                  <a:pt x="618" y="214"/>
                  <a:pt x="619" y="214"/>
                </a:cubicBezTo>
                <a:cubicBezTo>
                  <a:pt x="620" y="215"/>
                  <a:pt x="620" y="220"/>
                  <a:pt x="619" y="221"/>
                </a:cubicBezTo>
                <a:cubicBezTo>
                  <a:pt x="619" y="221"/>
                  <a:pt x="619" y="220"/>
                  <a:pt x="618" y="220"/>
                </a:cubicBezTo>
                <a:cubicBezTo>
                  <a:pt x="616" y="221"/>
                  <a:pt x="615" y="224"/>
                  <a:pt x="612" y="224"/>
                </a:cubicBezTo>
                <a:cubicBezTo>
                  <a:pt x="612" y="222"/>
                  <a:pt x="614" y="222"/>
                  <a:pt x="615" y="221"/>
                </a:cubicBezTo>
                <a:cubicBezTo>
                  <a:pt x="615" y="220"/>
                  <a:pt x="613" y="221"/>
                  <a:pt x="613" y="220"/>
                </a:cubicBezTo>
                <a:cubicBezTo>
                  <a:pt x="612" y="219"/>
                  <a:pt x="614" y="214"/>
                  <a:pt x="617" y="214"/>
                </a:cubicBezTo>
                <a:cubicBezTo>
                  <a:pt x="617" y="213"/>
                  <a:pt x="617" y="212"/>
                  <a:pt x="617" y="211"/>
                </a:cubicBezTo>
                <a:cubicBezTo>
                  <a:pt x="617" y="211"/>
                  <a:pt x="616" y="211"/>
                  <a:pt x="616" y="211"/>
                </a:cubicBezTo>
                <a:cubicBezTo>
                  <a:pt x="615" y="212"/>
                  <a:pt x="612" y="214"/>
                  <a:pt x="612" y="216"/>
                </a:cubicBezTo>
                <a:cubicBezTo>
                  <a:pt x="611" y="217"/>
                  <a:pt x="612" y="218"/>
                  <a:pt x="612" y="218"/>
                </a:cubicBezTo>
                <a:cubicBezTo>
                  <a:pt x="612" y="219"/>
                  <a:pt x="610" y="220"/>
                  <a:pt x="611" y="220"/>
                </a:cubicBezTo>
                <a:cubicBezTo>
                  <a:pt x="611" y="222"/>
                  <a:pt x="612" y="221"/>
                  <a:pt x="612" y="222"/>
                </a:cubicBezTo>
                <a:cubicBezTo>
                  <a:pt x="612" y="223"/>
                  <a:pt x="610" y="224"/>
                  <a:pt x="610" y="224"/>
                </a:cubicBezTo>
                <a:cubicBezTo>
                  <a:pt x="609" y="223"/>
                  <a:pt x="610" y="221"/>
                  <a:pt x="609" y="220"/>
                </a:cubicBezTo>
                <a:cubicBezTo>
                  <a:pt x="608" y="219"/>
                  <a:pt x="607" y="220"/>
                  <a:pt x="606" y="219"/>
                </a:cubicBezTo>
                <a:cubicBezTo>
                  <a:pt x="604" y="218"/>
                  <a:pt x="604" y="217"/>
                  <a:pt x="601" y="219"/>
                </a:cubicBezTo>
                <a:cubicBezTo>
                  <a:pt x="604" y="215"/>
                  <a:pt x="600" y="218"/>
                  <a:pt x="599" y="217"/>
                </a:cubicBezTo>
                <a:cubicBezTo>
                  <a:pt x="599" y="217"/>
                  <a:pt x="598" y="211"/>
                  <a:pt x="598" y="210"/>
                </a:cubicBezTo>
                <a:cubicBezTo>
                  <a:pt x="598" y="209"/>
                  <a:pt x="599" y="206"/>
                  <a:pt x="599" y="204"/>
                </a:cubicBezTo>
                <a:cubicBezTo>
                  <a:pt x="599" y="205"/>
                  <a:pt x="599" y="205"/>
                  <a:pt x="598" y="206"/>
                </a:cubicBezTo>
                <a:cubicBezTo>
                  <a:pt x="598" y="205"/>
                  <a:pt x="598" y="204"/>
                  <a:pt x="599" y="203"/>
                </a:cubicBezTo>
                <a:cubicBezTo>
                  <a:pt x="599" y="203"/>
                  <a:pt x="599" y="203"/>
                  <a:pt x="599" y="203"/>
                </a:cubicBezTo>
                <a:cubicBezTo>
                  <a:pt x="598" y="203"/>
                  <a:pt x="598" y="204"/>
                  <a:pt x="598" y="204"/>
                </a:cubicBezTo>
                <a:cubicBezTo>
                  <a:pt x="598" y="204"/>
                  <a:pt x="598" y="204"/>
                  <a:pt x="597" y="204"/>
                </a:cubicBezTo>
                <a:cubicBezTo>
                  <a:pt x="597" y="204"/>
                  <a:pt x="597" y="204"/>
                  <a:pt x="597" y="204"/>
                </a:cubicBezTo>
                <a:cubicBezTo>
                  <a:pt x="597" y="204"/>
                  <a:pt x="597" y="204"/>
                  <a:pt x="597" y="204"/>
                </a:cubicBezTo>
                <a:cubicBezTo>
                  <a:pt x="595" y="206"/>
                  <a:pt x="589" y="207"/>
                  <a:pt x="586" y="207"/>
                </a:cubicBezTo>
                <a:cubicBezTo>
                  <a:pt x="586" y="208"/>
                  <a:pt x="586" y="209"/>
                  <a:pt x="585" y="209"/>
                </a:cubicBezTo>
                <a:cubicBezTo>
                  <a:pt x="584" y="210"/>
                  <a:pt x="584" y="208"/>
                  <a:pt x="584" y="208"/>
                </a:cubicBezTo>
                <a:cubicBezTo>
                  <a:pt x="583" y="207"/>
                  <a:pt x="583" y="207"/>
                  <a:pt x="583" y="207"/>
                </a:cubicBezTo>
                <a:cubicBezTo>
                  <a:pt x="583" y="206"/>
                  <a:pt x="584" y="205"/>
                  <a:pt x="585" y="205"/>
                </a:cubicBezTo>
                <a:cubicBezTo>
                  <a:pt x="584" y="204"/>
                  <a:pt x="584" y="204"/>
                  <a:pt x="584" y="204"/>
                </a:cubicBezTo>
                <a:cubicBezTo>
                  <a:pt x="584" y="203"/>
                  <a:pt x="584" y="202"/>
                  <a:pt x="585" y="201"/>
                </a:cubicBezTo>
                <a:cubicBezTo>
                  <a:pt x="585" y="200"/>
                  <a:pt x="585" y="199"/>
                  <a:pt x="585" y="198"/>
                </a:cubicBezTo>
                <a:cubicBezTo>
                  <a:pt x="586" y="197"/>
                  <a:pt x="587" y="197"/>
                  <a:pt x="588" y="197"/>
                </a:cubicBezTo>
                <a:cubicBezTo>
                  <a:pt x="587" y="197"/>
                  <a:pt x="587" y="197"/>
                  <a:pt x="585" y="198"/>
                </a:cubicBezTo>
                <a:cubicBezTo>
                  <a:pt x="584" y="198"/>
                  <a:pt x="583" y="201"/>
                  <a:pt x="583" y="201"/>
                </a:cubicBezTo>
                <a:cubicBezTo>
                  <a:pt x="582" y="202"/>
                  <a:pt x="582" y="202"/>
                  <a:pt x="583" y="202"/>
                </a:cubicBezTo>
                <a:cubicBezTo>
                  <a:pt x="579" y="203"/>
                  <a:pt x="579" y="195"/>
                  <a:pt x="582" y="196"/>
                </a:cubicBezTo>
                <a:cubicBezTo>
                  <a:pt x="581" y="196"/>
                  <a:pt x="583" y="198"/>
                  <a:pt x="582" y="198"/>
                </a:cubicBezTo>
                <a:cubicBezTo>
                  <a:pt x="583" y="198"/>
                  <a:pt x="587" y="194"/>
                  <a:pt x="588" y="192"/>
                </a:cubicBezTo>
                <a:cubicBezTo>
                  <a:pt x="589" y="192"/>
                  <a:pt x="589" y="192"/>
                  <a:pt x="590" y="191"/>
                </a:cubicBezTo>
                <a:cubicBezTo>
                  <a:pt x="589" y="190"/>
                  <a:pt x="588" y="189"/>
                  <a:pt x="588" y="188"/>
                </a:cubicBezTo>
                <a:cubicBezTo>
                  <a:pt x="588" y="188"/>
                  <a:pt x="589" y="187"/>
                  <a:pt x="589" y="187"/>
                </a:cubicBezTo>
                <a:cubicBezTo>
                  <a:pt x="589" y="186"/>
                  <a:pt x="590" y="183"/>
                  <a:pt x="590" y="183"/>
                </a:cubicBezTo>
                <a:cubicBezTo>
                  <a:pt x="590" y="182"/>
                  <a:pt x="588" y="183"/>
                  <a:pt x="589" y="184"/>
                </a:cubicBezTo>
                <a:cubicBezTo>
                  <a:pt x="589" y="184"/>
                  <a:pt x="587" y="182"/>
                  <a:pt x="588" y="181"/>
                </a:cubicBezTo>
                <a:cubicBezTo>
                  <a:pt x="588" y="180"/>
                  <a:pt x="588" y="180"/>
                  <a:pt x="588" y="180"/>
                </a:cubicBezTo>
                <a:cubicBezTo>
                  <a:pt x="588" y="180"/>
                  <a:pt x="587" y="180"/>
                  <a:pt x="587" y="180"/>
                </a:cubicBezTo>
                <a:cubicBezTo>
                  <a:pt x="587" y="180"/>
                  <a:pt x="586" y="181"/>
                  <a:pt x="586" y="182"/>
                </a:cubicBezTo>
                <a:cubicBezTo>
                  <a:pt x="586" y="182"/>
                  <a:pt x="587" y="182"/>
                  <a:pt x="587" y="182"/>
                </a:cubicBezTo>
                <a:cubicBezTo>
                  <a:pt x="588" y="183"/>
                  <a:pt x="587" y="183"/>
                  <a:pt x="587" y="183"/>
                </a:cubicBezTo>
                <a:cubicBezTo>
                  <a:pt x="587" y="184"/>
                  <a:pt x="587" y="185"/>
                  <a:pt x="586" y="184"/>
                </a:cubicBezTo>
                <a:cubicBezTo>
                  <a:pt x="585" y="184"/>
                  <a:pt x="586" y="184"/>
                  <a:pt x="586" y="183"/>
                </a:cubicBezTo>
                <a:cubicBezTo>
                  <a:pt x="586" y="183"/>
                  <a:pt x="586" y="183"/>
                  <a:pt x="586" y="183"/>
                </a:cubicBezTo>
                <a:cubicBezTo>
                  <a:pt x="586" y="183"/>
                  <a:pt x="586" y="183"/>
                  <a:pt x="586" y="183"/>
                </a:cubicBezTo>
                <a:cubicBezTo>
                  <a:pt x="586" y="183"/>
                  <a:pt x="586" y="183"/>
                  <a:pt x="586" y="183"/>
                </a:cubicBezTo>
                <a:cubicBezTo>
                  <a:pt x="585" y="184"/>
                  <a:pt x="583" y="184"/>
                  <a:pt x="582" y="182"/>
                </a:cubicBezTo>
                <a:cubicBezTo>
                  <a:pt x="581" y="181"/>
                  <a:pt x="582" y="180"/>
                  <a:pt x="582" y="179"/>
                </a:cubicBezTo>
                <a:cubicBezTo>
                  <a:pt x="582" y="179"/>
                  <a:pt x="582" y="179"/>
                  <a:pt x="582" y="179"/>
                </a:cubicBezTo>
                <a:cubicBezTo>
                  <a:pt x="580" y="180"/>
                  <a:pt x="582" y="179"/>
                  <a:pt x="581" y="178"/>
                </a:cubicBezTo>
                <a:cubicBezTo>
                  <a:pt x="581" y="178"/>
                  <a:pt x="580" y="178"/>
                  <a:pt x="580" y="179"/>
                </a:cubicBezTo>
                <a:cubicBezTo>
                  <a:pt x="580" y="179"/>
                  <a:pt x="580" y="179"/>
                  <a:pt x="580" y="179"/>
                </a:cubicBezTo>
                <a:cubicBezTo>
                  <a:pt x="579" y="179"/>
                  <a:pt x="579" y="179"/>
                  <a:pt x="578" y="179"/>
                </a:cubicBezTo>
                <a:cubicBezTo>
                  <a:pt x="575" y="179"/>
                  <a:pt x="578" y="174"/>
                  <a:pt x="576" y="173"/>
                </a:cubicBezTo>
                <a:cubicBezTo>
                  <a:pt x="575" y="173"/>
                  <a:pt x="574" y="173"/>
                  <a:pt x="574" y="174"/>
                </a:cubicBezTo>
                <a:cubicBezTo>
                  <a:pt x="573" y="174"/>
                  <a:pt x="573" y="175"/>
                  <a:pt x="572" y="177"/>
                </a:cubicBezTo>
                <a:cubicBezTo>
                  <a:pt x="574" y="177"/>
                  <a:pt x="575" y="178"/>
                  <a:pt x="574" y="180"/>
                </a:cubicBezTo>
                <a:cubicBezTo>
                  <a:pt x="574" y="184"/>
                  <a:pt x="568" y="184"/>
                  <a:pt x="566" y="181"/>
                </a:cubicBezTo>
                <a:cubicBezTo>
                  <a:pt x="566" y="181"/>
                  <a:pt x="565" y="182"/>
                  <a:pt x="565" y="183"/>
                </a:cubicBezTo>
                <a:cubicBezTo>
                  <a:pt x="565" y="182"/>
                  <a:pt x="565" y="182"/>
                  <a:pt x="565" y="181"/>
                </a:cubicBezTo>
                <a:cubicBezTo>
                  <a:pt x="563" y="183"/>
                  <a:pt x="561" y="184"/>
                  <a:pt x="559" y="184"/>
                </a:cubicBezTo>
                <a:cubicBezTo>
                  <a:pt x="558" y="185"/>
                  <a:pt x="556" y="185"/>
                  <a:pt x="556" y="185"/>
                </a:cubicBezTo>
                <a:cubicBezTo>
                  <a:pt x="555" y="184"/>
                  <a:pt x="557" y="184"/>
                  <a:pt x="558" y="183"/>
                </a:cubicBezTo>
                <a:cubicBezTo>
                  <a:pt x="558" y="183"/>
                  <a:pt x="557" y="183"/>
                  <a:pt x="557" y="183"/>
                </a:cubicBezTo>
                <a:cubicBezTo>
                  <a:pt x="557" y="182"/>
                  <a:pt x="556" y="181"/>
                  <a:pt x="556" y="180"/>
                </a:cubicBezTo>
                <a:cubicBezTo>
                  <a:pt x="555" y="180"/>
                  <a:pt x="553" y="179"/>
                  <a:pt x="554" y="176"/>
                </a:cubicBezTo>
                <a:cubicBezTo>
                  <a:pt x="555" y="175"/>
                  <a:pt x="554" y="173"/>
                  <a:pt x="554" y="172"/>
                </a:cubicBezTo>
                <a:cubicBezTo>
                  <a:pt x="554" y="172"/>
                  <a:pt x="555" y="171"/>
                  <a:pt x="554" y="171"/>
                </a:cubicBezTo>
                <a:cubicBezTo>
                  <a:pt x="553" y="172"/>
                  <a:pt x="551" y="174"/>
                  <a:pt x="550" y="176"/>
                </a:cubicBezTo>
                <a:cubicBezTo>
                  <a:pt x="552" y="178"/>
                  <a:pt x="555" y="180"/>
                  <a:pt x="551" y="183"/>
                </a:cubicBezTo>
                <a:cubicBezTo>
                  <a:pt x="550" y="183"/>
                  <a:pt x="550" y="183"/>
                  <a:pt x="549" y="183"/>
                </a:cubicBezTo>
                <a:cubicBezTo>
                  <a:pt x="550" y="183"/>
                  <a:pt x="550" y="188"/>
                  <a:pt x="548" y="187"/>
                </a:cubicBezTo>
                <a:cubicBezTo>
                  <a:pt x="547" y="186"/>
                  <a:pt x="547" y="185"/>
                  <a:pt x="548" y="184"/>
                </a:cubicBezTo>
                <a:cubicBezTo>
                  <a:pt x="548" y="184"/>
                  <a:pt x="548" y="184"/>
                  <a:pt x="549" y="184"/>
                </a:cubicBezTo>
                <a:cubicBezTo>
                  <a:pt x="547" y="184"/>
                  <a:pt x="544" y="185"/>
                  <a:pt x="543" y="186"/>
                </a:cubicBezTo>
                <a:cubicBezTo>
                  <a:pt x="541" y="188"/>
                  <a:pt x="543" y="189"/>
                  <a:pt x="540" y="187"/>
                </a:cubicBezTo>
                <a:cubicBezTo>
                  <a:pt x="540" y="187"/>
                  <a:pt x="539" y="186"/>
                  <a:pt x="538" y="187"/>
                </a:cubicBezTo>
                <a:cubicBezTo>
                  <a:pt x="538" y="187"/>
                  <a:pt x="535" y="192"/>
                  <a:pt x="535" y="189"/>
                </a:cubicBezTo>
                <a:cubicBezTo>
                  <a:pt x="535" y="188"/>
                  <a:pt x="536" y="188"/>
                  <a:pt x="536" y="188"/>
                </a:cubicBezTo>
                <a:cubicBezTo>
                  <a:pt x="535" y="187"/>
                  <a:pt x="531" y="188"/>
                  <a:pt x="531" y="187"/>
                </a:cubicBezTo>
                <a:cubicBezTo>
                  <a:pt x="530" y="186"/>
                  <a:pt x="535" y="184"/>
                  <a:pt x="532" y="182"/>
                </a:cubicBezTo>
                <a:cubicBezTo>
                  <a:pt x="531" y="182"/>
                  <a:pt x="531" y="182"/>
                  <a:pt x="531" y="182"/>
                </a:cubicBezTo>
                <a:cubicBezTo>
                  <a:pt x="531" y="182"/>
                  <a:pt x="531" y="181"/>
                  <a:pt x="531" y="181"/>
                </a:cubicBezTo>
                <a:cubicBezTo>
                  <a:pt x="532" y="179"/>
                  <a:pt x="532" y="179"/>
                  <a:pt x="531" y="178"/>
                </a:cubicBezTo>
                <a:cubicBezTo>
                  <a:pt x="530" y="179"/>
                  <a:pt x="528" y="180"/>
                  <a:pt x="528" y="178"/>
                </a:cubicBezTo>
                <a:cubicBezTo>
                  <a:pt x="528" y="178"/>
                  <a:pt x="528" y="177"/>
                  <a:pt x="529" y="177"/>
                </a:cubicBezTo>
                <a:cubicBezTo>
                  <a:pt x="529" y="176"/>
                  <a:pt x="530" y="176"/>
                  <a:pt x="529" y="176"/>
                </a:cubicBezTo>
                <a:cubicBezTo>
                  <a:pt x="529" y="175"/>
                  <a:pt x="527" y="176"/>
                  <a:pt x="527" y="175"/>
                </a:cubicBezTo>
                <a:cubicBezTo>
                  <a:pt x="526" y="174"/>
                  <a:pt x="528" y="172"/>
                  <a:pt x="527" y="171"/>
                </a:cubicBezTo>
                <a:cubicBezTo>
                  <a:pt x="526" y="169"/>
                  <a:pt x="524" y="172"/>
                  <a:pt x="521" y="172"/>
                </a:cubicBezTo>
                <a:cubicBezTo>
                  <a:pt x="521" y="172"/>
                  <a:pt x="519" y="170"/>
                  <a:pt x="517" y="172"/>
                </a:cubicBezTo>
                <a:cubicBezTo>
                  <a:pt x="516" y="173"/>
                  <a:pt x="518" y="176"/>
                  <a:pt x="515" y="177"/>
                </a:cubicBezTo>
                <a:cubicBezTo>
                  <a:pt x="514" y="178"/>
                  <a:pt x="509" y="180"/>
                  <a:pt x="508" y="178"/>
                </a:cubicBezTo>
                <a:cubicBezTo>
                  <a:pt x="508" y="177"/>
                  <a:pt x="510" y="177"/>
                  <a:pt x="510" y="177"/>
                </a:cubicBezTo>
                <a:cubicBezTo>
                  <a:pt x="511" y="176"/>
                  <a:pt x="509" y="174"/>
                  <a:pt x="509" y="174"/>
                </a:cubicBezTo>
                <a:cubicBezTo>
                  <a:pt x="510" y="172"/>
                  <a:pt x="512" y="172"/>
                  <a:pt x="512" y="171"/>
                </a:cubicBezTo>
                <a:cubicBezTo>
                  <a:pt x="512" y="171"/>
                  <a:pt x="511" y="171"/>
                  <a:pt x="511" y="170"/>
                </a:cubicBezTo>
                <a:cubicBezTo>
                  <a:pt x="511" y="170"/>
                  <a:pt x="512" y="170"/>
                  <a:pt x="512" y="170"/>
                </a:cubicBezTo>
                <a:cubicBezTo>
                  <a:pt x="511" y="168"/>
                  <a:pt x="511" y="167"/>
                  <a:pt x="512" y="166"/>
                </a:cubicBezTo>
                <a:cubicBezTo>
                  <a:pt x="512" y="166"/>
                  <a:pt x="512" y="166"/>
                  <a:pt x="512" y="165"/>
                </a:cubicBezTo>
                <a:cubicBezTo>
                  <a:pt x="512" y="165"/>
                  <a:pt x="512" y="165"/>
                  <a:pt x="512" y="165"/>
                </a:cubicBezTo>
                <a:cubicBezTo>
                  <a:pt x="511" y="165"/>
                  <a:pt x="511" y="164"/>
                  <a:pt x="513" y="163"/>
                </a:cubicBezTo>
                <a:cubicBezTo>
                  <a:pt x="513" y="163"/>
                  <a:pt x="513" y="162"/>
                  <a:pt x="513" y="162"/>
                </a:cubicBezTo>
                <a:cubicBezTo>
                  <a:pt x="513" y="162"/>
                  <a:pt x="512" y="162"/>
                  <a:pt x="512" y="162"/>
                </a:cubicBezTo>
                <a:cubicBezTo>
                  <a:pt x="511" y="162"/>
                  <a:pt x="510" y="162"/>
                  <a:pt x="510" y="162"/>
                </a:cubicBezTo>
                <a:cubicBezTo>
                  <a:pt x="509" y="162"/>
                  <a:pt x="509" y="162"/>
                  <a:pt x="509" y="161"/>
                </a:cubicBezTo>
                <a:cubicBezTo>
                  <a:pt x="508" y="161"/>
                  <a:pt x="509" y="160"/>
                  <a:pt x="509" y="160"/>
                </a:cubicBezTo>
                <a:cubicBezTo>
                  <a:pt x="509" y="159"/>
                  <a:pt x="509" y="158"/>
                  <a:pt x="509" y="158"/>
                </a:cubicBezTo>
                <a:cubicBezTo>
                  <a:pt x="510" y="158"/>
                  <a:pt x="513" y="158"/>
                  <a:pt x="515" y="156"/>
                </a:cubicBezTo>
                <a:cubicBezTo>
                  <a:pt x="514" y="158"/>
                  <a:pt x="515" y="159"/>
                  <a:pt x="516" y="157"/>
                </a:cubicBezTo>
                <a:cubicBezTo>
                  <a:pt x="518" y="156"/>
                  <a:pt x="516" y="156"/>
                  <a:pt x="516" y="156"/>
                </a:cubicBezTo>
                <a:cubicBezTo>
                  <a:pt x="516" y="156"/>
                  <a:pt x="517" y="155"/>
                  <a:pt x="516" y="154"/>
                </a:cubicBezTo>
                <a:cubicBezTo>
                  <a:pt x="516" y="154"/>
                  <a:pt x="516" y="154"/>
                  <a:pt x="516" y="154"/>
                </a:cubicBezTo>
                <a:cubicBezTo>
                  <a:pt x="514" y="155"/>
                  <a:pt x="512" y="156"/>
                  <a:pt x="510" y="155"/>
                </a:cubicBezTo>
                <a:cubicBezTo>
                  <a:pt x="510" y="156"/>
                  <a:pt x="510" y="156"/>
                  <a:pt x="510" y="156"/>
                </a:cubicBezTo>
                <a:cubicBezTo>
                  <a:pt x="510" y="156"/>
                  <a:pt x="511" y="156"/>
                  <a:pt x="511" y="156"/>
                </a:cubicBezTo>
                <a:cubicBezTo>
                  <a:pt x="510" y="157"/>
                  <a:pt x="510" y="156"/>
                  <a:pt x="510" y="155"/>
                </a:cubicBezTo>
                <a:cubicBezTo>
                  <a:pt x="509" y="155"/>
                  <a:pt x="509" y="154"/>
                  <a:pt x="509" y="154"/>
                </a:cubicBezTo>
                <a:cubicBezTo>
                  <a:pt x="509" y="152"/>
                  <a:pt x="511" y="150"/>
                  <a:pt x="514" y="150"/>
                </a:cubicBezTo>
                <a:cubicBezTo>
                  <a:pt x="514" y="149"/>
                  <a:pt x="512" y="148"/>
                  <a:pt x="513" y="147"/>
                </a:cubicBezTo>
                <a:cubicBezTo>
                  <a:pt x="514" y="145"/>
                  <a:pt x="517" y="144"/>
                  <a:pt x="516" y="143"/>
                </a:cubicBezTo>
                <a:cubicBezTo>
                  <a:pt x="517" y="143"/>
                  <a:pt x="520" y="142"/>
                  <a:pt x="521" y="143"/>
                </a:cubicBezTo>
                <a:cubicBezTo>
                  <a:pt x="524" y="144"/>
                  <a:pt x="523" y="145"/>
                  <a:pt x="527" y="143"/>
                </a:cubicBezTo>
                <a:cubicBezTo>
                  <a:pt x="527" y="143"/>
                  <a:pt x="528" y="143"/>
                  <a:pt x="529" y="143"/>
                </a:cubicBezTo>
                <a:cubicBezTo>
                  <a:pt x="531" y="142"/>
                  <a:pt x="530" y="142"/>
                  <a:pt x="529" y="139"/>
                </a:cubicBezTo>
                <a:cubicBezTo>
                  <a:pt x="532" y="141"/>
                  <a:pt x="531" y="139"/>
                  <a:pt x="529" y="138"/>
                </a:cubicBezTo>
                <a:cubicBezTo>
                  <a:pt x="529" y="139"/>
                  <a:pt x="529" y="139"/>
                  <a:pt x="529" y="139"/>
                </a:cubicBezTo>
                <a:cubicBezTo>
                  <a:pt x="529" y="139"/>
                  <a:pt x="529" y="139"/>
                  <a:pt x="529" y="138"/>
                </a:cubicBezTo>
                <a:cubicBezTo>
                  <a:pt x="528" y="138"/>
                  <a:pt x="528" y="138"/>
                  <a:pt x="528" y="138"/>
                </a:cubicBezTo>
                <a:cubicBezTo>
                  <a:pt x="528" y="138"/>
                  <a:pt x="526" y="141"/>
                  <a:pt x="526" y="139"/>
                </a:cubicBezTo>
                <a:cubicBezTo>
                  <a:pt x="525" y="139"/>
                  <a:pt x="528" y="135"/>
                  <a:pt x="525" y="135"/>
                </a:cubicBezTo>
                <a:cubicBezTo>
                  <a:pt x="531" y="133"/>
                  <a:pt x="523" y="131"/>
                  <a:pt x="520" y="130"/>
                </a:cubicBezTo>
                <a:cubicBezTo>
                  <a:pt x="519" y="129"/>
                  <a:pt x="518" y="127"/>
                  <a:pt x="518" y="126"/>
                </a:cubicBezTo>
                <a:cubicBezTo>
                  <a:pt x="517" y="126"/>
                  <a:pt x="516" y="125"/>
                  <a:pt x="517" y="124"/>
                </a:cubicBezTo>
                <a:cubicBezTo>
                  <a:pt x="517" y="124"/>
                  <a:pt x="517" y="124"/>
                  <a:pt x="517" y="124"/>
                </a:cubicBezTo>
                <a:cubicBezTo>
                  <a:pt x="516" y="123"/>
                  <a:pt x="516" y="123"/>
                  <a:pt x="515" y="123"/>
                </a:cubicBezTo>
                <a:cubicBezTo>
                  <a:pt x="515" y="123"/>
                  <a:pt x="514" y="123"/>
                  <a:pt x="514" y="123"/>
                </a:cubicBezTo>
                <a:cubicBezTo>
                  <a:pt x="514" y="123"/>
                  <a:pt x="513" y="123"/>
                  <a:pt x="513" y="124"/>
                </a:cubicBezTo>
                <a:cubicBezTo>
                  <a:pt x="513" y="124"/>
                  <a:pt x="511" y="125"/>
                  <a:pt x="510" y="125"/>
                </a:cubicBezTo>
                <a:cubicBezTo>
                  <a:pt x="509" y="126"/>
                  <a:pt x="508" y="125"/>
                  <a:pt x="508" y="124"/>
                </a:cubicBezTo>
                <a:cubicBezTo>
                  <a:pt x="507" y="124"/>
                  <a:pt x="506" y="125"/>
                  <a:pt x="505" y="125"/>
                </a:cubicBezTo>
                <a:cubicBezTo>
                  <a:pt x="504" y="124"/>
                  <a:pt x="506" y="124"/>
                  <a:pt x="507" y="123"/>
                </a:cubicBezTo>
                <a:cubicBezTo>
                  <a:pt x="507" y="122"/>
                  <a:pt x="507" y="122"/>
                  <a:pt x="508" y="121"/>
                </a:cubicBezTo>
                <a:cubicBezTo>
                  <a:pt x="506" y="121"/>
                  <a:pt x="504" y="121"/>
                  <a:pt x="504" y="121"/>
                </a:cubicBezTo>
                <a:cubicBezTo>
                  <a:pt x="504" y="121"/>
                  <a:pt x="504" y="121"/>
                  <a:pt x="503" y="121"/>
                </a:cubicBezTo>
                <a:cubicBezTo>
                  <a:pt x="504" y="122"/>
                  <a:pt x="505" y="122"/>
                  <a:pt x="506" y="122"/>
                </a:cubicBezTo>
                <a:cubicBezTo>
                  <a:pt x="505" y="123"/>
                  <a:pt x="504" y="123"/>
                  <a:pt x="502" y="122"/>
                </a:cubicBezTo>
                <a:cubicBezTo>
                  <a:pt x="502" y="123"/>
                  <a:pt x="502" y="123"/>
                  <a:pt x="502" y="123"/>
                </a:cubicBezTo>
                <a:cubicBezTo>
                  <a:pt x="502" y="124"/>
                  <a:pt x="501" y="125"/>
                  <a:pt x="500" y="125"/>
                </a:cubicBezTo>
                <a:cubicBezTo>
                  <a:pt x="500" y="126"/>
                  <a:pt x="499" y="126"/>
                  <a:pt x="498" y="125"/>
                </a:cubicBezTo>
                <a:cubicBezTo>
                  <a:pt x="498" y="125"/>
                  <a:pt x="499" y="124"/>
                  <a:pt x="499" y="124"/>
                </a:cubicBezTo>
                <a:cubicBezTo>
                  <a:pt x="499" y="123"/>
                  <a:pt x="498" y="122"/>
                  <a:pt x="499" y="123"/>
                </a:cubicBezTo>
                <a:cubicBezTo>
                  <a:pt x="499" y="123"/>
                  <a:pt x="499" y="123"/>
                  <a:pt x="500" y="123"/>
                </a:cubicBezTo>
                <a:cubicBezTo>
                  <a:pt x="500" y="123"/>
                  <a:pt x="500" y="123"/>
                  <a:pt x="500" y="123"/>
                </a:cubicBezTo>
                <a:cubicBezTo>
                  <a:pt x="500" y="123"/>
                  <a:pt x="500" y="123"/>
                  <a:pt x="501" y="122"/>
                </a:cubicBezTo>
                <a:cubicBezTo>
                  <a:pt x="500" y="122"/>
                  <a:pt x="499" y="122"/>
                  <a:pt x="499" y="121"/>
                </a:cubicBezTo>
                <a:cubicBezTo>
                  <a:pt x="499" y="121"/>
                  <a:pt x="500" y="121"/>
                  <a:pt x="501" y="121"/>
                </a:cubicBezTo>
                <a:cubicBezTo>
                  <a:pt x="501" y="121"/>
                  <a:pt x="501" y="121"/>
                  <a:pt x="500" y="120"/>
                </a:cubicBezTo>
                <a:cubicBezTo>
                  <a:pt x="499" y="120"/>
                  <a:pt x="499" y="121"/>
                  <a:pt x="498" y="121"/>
                </a:cubicBezTo>
                <a:cubicBezTo>
                  <a:pt x="497" y="121"/>
                  <a:pt x="496" y="117"/>
                  <a:pt x="494" y="120"/>
                </a:cubicBezTo>
                <a:cubicBezTo>
                  <a:pt x="494" y="120"/>
                  <a:pt x="495" y="121"/>
                  <a:pt x="495" y="121"/>
                </a:cubicBezTo>
                <a:cubicBezTo>
                  <a:pt x="495" y="121"/>
                  <a:pt x="495" y="121"/>
                  <a:pt x="495" y="121"/>
                </a:cubicBezTo>
                <a:cubicBezTo>
                  <a:pt x="495" y="121"/>
                  <a:pt x="496" y="121"/>
                  <a:pt x="496" y="121"/>
                </a:cubicBezTo>
                <a:cubicBezTo>
                  <a:pt x="497" y="122"/>
                  <a:pt x="495" y="123"/>
                  <a:pt x="495" y="122"/>
                </a:cubicBezTo>
                <a:cubicBezTo>
                  <a:pt x="495" y="122"/>
                  <a:pt x="495" y="122"/>
                  <a:pt x="495" y="122"/>
                </a:cubicBezTo>
                <a:cubicBezTo>
                  <a:pt x="494" y="123"/>
                  <a:pt x="490" y="122"/>
                  <a:pt x="489" y="122"/>
                </a:cubicBezTo>
                <a:cubicBezTo>
                  <a:pt x="491" y="121"/>
                  <a:pt x="489" y="120"/>
                  <a:pt x="488" y="119"/>
                </a:cubicBezTo>
                <a:cubicBezTo>
                  <a:pt x="486" y="120"/>
                  <a:pt x="484" y="121"/>
                  <a:pt x="482" y="122"/>
                </a:cubicBezTo>
                <a:cubicBezTo>
                  <a:pt x="483" y="121"/>
                  <a:pt x="486" y="120"/>
                  <a:pt x="488" y="119"/>
                </a:cubicBezTo>
                <a:cubicBezTo>
                  <a:pt x="487" y="118"/>
                  <a:pt x="486" y="118"/>
                  <a:pt x="487" y="117"/>
                </a:cubicBezTo>
                <a:cubicBezTo>
                  <a:pt x="488" y="115"/>
                  <a:pt x="492" y="116"/>
                  <a:pt x="493" y="114"/>
                </a:cubicBezTo>
                <a:cubicBezTo>
                  <a:pt x="493" y="113"/>
                  <a:pt x="492" y="114"/>
                  <a:pt x="492" y="114"/>
                </a:cubicBezTo>
                <a:cubicBezTo>
                  <a:pt x="492" y="112"/>
                  <a:pt x="494" y="111"/>
                  <a:pt x="491" y="110"/>
                </a:cubicBezTo>
                <a:cubicBezTo>
                  <a:pt x="491" y="110"/>
                  <a:pt x="486" y="109"/>
                  <a:pt x="484" y="110"/>
                </a:cubicBezTo>
                <a:cubicBezTo>
                  <a:pt x="481" y="110"/>
                  <a:pt x="479" y="110"/>
                  <a:pt x="477" y="109"/>
                </a:cubicBezTo>
                <a:cubicBezTo>
                  <a:pt x="480" y="109"/>
                  <a:pt x="481" y="107"/>
                  <a:pt x="483" y="106"/>
                </a:cubicBezTo>
                <a:cubicBezTo>
                  <a:pt x="484" y="106"/>
                  <a:pt x="484" y="106"/>
                  <a:pt x="484" y="106"/>
                </a:cubicBezTo>
                <a:cubicBezTo>
                  <a:pt x="488" y="105"/>
                  <a:pt x="491" y="108"/>
                  <a:pt x="494" y="107"/>
                </a:cubicBezTo>
                <a:cubicBezTo>
                  <a:pt x="494" y="107"/>
                  <a:pt x="498" y="104"/>
                  <a:pt x="498" y="103"/>
                </a:cubicBezTo>
                <a:cubicBezTo>
                  <a:pt x="499" y="103"/>
                  <a:pt x="500" y="104"/>
                  <a:pt x="501" y="103"/>
                </a:cubicBezTo>
                <a:cubicBezTo>
                  <a:pt x="500" y="103"/>
                  <a:pt x="500" y="103"/>
                  <a:pt x="499" y="103"/>
                </a:cubicBezTo>
                <a:cubicBezTo>
                  <a:pt x="499" y="103"/>
                  <a:pt x="499" y="103"/>
                  <a:pt x="499" y="103"/>
                </a:cubicBezTo>
                <a:cubicBezTo>
                  <a:pt x="498" y="103"/>
                  <a:pt x="497" y="104"/>
                  <a:pt x="496" y="104"/>
                </a:cubicBezTo>
                <a:cubicBezTo>
                  <a:pt x="496" y="104"/>
                  <a:pt x="496" y="104"/>
                  <a:pt x="496" y="104"/>
                </a:cubicBezTo>
                <a:cubicBezTo>
                  <a:pt x="496" y="104"/>
                  <a:pt x="496" y="104"/>
                  <a:pt x="496" y="104"/>
                </a:cubicBezTo>
                <a:cubicBezTo>
                  <a:pt x="494" y="104"/>
                  <a:pt x="493" y="104"/>
                  <a:pt x="493" y="103"/>
                </a:cubicBezTo>
                <a:cubicBezTo>
                  <a:pt x="493" y="103"/>
                  <a:pt x="493" y="102"/>
                  <a:pt x="493" y="102"/>
                </a:cubicBezTo>
                <a:cubicBezTo>
                  <a:pt x="493" y="101"/>
                  <a:pt x="494" y="100"/>
                  <a:pt x="495" y="100"/>
                </a:cubicBezTo>
                <a:cubicBezTo>
                  <a:pt x="496" y="99"/>
                  <a:pt x="499" y="100"/>
                  <a:pt x="499" y="102"/>
                </a:cubicBezTo>
                <a:cubicBezTo>
                  <a:pt x="499" y="102"/>
                  <a:pt x="499" y="102"/>
                  <a:pt x="499" y="102"/>
                </a:cubicBezTo>
                <a:cubicBezTo>
                  <a:pt x="499" y="101"/>
                  <a:pt x="501" y="100"/>
                  <a:pt x="502" y="100"/>
                </a:cubicBezTo>
                <a:cubicBezTo>
                  <a:pt x="502" y="99"/>
                  <a:pt x="502" y="99"/>
                  <a:pt x="501" y="99"/>
                </a:cubicBezTo>
                <a:cubicBezTo>
                  <a:pt x="501" y="99"/>
                  <a:pt x="501" y="99"/>
                  <a:pt x="501" y="99"/>
                </a:cubicBezTo>
                <a:cubicBezTo>
                  <a:pt x="500" y="100"/>
                  <a:pt x="500" y="99"/>
                  <a:pt x="501" y="98"/>
                </a:cubicBezTo>
                <a:cubicBezTo>
                  <a:pt x="499" y="97"/>
                  <a:pt x="497" y="97"/>
                  <a:pt x="495" y="96"/>
                </a:cubicBezTo>
                <a:cubicBezTo>
                  <a:pt x="497" y="95"/>
                  <a:pt x="497" y="95"/>
                  <a:pt x="497" y="94"/>
                </a:cubicBezTo>
                <a:cubicBezTo>
                  <a:pt x="495" y="95"/>
                  <a:pt x="492" y="95"/>
                  <a:pt x="494" y="93"/>
                </a:cubicBezTo>
                <a:cubicBezTo>
                  <a:pt x="494" y="93"/>
                  <a:pt x="495" y="93"/>
                  <a:pt x="495" y="93"/>
                </a:cubicBezTo>
                <a:cubicBezTo>
                  <a:pt x="494" y="92"/>
                  <a:pt x="494" y="92"/>
                  <a:pt x="494" y="92"/>
                </a:cubicBezTo>
                <a:cubicBezTo>
                  <a:pt x="491" y="93"/>
                  <a:pt x="489" y="94"/>
                  <a:pt x="486" y="95"/>
                </a:cubicBezTo>
                <a:cubicBezTo>
                  <a:pt x="483" y="96"/>
                  <a:pt x="487" y="93"/>
                  <a:pt x="489" y="92"/>
                </a:cubicBezTo>
                <a:cubicBezTo>
                  <a:pt x="490" y="91"/>
                  <a:pt x="492" y="91"/>
                  <a:pt x="494" y="90"/>
                </a:cubicBezTo>
                <a:cubicBezTo>
                  <a:pt x="494" y="90"/>
                  <a:pt x="495" y="89"/>
                  <a:pt x="495" y="89"/>
                </a:cubicBezTo>
                <a:cubicBezTo>
                  <a:pt x="495" y="89"/>
                  <a:pt x="496" y="89"/>
                  <a:pt x="497" y="89"/>
                </a:cubicBezTo>
                <a:cubicBezTo>
                  <a:pt x="498" y="88"/>
                  <a:pt x="499" y="87"/>
                  <a:pt x="500" y="86"/>
                </a:cubicBezTo>
                <a:cubicBezTo>
                  <a:pt x="501" y="85"/>
                  <a:pt x="502" y="84"/>
                  <a:pt x="501" y="83"/>
                </a:cubicBezTo>
                <a:cubicBezTo>
                  <a:pt x="501" y="83"/>
                  <a:pt x="500" y="83"/>
                  <a:pt x="500" y="82"/>
                </a:cubicBezTo>
                <a:cubicBezTo>
                  <a:pt x="500" y="82"/>
                  <a:pt x="500" y="83"/>
                  <a:pt x="500" y="83"/>
                </a:cubicBezTo>
                <a:cubicBezTo>
                  <a:pt x="499" y="83"/>
                  <a:pt x="499" y="82"/>
                  <a:pt x="499" y="82"/>
                </a:cubicBezTo>
                <a:cubicBezTo>
                  <a:pt x="498" y="82"/>
                  <a:pt x="496" y="82"/>
                  <a:pt x="497" y="81"/>
                </a:cubicBezTo>
                <a:cubicBezTo>
                  <a:pt x="496" y="81"/>
                  <a:pt x="496" y="81"/>
                  <a:pt x="496" y="81"/>
                </a:cubicBezTo>
                <a:cubicBezTo>
                  <a:pt x="496" y="79"/>
                  <a:pt x="497" y="79"/>
                  <a:pt x="499" y="78"/>
                </a:cubicBezTo>
                <a:cubicBezTo>
                  <a:pt x="499" y="77"/>
                  <a:pt x="499" y="77"/>
                  <a:pt x="499" y="76"/>
                </a:cubicBezTo>
                <a:cubicBezTo>
                  <a:pt x="499" y="76"/>
                  <a:pt x="500" y="76"/>
                  <a:pt x="500" y="76"/>
                </a:cubicBezTo>
                <a:cubicBezTo>
                  <a:pt x="499" y="75"/>
                  <a:pt x="497" y="75"/>
                  <a:pt x="495" y="75"/>
                </a:cubicBezTo>
                <a:cubicBezTo>
                  <a:pt x="494" y="75"/>
                  <a:pt x="492" y="75"/>
                  <a:pt x="492" y="74"/>
                </a:cubicBezTo>
                <a:cubicBezTo>
                  <a:pt x="491" y="74"/>
                  <a:pt x="490" y="73"/>
                  <a:pt x="490" y="72"/>
                </a:cubicBezTo>
                <a:cubicBezTo>
                  <a:pt x="489" y="73"/>
                  <a:pt x="489" y="73"/>
                  <a:pt x="488" y="72"/>
                </a:cubicBezTo>
                <a:cubicBezTo>
                  <a:pt x="487" y="71"/>
                  <a:pt x="486" y="69"/>
                  <a:pt x="488" y="68"/>
                </a:cubicBezTo>
                <a:cubicBezTo>
                  <a:pt x="488" y="68"/>
                  <a:pt x="488" y="68"/>
                  <a:pt x="488" y="68"/>
                </a:cubicBezTo>
                <a:cubicBezTo>
                  <a:pt x="488" y="68"/>
                  <a:pt x="488" y="67"/>
                  <a:pt x="488" y="67"/>
                </a:cubicBezTo>
                <a:cubicBezTo>
                  <a:pt x="487" y="67"/>
                  <a:pt x="486" y="68"/>
                  <a:pt x="485" y="67"/>
                </a:cubicBezTo>
                <a:cubicBezTo>
                  <a:pt x="485" y="68"/>
                  <a:pt x="484" y="69"/>
                  <a:pt x="484" y="69"/>
                </a:cubicBezTo>
                <a:cubicBezTo>
                  <a:pt x="484" y="70"/>
                  <a:pt x="482" y="70"/>
                  <a:pt x="481" y="71"/>
                </a:cubicBezTo>
                <a:cubicBezTo>
                  <a:pt x="480" y="73"/>
                  <a:pt x="479" y="73"/>
                  <a:pt x="478" y="74"/>
                </a:cubicBezTo>
                <a:cubicBezTo>
                  <a:pt x="477" y="74"/>
                  <a:pt x="478" y="75"/>
                  <a:pt x="478" y="75"/>
                </a:cubicBezTo>
                <a:cubicBezTo>
                  <a:pt x="477" y="75"/>
                  <a:pt x="475" y="74"/>
                  <a:pt x="475" y="75"/>
                </a:cubicBezTo>
                <a:cubicBezTo>
                  <a:pt x="475" y="75"/>
                  <a:pt x="475" y="75"/>
                  <a:pt x="474" y="75"/>
                </a:cubicBezTo>
                <a:cubicBezTo>
                  <a:pt x="474" y="75"/>
                  <a:pt x="474" y="75"/>
                  <a:pt x="474" y="75"/>
                </a:cubicBezTo>
                <a:cubicBezTo>
                  <a:pt x="474" y="75"/>
                  <a:pt x="474" y="75"/>
                  <a:pt x="473" y="75"/>
                </a:cubicBezTo>
                <a:cubicBezTo>
                  <a:pt x="472" y="75"/>
                  <a:pt x="472" y="76"/>
                  <a:pt x="471" y="76"/>
                </a:cubicBezTo>
                <a:cubicBezTo>
                  <a:pt x="471" y="76"/>
                  <a:pt x="472" y="75"/>
                  <a:pt x="472" y="75"/>
                </a:cubicBezTo>
                <a:cubicBezTo>
                  <a:pt x="470" y="73"/>
                  <a:pt x="466" y="70"/>
                  <a:pt x="465" y="69"/>
                </a:cubicBezTo>
                <a:cubicBezTo>
                  <a:pt x="465" y="67"/>
                  <a:pt x="470" y="66"/>
                  <a:pt x="471" y="64"/>
                </a:cubicBezTo>
                <a:cubicBezTo>
                  <a:pt x="471" y="63"/>
                  <a:pt x="469" y="62"/>
                  <a:pt x="471" y="61"/>
                </a:cubicBezTo>
                <a:cubicBezTo>
                  <a:pt x="472" y="60"/>
                  <a:pt x="472" y="62"/>
                  <a:pt x="473" y="63"/>
                </a:cubicBezTo>
                <a:cubicBezTo>
                  <a:pt x="474" y="63"/>
                  <a:pt x="478" y="63"/>
                  <a:pt x="481" y="63"/>
                </a:cubicBezTo>
                <a:cubicBezTo>
                  <a:pt x="482" y="64"/>
                  <a:pt x="483" y="64"/>
                  <a:pt x="484" y="64"/>
                </a:cubicBezTo>
                <a:cubicBezTo>
                  <a:pt x="485" y="63"/>
                  <a:pt x="489" y="62"/>
                  <a:pt x="490" y="62"/>
                </a:cubicBezTo>
                <a:cubicBezTo>
                  <a:pt x="490" y="61"/>
                  <a:pt x="488" y="62"/>
                  <a:pt x="488" y="60"/>
                </a:cubicBezTo>
                <a:cubicBezTo>
                  <a:pt x="489" y="60"/>
                  <a:pt x="490" y="61"/>
                  <a:pt x="491" y="61"/>
                </a:cubicBezTo>
                <a:cubicBezTo>
                  <a:pt x="493" y="60"/>
                  <a:pt x="497" y="60"/>
                  <a:pt x="499" y="59"/>
                </a:cubicBezTo>
                <a:cubicBezTo>
                  <a:pt x="499" y="58"/>
                  <a:pt x="499" y="57"/>
                  <a:pt x="498" y="57"/>
                </a:cubicBezTo>
                <a:cubicBezTo>
                  <a:pt x="498" y="57"/>
                  <a:pt x="497" y="58"/>
                  <a:pt x="497" y="58"/>
                </a:cubicBezTo>
                <a:cubicBezTo>
                  <a:pt x="497" y="58"/>
                  <a:pt x="494" y="57"/>
                  <a:pt x="491" y="56"/>
                </a:cubicBezTo>
                <a:cubicBezTo>
                  <a:pt x="490" y="56"/>
                  <a:pt x="490" y="56"/>
                  <a:pt x="490" y="55"/>
                </a:cubicBezTo>
                <a:cubicBezTo>
                  <a:pt x="489" y="55"/>
                  <a:pt x="489" y="55"/>
                  <a:pt x="489" y="55"/>
                </a:cubicBezTo>
                <a:cubicBezTo>
                  <a:pt x="489" y="55"/>
                  <a:pt x="489" y="55"/>
                  <a:pt x="489" y="55"/>
                </a:cubicBezTo>
                <a:cubicBezTo>
                  <a:pt x="489" y="54"/>
                  <a:pt x="489" y="53"/>
                  <a:pt x="489" y="53"/>
                </a:cubicBezTo>
                <a:cubicBezTo>
                  <a:pt x="487" y="51"/>
                  <a:pt x="483" y="53"/>
                  <a:pt x="481" y="52"/>
                </a:cubicBezTo>
                <a:cubicBezTo>
                  <a:pt x="481" y="52"/>
                  <a:pt x="480" y="52"/>
                  <a:pt x="479" y="52"/>
                </a:cubicBezTo>
                <a:cubicBezTo>
                  <a:pt x="479" y="52"/>
                  <a:pt x="479" y="52"/>
                  <a:pt x="479" y="52"/>
                </a:cubicBezTo>
                <a:cubicBezTo>
                  <a:pt x="479" y="54"/>
                  <a:pt x="474" y="56"/>
                  <a:pt x="473" y="54"/>
                </a:cubicBezTo>
                <a:cubicBezTo>
                  <a:pt x="472" y="53"/>
                  <a:pt x="473" y="51"/>
                  <a:pt x="475" y="50"/>
                </a:cubicBezTo>
                <a:cubicBezTo>
                  <a:pt x="475" y="50"/>
                  <a:pt x="475" y="50"/>
                  <a:pt x="475" y="50"/>
                </a:cubicBezTo>
                <a:cubicBezTo>
                  <a:pt x="475" y="50"/>
                  <a:pt x="475" y="49"/>
                  <a:pt x="475" y="49"/>
                </a:cubicBezTo>
                <a:cubicBezTo>
                  <a:pt x="475" y="49"/>
                  <a:pt x="475" y="49"/>
                  <a:pt x="475" y="49"/>
                </a:cubicBezTo>
                <a:cubicBezTo>
                  <a:pt x="475" y="49"/>
                  <a:pt x="475" y="49"/>
                  <a:pt x="475" y="49"/>
                </a:cubicBezTo>
                <a:cubicBezTo>
                  <a:pt x="474" y="49"/>
                  <a:pt x="473" y="49"/>
                  <a:pt x="472" y="49"/>
                </a:cubicBezTo>
                <a:cubicBezTo>
                  <a:pt x="472" y="49"/>
                  <a:pt x="472" y="50"/>
                  <a:pt x="472" y="50"/>
                </a:cubicBezTo>
                <a:cubicBezTo>
                  <a:pt x="471" y="50"/>
                  <a:pt x="471" y="51"/>
                  <a:pt x="471" y="51"/>
                </a:cubicBezTo>
                <a:cubicBezTo>
                  <a:pt x="470" y="53"/>
                  <a:pt x="467" y="53"/>
                  <a:pt x="465" y="55"/>
                </a:cubicBezTo>
                <a:cubicBezTo>
                  <a:pt x="464" y="56"/>
                  <a:pt x="461" y="59"/>
                  <a:pt x="460" y="59"/>
                </a:cubicBezTo>
                <a:cubicBezTo>
                  <a:pt x="459" y="59"/>
                  <a:pt x="458" y="57"/>
                  <a:pt x="458" y="56"/>
                </a:cubicBezTo>
                <a:cubicBezTo>
                  <a:pt x="457" y="56"/>
                  <a:pt x="457" y="57"/>
                  <a:pt x="457" y="57"/>
                </a:cubicBezTo>
                <a:cubicBezTo>
                  <a:pt x="456" y="58"/>
                  <a:pt x="455" y="57"/>
                  <a:pt x="454" y="56"/>
                </a:cubicBezTo>
                <a:cubicBezTo>
                  <a:pt x="453" y="56"/>
                  <a:pt x="452" y="56"/>
                  <a:pt x="452" y="55"/>
                </a:cubicBezTo>
                <a:cubicBezTo>
                  <a:pt x="452" y="55"/>
                  <a:pt x="453" y="54"/>
                  <a:pt x="454" y="53"/>
                </a:cubicBezTo>
                <a:cubicBezTo>
                  <a:pt x="455" y="52"/>
                  <a:pt x="456" y="51"/>
                  <a:pt x="457" y="53"/>
                </a:cubicBezTo>
                <a:cubicBezTo>
                  <a:pt x="458" y="53"/>
                  <a:pt x="458" y="53"/>
                  <a:pt x="458" y="51"/>
                </a:cubicBezTo>
                <a:cubicBezTo>
                  <a:pt x="456" y="51"/>
                  <a:pt x="455" y="51"/>
                  <a:pt x="455" y="50"/>
                </a:cubicBezTo>
                <a:cubicBezTo>
                  <a:pt x="455" y="49"/>
                  <a:pt x="456" y="48"/>
                  <a:pt x="457" y="48"/>
                </a:cubicBezTo>
                <a:cubicBezTo>
                  <a:pt x="456" y="47"/>
                  <a:pt x="454" y="46"/>
                  <a:pt x="454" y="45"/>
                </a:cubicBezTo>
                <a:cubicBezTo>
                  <a:pt x="454" y="45"/>
                  <a:pt x="455" y="42"/>
                  <a:pt x="456" y="41"/>
                </a:cubicBezTo>
                <a:cubicBezTo>
                  <a:pt x="457" y="41"/>
                  <a:pt x="460" y="40"/>
                  <a:pt x="460" y="40"/>
                </a:cubicBezTo>
                <a:cubicBezTo>
                  <a:pt x="460" y="39"/>
                  <a:pt x="459" y="39"/>
                  <a:pt x="458" y="39"/>
                </a:cubicBezTo>
                <a:cubicBezTo>
                  <a:pt x="458" y="39"/>
                  <a:pt x="458" y="40"/>
                  <a:pt x="458" y="40"/>
                </a:cubicBezTo>
                <a:cubicBezTo>
                  <a:pt x="458" y="40"/>
                  <a:pt x="458" y="40"/>
                  <a:pt x="458" y="40"/>
                </a:cubicBezTo>
                <a:cubicBezTo>
                  <a:pt x="458" y="40"/>
                  <a:pt x="458" y="40"/>
                  <a:pt x="458" y="40"/>
                </a:cubicBezTo>
                <a:cubicBezTo>
                  <a:pt x="457" y="40"/>
                  <a:pt x="456" y="41"/>
                  <a:pt x="455" y="40"/>
                </a:cubicBezTo>
                <a:cubicBezTo>
                  <a:pt x="455" y="40"/>
                  <a:pt x="455" y="40"/>
                  <a:pt x="455" y="39"/>
                </a:cubicBezTo>
                <a:cubicBezTo>
                  <a:pt x="455" y="39"/>
                  <a:pt x="455" y="39"/>
                  <a:pt x="454" y="39"/>
                </a:cubicBezTo>
                <a:cubicBezTo>
                  <a:pt x="454" y="39"/>
                  <a:pt x="454" y="39"/>
                  <a:pt x="455" y="38"/>
                </a:cubicBezTo>
                <a:cubicBezTo>
                  <a:pt x="455" y="38"/>
                  <a:pt x="455" y="38"/>
                  <a:pt x="454" y="38"/>
                </a:cubicBezTo>
                <a:cubicBezTo>
                  <a:pt x="455" y="37"/>
                  <a:pt x="458" y="37"/>
                  <a:pt x="458" y="38"/>
                </a:cubicBezTo>
                <a:cubicBezTo>
                  <a:pt x="459" y="38"/>
                  <a:pt x="462" y="38"/>
                  <a:pt x="461" y="39"/>
                </a:cubicBezTo>
                <a:cubicBezTo>
                  <a:pt x="461" y="39"/>
                  <a:pt x="460" y="40"/>
                  <a:pt x="460" y="40"/>
                </a:cubicBezTo>
                <a:cubicBezTo>
                  <a:pt x="461" y="41"/>
                  <a:pt x="462" y="40"/>
                  <a:pt x="462" y="40"/>
                </a:cubicBezTo>
                <a:cubicBezTo>
                  <a:pt x="463" y="40"/>
                  <a:pt x="464" y="41"/>
                  <a:pt x="465" y="42"/>
                </a:cubicBezTo>
                <a:cubicBezTo>
                  <a:pt x="466" y="41"/>
                  <a:pt x="467" y="41"/>
                  <a:pt x="467" y="42"/>
                </a:cubicBezTo>
                <a:cubicBezTo>
                  <a:pt x="468" y="43"/>
                  <a:pt x="467" y="44"/>
                  <a:pt x="466" y="43"/>
                </a:cubicBezTo>
                <a:cubicBezTo>
                  <a:pt x="466" y="44"/>
                  <a:pt x="466" y="44"/>
                  <a:pt x="466" y="44"/>
                </a:cubicBezTo>
                <a:cubicBezTo>
                  <a:pt x="467" y="44"/>
                  <a:pt x="469" y="44"/>
                  <a:pt x="470" y="45"/>
                </a:cubicBezTo>
                <a:cubicBezTo>
                  <a:pt x="470" y="45"/>
                  <a:pt x="469" y="45"/>
                  <a:pt x="470" y="46"/>
                </a:cubicBezTo>
                <a:cubicBezTo>
                  <a:pt x="471" y="45"/>
                  <a:pt x="472" y="45"/>
                  <a:pt x="473" y="44"/>
                </a:cubicBezTo>
                <a:cubicBezTo>
                  <a:pt x="473" y="44"/>
                  <a:pt x="473" y="44"/>
                  <a:pt x="473" y="44"/>
                </a:cubicBezTo>
                <a:cubicBezTo>
                  <a:pt x="473" y="44"/>
                  <a:pt x="473" y="44"/>
                  <a:pt x="473" y="44"/>
                </a:cubicBezTo>
                <a:cubicBezTo>
                  <a:pt x="474" y="44"/>
                  <a:pt x="474" y="44"/>
                  <a:pt x="474" y="44"/>
                </a:cubicBezTo>
                <a:cubicBezTo>
                  <a:pt x="473" y="44"/>
                  <a:pt x="473" y="43"/>
                  <a:pt x="473" y="42"/>
                </a:cubicBezTo>
                <a:cubicBezTo>
                  <a:pt x="472" y="40"/>
                  <a:pt x="478" y="41"/>
                  <a:pt x="475" y="43"/>
                </a:cubicBezTo>
                <a:cubicBezTo>
                  <a:pt x="475" y="43"/>
                  <a:pt x="476" y="43"/>
                  <a:pt x="476" y="43"/>
                </a:cubicBezTo>
                <a:cubicBezTo>
                  <a:pt x="477" y="43"/>
                  <a:pt x="479" y="42"/>
                  <a:pt x="478" y="41"/>
                </a:cubicBezTo>
                <a:cubicBezTo>
                  <a:pt x="478" y="40"/>
                  <a:pt x="475" y="41"/>
                  <a:pt x="475" y="40"/>
                </a:cubicBezTo>
                <a:cubicBezTo>
                  <a:pt x="474" y="39"/>
                  <a:pt x="478" y="37"/>
                  <a:pt x="478" y="37"/>
                </a:cubicBezTo>
                <a:cubicBezTo>
                  <a:pt x="478" y="37"/>
                  <a:pt x="478" y="36"/>
                  <a:pt x="478" y="36"/>
                </a:cubicBezTo>
                <a:cubicBezTo>
                  <a:pt x="476" y="38"/>
                  <a:pt x="473" y="38"/>
                  <a:pt x="470" y="38"/>
                </a:cubicBezTo>
                <a:cubicBezTo>
                  <a:pt x="468" y="37"/>
                  <a:pt x="468" y="34"/>
                  <a:pt x="467" y="34"/>
                </a:cubicBezTo>
                <a:cubicBezTo>
                  <a:pt x="465" y="34"/>
                  <a:pt x="463" y="34"/>
                  <a:pt x="461" y="35"/>
                </a:cubicBezTo>
                <a:cubicBezTo>
                  <a:pt x="462" y="34"/>
                  <a:pt x="463" y="34"/>
                  <a:pt x="464" y="33"/>
                </a:cubicBezTo>
                <a:cubicBezTo>
                  <a:pt x="464" y="32"/>
                  <a:pt x="465" y="33"/>
                  <a:pt x="466" y="33"/>
                </a:cubicBezTo>
                <a:cubicBezTo>
                  <a:pt x="466" y="32"/>
                  <a:pt x="466" y="32"/>
                  <a:pt x="466" y="31"/>
                </a:cubicBezTo>
                <a:cubicBezTo>
                  <a:pt x="466" y="31"/>
                  <a:pt x="465" y="31"/>
                  <a:pt x="465" y="31"/>
                </a:cubicBezTo>
                <a:cubicBezTo>
                  <a:pt x="464" y="30"/>
                  <a:pt x="465" y="30"/>
                  <a:pt x="466" y="30"/>
                </a:cubicBezTo>
                <a:cubicBezTo>
                  <a:pt x="466" y="30"/>
                  <a:pt x="466" y="29"/>
                  <a:pt x="466" y="29"/>
                </a:cubicBezTo>
                <a:cubicBezTo>
                  <a:pt x="466" y="28"/>
                  <a:pt x="466" y="27"/>
                  <a:pt x="466" y="26"/>
                </a:cubicBezTo>
                <a:cubicBezTo>
                  <a:pt x="466" y="26"/>
                  <a:pt x="466" y="26"/>
                  <a:pt x="465" y="25"/>
                </a:cubicBezTo>
                <a:cubicBezTo>
                  <a:pt x="465" y="25"/>
                  <a:pt x="465" y="25"/>
                  <a:pt x="465" y="25"/>
                </a:cubicBezTo>
                <a:cubicBezTo>
                  <a:pt x="465" y="25"/>
                  <a:pt x="465" y="25"/>
                  <a:pt x="465" y="25"/>
                </a:cubicBezTo>
                <a:cubicBezTo>
                  <a:pt x="465" y="24"/>
                  <a:pt x="465" y="24"/>
                  <a:pt x="466" y="24"/>
                </a:cubicBezTo>
                <a:cubicBezTo>
                  <a:pt x="466" y="22"/>
                  <a:pt x="466" y="21"/>
                  <a:pt x="466" y="20"/>
                </a:cubicBezTo>
                <a:cubicBezTo>
                  <a:pt x="466" y="20"/>
                  <a:pt x="466" y="19"/>
                  <a:pt x="466" y="19"/>
                </a:cubicBezTo>
                <a:cubicBezTo>
                  <a:pt x="466" y="19"/>
                  <a:pt x="465" y="19"/>
                  <a:pt x="465" y="19"/>
                </a:cubicBezTo>
                <a:cubicBezTo>
                  <a:pt x="465" y="18"/>
                  <a:pt x="465" y="18"/>
                  <a:pt x="466" y="18"/>
                </a:cubicBezTo>
                <a:cubicBezTo>
                  <a:pt x="466" y="16"/>
                  <a:pt x="467" y="15"/>
                  <a:pt x="467" y="14"/>
                </a:cubicBezTo>
                <a:cubicBezTo>
                  <a:pt x="467" y="14"/>
                  <a:pt x="467" y="14"/>
                  <a:pt x="467" y="14"/>
                </a:cubicBezTo>
                <a:cubicBezTo>
                  <a:pt x="465" y="14"/>
                  <a:pt x="463" y="14"/>
                  <a:pt x="463" y="13"/>
                </a:cubicBezTo>
                <a:cubicBezTo>
                  <a:pt x="463" y="11"/>
                  <a:pt x="464" y="11"/>
                  <a:pt x="465" y="10"/>
                </a:cubicBezTo>
                <a:cubicBezTo>
                  <a:pt x="463" y="8"/>
                  <a:pt x="463" y="8"/>
                  <a:pt x="463" y="8"/>
                </a:cubicBezTo>
                <a:cubicBezTo>
                  <a:pt x="463" y="11"/>
                  <a:pt x="462" y="14"/>
                  <a:pt x="460" y="14"/>
                </a:cubicBezTo>
                <a:cubicBezTo>
                  <a:pt x="459" y="15"/>
                  <a:pt x="455" y="14"/>
                  <a:pt x="455" y="14"/>
                </a:cubicBezTo>
                <a:cubicBezTo>
                  <a:pt x="454" y="14"/>
                  <a:pt x="454" y="12"/>
                  <a:pt x="454" y="12"/>
                </a:cubicBezTo>
                <a:cubicBezTo>
                  <a:pt x="451" y="10"/>
                  <a:pt x="454" y="10"/>
                  <a:pt x="449" y="9"/>
                </a:cubicBezTo>
                <a:cubicBezTo>
                  <a:pt x="450" y="8"/>
                  <a:pt x="452" y="7"/>
                  <a:pt x="453" y="6"/>
                </a:cubicBezTo>
                <a:cubicBezTo>
                  <a:pt x="453" y="6"/>
                  <a:pt x="452" y="4"/>
                  <a:pt x="452" y="5"/>
                </a:cubicBezTo>
                <a:cubicBezTo>
                  <a:pt x="453" y="3"/>
                  <a:pt x="456" y="5"/>
                  <a:pt x="458" y="3"/>
                </a:cubicBezTo>
                <a:cubicBezTo>
                  <a:pt x="458" y="3"/>
                  <a:pt x="458" y="3"/>
                  <a:pt x="458" y="3"/>
                </a:cubicBezTo>
                <a:cubicBezTo>
                  <a:pt x="457" y="3"/>
                  <a:pt x="456" y="3"/>
                  <a:pt x="455" y="2"/>
                </a:cubicBezTo>
                <a:cubicBezTo>
                  <a:pt x="454" y="3"/>
                  <a:pt x="454" y="3"/>
                  <a:pt x="454" y="1"/>
                </a:cubicBezTo>
                <a:cubicBezTo>
                  <a:pt x="452" y="5"/>
                  <a:pt x="443" y="5"/>
                  <a:pt x="442" y="0"/>
                </a:cubicBezTo>
                <a:cubicBezTo>
                  <a:pt x="442" y="0"/>
                  <a:pt x="442" y="0"/>
                  <a:pt x="443" y="0"/>
                </a:cubicBezTo>
                <a:cubicBezTo>
                  <a:pt x="442" y="0"/>
                  <a:pt x="442" y="0"/>
                  <a:pt x="442" y="0"/>
                </a:cubicBezTo>
                <a:cubicBezTo>
                  <a:pt x="440" y="3"/>
                  <a:pt x="437" y="4"/>
                  <a:pt x="434" y="3"/>
                </a:cubicBezTo>
                <a:cubicBezTo>
                  <a:pt x="434" y="3"/>
                  <a:pt x="434" y="3"/>
                  <a:pt x="433" y="3"/>
                </a:cubicBezTo>
                <a:cubicBezTo>
                  <a:pt x="431" y="4"/>
                  <a:pt x="428" y="6"/>
                  <a:pt x="426" y="6"/>
                </a:cubicBezTo>
                <a:cubicBezTo>
                  <a:pt x="425" y="6"/>
                  <a:pt x="424" y="6"/>
                  <a:pt x="423" y="6"/>
                </a:cubicBezTo>
                <a:cubicBezTo>
                  <a:pt x="421" y="6"/>
                  <a:pt x="419" y="9"/>
                  <a:pt x="417" y="9"/>
                </a:cubicBezTo>
                <a:cubicBezTo>
                  <a:pt x="415" y="9"/>
                  <a:pt x="416" y="9"/>
                  <a:pt x="414" y="9"/>
                </a:cubicBezTo>
                <a:cubicBezTo>
                  <a:pt x="413" y="10"/>
                  <a:pt x="411" y="11"/>
                  <a:pt x="410" y="11"/>
                </a:cubicBezTo>
                <a:cubicBezTo>
                  <a:pt x="409" y="12"/>
                  <a:pt x="406" y="13"/>
                  <a:pt x="406" y="13"/>
                </a:cubicBezTo>
                <a:cubicBezTo>
                  <a:pt x="404" y="15"/>
                  <a:pt x="406" y="15"/>
                  <a:pt x="404" y="14"/>
                </a:cubicBezTo>
                <a:cubicBezTo>
                  <a:pt x="403" y="14"/>
                  <a:pt x="403" y="15"/>
                  <a:pt x="402" y="15"/>
                </a:cubicBezTo>
                <a:cubicBezTo>
                  <a:pt x="403" y="15"/>
                  <a:pt x="403" y="15"/>
                  <a:pt x="403" y="15"/>
                </a:cubicBezTo>
                <a:cubicBezTo>
                  <a:pt x="404" y="16"/>
                  <a:pt x="402" y="17"/>
                  <a:pt x="401" y="16"/>
                </a:cubicBezTo>
                <a:cubicBezTo>
                  <a:pt x="401" y="16"/>
                  <a:pt x="400" y="16"/>
                  <a:pt x="400" y="17"/>
                </a:cubicBezTo>
                <a:cubicBezTo>
                  <a:pt x="400" y="17"/>
                  <a:pt x="400" y="18"/>
                  <a:pt x="400" y="18"/>
                </a:cubicBezTo>
                <a:cubicBezTo>
                  <a:pt x="403" y="19"/>
                  <a:pt x="405" y="17"/>
                  <a:pt x="403" y="21"/>
                </a:cubicBezTo>
                <a:cubicBezTo>
                  <a:pt x="403" y="22"/>
                  <a:pt x="404" y="22"/>
                  <a:pt x="404" y="22"/>
                </a:cubicBezTo>
                <a:cubicBezTo>
                  <a:pt x="402" y="24"/>
                  <a:pt x="401" y="21"/>
                  <a:pt x="401" y="21"/>
                </a:cubicBezTo>
                <a:cubicBezTo>
                  <a:pt x="400" y="22"/>
                  <a:pt x="400" y="23"/>
                  <a:pt x="402" y="24"/>
                </a:cubicBezTo>
                <a:cubicBezTo>
                  <a:pt x="402" y="25"/>
                  <a:pt x="399" y="25"/>
                  <a:pt x="398" y="24"/>
                </a:cubicBezTo>
                <a:cubicBezTo>
                  <a:pt x="398" y="24"/>
                  <a:pt x="396" y="21"/>
                  <a:pt x="395" y="20"/>
                </a:cubicBezTo>
                <a:cubicBezTo>
                  <a:pt x="394" y="20"/>
                  <a:pt x="393" y="21"/>
                  <a:pt x="392" y="21"/>
                </a:cubicBezTo>
                <a:cubicBezTo>
                  <a:pt x="390" y="22"/>
                  <a:pt x="387" y="23"/>
                  <a:pt x="385" y="24"/>
                </a:cubicBezTo>
                <a:cubicBezTo>
                  <a:pt x="384" y="25"/>
                  <a:pt x="384" y="25"/>
                  <a:pt x="383" y="25"/>
                </a:cubicBezTo>
                <a:cubicBezTo>
                  <a:pt x="382" y="25"/>
                  <a:pt x="381" y="26"/>
                  <a:pt x="380" y="26"/>
                </a:cubicBezTo>
                <a:cubicBezTo>
                  <a:pt x="378" y="27"/>
                  <a:pt x="375" y="28"/>
                  <a:pt x="373" y="29"/>
                </a:cubicBezTo>
                <a:cubicBezTo>
                  <a:pt x="373" y="29"/>
                  <a:pt x="374" y="29"/>
                  <a:pt x="373" y="29"/>
                </a:cubicBezTo>
                <a:cubicBezTo>
                  <a:pt x="373" y="29"/>
                  <a:pt x="373" y="29"/>
                  <a:pt x="373" y="29"/>
                </a:cubicBezTo>
                <a:cubicBezTo>
                  <a:pt x="372" y="29"/>
                  <a:pt x="372" y="29"/>
                  <a:pt x="371" y="30"/>
                </a:cubicBezTo>
                <a:cubicBezTo>
                  <a:pt x="371" y="30"/>
                  <a:pt x="367" y="30"/>
                  <a:pt x="367" y="31"/>
                </a:cubicBezTo>
                <a:cubicBezTo>
                  <a:pt x="367" y="31"/>
                  <a:pt x="374" y="29"/>
                  <a:pt x="373" y="34"/>
                </a:cubicBezTo>
                <a:cubicBezTo>
                  <a:pt x="372" y="34"/>
                  <a:pt x="372" y="34"/>
                  <a:pt x="372" y="35"/>
                </a:cubicBezTo>
                <a:cubicBezTo>
                  <a:pt x="376" y="34"/>
                  <a:pt x="381" y="34"/>
                  <a:pt x="385" y="36"/>
                </a:cubicBezTo>
                <a:cubicBezTo>
                  <a:pt x="385" y="33"/>
                  <a:pt x="377" y="33"/>
                  <a:pt x="377" y="30"/>
                </a:cubicBezTo>
                <a:cubicBezTo>
                  <a:pt x="377" y="28"/>
                  <a:pt x="384" y="30"/>
                  <a:pt x="385" y="29"/>
                </a:cubicBezTo>
                <a:cubicBezTo>
                  <a:pt x="386" y="28"/>
                  <a:pt x="385" y="27"/>
                  <a:pt x="386" y="27"/>
                </a:cubicBezTo>
                <a:cubicBezTo>
                  <a:pt x="387" y="27"/>
                  <a:pt x="390" y="29"/>
                  <a:pt x="390" y="26"/>
                </a:cubicBezTo>
                <a:cubicBezTo>
                  <a:pt x="389" y="23"/>
                  <a:pt x="401" y="29"/>
                  <a:pt x="402" y="32"/>
                </a:cubicBezTo>
                <a:cubicBezTo>
                  <a:pt x="402" y="34"/>
                  <a:pt x="401" y="37"/>
                  <a:pt x="400" y="38"/>
                </a:cubicBezTo>
                <a:cubicBezTo>
                  <a:pt x="400" y="38"/>
                  <a:pt x="394" y="39"/>
                  <a:pt x="393" y="39"/>
                </a:cubicBezTo>
                <a:cubicBezTo>
                  <a:pt x="392" y="39"/>
                  <a:pt x="391" y="39"/>
                  <a:pt x="390" y="38"/>
                </a:cubicBezTo>
                <a:cubicBezTo>
                  <a:pt x="390" y="39"/>
                  <a:pt x="390" y="39"/>
                  <a:pt x="391" y="39"/>
                </a:cubicBezTo>
                <a:cubicBezTo>
                  <a:pt x="391" y="40"/>
                  <a:pt x="392" y="43"/>
                  <a:pt x="391" y="44"/>
                </a:cubicBezTo>
                <a:cubicBezTo>
                  <a:pt x="388" y="49"/>
                  <a:pt x="377" y="47"/>
                  <a:pt x="372" y="45"/>
                </a:cubicBezTo>
                <a:cubicBezTo>
                  <a:pt x="373" y="46"/>
                  <a:pt x="373" y="47"/>
                  <a:pt x="373" y="48"/>
                </a:cubicBezTo>
                <a:cubicBezTo>
                  <a:pt x="372" y="51"/>
                  <a:pt x="363" y="49"/>
                  <a:pt x="363" y="46"/>
                </a:cubicBezTo>
                <a:cubicBezTo>
                  <a:pt x="363" y="47"/>
                  <a:pt x="361" y="46"/>
                  <a:pt x="361" y="46"/>
                </a:cubicBezTo>
                <a:cubicBezTo>
                  <a:pt x="361" y="45"/>
                  <a:pt x="363" y="45"/>
                  <a:pt x="363" y="46"/>
                </a:cubicBezTo>
                <a:cubicBezTo>
                  <a:pt x="364" y="44"/>
                  <a:pt x="367" y="43"/>
                  <a:pt x="369" y="44"/>
                </a:cubicBezTo>
                <a:cubicBezTo>
                  <a:pt x="370" y="44"/>
                  <a:pt x="372" y="43"/>
                  <a:pt x="373" y="41"/>
                </a:cubicBezTo>
                <a:cubicBezTo>
                  <a:pt x="373" y="41"/>
                  <a:pt x="372" y="39"/>
                  <a:pt x="372" y="39"/>
                </a:cubicBezTo>
                <a:cubicBezTo>
                  <a:pt x="373" y="38"/>
                  <a:pt x="375" y="38"/>
                  <a:pt x="375" y="37"/>
                </a:cubicBezTo>
                <a:cubicBezTo>
                  <a:pt x="375" y="35"/>
                  <a:pt x="372" y="36"/>
                  <a:pt x="370" y="35"/>
                </a:cubicBezTo>
                <a:cubicBezTo>
                  <a:pt x="367" y="35"/>
                  <a:pt x="363" y="35"/>
                  <a:pt x="362" y="33"/>
                </a:cubicBezTo>
                <a:cubicBezTo>
                  <a:pt x="362" y="33"/>
                  <a:pt x="362" y="32"/>
                  <a:pt x="362" y="32"/>
                </a:cubicBezTo>
                <a:cubicBezTo>
                  <a:pt x="362" y="32"/>
                  <a:pt x="361" y="32"/>
                  <a:pt x="360" y="33"/>
                </a:cubicBezTo>
                <a:cubicBezTo>
                  <a:pt x="360" y="33"/>
                  <a:pt x="358" y="35"/>
                  <a:pt x="357" y="35"/>
                </a:cubicBezTo>
                <a:cubicBezTo>
                  <a:pt x="357" y="36"/>
                  <a:pt x="356" y="36"/>
                  <a:pt x="355" y="36"/>
                </a:cubicBezTo>
                <a:cubicBezTo>
                  <a:pt x="358" y="38"/>
                  <a:pt x="356" y="39"/>
                  <a:pt x="354" y="39"/>
                </a:cubicBezTo>
                <a:cubicBezTo>
                  <a:pt x="353" y="40"/>
                  <a:pt x="352" y="40"/>
                  <a:pt x="352" y="39"/>
                </a:cubicBezTo>
                <a:cubicBezTo>
                  <a:pt x="351" y="39"/>
                  <a:pt x="351" y="39"/>
                  <a:pt x="352" y="39"/>
                </a:cubicBezTo>
                <a:cubicBezTo>
                  <a:pt x="351" y="39"/>
                  <a:pt x="350" y="38"/>
                  <a:pt x="350" y="38"/>
                </a:cubicBezTo>
                <a:cubicBezTo>
                  <a:pt x="350" y="38"/>
                  <a:pt x="349" y="38"/>
                  <a:pt x="349" y="38"/>
                </a:cubicBezTo>
                <a:cubicBezTo>
                  <a:pt x="349" y="39"/>
                  <a:pt x="348" y="40"/>
                  <a:pt x="348" y="40"/>
                </a:cubicBezTo>
                <a:cubicBezTo>
                  <a:pt x="348" y="40"/>
                  <a:pt x="346" y="40"/>
                  <a:pt x="346" y="40"/>
                </a:cubicBezTo>
                <a:cubicBezTo>
                  <a:pt x="345" y="41"/>
                  <a:pt x="344" y="42"/>
                  <a:pt x="343" y="42"/>
                </a:cubicBezTo>
                <a:cubicBezTo>
                  <a:pt x="343" y="43"/>
                  <a:pt x="343" y="43"/>
                  <a:pt x="341" y="44"/>
                </a:cubicBezTo>
                <a:cubicBezTo>
                  <a:pt x="340" y="44"/>
                  <a:pt x="340" y="45"/>
                  <a:pt x="339" y="46"/>
                </a:cubicBezTo>
                <a:cubicBezTo>
                  <a:pt x="335" y="48"/>
                  <a:pt x="331" y="49"/>
                  <a:pt x="327" y="50"/>
                </a:cubicBezTo>
                <a:cubicBezTo>
                  <a:pt x="326" y="51"/>
                  <a:pt x="326" y="51"/>
                  <a:pt x="326" y="51"/>
                </a:cubicBezTo>
                <a:cubicBezTo>
                  <a:pt x="326" y="51"/>
                  <a:pt x="326" y="51"/>
                  <a:pt x="326" y="51"/>
                </a:cubicBezTo>
                <a:cubicBezTo>
                  <a:pt x="327" y="51"/>
                  <a:pt x="329" y="52"/>
                  <a:pt x="330" y="53"/>
                </a:cubicBezTo>
                <a:cubicBezTo>
                  <a:pt x="331" y="53"/>
                  <a:pt x="331" y="54"/>
                  <a:pt x="331" y="54"/>
                </a:cubicBezTo>
                <a:cubicBezTo>
                  <a:pt x="331" y="55"/>
                  <a:pt x="332" y="56"/>
                  <a:pt x="332" y="58"/>
                </a:cubicBezTo>
                <a:cubicBezTo>
                  <a:pt x="331" y="63"/>
                  <a:pt x="321" y="64"/>
                  <a:pt x="314" y="63"/>
                </a:cubicBezTo>
                <a:cubicBezTo>
                  <a:pt x="101" y="276"/>
                  <a:pt x="101" y="276"/>
                  <a:pt x="101" y="276"/>
                </a:cubicBezTo>
                <a:cubicBezTo>
                  <a:pt x="101" y="277"/>
                  <a:pt x="101" y="277"/>
                  <a:pt x="100" y="277"/>
                </a:cubicBezTo>
                <a:cubicBezTo>
                  <a:pt x="100" y="278"/>
                  <a:pt x="100" y="278"/>
                  <a:pt x="100" y="277"/>
                </a:cubicBezTo>
                <a:cubicBezTo>
                  <a:pt x="54" y="323"/>
                  <a:pt x="54" y="323"/>
                  <a:pt x="54" y="323"/>
                </a:cubicBezTo>
                <a:cubicBezTo>
                  <a:pt x="55" y="323"/>
                  <a:pt x="56" y="326"/>
                  <a:pt x="56" y="328"/>
                </a:cubicBezTo>
                <a:cubicBezTo>
                  <a:pt x="55" y="331"/>
                  <a:pt x="50" y="332"/>
                  <a:pt x="48" y="329"/>
                </a:cubicBezTo>
                <a:cubicBezTo>
                  <a:pt x="47" y="330"/>
                  <a:pt x="47" y="330"/>
                  <a:pt x="47" y="330"/>
                </a:cubicBezTo>
                <a:cubicBezTo>
                  <a:pt x="48" y="330"/>
                  <a:pt x="47" y="331"/>
                  <a:pt x="47" y="331"/>
                </a:cubicBezTo>
                <a:cubicBezTo>
                  <a:pt x="47" y="332"/>
                  <a:pt x="46" y="331"/>
                  <a:pt x="46" y="331"/>
                </a:cubicBezTo>
                <a:cubicBezTo>
                  <a:pt x="30" y="347"/>
                  <a:pt x="30" y="347"/>
                  <a:pt x="30" y="347"/>
                </a:cubicBezTo>
                <a:cubicBezTo>
                  <a:pt x="30" y="347"/>
                  <a:pt x="30" y="347"/>
                  <a:pt x="30" y="347"/>
                </a:cubicBezTo>
                <a:cubicBezTo>
                  <a:pt x="30" y="347"/>
                  <a:pt x="30" y="347"/>
                  <a:pt x="30" y="347"/>
                </a:cubicBezTo>
                <a:cubicBezTo>
                  <a:pt x="10" y="367"/>
                  <a:pt x="10" y="367"/>
                  <a:pt x="10" y="367"/>
                </a:cubicBezTo>
                <a:cubicBezTo>
                  <a:pt x="11" y="369"/>
                  <a:pt x="11" y="372"/>
                  <a:pt x="12" y="373"/>
                </a:cubicBezTo>
                <a:cubicBezTo>
                  <a:pt x="13" y="373"/>
                  <a:pt x="13" y="372"/>
                  <a:pt x="13" y="372"/>
                </a:cubicBezTo>
                <a:cubicBezTo>
                  <a:pt x="14" y="374"/>
                  <a:pt x="14" y="378"/>
                  <a:pt x="14" y="381"/>
                </a:cubicBezTo>
                <a:cubicBezTo>
                  <a:pt x="14" y="380"/>
                  <a:pt x="14" y="380"/>
                  <a:pt x="13" y="380"/>
                </a:cubicBezTo>
                <a:cubicBezTo>
                  <a:pt x="13" y="380"/>
                  <a:pt x="9" y="382"/>
                  <a:pt x="8" y="382"/>
                </a:cubicBezTo>
                <a:cubicBezTo>
                  <a:pt x="6" y="381"/>
                  <a:pt x="4" y="377"/>
                  <a:pt x="4" y="373"/>
                </a:cubicBezTo>
                <a:cubicBezTo>
                  <a:pt x="0" y="377"/>
                  <a:pt x="0" y="377"/>
                  <a:pt x="0" y="377"/>
                </a:cubicBezTo>
                <a:cubicBezTo>
                  <a:pt x="49" y="426"/>
                  <a:pt x="49" y="426"/>
                  <a:pt x="49" y="426"/>
                </a:cubicBezTo>
                <a:cubicBezTo>
                  <a:pt x="47" y="424"/>
                  <a:pt x="49" y="419"/>
                  <a:pt x="49" y="426"/>
                </a:cubicBezTo>
                <a:close/>
                <a:moveTo>
                  <a:pt x="100" y="466"/>
                </a:moveTo>
                <a:cubicBezTo>
                  <a:pt x="101" y="465"/>
                  <a:pt x="100" y="468"/>
                  <a:pt x="100" y="466"/>
                </a:cubicBezTo>
                <a:close/>
                <a:moveTo>
                  <a:pt x="122" y="458"/>
                </a:moveTo>
                <a:cubicBezTo>
                  <a:pt x="121" y="460"/>
                  <a:pt x="120" y="456"/>
                  <a:pt x="122" y="457"/>
                </a:cubicBezTo>
                <a:cubicBezTo>
                  <a:pt x="123" y="457"/>
                  <a:pt x="122" y="458"/>
                  <a:pt x="122" y="458"/>
                </a:cubicBezTo>
                <a:close/>
                <a:moveTo>
                  <a:pt x="166" y="487"/>
                </a:moveTo>
                <a:cubicBezTo>
                  <a:pt x="167" y="486"/>
                  <a:pt x="167" y="489"/>
                  <a:pt x="167" y="489"/>
                </a:cubicBezTo>
                <a:cubicBezTo>
                  <a:pt x="165" y="490"/>
                  <a:pt x="165" y="487"/>
                  <a:pt x="166" y="487"/>
                </a:cubicBezTo>
                <a:close/>
                <a:moveTo>
                  <a:pt x="212" y="472"/>
                </a:moveTo>
                <a:cubicBezTo>
                  <a:pt x="212" y="472"/>
                  <a:pt x="212" y="473"/>
                  <a:pt x="212" y="473"/>
                </a:cubicBezTo>
                <a:cubicBezTo>
                  <a:pt x="212" y="472"/>
                  <a:pt x="212" y="472"/>
                  <a:pt x="211" y="472"/>
                </a:cubicBezTo>
                <a:cubicBezTo>
                  <a:pt x="211" y="472"/>
                  <a:pt x="211" y="472"/>
                  <a:pt x="212" y="472"/>
                </a:cubicBezTo>
                <a:close/>
                <a:moveTo>
                  <a:pt x="188" y="526"/>
                </a:moveTo>
                <a:cubicBezTo>
                  <a:pt x="189" y="527"/>
                  <a:pt x="187" y="527"/>
                  <a:pt x="188" y="526"/>
                </a:cubicBezTo>
                <a:close/>
                <a:moveTo>
                  <a:pt x="190" y="520"/>
                </a:moveTo>
                <a:cubicBezTo>
                  <a:pt x="190" y="520"/>
                  <a:pt x="187" y="520"/>
                  <a:pt x="186" y="519"/>
                </a:cubicBezTo>
                <a:cubicBezTo>
                  <a:pt x="184" y="517"/>
                  <a:pt x="186" y="512"/>
                  <a:pt x="189" y="513"/>
                </a:cubicBezTo>
                <a:cubicBezTo>
                  <a:pt x="190" y="514"/>
                  <a:pt x="190" y="520"/>
                  <a:pt x="190" y="520"/>
                </a:cubicBezTo>
                <a:close/>
                <a:moveTo>
                  <a:pt x="192" y="538"/>
                </a:moveTo>
                <a:cubicBezTo>
                  <a:pt x="192" y="536"/>
                  <a:pt x="192" y="539"/>
                  <a:pt x="192" y="538"/>
                </a:cubicBezTo>
                <a:close/>
                <a:moveTo>
                  <a:pt x="191" y="529"/>
                </a:moveTo>
                <a:cubicBezTo>
                  <a:pt x="191" y="528"/>
                  <a:pt x="192" y="528"/>
                  <a:pt x="193" y="529"/>
                </a:cubicBezTo>
                <a:cubicBezTo>
                  <a:pt x="193" y="529"/>
                  <a:pt x="192" y="530"/>
                  <a:pt x="191" y="529"/>
                </a:cubicBezTo>
                <a:close/>
                <a:moveTo>
                  <a:pt x="194" y="534"/>
                </a:moveTo>
                <a:cubicBezTo>
                  <a:pt x="193" y="535"/>
                  <a:pt x="193" y="531"/>
                  <a:pt x="194" y="533"/>
                </a:cubicBezTo>
                <a:cubicBezTo>
                  <a:pt x="194" y="533"/>
                  <a:pt x="194" y="533"/>
                  <a:pt x="194" y="534"/>
                </a:cubicBezTo>
                <a:close/>
                <a:moveTo>
                  <a:pt x="194" y="531"/>
                </a:moveTo>
                <a:cubicBezTo>
                  <a:pt x="194" y="531"/>
                  <a:pt x="195" y="531"/>
                  <a:pt x="195" y="531"/>
                </a:cubicBezTo>
                <a:cubicBezTo>
                  <a:pt x="195" y="532"/>
                  <a:pt x="193" y="532"/>
                  <a:pt x="194" y="531"/>
                </a:cubicBezTo>
                <a:close/>
                <a:moveTo>
                  <a:pt x="196" y="526"/>
                </a:moveTo>
                <a:cubicBezTo>
                  <a:pt x="194" y="528"/>
                  <a:pt x="194" y="523"/>
                  <a:pt x="196" y="524"/>
                </a:cubicBezTo>
                <a:cubicBezTo>
                  <a:pt x="197" y="525"/>
                  <a:pt x="197" y="526"/>
                  <a:pt x="196" y="526"/>
                </a:cubicBezTo>
                <a:close/>
                <a:moveTo>
                  <a:pt x="208" y="524"/>
                </a:moveTo>
                <a:cubicBezTo>
                  <a:pt x="204" y="526"/>
                  <a:pt x="205" y="518"/>
                  <a:pt x="208" y="519"/>
                </a:cubicBezTo>
                <a:cubicBezTo>
                  <a:pt x="211" y="520"/>
                  <a:pt x="211" y="523"/>
                  <a:pt x="208" y="524"/>
                </a:cubicBezTo>
                <a:close/>
                <a:moveTo>
                  <a:pt x="211" y="541"/>
                </a:moveTo>
                <a:cubicBezTo>
                  <a:pt x="212" y="542"/>
                  <a:pt x="211" y="542"/>
                  <a:pt x="210" y="542"/>
                </a:cubicBezTo>
                <a:cubicBezTo>
                  <a:pt x="209" y="542"/>
                  <a:pt x="211" y="540"/>
                  <a:pt x="211" y="541"/>
                </a:cubicBezTo>
                <a:close/>
                <a:moveTo>
                  <a:pt x="215" y="522"/>
                </a:moveTo>
                <a:cubicBezTo>
                  <a:pt x="213" y="523"/>
                  <a:pt x="214" y="519"/>
                  <a:pt x="215" y="519"/>
                </a:cubicBezTo>
                <a:cubicBezTo>
                  <a:pt x="216" y="518"/>
                  <a:pt x="217" y="521"/>
                  <a:pt x="215" y="522"/>
                </a:cubicBezTo>
                <a:close/>
                <a:moveTo>
                  <a:pt x="219" y="511"/>
                </a:moveTo>
                <a:cubicBezTo>
                  <a:pt x="219" y="511"/>
                  <a:pt x="219" y="512"/>
                  <a:pt x="218" y="512"/>
                </a:cubicBezTo>
                <a:cubicBezTo>
                  <a:pt x="217" y="513"/>
                  <a:pt x="218" y="509"/>
                  <a:pt x="219" y="511"/>
                </a:cubicBezTo>
                <a:close/>
                <a:moveTo>
                  <a:pt x="218" y="517"/>
                </a:moveTo>
                <a:cubicBezTo>
                  <a:pt x="217" y="517"/>
                  <a:pt x="218" y="514"/>
                  <a:pt x="219" y="515"/>
                </a:cubicBezTo>
                <a:cubicBezTo>
                  <a:pt x="220" y="516"/>
                  <a:pt x="218" y="517"/>
                  <a:pt x="218" y="517"/>
                </a:cubicBezTo>
                <a:close/>
                <a:moveTo>
                  <a:pt x="224" y="522"/>
                </a:moveTo>
                <a:cubicBezTo>
                  <a:pt x="225" y="521"/>
                  <a:pt x="224" y="523"/>
                  <a:pt x="224" y="522"/>
                </a:cubicBezTo>
                <a:close/>
                <a:moveTo>
                  <a:pt x="224" y="505"/>
                </a:moveTo>
                <a:cubicBezTo>
                  <a:pt x="224" y="505"/>
                  <a:pt x="225" y="503"/>
                  <a:pt x="224" y="505"/>
                </a:cubicBezTo>
                <a:close/>
                <a:moveTo>
                  <a:pt x="271" y="511"/>
                </a:moveTo>
                <a:cubicBezTo>
                  <a:pt x="271" y="511"/>
                  <a:pt x="272" y="510"/>
                  <a:pt x="273" y="510"/>
                </a:cubicBezTo>
                <a:cubicBezTo>
                  <a:pt x="273" y="511"/>
                  <a:pt x="272" y="511"/>
                  <a:pt x="271" y="511"/>
                </a:cubicBezTo>
                <a:close/>
                <a:moveTo>
                  <a:pt x="274" y="518"/>
                </a:moveTo>
                <a:cubicBezTo>
                  <a:pt x="274" y="518"/>
                  <a:pt x="274" y="518"/>
                  <a:pt x="274" y="518"/>
                </a:cubicBezTo>
                <a:cubicBezTo>
                  <a:pt x="274" y="518"/>
                  <a:pt x="273" y="519"/>
                  <a:pt x="274" y="518"/>
                </a:cubicBezTo>
                <a:close/>
                <a:moveTo>
                  <a:pt x="277" y="496"/>
                </a:moveTo>
                <a:cubicBezTo>
                  <a:pt x="276" y="496"/>
                  <a:pt x="276" y="496"/>
                  <a:pt x="276" y="496"/>
                </a:cubicBezTo>
                <a:cubicBezTo>
                  <a:pt x="276" y="496"/>
                  <a:pt x="277" y="496"/>
                  <a:pt x="277" y="496"/>
                </a:cubicBezTo>
                <a:cubicBezTo>
                  <a:pt x="277" y="496"/>
                  <a:pt x="277" y="496"/>
                  <a:pt x="277" y="496"/>
                </a:cubicBezTo>
                <a:close/>
                <a:moveTo>
                  <a:pt x="294" y="515"/>
                </a:moveTo>
                <a:cubicBezTo>
                  <a:pt x="294" y="517"/>
                  <a:pt x="292" y="515"/>
                  <a:pt x="294" y="515"/>
                </a:cubicBezTo>
                <a:close/>
                <a:moveTo>
                  <a:pt x="245" y="575"/>
                </a:moveTo>
                <a:cubicBezTo>
                  <a:pt x="245" y="574"/>
                  <a:pt x="246" y="574"/>
                  <a:pt x="246" y="574"/>
                </a:cubicBezTo>
                <a:cubicBezTo>
                  <a:pt x="246" y="574"/>
                  <a:pt x="245" y="575"/>
                  <a:pt x="245" y="575"/>
                </a:cubicBezTo>
                <a:close/>
                <a:moveTo>
                  <a:pt x="250" y="560"/>
                </a:moveTo>
                <a:cubicBezTo>
                  <a:pt x="251" y="558"/>
                  <a:pt x="252" y="558"/>
                  <a:pt x="254" y="557"/>
                </a:cubicBezTo>
                <a:cubicBezTo>
                  <a:pt x="253" y="559"/>
                  <a:pt x="252" y="559"/>
                  <a:pt x="250" y="560"/>
                </a:cubicBezTo>
                <a:close/>
                <a:moveTo>
                  <a:pt x="254" y="561"/>
                </a:moveTo>
                <a:cubicBezTo>
                  <a:pt x="253" y="562"/>
                  <a:pt x="255" y="560"/>
                  <a:pt x="254" y="561"/>
                </a:cubicBezTo>
                <a:close/>
                <a:moveTo>
                  <a:pt x="265" y="566"/>
                </a:moveTo>
                <a:cubicBezTo>
                  <a:pt x="264" y="563"/>
                  <a:pt x="268" y="563"/>
                  <a:pt x="265" y="566"/>
                </a:cubicBezTo>
                <a:close/>
                <a:moveTo>
                  <a:pt x="281" y="541"/>
                </a:moveTo>
                <a:cubicBezTo>
                  <a:pt x="282" y="542"/>
                  <a:pt x="281" y="545"/>
                  <a:pt x="280" y="547"/>
                </a:cubicBezTo>
                <a:cubicBezTo>
                  <a:pt x="280" y="545"/>
                  <a:pt x="281" y="543"/>
                  <a:pt x="281" y="541"/>
                </a:cubicBezTo>
                <a:close/>
                <a:moveTo>
                  <a:pt x="278" y="567"/>
                </a:moveTo>
                <a:cubicBezTo>
                  <a:pt x="276" y="563"/>
                  <a:pt x="282" y="562"/>
                  <a:pt x="283" y="561"/>
                </a:cubicBezTo>
                <a:cubicBezTo>
                  <a:pt x="285" y="564"/>
                  <a:pt x="280" y="570"/>
                  <a:pt x="278" y="567"/>
                </a:cubicBezTo>
                <a:close/>
                <a:moveTo>
                  <a:pt x="319" y="618"/>
                </a:moveTo>
                <a:cubicBezTo>
                  <a:pt x="319" y="618"/>
                  <a:pt x="319" y="617"/>
                  <a:pt x="319" y="617"/>
                </a:cubicBezTo>
                <a:cubicBezTo>
                  <a:pt x="319" y="613"/>
                  <a:pt x="323" y="617"/>
                  <a:pt x="319" y="618"/>
                </a:cubicBezTo>
                <a:close/>
                <a:moveTo>
                  <a:pt x="369" y="679"/>
                </a:moveTo>
                <a:cubicBezTo>
                  <a:pt x="368" y="678"/>
                  <a:pt x="370" y="678"/>
                  <a:pt x="370" y="678"/>
                </a:cubicBezTo>
                <a:cubicBezTo>
                  <a:pt x="370" y="679"/>
                  <a:pt x="369" y="679"/>
                  <a:pt x="369" y="679"/>
                </a:cubicBezTo>
                <a:close/>
                <a:moveTo>
                  <a:pt x="370" y="687"/>
                </a:moveTo>
                <a:cubicBezTo>
                  <a:pt x="370" y="687"/>
                  <a:pt x="370" y="687"/>
                  <a:pt x="370" y="687"/>
                </a:cubicBezTo>
                <a:cubicBezTo>
                  <a:pt x="370" y="685"/>
                  <a:pt x="372" y="689"/>
                  <a:pt x="370" y="687"/>
                </a:cubicBezTo>
                <a:close/>
                <a:moveTo>
                  <a:pt x="375" y="690"/>
                </a:moveTo>
                <a:cubicBezTo>
                  <a:pt x="374" y="689"/>
                  <a:pt x="377" y="690"/>
                  <a:pt x="377" y="691"/>
                </a:cubicBezTo>
                <a:cubicBezTo>
                  <a:pt x="377" y="691"/>
                  <a:pt x="375" y="691"/>
                  <a:pt x="375" y="690"/>
                </a:cubicBezTo>
                <a:close/>
                <a:moveTo>
                  <a:pt x="380" y="682"/>
                </a:moveTo>
                <a:cubicBezTo>
                  <a:pt x="380" y="681"/>
                  <a:pt x="381" y="681"/>
                  <a:pt x="381" y="682"/>
                </a:cubicBezTo>
                <a:cubicBezTo>
                  <a:pt x="381" y="682"/>
                  <a:pt x="381" y="682"/>
                  <a:pt x="380" y="682"/>
                </a:cubicBezTo>
                <a:close/>
                <a:moveTo>
                  <a:pt x="387" y="692"/>
                </a:moveTo>
                <a:cubicBezTo>
                  <a:pt x="387" y="692"/>
                  <a:pt x="386" y="692"/>
                  <a:pt x="386" y="692"/>
                </a:cubicBezTo>
                <a:cubicBezTo>
                  <a:pt x="386" y="689"/>
                  <a:pt x="389" y="694"/>
                  <a:pt x="387" y="692"/>
                </a:cubicBezTo>
                <a:close/>
                <a:moveTo>
                  <a:pt x="388" y="698"/>
                </a:moveTo>
                <a:cubicBezTo>
                  <a:pt x="388" y="697"/>
                  <a:pt x="389" y="696"/>
                  <a:pt x="390" y="697"/>
                </a:cubicBezTo>
                <a:cubicBezTo>
                  <a:pt x="390" y="697"/>
                  <a:pt x="388" y="698"/>
                  <a:pt x="388" y="698"/>
                </a:cubicBezTo>
                <a:close/>
                <a:moveTo>
                  <a:pt x="397" y="712"/>
                </a:moveTo>
                <a:cubicBezTo>
                  <a:pt x="395" y="712"/>
                  <a:pt x="394" y="711"/>
                  <a:pt x="395" y="710"/>
                </a:cubicBezTo>
                <a:cubicBezTo>
                  <a:pt x="395" y="708"/>
                  <a:pt x="399" y="709"/>
                  <a:pt x="400" y="711"/>
                </a:cubicBezTo>
                <a:cubicBezTo>
                  <a:pt x="400" y="711"/>
                  <a:pt x="400" y="711"/>
                  <a:pt x="399" y="712"/>
                </a:cubicBezTo>
                <a:cubicBezTo>
                  <a:pt x="399" y="712"/>
                  <a:pt x="399" y="712"/>
                  <a:pt x="399" y="712"/>
                </a:cubicBezTo>
                <a:cubicBezTo>
                  <a:pt x="399" y="713"/>
                  <a:pt x="397" y="713"/>
                  <a:pt x="397" y="712"/>
                </a:cubicBezTo>
                <a:close/>
                <a:moveTo>
                  <a:pt x="399" y="714"/>
                </a:moveTo>
                <a:cubicBezTo>
                  <a:pt x="399" y="713"/>
                  <a:pt x="401" y="713"/>
                  <a:pt x="402" y="713"/>
                </a:cubicBezTo>
                <a:cubicBezTo>
                  <a:pt x="401" y="714"/>
                  <a:pt x="400" y="714"/>
                  <a:pt x="399" y="714"/>
                </a:cubicBezTo>
                <a:close/>
                <a:moveTo>
                  <a:pt x="379" y="744"/>
                </a:moveTo>
                <a:cubicBezTo>
                  <a:pt x="379" y="744"/>
                  <a:pt x="379" y="744"/>
                  <a:pt x="379" y="744"/>
                </a:cubicBezTo>
                <a:cubicBezTo>
                  <a:pt x="379" y="743"/>
                  <a:pt x="379" y="743"/>
                  <a:pt x="379" y="744"/>
                </a:cubicBezTo>
                <a:close/>
                <a:moveTo>
                  <a:pt x="379" y="744"/>
                </a:moveTo>
                <a:cubicBezTo>
                  <a:pt x="380" y="744"/>
                  <a:pt x="380" y="744"/>
                  <a:pt x="379" y="744"/>
                </a:cubicBezTo>
                <a:close/>
                <a:moveTo>
                  <a:pt x="380" y="742"/>
                </a:moveTo>
                <a:cubicBezTo>
                  <a:pt x="380" y="741"/>
                  <a:pt x="381" y="741"/>
                  <a:pt x="381" y="741"/>
                </a:cubicBezTo>
                <a:cubicBezTo>
                  <a:pt x="381" y="741"/>
                  <a:pt x="380" y="742"/>
                  <a:pt x="380" y="742"/>
                </a:cubicBezTo>
                <a:close/>
                <a:moveTo>
                  <a:pt x="382" y="744"/>
                </a:moveTo>
                <a:cubicBezTo>
                  <a:pt x="382" y="743"/>
                  <a:pt x="383" y="743"/>
                  <a:pt x="384" y="743"/>
                </a:cubicBezTo>
                <a:cubicBezTo>
                  <a:pt x="383" y="743"/>
                  <a:pt x="384" y="745"/>
                  <a:pt x="384" y="745"/>
                </a:cubicBezTo>
                <a:cubicBezTo>
                  <a:pt x="383" y="746"/>
                  <a:pt x="381" y="746"/>
                  <a:pt x="382" y="744"/>
                </a:cubicBezTo>
                <a:close/>
                <a:moveTo>
                  <a:pt x="385" y="740"/>
                </a:moveTo>
                <a:cubicBezTo>
                  <a:pt x="384" y="740"/>
                  <a:pt x="381" y="738"/>
                  <a:pt x="382" y="736"/>
                </a:cubicBezTo>
                <a:cubicBezTo>
                  <a:pt x="383" y="734"/>
                  <a:pt x="388" y="733"/>
                  <a:pt x="390" y="734"/>
                </a:cubicBezTo>
                <a:cubicBezTo>
                  <a:pt x="391" y="734"/>
                  <a:pt x="391" y="735"/>
                  <a:pt x="392" y="735"/>
                </a:cubicBezTo>
                <a:cubicBezTo>
                  <a:pt x="392" y="735"/>
                  <a:pt x="394" y="734"/>
                  <a:pt x="393" y="735"/>
                </a:cubicBezTo>
                <a:cubicBezTo>
                  <a:pt x="393" y="736"/>
                  <a:pt x="391" y="737"/>
                  <a:pt x="391" y="738"/>
                </a:cubicBezTo>
                <a:cubicBezTo>
                  <a:pt x="391" y="738"/>
                  <a:pt x="393" y="737"/>
                  <a:pt x="392" y="738"/>
                </a:cubicBezTo>
                <a:cubicBezTo>
                  <a:pt x="392" y="738"/>
                  <a:pt x="388" y="741"/>
                  <a:pt x="385" y="740"/>
                </a:cubicBezTo>
                <a:close/>
                <a:moveTo>
                  <a:pt x="390" y="741"/>
                </a:moveTo>
                <a:cubicBezTo>
                  <a:pt x="389" y="740"/>
                  <a:pt x="391" y="740"/>
                  <a:pt x="391" y="741"/>
                </a:cubicBezTo>
                <a:cubicBezTo>
                  <a:pt x="391" y="741"/>
                  <a:pt x="390" y="741"/>
                  <a:pt x="390" y="741"/>
                </a:cubicBezTo>
                <a:close/>
                <a:moveTo>
                  <a:pt x="393" y="751"/>
                </a:moveTo>
                <a:cubicBezTo>
                  <a:pt x="389" y="752"/>
                  <a:pt x="393" y="747"/>
                  <a:pt x="395" y="749"/>
                </a:cubicBezTo>
                <a:cubicBezTo>
                  <a:pt x="396" y="750"/>
                  <a:pt x="394" y="751"/>
                  <a:pt x="393" y="751"/>
                </a:cubicBezTo>
                <a:close/>
                <a:moveTo>
                  <a:pt x="396" y="739"/>
                </a:moveTo>
                <a:cubicBezTo>
                  <a:pt x="396" y="739"/>
                  <a:pt x="396" y="739"/>
                  <a:pt x="396" y="739"/>
                </a:cubicBezTo>
                <a:cubicBezTo>
                  <a:pt x="396" y="739"/>
                  <a:pt x="395" y="738"/>
                  <a:pt x="396" y="739"/>
                </a:cubicBezTo>
                <a:close/>
                <a:moveTo>
                  <a:pt x="396" y="740"/>
                </a:moveTo>
                <a:cubicBezTo>
                  <a:pt x="395" y="739"/>
                  <a:pt x="397" y="741"/>
                  <a:pt x="396" y="740"/>
                </a:cubicBezTo>
                <a:close/>
                <a:moveTo>
                  <a:pt x="398" y="725"/>
                </a:moveTo>
                <a:cubicBezTo>
                  <a:pt x="398" y="724"/>
                  <a:pt x="400" y="724"/>
                  <a:pt x="400" y="724"/>
                </a:cubicBezTo>
                <a:cubicBezTo>
                  <a:pt x="401" y="725"/>
                  <a:pt x="399" y="726"/>
                  <a:pt x="398" y="725"/>
                </a:cubicBezTo>
                <a:close/>
                <a:moveTo>
                  <a:pt x="391" y="763"/>
                </a:moveTo>
                <a:cubicBezTo>
                  <a:pt x="391" y="762"/>
                  <a:pt x="393" y="762"/>
                  <a:pt x="393" y="763"/>
                </a:cubicBezTo>
                <a:cubicBezTo>
                  <a:pt x="393" y="763"/>
                  <a:pt x="391" y="763"/>
                  <a:pt x="391" y="763"/>
                </a:cubicBezTo>
                <a:close/>
                <a:moveTo>
                  <a:pt x="394" y="763"/>
                </a:moveTo>
                <a:cubicBezTo>
                  <a:pt x="394" y="762"/>
                  <a:pt x="395" y="763"/>
                  <a:pt x="395" y="764"/>
                </a:cubicBezTo>
                <a:cubicBezTo>
                  <a:pt x="395" y="764"/>
                  <a:pt x="394" y="764"/>
                  <a:pt x="394" y="763"/>
                </a:cubicBezTo>
                <a:close/>
                <a:moveTo>
                  <a:pt x="400" y="767"/>
                </a:moveTo>
                <a:cubicBezTo>
                  <a:pt x="400" y="766"/>
                  <a:pt x="400" y="766"/>
                  <a:pt x="400" y="766"/>
                </a:cubicBezTo>
                <a:cubicBezTo>
                  <a:pt x="401" y="767"/>
                  <a:pt x="399" y="767"/>
                  <a:pt x="400" y="767"/>
                </a:cubicBezTo>
                <a:close/>
                <a:moveTo>
                  <a:pt x="828" y="375"/>
                </a:moveTo>
                <a:cubicBezTo>
                  <a:pt x="827" y="373"/>
                  <a:pt x="830" y="374"/>
                  <a:pt x="828" y="375"/>
                </a:cubicBezTo>
                <a:close/>
                <a:moveTo>
                  <a:pt x="826" y="378"/>
                </a:moveTo>
                <a:cubicBezTo>
                  <a:pt x="826" y="378"/>
                  <a:pt x="826" y="378"/>
                  <a:pt x="827" y="378"/>
                </a:cubicBezTo>
                <a:cubicBezTo>
                  <a:pt x="827" y="379"/>
                  <a:pt x="825" y="380"/>
                  <a:pt x="826" y="378"/>
                </a:cubicBezTo>
                <a:close/>
                <a:moveTo>
                  <a:pt x="815" y="374"/>
                </a:moveTo>
                <a:cubicBezTo>
                  <a:pt x="816" y="372"/>
                  <a:pt x="818" y="376"/>
                  <a:pt x="816" y="376"/>
                </a:cubicBezTo>
                <a:cubicBezTo>
                  <a:pt x="815" y="376"/>
                  <a:pt x="815" y="375"/>
                  <a:pt x="815" y="374"/>
                </a:cubicBezTo>
                <a:close/>
                <a:moveTo>
                  <a:pt x="810" y="380"/>
                </a:moveTo>
                <a:cubicBezTo>
                  <a:pt x="809" y="377"/>
                  <a:pt x="812" y="378"/>
                  <a:pt x="810" y="380"/>
                </a:cubicBezTo>
                <a:close/>
                <a:moveTo>
                  <a:pt x="803" y="357"/>
                </a:moveTo>
                <a:cubicBezTo>
                  <a:pt x="803" y="357"/>
                  <a:pt x="804" y="356"/>
                  <a:pt x="804" y="356"/>
                </a:cubicBezTo>
                <a:cubicBezTo>
                  <a:pt x="805" y="357"/>
                  <a:pt x="803" y="358"/>
                  <a:pt x="803" y="357"/>
                </a:cubicBezTo>
                <a:close/>
                <a:moveTo>
                  <a:pt x="803" y="384"/>
                </a:moveTo>
                <a:cubicBezTo>
                  <a:pt x="802" y="384"/>
                  <a:pt x="802" y="382"/>
                  <a:pt x="802" y="382"/>
                </a:cubicBezTo>
                <a:cubicBezTo>
                  <a:pt x="803" y="381"/>
                  <a:pt x="804" y="383"/>
                  <a:pt x="803" y="384"/>
                </a:cubicBezTo>
                <a:close/>
                <a:moveTo>
                  <a:pt x="801" y="361"/>
                </a:moveTo>
                <a:cubicBezTo>
                  <a:pt x="802" y="359"/>
                  <a:pt x="803" y="363"/>
                  <a:pt x="802" y="363"/>
                </a:cubicBezTo>
                <a:cubicBezTo>
                  <a:pt x="801" y="364"/>
                  <a:pt x="801" y="361"/>
                  <a:pt x="801" y="361"/>
                </a:cubicBezTo>
                <a:close/>
                <a:moveTo>
                  <a:pt x="801" y="371"/>
                </a:moveTo>
                <a:cubicBezTo>
                  <a:pt x="801" y="371"/>
                  <a:pt x="801" y="370"/>
                  <a:pt x="801" y="370"/>
                </a:cubicBezTo>
                <a:cubicBezTo>
                  <a:pt x="801" y="369"/>
                  <a:pt x="802" y="370"/>
                  <a:pt x="801" y="371"/>
                </a:cubicBezTo>
                <a:close/>
                <a:moveTo>
                  <a:pt x="799" y="382"/>
                </a:moveTo>
                <a:cubicBezTo>
                  <a:pt x="799" y="384"/>
                  <a:pt x="804" y="385"/>
                  <a:pt x="802" y="389"/>
                </a:cubicBezTo>
                <a:cubicBezTo>
                  <a:pt x="802" y="389"/>
                  <a:pt x="801" y="389"/>
                  <a:pt x="801" y="389"/>
                </a:cubicBezTo>
                <a:cubicBezTo>
                  <a:pt x="801" y="390"/>
                  <a:pt x="802" y="391"/>
                  <a:pt x="801" y="392"/>
                </a:cubicBezTo>
                <a:cubicBezTo>
                  <a:pt x="798" y="392"/>
                  <a:pt x="799" y="383"/>
                  <a:pt x="799" y="382"/>
                </a:cubicBezTo>
                <a:close/>
                <a:moveTo>
                  <a:pt x="798" y="367"/>
                </a:moveTo>
                <a:cubicBezTo>
                  <a:pt x="799" y="366"/>
                  <a:pt x="799" y="370"/>
                  <a:pt x="798" y="370"/>
                </a:cubicBezTo>
                <a:cubicBezTo>
                  <a:pt x="797" y="370"/>
                  <a:pt x="798" y="368"/>
                  <a:pt x="798" y="367"/>
                </a:cubicBezTo>
                <a:close/>
                <a:moveTo>
                  <a:pt x="796" y="344"/>
                </a:moveTo>
                <a:cubicBezTo>
                  <a:pt x="797" y="343"/>
                  <a:pt x="797" y="346"/>
                  <a:pt x="796" y="345"/>
                </a:cubicBezTo>
                <a:cubicBezTo>
                  <a:pt x="795" y="345"/>
                  <a:pt x="796" y="344"/>
                  <a:pt x="796" y="344"/>
                </a:cubicBezTo>
                <a:close/>
                <a:moveTo>
                  <a:pt x="795" y="373"/>
                </a:moveTo>
                <a:cubicBezTo>
                  <a:pt x="793" y="373"/>
                  <a:pt x="794" y="370"/>
                  <a:pt x="794" y="370"/>
                </a:cubicBezTo>
                <a:cubicBezTo>
                  <a:pt x="795" y="369"/>
                  <a:pt x="796" y="374"/>
                  <a:pt x="795" y="373"/>
                </a:cubicBezTo>
                <a:close/>
                <a:moveTo>
                  <a:pt x="793" y="353"/>
                </a:moveTo>
                <a:cubicBezTo>
                  <a:pt x="795" y="350"/>
                  <a:pt x="796" y="357"/>
                  <a:pt x="793" y="356"/>
                </a:cubicBezTo>
                <a:cubicBezTo>
                  <a:pt x="792" y="355"/>
                  <a:pt x="793" y="353"/>
                  <a:pt x="793" y="353"/>
                </a:cubicBezTo>
                <a:close/>
                <a:moveTo>
                  <a:pt x="790" y="355"/>
                </a:moveTo>
                <a:cubicBezTo>
                  <a:pt x="789" y="351"/>
                  <a:pt x="792" y="353"/>
                  <a:pt x="790" y="355"/>
                </a:cubicBezTo>
                <a:close/>
                <a:moveTo>
                  <a:pt x="789" y="371"/>
                </a:moveTo>
                <a:cubicBezTo>
                  <a:pt x="790" y="371"/>
                  <a:pt x="789" y="373"/>
                  <a:pt x="789" y="371"/>
                </a:cubicBezTo>
                <a:cubicBezTo>
                  <a:pt x="789" y="371"/>
                  <a:pt x="789" y="371"/>
                  <a:pt x="789" y="371"/>
                </a:cubicBezTo>
                <a:close/>
                <a:moveTo>
                  <a:pt x="788" y="403"/>
                </a:moveTo>
                <a:cubicBezTo>
                  <a:pt x="787" y="400"/>
                  <a:pt x="789" y="401"/>
                  <a:pt x="788" y="403"/>
                </a:cubicBezTo>
                <a:close/>
                <a:moveTo>
                  <a:pt x="785" y="361"/>
                </a:moveTo>
                <a:cubicBezTo>
                  <a:pt x="786" y="359"/>
                  <a:pt x="787" y="363"/>
                  <a:pt x="786" y="364"/>
                </a:cubicBezTo>
                <a:cubicBezTo>
                  <a:pt x="784" y="364"/>
                  <a:pt x="784" y="361"/>
                  <a:pt x="785" y="361"/>
                </a:cubicBezTo>
                <a:close/>
                <a:moveTo>
                  <a:pt x="785" y="365"/>
                </a:moveTo>
                <a:cubicBezTo>
                  <a:pt x="787" y="365"/>
                  <a:pt x="787" y="367"/>
                  <a:pt x="785" y="367"/>
                </a:cubicBezTo>
                <a:cubicBezTo>
                  <a:pt x="785" y="367"/>
                  <a:pt x="783" y="366"/>
                  <a:pt x="785" y="365"/>
                </a:cubicBezTo>
                <a:close/>
                <a:moveTo>
                  <a:pt x="783" y="380"/>
                </a:moveTo>
                <a:cubicBezTo>
                  <a:pt x="784" y="380"/>
                  <a:pt x="783" y="382"/>
                  <a:pt x="783" y="383"/>
                </a:cubicBezTo>
                <a:cubicBezTo>
                  <a:pt x="782" y="382"/>
                  <a:pt x="783" y="381"/>
                  <a:pt x="783" y="380"/>
                </a:cubicBezTo>
                <a:close/>
                <a:moveTo>
                  <a:pt x="739" y="294"/>
                </a:moveTo>
                <a:cubicBezTo>
                  <a:pt x="737" y="293"/>
                  <a:pt x="740" y="291"/>
                  <a:pt x="739" y="294"/>
                </a:cubicBezTo>
                <a:close/>
                <a:moveTo>
                  <a:pt x="736" y="437"/>
                </a:moveTo>
                <a:cubicBezTo>
                  <a:pt x="736" y="437"/>
                  <a:pt x="736" y="436"/>
                  <a:pt x="736" y="435"/>
                </a:cubicBezTo>
                <a:cubicBezTo>
                  <a:pt x="737" y="434"/>
                  <a:pt x="737" y="437"/>
                  <a:pt x="736" y="437"/>
                </a:cubicBezTo>
                <a:close/>
                <a:moveTo>
                  <a:pt x="741" y="332"/>
                </a:moveTo>
                <a:cubicBezTo>
                  <a:pt x="741" y="331"/>
                  <a:pt x="741" y="331"/>
                  <a:pt x="741" y="330"/>
                </a:cubicBezTo>
                <a:cubicBezTo>
                  <a:pt x="742" y="330"/>
                  <a:pt x="741" y="332"/>
                  <a:pt x="741" y="332"/>
                </a:cubicBezTo>
                <a:close/>
                <a:moveTo>
                  <a:pt x="746" y="351"/>
                </a:moveTo>
                <a:cubicBezTo>
                  <a:pt x="745" y="351"/>
                  <a:pt x="746" y="350"/>
                  <a:pt x="746" y="350"/>
                </a:cubicBezTo>
                <a:cubicBezTo>
                  <a:pt x="747" y="349"/>
                  <a:pt x="747" y="352"/>
                  <a:pt x="746" y="351"/>
                </a:cubicBezTo>
                <a:close/>
                <a:moveTo>
                  <a:pt x="749" y="369"/>
                </a:moveTo>
                <a:cubicBezTo>
                  <a:pt x="749" y="369"/>
                  <a:pt x="749" y="368"/>
                  <a:pt x="749" y="368"/>
                </a:cubicBezTo>
                <a:cubicBezTo>
                  <a:pt x="750" y="366"/>
                  <a:pt x="750" y="369"/>
                  <a:pt x="749" y="369"/>
                </a:cubicBezTo>
                <a:close/>
                <a:moveTo>
                  <a:pt x="750" y="348"/>
                </a:moveTo>
                <a:cubicBezTo>
                  <a:pt x="750" y="348"/>
                  <a:pt x="750" y="347"/>
                  <a:pt x="750" y="347"/>
                </a:cubicBezTo>
                <a:cubicBezTo>
                  <a:pt x="750" y="346"/>
                  <a:pt x="751" y="349"/>
                  <a:pt x="750" y="348"/>
                </a:cubicBezTo>
                <a:close/>
                <a:moveTo>
                  <a:pt x="751" y="457"/>
                </a:moveTo>
                <a:cubicBezTo>
                  <a:pt x="750" y="457"/>
                  <a:pt x="750" y="454"/>
                  <a:pt x="751" y="454"/>
                </a:cubicBezTo>
                <a:cubicBezTo>
                  <a:pt x="754" y="451"/>
                  <a:pt x="754" y="457"/>
                  <a:pt x="751" y="457"/>
                </a:cubicBezTo>
                <a:close/>
                <a:moveTo>
                  <a:pt x="751" y="364"/>
                </a:moveTo>
                <a:cubicBezTo>
                  <a:pt x="752" y="363"/>
                  <a:pt x="751" y="366"/>
                  <a:pt x="751" y="366"/>
                </a:cubicBezTo>
                <a:cubicBezTo>
                  <a:pt x="750" y="366"/>
                  <a:pt x="750" y="364"/>
                  <a:pt x="751" y="364"/>
                </a:cubicBezTo>
                <a:close/>
                <a:moveTo>
                  <a:pt x="753" y="422"/>
                </a:moveTo>
                <a:cubicBezTo>
                  <a:pt x="753" y="420"/>
                  <a:pt x="755" y="421"/>
                  <a:pt x="753" y="422"/>
                </a:cubicBezTo>
                <a:close/>
                <a:moveTo>
                  <a:pt x="762" y="382"/>
                </a:moveTo>
                <a:cubicBezTo>
                  <a:pt x="762" y="382"/>
                  <a:pt x="762" y="381"/>
                  <a:pt x="762" y="381"/>
                </a:cubicBezTo>
                <a:cubicBezTo>
                  <a:pt x="763" y="380"/>
                  <a:pt x="763" y="383"/>
                  <a:pt x="762" y="382"/>
                </a:cubicBezTo>
                <a:close/>
                <a:moveTo>
                  <a:pt x="767" y="365"/>
                </a:moveTo>
                <a:cubicBezTo>
                  <a:pt x="766" y="365"/>
                  <a:pt x="767" y="364"/>
                  <a:pt x="767" y="363"/>
                </a:cubicBezTo>
                <a:cubicBezTo>
                  <a:pt x="768" y="363"/>
                  <a:pt x="768" y="365"/>
                  <a:pt x="767" y="365"/>
                </a:cubicBezTo>
                <a:close/>
                <a:moveTo>
                  <a:pt x="772" y="382"/>
                </a:moveTo>
                <a:cubicBezTo>
                  <a:pt x="770" y="383"/>
                  <a:pt x="769" y="377"/>
                  <a:pt x="771" y="376"/>
                </a:cubicBezTo>
                <a:cubicBezTo>
                  <a:pt x="775" y="374"/>
                  <a:pt x="775" y="382"/>
                  <a:pt x="772" y="382"/>
                </a:cubicBezTo>
                <a:close/>
                <a:moveTo>
                  <a:pt x="771" y="351"/>
                </a:moveTo>
                <a:cubicBezTo>
                  <a:pt x="772" y="348"/>
                  <a:pt x="775" y="355"/>
                  <a:pt x="772" y="354"/>
                </a:cubicBezTo>
                <a:cubicBezTo>
                  <a:pt x="771" y="353"/>
                  <a:pt x="770" y="352"/>
                  <a:pt x="771" y="351"/>
                </a:cubicBezTo>
                <a:close/>
                <a:moveTo>
                  <a:pt x="776" y="420"/>
                </a:moveTo>
                <a:cubicBezTo>
                  <a:pt x="777" y="422"/>
                  <a:pt x="775" y="421"/>
                  <a:pt x="776" y="420"/>
                </a:cubicBezTo>
                <a:close/>
                <a:moveTo>
                  <a:pt x="779" y="402"/>
                </a:moveTo>
                <a:cubicBezTo>
                  <a:pt x="779" y="401"/>
                  <a:pt x="778" y="403"/>
                  <a:pt x="779" y="402"/>
                </a:cubicBezTo>
                <a:close/>
                <a:moveTo>
                  <a:pt x="782" y="347"/>
                </a:moveTo>
                <a:cubicBezTo>
                  <a:pt x="781" y="347"/>
                  <a:pt x="781" y="346"/>
                  <a:pt x="781" y="346"/>
                </a:cubicBezTo>
                <a:cubicBezTo>
                  <a:pt x="781" y="344"/>
                  <a:pt x="783" y="348"/>
                  <a:pt x="782" y="347"/>
                </a:cubicBezTo>
                <a:close/>
                <a:moveTo>
                  <a:pt x="779" y="364"/>
                </a:moveTo>
                <a:cubicBezTo>
                  <a:pt x="780" y="364"/>
                  <a:pt x="782" y="368"/>
                  <a:pt x="782" y="368"/>
                </a:cubicBezTo>
                <a:cubicBezTo>
                  <a:pt x="782" y="370"/>
                  <a:pt x="779" y="368"/>
                  <a:pt x="778" y="370"/>
                </a:cubicBezTo>
                <a:cubicBezTo>
                  <a:pt x="778" y="370"/>
                  <a:pt x="780" y="371"/>
                  <a:pt x="780" y="372"/>
                </a:cubicBezTo>
                <a:cubicBezTo>
                  <a:pt x="777" y="376"/>
                  <a:pt x="772" y="368"/>
                  <a:pt x="775" y="365"/>
                </a:cubicBezTo>
                <a:cubicBezTo>
                  <a:pt x="776" y="364"/>
                  <a:pt x="778" y="364"/>
                  <a:pt x="779" y="364"/>
                </a:cubicBezTo>
                <a:close/>
                <a:moveTo>
                  <a:pt x="776" y="327"/>
                </a:moveTo>
                <a:cubicBezTo>
                  <a:pt x="776" y="329"/>
                  <a:pt x="776" y="326"/>
                  <a:pt x="776" y="327"/>
                </a:cubicBezTo>
                <a:close/>
                <a:moveTo>
                  <a:pt x="776" y="333"/>
                </a:moveTo>
                <a:cubicBezTo>
                  <a:pt x="778" y="332"/>
                  <a:pt x="780" y="337"/>
                  <a:pt x="777" y="338"/>
                </a:cubicBezTo>
                <a:cubicBezTo>
                  <a:pt x="775" y="338"/>
                  <a:pt x="774" y="334"/>
                  <a:pt x="776" y="333"/>
                </a:cubicBezTo>
                <a:close/>
                <a:moveTo>
                  <a:pt x="775" y="351"/>
                </a:moveTo>
                <a:cubicBezTo>
                  <a:pt x="776" y="350"/>
                  <a:pt x="777" y="352"/>
                  <a:pt x="776" y="352"/>
                </a:cubicBezTo>
                <a:cubicBezTo>
                  <a:pt x="775" y="352"/>
                  <a:pt x="775" y="351"/>
                  <a:pt x="775" y="351"/>
                </a:cubicBezTo>
                <a:close/>
                <a:moveTo>
                  <a:pt x="774" y="342"/>
                </a:moveTo>
                <a:cubicBezTo>
                  <a:pt x="775" y="340"/>
                  <a:pt x="776" y="343"/>
                  <a:pt x="774" y="343"/>
                </a:cubicBezTo>
                <a:cubicBezTo>
                  <a:pt x="774" y="343"/>
                  <a:pt x="774" y="342"/>
                  <a:pt x="774" y="342"/>
                </a:cubicBezTo>
                <a:close/>
                <a:moveTo>
                  <a:pt x="773" y="347"/>
                </a:moveTo>
                <a:cubicBezTo>
                  <a:pt x="772" y="348"/>
                  <a:pt x="770" y="343"/>
                  <a:pt x="772" y="343"/>
                </a:cubicBezTo>
                <a:cubicBezTo>
                  <a:pt x="774" y="341"/>
                  <a:pt x="774" y="347"/>
                  <a:pt x="773" y="347"/>
                </a:cubicBezTo>
                <a:close/>
                <a:moveTo>
                  <a:pt x="770" y="320"/>
                </a:moveTo>
                <a:cubicBezTo>
                  <a:pt x="771" y="318"/>
                  <a:pt x="773" y="323"/>
                  <a:pt x="770" y="322"/>
                </a:cubicBezTo>
                <a:cubicBezTo>
                  <a:pt x="769" y="322"/>
                  <a:pt x="769" y="320"/>
                  <a:pt x="770" y="320"/>
                </a:cubicBezTo>
                <a:close/>
                <a:moveTo>
                  <a:pt x="769" y="332"/>
                </a:moveTo>
                <a:cubicBezTo>
                  <a:pt x="769" y="331"/>
                  <a:pt x="770" y="334"/>
                  <a:pt x="769" y="334"/>
                </a:cubicBezTo>
                <a:cubicBezTo>
                  <a:pt x="768" y="334"/>
                  <a:pt x="768" y="333"/>
                  <a:pt x="769" y="332"/>
                </a:cubicBezTo>
                <a:close/>
                <a:moveTo>
                  <a:pt x="766" y="326"/>
                </a:moveTo>
                <a:cubicBezTo>
                  <a:pt x="768" y="322"/>
                  <a:pt x="770" y="331"/>
                  <a:pt x="766" y="329"/>
                </a:cubicBezTo>
                <a:cubicBezTo>
                  <a:pt x="765" y="328"/>
                  <a:pt x="766" y="327"/>
                  <a:pt x="766" y="326"/>
                </a:cubicBezTo>
                <a:close/>
                <a:moveTo>
                  <a:pt x="767" y="336"/>
                </a:moveTo>
                <a:cubicBezTo>
                  <a:pt x="767" y="335"/>
                  <a:pt x="767" y="335"/>
                  <a:pt x="767" y="334"/>
                </a:cubicBezTo>
                <a:cubicBezTo>
                  <a:pt x="768" y="334"/>
                  <a:pt x="768" y="336"/>
                  <a:pt x="767" y="336"/>
                </a:cubicBezTo>
                <a:close/>
                <a:moveTo>
                  <a:pt x="767" y="332"/>
                </a:moveTo>
                <a:cubicBezTo>
                  <a:pt x="766" y="332"/>
                  <a:pt x="766" y="331"/>
                  <a:pt x="766" y="330"/>
                </a:cubicBezTo>
                <a:cubicBezTo>
                  <a:pt x="767" y="329"/>
                  <a:pt x="767" y="332"/>
                  <a:pt x="767" y="332"/>
                </a:cubicBezTo>
                <a:close/>
                <a:moveTo>
                  <a:pt x="767" y="349"/>
                </a:moveTo>
                <a:cubicBezTo>
                  <a:pt x="767" y="348"/>
                  <a:pt x="769" y="349"/>
                  <a:pt x="769" y="349"/>
                </a:cubicBezTo>
                <a:cubicBezTo>
                  <a:pt x="770" y="351"/>
                  <a:pt x="768" y="355"/>
                  <a:pt x="766" y="355"/>
                </a:cubicBezTo>
                <a:cubicBezTo>
                  <a:pt x="765" y="355"/>
                  <a:pt x="764" y="353"/>
                  <a:pt x="763" y="353"/>
                </a:cubicBezTo>
                <a:cubicBezTo>
                  <a:pt x="761" y="352"/>
                  <a:pt x="761" y="348"/>
                  <a:pt x="763" y="347"/>
                </a:cubicBezTo>
                <a:cubicBezTo>
                  <a:pt x="766" y="345"/>
                  <a:pt x="766" y="347"/>
                  <a:pt x="767" y="349"/>
                </a:cubicBezTo>
                <a:close/>
                <a:moveTo>
                  <a:pt x="762" y="341"/>
                </a:moveTo>
                <a:cubicBezTo>
                  <a:pt x="762" y="341"/>
                  <a:pt x="762" y="341"/>
                  <a:pt x="762" y="341"/>
                </a:cubicBezTo>
                <a:cubicBezTo>
                  <a:pt x="762" y="341"/>
                  <a:pt x="762" y="341"/>
                  <a:pt x="762" y="341"/>
                </a:cubicBezTo>
                <a:cubicBezTo>
                  <a:pt x="762" y="341"/>
                  <a:pt x="762" y="341"/>
                  <a:pt x="762" y="341"/>
                </a:cubicBezTo>
                <a:close/>
                <a:moveTo>
                  <a:pt x="762" y="320"/>
                </a:moveTo>
                <a:cubicBezTo>
                  <a:pt x="764" y="321"/>
                  <a:pt x="761" y="322"/>
                  <a:pt x="762" y="320"/>
                </a:cubicBezTo>
                <a:close/>
                <a:moveTo>
                  <a:pt x="762" y="322"/>
                </a:moveTo>
                <a:cubicBezTo>
                  <a:pt x="763" y="322"/>
                  <a:pt x="762" y="323"/>
                  <a:pt x="762" y="323"/>
                </a:cubicBezTo>
                <a:cubicBezTo>
                  <a:pt x="761" y="323"/>
                  <a:pt x="762" y="322"/>
                  <a:pt x="762" y="322"/>
                </a:cubicBezTo>
                <a:close/>
                <a:moveTo>
                  <a:pt x="762" y="331"/>
                </a:moveTo>
                <a:cubicBezTo>
                  <a:pt x="762" y="330"/>
                  <a:pt x="763" y="333"/>
                  <a:pt x="762" y="332"/>
                </a:cubicBezTo>
                <a:cubicBezTo>
                  <a:pt x="761" y="332"/>
                  <a:pt x="762" y="331"/>
                  <a:pt x="762" y="331"/>
                </a:cubicBezTo>
                <a:close/>
                <a:moveTo>
                  <a:pt x="760" y="362"/>
                </a:moveTo>
                <a:cubicBezTo>
                  <a:pt x="762" y="360"/>
                  <a:pt x="762" y="364"/>
                  <a:pt x="761" y="364"/>
                </a:cubicBezTo>
                <a:cubicBezTo>
                  <a:pt x="760" y="365"/>
                  <a:pt x="759" y="362"/>
                  <a:pt x="760" y="362"/>
                </a:cubicBezTo>
                <a:close/>
                <a:moveTo>
                  <a:pt x="758" y="333"/>
                </a:moveTo>
                <a:cubicBezTo>
                  <a:pt x="757" y="333"/>
                  <a:pt x="757" y="332"/>
                  <a:pt x="757" y="331"/>
                </a:cubicBezTo>
                <a:cubicBezTo>
                  <a:pt x="759" y="330"/>
                  <a:pt x="760" y="334"/>
                  <a:pt x="758" y="333"/>
                </a:cubicBezTo>
                <a:close/>
                <a:moveTo>
                  <a:pt x="757" y="305"/>
                </a:moveTo>
                <a:cubicBezTo>
                  <a:pt x="757" y="307"/>
                  <a:pt x="757" y="308"/>
                  <a:pt x="757" y="309"/>
                </a:cubicBezTo>
                <a:cubicBezTo>
                  <a:pt x="756" y="308"/>
                  <a:pt x="756" y="306"/>
                  <a:pt x="757" y="305"/>
                </a:cubicBezTo>
                <a:close/>
                <a:moveTo>
                  <a:pt x="756" y="312"/>
                </a:moveTo>
                <a:cubicBezTo>
                  <a:pt x="759" y="315"/>
                  <a:pt x="754" y="316"/>
                  <a:pt x="756" y="312"/>
                </a:cubicBezTo>
                <a:close/>
                <a:moveTo>
                  <a:pt x="755" y="427"/>
                </a:moveTo>
                <a:cubicBezTo>
                  <a:pt x="753" y="425"/>
                  <a:pt x="756" y="426"/>
                  <a:pt x="755" y="427"/>
                </a:cubicBezTo>
                <a:close/>
                <a:moveTo>
                  <a:pt x="754" y="387"/>
                </a:moveTo>
                <a:cubicBezTo>
                  <a:pt x="752" y="388"/>
                  <a:pt x="750" y="384"/>
                  <a:pt x="752" y="382"/>
                </a:cubicBezTo>
                <a:cubicBezTo>
                  <a:pt x="754" y="380"/>
                  <a:pt x="755" y="386"/>
                  <a:pt x="754" y="387"/>
                </a:cubicBezTo>
                <a:close/>
                <a:moveTo>
                  <a:pt x="754" y="326"/>
                </a:moveTo>
                <a:cubicBezTo>
                  <a:pt x="754" y="324"/>
                  <a:pt x="754" y="328"/>
                  <a:pt x="754" y="326"/>
                </a:cubicBezTo>
                <a:close/>
                <a:moveTo>
                  <a:pt x="754" y="307"/>
                </a:moveTo>
                <a:cubicBezTo>
                  <a:pt x="755" y="308"/>
                  <a:pt x="753" y="309"/>
                  <a:pt x="754" y="307"/>
                </a:cubicBezTo>
                <a:close/>
                <a:moveTo>
                  <a:pt x="752" y="301"/>
                </a:moveTo>
                <a:cubicBezTo>
                  <a:pt x="751" y="299"/>
                  <a:pt x="754" y="299"/>
                  <a:pt x="752" y="301"/>
                </a:cubicBezTo>
                <a:close/>
                <a:moveTo>
                  <a:pt x="752" y="350"/>
                </a:moveTo>
                <a:cubicBezTo>
                  <a:pt x="753" y="351"/>
                  <a:pt x="753" y="355"/>
                  <a:pt x="752" y="356"/>
                </a:cubicBezTo>
                <a:cubicBezTo>
                  <a:pt x="752" y="354"/>
                  <a:pt x="752" y="352"/>
                  <a:pt x="752" y="350"/>
                </a:cubicBezTo>
                <a:close/>
                <a:moveTo>
                  <a:pt x="751" y="362"/>
                </a:moveTo>
                <a:cubicBezTo>
                  <a:pt x="751" y="361"/>
                  <a:pt x="751" y="361"/>
                  <a:pt x="751" y="360"/>
                </a:cubicBezTo>
                <a:cubicBezTo>
                  <a:pt x="752" y="360"/>
                  <a:pt x="752" y="362"/>
                  <a:pt x="751" y="362"/>
                </a:cubicBezTo>
                <a:close/>
                <a:moveTo>
                  <a:pt x="751" y="307"/>
                </a:moveTo>
                <a:cubicBezTo>
                  <a:pt x="752" y="306"/>
                  <a:pt x="750" y="309"/>
                  <a:pt x="751" y="307"/>
                </a:cubicBezTo>
                <a:close/>
                <a:moveTo>
                  <a:pt x="751" y="340"/>
                </a:moveTo>
                <a:cubicBezTo>
                  <a:pt x="750" y="341"/>
                  <a:pt x="750" y="339"/>
                  <a:pt x="750" y="339"/>
                </a:cubicBezTo>
                <a:cubicBezTo>
                  <a:pt x="751" y="338"/>
                  <a:pt x="751" y="340"/>
                  <a:pt x="751" y="340"/>
                </a:cubicBezTo>
                <a:close/>
                <a:moveTo>
                  <a:pt x="748" y="303"/>
                </a:moveTo>
                <a:cubicBezTo>
                  <a:pt x="750" y="301"/>
                  <a:pt x="752" y="307"/>
                  <a:pt x="750" y="307"/>
                </a:cubicBezTo>
                <a:cubicBezTo>
                  <a:pt x="748" y="307"/>
                  <a:pt x="748" y="304"/>
                  <a:pt x="748" y="303"/>
                </a:cubicBezTo>
                <a:close/>
                <a:moveTo>
                  <a:pt x="747" y="306"/>
                </a:moveTo>
                <a:cubicBezTo>
                  <a:pt x="746" y="307"/>
                  <a:pt x="745" y="306"/>
                  <a:pt x="747" y="306"/>
                </a:cubicBezTo>
                <a:close/>
                <a:moveTo>
                  <a:pt x="745" y="301"/>
                </a:moveTo>
                <a:cubicBezTo>
                  <a:pt x="746" y="300"/>
                  <a:pt x="746" y="303"/>
                  <a:pt x="745" y="303"/>
                </a:cubicBezTo>
                <a:cubicBezTo>
                  <a:pt x="744" y="302"/>
                  <a:pt x="745" y="301"/>
                  <a:pt x="745" y="301"/>
                </a:cubicBezTo>
                <a:close/>
                <a:moveTo>
                  <a:pt x="745" y="332"/>
                </a:moveTo>
                <a:cubicBezTo>
                  <a:pt x="746" y="331"/>
                  <a:pt x="747" y="331"/>
                  <a:pt x="747" y="333"/>
                </a:cubicBezTo>
                <a:cubicBezTo>
                  <a:pt x="747" y="335"/>
                  <a:pt x="744" y="345"/>
                  <a:pt x="744" y="345"/>
                </a:cubicBezTo>
                <a:cubicBezTo>
                  <a:pt x="742" y="345"/>
                  <a:pt x="744" y="341"/>
                  <a:pt x="744" y="340"/>
                </a:cubicBezTo>
                <a:cubicBezTo>
                  <a:pt x="745" y="338"/>
                  <a:pt x="743" y="333"/>
                  <a:pt x="745" y="332"/>
                </a:cubicBezTo>
                <a:close/>
                <a:moveTo>
                  <a:pt x="743" y="354"/>
                </a:moveTo>
                <a:cubicBezTo>
                  <a:pt x="744" y="353"/>
                  <a:pt x="742" y="355"/>
                  <a:pt x="743" y="354"/>
                </a:cubicBezTo>
                <a:close/>
                <a:moveTo>
                  <a:pt x="740" y="293"/>
                </a:moveTo>
                <a:cubicBezTo>
                  <a:pt x="739" y="293"/>
                  <a:pt x="740" y="292"/>
                  <a:pt x="740" y="292"/>
                </a:cubicBezTo>
                <a:cubicBezTo>
                  <a:pt x="741" y="291"/>
                  <a:pt x="741" y="294"/>
                  <a:pt x="740" y="293"/>
                </a:cubicBezTo>
                <a:close/>
                <a:moveTo>
                  <a:pt x="741" y="324"/>
                </a:moveTo>
                <a:cubicBezTo>
                  <a:pt x="742" y="322"/>
                  <a:pt x="742" y="325"/>
                  <a:pt x="741" y="325"/>
                </a:cubicBezTo>
                <a:cubicBezTo>
                  <a:pt x="740" y="325"/>
                  <a:pt x="741" y="324"/>
                  <a:pt x="741" y="324"/>
                </a:cubicBezTo>
                <a:close/>
                <a:moveTo>
                  <a:pt x="740" y="339"/>
                </a:moveTo>
                <a:cubicBezTo>
                  <a:pt x="741" y="338"/>
                  <a:pt x="741" y="340"/>
                  <a:pt x="741" y="340"/>
                </a:cubicBezTo>
                <a:cubicBezTo>
                  <a:pt x="740" y="341"/>
                  <a:pt x="740" y="340"/>
                  <a:pt x="740" y="339"/>
                </a:cubicBezTo>
                <a:close/>
                <a:moveTo>
                  <a:pt x="740" y="360"/>
                </a:moveTo>
                <a:cubicBezTo>
                  <a:pt x="741" y="361"/>
                  <a:pt x="739" y="362"/>
                  <a:pt x="740" y="360"/>
                </a:cubicBezTo>
                <a:close/>
                <a:moveTo>
                  <a:pt x="739" y="374"/>
                </a:moveTo>
                <a:cubicBezTo>
                  <a:pt x="739" y="374"/>
                  <a:pt x="739" y="376"/>
                  <a:pt x="739" y="376"/>
                </a:cubicBezTo>
                <a:cubicBezTo>
                  <a:pt x="739" y="375"/>
                  <a:pt x="739" y="375"/>
                  <a:pt x="739" y="374"/>
                </a:cubicBezTo>
                <a:close/>
                <a:moveTo>
                  <a:pt x="737" y="379"/>
                </a:moveTo>
                <a:cubicBezTo>
                  <a:pt x="739" y="380"/>
                  <a:pt x="737" y="382"/>
                  <a:pt x="737" y="384"/>
                </a:cubicBezTo>
                <a:cubicBezTo>
                  <a:pt x="737" y="382"/>
                  <a:pt x="736" y="383"/>
                  <a:pt x="735" y="382"/>
                </a:cubicBezTo>
                <a:cubicBezTo>
                  <a:pt x="733" y="381"/>
                  <a:pt x="736" y="377"/>
                  <a:pt x="737" y="379"/>
                </a:cubicBezTo>
                <a:close/>
                <a:moveTo>
                  <a:pt x="735" y="354"/>
                </a:moveTo>
                <a:cubicBezTo>
                  <a:pt x="733" y="353"/>
                  <a:pt x="735" y="352"/>
                  <a:pt x="735" y="354"/>
                </a:cubicBezTo>
                <a:close/>
                <a:moveTo>
                  <a:pt x="734" y="314"/>
                </a:moveTo>
                <a:cubicBezTo>
                  <a:pt x="734" y="313"/>
                  <a:pt x="735" y="314"/>
                  <a:pt x="735" y="314"/>
                </a:cubicBezTo>
                <a:cubicBezTo>
                  <a:pt x="735" y="315"/>
                  <a:pt x="734" y="315"/>
                  <a:pt x="734" y="314"/>
                </a:cubicBezTo>
                <a:close/>
                <a:moveTo>
                  <a:pt x="733" y="313"/>
                </a:moveTo>
                <a:cubicBezTo>
                  <a:pt x="734" y="313"/>
                  <a:pt x="733" y="314"/>
                  <a:pt x="733" y="314"/>
                </a:cubicBezTo>
                <a:cubicBezTo>
                  <a:pt x="732" y="314"/>
                  <a:pt x="733" y="313"/>
                  <a:pt x="733" y="313"/>
                </a:cubicBezTo>
                <a:close/>
                <a:moveTo>
                  <a:pt x="734" y="322"/>
                </a:moveTo>
                <a:cubicBezTo>
                  <a:pt x="734" y="323"/>
                  <a:pt x="733" y="322"/>
                  <a:pt x="733" y="321"/>
                </a:cubicBezTo>
                <a:cubicBezTo>
                  <a:pt x="733" y="320"/>
                  <a:pt x="734" y="321"/>
                  <a:pt x="734" y="322"/>
                </a:cubicBezTo>
                <a:close/>
                <a:moveTo>
                  <a:pt x="731" y="420"/>
                </a:moveTo>
                <a:cubicBezTo>
                  <a:pt x="732" y="418"/>
                  <a:pt x="730" y="422"/>
                  <a:pt x="731" y="420"/>
                </a:cubicBezTo>
                <a:close/>
                <a:moveTo>
                  <a:pt x="731" y="303"/>
                </a:moveTo>
                <a:cubicBezTo>
                  <a:pt x="729" y="302"/>
                  <a:pt x="731" y="301"/>
                  <a:pt x="731" y="303"/>
                </a:cubicBezTo>
                <a:close/>
                <a:moveTo>
                  <a:pt x="731" y="305"/>
                </a:moveTo>
                <a:cubicBezTo>
                  <a:pt x="731" y="305"/>
                  <a:pt x="729" y="305"/>
                  <a:pt x="729" y="305"/>
                </a:cubicBezTo>
                <a:cubicBezTo>
                  <a:pt x="729" y="304"/>
                  <a:pt x="732" y="304"/>
                  <a:pt x="731" y="305"/>
                </a:cubicBezTo>
                <a:close/>
                <a:moveTo>
                  <a:pt x="729" y="318"/>
                </a:moveTo>
                <a:cubicBezTo>
                  <a:pt x="729" y="317"/>
                  <a:pt x="730" y="319"/>
                  <a:pt x="730" y="320"/>
                </a:cubicBezTo>
                <a:cubicBezTo>
                  <a:pt x="729" y="320"/>
                  <a:pt x="729" y="319"/>
                  <a:pt x="729" y="318"/>
                </a:cubicBezTo>
                <a:close/>
                <a:moveTo>
                  <a:pt x="724" y="299"/>
                </a:moveTo>
                <a:cubicBezTo>
                  <a:pt x="724" y="299"/>
                  <a:pt x="724" y="299"/>
                  <a:pt x="724" y="299"/>
                </a:cubicBezTo>
                <a:cubicBezTo>
                  <a:pt x="724" y="299"/>
                  <a:pt x="724" y="299"/>
                  <a:pt x="724" y="299"/>
                </a:cubicBezTo>
                <a:cubicBezTo>
                  <a:pt x="724" y="299"/>
                  <a:pt x="724" y="299"/>
                  <a:pt x="724" y="299"/>
                </a:cubicBezTo>
                <a:close/>
                <a:moveTo>
                  <a:pt x="728" y="307"/>
                </a:moveTo>
                <a:cubicBezTo>
                  <a:pt x="728" y="306"/>
                  <a:pt x="728" y="309"/>
                  <a:pt x="728" y="307"/>
                </a:cubicBezTo>
                <a:close/>
                <a:moveTo>
                  <a:pt x="727" y="323"/>
                </a:moveTo>
                <a:cubicBezTo>
                  <a:pt x="727" y="322"/>
                  <a:pt x="726" y="324"/>
                  <a:pt x="727" y="323"/>
                </a:cubicBezTo>
                <a:close/>
                <a:moveTo>
                  <a:pt x="725" y="462"/>
                </a:moveTo>
                <a:cubicBezTo>
                  <a:pt x="725" y="463"/>
                  <a:pt x="723" y="463"/>
                  <a:pt x="724" y="462"/>
                </a:cubicBezTo>
                <a:cubicBezTo>
                  <a:pt x="724" y="461"/>
                  <a:pt x="725" y="462"/>
                  <a:pt x="725" y="462"/>
                </a:cubicBezTo>
                <a:close/>
                <a:moveTo>
                  <a:pt x="725" y="403"/>
                </a:moveTo>
                <a:cubicBezTo>
                  <a:pt x="724" y="405"/>
                  <a:pt x="725" y="402"/>
                  <a:pt x="725" y="403"/>
                </a:cubicBezTo>
                <a:close/>
                <a:moveTo>
                  <a:pt x="724" y="379"/>
                </a:moveTo>
                <a:cubicBezTo>
                  <a:pt x="724" y="380"/>
                  <a:pt x="723" y="379"/>
                  <a:pt x="723" y="379"/>
                </a:cubicBezTo>
                <a:cubicBezTo>
                  <a:pt x="723" y="379"/>
                  <a:pt x="725" y="379"/>
                  <a:pt x="724" y="379"/>
                </a:cubicBezTo>
                <a:close/>
                <a:moveTo>
                  <a:pt x="721" y="336"/>
                </a:moveTo>
                <a:cubicBezTo>
                  <a:pt x="722" y="335"/>
                  <a:pt x="722" y="339"/>
                  <a:pt x="721" y="338"/>
                </a:cubicBezTo>
                <a:cubicBezTo>
                  <a:pt x="720" y="338"/>
                  <a:pt x="721" y="336"/>
                  <a:pt x="721" y="336"/>
                </a:cubicBezTo>
                <a:close/>
                <a:moveTo>
                  <a:pt x="719" y="366"/>
                </a:moveTo>
                <a:cubicBezTo>
                  <a:pt x="721" y="365"/>
                  <a:pt x="718" y="368"/>
                  <a:pt x="719" y="366"/>
                </a:cubicBezTo>
                <a:cubicBezTo>
                  <a:pt x="719" y="366"/>
                  <a:pt x="719" y="366"/>
                  <a:pt x="719" y="366"/>
                </a:cubicBezTo>
                <a:close/>
                <a:moveTo>
                  <a:pt x="708" y="263"/>
                </a:moveTo>
                <a:cubicBezTo>
                  <a:pt x="708" y="261"/>
                  <a:pt x="709" y="265"/>
                  <a:pt x="708" y="264"/>
                </a:cubicBezTo>
                <a:cubicBezTo>
                  <a:pt x="707" y="263"/>
                  <a:pt x="707" y="263"/>
                  <a:pt x="708" y="263"/>
                </a:cubicBezTo>
                <a:close/>
                <a:moveTo>
                  <a:pt x="707" y="258"/>
                </a:moveTo>
                <a:cubicBezTo>
                  <a:pt x="708" y="257"/>
                  <a:pt x="707" y="260"/>
                  <a:pt x="706" y="260"/>
                </a:cubicBezTo>
                <a:cubicBezTo>
                  <a:pt x="705" y="259"/>
                  <a:pt x="707" y="258"/>
                  <a:pt x="707" y="258"/>
                </a:cubicBezTo>
                <a:close/>
                <a:moveTo>
                  <a:pt x="681" y="522"/>
                </a:moveTo>
                <a:cubicBezTo>
                  <a:pt x="680" y="522"/>
                  <a:pt x="680" y="521"/>
                  <a:pt x="681" y="521"/>
                </a:cubicBezTo>
                <a:cubicBezTo>
                  <a:pt x="682" y="519"/>
                  <a:pt x="682" y="523"/>
                  <a:pt x="681" y="522"/>
                </a:cubicBezTo>
                <a:close/>
                <a:moveTo>
                  <a:pt x="682" y="440"/>
                </a:moveTo>
                <a:cubicBezTo>
                  <a:pt x="681" y="440"/>
                  <a:pt x="681" y="439"/>
                  <a:pt x="682" y="438"/>
                </a:cubicBezTo>
                <a:cubicBezTo>
                  <a:pt x="683" y="436"/>
                  <a:pt x="684" y="441"/>
                  <a:pt x="682" y="440"/>
                </a:cubicBezTo>
                <a:close/>
                <a:moveTo>
                  <a:pt x="682" y="375"/>
                </a:moveTo>
                <a:cubicBezTo>
                  <a:pt x="682" y="374"/>
                  <a:pt x="683" y="374"/>
                  <a:pt x="683" y="372"/>
                </a:cubicBezTo>
                <a:cubicBezTo>
                  <a:pt x="684" y="373"/>
                  <a:pt x="683" y="375"/>
                  <a:pt x="682" y="375"/>
                </a:cubicBezTo>
                <a:close/>
                <a:moveTo>
                  <a:pt x="684" y="296"/>
                </a:moveTo>
                <a:cubicBezTo>
                  <a:pt x="685" y="295"/>
                  <a:pt x="685" y="297"/>
                  <a:pt x="684" y="297"/>
                </a:cubicBezTo>
                <a:cubicBezTo>
                  <a:pt x="684" y="297"/>
                  <a:pt x="684" y="296"/>
                  <a:pt x="684" y="296"/>
                </a:cubicBezTo>
                <a:close/>
                <a:moveTo>
                  <a:pt x="685" y="292"/>
                </a:moveTo>
                <a:cubicBezTo>
                  <a:pt x="686" y="292"/>
                  <a:pt x="683" y="293"/>
                  <a:pt x="685" y="292"/>
                </a:cubicBezTo>
                <a:close/>
                <a:moveTo>
                  <a:pt x="683" y="302"/>
                </a:moveTo>
                <a:cubicBezTo>
                  <a:pt x="683" y="302"/>
                  <a:pt x="684" y="301"/>
                  <a:pt x="684" y="301"/>
                </a:cubicBezTo>
                <a:cubicBezTo>
                  <a:pt x="684" y="301"/>
                  <a:pt x="683" y="302"/>
                  <a:pt x="683" y="302"/>
                </a:cubicBezTo>
                <a:close/>
                <a:moveTo>
                  <a:pt x="685" y="376"/>
                </a:moveTo>
                <a:cubicBezTo>
                  <a:pt x="684" y="375"/>
                  <a:pt x="685" y="372"/>
                  <a:pt x="685" y="372"/>
                </a:cubicBezTo>
                <a:cubicBezTo>
                  <a:pt x="688" y="370"/>
                  <a:pt x="688" y="377"/>
                  <a:pt x="685" y="376"/>
                </a:cubicBezTo>
                <a:close/>
                <a:moveTo>
                  <a:pt x="685" y="360"/>
                </a:moveTo>
                <a:cubicBezTo>
                  <a:pt x="685" y="358"/>
                  <a:pt x="686" y="361"/>
                  <a:pt x="685" y="361"/>
                </a:cubicBezTo>
                <a:cubicBezTo>
                  <a:pt x="684" y="360"/>
                  <a:pt x="685" y="360"/>
                  <a:pt x="685" y="360"/>
                </a:cubicBezTo>
                <a:close/>
                <a:moveTo>
                  <a:pt x="689" y="346"/>
                </a:moveTo>
                <a:cubicBezTo>
                  <a:pt x="687" y="346"/>
                  <a:pt x="688" y="344"/>
                  <a:pt x="688" y="344"/>
                </a:cubicBezTo>
                <a:cubicBezTo>
                  <a:pt x="689" y="342"/>
                  <a:pt x="690" y="347"/>
                  <a:pt x="689" y="346"/>
                </a:cubicBezTo>
                <a:close/>
                <a:moveTo>
                  <a:pt x="689" y="333"/>
                </a:moveTo>
                <a:cubicBezTo>
                  <a:pt x="689" y="334"/>
                  <a:pt x="688" y="331"/>
                  <a:pt x="689" y="333"/>
                </a:cubicBezTo>
                <a:close/>
                <a:moveTo>
                  <a:pt x="690" y="370"/>
                </a:moveTo>
                <a:cubicBezTo>
                  <a:pt x="692" y="367"/>
                  <a:pt x="693" y="373"/>
                  <a:pt x="691" y="372"/>
                </a:cubicBezTo>
                <a:cubicBezTo>
                  <a:pt x="690" y="372"/>
                  <a:pt x="690" y="370"/>
                  <a:pt x="690" y="370"/>
                </a:cubicBezTo>
                <a:close/>
                <a:moveTo>
                  <a:pt x="690" y="322"/>
                </a:moveTo>
                <a:cubicBezTo>
                  <a:pt x="689" y="323"/>
                  <a:pt x="692" y="320"/>
                  <a:pt x="690" y="322"/>
                </a:cubicBezTo>
                <a:close/>
                <a:moveTo>
                  <a:pt x="691" y="405"/>
                </a:moveTo>
                <a:cubicBezTo>
                  <a:pt x="690" y="403"/>
                  <a:pt x="693" y="403"/>
                  <a:pt x="693" y="402"/>
                </a:cubicBezTo>
                <a:cubicBezTo>
                  <a:pt x="693" y="403"/>
                  <a:pt x="692" y="404"/>
                  <a:pt x="691" y="405"/>
                </a:cubicBezTo>
                <a:close/>
                <a:moveTo>
                  <a:pt x="694" y="441"/>
                </a:moveTo>
                <a:cubicBezTo>
                  <a:pt x="694" y="440"/>
                  <a:pt x="695" y="439"/>
                  <a:pt x="695" y="438"/>
                </a:cubicBezTo>
                <a:cubicBezTo>
                  <a:pt x="696" y="439"/>
                  <a:pt x="695" y="441"/>
                  <a:pt x="694" y="441"/>
                </a:cubicBezTo>
                <a:close/>
                <a:moveTo>
                  <a:pt x="695" y="391"/>
                </a:moveTo>
                <a:cubicBezTo>
                  <a:pt x="695" y="391"/>
                  <a:pt x="695" y="390"/>
                  <a:pt x="695" y="390"/>
                </a:cubicBezTo>
                <a:cubicBezTo>
                  <a:pt x="696" y="389"/>
                  <a:pt x="696" y="392"/>
                  <a:pt x="695" y="391"/>
                </a:cubicBezTo>
                <a:close/>
                <a:moveTo>
                  <a:pt x="701" y="315"/>
                </a:moveTo>
                <a:cubicBezTo>
                  <a:pt x="701" y="316"/>
                  <a:pt x="700" y="317"/>
                  <a:pt x="699" y="316"/>
                </a:cubicBezTo>
                <a:cubicBezTo>
                  <a:pt x="698" y="316"/>
                  <a:pt x="700" y="313"/>
                  <a:pt x="701" y="315"/>
                </a:cubicBezTo>
                <a:close/>
                <a:moveTo>
                  <a:pt x="699" y="398"/>
                </a:moveTo>
                <a:cubicBezTo>
                  <a:pt x="700" y="397"/>
                  <a:pt x="699" y="399"/>
                  <a:pt x="699" y="398"/>
                </a:cubicBezTo>
                <a:close/>
                <a:moveTo>
                  <a:pt x="701" y="369"/>
                </a:moveTo>
                <a:cubicBezTo>
                  <a:pt x="700" y="369"/>
                  <a:pt x="700" y="367"/>
                  <a:pt x="701" y="367"/>
                </a:cubicBezTo>
                <a:cubicBezTo>
                  <a:pt x="702" y="365"/>
                  <a:pt x="703" y="370"/>
                  <a:pt x="701" y="369"/>
                </a:cubicBezTo>
                <a:close/>
                <a:moveTo>
                  <a:pt x="702" y="351"/>
                </a:moveTo>
                <a:cubicBezTo>
                  <a:pt x="701" y="351"/>
                  <a:pt x="702" y="350"/>
                  <a:pt x="702" y="350"/>
                </a:cubicBezTo>
                <a:cubicBezTo>
                  <a:pt x="703" y="348"/>
                  <a:pt x="703" y="351"/>
                  <a:pt x="702" y="351"/>
                </a:cubicBezTo>
                <a:close/>
                <a:moveTo>
                  <a:pt x="699" y="334"/>
                </a:moveTo>
                <a:cubicBezTo>
                  <a:pt x="700" y="330"/>
                  <a:pt x="702" y="327"/>
                  <a:pt x="704" y="325"/>
                </a:cubicBezTo>
                <a:cubicBezTo>
                  <a:pt x="703" y="328"/>
                  <a:pt x="702" y="331"/>
                  <a:pt x="699" y="334"/>
                </a:cubicBezTo>
                <a:close/>
                <a:moveTo>
                  <a:pt x="704" y="313"/>
                </a:moveTo>
                <a:cubicBezTo>
                  <a:pt x="704" y="315"/>
                  <a:pt x="705" y="312"/>
                  <a:pt x="704" y="313"/>
                </a:cubicBezTo>
                <a:close/>
                <a:moveTo>
                  <a:pt x="711" y="404"/>
                </a:moveTo>
                <a:cubicBezTo>
                  <a:pt x="710" y="404"/>
                  <a:pt x="710" y="402"/>
                  <a:pt x="710" y="402"/>
                </a:cubicBezTo>
                <a:cubicBezTo>
                  <a:pt x="712" y="401"/>
                  <a:pt x="712" y="404"/>
                  <a:pt x="711" y="404"/>
                </a:cubicBezTo>
                <a:close/>
                <a:moveTo>
                  <a:pt x="709" y="371"/>
                </a:moveTo>
                <a:cubicBezTo>
                  <a:pt x="706" y="370"/>
                  <a:pt x="708" y="365"/>
                  <a:pt x="709" y="365"/>
                </a:cubicBezTo>
                <a:cubicBezTo>
                  <a:pt x="713" y="362"/>
                  <a:pt x="713" y="372"/>
                  <a:pt x="709" y="371"/>
                </a:cubicBezTo>
                <a:close/>
                <a:moveTo>
                  <a:pt x="710" y="346"/>
                </a:moveTo>
                <a:cubicBezTo>
                  <a:pt x="711" y="345"/>
                  <a:pt x="712" y="347"/>
                  <a:pt x="710" y="347"/>
                </a:cubicBezTo>
                <a:cubicBezTo>
                  <a:pt x="709" y="347"/>
                  <a:pt x="710" y="346"/>
                  <a:pt x="710" y="346"/>
                </a:cubicBezTo>
                <a:close/>
                <a:moveTo>
                  <a:pt x="715" y="399"/>
                </a:moveTo>
                <a:cubicBezTo>
                  <a:pt x="714" y="399"/>
                  <a:pt x="714" y="397"/>
                  <a:pt x="716" y="397"/>
                </a:cubicBezTo>
                <a:cubicBezTo>
                  <a:pt x="716" y="398"/>
                  <a:pt x="715" y="398"/>
                  <a:pt x="715" y="399"/>
                </a:cubicBezTo>
                <a:close/>
                <a:moveTo>
                  <a:pt x="715" y="361"/>
                </a:moveTo>
                <a:cubicBezTo>
                  <a:pt x="716" y="359"/>
                  <a:pt x="716" y="364"/>
                  <a:pt x="715" y="363"/>
                </a:cubicBezTo>
                <a:cubicBezTo>
                  <a:pt x="714" y="363"/>
                  <a:pt x="715" y="361"/>
                  <a:pt x="715" y="361"/>
                </a:cubicBezTo>
                <a:close/>
                <a:moveTo>
                  <a:pt x="715" y="292"/>
                </a:moveTo>
                <a:cubicBezTo>
                  <a:pt x="715" y="292"/>
                  <a:pt x="714" y="295"/>
                  <a:pt x="714" y="294"/>
                </a:cubicBezTo>
                <a:cubicBezTo>
                  <a:pt x="713" y="292"/>
                  <a:pt x="714" y="291"/>
                  <a:pt x="715" y="292"/>
                </a:cubicBezTo>
                <a:close/>
                <a:moveTo>
                  <a:pt x="713" y="290"/>
                </a:moveTo>
                <a:cubicBezTo>
                  <a:pt x="714" y="289"/>
                  <a:pt x="714" y="291"/>
                  <a:pt x="714" y="291"/>
                </a:cubicBezTo>
                <a:cubicBezTo>
                  <a:pt x="713" y="291"/>
                  <a:pt x="713" y="291"/>
                  <a:pt x="713" y="290"/>
                </a:cubicBezTo>
                <a:close/>
                <a:moveTo>
                  <a:pt x="712" y="297"/>
                </a:moveTo>
                <a:cubicBezTo>
                  <a:pt x="714" y="293"/>
                  <a:pt x="718" y="302"/>
                  <a:pt x="714" y="304"/>
                </a:cubicBezTo>
                <a:cubicBezTo>
                  <a:pt x="715" y="300"/>
                  <a:pt x="712" y="301"/>
                  <a:pt x="711" y="300"/>
                </a:cubicBezTo>
                <a:cubicBezTo>
                  <a:pt x="711" y="300"/>
                  <a:pt x="711" y="297"/>
                  <a:pt x="712" y="297"/>
                </a:cubicBezTo>
                <a:close/>
                <a:moveTo>
                  <a:pt x="710" y="332"/>
                </a:moveTo>
                <a:cubicBezTo>
                  <a:pt x="711" y="330"/>
                  <a:pt x="709" y="333"/>
                  <a:pt x="710" y="332"/>
                </a:cubicBezTo>
                <a:close/>
                <a:moveTo>
                  <a:pt x="710" y="338"/>
                </a:moveTo>
                <a:cubicBezTo>
                  <a:pt x="712" y="338"/>
                  <a:pt x="714" y="337"/>
                  <a:pt x="714" y="340"/>
                </a:cubicBezTo>
                <a:cubicBezTo>
                  <a:pt x="714" y="342"/>
                  <a:pt x="713" y="341"/>
                  <a:pt x="712" y="343"/>
                </a:cubicBezTo>
                <a:cubicBezTo>
                  <a:pt x="711" y="344"/>
                  <a:pt x="712" y="345"/>
                  <a:pt x="710" y="345"/>
                </a:cubicBezTo>
                <a:cubicBezTo>
                  <a:pt x="706" y="346"/>
                  <a:pt x="707" y="339"/>
                  <a:pt x="710" y="338"/>
                </a:cubicBezTo>
                <a:close/>
                <a:moveTo>
                  <a:pt x="707" y="289"/>
                </a:moveTo>
                <a:cubicBezTo>
                  <a:pt x="707" y="291"/>
                  <a:pt x="706" y="289"/>
                  <a:pt x="707" y="289"/>
                </a:cubicBezTo>
                <a:close/>
                <a:moveTo>
                  <a:pt x="706" y="334"/>
                </a:moveTo>
                <a:cubicBezTo>
                  <a:pt x="704" y="334"/>
                  <a:pt x="705" y="332"/>
                  <a:pt x="706" y="331"/>
                </a:cubicBezTo>
                <a:cubicBezTo>
                  <a:pt x="708" y="330"/>
                  <a:pt x="708" y="335"/>
                  <a:pt x="706" y="334"/>
                </a:cubicBezTo>
                <a:close/>
                <a:moveTo>
                  <a:pt x="706" y="318"/>
                </a:moveTo>
                <a:cubicBezTo>
                  <a:pt x="707" y="318"/>
                  <a:pt x="706" y="323"/>
                  <a:pt x="705" y="324"/>
                </a:cubicBezTo>
                <a:cubicBezTo>
                  <a:pt x="704" y="322"/>
                  <a:pt x="705" y="319"/>
                  <a:pt x="706" y="318"/>
                </a:cubicBezTo>
                <a:close/>
                <a:moveTo>
                  <a:pt x="704" y="271"/>
                </a:moveTo>
                <a:cubicBezTo>
                  <a:pt x="704" y="270"/>
                  <a:pt x="703" y="273"/>
                  <a:pt x="704" y="271"/>
                </a:cubicBezTo>
                <a:close/>
                <a:moveTo>
                  <a:pt x="704" y="275"/>
                </a:moveTo>
                <a:cubicBezTo>
                  <a:pt x="704" y="277"/>
                  <a:pt x="702" y="280"/>
                  <a:pt x="700" y="282"/>
                </a:cubicBezTo>
                <a:cubicBezTo>
                  <a:pt x="700" y="279"/>
                  <a:pt x="703" y="278"/>
                  <a:pt x="704" y="275"/>
                </a:cubicBezTo>
                <a:close/>
                <a:moveTo>
                  <a:pt x="702" y="287"/>
                </a:moveTo>
                <a:cubicBezTo>
                  <a:pt x="702" y="287"/>
                  <a:pt x="701" y="288"/>
                  <a:pt x="702" y="287"/>
                </a:cubicBezTo>
                <a:cubicBezTo>
                  <a:pt x="702" y="287"/>
                  <a:pt x="702" y="287"/>
                  <a:pt x="702" y="287"/>
                </a:cubicBezTo>
                <a:close/>
                <a:moveTo>
                  <a:pt x="701" y="289"/>
                </a:moveTo>
                <a:cubicBezTo>
                  <a:pt x="701" y="291"/>
                  <a:pt x="699" y="290"/>
                  <a:pt x="701" y="289"/>
                </a:cubicBezTo>
                <a:close/>
                <a:moveTo>
                  <a:pt x="700" y="254"/>
                </a:moveTo>
                <a:cubicBezTo>
                  <a:pt x="699" y="256"/>
                  <a:pt x="700" y="253"/>
                  <a:pt x="700" y="254"/>
                </a:cubicBezTo>
                <a:close/>
                <a:moveTo>
                  <a:pt x="699" y="257"/>
                </a:moveTo>
                <a:cubicBezTo>
                  <a:pt x="699" y="257"/>
                  <a:pt x="699" y="258"/>
                  <a:pt x="698" y="258"/>
                </a:cubicBezTo>
                <a:cubicBezTo>
                  <a:pt x="698" y="258"/>
                  <a:pt x="698" y="258"/>
                  <a:pt x="698" y="258"/>
                </a:cubicBezTo>
                <a:cubicBezTo>
                  <a:pt x="698" y="258"/>
                  <a:pt x="699" y="258"/>
                  <a:pt x="699" y="257"/>
                </a:cubicBezTo>
                <a:close/>
                <a:moveTo>
                  <a:pt x="698" y="308"/>
                </a:moveTo>
                <a:cubicBezTo>
                  <a:pt x="698" y="308"/>
                  <a:pt x="700" y="305"/>
                  <a:pt x="700" y="304"/>
                </a:cubicBezTo>
                <a:cubicBezTo>
                  <a:pt x="700" y="303"/>
                  <a:pt x="698" y="304"/>
                  <a:pt x="699" y="302"/>
                </a:cubicBezTo>
                <a:cubicBezTo>
                  <a:pt x="698" y="303"/>
                  <a:pt x="702" y="302"/>
                  <a:pt x="701" y="301"/>
                </a:cubicBezTo>
                <a:cubicBezTo>
                  <a:pt x="702" y="302"/>
                  <a:pt x="702" y="303"/>
                  <a:pt x="701" y="304"/>
                </a:cubicBezTo>
                <a:cubicBezTo>
                  <a:pt x="703" y="304"/>
                  <a:pt x="705" y="304"/>
                  <a:pt x="706" y="306"/>
                </a:cubicBezTo>
                <a:cubicBezTo>
                  <a:pt x="707" y="309"/>
                  <a:pt x="705" y="311"/>
                  <a:pt x="702" y="313"/>
                </a:cubicBezTo>
                <a:cubicBezTo>
                  <a:pt x="702" y="313"/>
                  <a:pt x="702" y="314"/>
                  <a:pt x="702" y="314"/>
                </a:cubicBezTo>
                <a:cubicBezTo>
                  <a:pt x="701" y="314"/>
                  <a:pt x="700" y="311"/>
                  <a:pt x="700" y="311"/>
                </a:cubicBezTo>
                <a:cubicBezTo>
                  <a:pt x="697" y="311"/>
                  <a:pt x="699" y="316"/>
                  <a:pt x="698" y="316"/>
                </a:cubicBezTo>
                <a:cubicBezTo>
                  <a:pt x="695" y="316"/>
                  <a:pt x="697" y="313"/>
                  <a:pt x="697" y="312"/>
                </a:cubicBezTo>
                <a:cubicBezTo>
                  <a:pt x="697" y="310"/>
                  <a:pt x="696" y="310"/>
                  <a:pt x="698" y="308"/>
                </a:cubicBezTo>
                <a:close/>
                <a:moveTo>
                  <a:pt x="696" y="361"/>
                </a:moveTo>
                <a:cubicBezTo>
                  <a:pt x="696" y="360"/>
                  <a:pt x="698" y="361"/>
                  <a:pt x="696" y="361"/>
                </a:cubicBezTo>
                <a:close/>
                <a:moveTo>
                  <a:pt x="697" y="362"/>
                </a:moveTo>
                <a:cubicBezTo>
                  <a:pt x="696" y="364"/>
                  <a:pt x="695" y="363"/>
                  <a:pt x="697" y="362"/>
                </a:cubicBezTo>
                <a:close/>
                <a:moveTo>
                  <a:pt x="696" y="318"/>
                </a:moveTo>
                <a:cubicBezTo>
                  <a:pt x="697" y="316"/>
                  <a:pt x="697" y="318"/>
                  <a:pt x="696" y="319"/>
                </a:cubicBezTo>
                <a:cubicBezTo>
                  <a:pt x="696" y="319"/>
                  <a:pt x="696" y="318"/>
                  <a:pt x="696" y="318"/>
                </a:cubicBezTo>
                <a:close/>
                <a:moveTo>
                  <a:pt x="697" y="376"/>
                </a:moveTo>
                <a:cubicBezTo>
                  <a:pt x="697" y="376"/>
                  <a:pt x="698" y="382"/>
                  <a:pt x="696" y="382"/>
                </a:cubicBezTo>
                <a:cubicBezTo>
                  <a:pt x="694" y="382"/>
                  <a:pt x="694" y="376"/>
                  <a:pt x="697" y="376"/>
                </a:cubicBezTo>
                <a:close/>
                <a:moveTo>
                  <a:pt x="691" y="299"/>
                </a:moveTo>
                <a:cubicBezTo>
                  <a:pt x="692" y="297"/>
                  <a:pt x="692" y="294"/>
                  <a:pt x="695" y="294"/>
                </a:cubicBezTo>
                <a:cubicBezTo>
                  <a:pt x="692" y="300"/>
                  <a:pt x="687" y="306"/>
                  <a:pt x="684" y="312"/>
                </a:cubicBezTo>
                <a:cubicBezTo>
                  <a:pt x="682" y="316"/>
                  <a:pt x="685" y="307"/>
                  <a:pt x="686" y="306"/>
                </a:cubicBezTo>
                <a:cubicBezTo>
                  <a:pt x="687" y="303"/>
                  <a:pt x="690" y="300"/>
                  <a:pt x="691" y="299"/>
                </a:cubicBezTo>
                <a:close/>
                <a:moveTo>
                  <a:pt x="688" y="279"/>
                </a:moveTo>
                <a:cubicBezTo>
                  <a:pt x="689" y="278"/>
                  <a:pt x="689" y="281"/>
                  <a:pt x="689" y="281"/>
                </a:cubicBezTo>
                <a:cubicBezTo>
                  <a:pt x="688" y="281"/>
                  <a:pt x="688" y="280"/>
                  <a:pt x="688" y="279"/>
                </a:cubicBezTo>
                <a:close/>
                <a:moveTo>
                  <a:pt x="687" y="283"/>
                </a:moveTo>
                <a:cubicBezTo>
                  <a:pt x="689" y="281"/>
                  <a:pt x="688" y="285"/>
                  <a:pt x="687" y="284"/>
                </a:cubicBezTo>
                <a:cubicBezTo>
                  <a:pt x="687" y="284"/>
                  <a:pt x="687" y="283"/>
                  <a:pt x="687" y="283"/>
                </a:cubicBezTo>
                <a:close/>
                <a:moveTo>
                  <a:pt x="687" y="286"/>
                </a:moveTo>
                <a:cubicBezTo>
                  <a:pt x="687" y="288"/>
                  <a:pt x="683" y="289"/>
                  <a:pt x="683" y="287"/>
                </a:cubicBezTo>
                <a:cubicBezTo>
                  <a:pt x="682" y="284"/>
                  <a:pt x="688" y="282"/>
                  <a:pt x="687" y="286"/>
                </a:cubicBezTo>
                <a:close/>
                <a:moveTo>
                  <a:pt x="681" y="268"/>
                </a:moveTo>
                <a:cubicBezTo>
                  <a:pt x="680" y="268"/>
                  <a:pt x="682" y="267"/>
                  <a:pt x="681" y="268"/>
                </a:cubicBezTo>
                <a:close/>
                <a:moveTo>
                  <a:pt x="681" y="294"/>
                </a:moveTo>
                <a:cubicBezTo>
                  <a:pt x="681" y="293"/>
                  <a:pt x="681" y="292"/>
                  <a:pt x="682" y="293"/>
                </a:cubicBezTo>
                <a:cubicBezTo>
                  <a:pt x="686" y="296"/>
                  <a:pt x="677" y="297"/>
                  <a:pt x="681" y="294"/>
                </a:cubicBezTo>
                <a:close/>
                <a:moveTo>
                  <a:pt x="662" y="447"/>
                </a:moveTo>
                <a:cubicBezTo>
                  <a:pt x="663" y="446"/>
                  <a:pt x="661" y="449"/>
                  <a:pt x="662" y="447"/>
                </a:cubicBezTo>
                <a:close/>
                <a:moveTo>
                  <a:pt x="670" y="503"/>
                </a:moveTo>
                <a:cubicBezTo>
                  <a:pt x="671" y="502"/>
                  <a:pt x="670" y="504"/>
                  <a:pt x="670" y="503"/>
                </a:cubicBezTo>
                <a:close/>
                <a:moveTo>
                  <a:pt x="674" y="402"/>
                </a:moveTo>
                <a:cubicBezTo>
                  <a:pt x="674" y="401"/>
                  <a:pt x="675" y="401"/>
                  <a:pt x="675" y="400"/>
                </a:cubicBezTo>
                <a:cubicBezTo>
                  <a:pt x="676" y="400"/>
                  <a:pt x="675" y="402"/>
                  <a:pt x="674" y="402"/>
                </a:cubicBezTo>
                <a:close/>
                <a:moveTo>
                  <a:pt x="677" y="399"/>
                </a:moveTo>
                <a:cubicBezTo>
                  <a:pt x="675" y="398"/>
                  <a:pt x="677" y="396"/>
                  <a:pt x="678" y="395"/>
                </a:cubicBezTo>
                <a:cubicBezTo>
                  <a:pt x="678" y="396"/>
                  <a:pt x="676" y="398"/>
                  <a:pt x="677" y="399"/>
                </a:cubicBezTo>
                <a:close/>
                <a:moveTo>
                  <a:pt x="678" y="340"/>
                </a:moveTo>
                <a:cubicBezTo>
                  <a:pt x="679" y="340"/>
                  <a:pt x="677" y="341"/>
                  <a:pt x="678" y="340"/>
                </a:cubicBezTo>
                <a:close/>
                <a:moveTo>
                  <a:pt x="679" y="510"/>
                </a:moveTo>
                <a:cubicBezTo>
                  <a:pt x="678" y="510"/>
                  <a:pt x="678" y="509"/>
                  <a:pt x="679" y="508"/>
                </a:cubicBezTo>
                <a:cubicBezTo>
                  <a:pt x="680" y="507"/>
                  <a:pt x="680" y="510"/>
                  <a:pt x="679" y="510"/>
                </a:cubicBezTo>
                <a:close/>
                <a:moveTo>
                  <a:pt x="679" y="393"/>
                </a:moveTo>
                <a:cubicBezTo>
                  <a:pt x="679" y="392"/>
                  <a:pt x="679" y="392"/>
                  <a:pt x="679" y="391"/>
                </a:cubicBezTo>
                <a:cubicBezTo>
                  <a:pt x="680" y="391"/>
                  <a:pt x="679" y="393"/>
                  <a:pt x="679" y="393"/>
                </a:cubicBezTo>
                <a:close/>
                <a:moveTo>
                  <a:pt x="678" y="281"/>
                </a:moveTo>
                <a:cubicBezTo>
                  <a:pt x="679" y="281"/>
                  <a:pt x="679" y="281"/>
                  <a:pt x="679" y="281"/>
                </a:cubicBezTo>
                <a:cubicBezTo>
                  <a:pt x="679" y="283"/>
                  <a:pt x="677" y="279"/>
                  <a:pt x="678" y="281"/>
                </a:cubicBezTo>
                <a:close/>
                <a:moveTo>
                  <a:pt x="677" y="329"/>
                </a:moveTo>
                <a:cubicBezTo>
                  <a:pt x="675" y="328"/>
                  <a:pt x="676" y="327"/>
                  <a:pt x="676" y="326"/>
                </a:cubicBezTo>
                <a:cubicBezTo>
                  <a:pt x="678" y="324"/>
                  <a:pt x="679" y="329"/>
                  <a:pt x="677" y="329"/>
                </a:cubicBezTo>
                <a:close/>
                <a:moveTo>
                  <a:pt x="676" y="297"/>
                </a:moveTo>
                <a:cubicBezTo>
                  <a:pt x="677" y="295"/>
                  <a:pt x="677" y="299"/>
                  <a:pt x="676" y="298"/>
                </a:cubicBezTo>
                <a:cubicBezTo>
                  <a:pt x="675" y="298"/>
                  <a:pt x="675" y="297"/>
                  <a:pt x="676" y="297"/>
                </a:cubicBezTo>
                <a:close/>
                <a:moveTo>
                  <a:pt x="672" y="331"/>
                </a:moveTo>
                <a:cubicBezTo>
                  <a:pt x="673" y="330"/>
                  <a:pt x="672" y="333"/>
                  <a:pt x="672" y="331"/>
                </a:cubicBezTo>
                <a:close/>
                <a:moveTo>
                  <a:pt x="671" y="297"/>
                </a:moveTo>
                <a:cubicBezTo>
                  <a:pt x="671" y="297"/>
                  <a:pt x="671" y="297"/>
                  <a:pt x="671" y="298"/>
                </a:cubicBezTo>
                <a:cubicBezTo>
                  <a:pt x="670" y="299"/>
                  <a:pt x="671" y="298"/>
                  <a:pt x="671" y="297"/>
                </a:cubicBezTo>
                <a:close/>
                <a:moveTo>
                  <a:pt x="671" y="292"/>
                </a:moveTo>
                <a:cubicBezTo>
                  <a:pt x="670" y="294"/>
                  <a:pt x="669" y="295"/>
                  <a:pt x="667" y="297"/>
                </a:cubicBezTo>
                <a:cubicBezTo>
                  <a:pt x="668" y="295"/>
                  <a:pt x="669" y="293"/>
                  <a:pt x="671" y="292"/>
                </a:cubicBezTo>
                <a:close/>
                <a:moveTo>
                  <a:pt x="669" y="376"/>
                </a:moveTo>
                <a:cubicBezTo>
                  <a:pt x="668" y="375"/>
                  <a:pt x="669" y="374"/>
                  <a:pt x="670" y="374"/>
                </a:cubicBezTo>
                <a:cubicBezTo>
                  <a:pt x="671" y="372"/>
                  <a:pt x="670" y="377"/>
                  <a:pt x="669" y="376"/>
                </a:cubicBezTo>
                <a:close/>
                <a:moveTo>
                  <a:pt x="668" y="309"/>
                </a:moveTo>
                <a:cubicBezTo>
                  <a:pt x="669" y="309"/>
                  <a:pt x="666" y="310"/>
                  <a:pt x="668" y="309"/>
                </a:cubicBezTo>
                <a:close/>
                <a:moveTo>
                  <a:pt x="665" y="407"/>
                </a:moveTo>
                <a:cubicBezTo>
                  <a:pt x="666" y="407"/>
                  <a:pt x="667" y="406"/>
                  <a:pt x="667" y="405"/>
                </a:cubicBezTo>
                <a:cubicBezTo>
                  <a:pt x="669" y="402"/>
                  <a:pt x="672" y="396"/>
                  <a:pt x="673" y="391"/>
                </a:cubicBezTo>
                <a:cubicBezTo>
                  <a:pt x="674" y="387"/>
                  <a:pt x="674" y="383"/>
                  <a:pt x="675" y="380"/>
                </a:cubicBezTo>
                <a:cubicBezTo>
                  <a:pt x="675" y="380"/>
                  <a:pt x="676" y="380"/>
                  <a:pt x="676" y="380"/>
                </a:cubicBezTo>
                <a:cubicBezTo>
                  <a:pt x="677" y="380"/>
                  <a:pt x="675" y="387"/>
                  <a:pt x="675" y="389"/>
                </a:cubicBezTo>
                <a:cubicBezTo>
                  <a:pt x="673" y="391"/>
                  <a:pt x="673" y="394"/>
                  <a:pt x="672" y="397"/>
                </a:cubicBezTo>
                <a:cubicBezTo>
                  <a:pt x="671" y="400"/>
                  <a:pt x="668" y="404"/>
                  <a:pt x="668" y="406"/>
                </a:cubicBezTo>
                <a:cubicBezTo>
                  <a:pt x="668" y="406"/>
                  <a:pt x="670" y="407"/>
                  <a:pt x="670" y="408"/>
                </a:cubicBezTo>
                <a:cubicBezTo>
                  <a:pt x="671" y="413"/>
                  <a:pt x="663" y="413"/>
                  <a:pt x="665" y="407"/>
                </a:cubicBezTo>
                <a:close/>
                <a:moveTo>
                  <a:pt x="664" y="303"/>
                </a:moveTo>
                <a:cubicBezTo>
                  <a:pt x="665" y="303"/>
                  <a:pt x="664" y="306"/>
                  <a:pt x="663" y="305"/>
                </a:cubicBezTo>
                <a:cubicBezTo>
                  <a:pt x="662" y="305"/>
                  <a:pt x="663" y="304"/>
                  <a:pt x="664" y="303"/>
                </a:cubicBezTo>
                <a:close/>
                <a:moveTo>
                  <a:pt x="663" y="285"/>
                </a:moveTo>
                <a:cubicBezTo>
                  <a:pt x="663" y="284"/>
                  <a:pt x="662" y="286"/>
                  <a:pt x="663" y="285"/>
                </a:cubicBezTo>
                <a:close/>
                <a:moveTo>
                  <a:pt x="662" y="401"/>
                </a:moveTo>
                <a:cubicBezTo>
                  <a:pt x="663" y="402"/>
                  <a:pt x="661" y="403"/>
                  <a:pt x="662" y="401"/>
                </a:cubicBezTo>
                <a:close/>
                <a:moveTo>
                  <a:pt x="660" y="496"/>
                </a:moveTo>
                <a:cubicBezTo>
                  <a:pt x="661" y="494"/>
                  <a:pt x="662" y="498"/>
                  <a:pt x="660" y="497"/>
                </a:cubicBezTo>
                <a:cubicBezTo>
                  <a:pt x="660" y="497"/>
                  <a:pt x="660" y="496"/>
                  <a:pt x="660" y="496"/>
                </a:cubicBezTo>
                <a:close/>
                <a:moveTo>
                  <a:pt x="657" y="276"/>
                </a:moveTo>
                <a:cubicBezTo>
                  <a:pt x="657" y="276"/>
                  <a:pt x="656" y="278"/>
                  <a:pt x="655" y="278"/>
                </a:cubicBezTo>
                <a:cubicBezTo>
                  <a:pt x="655" y="277"/>
                  <a:pt x="656" y="277"/>
                  <a:pt x="657" y="276"/>
                </a:cubicBezTo>
                <a:close/>
                <a:moveTo>
                  <a:pt x="655" y="292"/>
                </a:moveTo>
                <a:cubicBezTo>
                  <a:pt x="655" y="292"/>
                  <a:pt x="655" y="292"/>
                  <a:pt x="655" y="292"/>
                </a:cubicBezTo>
                <a:cubicBezTo>
                  <a:pt x="655" y="292"/>
                  <a:pt x="655" y="292"/>
                  <a:pt x="655" y="292"/>
                </a:cubicBezTo>
                <a:cubicBezTo>
                  <a:pt x="655" y="292"/>
                  <a:pt x="655" y="292"/>
                  <a:pt x="655" y="292"/>
                </a:cubicBezTo>
                <a:close/>
                <a:moveTo>
                  <a:pt x="652" y="270"/>
                </a:moveTo>
                <a:cubicBezTo>
                  <a:pt x="651" y="272"/>
                  <a:pt x="654" y="269"/>
                  <a:pt x="652" y="270"/>
                </a:cubicBezTo>
                <a:close/>
                <a:moveTo>
                  <a:pt x="634" y="278"/>
                </a:moveTo>
                <a:cubicBezTo>
                  <a:pt x="633" y="276"/>
                  <a:pt x="635" y="277"/>
                  <a:pt x="634" y="278"/>
                </a:cubicBezTo>
                <a:close/>
                <a:moveTo>
                  <a:pt x="635" y="274"/>
                </a:moveTo>
                <a:cubicBezTo>
                  <a:pt x="636" y="274"/>
                  <a:pt x="634" y="275"/>
                  <a:pt x="635" y="274"/>
                </a:cubicBezTo>
                <a:close/>
                <a:moveTo>
                  <a:pt x="642" y="409"/>
                </a:moveTo>
                <a:cubicBezTo>
                  <a:pt x="642" y="409"/>
                  <a:pt x="643" y="409"/>
                  <a:pt x="643" y="410"/>
                </a:cubicBezTo>
                <a:cubicBezTo>
                  <a:pt x="643" y="410"/>
                  <a:pt x="641" y="411"/>
                  <a:pt x="642" y="409"/>
                </a:cubicBezTo>
                <a:close/>
                <a:moveTo>
                  <a:pt x="644" y="345"/>
                </a:moveTo>
                <a:cubicBezTo>
                  <a:pt x="643" y="345"/>
                  <a:pt x="644" y="344"/>
                  <a:pt x="644" y="344"/>
                </a:cubicBezTo>
                <a:cubicBezTo>
                  <a:pt x="645" y="342"/>
                  <a:pt x="645" y="345"/>
                  <a:pt x="644" y="345"/>
                </a:cubicBezTo>
                <a:close/>
                <a:moveTo>
                  <a:pt x="644" y="398"/>
                </a:moveTo>
                <a:cubicBezTo>
                  <a:pt x="644" y="400"/>
                  <a:pt x="645" y="397"/>
                  <a:pt x="644" y="398"/>
                </a:cubicBezTo>
                <a:close/>
                <a:moveTo>
                  <a:pt x="644" y="300"/>
                </a:moveTo>
                <a:cubicBezTo>
                  <a:pt x="643" y="300"/>
                  <a:pt x="644" y="299"/>
                  <a:pt x="644" y="298"/>
                </a:cubicBezTo>
                <a:cubicBezTo>
                  <a:pt x="646" y="297"/>
                  <a:pt x="646" y="301"/>
                  <a:pt x="644" y="300"/>
                </a:cubicBezTo>
                <a:close/>
                <a:moveTo>
                  <a:pt x="646" y="462"/>
                </a:moveTo>
                <a:cubicBezTo>
                  <a:pt x="646" y="462"/>
                  <a:pt x="647" y="462"/>
                  <a:pt x="647" y="462"/>
                </a:cubicBezTo>
                <a:cubicBezTo>
                  <a:pt x="648" y="462"/>
                  <a:pt x="645" y="464"/>
                  <a:pt x="646" y="462"/>
                </a:cubicBezTo>
                <a:close/>
                <a:moveTo>
                  <a:pt x="647" y="333"/>
                </a:moveTo>
                <a:cubicBezTo>
                  <a:pt x="646" y="333"/>
                  <a:pt x="647" y="332"/>
                  <a:pt x="647" y="332"/>
                </a:cubicBezTo>
                <a:cubicBezTo>
                  <a:pt x="648" y="331"/>
                  <a:pt x="648" y="334"/>
                  <a:pt x="647" y="333"/>
                </a:cubicBezTo>
                <a:close/>
                <a:moveTo>
                  <a:pt x="657" y="550"/>
                </a:moveTo>
                <a:cubicBezTo>
                  <a:pt x="656" y="549"/>
                  <a:pt x="657" y="547"/>
                  <a:pt x="657" y="547"/>
                </a:cubicBezTo>
                <a:cubicBezTo>
                  <a:pt x="658" y="545"/>
                  <a:pt x="658" y="550"/>
                  <a:pt x="657" y="550"/>
                </a:cubicBezTo>
                <a:close/>
                <a:moveTo>
                  <a:pt x="660" y="397"/>
                </a:moveTo>
                <a:cubicBezTo>
                  <a:pt x="659" y="398"/>
                  <a:pt x="659" y="398"/>
                  <a:pt x="660" y="397"/>
                </a:cubicBezTo>
                <a:close/>
                <a:moveTo>
                  <a:pt x="659" y="427"/>
                </a:moveTo>
                <a:cubicBezTo>
                  <a:pt x="660" y="429"/>
                  <a:pt x="658" y="432"/>
                  <a:pt x="657" y="434"/>
                </a:cubicBezTo>
                <a:cubicBezTo>
                  <a:pt x="657" y="432"/>
                  <a:pt x="658" y="429"/>
                  <a:pt x="659" y="427"/>
                </a:cubicBezTo>
                <a:close/>
                <a:moveTo>
                  <a:pt x="657" y="435"/>
                </a:moveTo>
                <a:cubicBezTo>
                  <a:pt x="657" y="435"/>
                  <a:pt x="657" y="438"/>
                  <a:pt x="655" y="438"/>
                </a:cubicBezTo>
                <a:cubicBezTo>
                  <a:pt x="655" y="437"/>
                  <a:pt x="656" y="436"/>
                  <a:pt x="657" y="435"/>
                </a:cubicBezTo>
                <a:close/>
                <a:moveTo>
                  <a:pt x="652" y="328"/>
                </a:moveTo>
                <a:cubicBezTo>
                  <a:pt x="652" y="328"/>
                  <a:pt x="653" y="327"/>
                  <a:pt x="653" y="327"/>
                </a:cubicBezTo>
                <a:cubicBezTo>
                  <a:pt x="655" y="329"/>
                  <a:pt x="651" y="331"/>
                  <a:pt x="652" y="328"/>
                </a:cubicBezTo>
                <a:close/>
                <a:moveTo>
                  <a:pt x="648" y="307"/>
                </a:moveTo>
                <a:cubicBezTo>
                  <a:pt x="653" y="304"/>
                  <a:pt x="650" y="313"/>
                  <a:pt x="649" y="313"/>
                </a:cubicBezTo>
                <a:cubicBezTo>
                  <a:pt x="647" y="313"/>
                  <a:pt x="647" y="308"/>
                  <a:pt x="648" y="307"/>
                </a:cubicBezTo>
                <a:close/>
                <a:moveTo>
                  <a:pt x="645" y="296"/>
                </a:moveTo>
                <a:cubicBezTo>
                  <a:pt x="643" y="295"/>
                  <a:pt x="645" y="290"/>
                  <a:pt x="646" y="290"/>
                </a:cubicBezTo>
                <a:cubicBezTo>
                  <a:pt x="651" y="287"/>
                  <a:pt x="648" y="297"/>
                  <a:pt x="645" y="296"/>
                </a:cubicBezTo>
                <a:close/>
                <a:moveTo>
                  <a:pt x="644" y="284"/>
                </a:moveTo>
                <a:cubicBezTo>
                  <a:pt x="644" y="285"/>
                  <a:pt x="645" y="283"/>
                  <a:pt x="644" y="284"/>
                </a:cubicBezTo>
                <a:close/>
                <a:moveTo>
                  <a:pt x="642" y="284"/>
                </a:moveTo>
                <a:cubicBezTo>
                  <a:pt x="642" y="284"/>
                  <a:pt x="643" y="283"/>
                  <a:pt x="644" y="284"/>
                </a:cubicBezTo>
                <a:cubicBezTo>
                  <a:pt x="646" y="285"/>
                  <a:pt x="641" y="287"/>
                  <a:pt x="642" y="284"/>
                </a:cubicBezTo>
                <a:close/>
                <a:moveTo>
                  <a:pt x="642" y="317"/>
                </a:moveTo>
                <a:cubicBezTo>
                  <a:pt x="642" y="318"/>
                  <a:pt x="641" y="317"/>
                  <a:pt x="642" y="317"/>
                </a:cubicBezTo>
                <a:close/>
                <a:moveTo>
                  <a:pt x="642" y="399"/>
                </a:moveTo>
                <a:cubicBezTo>
                  <a:pt x="643" y="399"/>
                  <a:pt x="640" y="402"/>
                  <a:pt x="641" y="400"/>
                </a:cubicBezTo>
                <a:cubicBezTo>
                  <a:pt x="641" y="400"/>
                  <a:pt x="641" y="399"/>
                  <a:pt x="642" y="399"/>
                </a:cubicBezTo>
                <a:close/>
                <a:moveTo>
                  <a:pt x="641" y="283"/>
                </a:moveTo>
                <a:cubicBezTo>
                  <a:pt x="642" y="282"/>
                  <a:pt x="639" y="285"/>
                  <a:pt x="641" y="283"/>
                </a:cubicBezTo>
                <a:close/>
                <a:moveTo>
                  <a:pt x="640" y="331"/>
                </a:moveTo>
                <a:cubicBezTo>
                  <a:pt x="640" y="331"/>
                  <a:pt x="640" y="331"/>
                  <a:pt x="640" y="331"/>
                </a:cubicBezTo>
                <a:cubicBezTo>
                  <a:pt x="640" y="331"/>
                  <a:pt x="640" y="332"/>
                  <a:pt x="640" y="331"/>
                </a:cubicBezTo>
                <a:close/>
                <a:moveTo>
                  <a:pt x="640" y="338"/>
                </a:moveTo>
                <a:cubicBezTo>
                  <a:pt x="641" y="339"/>
                  <a:pt x="639" y="341"/>
                  <a:pt x="639" y="342"/>
                </a:cubicBezTo>
                <a:cubicBezTo>
                  <a:pt x="638" y="341"/>
                  <a:pt x="640" y="339"/>
                  <a:pt x="640" y="338"/>
                </a:cubicBezTo>
                <a:close/>
                <a:moveTo>
                  <a:pt x="638" y="310"/>
                </a:moveTo>
                <a:cubicBezTo>
                  <a:pt x="638" y="309"/>
                  <a:pt x="639" y="312"/>
                  <a:pt x="638" y="310"/>
                </a:cubicBezTo>
                <a:close/>
                <a:moveTo>
                  <a:pt x="638" y="342"/>
                </a:moveTo>
                <a:cubicBezTo>
                  <a:pt x="639" y="343"/>
                  <a:pt x="639" y="344"/>
                  <a:pt x="638" y="344"/>
                </a:cubicBezTo>
                <a:cubicBezTo>
                  <a:pt x="638" y="343"/>
                  <a:pt x="639" y="343"/>
                  <a:pt x="638" y="342"/>
                </a:cubicBezTo>
                <a:close/>
                <a:moveTo>
                  <a:pt x="637" y="288"/>
                </a:moveTo>
                <a:cubicBezTo>
                  <a:pt x="638" y="289"/>
                  <a:pt x="637" y="289"/>
                  <a:pt x="637" y="290"/>
                </a:cubicBezTo>
                <a:cubicBezTo>
                  <a:pt x="636" y="290"/>
                  <a:pt x="637" y="289"/>
                  <a:pt x="637" y="288"/>
                </a:cubicBezTo>
                <a:close/>
                <a:moveTo>
                  <a:pt x="637" y="346"/>
                </a:moveTo>
                <a:cubicBezTo>
                  <a:pt x="638" y="345"/>
                  <a:pt x="637" y="347"/>
                  <a:pt x="637" y="347"/>
                </a:cubicBezTo>
                <a:cubicBezTo>
                  <a:pt x="636" y="346"/>
                  <a:pt x="637" y="346"/>
                  <a:pt x="637" y="346"/>
                </a:cubicBezTo>
                <a:close/>
                <a:moveTo>
                  <a:pt x="665" y="224"/>
                </a:moveTo>
                <a:cubicBezTo>
                  <a:pt x="665" y="225"/>
                  <a:pt x="664" y="226"/>
                  <a:pt x="662" y="227"/>
                </a:cubicBezTo>
                <a:cubicBezTo>
                  <a:pt x="663" y="226"/>
                  <a:pt x="664" y="225"/>
                  <a:pt x="665" y="224"/>
                </a:cubicBezTo>
                <a:close/>
                <a:moveTo>
                  <a:pt x="661" y="224"/>
                </a:moveTo>
                <a:cubicBezTo>
                  <a:pt x="662" y="222"/>
                  <a:pt x="660" y="225"/>
                  <a:pt x="661" y="224"/>
                </a:cubicBezTo>
                <a:close/>
                <a:moveTo>
                  <a:pt x="649" y="222"/>
                </a:moveTo>
                <a:cubicBezTo>
                  <a:pt x="651" y="224"/>
                  <a:pt x="647" y="225"/>
                  <a:pt x="649" y="222"/>
                </a:cubicBezTo>
                <a:close/>
                <a:moveTo>
                  <a:pt x="633" y="251"/>
                </a:moveTo>
                <a:cubicBezTo>
                  <a:pt x="632" y="252"/>
                  <a:pt x="633" y="249"/>
                  <a:pt x="633" y="251"/>
                </a:cubicBezTo>
                <a:close/>
                <a:moveTo>
                  <a:pt x="639" y="244"/>
                </a:moveTo>
                <a:cubicBezTo>
                  <a:pt x="640" y="245"/>
                  <a:pt x="640" y="248"/>
                  <a:pt x="640" y="250"/>
                </a:cubicBezTo>
                <a:cubicBezTo>
                  <a:pt x="638" y="248"/>
                  <a:pt x="639" y="246"/>
                  <a:pt x="639" y="244"/>
                </a:cubicBezTo>
                <a:close/>
                <a:moveTo>
                  <a:pt x="636" y="224"/>
                </a:moveTo>
                <a:cubicBezTo>
                  <a:pt x="639" y="227"/>
                  <a:pt x="634" y="229"/>
                  <a:pt x="633" y="230"/>
                </a:cubicBezTo>
                <a:cubicBezTo>
                  <a:pt x="631" y="228"/>
                  <a:pt x="634" y="221"/>
                  <a:pt x="636" y="224"/>
                </a:cubicBezTo>
                <a:close/>
                <a:moveTo>
                  <a:pt x="584" y="184"/>
                </a:moveTo>
                <a:cubicBezTo>
                  <a:pt x="584" y="184"/>
                  <a:pt x="584" y="185"/>
                  <a:pt x="584" y="185"/>
                </a:cubicBezTo>
                <a:cubicBezTo>
                  <a:pt x="585" y="188"/>
                  <a:pt x="581" y="186"/>
                  <a:pt x="584" y="184"/>
                </a:cubicBezTo>
                <a:close/>
                <a:moveTo>
                  <a:pt x="522" y="137"/>
                </a:moveTo>
                <a:cubicBezTo>
                  <a:pt x="522" y="138"/>
                  <a:pt x="520" y="138"/>
                  <a:pt x="520" y="138"/>
                </a:cubicBezTo>
                <a:cubicBezTo>
                  <a:pt x="520" y="137"/>
                  <a:pt x="521" y="137"/>
                  <a:pt x="522" y="137"/>
                </a:cubicBezTo>
                <a:close/>
                <a:moveTo>
                  <a:pt x="518" y="129"/>
                </a:moveTo>
                <a:cubicBezTo>
                  <a:pt x="518" y="129"/>
                  <a:pt x="518" y="129"/>
                  <a:pt x="518" y="129"/>
                </a:cubicBezTo>
                <a:cubicBezTo>
                  <a:pt x="519" y="131"/>
                  <a:pt x="516" y="128"/>
                  <a:pt x="518" y="129"/>
                </a:cubicBezTo>
                <a:close/>
                <a:moveTo>
                  <a:pt x="513" y="127"/>
                </a:moveTo>
                <a:cubicBezTo>
                  <a:pt x="513" y="128"/>
                  <a:pt x="511" y="128"/>
                  <a:pt x="511" y="127"/>
                </a:cubicBezTo>
                <a:cubicBezTo>
                  <a:pt x="511" y="127"/>
                  <a:pt x="513" y="126"/>
                  <a:pt x="513" y="127"/>
                </a:cubicBezTo>
                <a:close/>
                <a:moveTo>
                  <a:pt x="509" y="137"/>
                </a:moveTo>
                <a:cubicBezTo>
                  <a:pt x="510" y="137"/>
                  <a:pt x="509" y="138"/>
                  <a:pt x="508" y="137"/>
                </a:cubicBezTo>
                <a:cubicBezTo>
                  <a:pt x="508" y="137"/>
                  <a:pt x="509" y="136"/>
                  <a:pt x="509" y="137"/>
                </a:cubicBezTo>
                <a:close/>
                <a:moveTo>
                  <a:pt x="484" y="708"/>
                </a:moveTo>
                <a:cubicBezTo>
                  <a:pt x="483" y="705"/>
                  <a:pt x="489" y="705"/>
                  <a:pt x="490" y="705"/>
                </a:cubicBezTo>
                <a:cubicBezTo>
                  <a:pt x="490" y="705"/>
                  <a:pt x="485" y="709"/>
                  <a:pt x="484" y="708"/>
                </a:cubicBezTo>
                <a:close/>
                <a:moveTo>
                  <a:pt x="486" y="289"/>
                </a:moveTo>
                <a:cubicBezTo>
                  <a:pt x="485" y="290"/>
                  <a:pt x="484" y="289"/>
                  <a:pt x="485" y="289"/>
                </a:cubicBezTo>
                <a:cubicBezTo>
                  <a:pt x="485" y="287"/>
                  <a:pt x="486" y="289"/>
                  <a:pt x="486" y="289"/>
                </a:cubicBezTo>
                <a:close/>
                <a:moveTo>
                  <a:pt x="486" y="592"/>
                </a:moveTo>
                <a:cubicBezTo>
                  <a:pt x="486" y="590"/>
                  <a:pt x="488" y="591"/>
                  <a:pt x="486" y="592"/>
                </a:cubicBezTo>
                <a:close/>
                <a:moveTo>
                  <a:pt x="484" y="157"/>
                </a:moveTo>
                <a:cubicBezTo>
                  <a:pt x="483" y="157"/>
                  <a:pt x="485" y="155"/>
                  <a:pt x="485" y="157"/>
                </a:cubicBezTo>
                <a:cubicBezTo>
                  <a:pt x="485" y="156"/>
                  <a:pt x="485" y="158"/>
                  <a:pt x="484" y="157"/>
                </a:cubicBezTo>
                <a:close/>
                <a:moveTo>
                  <a:pt x="492" y="682"/>
                </a:moveTo>
                <a:cubicBezTo>
                  <a:pt x="489" y="683"/>
                  <a:pt x="487" y="685"/>
                  <a:pt x="485" y="685"/>
                </a:cubicBezTo>
                <a:cubicBezTo>
                  <a:pt x="482" y="685"/>
                  <a:pt x="487" y="682"/>
                  <a:pt x="487" y="682"/>
                </a:cubicBezTo>
                <a:cubicBezTo>
                  <a:pt x="489" y="682"/>
                  <a:pt x="490" y="682"/>
                  <a:pt x="492" y="682"/>
                </a:cubicBezTo>
                <a:cubicBezTo>
                  <a:pt x="492" y="682"/>
                  <a:pt x="493" y="682"/>
                  <a:pt x="494" y="682"/>
                </a:cubicBezTo>
                <a:cubicBezTo>
                  <a:pt x="493" y="682"/>
                  <a:pt x="492" y="682"/>
                  <a:pt x="492" y="682"/>
                </a:cubicBezTo>
                <a:close/>
                <a:moveTo>
                  <a:pt x="488" y="242"/>
                </a:moveTo>
                <a:cubicBezTo>
                  <a:pt x="490" y="244"/>
                  <a:pt x="486" y="242"/>
                  <a:pt x="488" y="242"/>
                </a:cubicBezTo>
                <a:close/>
                <a:moveTo>
                  <a:pt x="491" y="215"/>
                </a:moveTo>
                <a:cubicBezTo>
                  <a:pt x="491" y="215"/>
                  <a:pt x="493" y="214"/>
                  <a:pt x="492" y="215"/>
                </a:cubicBezTo>
                <a:cubicBezTo>
                  <a:pt x="492" y="216"/>
                  <a:pt x="491" y="215"/>
                  <a:pt x="491" y="215"/>
                </a:cubicBezTo>
                <a:close/>
                <a:moveTo>
                  <a:pt x="492" y="262"/>
                </a:moveTo>
                <a:cubicBezTo>
                  <a:pt x="493" y="262"/>
                  <a:pt x="491" y="263"/>
                  <a:pt x="491" y="262"/>
                </a:cubicBezTo>
                <a:cubicBezTo>
                  <a:pt x="491" y="262"/>
                  <a:pt x="492" y="262"/>
                  <a:pt x="492" y="262"/>
                </a:cubicBezTo>
                <a:close/>
                <a:moveTo>
                  <a:pt x="494" y="708"/>
                </a:moveTo>
                <a:cubicBezTo>
                  <a:pt x="494" y="708"/>
                  <a:pt x="494" y="708"/>
                  <a:pt x="495" y="709"/>
                </a:cubicBezTo>
                <a:cubicBezTo>
                  <a:pt x="495" y="709"/>
                  <a:pt x="495" y="709"/>
                  <a:pt x="494" y="708"/>
                </a:cubicBezTo>
                <a:close/>
                <a:moveTo>
                  <a:pt x="492" y="616"/>
                </a:moveTo>
                <a:cubicBezTo>
                  <a:pt x="492" y="614"/>
                  <a:pt x="495" y="615"/>
                  <a:pt x="495" y="616"/>
                </a:cubicBezTo>
                <a:cubicBezTo>
                  <a:pt x="495" y="617"/>
                  <a:pt x="492" y="618"/>
                  <a:pt x="492" y="616"/>
                </a:cubicBezTo>
                <a:close/>
                <a:moveTo>
                  <a:pt x="493" y="299"/>
                </a:moveTo>
                <a:cubicBezTo>
                  <a:pt x="493" y="299"/>
                  <a:pt x="494" y="298"/>
                  <a:pt x="494" y="298"/>
                </a:cubicBezTo>
                <a:cubicBezTo>
                  <a:pt x="494" y="298"/>
                  <a:pt x="493" y="300"/>
                  <a:pt x="493" y="299"/>
                </a:cubicBezTo>
                <a:close/>
                <a:moveTo>
                  <a:pt x="498" y="330"/>
                </a:moveTo>
                <a:cubicBezTo>
                  <a:pt x="498" y="330"/>
                  <a:pt x="498" y="330"/>
                  <a:pt x="498" y="330"/>
                </a:cubicBezTo>
                <a:cubicBezTo>
                  <a:pt x="498" y="330"/>
                  <a:pt x="498" y="330"/>
                  <a:pt x="498" y="330"/>
                </a:cubicBezTo>
                <a:close/>
                <a:moveTo>
                  <a:pt x="493" y="278"/>
                </a:moveTo>
                <a:cubicBezTo>
                  <a:pt x="494" y="274"/>
                  <a:pt x="496" y="270"/>
                  <a:pt x="498" y="267"/>
                </a:cubicBezTo>
                <a:cubicBezTo>
                  <a:pt x="498" y="269"/>
                  <a:pt x="495" y="276"/>
                  <a:pt x="493" y="278"/>
                </a:cubicBezTo>
                <a:close/>
                <a:moveTo>
                  <a:pt x="493" y="238"/>
                </a:moveTo>
                <a:cubicBezTo>
                  <a:pt x="493" y="237"/>
                  <a:pt x="494" y="237"/>
                  <a:pt x="494" y="238"/>
                </a:cubicBezTo>
                <a:cubicBezTo>
                  <a:pt x="494" y="239"/>
                  <a:pt x="493" y="238"/>
                  <a:pt x="493" y="238"/>
                </a:cubicBezTo>
                <a:close/>
                <a:moveTo>
                  <a:pt x="496" y="258"/>
                </a:moveTo>
                <a:cubicBezTo>
                  <a:pt x="499" y="254"/>
                  <a:pt x="498" y="251"/>
                  <a:pt x="501" y="248"/>
                </a:cubicBezTo>
                <a:cubicBezTo>
                  <a:pt x="500" y="251"/>
                  <a:pt x="499" y="257"/>
                  <a:pt x="496" y="258"/>
                </a:cubicBezTo>
                <a:close/>
                <a:moveTo>
                  <a:pt x="500" y="217"/>
                </a:moveTo>
                <a:cubicBezTo>
                  <a:pt x="501" y="216"/>
                  <a:pt x="502" y="217"/>
                  <a:pt x="500" y="217"/>
                </a:cubicBezTo>
                <a:close/>
                <a:moveTo>
                  <a:pt x="506" y="320"/>
                </a:moveTo>
                <a:cubicBezTo>
                  <a:pt x="506" y="322"/>
                  <a:pt x="507" y="319"/>
                  <a:pt x="506" y="320"/>
                </a:cubicBezTo>
                <a:close/>
                <a:moveTo>
                  <a:pt x="511" y="216"/>
                </a:moveTo>
                <a:cubicBezTo>
                  <a:pt x="510" y="216"/>
                  <a:pt x="510" y="214"/>
                  <a:pt x="511" y="215"/>
                </a:cubicBezTo>
                <a:cubicBezTo>
                  <a:pt x="511" y="215"/>
                  <a:pt x="511" y="216"/>
                  <a:pt x="511" y="216"/>
                </a:cubicBezTo>
                <a:close/>
                <a:moveTo>
                  <a:pt x="511" y="278"/>
                </a:moveTo>
                <a:cubicBezTo>
                  <a:pt x="512" y="275"/>
                  <a:pt x="514" y="275"/>
                  <a:pt x="511" y="278"/>
                </a:cubicBezTo>
                <a:close/>
                <a:moveTo>
                  <a:pt x="511" y="668"/>
                </a:moveTo>
                <a:cubicBezTo>
                  <a:pt x="510" y="668"/>
                  <a:pt x="509" y="668"/>
                  <a:pt x="509" y="667"/>
                </a:cubicBezTo>
                <a:cubicBezTo>
                  <a:pt x="509" y="666"/>
                  <a:pt x="511" y="667"/>
                  <a:pt x="511" y="668"/>
                </a:cubicBezTo>
                <a:close/>
                <a:moveTo>
                  <a:pt x="509" y="255"/>
                </a:moveTo>
                <a:cubicBezTo>
                  <a:pt x="509" y="255"/>
                  <a:pt x="509" y="254"/>
                  <a:pt x="509" y="254"/>
                </a:cubicBezTo>
                <a:cubicBezTo>
                  <a:pt x="511" y="255"/>
                  <a:pt x="508" y="256"/>
                  <a:pt x="509" y="255"/>
                </a:cubicBezTo>
                <a:close/>
                <a:moveTo>
                  <a:pt x="507" y="244"/>
                </a:moveTo>
                <a:cubicBezTo>
                  <a:pt x="507" y="244"/>
                  <a:pt x="509" y="242"/>
                  <a:pt x="509" y="243"/>
                </a:cubicBezTo>
                <a:cubicBezTo>
                  <a:pt x="510" y="244"/>
                  <a:pt x="508" y="245"/>
                  <a:pt x="507" y="244"/>
                </a:cubicBezTo>
                <a:close/>
                <a:moveTo>
                  <a:pt x="508" y="683"/>
                </a:moveTo>
                <a:cubicBezTo>
                  <a:pt x="508" y="682"/>
                  <a:pt x="512" y="682"/>
                  <a:pt x="512" y="683"/>
                </a:cubicBezTo>
                <a:cubicBezTo>
                  <a:pt x="511" y="685"/>
                  <a:pt x="509" y="684"/>
                  <a:pt x="508" y="683"/>
                </a:cubicBezTo>
                <a:close/>
                <a:moveTo>
                  <a:pt x="508" y="677"/>
                </a:moveTo>
                <a:cubicBezTo>
                  <a:pt x="509" y="673"/>
                  <a:pt x="516" y="676"/>
                  <a:pt x="516" y="678"/>
                </a:cubicBezTo>
                <a:cubicBezTo>
                  <a:pt x="516" y="681"/>
                  <a:pt x="508" y="681"/>
                  <a:pt x="508" y="677"/>
                </a:cubicBezTo>
                <a:close/>
                <a:moveTo>
                  <a:pt x="512" y="416"/>
                </a:moveTo>
                <a:cubicBezTo>
                  <a:pt x="513" y="414"/>
                  <a:pt x="515" y="411"/>
                  <a:pt x="518" y="409"/>
                </a:cubicBezTo>
                <a:cubicBezTo>
                  <a:pt x="516" y="412"/>
                  <a:pt x="514" y="415"/>
                  <a:pt x="512" y="416"/>
                </a:cubicBezTo>
                <a:close/>
                <a:moveTo>
                  <a:pt x="513" y="311"/>
                </a:moveTo>
                <a:cubicBezTo>
                  <a:pt x="515" y="312"/>
                  <a:pt x="512" y="312"/>
                  <a:pt x="513" y="311"/>
                </a:cubicBezTo>
                <a:close/>
                <a:moveTo>
                  <a:pt x="514" y="217"/>
                </a:moveTo>
                <a:cubicBezTo>
                  <a:pt x="515" y="218"/>
                  <a:pt x="514" y="219"/>
                  <a:pt x="513" y="219"/>
                </a:cubicBezTo>
                <a:cubicBezTo>
                  <a:pt x="513" y="219"/>
                  <a:pt x="514" y="218"/>
                  <a:pt x="514" y="217"/>
                </a:cubicBezTo>
                <a:close/>
                <a:moveTo>
                  <a:pt x="515" y="326"/>
                </a:moveTo>
                <a:cubicBezTo>
                  <a:pt x="516" y="324"/>
                  <a:pt x="516" y="328"/>
                  <a:pt x="515" y="327"/>
                </a:cubicBezTo>
                <a:cubicBezTo>
                  <a:pt x="514" y="327"/>
                  <a:pt x="515" y="326"/>
                  <a:pt x="515" y="326"/>
                </a:cubicBezTo>
                <a:close/>
                <a:moveTo>
                  <a:pt x="518" y="234"/>
                </a:moveTo>
                <a:cubicBezTo>
                  <a:pt x="520" y="232"/>
                  <a:pt x="516" y="235"/>
                  <a:pt x="518" y="234"/>
                </a:cubicBezTo>
                <a:close/>
                <a:moveTo>
                  <a:pt x="518" y="278"/>
                </a:moveTo>
                <a:cubicBezTo>
                  <a:pt x="518" y="277"/>
                  <a:pt x="519" y="277"/>
                  <a:pt x="519" y="278"/>
                </a:cubicBezTo>
                <a:cubicBezTo>
                  <a:pt x="519" y="278"/>
                  <a:pt x="518" y="278"/>
                  <a:pt x="518" y="278"/>
                </a:cubicBezTo>
                <a:close/>
                <a:moveTo>
                  <a:pt x="519" y="387"/>
                </a:moveTo>
                <a:cubicBezTo>
                  <a:pt x="517" y="386"/>
                  <a:pt x="519" y="383"/>
                  <a:pt x="520" y="383"/>
                </a:cubicBezTo>
                <a:cubicBezTo>
                  <a:pt x="524" y="381"/>
                  <a:pt x="521" y="388"/>
                  <a:pt x="519" y="387"/>
                </a:cubicBezTo>
                <a:close/>
                <a:moveTo>
                  <a:pt x="520" y="232"/>
                </a:moveTo>
                <a:cubicBezTo>
                  <a:pt x="522" y="230"/>
                  <a:pt x="519" y="233"/>
                  <a:pt x="520" y="232"/>
                </a:cubicBezTo>
                <a:close/>
                <a:moveTo>
                  <a:pt x="523" y="431"/>
                </a:moveTo>
                <a:cubicBezTo>
                  <a:pt x="522" y="432"/>
                  <a:pt x="524" y="429"/>
                  <a:pt x="523" y="431"/>
                </a:cubicBezTo>
                <a:close/>
                <a:moveTo>
                  <a:pt x="523" y="374"/>
                </a:moveTo>
                <a:cubicBezTo>
                  <a:pt x="522" y="374"/>
                  <a:pt x="524" y="373"/>
                  <a:pt x="523" y="374"/>
                </a:cubicBezTo>
                <a:close/>
                <a:moveTo>
                  <a:pt x="523" y="295"/>
                </a:moveTo>
                <a:cubicBezTo>
                  <a:pt x="523" y="295"/>
                  <a:pt x="523" y="294"/>
                  <a:pt x="523" y="294"/>
                </a:cubicBezTo>
                <a:cubicBezTo>
                  <a:pt x="523" y="294"/>
                  <a:pt x="523" y="294"/>
                  <a:pt x="523" y="294"/>
                </a:cubicBezTo>
                <a:cubicBezTo>
                  <a:pt x="523" y="295"/>
                  <a:pt x="523" y="295"/>
                  <a:pt x="523" y="295"/>
                </a:cubicBezTo>
                <a:close/>
                <a:moveTo>
                  <a:pt x="524" y="296"/>
                </a:moveTo>
                <a:cubicBezTo>
                  <a:pt x="525" y="296"/>
                  <a:pt x="525" y="296"/>
                  <a:pt x="525" y="296"/>
                </a:cubicBezTo>
                <a:cubicBezTo>
                  <a:pt x="526" y="298"/>
                  <a:pt x="523" y="296"/>
                  <a:pt x="524" y="296"/>
                </a:cubicBezTo>
                <a:close/>
                <a:moveTo>
                  <a:pt x="525" y="266"/>
                </a:moveTo>
                <a:cubicBezTo>
                  <a:pt x="525" y="264"/>
                  <a:pt x="531" y="263"/>
                  <a:pt x="530" y="267"/>
                </a:cubicBezTo>
                <a:cubicBezTo>
                  <a:pt x="529" y="269"/>
                  <a:pt x="525" y="268"/>
                  <a:pt x="525" y="266"/>
                </a:cubicBezTo>
                <a:close/>
                <a:moveTo>
                  <a:pt x="527" y="276"/>
                </a:moveTo>
                <a:cubicBezTo>
                  <a:pt x="527" y="275"/>
                  <a:pt x="527" y="275"/>
                  <a:pt x="528" y="275"/>
                </a:cubicBezTo>
                <a:cubicBezTo>
                  <a:pt x="529" y="275"/>
                  <a:pt x="526" y="277"/>
                  <a:pt x="527" y="276"/>
                </a:cubicBezTo>
                <a:close/>
                <a:moveTo>
                  <a:pt x="527" y="671"/>
                </a:moveTo>
                <a:cubicBezTo>
                  <a:pt x="527" y="671"/>
                  <a:pt x="527" y="671"/>
                  <a:pt x="527" y="671"/>
                </a:cubicBezTo>
                <a:cubicBezTo>
                  <a:pt x="527" y="671"/>
                  <a:pt x="527" y="671"/>
                  <a:pt x="527" y="671"/>
                </a:cubicBezTo>
                <a:cubicBezTo>
                  <a:pt x="527" y="671"/>
                  <a:pt x="527" y="671"/>
                  <a:pt x="527" y="671"/>
                </a:cubicBezTo>
                <a:close/>
                <a:moveTo>
                  <a:pt x="527" y="391"/>
                </a:moveTo>
                <a:cubicBezTo>
                  <a:pt x="527" y="390"/>
                  <a:pt x="528" y="389"/>
                  <a:pt x="528" y="388"/>
                </a:cubicBezTo>
                <a:cubicBezTo>
                  <a:pt x="529" y="389"/>
                  <a:pt x="527" y="390"/>
                  <a:pt x="527" y="391"/>
                </a:cubicBezTo>
                <a:close/>
                <a:moveTo>
                  <a:pt x="530" y="630"/>
                </a:moveTo>
                <a:cubicBezTo>
                  <a:pt x="531" y="629"/>
                  <a:pt x="534" y="629"/>
                  <a:pt x="536" y="628"/>
                </a:cubicBezTo>
                <a:cubicBezTo>
                  <a:pt x="535" y="630"/>
                  <a:pt x="532" y="630"/>
                  <a:pt x="530" y="630"/>
                </a:cubicBezTo>
                <a:close/>
                <a:moveTo>
                  <a:pt x="531" y="370"/>
                </a:moveTo>
                <a:cubicBezTo>
                  <a:pt x="531" y="372"/>
                  <a:pt x="529" y="371"/>
                  <a:pt x="531" y="370"/>
                </a:cubicBezTo>
                <a:close/>
                <a:moveTo>
                  <a:pt x="531" y="366"/>
                </a:moveTo>
                <a:cubicBezTo>
                  <a:pt x="531" y="366"/>
                  <a:pt x="531" y="366"/>
                  <a:pt x="531" y="366"/>
                </a:cubicBezTo>
                <a:cubicBezTo>
                  <a:pt x="533" y="366"/>
                  <a:pt x="530" y="368"/>
                  <a:pt x="531" y="366"/>
                </a:cubicBezTo>
                <a:close/>
                <a:moveTo>
                  <a:pt x="534" y="304"/>
                </a:moveTo>
                <a:cubicBezTo>
                  <a:pt x="534" y="305"/>
                  <a:pt x="532" y="305"/>
                  <a:pt x="532" y="305"/>
                </a:cubicBezTo>
                <a:cubicBezTo>
                  <a:pt x="532" y="304"/>
                  <a:pt x="533" y="303"/>
                  <a:pt x="534" y="304"/>
                </a:cubicBezTo>
                <a:close/>
                <a:moveTo>
                  <a:pt x="532" y="287"/>
                </a:moveTo>
                <a:cubicBezTo>
                  <a:pt x="532" y="287"/>
                  <a:pt x="533" y="287"/>
                  <a:pt x="533" y="287"/>
                </a:cubicBezTo>
                <a:cubicBezTo>
                  <a:pt x="534" y="287"/>
                  <a:pt x="532" y="288"/>
                  <a:pt x="532" y="287"/>
                </a:cubicBezTo>
                <a:close/>
                <a:moveTo>
                  <a:pt x="540" y="437"/>
                </a:moveTo>
                <a:cubicBezTo>
                  <a:pt x="539" y="439"/>
                  <a:pt x="538" y="442"/>
                  <a:pt x="536" y="443"/>
                </a:cubicBezTo>
                <a:cubicBezTo>
                  <a:pt x="536" y="442"/>
                  <a:pt x="538" y="439"/>
                  <a:pt x="540" y="437"/>
                </a:cubicBezTo>
                <a:close/>
                <a:moveTo>
                  <a:pt x="538" y="243"/>
                </a:moveTo>
                <a:cubicBezTo>
                  <a:pt x="538" y="243"/>
                  <a:pt x="537" y="243"/>
                  <a:pt x="537" y="243"/>
                </a:cubicBezTo>
                <a:cubicBezTo>
                  <a:pt x="537" y="243"/>
                  <a:pt x="538" y="243"/>
                  <a:pt x="538" y="243"/>
                </a:cubicBezTo>
                <a:cubicBezTo>
                  <a:pt x="538" y="243"/>
                  <a:pt x="538" y="243"/>
                  <a:pt x="538" y="243"/>
                </a:cubicBezTo>
                <a:close/>
                <a:moveTo>
                  <a:pt x="538" y="341"/>
                </a:moveTo>
                <a:cubicBezTo>
                  <a:pt x="539" y="339"/>
                  <a:pt x="537" y="342"/>
                  <a:pt x="538" y="341"/>
                </a:cubicBezTo>
                <a:close/>
                <a:moveTo>
                  <a:pt x="538" y="243"/>
                </a:moveTo>
                <a:cubicBezTo>
                  <a:pt x="539" y="242"/>
                  <a:pt x="539" y="243"/>
                  <a:pt x="538" y="243"/>
                </a:cubicBezTo>
                <a:close/>
                <a:moveTo>
                  <a:pt x="538" y="651"/>
                </a:moveTo>
                <a:cubicBezTo>
                  <a:pt x="537" y="653"/>
                  <a:pt x="537" y="650"/>
                  <a:pt x="538" y="651"/>
                </a:cubicBezTo>
                <a:close/>
                <a:moveTo>
                  <a:pt x="538" y="627"/>
                </a:moveTo>
                <a:cubicBezTo>
                  <a:pt x="541" y="625"/>
                  <a:pt x="541" y="628"/>
                  <a:pt x="538" y="627"/>
                </a:cubicBezTo>
                <a:close/>
                <a:moveTo>
                  <a:pt x="540" y="436"/>
                </a:moveTo>
                <a:cubicBezTo>
                  <a:pt x="540" y="436"/>
                  <a:pt x="540" y="436"/>
                  <a:pt x="540" y="436"/>
                </a:cubicBezTo>
                <a:cubicBezTo>
                  <a:pt x="540" y="436"/>
                  <a:pt x="540" y="435"/>
                  <a:pt x="540" y="435"/>
                </a:cubicBezTo>
                <a:cubicBezTo>
                  <a:pt x="540" y="435"/>
                  <a:pt x="540" y="435"/>
                  <a:pt x="540" y="436"/>
                </a:cubicBezTo>
                <a:close/>
                <a:moveTo>
                  <a:pt x="541" y="360"/>
                </a:moveTo>
                <a:cubicBezTo>
                  <a:pt x="541" y="359"/>
                  <a:pt x="541" y="358"/>
                  <a:pt x="542" y="359"/>
                </a:cubicBezTo>
                <a:cubicBezTo>
                  <a:pt x="544" y="359"/>
                  <a:pt x="539" y="361"/>
                  <a:pt x="541" y="360"/>
                </a:cubicBezTo>
                <a:close/>
                <a:moveTo>
                  <a:pt x="542" y="374"/>
                </a:moveTo>
                <a:cubicBezTo>
                  <a:pt x="542" y="375"/>
                  <a:pt x="542" y="376"/>
                  <a:pt x="540" y="376"/>
                </a:cubicBezTo>
                <a:cubicBezTo>
                  <a:pt x="541" y="375"/>
                  <a:pt x="541" y="375"/>
                  <a:pt x="542" y="374"/>
                </a:cubicBezTo>
                <a:close/>
                <a:moveTo>
                  <a:pt x="541" y="481"/>
                </a:moveTo>
                <a:cubicBezTo>
                  <a:pt x="541" y="481"/>
                  <a:pt x="542" y="479"/>
                  <a:pt x="542" y="478"/>
                </a:cubicBezTo>
                <a:cubicBezTo>
                  <a:pt x="543" y="480"/>
                  <a:pt x="541" y="480"/>
                  <a:pt x="541" y="481"/>
                </a:cubicBezTo>
                <a:close/>
                <a:moveTo>
                  <a:pt x="545" y="428"/>
                </a:moveTo>
                <a:cubicBezTo>
                  <a:pt x="545" y="429"/>
                  <a:pt x="543" y="432"/>
                  <a:pt x="541" y="434"/>
                </a:cubicBezTo>
                <a:cubicBezTo>
                  <a:pt x="542" y="431"/>
                  <a:pt x="547" y="424"/>
                  <a:pt x="545" y="428"/>
                </a:cubicBezTo>
                <a:close/>
                <a:moveTo>
                  <a:pt x="543" y="373"/>
                </a:moveTo>
                <a:cubicBezTo>
                  <a:pt x="544" y="374"/>
                  <a:pt x="542" y="374"/>
                  <a:pt x="543" y="373"/>
                </a:cubicBezTo>
                <a:close/>
                <a:moveTo>
                  <a:pt x="554" y="422"/>
                </a:moveTo>
                <a:cubicBezTo>
                  <a:pt x="555" y="421"/>
                  <a:pt x="555" y="420"/>
                  <a:pt x="555" y="420"/>
                </a:cubicBezTo>
                <a:cubicBezTo>
                  <a:pt x="555" y="421"/>
                  <a:pt x="555" y="421"/>
                  <a:pt x="554" y="422"/>
                </a:cubicBezTo>
                <a:close/>
                <a:moveTo>
                  <a:pt x="556" y="397"/>
                </a:moveTo>
                <a:cubicBezTo>
                  <a:pt x="556" y="396"/>
                  <a:pt x="557" y="395"/>
                  <a:pt x="558" y="394"/>
                </a:cubicBezTo>
                <a:cubicBezTo>
                  <a:pt x="558" y="395"/>
                  <a:pt x="557" y="397"/>
                  <a:pt x="556" y="397"/>
                </a:cubicBezTo>
                <a:close/>
                <a:moveTo>
                  <a:pt x="559" y="393"/>
                </a:moveTo>
                <a:cubicBezTo>
                  <a:pt x="558" y="392"/>
                  <a:pt x="560" y="391"/>
                  <a:pt x="559" y="393"/>
                </a:cubicBezTo>
                <a:close/>
                <a:moveTo>
                  <a:pt x="556" y="329"/>
                </a:moveTo>
                <a:cubicBezTo>
                  <a:pt x="557" y="327"/>
                  <a:pt x="559" y="327"/>
                  <a:pt x="561" y="325"/>
                </a:cubicBezTo>
                <a:cubicBezTo>
                  <a:pt x="564" y="321"/>
                  <a:pt x="566" y="316"/>
                  <a:pt x="570" y="314"/>
                </a:cubicBezTo>
                <a:cubicBezTo>
                  <a:pt x="570" y="318"/>
                  <a:pt x="564" y="320"/>
                  <a:pt x="563" y="323"/>
                </a:cubicBezTo>
                <a:cubicBezTo>
                  <a:pt x="562" y="325"/>
                  <a:pt x="558" y="330"/>
                  <a:pt x="556" y="332"/>
                </a:cubicBezTo>
                <a:cubicBezTo>
                  <a:pt x="556" y="332"/>
                  <a:pt x="556" y="334"/>
                  <a:pt x="554" y="333"/>
                </a:cubicBezTo>
                <a:cubicBezTo>
                  <a:pt x="553" y="332"/>
                  <a:pt x="556" y="329"/>
                  <a:pt x="556" y="329"/>
                </a:cubicBezTo>
                <a:close/>
                <a:moveTo>
                  <a:pt x="553" y="269"/>
                </a:moveTo>
                <a:cubicBezTo>
                  <a:pt x="552" y="268"/>
                  <a:pt x="553" y="267"/>
                  <a:pt x="554" y="267"/>
                </a:cubicBezTo>
                <a:cubicBezTo>
                  <a:pt x="556" y="265"/>
                  <a:pt x="555" y="270"/>
                  <a:pt x="553" y="269"/>
                </a:cubicBezTo>
                <a:close/>
                <a:moveTo>
                  <a:pt x="559" y="305"/>
                </a:moveTo>
                <a:cubicBezTo>
                  <a:pt x="559" y="306"/>
                  <a:pt x="560" y="304"/>
                  <a:pt x="559" y="305"/>
                </a:cubicBezTo>
                <a:close/>
                <a:moveTo>
                  <a:pt x="557" y="240"/>
                </a:moveTo>
                <a:cubicBezTo>
                  <a:pt x="557" y="239"/>
                  <a:pt x="559" y="238"/>
                  <a:pt x="560" y="239"/>
                </a:cubicBezTo>
                <a:cubicBezTo>
                  <a:pt x="560" y="241"/>
                  <a:pt x="558" y="240"/>
                  <a:pt x="557" y="240"/>
                </a:cubicBezTo>
                <a:close/>
                <a:moveTo>
                  <a:pt x="562" y="297"/>
                </a:moveTo>
                <a:cubicBezTo>
                  <a:pt x="562" y="297"/>
                  <a:pt x="562" y="297"/>
                  <a:pt x="562" y="297"/>
                </a:cubicBezTo>
                <a:cubicBezTo>
                  <a:pt x="563" y="294"/>
                  <a:pt x="562" y="300"/>
                  <a:pt x="562" y="297"/>
                </a:cubicBezTo>
                <a:close/>
                <a:moveTo>
                  <a:pt x="566" y="259"/>
                </a:moveTo>
                <a:cubicBezTo>
                  <a:pt x="566" y="259"/>
                  <a:pt x="565" y="260"/>
                  <a:pt x="564" y="260"/>
                </a:cubicBezTo>
                <a:cubicBezTo>
                  <a:pt x="564" y="259"/>
                  <a:pt x="565" y="259"/>
                  <a:pt x="566" y="259"/>
                </a:cubicBezTo>
                <a:close/>
                <a:moveTo>
                  <a:pt x="565" y="234"/>
                </a:moveTo>
                <a:cubicBezTo>
                  <a:pt x="565" y="234"/>
                  <a:pt x="565" y="235"/>
                  <a:pt x="565" y="235"/>
                </a:cubicBezTo>
                <a:cubicBezTo>
                  <a:pt x="564" y="235"/>
                  <a:pt x="565" y="234"/>
                  <a:pt x="565" y="234"/>
                </a:cubicBezTo>
                <a:close/>
                <a:moveTo>
                  <a:pt x="567" y="309"/>
                </a:moveTo>
                <a:cubicBezTo>
                  <a:pt x="567" y="309"/>
                  <a:pt x="567" y="308"/>
                  <a:pt x="567" y="308"/>
                </a:cubicBezTo>
                <a:cubicBezTo>
                  <a:pt x="568" y="306"/>
                  <a:pt x="567" y="311"/>
                  <a:pt x="567" y="309"/>
                </a:cubicBezTo>
                <a:close/>
                <a:moveTo>
                  <a:pt x="567" y="294"/>
                </a:moveTo>
                <a:cubicBezTo>
                  <a:pt x="568" y="293"/>
                  <a:pt x="567" y="295"/>
                  <a:pt x="567" y="294"/>
                </a:cubicBezTo>
                <a:close/>
                <a:moveTo>
                  <a:pt x="569" y="229"/>
                </a:moveTo>
                <a:cubicBezTo>
                  <a:pt x="568" y="228"/>
                  <a:pt x="573" y="224"/>
                  <a:pt x="573" y="224"/>
                </a:cubicBezTo>
                <a:cubicBezTo>
                  <a:pt x="578" y="222"/>
                  <a:pt x="570" y="230"/>
                  <a:pt x="569" y="229"/>
                </a:cubicBezTo>
                <a:close/>
                <a:moveTo>
                  <a:pt x="572" y="359"/>
                </a:moveTo>
                <a:cubicBezTo>
                  <a:pt x="572" y="359"/>
                  <a:pt x="571" y="359"/>
                  <a:pt x="571" y="360"/>
                </a:cubicBezTo>
                <a:cubicBezTo>
                  <a:pt x="571" y="360"/>
                  <a:pt x="571" y="360"/>
                  <a:pt x="571" y="360"/>
                </a:cubicBezTo>
                <a:cubicBezTo>
                  <a:pt x="571" y="360"/>
                  <a:pt x="572" y="359"/>
                  <a:pt x="572" y="359"/>
                </a:cubicBezTo>
                <a:close/>
                <a:moveTo>
                  <a:pt x="569" y="301"/>
                </a:moveTo>
                <a:cubicBezTo>
                  <a:pt x="569" y="302"/>
                  <a:pt x="570" y="299"/>
                  <a:pt x="569" y="301"/>
                </a:cubicBezTo>
                <a:close/>
                <a:moveTo>
                  <a:pt x="570" y="335"/>
                </a:moveTo>
                <a:cubicBezTo>
                  <a:pt x="569" y="336"/>
                  <a:pt x="568" y="337"/>
                  <a:pt x="567" y="339"/>
                </a:cubicBezTo>
                <a:cubicBezTo>
                  <a:pt x="567" y="337"/>
                  <a:pt x="568" y="336"/>
                  <a:pt x="570" y="335"/>
                </a:cubicBezTo>
                <a:close/>
                <a:moveTo>
                  <a:pt x="560" y="391"/>
                </a:moveTo>
                <a:cubicBezTo>
                  <a:pt x="560" y="390"/>
                  <a:pt x="560" y="390"/>
                  <a:pt x="561" y="389"/>
                </a:cubicBezTo>
                <a:cubicBezTo>
                  <a:pt x="561" y="390"/>
                  <a:pt x="561" y="391"/>
                  <a:pt x="560" y="391"/>
                </a:cubicBezTo>
                <a:close/>
                <a:moveTo>
                  <a:pt x="559" y="346"/>
                </a:moveTo>
                <a:cubicBezTo>
                  <a:pt x="560" y="344"/>
                  <a:pt x="562" y="343"/>
                  <a:pt x="564" y="341"/>
                </a:cubicBezTo>
                <a:cubicBezTo>
                  <a:pt x="563" y="343"/>
                  <a:pt x="561" y="345"/>
                  <a:pt x="559" y="346"/>
                </a:cubicBezTo>
                <a:close/>
                <a:moveTo>
                  <a:pt x="565" y="358"/>
                </a:moveTo>
                <a:cubicBezTo>
                  <a:pt x="565" y="359"/>
                  <a:pt x="564" y="360"/>
                  <a:pt x="563" y="360"/>
                </a:cubicBezTo>
                <a:cubicBezTo>
                  <a:pt x="564" y="360"/>
                  <a:pt x="565" y="359"/>
                  <a:pt x="565" y="358"/>
                </a:cubicBezTo>
                <a:close/>
                <a:moveTo>
                  <a:pt x="564" y="552"/>
                </a:moveTo>
                <a:cubicBezTo>
                  <a:pt x="563" y="551"/>
                  <a:pt x="565" y="550"/>
                  <a:pt x="565" y="549"/>
                </a:cubicBezTo>
                <a:cubicBezTo>
                  <a:pt x="565" y="550"/>
                  <a:pt x="565" y="551"/>
                  <a:pt x="564" y="552"/>
                </a:cubicBezTo>
                <a:close/>
                <a:moveTo>
                  <a:pt x="566" y="450"/>
                </a:moveTo>
                <a:cubicBezTo>
                  <a:pt x="568" y="448"/>
                  <a:pt x="567" y="453"/>
                  <a:pt x="566" y="453"/>
                </a:cubicBezTo>
                <a:cubicBezTo>
                  <a:pt x="565" y="452"/>
                  <a:pt x="566" y="450"/>
                  <a:pt x="566" y="450"/>
                </a:cubicBezTo>
                <a:close/>
                <a:moveTo>
                  <a:pt x="566" y="570"/>
                </a:moveTo>
                <a:cubicBezTo>
                  <a:pt x="566" y="570"/>
                  <a:pt x="567" y="570"/>
                  <a:pt x="567" y="570"/>
                </a:cubicBezTo>
                <a:cubicBezTo>
                  <a:pt x="568" y="570"/>
                  <a:pt x="566" y="571"/>
                  <a:pt x="566" y="570"/>
                </a:cubicBezTo>
                <a:close/>
                <a:moveTo>
                  <a:pt x="569" y="442"/>
                </a:moveTo>
                <a:cubicBezTo>
                  <a:pt x="570" y="441"/>
                  <a:pt x="567" y="444"/>
                  <a:pt x="569" y="442"/>
                </a:cubicBezTo>
                <a:close/>
                <a:moveTo>
                  <a:pt x="567" y="349"/>
                </a:moveTo>
                <a:cubicBezTo>
                  <a:pt x="567" y="349"/>
                  <a:pt x="567" y="347"/>
                  <a:pt x="568" y="347"/>
                </a:cubicBezTo>
                <a:cubicBezTo>
                  <a:pt x="570" y="344"/>
                  <a:pt x="569" y="350"/>
                  <a:pt x="567" y="349"/>
                </a:cubicBezTo>
                <a:close/>
                <a:moveTo>
                  <a:pt x="571" y="537"/>
                </a:moveTo>
                <a:cubicBezTo>
                  <a:pt x="572" y="538"/>
                  <a:pt x="570" y="540"/>
                  <a:pt x="569" y="542"/>
                </a:cubicBezTo>
                <a:cubicBezTo>
                  <a:pt x="569" y="541"/>
                  <a:pt x="571" y="539"/>
                  <a:pt x="571" y="537"/>
                </a:cubicBezTo>
                <a:close/>
                <a:moveTo>
                  <a:pt x="570" y="574"/>
                </a:moveTo>
                <a:cubicBezTo>
                  <a:pt x="569" y="574"/>
                  <a:pt x="570" y="571"/>
                  <a:pt x="570" y="571"/>
                </a:cubicBezTo>
                <a:cubicBezTo>
                  <a:pt x="573" y="569"/>
                  <a:pt x="572" y="575"/>
                  <a:pt x="570" y="574"/>
                </a:cubicBezTo>
                <a:close/>
                <a:moveTo>
                  <a:pt x="572" y="501"/>
                </a:moveTo>
                <a:cubicBezTo>
                  <a:pt x="573" y="500"/>
                  <a:pt x="571" y="503"/>
                  <a:pt x="572" y="501"/>
                </a:cubicBezTo>
                <a:close/>
                <a:moveTo>
                  <a:pt x="572" y="232"/>
                </a:moveTo>
                <a:cubicBezTo>
                  <a:pt x="572" y="231"/>
                  <a:pt x="574" y="230"/>
                  <a:pt x="574" y="231"/>
                </a:cubicBezTo>
                <a:cubicBezTo>
                  <a:pt x="575" y="232"/>
                  <a:pt x="573" y="233"/>
                  <a:pt x="572" y="232"/>
                </a:cubicBezTo>
                <a:close/>
                <a:moveTo>
                  <a:pt x="574" y="385"/>
                </a:moveTo>
                <a:cubicBezTo>
                  <a:pt x="574" y="385"/>
                  <a:pt x="573" y="385"/>
                  <a:pt x="573" y="384"/>
                </a:cubicBezTo>
                <a:cubicBezTo>
                  <a:pt x="573" y="383"/>
                  <a:pt x="575" y="385"/>
                  <a:pt x="574" y="385"/>
                </a:cubicBezTo>
                <a:close/>
                <a:moveTo>
                  <a:pt x="574" y="252"/>
                </a:moveTo>
                <a:cubicBezTo>
                  <a:pt x="573" y="251"/>
                  <a:pt x="574" y="250"/>
                  <a:pt x="574" y="250"/>
                </a:cubicBezTo>
                <a:cubicBezTo>
                  <a:pt x="576" y="249"/>
                  <a:pt x="575" y="252"/>
                  <a:pt x="574" y="252"/>
                </a:cubicBezTo>
                <a:close/>
                <a:moveTo>
                  <a:pt x="576" y="495"/>
                </a:moveTo>
                <a:cubicBezTo>
                  <a:pt x="576" y="496"/>
                  <a:pt x="575" y="496"/>
                  <a:pt x="575" y="497"/>
                </a:cubicBezTo>
                <a:cubicBezTo>
                  <a:pt x="574" y="497"/>
                  <a:pt x="575" y="496"/>
                  <a:pt x="576" y="495"/>
                </a:cubicBezTo>
                <a:close/>
                <a:moveTo>
                  <a:pt x="576" y="533"/>
                </a:moveTo>
                <a:cubicBezTo>
                  <a:pt x="575" y="533"/>
                  <a:pt x="577" y="532"/>
                  <a:pt x="576" y="533"/>
                </a:cubicBezTo>
                <a:close/>
                <a:moveTo>
                  <a:pt x="577" y="315"/>
                </a:moveTo>
                <a:cubicBezTo>
                  <a:pt x="578" y="316"/>
                  <a:pt x="576" y="316"/>
                  <a:pt x="576" y="315"/>
                </a:cubicBezTo>
                <a:cubicBezTo>
                  <a:pt x="576" y="315"/>
                  <a:pt x="577" y="314"/>
                  <a:pt x="577" y="315"/>
                </a:cubicBezTo>
                <a:close/>
                <a:moveTo>
                  <a:pt x="577" y="253"/>
                </a:moveTo>
                <a:cubicBezTo>
                  <a:pt x="578" y="252"/>
                  <a:pt x="577" y="254"/>
                  <a:pt x="577" y="253"/>
                </a:cubicBezTo>
                <a:close/>
                <a:moveTo>
                  <a:pt x="581" y="538"/>
                </a:moveTo>
                <a:cubicBezTo>
                  <a:pt x="582" y="540"/>
                  <a:pt x="579" y="540"/>
                  <a:pt x="581" y="538"/>
                </a:cubicBezTo>
                <a:close/>
                <a:moveTo>
                  <a:pt x="576" y="423"/>
                </a:moveTo>
                <a:cubicBezTo>
                  <a:pt x="579" y="421"/>
                  <a:pt x="580" y="415"/>
                  <a:pt x="583" y="415"/>
                </a:cubicBezTo>
                <a:cubicBezTo>
                  <a:pt x="582" y="415"/>
                  <a:pt x="580" y="422"/>
                  <a:pt x="576" y="423"/>
                </a:cubicBezTo>
                <a:close/>
                <a:moveTo>
                  <a:pt x="581" y="348"/>
                </a:moveTo>
                <a:cubicBezTo>
                  <a:pt x="582" y="347"/>
                  <a:pt x="581" y="351"/>
                  <a:pt x="582" y="349"/>
                </a:cubicBezTo>
                <a:cubicBezTo>
                  <a:pt x="582" y="349"/>
                  <a:pt x="581" y="349"/>
                  <a:pt x="581" y="348"/>
                </a:cubicBezTo>
                <a:close/>
                <a:moveTo>
                  <a:pt x="583" y="310"/>
                </a:moveTo>
                <a:cubicBezTo>
                  <a:pt x="581" y="309"/>
                  <a:pt x="583" y="305"/>
                  <a:pt x="584" y="305"/>
                </a:cubicBezTo>
                <a:cubicBezTo>
                  <a:pt x="588" y="302"/>
                  <a:pt x="586" y="312"/>
                  <a:pt x="583" y="310"/>
                </a:cubicBezTo>
                <a:close/>
                <a:moveTo>
                  <a:pt x="585" y="506"/>
                </a:moveTo>
                <a:cubicBezTo>
                  <a:pt x="585" y="507"/>
                  <a:pt x="585" y="506"/>
                  <a:pt x="586" y="506"/>
                </a:cubicBezTo>
                <a:cubicBezTo>
                  <a:pt x="586" y="506"/>
                  <a:pt x="586" y="506"/>
                  <a:pt x="585" y="506"/>
                </a:cubicBezTo>
                <a:close/>
                <a:moveTo>
                  <a:pt x="586" y="505"/>
                </a:moveTo>
                <a:cubicBezTo>
                  <a:pt x="584" y="505"/>
                  <a:pt x="586" y="500"/>
                  <a:pt x="587" y="500"/>
                </a:cubicBezTo>
                <a:cubicBezTo>
                  <a:pt x="589" y="499"/>
                  <a:pt x="588" y="506"/>
                  <a:pt x="586" y="505"/>
                </a:cubicBezTo>
                <a:close/>
                <a:moveTo>
                  <a:pt x="587" y="431"/>
                </a:moveTo>
                <a:cubicBezTo>
                  <a:pt x="587" y="431"/>
                  <a:pt x="587" y="431"/>
                  <a:pt x="587" y="430"/>
                </a:cubicBezTo>
                <a:cubicBezTo>
                  <a:pt x="588" y="429"/>
                  <a:pt x="587" y="430"/>
                  <a:pt x="587" y="431"/>
                </a:cubicBezTo>
                <a:close/>
                <a:moveTo>
                  <a:pt x="584" y="371"/>
                </a:moveTo>
                <a:cubicBezTo>
                  <a:pt x="587" y="368"/>
                  <a:pt x="589" y="364"/>
                  <a:pt x="593" y="361"/>
                </a:cubicBezTo>
                <a:cubicBezTo>
                  <a:pt x="591" y="365"/>
                  <a:pt x="588" y="368"/>
                  <a:pt x="584" y="371"/>
                </a:cubicBezTo>
                <a:close/>
                <a:moveTo>
                  <a:pt x="587" y="302"/>
                </a:moveTo>
                <a:cubicBezTo>
                  <a:pt x="587" y="302"/>
                  <a:pt x="587" y="302"/>
                  <a:pt x="587" y="302"/>
                </a:cubicBezTo>
                <a:cubicBezTo>
                  <a:pt x="587" y="302"/>
                  <a:pt x="587" y="302"/>
                  <a:pt x="587" y="302"/>
                </a:cubicBezTo>
                <a:cubicBezTo>
                  <a:pt x="587" y="302"/>
                  <a:pt x="587" y="302"/>
                  <a:pt x="587" y="302"/>
                </a:cubicBezTo>
                <a:close/>
                <a:moveTo>
                  <a:pt x="588" y="262"/>
                </a:moveTo>
                <a:cubicBezTo>
                  <a:pt x="589" y="262"/>
                  <a:pt x="589" y="264"/>
                  <a:pt x="588" y="264"/>
                </a:cubicBezTo>
                <a:cubicBezTo>
                  <a:pt x="588" y="264"/>
                  <a:pt x="589" y="263"/>
                  <a:pt x="588" y="262"/>
                </a:cubicBezTo>
                <a:close/>
                <a:moveTo>
                  <a:pt x="608" y="272"/>
                </a:moveTo>
                <a:cubicBezTo>
                  <a:pt x="604" y="277"/>
                  <a:pt x="599" y="281"/>
                  <a:pt x="593" y="285"/>
                </a:cubicBezTo>
                <a:cubicBezTo>
                  <a:pt x="598" y="280"/>
                  <a:pt x="602" y="276"/>
                  <a:pt x="608" y="272"/>
                </a:cubicBezTo>
                <a:close/>
                <a:moveTo>
                  <a:pt x="602" y="270"/>
                </a:moveTo>
                <a:cubicBezTo>
                  <a:pt x="602" y="269"/>
                  <a:pt x="603" y="268"/>
                  <a:pt x="603" y="270"/>
                </a:cubicBezTo>
                <a:cubicBezTo>
                  <a:pt x="604" y="271"/>
                  <a:pt x="602" y="270"/>
                  <a:pt x="602" y="270"/>
                </a:cubicBezTo>
                <a:close/>
                <a:moveTo>
                  <a:pt x="595" y="289"/>
                </a:moveTo>
                <a:cubicBezTo>
                  <a:pt x="596" y="288"/>
                  <a:pt x="597" y="288"/>
                  <a:pt x="597" y="288"/>
                </a:cubicBezTo>
                <a:cubicBezTo>
                  <a:pt x="598" y="288"/>
                  <a:pt x="591" y="297"/>
                  <a:pt x="589" y="296"/>
                </a:cubicBezTo>
                <a:cubicBezTo>
                  <a:pt x="588" y="296"/>
                  <a:pt x="595" y="289"/>
                  <a:pt x="595" y="289"/>
                </a:cubicBezTo>
                <a:close/>
                <a:moveTo>
                  <a:pt x="595" y="391"/>
                </a:moveTo>
                <a:cubicBezTo>
                  <a:pt x="595" y="393"/>
                  <a:pt x="593" y="392"/>
                  <a:pt x="595" y="391"/>
                </a:cubicBezTo>
                <a:close/>
                <a:moveTo>
                  <a:pt x="594" y="394"/>
                </a:moveTo>
                <a:cubicBezTo>
                  <a:pt x="595" y="393"/>
                  <a:pt x="594" y="395"/>
                  <a:pt x="594" y="394"/>
                </a:cubicBezTo>
                <a:close/>
                <a:moveTo>
                  <a:pt x="591" y="396"/>
                </a:moveTo>
                <a:cubicBezTo>
                  <a:pt x="592" y="396"/>
                  <a:pt x="592" y="394"/>
                  <a:pt x="593" y="394"/>
                </a:cubicBezTo>
                <a:cubicBezTo>
                  <a:pt x="593" y="395"/>
                  <a:pt x="592" y="396"/>
                  <a:pt x="591" y="396"/>
                </a:cubicBezTo>
                <a:close/>
                <a:moveTo>
                  <a:pt x="592" y="398"/>
                </a:moveTo>
                <a:cubicBezTo>
                  <a:pt x="593" y="398"/>
                  <a:pt x="590" y="400"/>
                  <a:pt x="592" y="398"/>
                </a:cubicBezTo>
                <a:close/>
                <a:moveTo>
                  <a:pt x="593" y="300"/>
                </a:moveTo>
                <a:cubicBezTo>
                  <a:pt x="592" y="300"/>
                  <a:pt x="593" y="299"/>
                  <a:pt x="593" y="299"/>
                </a:cubicBezTo>
                <a:cubicBezTo>
                  <a:pt x="594" y="297"/>
                  <a:pt x="595" y="301"/>
                  <a:pt x="593" y="300"/>
                </a:cubicBezTo>
                <a:close/>
                <a:moveTo>
                  <a:pt x="593" y="297"/>
                </a:moveTo>
                <a:cubicBezTo>
                  <a:pt x="593" y="296"/>
                  <a:pt x="594" y="296"/>
                  <a:pt x="595" y="295"/>
                </a:cubicBezTo>
                <a:cubicBezTo>
                  <a:pt x="595" y="296"/>
                  <a:pt x="594" y="297"/>
                  <a:pt x="593" y="297"/>
                </a:cubicBezTo>
                <a:close/>
                <a:moveTo>
                  <a:pt x="592" y="298"/>
                </a:moveTo>
                <a:cubicBezTo>
                  <a:pt x="591" y="300"/>
                  <a:pt x="589" y="299"/>
                  <a:pt x="592" y="298"/>
                </a:cubicBezTo>
                <a:close/>
                <a:moveTo>
                  <a:pt x="589" y="303"/>
                </a:moveTo>
                <a:cubicBezTo>
                  <a:pt x="589" y="303"/>
                  <a:pt x="589" y="302"/>
                  <a:pt x="589" y="302"/>
                </a:cubicBezTo>
                <a:cubicBezTo>
                  <a:pt x="591" y="300"/>
                  <a:pt x="590" y="304"/>
                  <a:pt x="589" y="303"/>
                </a:cubicBezTo>
                <a:close/>
                <a:moveTo>
                  <a:pt x="590" y="320"/>
                </a:moveTo>
                <a:cubicBezTo>
                  <a:pt x="590" y="321"/>
                  <a:pt x="589" y="321"/>
                  <a:pt x="589" y="322"/>
                </a:cubicBezTo>
                <a:cubicBezTo>
                  <a:pt x="588" y="322"/>
                  <a:pt x="589" y="321"/>
                  <a:pt x="590" y="320"/>
                </a:cubicBezTo>
                <a:close/>
                <a:moveTo>
                  <a:pt x="589" y="289"/>
                </a:moveTo>
                <a:cubicBezTo>
                  <a:pt x="588" y="287"/>
                  <a:pt x="591" y="287"/>
                  <a:pt x="592" y="285"/>
                </a:cubicBezTo>
                <a:cubicBezTo>
                  <a:pt x="593" y="286"/>
                  <a:pt x="590" y="288"/>
                  <a:pt x="589" y="289"/>
                </a:cubicBezTo>
                <a:close/>
                <a:moveTo>
                  <a:pt x="588" y="267"/>
                </a:moveTo>
                <a:cubicBezTo>
                  <a:pt x="588" y="267"/>
                  <a:pt x="588" y="267"/>
                  <a:pt x="588" y="267"/>
                </a:cubicBezTo>
                <a:cubicBezTo>
                  <a:pt x="588" y="267"/>
                  <a:pt x="588" y="267"/>
                  <a:pt x="588" y="268"/>
                </a:cubicBezTo>
                <a:cubicBezTo>
                  <a:pt x="588" y="268"/>
                  <a:pt x="588" y="267"/>
                  <a:pt x="588" y="267"/>
                </a:cubicBezTo>
                <a:close/>
                <a:moveTo>
                  <a:pt x="590" y="400"/>
                </a:moveTo>
                <a:cubicBezTo>
                  <a:pt x="590" y="401"/>
                  <a:pt x="591" y="398"/>
                  <a:pt x="590" y="400"/>
                </a:cubicBezTo>
                <a:close/>
                <a:moveTo>
                  <a:pt x="590" y="437"/>
                </a:moveTo>
                <a:cubicBezTo>
                  <a:pt x="590" y="436"/>
                  <a:pt x="590" y="435"/>
                  <a:pt x="592" y="434"/>
                </a:cubicBezTo>
                <a:cubicBezTo>
                  <a:pt x="593" y="434"/>
                  <a:pt x="594" y="433"/>
                  <a:pt x="595" y="434"/>
                </a:cubicBezTo>
                <a:cubicBezTo>
                  <a:pt x="597" y="438"/>
                  <a:pt x="590" y="441"/>
                  <a:pt x="590" y="437"/>
                </a:cubicBezTo>
                <a:close/>
                <a:moveTo>
                  <a:pt x="595" y="391"/>
                </a:moveTo>
                <a:cubicBezTo>
                  <a:pt x="595" y="390"/>
                  <a:pt x="595" y="390"/>
                  <a:pt x="596" y="389"/>
                </a:cubicBezTo>
                <a:cubicBezTo>
                  <a:pt x="596" y="390"/>
                  <a:pt x="596" y="391"/>
                  <a:pt x="595" y="391"/>
                </a:cubicBezTo>
                <a:close/>
                <a:moveTo>
                  <a:pt x="596" y="565"/>
                </a:moveTo>
                <a:cubicBezTo>
                  <a:pt x="596" y="565"/>
                  <a:pt x="596" y="565"/>
                  <a:pt x="596" y="565"/>
                </a:cubicBezTo>
                <a:cubicBezTo>
                  <a:pt x="596" y="565"/>
                  <a:pt x="596" y="565"/>
                  <a:pt x="596" y="565"/>
                </a:cubicBezTo>
                <a:cubicBezTo>
                  <a:pt x="596" y="565"/>
                  <a:pt x="596" y="565"/>
                  <a:pt x="596" y="565"/>
                </a:cubicBezTo>
                <a:close/>
                <a:moveTo>
                  <a:pt x="596" y="436"/>
                </a:moveTo>
                <a:cubicBezTo>
                  <a:pt x="598" y="435"/>
                  <a:pt x="595" y="438"/>
                  <a:pt x="596" y="436"/>
                </a:cubicBezTo>
                <a:close/>
                <a:moveTo>
                  <a:pt x="596" y="392"/>
                </a:moveTo>
                <a:cubicBezTo>
                  <a:pt x="596" y="391"/>
                  <a:pt x="597" y="390"/>
                  <a:pt x="597" y="390"/>
                </a:cubicBezTo>
                <a:cubicBezTo>
                  <a:pt x="597" y="391"/>
                  <a:pt x="597" y="392"/>
                  <a:pt x="596" y="392"/>
                </a:cubicBezTo>
                <a:close/>
                <a:moveTo>
                  <a:pt x="596" y="389"/>
                </a:moveTo>
                <a:cubicBezTo>
                  <a:pt x="597" y="388"/>
                  <a:pt x="597" y="388"/>
                  <a:pt x="598" y="387"/>
                </a:cubicBezTo>
                <a:cubicBezTo>
                  <a:pt x="598" y="388"/>
                  <a:pt x="597" y="389"/>
                  <a:pt x="596" y="389"/>
                </a:cubicBezTo>
                <a:close/>
                <a:moveTo>
                  <a:pt x="597" y="541"/>
                </a:moveTo>
                <a:cubicBezTo>
                  <a:pt x="596" y="541"/>
                  <a:pt x="598" y="540"/>
                  <a:pt x="597" y="539"/>
                </a:cubicBezTo>
                <a:cubicBezTo>
                  <a:pt x="598" y="539"/>
                  <a:pt x="597" y="541"/>
                  <a:pt x="597" y="541"/>
                </a:cubicBezTo>
                <a:close/>
                <a:moveTo>
                  <a:pt x="597" y="347"/>
                </a:moveTo>
                <a:cubicBezTo>
                  <a:pt x="597" y="347"/>
                  <a:pt x="597" y="346"/>
                  <a:pt x="597" y="346"/>
                </a:cubicBezTo>
                <a:cubicBezTo>
                  <a:pt x="598" y="344"/>
                  <a:pt x="598" y="348"/>
                  <a:pt x="597" y="347"/>
                </a:cubicBezTo>
                <a:close/>
                <a:moveTo>
                  <a:pt x="598" y="386"/>
                </a:moveTo>
                <a:cubicBezTo>
                  <a:pt x="599" y="385"/>
                  <a:pt x="597" y="388"/>
                  <a:pt x="598" y="386"/>
                </a:cubicBezTo>
                <a:close/>
                <a:moveTo>
                  <a:pt x="600" y="336"/>
                </a:moveTo>
                <a:cubicBezTo>
                  <a:pt x="598" y="339"/>
                  <a:pt x="603" y="335"/>
                  <a:pt x="600" y="336"/>
                </a:cubicBezTo>
                <a:close/>
                <a:moveTo>
                  <a:pt x="601" y="360"/>
                </a:moveTo>
                <a:cubicBezTo>
                  <a:pt x="602" y="358"/>
                  <a:pt x="600" y="361"/>
                  <a:pt x="601" y="360"/>
                </a:cubicBezTo>
                <a:close/>
                <a:moveTo>
                  <a:pt x="601" y="299"/>
                </a:moveTo>
                <a:cubicBezTo>
                  <a:pt x="600" y="298"/>
                  <a:pt x="602" y="296"/>
                  <a:pt x="602" y="298"/>
                </a:cubicBezTo>
                <a:cubicBezTo>
                  <a:pt x="603" y="298"/>
                  <a:pt x="602" y="299"/>
                  <a:pt x="601" y="299"/>
                </a:cubicBezTo>
                <a:close/>
                <a:moveTo>
                  <a:pt x="602" y="291"/>
                </a:moveTo>
                <a:cubicBezTo>
                  <a:pt x="601" y="290"/>
                  <a:pt x="603" y="290"/>
                  <a:pt x="603" y="291"/>
                </a:cubicBezTo>
                <a:cubicBezTo>
                  <a:pt x="602" y="291"/>
                  <a:pt x="602" y="291"/>
                  <a:pt x="602" y="291"/>
                </a:cubicBezTo>
                <a:close/>
                <a:moveTo>
                  <a:pt x="603" y="334"/>
                </a:moveTo>
                <a:cubicBezTo>
                  <a:pt x="603" y="333"/>
                  <a:pt x="604" y="332"/>
                  <a:pt x="605" y="331"/>
                </a:cubicBezTo>
                <a:cubicBezTo>
                  <a:pt x="605" y="333"/>
                  <a:pt x="604" y="333"/>
                  <a:pt x="603" y="334"/>
                </a:cubicBezTo>
                <a:close/>
                <a:moveTo>
                  <a:pt x="605" y="302"/>
                </a:moveTo>
                <a:cubicBezTo>
                  <a:pt x="605" y="302"/>
                  <a:pt x="605" y="302"/>
                  <a:pt x="605" y="302"/>
                </a:cubicBezTo>
                <a:cubicBezTo>
                  <a:pt x="606" y="304"/>
                  <a:pt x="603" y="302"/>
                  <a:pt x="605" y="302"/>
                </a:cubicBezTo>
                <a:close/>
                <a:moveTo>
                  <a:pt x="605" y="373"/>
                </a:moveTo>
                <a:cubicBezTo>
                  <a:pt x="605" y="373"/>
                  <a:pt x="606" y="373"/>
                  <a:pt x="606" y="373"/>
                </a:cubicBezTo>
                <a:cubicBezTo>
                  <a:pt x="606" y="374"/>
                  <a:pt x="605" y="373"/>
                  <a:pt x="605" y="373"/>
                </a:cubicBezTo>
                <a:close/>
                <a:moveTo>
                  <a:pt x="606" y="568"/>
                </a:moveTo>
                <a:cubicBezTo>
                  <a:pt x="607" y="567"/>
                  <a:pt x="605" y="570"/>
                  <a:pt x="606" y="568"/>
                </a:cubicBezTo>
                <a:close/>
                <a:moveTo>
                  <a:pt x="608" y="285"/>
                </a:moveTo>
                <a:cubicBezTo>
                  <a:pt x="608" y="285"/>
                  <a:pt x="609" y="284"/>
                  <a:pt x="609" y="284"/>
                </a:cubicBezTo>
                <a:cubicBezTo>
                  <a:pt x="610" y="286"/>
                  <a:pt x="607" y="286"/>
                  <a:pt x="608" y="285"/>
                </a:cubicBezTo>
                <a:close/>
                <a:moveTo>
                  <a:pt x="609" y="319"/>
                </a:moveTo>
                <a:cubicBezTo>
                  <a:pt x="610" y="317"/>
                  <a:pt x="608" y="320"/>
                  <a:pt x="609" y="319"/>
                </a:cubicBezTo>
                <a:close/>
                <a:moveTo>
                  <a:pt x="609" y="350"/>
                </a:moveTo>
                <a:cubicBezTo>
                  <a:pt x="610" y="349"/>
                  <a:pt x="607" y="351"/>
                  <a:pt x="609" y="350"/>
                </a:cubicBezTo>
                <a:close/>
                <a:moveTo>
                  <a:pt x="609" y="376"/>
                </a:moveTo>
                <a:cubicBezTo>
                  <a:pt x="611" y="374"/>
                  <a:pt x="611" y="380"/>
                  <a:pt x="609" y="380"/>
                </a:cubicBezTo>
                <a:cubicBezTo>
                  <a:pt x="608" y="379"/>
                  <a:pt x="609" y="377"/>
                  <a:pt x="609" y="376"/>
                </a:cubicBezTo>
                <a:close/>
                <a:moveTo>
                  <a:pt x="609" y="486"/>
                </a:moveTo>
                <a:cubicBezTo>
                  <a:pt x="608" y="486"/>
                  <a:pt x="608" y="485"/>
                  <a:pt x="609" y="485"/>
                </a:cubicBezTo>
                <a:cubicBezTo>
                  <a:pt x="609" y="483"/>
                  <a:pt x="610" y="487"/>
                  <a:pt x="609" y="486"/>
                </a:cubicBezTo>
                <a:close/>
                <a:moveTo>
                  <a:pt x="610" y="419"/>
                </a:moveTo>
                <a:cubicBezTo>
                  <a:pt x="611" y="417"/>
                  <a:pt x="612" y="418"/>
                  <a:pt x="610" y="419"/>
                </a:cubicBezTo>
                <a:close/>
                <a:moveTo>
                  <a:pt x="609" y="349"/>
                </a:moveTo>
                <a:cubicBezTo>
                  <a:pt x="610" y="347"/>
                  <a:pt x="611" y="345"/>
                  <a:pt x="613" y="344"/>
                </a:cubicBezTo>
                <a:cubicBezTo>
                  <a:pt x="613" y="344"/>
                  <a:pt x="611" y="348"/>
                  <a:pt x="609" y="349"/>
                </a:cubicBezTo>
                <a:close/>
                <a:moveTo>
                  <a:pt x="614" y="312"/>
                </a:moveTo>
                <a:cubicBezTo>
                  <a:pt x="615" y="313"/>
                  <a:pt x="615" y="314"/>
                  <a:pt x="614" y="314"/>
                </a:cubicBezTo>
                <a:cubicBezTo>
                  <a:pt x="613" y="314"/>
                  <a:pt x="612" y="313"/>
                  <a:pt x="613" y="312"/>
                </a:cubicBezTo>
                <a:cubicBezTo>
                  <a:pt x="613" y="312"/>
                  <a:pt x="613" y="312"/>
                  <a:pt x="613" y="312"/>
                </a:cubicBezTo>
                <a:cubicBezTo>
                  <a:pt x="613" y="312"/>
                  <a:pt x="613" y="312"/>
                  <a:pt x="613" y="312"/>
                </a:cubicBezTo>
                <a:cubicBezTo>
                  <a:pt x="611" y="310"/>
                  <a:pt x="615" y="308"/>
                  <a:pt x="616" y="311"/>
                </a:cubicBezTo>
                <a:cubicBezTo>
                  <a:pt x="616" y="311"/>
                  <a:pt x="615" y="312"/>
                  <a:pt x="614" y="312"/>
                </a:cubicBezTo>
                <a:close/>
                <a:moveTo>
                  <a:pt x="613" y="276"/>
                </a:moveTo>
                <a:cubicBezTo>
                  <a:pt x="613" y="277"/>
                  <a:pt x="614" y="275"/>
                  <a:pt x="613" y="276"/>
                </a:cubicBezTo>
                <a:close/>
                <a:moveTo>
                  <a:pt x="613" y="259"/>
                </a:moveTo>
                <a:cubicBezTo>
                  <a:pt x="613" y="259"/>
                  <a:pt x="613" y="259"/>
                  <a:pt x="613" y="259"/>
                </a:cubicBezTo>
                <a:cubicBezTo>
                  <a:pt x="613" y="259"/>
                  <a:pt x="613" y="259"/>
                  <a:pt x="613" y="259"/>
                </a:cubicBezTo>
                <a:cubicBezTo>
                  <a:pt x="614" y="258"/>
                  <a:pt x="614" y="259"/>
                  <a:pt x="613" y="259"/>
                </a:cubicBezTo>
                <a:cubicBezTo>
                  <a:pt x="613" y="259"/>
                  <a:pt x="613" y="259"/>
                  <a:pt x="613" y="259"/>
                </a:cubicBezTo>
                <a:close/>
                <a:moveTo>
                  <a:pt x="615" y="309"/>
                </a:moveTo>
                <a:cubicBezTo>
                  <a:pt x="614" y="309"/>
                  <a:pt x="615" y="308"/>
                  <a:pt x="615" y="308"/>
                </a:cubicBezTo>
                <a:cubicBezTo>
                  <a:pt x="616" y="307"/>
                  <a:pt x="616" y="309"/>
                  <a:pt x="615" y="309"/>
                </a:cubicBezTo>
                <a:close/>
                <a:moveTo>
                  <a:pt x="616" y="256"/>
                </a:moveTo>
                <a:cubicBezTo>
                  <a:pt x="616" y="258"/>
                  <a:pt x="614" y="257"/>
                  <a:pt x="616" y="256"/>
                </a:cubicBezTo>
                <a:close/>
                <a:moveTo>
                  <a:pt x="616" y="260"/>
                </a:moveTo>
                <a:cubicBezTo>
                  <a:pt x="615" y="261"/>
                  <a:pt x="618" y="258"/>
                  <a:pt x="616" y="260"/>
                </a:cubicBezTo>
                <a:close/>
                <a:moveTo>
                  <a:pt x="616" y="343"/>
                </a:moveTo>
                <a:cubicBezTo>
                  <a:pt x="616" y="342"/>
                  <a:pt x="618" y="340"/>
                  <a:pt x="619" y="339"/>
                </a:cubicBezTo>
                <a:cubicBezTo>
                  <a:pt x="619" y="341"/>
                  <a:pt x="618" y="342"/>
                  <a:pt x="616" y="343"/>
                </a:cubicBezTo>
                <a:close/>
                <a:moveTo>
                  <a:pt x="617" y="301"/>
                </a:moveTo>
                <a:cubicBezTo>
                  <a:pt x="618" y="300"/>
                  <a:pt x="619" y="302"/>
                  <a:pt x="618" y="302"/>
                </a:cubicBezTo>
                <a:cubicBezTo>
                  <a:pt x="618" y="302"/>
                  <a:pt x="617" y="301"/>
                  <a:pt x="617" y="301"/>
                </a:cubicBezTo>
                <a:close/>
                <a:moveTo>
                  <a:pt x="618" y="491"/>
                </a:moveTo>
                <a:cubicBezTo>
                  <a:pt x="618" y="490"/>
                  <a:pt x="619" y="490"/>
                  <a:pt x="619" y="490"/>
                </a:cubicBezTo>
                <a:cubicBezTo>
                  <a:pt x="620" y="490"/>
                  <a:pt x="618" y="492"/>
                  <a:pt x="618" y="491"/>
                </a:cubicBezTo>
                <a:close/>
                <a:moveTo>
                  <a:pt x="622" y="396"/>
                </a:moveTo>
                <a:cubicBezTo>
                  <a:pt x="622" y="395"/>
                  <a:pt x="623" y="394"/>
                  <a:pt x="623" y="393"/>
                </a:cubicBezTo>
                <a:cubicBezTo>
                  <a:pt x="624" y="393"/>
                  <a:pt x="623" y="395"/>
                  <a:pt x="622" y="396"/>
                </a:cubicBezTo>
                <a:close/>
                <a:moveTo>
                  <a:pt x="630" y="439"/>
                </a:moveTo>
                <a:cubicBezTo>
                  <a:pt x="630" y="441"/>
                  <a:pt x="627" y="440"/>
                  <a:pt x="630" y="439"/>
                </a:cubicBezTo>
                <a:close/>
                <a:moveTo>
                  <a:pt x="631" y="548"/>
                </a:moveTo>
                <a:cubicBezTo>
                  <a:pt x="631" y="548"/>
                  <a:pt x="632" y="547"/>
                  <a:pt x="633" y="548"/>
                </a:cubicBezTo>
                <a:cubicBezTo>
                  <a:pt x="636" y="551"/>
                  <a:pt x="628" y="552"/>
                  <a:pt x="631" y="548"/>
                </a:cubicBezTo>
                <a:close/>
                <a:moveTo>
                  <a:pt x="634" y="433"/>
                </a:moveTo>
                <a:cubicBezTo>
                  <a:pt x="632" y="433"/>
                  <a:pt x="633" y="431"/>
                  <a:pt x="633" y="431"/>
                </a:cubicBezTo>
                <a:cubicBezTo>
                  <a:pt x="635" y="429"/>
                  <a:pt x="635" y="433"/>
                  <a:pt x="634" y="433"/>
                </a:cubicBezTo>
                <a:close/>
                <a:moveTo>
                  <a:pt x="635" y="495"/>
                </a:moveTo>
                <a:cubicBezTo>
                  <a:pt x="636" y="496"/>
                  <a:pt x="634" y="497"/>
                  <a:pt x="635" y="495"/>
                </a:cubicBezTo>
                <a:close/>
                <a:moveTo>
                  <a:pt x="635" y="459"/>
                </a:moveTo>
                <a:cubicBezTo>
                  <a:pt x="634" y="458"/>
                  <a:pt x="636" y="459"/>
                  <a:pt x="635" y="459"/>
                </a:cubicBezTo>
                <a:close/>
                <a:moveTo>
                  <a:pt x="631" y="298"/>
                </a:moveTo>
                <a:cubicBezTo>
                  <a:pt x="634" y="297"/>
                  <a:pt x="630" y="302"/>
                  <a:pt x="630" y="299"/>
                </a:cubicBezTo>
                <a:cubicBezTo>
                  <a:pt x="630" y="299"/>
                  <a:pt x="631" y="298"/>
                  <a:pt x="631" y="298"/>
                </a:cubicBezTo>
                <a:close/>
                <a:moveTo>
                  <a:pt x="629" y="296"/>
                </a:moveTo>
                <a:cubicBezTo>
                  <a:pt x="629" y="295"/>
                  <a:pt x="628" y="297"/>
                  <a:pt x="629" y="296"/>
                </a:cubicBezTo>
                <a:close/>
                <a:moveTo>
                  <a:pt x="635" y="314"/>
                </a:moveTo>
                <a:cubicBezTo>
                  <a:pt x="633" y="319"/>
                  <a:pt x="630" y="323"/>
                  <a:pt x="628" y="327"/>
                </a:cubicBezTo>
                <a:cubicBezTo>
                  <a:pt x="630" y="323"/>
                  <a:pt x="631" y="318"/>
                  <a:pt x="635" y="314"/>
                </a:cubicBezTo>
                <a:close/>
                <a:moveTo>
                  <a:pt x="625" y="391"/>
                </a:moveTo>
                <a:cubicBezTo>
                  <a:pt x="624" y="390"/>
                  <a:pt x="626" y="387"/>
                  <a:pt x="627" y="386"/>
                </a:cubicBezTo>
                <a:cubicBezTo>
                  <a:pt x="627" y="387"/>
                  <a:pt x="625" y="389"/>
                  <a:pt x="625" y="391"/>
                </a:cubicBezTo>
                <a:close/>
                <a:moveTo>
                  <a:pt x="623" y="307"/>
                </a:moveTo>
                <a:cubicBezTo>
                  <a:pt x="623" y="307"/>
                  <a:pt x="623" y="309"/>
                  <a:pt x="622" y="309"/>
                </a:cubicBezTo>
                <a:cubicBezTo>
                  <a:pt x="622" y="309"/>
                  <a:pt x="622" y="307"/>
                  <a:pt x="623" y="307"/>
                </a:cubicBezTo>
                <a:close/>
                <a:moveTo>
                  <a:pt x="624" y="333"/>
                </a:moveTo>
                <a:cubicBezTo>
                  <a:pt x="624" y="333"/>
                  <a:pt x="627" y="328"/>
                  <a:pt x="627" y="330"/>
                </a:cubicBezTo>
                <a:cubicBezTo>
                  <a:pt x="626" y="332"/>
                  <a:pt x="622" y="336"/>
                  <a:pt x="620" y="338"/>
                </a:cubicBezTo>
                <a:cubicBezTo>
                  <a:pt x="621" y="337"/>
                  <a:pt x="623" y="335"/>
                  <a:pt x="624" y="333"/>
                </a:cubicBezTo>
                <a:close/>
                <a:moveTo>
                  <a:pt x="620" y="269"/>
                </a:moveTo>
                <a:cubicBezTo>
                  <a:pt x="620" y="268"/>
                  <a:pt x="622" y="262"/>
                  <a:pt x="624" y="264"/>
                </a:cubicBezTo>
                <a:cubicBezTo>
                  <a:pt x="626" y="265"/>
                  <a:pt x="622" y="268"/>
                  <a:pt x="620" y="269"/>
                </a:cubicBezTo>
                <a:close/>
                <a:moveTo>
                  <a:pt x="626" y="231"/>
                </a:moveTo>
                <a:cubicBezTo>
                  <a:pt x="626" y="232"/>
                  <a:pt x="627" y="230"/>
                  <a:pt x="626" y="231"/>
                </a:cubicBezTo>
                <a:close/>
                <a:moveTo>
                  <a:pt x="628" y="249"/>
                </a:moveTo>
                <a:cubicBezTo>
                  <a:pt x="628" y="247"/>
                  <a:pt x="630" y="248"/>
                  <a:pt x="628" y="249"/>
                </a:cubicBezTo>
                <a:close/>
                <a:moveTo>
                  <a:pt x="625" y="218"/>
                </a:moveTo>
                <a:cubicBezTo>
                  <a:pt x="627" y="217"/>
                  <a:pt x="628" y="217"/>
                  <a:pt x="629" y="218"/>
                </a:cubicBezTo>
                <a:cubicBezTo>
                  <a:pt x="631" y="221"/>
                  <a:pt x="626" y="226"/>
                  <a:pt x="624" y="225"/>
                </a:cubicBezTo>
                <a:cubicBezTo>
                  <a:pt x="621" y="223"/>
                  <a:pt x="624" y="219"/>
                  <a:pt x="625" y="218"/>
                </a:cubicBezTo>
                <a:close/>
                <a:moveTo>
                  <a:pt x="621" y="229"/>
                </a:moveTo>
                <a:cubicBezTo>
                  <a:pt x="621" y="228"/>
                  <a:pt x="622" y="227"/>
                  <a:pt x="622" y="227"/>
                </a:cubicBezTo>
                <a:cubicBezTo>
                  <a:pt x="621" y="227"/>
                  <a:pt x="621" y="226"/>
                  <a:pt x="622" y="226"/>
                </a:cubicBezTo>
                <a:cubicBezTo>
                  <a:pt x="622" y="225"/>
                  <a:pt x="622" y="225"/>
                  <a:pt x="622" y="225"/>
                </a:cubicBezTo>
                <a:cubicBezTo>
                  <a:pt x="622" y="225"/>
                  <a:pt x="622" y="225"/>
                  <a:pt x="622" y="225"/>
                </a:cubicBezTo>
                <a:cubicBezTo>
                  <a:pt x="622" y="225"/>
                  <a:pt x="622" y="225"/>
                  <a:pt x="623" y="225"/>
                </a:cubicBezTo>
                <a:cubicBezTo>
                  <a:pt x="623" y="226"/>
                  <a:pt x="622" y="226"/>
                  <a:pt x="622" y="226"/>
                </a:cubicBezTo>
                <a:cubicBezTo>
                  <a:pt x="622" y="229"/>
                  <a:pt x="621" y="233"/>
                  <a:pt x="620" y="235"/>
                </a:cubicBezTo>
                <a:cubicBezTo>
                  <a:pt x="620" y="233"/>
                  <a:pt x="620" y="232"/>
                  <a:pt x="621" y="230"/>
                </a:cubicBezTo>
                <a:cubicBezTo>
                  <a:pt x="621" y="230"/>
                  <a:pt x="621" y="230"/>
                  <a:pt x="621" y="230"/>
                </a:cubicBezTo>
                <a:cubicBezTo>
                  <a:pt x="621" y="229"/>
                  <a:pt x="621" y="229"/>
                  <a:pt x="621" y="229"/>
                </a:cubicBezTo>
                <a:close/>
                <a:moveTo>
                  <a:pt x="620" y="227"/>
                </a:moveTo>
                <a:cubicBezTo>
                  <a:pt x="620" y="229"/>
                  <a:pt x="618" y="228"/>
                  <a:pt x="620" y="227"/>
                </a:cubicBezTo>
                <a:close/>
                <a:moveTo>
                  <a:pt x="623" y="246"/>
                </a:moveTo>
                <a:cubicBezTo>
                  <a:pt x="622" y="248"/>
                  <a:pt x="620" y="249"/>
                  <a:pt x="618" y="249"/>
                </a:cubicBezTo>
                <a:cubicBezTo>
                  <a:pt x="619" y="248"/>
                  <a:pt x="621" y="247"/>
                  <a:pt x="623" y="246"/>
                </a:cubicBezTo>
                <a:close/>
                <a:moveTo>
                  <a:pt x="619" y="255"/>
                </a:moveTo>
                <a:cubicBezTo>
                  <a:pt x="619" y="256"/>
                  <a:pt x="618" y="258"/>
                  <a:pt x="617" y="259"/>
                </a:cubicBezTo>
                <a:cubicBezTo>
                  <a:pt x="617" y="257"/>
                  <a:pt x="619" y="256"/>
                  <a:pt x="619" y="255"/>
                </a:cubicBezTo>
                <a:close/>
                <a:moveTo>
                  <a:pt x="615" y="229"/>
                </a:moveTo>
                <a:cubicBezTo>
                  <a:pt x="613" y="228"/>
                  <a:pt x="614" y="225"/>
                  <a:pt x="616" y="226"/>
                </a:cubicBezTo>
                <a:cubicBezTo>
                  <a:pt x="618" y="226"/>
                  <a:pt x="617" y="230"/>
                  <a:pt x="615" y="229"/>
                </a:cubicBezTo>
                <a:cubicBezTo>
                  <a:pt x="617" y="230"/>
                  <a:pt x="615" y="236"/>
                  <a:pt x="612" y="236"/>
                </a:cubicBezTo>
                <a:cubicBezTo>
                  <a:pt x="608" y="235"/>
                  <a:pt x="610" y="226"/>
                  <a:pt x="615" y="229"/>
                </a:cubicBezTo>
                <a:close/>
                <a:moveTo>
                  <a:pt x="609" y="276"/>
                </a:moveTo>
                <a:cubicBezTo>
                  <a:pt x="608" y="280"/>
                  <a:pt x="603" y="284"/>
                  <a:pt x="599" y="286"/>
                </a:cubicBezTo>
                <a:cubicBezTo>
                  <a:pt x="602" y="283"/>
                  <a:pt x="604" y="279"/>
                  <a:pt x="609" y="276"/>
                </a:cubicBezTo>
                <a:close/>
                <a:moveTo>
                  <a:pt x="608" y="229"/>
                </a:moveTo>
                <a:cubicBezTo>
                  <a:pt x="608" y="229"/>
                  <a:pt x="608" y="229"/>
                  <a:pt x="608" y="230"/>
                </a:cubicBezTo>
                <a:cubicBezTo>
                  <a:pt x="609" y="232"/>
                  <a:pt x="606" y="229"/>
                  <a:pt x="608" y="229"/>
                </a:cubicBezTo>
                <a:close/>
                <a:moveTo>
                  <a:pt x="607" y="228"/>
                </a:moveTo>
                <a:cubicBezTo>
                  <a:pt x="608" y="228"/>
                  <a:pt x="607" y="230"/>
                  <a:pt x="606" y="230"/>
                </a:cubicBezTo>
                <a:cubicBezTo>
                  <a:pt x="605" y="229"/>
                  <a:pt x="606" y="229"/>
                  <a:pt x="607" y="228"/>
                </a:cubicBezTo>
                <a:close/>
                <a:moveTo>
                  <a:pt x="606" y="253"/>
                </a:moveTo>
                <a:cubicBezTo>
                  <a:pt x="608" y="251"/>
                  <a:pt x="609" y="257"/>
                  <a:pt x="606" y="256"/>
                </a:cubicBezTo>
                <a:cubicBezTo>
                  <a:pt x="605" y="256"/>
                  <a:pt x="605" y="254"/>
                  <a:pt x="606" y="253"/>
                </a:cubicBezTo>
                <a:close/>
                <a:moveTo>
                  <a:pt x="602" y="228"/>
                </a:moveTo>
                <a:cubicBezTo>
                  <a:pt x="602" y="227"/>
                  <a:pt x="603" y="227"/>
                  <a:pt x="604" y="227"/>
                </a:cubicBezTo>
                <a:cubicBezTo>
                  <a:pt x="605" y="229"/>
                  <a:pt x="601" y="230"/>
                  <a:pt x="602" y="228"/>
                </a:cubicBezTo>
                <a:close/>
                <a:moveTo>
                  <a:pt x="602" y="225"/>
                </a:moveTo>
                <a:cubicBezTo>
                  <a:pt x="602" y="224"/>
                  <a:pt x="601" y="227"/>
                  <a:pt x="602" y="225"/>
                </a:cubicBezTo>
                <a:close/>
                <a:moveTo>
                  <a:pt x="598" y="235"/>
                </a:moveTo>
                <a:cubicBezTo>
                  <a:pt x="599" y="233"/>
                  <a:pt x="601" y="238"/>
                  <a:pt x="598" y="237"/>
                </a:cubicBezTo>
                <a:cubicBezTo>
                  <a:pt x="597" y="237"/>
                  <a:pt x="597" y="236"/>
                  <a:pt x="598" y="235"/>
                </a:cubicBezTo>
                <a:close/>
                <a:moveTo>
                  <a:pt x="600" y="263"/>
                </a:moveTo>
                <a:cubicBezTo>
                  <a:pt x="601" y="262"/>
                  <a:pt x="602" y="258"/>
                  <a:pt x="604" y="257"/>
                </a:cubicBezTo>
                <a:cubicBezTo>
                  <a:pt x="608" y="255"/>
                  <a:pt x="600" y="265"/>
                  <a:pt x="599" y="266"/>
                </a:cubicBezTo>
                <a:cubicBezTo>
                  <a:pt x="601" y="264"/>
                  <a:pt x="598" y="268"/>
                  <a:pt x="597" y="268"/>
                </a:cubicBezTo>
                <a:cubicBezTo>
                  <a:pt x="596" y="267"/>
                  <a:pt x="599" y="264"/>
                  <a:pt x="600" y="263"/>
                </a:cubicBezTo>
                <a:close/>
                <a:moveTo>
                  <a:pt x="594" y="230"/>
                </a:moveTo>
                <a:cubicBezTo>
                  <a:pt x="594" y="232"/>
                  <a:pt x="593" y="230"/>
                  <a:pt x="594" y="230"/>
                </a:cubicBezTo>
                <a:close/>
                <a:moveTo>
                  <a:pt x="593" y="249"/>
                </a:moveTo>
                <a:cubicBezTo>
                  <a:pt x="594" y="249"/>
                  <a:pt x="593" y="250"/>
                  <a:pt x="593" y="250"/>
                </a:cubicBezTo>
                <a:cubicBezTo>
                  <a:pt x="592" y="250"/>
                  <a:pt x="593" y="248"/>
                  <a:pt x="593" y="249"/>
                </a:cubicBezTo>
                <a:close/>
                <a:moveTo>
                  <a:pt x="595" y="252"/>
                </a:moveTo>
                <a:cubicBezTo>
                  <a:pt x="594" y="254"/>
                  <a:pt x="591" y="256"/>
                  <a:pt x="589" y="258"/>
                </a:cubicBezTo>
                <a:cubicBezTo>
                  <a:pt x="590" y="256"/>
                  <a:pt x="592" y="253"/>
                  <a:pt x="595" y="252"/>
                </a:cubicBezTo>
                <a:close/>
                <a:moveTo>
                  <a:pt x="590" y="221"/>
                </a:moveTo>
                <a:cubicBezTo>
                  <a:pt x="590" y="221"/>
                  <a:pt x="590" y="221"/>
                  <a:pt x="591" y="221"/>
                </a:cubicBezTo>
                <a:cubicBezTo>
                  <a:pt x="590" y="221"/>
                  <a:pt x="590" y="222"/>
                  <a:pt x="590" y="221"/>
                </a:cubicBezTo>
                <a:close/>
                <a:moveTo>
                  <a:pt x="591" y="238"/>
                </a:moveTo>
                <a:cubicBezTo>
                  <a:pt x="591" y="239"/>
                  <a:pt x="588" y="240"/>
                  <a:pt x="588" y="239"/>
                </a:cubicBezTo>
                <a:cubicBezTo>
                  <a:pt x="588" y="238"/>
                  <a:pt x="591" y="236"/>
                  <a:pt x="591" y="238"/>
                </a:cubicBezTo>
                <a:close/>
                <a:moveTo>
                  <a:pt x="588" y="289"/>
                </a:moveTo>
                <a:cubicBezTo>
                  <a:pt x="589" y="290"/>
                  <a:pt x="585" y="291"/>
                  <a:pt x="586" y="289"/>
                </a:cubicBezTo>
                <a:cubicBezTo>
                  <a:pt x="587" y="289"/>
                  <a:pt x="587" y="288"/>
                  <a:pt x="588" y="289"/>
                </a:cubicBezTo>
                <a:close/>
                <a:moveTo>
                  <a:pt x="587" y="214"/>
                </a:moveTo>
                <a:cubicBezTo>
                  <a:pt x="588" y="216"/>
                  <a:pt x="584" y="216"/>
                  <a:pt x="584" y="215"/>
                </a:cubicBezTo>
                <a:cubicBezTo>
                  <a:pt x="584" y="213"/>
                  <a:pt x="586" y="213"/>
                  <a:pt x="587" y="214"/>
                </a:cubicBezTo>
                <a:close/>
                <a:moveTo>
                  <a:pt x="583" y="217"/>
                </a:moveTo>
                <a:cubicBezTo>
                  <a:pt x="583" y="217"/>
                  <a:pt x="585" y="217"/>
                  <a:pt x="584" y="218"/>
                </a:cubicBezTo>
                <a:cubicBezTo>
                  <a:pt x="584" y="218"/>
                  <a:pt x="582" y="218"/>
                  <a:pt x="583" y="217"/>
                </a:cubicBezTo>
                <a:close/>
                <a:moveTo>
                  <a:pt x="586" y="259"/>
                </a:moveTo>
                <a:cubicBezTo>
                  <a:pt x="586" y="259"/>
                  <a:pt x="584" y="263"/>
                  <a:pt x="582" y="263"/>
                </a:cubicBezTo>
                <a:cubicBezTo>
                  <a:pt x="583" y="262"/>
                  <a:pt x="585" y="260"/>
                  <a:pt x="586" y="259"/>
                </a:cubicBezTo>
                <a:close/>
                <a:moveTo>
                  <a:pt x="583" y="250"/>
                </a:moveTo>
                <a:cubicBezTo>
                  <a:pt x="583" y="251"/>
                  <a:pt x="582" y="251"/>
                  <a:pt x="581" y="251"/>
                </a:cubicBezTo>
                <a:cubicBezTo>
                  <a:pt x="581" y="250"/>
                  <a:pt x="582" y="249"/>
                  <a:pt x="583" y="250"/>
                </a:cubicBezTo>
                <a:close/>
                <a:moveTo>
                  <a:pt x="580" y="258"/>
                </a:moveTo>
                <a:cubicBezTo>
                  <a:pt x="580" y="258"/>
                  <a:pt x="580" y="258"/>
                  <a:pt x="580" y="258"/>
                </a:cubicBezTo>
                <a:cubicBezTo>
                  <a:pt x="580" y="258"/>
                  <a:pt x="580" y="258"/>
                  <a:pt x="580" y="258"/>
                </a:cubicBezTo>
                <a:cubicBezTo>
                  <a:pt x="580" y="258"/>
                  <a:pt x="580" y="258"/>
                  <a:pt x="580" y="258"/>
                </a:cubicBezTo>
                <a:close/>
                <a:moveTo>
                  <a:pt x="582" y="276"/>
                </a:moveTo>
                <a:cubicBezTo>
                  <a:pt x="584" y="278"/>
                  <a:pt x="581" y="280"/>
                  <a:pt x="579" y="280"/>
                </a:cubicBezTo>
                <a:cubicBezTo>
                  <a:pt x="579" y="279"/>
                  <a:pt x="581" y="275"/>
                  <a:pt x="582" y="276"/>
                </a:cubicBezTo>
                <a:close/>
                <a:moveTo>
                  <a:pt x="579" y="294"/>
                </a:moveTo>
                <a:cubicBezTo>
                  <a:pt x="580" y="294"/>
                  <a:pt x="578" y="295"/>
                  <a:pt x="578" y="294"/>
                </a:cubicBezTo>
                <a:cubicBezTo>
                  <a:pt x="578" y="294"/>
                  <a:pt x="579" y="294"/>
                  <a:pt x="579" y="294"/>
                </a:cubicBezTo>
                <a:close/>
                <a:moveTo>
                  <a:pt x="575" y="180"/>
                </a:moveTo>
                <a:cubicBezTo>
                  <a:pt x="575" y="180"/>
                  <a:pt x="576" y="180"/>
                  <a:pt x="576" y="180"/>
                </a:cubicBezTo>
                <a:cubicBezTo>
                  <a:pt x="577" y="181"/>
                  <a:pt x="574" y="182"/>
                  <a:pt x="575" y="180"/>
                </a:cubicBezTo>
                <a:close/>
                <a:moveTo>
                  <a:pt x="576" y="192"/>
                </a:moveTo>
                <a:cubicBezTo>
                  <a:pt x="579" y="190"/>
                  <a:pt x="578" y="196"/>
                  <a:pt x="576" y="195"/>
                </a:cubicBezTo>
                <a:cubicBezTo>
                  <a:pt x="574" y="195"/>
                  <a:pt x="575" y="193"/>
                  <a:pt x="576" y="192"/>
                </a:cubicBezTo>
                <a:close/>
                <a:moveTo>
                  <a:pt x="571" y="222"/>
                </a:moveTo>
                <a:cubicBezTo>
                  <a:pt x="567" y="221"/>
                  <a:pt x="569" y="214"/>
                  <a:pt x="571" y="212"/>
                </a:cubicBezTo>
                <a:cubicBezTo>
                  <a:pt x="579" y="207"/>
                  <a:pt x="578" y="222"/>
                  <a:pt x="571" y="222"/>
                </a:cubicBezTo>
                <a:close/>
                <a:moveTo>
                  <a:pt x="571" y="188"/>
                </a:moveTo>
                <a:cubicBezTo>
                  <a:pt x="571" y="188"/>
                  <a:pt x="572" y="186"/>
                  <a:pt x="573" y="188"/>
                </a:cubicBezTo>
                <a:cubicBezTo>
                  <a:pt x="573" y="188"/>
                  <a:pt x="572" y="189"/>
                  <a:pt x="571" y="188"/>
                </a:cubicBezTo>
                <a:close/>
                <a:moveTo>
                  <a:pt x="569" y="186"/>
                </a:moveTo>
                <a:cubicBezTo>
                  <a:pt x="569" y="186"/>
                  <a:pt x="569" y="186"/>
                  <a:pt x="570" y="185"/>
                </a:cubicBezTo>
                <a:cubicBezTo>
                  <a:pt x="570" y="185"/>
                  <a:pt x="570" y="185"/>
                  <a:pt x="570" y="185"/>
                </a:cubicBezTo>
                <a:cubicBezTo>
                  <a:pt x="570" y="185"/>
                  <a:pt x="572" y="184"/>
                  <a:pt x="573" y="183"/>
                </a:cubicBezTo>
                <a:cubicBezTo>
                  <a:pt x="572" y="186"/>
                  <a:pt x="569" y="187"/>
                  <a:pt x="567" y="188"/>
                </a:cubicBezTo>
                <a:cubicBezTo>
                  <a:pt x="567" y="187"/>
                  <a:pt x="568" y="187"/>
                  <a:pt x="569" y="186"/>
                </a:cubicBezTo>
                <a:close/>
                <a:moveTo>
                  <a:pt x="565" y="188"/>
                </a:moveTo>
                <a:cubicBezTo>
                  <a:pt x="565" y="188"/>
                  <a:pt x="566" y="187"/>
                  <a:pt x="567" y="188"/>
                </a:cubicBezTo>
                <a:cubicBezTo>
                  <a:pt x="567" y="189"/>
                  <a:pt x="563" y="190"/>
                  <a:pt x="565" y="188"/>
                </a:cubicBezTo>
                <a:close/>
                <a:moveTo>
                  <a:pt x="562" y="209"/>
                </a:moveTo>
                <a:cubicBezTo>
                  <a:pt x="562" y="210"/>
                  <a:pt x="561" y="210"/>
                  <a:pt x="560" y="209"/>
                </a:cubicBezTo>
                <a:cubicBezTo>
                  <a:pt x="560" y="209"/>
                  <a:pt x="561" y="208"/>
                  <a:pt x="562" y="209"/>
                </a:cubicBezTo>
                <a:close/>
                <a:moveTo>
                  <a:pt x="558" y="198"/>
                </a:moveTo>
                <a:cubicBezTo>
                  <a:pt x="560" y="196"/>
                  <a:pt x="560" y="199"/>
                  <a:pt x="558" y="199"/>
                </a:cubicBezTo>
                <a:cubicBezTo>
                  <a:pt x="558" y="199"/>
                  <a:pt x="558" y="198"/>
                  <a:pt x="558" y="198"/>
                </a:cubicBezTo>
                <a:close/>
                <a:moveTo>
                  <a:pt x="558" y="215"/>
                </a:moveTo>
                <a:cubicBezTo>
                  <a:pt x="561" y="213"/>
                  <a:pt x="565" y="210"/>
                  <a:pt x="569" y="209"/>
                </a:cubicBezTo>
                <a:cubicBezTo>
                  <a:pt x="567" y="211"/>
                  <a:pt x="560" y="215"/>
                  <a:pt x="557" y="217"/>
                </a:cubicBezTo>
                <a:cubicBezTo>
                  <a:pt x="558" y="216"/>
                  <a:pt x="556" y="217"/>
                  <a:pt x="556" y="217"/>
                </a:cubicBezTo>
                <a:cubicBezTo>
                  <a:pt x="555" y="215"/>
                  <a:pt x="557" y="215"/>
                  <a:pt x="558" y="215"/>
                </a:cubicBezTo>
                <a:close/>
                <a:moveTo>
                  <a:pt x="559" y="250"/>
                </a:moveTo>
                <a:cubicBezTo>
                  <a:pt x="559" y="252"/>
                  <a:pt x="554" y="254"/>
                  <a:pt x="553" y="252"/>
                </a:cubicBezTo>
                <a:cubicBezTo>
                  <a:pt x="552" y="249"/>
                  <a:pt x="559" y="246"/>
                  <a:pt x="559" y="250"/>
                </a:cubicBezTo>
                <a:close/>
                <a:moveTo>
                  <a:pt x="551" y="188"/>
                </a:moveTo>
                <a:cubicBezTo>
                  <a:pt x="551" y="188"/>
                  <a:pt x="552" y="188"/>
                  <a:pt x="552" y="188"/>
                </a:cubicBezTo>
                <a:cubicBezTo>
                  <a:pt x="552" y="190"/>
                  <a:pt x="550" y="190"/>
                  <a:pt x="551" y="188"/>
                </a:cubicBezTo>
                <a:close/>
                <a:moveTo>
                  <a:pt x="552" y="253"/>
                </a:moveTo>
                <a:cubicBezTo>
                  <a:pt x="552" y="254"/>
                  <a:pt x="554" y="255"/>
                  <a:pt x="554" y="256"/>
                </a:cubicBezTo>
                <a:cubicBezTo>
                  <a:pt x="554" y="258"/>
                  <a:pt x="552" y="256"/>
                  <a:pt x="552" y="258"/>
                </a:cubicBezTo>
                <a:cubicBezTo>
                  <a:pt x="549" y="260"/>
                  <a:pt x="550" y="265"/>
                  <a:pt x="548" y="267"/>
                </a:cubicBezTo>
                <a:cubicBezTo>
                  <a:pt x="548" y="263"/>
                  <a:pt x="550" y="258"/>
                  <a:pt x="552" y="253"/>
                </a:cubicBezTo>
                <a:close/>
                <a:moveTo>
                  <a:pt x="549" y="270"/>
                </a:moveTo>
                <a:cubicBezTo>
                  <a:pt x="548" y="269"/>
                  <a:pt x="550" y="267"/>
                  <a:pt x="551" y="269"/>
                </a:cubicBezTo>
                <a:cubicBezTo>
                  <a:pt x="552" y="271"/>
                  <a:pt x="549" y="271"/>
                  <a:pt x="549" y="270"/>
                </a:cubicBezTo>
                <a:close/>
                <a:moveTo>
                  <a:pt x="549" y="310"/>
                </a:moveTo>
                <a:cubicBezTo>
                  <a:pt x="548" y="310"/>
                  <a:pt x="549" y="310"/>
                  <a:pt x="549" y="310"/>
                </a:cubicBezTo>
                <a:cubicBezTo>
                  <a:pt x="550" y="310"/>
                  <a:pt x="549" y="310"/>
                  <a:pt x="549" y="310"/>
                </a:cubicBezTo>
                <a:close/>
                <a:moveTo>
                  <a:pt x="550" y="302"/>
                </a:moveTo>
                <a:cubicBezTo>
                  <a:pt x="551" y="302"/>
                  <a:pt x="551" y="301"/>
                  <a:pt x="551" y="302"/>
                </a:cubicBezTo>
                <a:cubicBezTo>
                  <a:pt x="552" y="302"/>
                  <a:pt x="550" y="303"/>
                  <a:pt x="550" y="302"/>
                </a:cubicBezTo>
                <a:close/>
                <a:moveTo>
                  <a:pt x="558" y="345"/>
                </a:moveTo>
                <a:cubicBezTo>
                  <a:pt x="556" y="349"/>
                  <a:pt x="551" y="352"/>
                  <a:pt x="547" y="356"/>
                </a:cubicBezTo>
                <a:cubicBezTo>
                  <a:pt x="549" y="352"/>
                  <a:pt x="555" y="349"/>
                  <a:pt x="558" y="345"/>
                </a:cubicBezTo>
                <a:close/>
                <a:moveTo>
                  <a:pt x="546" y="192"/>
                </a:moveTo>
                <a:cubicBezTo>
                  <a:pt x="547" y="193"/>
                  <a:pt x="545" y="194"/>
                  <a:pt x="545" y="193"/>
                </a:cubicBezTo>
                <a:cubicBezTo>
                  <a:pt x="545" y="192"/>
                  <a:pt x="546" y="192"/>
                  <a:pt x="546" y="192"/>
                </a:cubicBezTo>
                <a:close/>
                <a:moveTo>
                  <a:pt x="545" y="198"/>
                </a:moveTo>
                <a:cubicBezTo>
                  <a:pt x="546" y="197"/>
                  <a:pt x="546" y="200"/>
                  <a:pt x="545" y="199"/>
                </a:cubicBezTo>
                <a:cubicBezTo>
                  <a:pt x="544" y="199"/>
                  <a:pt x="545" y="198"/>
                  <a:pt x="545" y="198"/>
                </a:cubicBezTo>
                <a:close/>
                <a:moveTo>
                  <a:pt x="544" y="232"/>
                </a:moveTo>
                <a:cubicBezTo>
                  <a:pt x="545" y="231"/>
                  <a:pt x="546" y="230"/>
                  <a:pt x="546" y="231"/>
                </a:cubicBezTo>
                <a:cubicBezTo>
                  <a:pt x="549" y="233"/>
                  <a:pt x="542" y="235"/>
                  <a:pt x="544" y="232"/>
                </a:cubicBezTo>
                <a:close/>
                <a:moveTo>
                  <a:pt x="547" y="281"/>
                </a:moveTo>
                <a:cubicBezTo>
                  <a:pt x="546" y="282"/>
                  <a:pt x="545" y="281"/>
                  <a:pt x="547" y="281"/>
                </a:cubicBezTo>
                <a:close/>
                <a:moveTo>
                  <a:pt x="547" y="355"/>
                </a:moveTo>
                <a:cubicBezTo>
                  <a:pt x="546" y="357"/>
                  <a:pt x="544" y="358"/>
                  <a:pt x="543" y="359"/>
                </a:cubicBezTo>
                <a:cubicBezTo>
                  <a:pt x="543" y="357"/>
                  <a:pt x="545" y="356"/>
                  <a:pt x="547" y="355"/>
                </a:cubicBezTo>
                <a:close/>
                <a:moveTo>
                  <a:pt x="542" y="323"/>
                </a:moveTo>
                <a:cubicBezTo>
                  <a:pt x="542" y="323"/>
                  <a:pt x="542" y="322"/>
                  <a:pt x="543" y="323"/>
                </a:cubicBezTo>
                <a:cubicBezTo>
                  <a:pt x="545" y="323"/>
                  <a:pt x="541" y="326"/>
                  <a:pt x="542" y="323"/>
                </a:cubicBezTo>
                <a:close/>
                <a:moveTo>
                  <a:pt x="542" y="261"/>
                </a:moveTo>
                <a:cubicBezTo>
                  <a:pt x="543" y="259"/>
                  <a:pt x="544" y="261"/>
                  <a:pt x="542" y="261"/>
                </a:cubicBezTo>
                <a:close/>
                <a:moveTo>
                  <a:pt x="541" y="250"/>
                </a:moveTo>
                <a:cubicBezTo>
                  <a:pt x="541" y="250"/>
                  <a:pt x="541" y="249"/>
                  <a:pt x="542" y="248"/>
                </a:cubicBezTo>
                <a:cubicBezTo>
                  <a:pt x="544" y="247"/>
                  <a:pt x="543" y="252"/>
                  <a:pt x="541" y="250"/>
                </a:cubicBezTo>
                <a:close/>
                <a:moveTo>
                  <a:pt x="543" y="227"/>
                </a:moveTo>
                <a:cubicBezTo>
                  <a:pt x="543" y="227"/>
                  <a:pt x="542" y="228"/>
                  <a:pt x="542" y="227"/>
                </a:cubicBezTo>
                <a:cubicBezTo>
                  <a:pt x="542" y="227"/>
                  <a:pt x="542" y="227"/>
                  <a:pt x="543" y="227"/>
                </a:cubicBezTo>
                <a:close/>
                <a:moveTo>
                  <a:pt x="541" y="192"/>
                </a:moveTo>
                <a:cubicBezTo>
                  <a:pt x="542" y="190"/>
                  <a:pt x="542" y="193"/>
                  <a:pt x="541" y="192"/>
                </a:cubicBezTo>
                <a:close/>
                <a:moveTo>
                  <a:pt x="542" y="240"/>
                </a:moveTo>
                <a:cubicBezTo>
                  <a:pt x="542" y="241"/>
                  <a:pt x="540" y="242"/>
                  <a:pt x="539" y="242"/>
                </a:cubicBezTo>
                <a:cubicBezTo>
                  <a:pt x="539" y="241"/>
                  <a:pt x="541" y="241"/>
                  <a:pt x="542" y="240"/>
                </a:cubicBezTo>
                <a:close/>
                <a:moveTo>
                  <a:pt x="537" y="195"/>
                </a:moveTo>
                <a:cubicBezTo>
                  <a:pt x="538" y="195"/>
                  <a:pt x="536" y="196"/>
                  <a:pt x="536" y="197"/>
                </a:cubicBezTo>
                <a:cubicBezTo>
                  <a:pt x="535" y="196"/>
                  <a:pt x="537" y="195"/>
                  <a:pt x="537" y="195"/>
                </a:cubicBezTo>
                <a:close/>
                <a:moveTo>
                  <a:pt x="539" y="194"/>
                </a:moveTo>
                <a:cubicBezTo>
                  <a:pt x="538" y="197"/>
                  <a:pt x="536" y="201"/>
                  <a:pt x="534" y="203"/>
                </a:cubicBezTo>
                <a:cubicBezTo>
                  <a:pt x="536" y="200"/>
                  <a:pt x="537" y="197"/>
                  <a:pt x="539" y="194"/>
                </a:cubicBezTo>
                <a:close/>
                <a:moveTo>
                  <a:pt x="534" y="200"/>
                </a:moveTo>
                <a:cubicBezTo>
                  <a:pt x="534" y="200"/>
                  <a:pt x="534" y="200"/>
                  <a:pt x="534" y="200"/>
                </a:cubicBezTo>
                <a:cubicBezTo>
                  <a:pt x="535" y="198"/>
                  <a:pt x="534" y="202"/>
                  <a:pt x="534" y="200"/>
                </a:cubicBezTo>
                <a:close/>
                <a:moveTo>
                  <a:pt x="537" y="244"/>
                </a:moveTo>
                <a:cubicBezTo>
                  <a:pt x="536" y="245"/>
                  <a:pt x="534" y="246"/>
                  <a:pt x="532" y="246"/>
                </a:cubicBezTo>
                <a:cubicBezTo>
                  <a:pt x="533" y="245"/>
                  <a:pt x="535" y="244"/>
                  <a:pt x="537" y="244"/>
                </a:cubicBezTo>
                <a:close/>
                <a:moveTo>
                  <a:pt x="534" y="205"/>
                </a:moveTo>
                <a:cubicBezTo>
                  <a:pt x="534" y="205"/>
                  <a:pt x="533" y="207"/>
                  <a:pt x="533" y="208"/>
                </a:cubicBezTo>
                <a:cubicBezTo>
                  <a:pt x="532" y="207"/>
                  <a:pt x="533" y="205"/>
                  <a:pt x="534" y="205"/>
                </a:cubicBezTo>
                <a:close/>
                <a:moveTo>
                  <a:pt x="533" y="224"/>
                </a:moveTo>
                <a:cubicBezTo>
                  <a:pt x="534" y="223"/>
                  <a:pt x="533" y="226"/>
                  <a:pt x="532" y="226"/>
                </a:cubicBezTo>
                <a:cubicBezTo>
                  <a:pt x="532" y="225"/>
                  <a:pt x="532" y="225"/>
                  <a:pt x="533" y="224"/>
                </a:cubicBezTo>
                <a:close/>
                <a:moveTo>
                  <a:pt x="531" y="209"/>
                </a:moveTo>
                <a:cubicBezTo>
                  <a:pt x="532" y="207"/>
                  <a:pt x="533" y="209"/>
                  <a:pt x="531" y="209"/>
                </a:cubicBezTo>
                <a:close/>
                <a:moveTo>
                  <a:pt x="529" y="302"/>
                </a:moveTo>
                <a:cubicBezTo>
                  <a:pt x="529" y="301"/>
                  <a:pt x="529" y="301"/>
                  <a:pt x="530" y="300"/>
                </a:cubicBezTo>
                <a:cubicBezTo>
                  <a:pt x="532" y="299"/>
                  <a:pt x="531" y="303"/>
                  <a:pt x="529" y="302"/>
                </a:cubicBezTo>
                <a:close/>
                <a:moveTo>
                  <a:pt x="530" y="248"/>
                </a:moveTo>
                <a:cubicBezTo>
                  <a:pt x="529" y="248"/>
                  <a:pt x="529" y="248"/>
                  <a:pt x="529" y="248"/>
                </a:cubicBezTo>
                <a:cubicBezTo>
                  <a:pt x="529" y="248"/>
                  <a:pt x="533" y="246"/>
                  <a:pt x="530" y="248"/>
                </a:cubicBezTo>
                <a:close/>
                <a:moveTo>
                  <a:pt x="527" y="222"/>
                </a:moveTo>
                <a:cubicBezTo>
                  <a:pt x="520" y="225"/>
                  <a:pt x="519" y="215"/>
                  <a:pt x="525" y="213"/>
                </a:cubicBezTo>
                <a:cubicBezTo>
                  <a:pt x="530" y="211"/>
                  <a:pt x="532" y="219"/>
                  <a:pt x="527" y="222"/>
                </a:cubicBezTo>
                <a:close/>
                <a:moveTo>
                  <a:pt x="526" y="189"/>
                </a:moveTo>
                <a:cubicBezTo>
                  <a:pt x="526" y="187"/>
                  <a:pt x="528" y="189"/>
                  <a:pt x="526" y="189"/>
                </a:cubicBezTo>
                <a:close/>
                <a:moveTo>
                  <a:pt x="526" y="180"/>
                </a:moveTo>
                <a:cubicBezTo>
                  <a:pt x="526" y="181"/>
                  <a:pt x="520" y="184"/>
                  <a:pt x="519" y="181"/>
                </a:cubicBezTo>
                <a:cubicBezTo>
                  <a:pt x="518" y="177"/>
                  <a:pt x="527" y="175"/>
                  <a:pt x="526" y="180"/>
                </a:cubicBezTo>
                <a:close/>
                <a:moveTo>
                  <a:pt x="523" y="190"/>
                </a:moveTo>
                <a:cubicBezTo>
                  <a:pt x="524" y="190"/>
                  <a:pt x="524" y="190"/>
                  <a:pt x="524" y="190"/>
                </a:cubicBezTo>
                <a:cubicBezTo>
                  <a:pt x="524" y="192"/>
                  <a:pt x="521" y="189"/>
                  <a:pt x="523" y="190"/>
                </a:cubicBezTo>
                <a:close/>
                <a:moveTo>
                  <a:pt x="520" y="185"/>
                </a:moveTo>
                <a:cubicBezTo>
                  <a:pt x="519" y="184"/>
                  <a:pt x="518" y="186"/>
                  <a:pt x="517" y="186"/>
                </a:cubicBezTo>
                <a:cubicBezTo>
                  <a:pt x="517" y="185"/>
                  <a:pt x="520" y="184"/>
                  <a:pt x="520" y="185"/>
                </a:cubicBezTo>
                <a:close/>
                <a:moveTo>
                  <a:pt x="523" y="197"/>
                </a:moveTo>
                <a:cubicBezTo>
                  <a:pt x="526" y="200"/>
                  <a:pt x="524" y="205"/>
                  <a:pt x="522" y="207"/>
                </a:cubicBezTo>
                <a:cubicBezTo>
                  <a:pt x="520" y="208"/>
                  <a:pt x="517" y="208"/>
                  <a:pt x="515" y="208"/>
                </a:cubicBezTo>
                <a:cubicBezTo>
                  <a:pt x="512" y="209"/>
                  <a:pt x="514" y="209"/>
                  <a:pt x="512" y="207"/>
                </a:cubicBezTo>
                <a:cubicBezTo>
                  <a:pt x="509" y="204"/>
                  <a:pt x="509" y="200"/>
                  <a:pt x="513" y="200"/>
                </a:cubicBezTo>
                <a:cubicBezTo>
                  <a:pt x="512" y="206"/>
                  <a:pt x="514" y="198"/>
                  <a:pt x="515" y="197"/>
                </a:cubicBezTo>
                <a:cubicBezTo>
                  <a:pt x="516" y="197"/>
                  <a:pt x="521" y="196"/>
                  <a:pt x="523" y="197"/>
                </a:cubicBezTo>
                <a:close/>
                <a:moveTo>
                  <a:pt x="511" y="195"/>
                </a:moveTo>
                <a:cubicBezTo>
                  <a:pt x="512" y="196"/>
                  <a:pt x="509" y="196"/>
                  <a:pt x="509" y="195"/>
                </a:cubicBezTo>
                <a:cubicBezTo>
                  <a:pt x="510" y="194"/>
                  <a:pt x="511" y="194"/>
                  <a:pt x="511" y="195"/>
                </a:cubicBezTo>
                <a:close/>
                <a:moveTo>
                  <a:pt x="516" y="196"/>
                </a:moveTo>
                <a:cubicBezTo>
                  <a:pt x="515" y="196"/>
                  <a:pt x="509" y="201"/>
                  <a:pt x="508" y="199"/>
                </a:cubicBezTo>
                <a:cubicBezTo>
                  <a:pt x="508" y="198"/>
                  <a:pt x="514" y="195"/>
                  <a:pt x="516" y="196"/>
                </a:cubicBezTo>
                <a:close/>
                <a:moveTo>
                  <a:pt x="509" y="183"/>
                </a:moveTo>
                <a:cubicBezTo>
                  <a:pt x="510" y="184"/>
                  <a:pt x="507" y="185"/>
                  <a:pt x="507" y="184"/>
                </a:cubicBezTo>
                <a:cubicBezTo>
                  <a:pt x="506" y="183"/>
                  <a:pt x="509" y="183"/>
                  <a:pt x="509" y="183"/>
                </a:cubicBezTo>
                <a:close/>
                <a:moveTo>
                  <a:pt x="506" y="199"/>
                </a:moveTo>
                <a:cubicBezTo>
                  <a:pt x="509" y="197"/>
                  <a:pt x="509" y="203"/>
                  <a:pt x="506" y="202"/>
                </a:cubicBezTo>
                <a:cubicBezTo>
                  <a:pt x="505" y="201"/>
                  <a:pt x="506" y="199"/>
                  <a:pt x="506" y="199"/>
                </a:cubicBezTo>
                <a:close/>
                <a:moveTo>
                  <a:pt x="506" y="261"/>
                </a:moveTo>
                <a:cubicBezTo>
                  <a:pt x="508" y="260"/>
                  <a:pt x="505" y="263"/>
                  <a:pt x="506" y="262"/>
                </a:cubicBezTo>
                <a:cubicBezTo>
                  <a:pt x="506" y="261"/>
                  <a:pt x="506" y="261"/>
                  <a:pt x="506" y="261"/>
                </a:cubicBezTo>
                <a:close/>
                <a:moveTo>
                  <a:pt x="508" y="279"/>
                </a:moveTo>
                <a:cubicBezTo>
                  <a:pt x="508" y="281"/>
                  <a:pt x="504" y="283"/>
                  <a:pt x="503" y="281"/>
                </a:cubicBezTo>
                <a:cubicBezTo>
                  <a:pt x="502" y="280"/>
                  <a:pt x="507" y="277"/>
                  <a:pt x="508" y="279"/>
                </a:cubicBezTo>
                <a:close/>
                <a:moveTo>
                  <a:pt x="502" y="609"/>
                </a:moveTo>
                <a:cubicBezTo>
                  <a:pt x="502" y="607"/>
                  <a:pt x="504" y="608"/>
                  <a:pt x="502" y="609"/>
                </a:cubicBezTo>
                <a:close/>
                <a:moveTo>
                  <a:pt x="503" y="283"/>
                </a:moveTo>
                <a:cubicBezTo>
                  <a:pt x="503" y="282"/>
                  <a:pt x="502" y="284"/>
                  <a:pt x="503" y="283"/>
                </a:cubicBezTo>
                <a:close/>
                <a:moveTo>
                  <a:pt x="502" y="173"/>
                </a:moveTo>
                <a:cubicBezTo>
                  <a:pt x="503" y="174"/>
                  <a:pt x="502" y="175"/>
                  <a:pt x="501" y="174"/>
                </a:cubicBezTo>
                <a:cubicBezTo>
                  <a:pt x="501" y="174"/>
                  <a:pt x="502" y="174"/>
                  <a:pt x="502" y="173"/>
                </a:cubicBezTo>
                <a:close/>
                <a:moveTo>
                  <a:pt x="501" y="129"/>
                </a:moveTo>
                <a:cubicBezTo>
                  <a:pt x="501" y="129"/>
                  <a:pt x="501" y="129"/>
                  <a:pt x="501" y="129"/>
                </a:cubicBezTo>
                <a:cubicBezTo>
                  <a:pt x="502" y="131"/>
                  <a:pt x="499" y="127"/>
                  <a:pt x="501" y="129"/>
                </a:cubicBezTo>
                <a:close/>
                <a:moveTo>
                  <a:pt x="503" y="177"/>
                </a:moveTo>
                <a:cubicBezTo>
                  <a:pt x="503" y="178"/>
                  <a:pt x="500" y="178"/>
                  <a:pt x="500" y="177"/>
                </a:cubicBezTo>
                <a:cubicBezTo>
                  <a:pt x="500" y="176"/>
                  <a:pt x="503" y="175"/>
                  <a:pt x="503" y="177"/>
                </a:cubicBezTo>
                <a:close/>
                <a:moveTo>
                  <a:pt x="501" y="214"/>
                </a:moveTo>
                <a:cubicBezTo>
                  <a:pt x="502" y="214"/>
                  <a:pt x="500" y="216"/>
                  <a:pt x="500" y="216"/>
                </a:cubicBezTo>
                <a:cubicBezTo>
                  <a:pt x="499" y="215"/>
                  <a:pt x="500" y="213"/>
                  <a:pt x="501" y="214"/>
                </a:cubicBezTo>
                <a:close/>
                <a:moveTo>
                  <a:pt x="499" y="175"/>
                </a:moveTo>
                <a:cubicBezTo>
                  <a:pt x="499" y="175"/>
                  <a:pt x="499" y="175"/>
                  <a:pt x="498" y="175"/>
                </a:cubicBezTo>
                <a:cubicBezTo>
                  <a:pt x="498" y="175"/>
                  <a:pt x="498" y="175"/>
                  <a:pt x="498" y="175"/>
                </a:cubicBezTo>
                <a:cubicBezTo>
                  <a:pt x="498" y="175"/>
                  <a:pt x="499" y="175"/>
                  <a:pt x="499" y="175"/>
                </a:cubicBezTo>
                <a:close/>
                <a:moveTo>
                  <a:pt x="499" y="241"/>
                </a:moveTo>
                <a:cubicBezTo>
                  <a:pt x="500" y="241"/>
                  <a:pt x="498" y="242"/>
                  <a:pt x="498" y="241"/>
                </a:cubicBezTo>
                <a:cubicBezTo>
                  <a:pt x="498" y="240"/>
                  <a:pt x="499" y="241"/>
                  <a:pt x="499" y="241"/>
                </a:cubicBezTo>
                <a:close/>
                <a:moveTo>
                  <a:pt x="498" y="123"/>
                </a:moveTo>
                <a:cubicBezTo>
                  <a:pt x="499" y="123"/>
                  <a:pt x="497" y="125"/>
                  <a:pt x="497" y="124"/>
                </a:cubicBezTo>
                <a:cubicBezTo>
                  <a:pt x="497" y="124"/>
                  <a:pt x="498" y="123"/>
                  <a:pt x="498" y="123"/>
                </a:cubicBezTo>
                <a:close/>
                <a:moveTo>
                  <a:pt x="498" y="150"/>
                </a:moveTo>
                <a:cubicBezTo>
                  <a:pt x="498" y="151"/>
                  <a:pt x="497" y="152"/>
                  <a:pt x="496" y="151"/>
                </a:cubicBezTo>
                <a:cubicBezTo>
                  <a:pt x="496" y="150"/>
                  <a:pt x="498" y="150"/>
                  <a:pt x="498" y="150"/>
                </a:cubicBezTo>
                <a:close/>
                <a:moveTo>
                  <a:pt x="498" y="170"/>
                </a:moveTo>
                <a:cubicBezTo>
                  <a:pt x="498" y="172"/>
                  <a:pt x="494" y="171"/>
                  <a:pt x="494" y="170"/>
                </a:cubicBezTo>
                <a:cubicBezTo>
                  <a:pt x="494" y="168"/>
                  <a:pt x="497" y="168"/>
                  <a:pt x="498" y="170"/>
                </a:cubicBezTo>
                <a:close/>
                <a:moveTo>
                  <a:pt x="494" y="124"/>
                </a:moveTo>
                <a:cubicBezTo>
                  <a:pt x="494" y="124"/>
                  <a:pt x="493" y="125"/>
                  <a:pt x="492" y="125"/>
                </a:cubicBezTo>
                <a:cubicBezTo>
                  <a:pt x="492" y="124"/>
                  <a:pt x="493" y="124"/>
                  <a:pt x="494" y="124"/>
                </a:cubicBezTo>
                <a:close/>
                <a:moveTo>
                  <a:pt x="493" y="162"/>
                </a:moveTo>
                <a:cubicBezTo>
                  <a:pt x="494" y="163"/>
                  <a:pt x="493" y="164"/>
                  <a:pt x="492" y="163"/>
                </a:cubicBezTo>
                <a:cubicBezTo>
                  <a:pt x="492" y="163"/>
                  <a:pt x="493" y="162"/>
                  <a:pt x="493" y="162"/>
                </a:cubicBezTo>
                <a:close/>
                <a:moveTo>
                  <a:pt x="493" y="158"/>
                </a:moveTo>
                <a:cubicBezTo>
                  <a:pt x="494" y="160"/>
                  <a:pt x="493" y="157"/>
                  <a:pt x="493" y="158"/>
                </a:cubicBezTo>
                <a:close/>
                <a:moveTo>
                  <a:pt x="493" y="168"/>
                </a:moveTo>
                <a:cubicBezTo>
                  <a:pt x="493" y="170"/>
                  <a:pt x="491" y="169"/>
                  <a:pt x="493" y="168"/>
                </a:cubicBezTo>
                <a:close/>
                <a:moveTo>
                  <a:pt x="491" y="160"/>
                </a:moveTo>
                <a:cubicBezTo>
                  <a:pt x="492" y="161"/>
                  <a:pt x="490" y="162"/>
                  <a:pt x="490" y="161"/>
                </a:cubicBezTo>
                <a:cubicBezTo>
                  <a:pt x="491" y="160"/>
                  <a:pt x="491" y="160"/>
                  <a:pt x="491" y="160"/>
                </a:cubicBezTo>
                <a:close/>
                <a:moveTo>
                  <a:pt x="491" y="132"/>
                </a:moveTo>
                <a:cubicBezTo>
                  <a:pt x="492" y="134"/>
                  <a:pt x="488" y="133"/>
                  <a:pt x="488" y="132"/>
                </a:cubicBezTo>
                <a:cubicBezTo>
                  <a:pt x="488" y="131"/>
                  <a:pt x="491" y="131"/>
                  <a:pt x="491" y="132"/>
                </a:cubicBezTo>
                <a:close/>
                <a:moveTo>
                  <a:pt x="486" y="205"/>
                </a:moveTo>
                <a:cubicBezTo>
                  <a:pt x="487" y="204"/>
                  <a:pt x="488" y="204"/>
                  <a:pt x="488" y="205"/>
                </a:cubicBezTo>
                <a:cubicBezTo>
                  <a:pt x="488" y="205"/>
                  <a:pt x="489" y="205"/>
                  <a:pt x="490" y="205"/>
                </a:cubicBezTo>
                <a:cubicBezTo>
                  <a:pt x="491" y="204"/>
                  <a:pt x="496" y="198"/>
                  <a:pt x="497" y="199"/>
                </a:cubicBezTo>
                <a:cubicBezTo>
                  <a:pt x="499" y="201"/>
                  <a:pt x="490" y="206"/>
                  <a:pt x="489" y="206"/>
                </a:cubicBezTo>
                <a:cubicBezTo>
                  <a:pt x="488" y="207"/>
                  <a:pt x="487" y="208"/>
                  <a:pt x="486" y="207"/>
                </a:cubicBezTo>
                <a:cubicBezTo>
                  <a:pt x="486" y="207"/>
                  <a:pt x="486" y="207"/>
                  <a:pt x="486" y="207"/>
                </a:cubicBezTo>
                <a:cubicBezTo>
                  <a:pt x="486" y="207"/>
                  <a:pt x="486" y="207"/>
                  <a:pt x="486" y="207"/>
                </a:cubicBezTo>
                <a:cubicBezTo>
                  <a:pt x="485" y="206"/>
                  <a:pt x="486" y="205"/>
                  <a:pt x="486" y="205"/>
                </a:cubicBezTo>
                <a:close/>
                <a:moveTo>
                  <a:pt x="486" y="209"/>
                </a:moveTo>
                <a:cubicBezTo>
                  <a:pt x="487" y="210"/>
                  <a:pt x="485" y="210"/>
                  <a:pt x="485" y="210"/>
                </a:cubicBezTo>
                <a:cubicBezTo>
                  <a:pt x="485" y="209"/>
                  <a:pt x="486" y="209"/>
                  <a:pt x="486" y="209"/>
                </a:cubicBezTo>
                <a:close/>
                <a:moveTo>
                  <a:pt x="486" y="141"/>
                </a:moveTo>
                <a:cubicBezTo>
                  <a:pt x="486" y="142"/>
                  <a:pt x="483" y="142"/>
                  <a:pt x="483" y="141"/>
                </a:cubicBezTo>
                <a:cubicBezTo>
                  <a:pt x="483" y="141"/>
                  <a:pt x="485" y="140"/>
                  <a:pt x="486" y="141"/>
                </a:cubicBezTo>
                <a:close/>
                <a:moveTo>
                  <a:pt x="484" y="149"/>
                </a:moveTo>
                <a:cubicBezTo>
                  <a:pt x="485" y="149"/>
                  <a:pt x="483" y="151"/>
                  <a:pt x="483" y="149"/>
                </a:cubicBezTo>
                <a:cubicBezTo>
                  <a:pt x="483" y="149"/>
                  <a:pt x="483" y="149"/>
                  <a:pt x="484" y="149"/>
                </a:cubicBezTo>
                <a:close/>
                <a:moveTo>
                  <a:pt x="496" y="76"/>
                </a:moveTo>
                <a:cubicBezTo>
                  <a:pt x="496" y="76"/>
                  <a:pt x="496" y="76"/>
                  <a:pt x="496" y="76"/>
                </a:cubicBezTo>
                <a:cubicBezTo>
                  <a:pt x="496" y="77"/>
                  <a:pt x="496" y="77"/>
                  <a:pt x="496" y="76"/>
                </a:cubicBezTo>
                <a:close/>
                <a:moveTo>
                  <a:pt x="496" y="76"/>
                </a:moveTo>
                <a:cubicBezTo>
                  <a:pt x="495" y="76"/>
                  <a:pt x="495" y="76"/>
                  <a:pt x="496" y="76"/>
                </a:cubicBezTo>
                <a:close/>
                <a:moveTo>
                  <a:pt x="496" y="79"/>
                </a:moveTo>
                <a:cubicBezTo>
                  <a:pt x="496" y="79"/>
                  <a:pt x="495" y="79"/>
                  <a:pt x="494" y="79"/>
                </a:cubicBezTo>
                <a:cubicBezTo>
                  <a:pt x="494" y="79"/>
                  <a:pt x="495" y="78"/>
                  <a:pt x="496" y="79"/>
                </a:cubicBezTo>
                <a:close/>
                <a:moveTo>
                  <a:pt x="493" y="77"/>
                </a:moveTo>
                <a:cubicBezTo>
                  <a:pt x="493" y="78"/>
                  <a:pt x="492" y="78"/>
                  <a:pt x="492" y="78"/>
                </a:cubicBezTo>
                <a:cubicBezTo>
                  <a:pt x="492" y="78"/>
                  <a:pt x="491" y="76"/>
                  <a:pt x="491" y="76"/>
                </a:cubicBezTo>
                <a:cubicBezTo>
                  <a:pt x="491" y="75"/>
                  <a:pt x="493" y="75"/>
                  <a:pt x="493" y="77"/>
                </a:cubicBezTo>
                <a:close/>
                <a:moveTo>
                  <a:pt x="486" y="82"/>
                </a:moveTo>
                <a:cubicBezTo>
                  <a:pt x="487" y="83"/>
                  <a:pt x="485" y="83"/>
                  <a:pt x="485" y="82"/>
                </a:cubicBezTo>
                <a:cubicBezTo>
                  <a:pt x="485" y="82"/>
                  <a:pt x="486" y="82"/>
                  <a:pt x="486" y="82"/>
                </a:cubicBezTo>
                <a:close/>
                <a:moveTo>
                  <a:pt x="486" y="85"/>
                </a:moveTo>
                <a:cubicBezTo>
                  <a:pt x="485" y="85"/>
                  <a:pt x="484" y="86"/>
                  <a:pt x="484" y="85"/>
                </a:cubicBezTo>
                <a:cubicBezTo>
                  <a:pt x="485" y="85"/>
                  <a:pt x="488" y="81"/>
                  <a:pt x="491" y="81"/>
                </a:cubicBezTo>
                <a:cubicBezTo>
                  <a:pt x="492" y="81"/>
                  <a:pt x="495" y="82"/>
                  <a:pt x="495" y="85"/>
                </a:cubicBezTo>
                <a:cubicBezTo>
                  <a:pt x="494" y="87"/>
                  <a:pt x="490" y="89"/>
                  <a:pt x="488" y="89"/>
                </a:cubicBezTo>
                <a:cubicBezTo>
                  <a:pt x="487" y="89"/>
                  <a:pt x="486" y="88"/>
                  <a:pt x="485" y="88"/>
                </a:cubicBezTo>
                <a:cubicBezTo>
                  <a:pt x="485" y="88"/>
                  <a:pt x="484" y="89"/>
                  <a:pt x="484" y="88"/>
                </a:cubicBezTo>
                <a:cubicBezTo>
                  <a:pt x="484" y="87"/>
                  <a:pt x="486" y="86"/>
                  <a:pt x="486" y="85"/>
                </a:cubicBezTo>
                <a:close/>
                <a:moveTo>
                  <a:pt x="480" y="84"/>
                </a:moveTo>
                <a:cubicBezTo>
                  <a:pt x="481" y="85"/>
                  <a:pt x="479" y="83"/>
                  <a:pt x="480" y="84"/>
                </a:cubicBezTo>
                <a:close/>
                <a:moveTo>
                  <a:pt x="481" y="85"/>
                </a:moveTo>
                <a:cubicBezTo>
                  <a:pt x="481" y="85"/>
                  <a:pt x="481" y="85"/>
                  <a:pt x="481" y="85"/>
                </a:cubicBezTo>
                <a:cubicBezTo>
                  <a:pt x="481" y="85"/>
                  <a:pt x="480" y="85"/>
                  <a:pt x="480" y="85"/>
                </a:cubicBezTo>
                <a:cubicBezTo>
                  <a:pt x="481" y="85"/>
                  <a:pt x="481" y="85"/>
                  <a:pt x="481" y="85"/>
                </a:cubicBezTo>
                <a:close/>
                <a:moveTo>
                  <a:pt x="480" y="100"/>
                </a:moveTo>
                <a:cubicBezTo>
                  <a:pt x="479" y="100"/>
                  <a:pt x="481" y="99"/>
                  <a:pt x="482" y="99"/>
                </a:cubicBezTo>
                <a:cubicBezTo>
                  <a:pt x="482" y="100"/>
                  <a:pt x="480" y="100"/>
                  <a:pt x="480" y="100"/>
                </a:cubicBezTo>
                <a:close/>
                <a:moveTo>
                  <a:pt x="481" y="72"/>
                </a:moveTo>
                <a:cubicBezTo>
                  <a:pt x="484" y="71"/>
                  <a:pt x="482" y="77"/>
                  <a:pt x="479" y="75"/>
                </a:cubicBezTo>
                <a:cubicBezTo>
                  <a:pt x="478" y="74"/>
                  <a:pt x="480" y="73"/>
                  <a:pt x="481" y="72"/>
                </a:cubicBezTo>
                <a:close/>
                <a:moveTo>
                  <a:pt x="492" y="60"/>
                </a:moveTo>
                <a:cubicBezTo>
                  <a:pt x="491" y="62"/>
                  <a:pt x="490" y="60"/>
                  <a:pt x="492" y="60"/>
                </a:cubicBezTo>
                <a:close/>
                <a:moveTo>
                  <a:pt x="487" y="59"/>
                </a:moveTo>
                <a:cubicBezTo>
                  <a:pt x="486" y="60"/>
                  <a:pt x="485" y="60"/>
                  <a:pt x="483" y="60"/>
                </a:cubicBezTo>
                <a:cubicBezTo>
                  <a:pt x="485" y="60"/>
                  <a:pt x="485" y="58"/>
                  <a:pt x="487" y="59"/>
                </a:cubicBezTo>
                <a:close/>
                <a:moveTo>
                  <a:pt x="479" y="61"/>
                </a:moveTo>
                <a:cubicBezTo>
                  <a:pt x="480" y="61"/>
                  <a:pt x="478" y="62"/>
                  <a:pt x="477" y="61"/>
                </a:cubicBezTo>
                <a:cubicBezTo>
                  <a:pt x="477" y="61"/>
                  <a:pt x="479" y="61"/>
                  <a:pt x="479" y="61"/>
                </a:cubicBezTo>
                <a:close/>
                <a:moveTo>
                  <a:pt x="477" y="61"/>
                </a:moveTo>
                <a:cubicBezTo>
                  <a:pt x="477" y="62"/>
                  <a:pt x="475" y="61"/>
                  <a:pt x="475" y="61"/>
                </a:cubicBezTo>
                <a:cubicBezTo>
                  <a:pt x="475" y="61"/>
                  <a:pt x="476" y="60"/>
                  <a:pt x="477" y="61"/>
                </a:cubicBezTo>
                <a:close/>
                <a:moveTo>
                  <a:pt x="465" y="20"/>
                </a:moveTo>
                <a:cubicBezTo>
                  <a:pt x="465" y="20"/>
                  <a:pt x="464" y="21"/>
                  <a:pt x="463" y="20"/>
                </a:cubicBezTo>
                <a:cubicBezTo>
                  <a:pt x="463" y="20"/>
                  <a:pt x="464" y="19"/>
                  <a:pt x="465" y="20"/>
                </a:cubicBezTo>
                <a:close/>
                <a:moveTo>
                  <a:pt x="465" y="23"/>
                </a:moveTo>
                <a:cubicBezTo>
                  <a:pt x="465" y="24"/>
                  <a:pt x="463" y="23"/>
                  <a:pt x="463" y="23"/>
                </a:cubicBezTo>
                <a:cubicBezTo>
                  <a:pt x="463" y="22"/>
                  <a:pt x="464" y="21"/>
                  <a:pt x="465" y="23"/>
                </a:cubicBezTo>
                <a:close/>
                <a:moveTo>
                  <a:pt x="399" y="26"/>
                </a:moveTo>
                <a:cubicBezTo>
                  <a:pt x="399" y="26"/>
                  <a:pt x="399" y="26"/>
                  <a:pt x="399" y="27"/>
                </a:cubicBezTo>
                <a:cubicBezTo>
                  <a:pt x="399" y="27"/>
                  <a:pt x="399" y="27"/>
                  <a:pt x="399" y="27"/>
                </a:cubicBezTo>
                <a:cubicBezTo>
                  <a:pt x="399" y="27"/>
                  <a:pt x="399" y="26"/>
                  <a:pt x="399" y="26"/>
                </a:cubicBezTo>
                <a:close/>
                <a:moveTo>
                  <a:pt x="257" y="435"/>
                </a:moveTo>
                <a:cubicBezTo>
                  <a:pt x="258" y="436"/>
                  <a:pt x="257" y="438"/>
                  <a:pt x="257" y="438"/>
                </a:cubicBezTo>
                <a:cubicBezTo>
                  <a:pt x="255" y="439"/>
                  <a:pt x="255" y="434"/>
                  <a:pt x="257" y="435"/>
                </a:cubicBezTo>
                <a:close/>
                <a:moveTo>
                  <a:pt x="258" y="487"/>
                </a:moveTo>
                <a:cubicBezTo>
                  <a:pt x="256" y="488"/>
                  <a:pt x="257" y="484"/>
                  <a:pt x="258" y="485"/>
                </a:cubicBezTo>
                <a:cubicBezTo>
                  <a:pt x="259" y="485"/>
                  <a:pt x="258" y="486"/>
                  <a:pt x="258" y="487"/>
                </a:cubicBezTo>
                <a:close/>
                <a:moveTo>
                  <a:pt x="256" y="404"/>
                </a:moveTo>
                <a:cubicBezTo>
                  <a:pt x="256" y="404"/>
                  <a:pt x="256" y="398"/>
                  <a:pt x="259" y="399"/>
                </a:cubicBezTo>
                <a:cubicBezTo>
                  <a:pt x="260" y="399"/>
                  <a:pt x="259" y="405"/>
                  <a:pt x="256" y="404"/>
                </a:cubicBezTo>
                <a:close/>
                <a:moveTo>
                  <a:pt x="259" y="383"/>
                </a:moveTo>
                <a:cubicBezTo>
                  <a:pt x="258" y="384"/>
                  <a:pt x="260" y="381"/>
                  <a:pt x="259" y="383"/>
                </a:cubicBezTo>
                <a:close/>
                <a:moveTo>
                  <a:pt x="261" y="493"/>
                </a:moveTo>
                <a:cubicBezTo>
                  <a:pt x="262" y="491"/>
                  <a:pt x="264" y="489"/>
                  <a:pt x="266" y="488"/>
                </a:cubicBezTo>
                <a:cubicBezTo>
                  <a:pt x="265" y="490"/>
                  <a:pt x="263" y="491"/>
                  <a:pt x="261" y="493"/>
                </a:cubicBezTo>
                <a:close/>
                <a:moveTo>
                  <a:pt x="266" y="444"/>
                </a:moveTo>
                <a:cubicBezTo>
                  <a:pt x="265" y="443"/>
                  <a:pt x="267" y="443"/>
                  <a:pt x="266" y="444"/>
                </a:cubicBezTo>
                <a:close/>
                <a:moveTo>
                  <a:pt x="267" y="501"/>
                </a:moveTo>
                <a:cubicBezTo>
                  <a:pt x="267" y="502"/>
                  <a:pt x="269" y="500"/>
                  <a:pt x="267" y="501"/>
                </a:cubicBezTo>
                <a:close/>
                <a:moveTo>
                  <a:pt x="268" y="477"/>
                </a:moveTo>
                <a:cubicBezTo>
                  <a:pt x="267" y="476"/>
                  <a:pt x="270" y="476"/>
                  <a:pt x="268" y="477"/>
                </a:cubicBezTo>
                <a:close/>
                <a:moveTo>
                  <a:pt x="269" y="453"/>
                </a:moveTo>
                <a:cubicBezTo>
                  <a:pt x="269" y="454"/>
                  <a:pt x="269" y="454"/>
                  <a:pt x="269" y="454"/>
                </a:cubicBezTo>
                <a:cubicBezTo>
                  <a:pt x="269" y="454"/>
                  <a:pt x="269" y="453"/>
                  <a:pt x="269" y="453"/>
                </a:cubicBezTo>
                <a:cubicBezTo>
                  <a:pt x="269" y="453"/>
                  <a:pt x="269" y="453"/>
                  <a:pt x="269" y="453"/>
                </a:cubicBezTo>
                <a:close/>
                <a:moveTo>
                  <a:pt x="282" y="413"/>
                </a:moveTo>
                <a:cubicBezTo>
                  <a:pt x="281" y="414"/>
                  <a:pt x="282" y="410"/>
                  <a:pt x="283" y="411"/>
                </a:cubicBezTo>
                <a:cubicBezTo>
                  <a:pt x="284" y="412"/>
                  <a:pt x="283" y="413"/>
                  <a:pt x="282" y="413"/>
                </a:cubicBezTo>
                <a:close/>
                <a:moveTo>
                  <a:pt x="287" y="477"/>
                </a:moveTo>
                <a:cubicBezTo>
                  <a:pt x="289" y="477"/>
                  <a:pt x="288" y="482"/>
                  <a:pt x="287" y="483"/>
                </a:cubicBezTo>
                <a:cubicBezTo>
                  <a:pt x="282" y="485"/>
                  <a:pt x="287" y="477"/>
                  <a:pt x="287" y="477"/>
                </a:cubicBezTo>
                <a:close/>
                <a:moveTo>
                  <a:pt x="288" y="462"/>
                </a:moveTo>
                <a:cubicBezTo>
                  <a:pt x="288" y="462"/>
                  <a:pt x="287" y="462"/>
                  <a:pt x="287" y="462"/>
                </a:cubicBezTo>
                <a:cubicBezTo>
                  <a:pt x="285" y="460"/>
                  <a:pt x="290" y="460"/>
                  <a:pt x="288" y="462"/>
                </a:cubicBezTo>
                <a:close/>
                <a:moveTo>
                  <a:pt x="285" y="506"/>
                </a:moveTo>
                <a:cubicBezTo>
                  <a:pt x="286" y="505"/>
                  <a:pt x="284" y="507"/>
                  <a:pt x="285" y="506"/>
                </a:cubicBezTo>
                <a:close/>
                <a:moveTo>
                  <a:pt x="287" y="507"/>
                </a:moveTo>
                <a:cubicBezTo>
                  <a:pt x="287" y="507"/>
                  <a:pt x="286" y="507"/>
                  <a:pt x="286" y="507"/>
                </a:cubicBezTo>
                <a:cubicBezTo>
                  <a:pt x="284" y="505"/>
                  <a:pt x="289" y="504"/>
                  <a:pt x="287" y="507"/>
                </a:cubicBezTo>
                <a:close/>
                <a:moveTo>
                  <a:pt x="285" y="500"/>
                </a:moveTo>
                <a:cubicBezTo>
                  <a:pt x="280" y="502"/>
                  <a:pt x="285" y="493"/>
                  <a:pt x="288" y="495"/>
                </a:cubicBezTo>
                <a:cubicBezTo>
                  <a:pt x="289" y="496"/>
                  <a:pt x="286" y="500"/>
                  <a:pt x="285" y="500"/>
                </a:cubicBezTo>
                <a:close/>
                <a:moveTo>
                  <a:pt x="288" y="508"/>
                </a:moveTo>
                <a:cubicBezTo>
                  <a:pt x="287" y="509"/>
                  <a:pt x="291" y="507"/>
                  <a:pt x="288" y="508"/>
                </a:cubicBezTo>
                <a:close/>
                <a:moveTo>
                  <a:pt x="288" y="493"/>
                </a:moveTo>
                <a:cubicBezTo>
                  <a:pt x="287" y="493"/>
                  <a:pt x="287" y="490"/>
                  <a:pt x="289" y="490"/>
                </a:cubicBezTo>
                <a:cubicBezTo>
                  <a:pt x="290" y="491"/>
                  <a:pt x="289" y="492"/>
                  <a:pt x="288" y="493"/>
                </a:cubicBezTo>
                <a:close/>
                <a:moveTo>
                  <a:pt x="292" y="519"/>
                </a:moveTo>
                <a:cubicBezTo>
                  <a:pt x="291" y="518"/>
                  <a:pt x="293" y="517"/>
                  <a:pt x="292" y="519"/>
                </a:cubicBezTo>
                <a:close/>
                <a:moveTo>
                  <a:pt x="293" y="504"/>
                </a:moveTo>
                <a:cubicBezTo>
                  <a:pt x="292" y="503"/>
                  <a:pt x="294" y="503"/>
                  <a:pt x="294" y="502"/>
                </a:cubicBezTo>
                <a:cubicBezTo>
                  <a:pt x="294" y="503"/>
                  <a:pt x="293" y="503"/>
                  <a:pt x="293" y="504"/>
                </a:cubicBezTo>
                <a:close/>
                <a:moveTo>
                  <a:pt x="294" y="459"/>
                </a:moveTo>
                <a:cubicBezTo>
                  <a:pt x="293" y="460"/>
                  <a:pt x="294" y="457"/>
                  <a:pt x="295" y="458"/>
                </a:cubicBezTo>
                <a:cubicBezTo>
                  <a:pt x="295" y="459"/>
                  <a:pt x="294" y="459"/>
                  <a:pt x="294" y="459"/>
                </a:cubicBezTo>
                <a:close/>
                <a:moveTo>
                  <a:pt x="295" y="475"/>
                </a:moveTo>
                <a:cubicBezTo>
                  <a:pt x="295" y="474"/>
                  <a:pt x="297" y="475"/>
                  <a:pt x="295" y="475"/>
                </a:cubicBezTo>
                <a:close/>
                <a:moveTo>
                  <a:pt x="296" y="389"/>
                </a:moveTo>
                <a:cubicBezTo>
                  <a:pt x="295" y="387"/>
                  <a:pt x="298" y="387"/>
                  <a:pt x="296" y="389"/>
                </a:cubicBezTo>
                <a:close/>
                <a:moveTo>
                  <a:pt x="297" y="482"/>
                </a:moveTo>
                <a:cubicBezTo>
                  <a:pt x="297" y="483"/>
                  <a:pt x="297" y="480"/>
                  <a:pt x="297" y="482"/>
                </a:cubicBezTo>
                <a:close/>
                <a:moveTo>
                  <a:pt x="298" y="393"/>
                </a:moveTo>
                <a:cubicBezTo>
                  <a:pt x="298" y="393"/>
                  <a:pt x="298" y="392"/>
                  <a:pt x="298" y="393"/>
                </a:cubicBezTo>
                <a:close/>
                <a:moveTo>
                  <a:pt x="300" y="448"/>
                </a:moveTo>
                <a:cubicBezTo>
                  <a:pt x="301" y="448"/>
                  <a:pt x="300" y="449"/>
                  <a:pt x="300" y="449"/>
                </a:cubicBezTo>
                <a:cubicBezTo>
                  <a:pt x="299" y="450"/>
                  <a:pt x="299" y="447"/>
                  <a:pt x="300" y="448"/>
                </a:cubicBezTo>
                <a:close/>
                <a:moveTo>
                  <a:pt x="301" y="127"/>
                </a:moveTo>
                <a:cubicBezTo>
                  <a:pt x="300" y="127"/>
                  <a:pt x="300" y="127"/>
                  <a:pt x="300" y="127"/>
                </a:cubicBezTo>
                <a:cubicBezTo>
                  <a:pt x="299" y="127"/>
                  <a:pt x="301" y="126"/>
                  <a:pt x="301" y="127"/>
                </a:cubicBezTo>
                <a:close/>
                <a:moveTo>
                  <a:pt x="300" y="462"/>
                </a:moveTo>
                <a:cubicBezTo>
                  <a:pt x="301" y="462"/>
                  <a:pt x="301" y="461"/>
                  <a:pt x="301" y="462"/>
                </a:cubicBezTo>
                <a:cubicBezTo>
                  <a:pt x="300" y="462"/>
                  <a:pt x="300" y="462"/>
                  <a:pt x="300" y="462"/>
                </a:cubicBezTo>
                <a:close/>
                <a:moveTo>
                  <a:pt x="303" y="496"/>
                </a:moveTo>
                <a:cubicBezTo>
                  <a:pt x="303" y="496"/>
                  <a:pt x="302" y="496"/>
                  <a:pt x="302" y="496"/>
                </a:cubicBezTo>
                <a:cubicBezTo>
                  <a:pt x="298" y="496"/>
                  <a:pt x="304" y="492"/>
                  <a:pt x="303" y="496"/>
                </a:cubicBezTo>
                <a:close/>
                <a:moveTo>
                  <a:pt x="303" y="498"/>
                </a:moveTo>
                <a:cubicBezTo>
                  <a:pt x="302" y="499"/>
                  <a:pt x="304" y="497"/>
                  <a:pt x="303" y="498"/>
                </a:cubicBezTo>
                <a:close/>
                <a:moveTo>
                  <a:pt x="301" y="479"/>
                </a:moveTo>
                <a:cubicBezTo>
                  <a:pt x="304" y="475"/>
                  <a:pt x="308" y="472"/>
                  <a:pt x="312" y="469"/>
                </a:cubicBezTo>
                <a:cubicBezTo>
                  <a:pt x="309" y="472"/>
                  <a:pt x="306" y="477"/>
                  <a:pt x="301" y="479"/>
                </a:cubicBezTo>
                <a:close/>
                <a:moveTo>
                  <a:pt x="313" y="159"/>
                </a:moveTo>
                <a:cubicBezTo>
                  <a:pt x="314" y="159"/>
                  <a:pt x="310" y="162"/>
                  <a:pt x="308" y="162"/>
                </a:cubicBezTo>
                <a:cubicBezTo>
                  <a:pt x="308" y="162"/>
                  <a:pt x="304" y="161"/>
                  <a:pt x="304" y="160"/>
                </a:cubicBezTo>
                <a:cubicBezTo>
                  <a:pt x="304" y="159"/>
                  <a:pt x="308" y="157"/>
                  <a:pt x="310" y="159"/>
                </a:cubicBezTo>
                <a:cubicBezTo>
                  <a:pt x="310" y="159"/>
                  <a:pt x="310" y="160"/>
                  <a:pt x="310" y="160"/>
                </a:cubicBezTo>
                <a:cubicBezTo>
                  <a:pt x="311" y="161"/>
                  <a:pt x="312" y="159"/>
                  <a:pt x="313" y="159"/>
                </a:cubicBezTo>
                <a:close/>
                <a:moveTo>
                  <a:pt x="312" y="488"/>
                </a:moveTo>
                <a:cubicBezTo>
                  <a:pt x="313" y="487"/>
                  <a:pt x="312" y="489"/>
                  <a:pt x="311" y="489"/>
                </a:cubicBezTo>
                <a:cubicBezTo>
                  <a:pt x="311" y="489"/>
                  <a:pt x="311" y="488"/>
                  <a:pt x="312" y="488"/>
                </a:cubicBezTo>
                <a:close/>
                <a:moveTo>
                  <a:pt x="312" y="354"/>
                </a:moveTo>
                <a:cubicBezTo>
                  <a:pt x="311" y="356"/>
                  <a:pt x="310" y="356"/>
                  <a:pt x="310" y="357"/>
                </a:cubicBezTo>
                <a:cubicBezTo>
                  <a:pt x="309" y="356"/>
                  <a:pt x="310" y="354"/>
                  <a:pt x="312" y="354"/>
                </a:cubicBezTo>
                <a:close/>
                <a:moveTo>
                  <a:pt x="305" y="364"/>
                </a:moveTo>
                <a:cubicBezTo>
                  <a:pt x="305" y="362"/>
                  <a:pt x="307" y="359"/>
                  <a:pt x="309" y="358"/>
                </a:cubicBezTo>
                <a:cubicBezTo>
                  <a:pt x="308" y="360"/>
                  <a:pt x="307" y="362"/>
                  <a:pt x="305" y="364"/>
                </a:cubicBezTo>
                <a:close/>
                <a:moveTo>
                  <a:pt x="307" y="448"/>
                </a:moveTo>
                <a:cubicBezTo>
                  <a:pt x="306" y="449"/>
                  <a:pt x="307" y="447"/>
                  <a:pt x="308" y="447"/>
                </a:cubicBezTo>
                <a:cubicBezTo>
                  <a:pt x="308" y="448"/>
                  <a:pt x="307" y="448"/>
                  <a:pt x="307" y="448"/>
                </a:cubicBezTo>
                <a:close/>
                <a:moveTo>
                  <a:pt x="306" y="449"/>
                </a:moveTo>
                <a:cubicBezTo>
                  <a:pt x="306" y="450"/>
                  <a:pt x="305" y="450"/>
                  <a:pt x="305" y="451"/>
                </a:cubicBezTo>
                <a:cubicBezTo>
                  <a:pt x="304" y="451"/>
                  <a:pt x="305" y="449"/>
                  <a:pt x="306" y="449"/>
                </a:cubicBezTo>
                <a:close/>
                <a:moveTo>
                  <a:pt x="304" y="204"/>
                </a:moveTo>
                <a:cubicBezTo>
                  <a:pt x="304" y="204"/>
                  <a:pt x="304" y="202"/>
                  <a:pt x="305" y="203"/>
                </a:cubicBezTo>
                <a:cubicBezTo>
                  <a:pt x="305" y="204"/>
                  <a:pt x="304" y="204"/>
                  <a:pt x="304" y="204"/>
                </a:cubicBezTo>
                <a:close/>
                <a:moveTo>
                  <a:pt x="307" y="268"/>
                </a:moveTo>
                <a:cubicBezTo>
                  <a:pt x="305" y="270"/>
                  <a:pt x="306" y="265"/>
                  <a:pt x="307" y="266"/>
                </a:cubicBezTo>
                <a:cubicBezTo>
                  <a:pt x="307" y="267"/>
                  <a:pt x="307" y="267"/>
                  <a:pt x="307" y="268"/>
                </a:cubicBezTo>
                <a:close/>
                <a:moveTo>
                  <a:pt x="307" y="343"/>
                </a:moveTo>
                <a:cubicBezTo>
                  <a:pt x="306" y="345"/>
                  <a:pt x="308" y="342"/>
                  <a:pt x="307" y="343"/>
                </a:cubicBezTo>
                <a:close/>
                <a:moveTo>
                  <a:pt x="306" y="280"/>
                </a:moveTo>
                <a:cubicBezTo>
                  <a:pt x="305" y="282"/>
                  <a:pt x="305" y="279"/>
                  <a:pt x="306" y="279"/>
                </a:cubicBezTo>
                <a:cubicBezTo>
                  <a:pt x="307" y="279"/>
                  <a:pt x="306" y="280"/>
                  <a:pt x="306" y="280"/>
                </a:cubicBezTo>
                <a:close/>
                <a:moveTo>
                  <a:pt x="302" y="455"/>
                </a:moveTo>
                <a:cubicBezTo>
                  <a:pt x="302" y="454"/>
                  <a:pt x="303" y="453"/>
                  <a:pt x="304" y="452"/>
                </a:cubicBezTo>
                <a:cubicBezTo>
                  <a:pt x="305" y="453"/>
                  <a:pt x="303" y="454"/>
                  <a:pt x="302" y="455"/>
                </a:cubicBezTo>
                <a:close/>
                <a:moveTo>
                  <a:pt x="309" y="538"/>
                </a:moveTo>
                <a:cubicBezTo>
                  <a:pt x="309" y="538"/>
                  <a:pt x="309" y="538"/>
                  <a:pt x="309" y="538"/>
                </a:cubicBezTo>
                <a:cubicBezTo>
                  <a:pt x="309" y="538"/>
                  <a:pt x="309" y="538"/>
                  <a:pt x="309" y="538"/>
                </a:cubicBezTo>
                <a:cubicBezTo>
                  <a:pt x="308" y="539"/>
                  <a:pt x="309" y="538"/>
                  <a:pt x="309" y="538"/>
                </a:cubicBezTo>
                <a:cubicBezTo>
                  <a:pt x="309" y="538"/>
                  <a:pt x="309" y="538"/>
                  <a:pt x="309" y="538"/>
                </a:cubicBezTo>
                <a:close/>
                <a:moveTo>
                  <a:pt x="306" y="537"/>
                </a:moveTo>
                <a:cubicBezTo>
                  <a:pt x="308" y="536"/>
                  <a:pt x="305" y="538"/>
                  <a:pt x="306" y="537"/>
                </a:cubicBezTo>
                <a:close/>
                <a:moveTo>
                  <a:pt x="306" y="537"/>
                </a:moveTo>
                <a:cubicBezTo>
                  <a:pt x="305" y="539"/>
                  <a:pt x="303" y="539"/>
                  <a:pt x="303" y="541"/>
                </a:cubicBezTo>
                <a:cubicBezTo>
                  <a:pt x="303" y="540"/>
                  <a:pt x="304" y="538"/>
                  <a:pt x="306" y="537"/>
                </a:cubicBezTo>
                <a:close/>
                <a:moveTo>
                  <a:pt x="305" y="527"/>
                </a:moveTo>
                <a:cubicBezTo>
                  <a:pt x="305" y="528"/>
                  <a:pt x="301" y="533"/>
                  <a:pt x="300" y="531"/>
                </a:cubicBezTo>
                <a:cubicBezTo>
                  <a:pt x="298" y="529"/>
                  <a:pt x="303" y="527"/>
                  <a:pt x="305" y="527"/>
                </a:cubicBezTo>
                <a:close/>
                <a:moveTo>
                  <a:pt x="290" y="562"/>
                </a:moveTo>
                <a:cubicBezTo>
                  <a:pt x="290" y="562"/>
                  <a:pt x="290" y="562"/>
                  <a:pt x="290" y="562"/>
                </a:cubicBezTo>
                <a:cubicBezTo>
                  <a:pt x="290" y="562"/>
                  <a:pt x="289" y="563"/>
                  <a:pt x="290" y="562"/>
                </a:cubicBezTo>
                <a:close/>
                <a:moveTo>
                  <a:pt x="289" y="541"/>
                </a:moveTo>
                <a:cubicBezTo>
                  <a:pt x="289" y="540"/>
                  <a:pt x="287" y="543"/>
                  <a:pt x="289" y="541"/>
                </a:cubicBezTo>
                <a:close/>
                <a:moveTo>
                  <a:pt x="288" y="575"/>
                </a:moveTo>
                <a:cubicBezTo>
                  <a:pt x="286" y="576"/>
                  <a:pt x="285" y="575"/>
                  <a:pt x="284" y="574"/>
                </a:cubicBezTo>
                <a:cubicBezTo>
                  <a:pt x="283" y="570"/>
                  <a:pt x="289" y="567"/>
                  <a:pt x="290" y="569"/>
                </a:cubicBezTo>
                <a:cubicBezTo>
                  <a:pt x="293" y="571"/>
                  <a:pt x="289" y="575"/>
                  <a:pt x="288" y="575"/>
                </a:cubicBezTo>
                <a:close/>
                <a:moveTo>
                  <a:pt x="292" y="544"/>
                </a:moveTo>
                <a:cubicBezTo>
                  <a:pt x="292" y="546"/>
                  <a:pt x="290" y="545"/>
                  <a:pt x="292" y="544"/>
                </a:cubicBezTo>
                <a:close/>
                <a:moveTo>
                  <a:pt x="295" y="567"/>
                </a:moveTo>
                <a:cubicBezTo>
                  <a:pt x="295" y="565"/>
                  <a:pt x="297" y="567"/>
                  <a:pt x="295" y="567"/>
                </a:cubicBezTo>
                <a:close/>
                <a:moveTo>
                  <a:pt x="295" y="565"/>
                </a:moveTo>
                <a:cubicBezTo>
                  <a:pt x="295" y="565"/>
                  <a:pt x="295" y="565"/>
                  <a:pt x="295" y="565"/>
                </a:cubicBezTo>
                <a:cubicBezTo>
                  <a:pt x="295" y="565"/>
                  <a:pt x="294" y="565"/>
                  <a:pt x="294" y="565"/>
                </a:cubicBezTo>
                <a:cubicBezTo>
                  <a:pt x="294" y="566"/>
                  <a:pt x="293" y="567"/>
                  <a:pt x="293" y="568"/>
                </a:cubicBezTo>
                <a:cubicBezTo>
                  <a:pt x="293" y="568"/>
                  <a:pt x="294" y="568"/>
                  <a:pt x="292" y="568"/>
                </a:cubicBezTo>
                <a:cubicBezTo>
                  <a:pt x="292" y="569"/>
                  <a:pt x="292" y="569"/>
                  <a:pt x="292" y="569"/>
                </a:cubicBezTo>
                <a:cubicBezTo>
                  <a:pt x="292" y="569"/>
                  <a:pt x="292" y="569"/>
                  <a:pt x="292" y="568"/>
                </a:cubicBezTo>
                <a:cubicBezTo>
                  <a:pt x="292" y="569"/>
                  <a:pt x="292" y="569"/>
                  <a:pt x="292" y="569"/>
                </a:cubicBezTo>
                <a:cubicBezTo>
                  <a:pt x="292" y="568"/>
                  <a:pt x="292" y="568"/>
                  <a:pt x="293" y="568"/>
                </a:cubicBezTo>
                <a:cubicBezTo>
                  <a:pt x="293" y="565"/>
                  <a:pt x="295" y="562"/>
                  <a:pt x="297" y="560"/>
                </a:cubicBezTo>
                <a:cubicBezTo>
                  <a:pt x="296" y="561"/>
                  <a:pt x="296" y="563"/>
                  <a:pt x="295" y="565"/>
                </a:cubicBezTo>
                <a:close/>
                <a:moveTo>
                  <a:pt x="302" y="546"/>
                </a:moveTo>
                <a:cubicBezTo>
                  <a:pt x="301" y="548"/>
                  <a:pt x="298" y="547"/>
                  <a:pt x="297" y="548"/>
                </a:cubicBezTo>
                <a:cubicBezTo>
                  <a:pt x="298" y="547"/>
                  <a:pt x="300" y="547"/>
                  <a:pt x="302" y="546"/>
                </a:cubicBezTo>
                <a:close/>
                <a:moveTo>
                  <a:pt x="301" y="567"/>
                </a:moveTo>
                <a:cubicBezTo>
                  <a:pt x="302" y="568"/>
                  <a:pt x="300" y="571"/>
                  <a:pt x="299" y="570"/>
                </a:cubicBezTo>
                <a:cubicBezTo>
                  <a:pt x="297" y="569"/>
                  <a:pt x="299" y="565"/>
                  <a:pt x="301" y="567"/>
                </a:cubicBezTo>
                <a:cubicBezTo>
                  <a:pt x="299" y="565"/>
                  <a:pt x="302" y="560"/>
                  <a:pt x="305" y="561"/>
                </a:cubicBezTo>
                <a:cubicBezTo>
                  <a:pt x="308" y="562"/>
                  <a:pt x="304" y="570"/>
                  <a:pt x="301" y="567"/>
                </a:cubicBezTo>
                <a:close/>
                <a:moveTo>
                  <a:pt x="306" y="540"/>
                </a:moveTo>
                <a:cubicBezTo>
                  <a:pt x="306" y="538"/>
                  <a:pt x="308" y="540"/>
                  <a:pt x="306" y="540"/>
                </a:cubicBezTo>
                <a:close/>
                <a:moveTo>
                  <a:pt x="307" y="568"/>
                </a:moveTo>
                <a:cubicBezTo>
                  <a:pt x="307" y="568"/>
                  <a:pt x="307" y="568"/>
                  <a:pt x="307" y="568"/>
                </a:cubicBezTo>
                <a:cubicBezTo>
                  <a:pt x="307" y="566"/>
                  <a:pt x="309" y="569"/>
                  <a:pt x="307" y="568"/>
                </a:cubicBezTo>
                <a:close/>
                <a:moveTo>
                  <a:pt x="308" y="569"/>
                </a:moveTo>
                <a:cubicBezTo>
                  <a:pt x="307" y="570"/>
                  <a:pt x="308" y="567"/>
                  <a:pt x="309" y="568"/>
                </a:cubicBezTo>
                <a:cubicBezTo>
                  <a:pt x="310" y="569"/>
                  <a:pt x="309" y="569"/>
                  <a:pt x="308" y="569"/>
                </a:cubicBezTo>
                <a:close/>
                <a:moveTo>
                  <a:pt x="312" y="574"/>
                </a:moveTo>
                <a:cubicBezTo>
                  <a:pt x="311" y="575"/>
                  <a:pt x="313" y="572"/>
                  <a:pt x="312" y="574"/>
                </a:cubicBezTo>
                <a:close/>
                <a:moveTo>
                  <a:pt x="312" y="571"/>
                </a:moveTo>
                <a:cubicBezTo>
                  <a:pt x="312" y="572"/>
                  <a:pt x="311" y="572"/>
                  <a:pt x="311" y="571"/>
                </a:cubicBezTo>
                <a:cubicBezTo>
                  <a:pt x="310" y="570"/>
                  <a:pt x="314" y="569"/>
                  <a:pt x="312" y="571"/>
                </a:cubicBezTo>
                <a:close/>
                <a:moveTo>
                  <a:pt x="313" y="395"/>
                </a:moveTo>
                <a:cubicBezTo>
                  <a:pt x="314" y="394"/>
                  <a:pt x="312" y="396"/>
                  <a:pt x="313" y="395"/>
                </a:cubicBezTo>
                <a:close/>
                <a:moveTo>
                  <a:pt x="313" y="287"/>
                </a:moveTo>
                <a:cubicBezTo>
                  <a:pt x="312" y="289"/>
                  <a:pt x="314" y="286"/>
                  <a:pt x="313" y="287"/>
                </a:cubicBezTo>
                <a:close/>
                <a:moveTo>
                  <a:pt x="315" y="545"/>
                </a:moveTo>
                <a:cubicBezTo>
                  <a:pt x="312" y="547"/>
                  <a:pt x="313" y="541"/>
                  <a:pt x="316" y="543"/>
                </a:cubicBezTo>
                <a:cubicBezTo>
                  <a:pt x="317" y="543"/>
                  <a:pt x="316" y="545"/>
                  <a:pt x="315" y="545"/>
                </a:cubicBezTo>
                <a:close/>
                <a:moveTo>
                  <a:pt x="313" y="521"/>
                </a:moveTo>
                <a:cubicBezTo>
                  <a:pt x="314" y="520"/>
                  <a:pt x="312" y="522"/>
                  <a:pt x="313" y="521"/>
                </a:cubicBezTo>
                <a:close/>
                <a:moveTo>
                  <a:pt x="315" y="495"/>
                </a:moveTo>
                <a:cubicBezTo>
                  <a:pt x="315" y="495"/>
                  <a:pt x="315" y="496"/>
                  <a:pt x="315" y="496"/>
                </a:cubicBezTo>
                <a:cubicBezTo>
                  <a:pt x="315" y="498"/>
                  <a:pt x="314" y="495"/>
                  <a:pt x="315" y="495"/>
                </a:cubicBezTo>
                <a:close/>
                <a:moveTo>
                  <a:pt x="313" y="466"/>
                </a:moveTo>
                <a:cubicBezTo>
                  <a:pt x="314" y="464"/>
                  <a:pt x="319" y="461"/>
                  <a:pt x="322" y="459"/>
                </a:cubicBezTo>
                <a:cubicBezTo>
                  <a:pt x="321" y="461"/>
                  <a:pt x="318" y="462"/>
                  <a:pt x="317" y="464"/>
                </a:cubicBezTo>
                <a:cubicBezTo>
                  <a:pt x="316" y="464"/>
                  <a:pt x="313" y="468"/>
                  <a:pt x="313" y="466"/>
                </a:cubicBezTo>
                <a:close/>
                <a:moveTo>
                  <a:pt x="316" y="176"/>
                </a:moveTo>
                <a:cubicBezTo>
                  <a:pt x="316" y="176"/>
                  <a:pt x="317" y="175"/>
                  <a:pt x="317" y="175"/>
                </a:cubicBezTo>
                <a:cubicBezTo>
                  <a:pt x="317" y="176"/>
                  <a:pt x="316" y="176"/>
                  <a:pt x="316" y="176"/>
                </a:cubicBezTo>
                <a:close/>
                <a:moveTo>
                  <a:pt x="318" y="385"/>
                </a:moveTo>
                <a:cubicBezTo>
                  <a:pt x="317" y="386"/>
                  <a:pt x="316" y="385"/>
                  <a:pt x="316" y="385"/>
                </a:cubicBezTo>
                <a:cubicBezTo>
                  <a:pt x="317" y="384"/>
                  <a:pt x="318" y="384"/>
                  <a:pt x="318" y="385"/>
                </a:cubicBezTo>
                <a:close/>
                <a:moveTo>
                  <a:pt x="316" y="395"/>
                </a:moveTo>
                <a:cubicBezTo>
                  <a:pt x="316" y="395"/>
                  <a:pt x="316" y="396"/>
                  <a:pt x="315" y="395"/>
                </a:cubicBezTo>
                <a:cubicBezTo>
                  <a:pt x="315" y="395"/>
                  <a:pt x="318" y="393"/>
                  <a:pt x="316" y="395"/>
                </a:cubicBezTo>
                <a:close/>
                <a:moveTo>
                  <a:pt x="321" y="296"/>
                </a:moveTo>
                <a:cubicBezTo>
                  <a:pt x="321" y="296"/>
                  <a:pt x="321" y="297"/>
                  <a:pt x="321" y="297"/>
                </a:cubicBezTo>
                <a:cubicBezTo>
                  <a:pt x="319" y="299"/>
                  <a:pt x="320" y="295"/>
                  <a:pt x="321" y="296"/>
                </a:cubicBezTo>
                <a:close/>
                <a:moveTo>
                  <a:pt x="344" y="429"/>
                </a:moveTo>
                <a:cubicBezTo>
                  <a:pt x="344" y="429"/>
                  <a:pt x="345" y="429"/>
                  <a:pt x="345" y="429"/>
                </a:cubicBezTo>
                <a:cubicBezTo>
                  <a:pt x="345" y="430"/>
                  <a:pt x="343" y="430"/>
                  <a:pt x="344" y="429"/>
                </a:cubicBezTo>
                <a:close/>
                <a:moveTo>
                  <a:pt x="345" y="186"/>
                </a:moveTo>
                <a:cubicBezTo>
                  <a:pt x="345" y="188"/>
                  <a:pt x="343" y="188"/>
                  <a:pt x="345" y="186"/>
                </a:cubicBezTo>
                <a:close/>
                <a:moveTo>
                  <a:pt x="345" y="303"/>
                </a:moveTo>
                <a:cubicBezTo>
                  <a:pt x="344" y="303"/>
                  <a:pt x="347" y="302"/>
                  <a:pt x="345" y="303"/>
                </a:cubicBezTo>
                <a:close/>
                <a:moveTo>
                  <a:pt x="346" y="185"/>
                </a:moveTo>
                <a:cubicBezTo>
                  <a:pt x="344" y="187"/>
                  <a:pt x="347" y="183"/>
                  <a:pt x="346" y="185"/>
                </a:cubicBezTo>
                <a:close/>
                <a:moveTo>
                  <a:pt x="345" y="443"/>
                </a:moveTo>
                <a:cubicBezTo>
                  <a:pt x="344" y="445"/>
                  <a:pt x="346" y="442"/>
                  <a:pt x="345" y="443"/>
                </a:cubicBezTo>
                <a:close/>
                <a:moveTo>
                  <a:pt x="346" y="457"/>
                </a:moveTo>
                <a:cubicBezTo>
                  <a:pt x="346" y="457"/>
                  <a:pt x="346" y="458"/>
                  <a:pt x="346" y="458"/>
                </a:cubicBezTo>
                <a:cubicBezTo>
                  <a:pt x="345" y="459"/>
                  <a:pt x="345" y="456"/>
                  <a:pt x="346" y="457"/>
                </a:cubicBezTo>
                <a:close/>
                <a:moveTo>
                  <a:pt x="345" y="503"/>
                </a:moveTo>
                <a:cubicBezTo>
                  <a:pt x="345" y="503"/>
                  <a:pt x="345" y="503"/>
                  <a:pt x="345" y="503"/>
                </a:cubicBezTo>
                <a:cubicBezTo>
                  <a:pt x="345" y="503"/>
                  <a:pt x="345" y="503"/>
                  <a:pt x="345" y="503"/>
                </a:cubicBezTo>
                <a:cubicBezTo>
                  <a:pt x="345" y="503"/>
                  <a:pt x="345" y="503"/>
                  <a:pt x="345" y="503"/>
                </a:cubicBezTo>
                <a:close/>
                <a:moveTo>
                  <a:pt x="348" y="526"/>
                </a:moveTo>
                <a:cubicBezTo>
                  <a:pt x="348" y="527"/>
                  <a:pt x="344" y="530"/>
                  <a:pt x="343" y="529"/>
                </a:cubicBezTo>
                <a:cubicBezTo>
                  <a:pt x="342" y="527"/>
                  <a:pt x="346" y="526"/>
                  <a:pt x="348" y="526"/>
                </a:cubicBezTo>
                <a:close/>
                <a:moveTo>
                  <a:pt x="351" y="496"/>
                </a:moveTo>
                <a:cubicBezTo>
                  <a:pt x="352" y="497"/>
                  <a:pt x="349" y="500"/>
                  <a:pt x="349" y="500"/>
                </a:cubicBezTo>
                <a:cubicBezTo>
                  <a:pt x="344" y="502"/>
                  <a:pt x="348" y="494"/>
                  <a:pt x="351" y="496"/>
                </a:cubicBezTo>
                <a:close/>
                <a:moveTo>
                  <a:pt x="351" y="384"/>
                </a:moveTo>
                <a:cubicBezTo>
                  <a:pt x="350" y="385"/>
                  <a:pt x="349" y="384"/>
                  <a:pt x="351" y="384"/>
                </a:cubicBezTo>
                <a:close/>
                <a:moveTo>
                  <a:pt x="351" y="513"/>
                </a:moveTo>
                <a:cubicBezTo>
                  <a:pt x="350" y="512"/>
                  <a:pt x="352" y="512"/>
                  <a:pt x="351" y="512"/>
                </a:cubicBezTo>
                <a:cubicBezTo>
                  <a:pt x="351" y="512"/>
                  <a:pt x="351" y="513"/>
                  <a:pt x="351" y="513"/>
                </a:cubicBezTo>
                <a:close/>
                <a:moveTo>
                  <a:pt x="350" y="574"/>
                </a:moveTo>
                <a:cubicBezTo>
                  <a:pt x="350" y="574"/>
                  <a:pt x="350" y="573"/>
                  <a:pt x="351" y="573"/>
                </a:cubicBezTo>
                <a:cubicBezTo>
                  <a:pt x="351" y="573"/>
                  <a:pt x="350" y="574"/>
                  <a:pt x="350" y="574"/>
                </a:cubicBezTo>
                <a:close/>
                <a:moveTo>
                  <a:pt x="347" y="484"/>
                </a:moveTo>
                <a:cubicBezTo>
                  <a:pt x="347" y="483"/>
                  <a:pt x="348" y="483"/>
                  <a:pt x="348" y="483"/>
                </a:cubicBezTo>
                <a:cubicBezTo>
                  <a:pt x="349" y="483"/>
                  <a:pt x="348" y="484"/>
                  <a:pt x="347" y="484"/>
                </a:cubicBezTo>
                <a:close/>
                <a:moveTo>
                  <a:pt x="325" y="549"/>
                </a:moveTo>
                <a:cubicBezTo>
                  <a:pt x="327" y="547"/>
                  <a:pt x="330" y="546"/>
                  <a:pt x="333" y="545"/>
                </a:cubicBezTo>
                <a:cubicBezTo>
                  <a:pt x="330" y="547"/>
                  <a:pt x="328" y="549"/>
                  <a:pt x="325" y="549"/>
                </a:cubicBezTo>
                <a:close/>
                <a:moveTo>
                  <a:pt x="331" y="617"/>
                </a:moveTo>
                <a:cubicBezTo>
                  <a:pt x="331" y="616"/>
                  <a:pt x="332" y="616"/>
                  <a:pt x="333" y="617"/>
                </a:cubicBezTo>
                <a:cubicBezTo>
                  <a:pt x="333" y="617"/>
                  <a:pt x="331" y="619"/>
                  <a:pt x="331" y="617"/>
                </a:cubicBezTo>
                <a:close/>
                <a:moveTo>
                  <a:pt x="326" y="553"/>
                </a:moveTo>
                <a:cubicBezTo>
                  <a:pt x="326" y="553"/>
                  <a:pt x="327" y="552"/>
                  <a:pt x="327" y="552"/>
                </a:cubicBezTo>
                <a:cubicBezTo>
                  <a:pt x="327" y="552"/>
                  <a:pt x="327" y="553"/>
                  <a:pt x="326" y="553"/>
                </a:cubicBezTo>
                <a:close/>
                <a:moveTo>
                  <a:pt x="318" y="527"/>
                </a:moveTo>
                <a:cubicBezTo>
                  <a:pt x="323" y="523"/>
                  <a:pt x="328" y="520"/>
                  <a:pt x="335" y="518"/>
                </a:cubicBezTo>
                <a:cubicBezTo>
                  <a:pt x="329" y="521"/>
                  <a:pt x="324" y="524"/>
                  <a:pt x="318" y="527"/>
                </a:cubicBezTo>
                <a:close/>
                <a:moveTo>
                  <a:pt x="323" y="530"/>
                </a:moveTo>
                <a:cubicBezTo>
                  <a:pt x="323" y="531"/>
                  <a:pt x="321" y="531"/>
                  <a:pt x="321" y="530"/>
                </a:cubicBezTo>
                <a:cubicBezTo>
                  <a:pt x="321" y="529"/>
                  <a:pt x="323" y="530"/>
                  <a:pt x="323" y="530"/>
                </a:cubicBezTo>
                <a:close/>
                <a:moveTo>
                  <a:pt x="329" y="503"/>
                </a:moveTo>
                <a:cubicBezTo>
                  <a:pt x="329" y="503"/>
                  <a:pt x="330" y="502"/>
                  <a:pt x="330" y="502"/>
                </a:cubicBezTo>
                <a:cubicBezTo>
                  <a:pt x="332" y="503"/>
                  <a:pt x="329" y="505"/>
                  <a:pt x="329" y="503"/>
                </a:cubicBezTo>
                <a:close/>
                <a:moveTo>
                  <a:pt x="334" y="541"/>
                </a:moveTo>
                <a:cubicBezTo>
                  <a:pt x="333" y="541"/>
                  <a:pt x="334" y="539"/>
                  <a:pt x="335" y="539"/>
                </a:cubicBezTo>
                <a:cubicBezTo>
                  <a:pt x="335" y="540"/>
                  <a:pt x="334" y="540"/>
                  <a:pt x="334" y="541"/>
                </a:cubicBezTo>
                <a:close/>
                <a:moveTo>
                  <a:pt x="341" y="584"/>
                </a:moveTo>
                <a:cubicBezTo>
                  <a:pt x="345" y="586"/>
                  <a:pt x="341" y="593"/>
                  <a:pt x="339" y="594"/>
                </a:cubicBezTo>
                <a:cubicBezTo>
                  <a:pt x="330" y="597"/>
                  <a:pt x="335" y="582"/>
                  <a:pt x="341" y="584"/>
                </a:cubicBezTo>
                <a:close/>
                <a:moveTo>
                  <a:pt x="341" y="541"/>
                </a:moveTo>
                <a:cubicBezTo>
                  <a:pt x="339" y="543"/>
                  <a:pt x="336" y="544"/>
                  <a:pt x="335" y="544"/>
                </a:cubicBezTo>
                <a:cubicBezTo>
                  <a:pt x="335" y="544"/>
                  <a:pt x="339" y="541"/>
                  <a:pt x="341" y="541"/>
                </a:cubicBezTo>
                <a:close/>
                <a:moveTo>
                  <a:pt x="336" y="518"/>
                </a:moveTo>
                <a:cubicBezTo>
                  <a:pt x="336" y="516"/>
                  <a:pt x="339" y="516"/>
                  <a:pt x="340" y="515"/>
                </a:cubicBezTo>
                <a:cubicBezTo>
                  <a:pt x="340" y="517"/>
                  <a:pt x="337" y="516"/>
                  <a:pt x="336" y="518"/>
                </a:cubicBezTo>
                <a:close/>
                <a:moveTo>
                  <a:pt x="343" y="515"/>
                </a:moveTo>
                <a:cubicBezTo>
                  <a:pt x="342" y="516"/>
                  <a:pt x="341" y="516"/>
                  <a:pt x="341" y="515"/>
                </a:cubicBezTo>
                <a:cubicBezTo>
                  <a:pt x="340" y="514"/>
                  <a:pt x="344" y="514"/>
                  <a:pt x="343" y="515"/>
                </a:cubicBezTo>
                <a:close/>
                <a:moveTo>
                  <a:pt x="343" y="553"/>
                </a:moveTo>
                <a:cubicBezTo>
                  <a:pt x="341" y="554"/>
                  <a:pt x="343" y="552"/>
                  <a:pt x="343" y="553"/>
                </a:cubicBezTo>
                <a:close/>
                <a:moveTo>
                  <a:pt x="341" y="547"/>
                </a:moveTo>
                <a:cubicBezTo>
                  <a:pt x="341" y="547"/>
                  <a:pt x="341" y="547"/>
                  <a:pt x="341" y="547"/>
                </a:cubicBezTo>
                <a:cubicBezTo>
                  <a:pt x="341" y="547"/>
                  <a:pt x="341" y="547"/>
                  <a:pt x="341" y="547"/>
                </a:cubicBezTo>
                <a:cubicBezTo>
                  <a:pt x="341" y="547"/>
                  <a:pt x="341" y="547"/>
                  <a:pt x="341" y="547"/>
                </a:cubicBezTo>
                <a:close/>
                <a:moveTo>
                  <a:pt x="342" y="574"/>
                </a:moveTo>
                <a:cubicBezTo>
                  <a:pt x="343" y="575"/>
                  <a:pt x="340" y="576"/>
                  <a:pt x="340" y="574"/>
                </a:cubicBezTo>
                <a:cubicBezTo>
                  <a:pt x="340" y="573"/>
                  <a:pt x="342" y="573"/>
                  <a:pt x="342" y="574"/>
                </a:cubicBezTo>
                <a:close/>
                <a:moveTo>
                  <a:pt x="338" y="554"/>
                </a:moveTo>
                <a:cubicBezTo>
                  <a:pt x="339" y="554"/>
                  <a:pt x="337" y="556"/>
                  <a:pt x="337" y="554"/>
                </a:cubicBezTo>
                <a:cubicBezTo>
                  <a:pt x="337" y="553"/>
                  <a:pt x="338" y="553"/>
                  <a:pt x="338" y="554"/>
                </a:cubicBezTo>
                <a:close/>
                <a:moveTo>
                  <a:pt x="335" y="537"/>
                </a:moveTo>
                <a:cubicBezTo>
                  <a:pt x="335" y="537"/>
                  <a:pt x="335" y="537"/>
                  <a:pt x="336" y="536"/>
                </a:cubicBezTo>
                <a:cubicBezTo>
                  <a:pt x="336" y="536"/>
                  <a:pt x="336" y="536"/>
                  <a:pt x="336" y="536"/>
                </a:cubicBezTo>
                <a:cubicBezTo>
                  <a:pt x="336" y="536"/>
                  <a:pt x="335" y="537"/>
                  <a:pt x="335" y="537"/>
                </a:cubicBezTo>
                <a:close/>
                <a:moveTo>
                  <a:pt x="339" y="582"/>
                </a:moveTo>
                <a:cubicBezTo>
                  <a:pt x="334" y="582"/>
                  <a:pt x="344" y="577"/>
                  <a:pt x="345" y="578"/>
                </a:cubicBezTo>
                <a:cubicBezTo>
                  <a:pt x="346" y="579"/>
                  <a:pt x="340" y="582"/>
                  <a:pt x="339" y="582"/>
                </a:cubicBezTo>
                <a:close/>
                <a:moveTo>
                  <a:pt x="345" y="556"/>
                </a:moveTo>
                <a:cubicBezTo>
                  <a:pt x="343" y="557"/>
                  <a:pt x="345" y="554"/>
                  <a:pt x="345" y="555"/>
                </a:cubicBezTo>
                <a:cubicBezTo>
                  <a:pt x="346" y="555"/>
                  <a:pt x="345" y="556"/>
                  <a:pt x="345" y="556"/>
                </a:cubicBezTo>
                <a:close/>
                <a:moveTo>
                  <a:pt x="343" y="503"/>
                </a:moveTo>
                <a:cubicBezTo>
                  <a:pt x="341" y="504"/>
                  <a:pt x="342" y="500"/>
                  <a:pt x="344" y="502"/>
                </a:cubicBezTo>
                <a:cubicBezTo>
                  <a:pt x="344" y="502"/>
                  <a:pt x="343" y="502"/>
                  <a:pt x="343" y="503"/>
                </a:cubicBezTo>
                <a:close/>
                <a:moveTo>
                  <a:pt x="342" y="425"/>
                </a:moveTo>
                <a:cubicBezTo>
                  <a:pt x="339" y="426"/>
                  <a:pt x="340" y="421"/>
                  <a:pt x="342" y="422"/>
                </a:cubicBezTo>
                <a:cubicBezTo>
                  <a:pt x="343" y="423"/>
                  <a:pt x="342" y="425"/>
                  <a:pt x="342" y="425"/>
                </a:cubicBezTo>
                <a:close/>
                <a:moveTo>
                  <a:pt x="340" y="466"/>
                </a:moveTo>
                <a:cubicBezTo>
                  <a:pt x="344" y="464"/>
                  <a:pt x="338" y="467"/>
                  <a:pt x="340" y="466"/>
                </a:cubicBezTo>
                <a:close/>
                <a:moveTo>
                  <a:pt x="339" y="506"/>
                </a:moveTo>
                <a:cubicBezTo>
                  <a:pt x="340" y="504"/>
                  <a:pt x="343" y="506"/>
                  <a:pt x="339" y="506"/>
                </a:cubicBezTo>
                <a:close/>
                <a:moveTo>
                  <a:pt x="341" y="508"/>
                </a:moveTo>
                <a:cubicBezTo>
                  <a:pt x="342" y="508"/>
                  <a:pt x="334" y="513"/>
                  <a:pt x="334" y="513"/>
                </a:cubicBezTo>
                <a:cubicBezTo>
                  <a:pt x="333" y="514"/>
                  <a:pt x="332" y="514"/>
                  <a:pt x="332" y="514"/>
                </a:cubicBezTo>
                <a:cubicBezTo>
                  <a:pt x="331" y="513"/>
                  <a:pt x="340" y="507"/>
                  <a:pt x="341" y="508"/>
                </a:cubicBezTo>
                <a:close/>
                <a:moveTo>
                  <a:pt x="336" y="508"/>
                </a:moveTo>
                <a:cubicBezTo>
                  <a:pt x="336" y="507"/>
                  <a:pt x="337" y="506"/>
                  <a:pt x="338" y="506"/>
                </a:cubicBezTo>
                <a:cubicBezTo>
                  <a:pt x="338" y="507"/>
                  <a:pt x="337" y="507"/>
                  <a:pt x="336" y="508"/>
                </a:cubicBezTo>
                <a:close/>
                <a:moveTo>
                  <a:pt x="339" y="504"/>
                </a:moveTo>
                <a:cubicBezTo>
                  <a:pt x="337" y="506"/>
                  <a:pt x="337" y="502"/>
                  <a:pt x="339" y="503"/>
                </a:cubicBezTo>
                <a:cubicBezTo>
                  <a:pt x="339" y="503"/>
                  <a:pt x="339" y="504"/>
                  <a:pt x="339" y="504"/>
                </a:cubicBezTo>
                <a:close/>
                <a:moveTo>
                  <a:pt x="337" y="360"/>
                </a:moveTo>
                <a:cubicBezTo>
                  <a:pt x="337" y="357"/>
                  <a:pt x="339" y="359"/>
                  <a:pt x="337" y="360"/>
                </a:cubicBezTo>
                <a:close/>
                <a:moveTo>
                  <a:pt x="337" y="339"/>
                </a:moveTo>
                <a:cubicBezTo>
                  <a:pt x="337" y="340"/>
                  <a:pt x="335" y="339"/>
                  <a:pt x="337" y="339"/>
                </a:cubicBezTo>
                <a:close/>
                <a:moveTo>
                  <a:pt x="337" y="248"/>
                </a:moveTo>
                <a:cubicBezTo>
                  <a:pt x="335" y="250"/>
                  <a:pt x="336" y="245"/>
                  <a:pt x="337" y="246"/>
                </a:cubicBezTo>
                <a:cubicBezTo>
                  <a:pt x="338" y="246"/>
                  <a:pt x="337" y="248"/>
                  <a:pt x="337" y="248"/>
                </a:cubicBezTo>
                <a:close/>
                <a:moveTo>
                  <a:pt x="336" y="451"/>
                </a:moveTo>
                <a:cubicBezTo>
                  <a:pt x="335" y="452"/>
                  <a:pt x="338" y="450"/>
                  <a:pt x="336" y="451"/>
                </a:cubicBezTo>
                <a:close/>
                <a:moveTo>
                  <a:pt x="337" y="467"/>
                </a:moveTo>
                <a:cubicBezTo>
                  <a:pt x="337" y="469"/>
                  <a:pt x="336" y="469"/>
                  <a:pt x="334" y="470"/>
                </a:cubicBezTo>
                <a:cubicBezTo>
                  <a:pt x="335" y="469"/>
                  <a:pt x="336" y="468"/>
                  <a:pt x="337" y="467"/>
                </a:cubicBezTo>
                <a:close/>
                <a:moveTo>
                  <a:pt x="330" y="456"/>
                </a:moveTo>
                <a:cubicBezTo>
                  <a:pt x="330" y="456"/>
                  <a:pt x="333" y="452"/>
                  <a:pt x="335" y="451"/>
                </a:cubicBezTo>
                <a:cubicBezTo>
                  <a:pt x="334" y="453"/>
                  <a:pt x="332" y="455"/>
                  <a:pt x="330" y="456"/>
                </a:cubicBezTo>
                <a:close/>
                <a:moveTo>
                  <a:pt x="332" y="406"/>
                </a:moveTo>
                <a:cubicBezTo>
                  <a:pt x="331" y="405"/>
                  <a:pt x="332" y="403"/>
                  <a:pt x="334" y="403"/>
                </a:cubicBezTo>
                <a:cubicBezTo>
                  <a:pt x="333" y="404"/>
                  <a:pt x="332" y="405"/>
                  <a:pt x="332" y="406"/>
                </a:cubicBezTo>
                <a:close/>
                <a:moveTo>
                  <a:pt x="331" y="366"/>
                </a:moveTo>
                <a:cubicBezTo>
                  <a:pt x="329" y="368"/>
                  <a:pt x="330" y="364"/>
                  <a:pt x="331" y="364"/>
                </a:cubicBezTo>
                <a:cubicBezTo>
                  <a:pt x="333" y="365"/>
                  <a:pt x="331" y="366"/>
                  <a:pt x="331" y="366"/>
                </a:cubicBezTo>
                <a:close/>
                <a:moveTo>
                  <a:pt x="330" y="407"/>
                </a:moveTo>
                <a:cubicBezTo>
                  <a:pt x="330" y="409"/>
                  <a:pt x="328" y="410"/>
                  <a:pt x="326" y="412"/>
                </a:cubicBezTo>
                <a:cubicBezTo>
                  <a:pt x="327" y="411"/>
                  <a:pt x="329" y="409"/>
                  <a:pt x="330" y="407"/>
                </a:cubicBezTo>
                <a:close/>
                <a:moveTo>
                  <a:pt x="327" y="499"/>
                </a:moveTo>
                <a:cubicBezTo>
                  <a:pt x="327" y="498"/>
                  <a:pt x="327" y="498"/>
                  <a:pt x="327" y="498"/>
                </a:cubicBezTo>
                <a:cubicBezTo>
                  <a:pt x="327" y="496"/>
                  <a:pt x="329" y="499"/>
                  <a:pt x="327" y="499"/>
                </a:cubicBezTo>
                <a:close/>
                <a:moveTo>
                  <a:pt x="328" y="510"/>
                </a:moveTo>
                <a:cubicBezTo>
                  <a:pt x="328" y="511"/>
                  <a:pt x="327" y="511"/>
                  <a:pt x="327" y="510"/>
                </a:cubicBezTo>
                <a:cubicBezTo>
                  <a:pt x="327" y="510"/>
                  <a:pt x="328" y="510"/>
                  <a:pt x="328" y="510"/>
                </a:cubicBezTo>
                <a:close/>
                <a:moveTo>
                  <a:pt x="328" y="481"/>
                </a:moveTo>
                <a:cubicBezTo>
                  <a:pt x="327" y="482"/>
                  <a:pt x="329" y="480"/>
                  <a:pt x="328" y="481"/>
                </a:cubicBezTo>
                <a:close/>
                <a:moveTo>
                  <a:pt x="326" y="333"/>
                </a:moveTo>
                <a:cubicBezTo>
                  <a:pt x="326" y="333"/>
                  <a:pt x="326" y="333"/>
                  <a:pt x="325" y="333"/>
                </a:cubicBezTo>
                <a:cubicBezTo>
                  <a:pt x="325" y="332"/>
                  <a:pt x="327" y="332"/>
                  <a:pt x="326" y="333"/>
                </a:cubicBezTo>
                <a:close/>
                <a:moveTo>
                  <a:pt x="326" y="456"/>
                </a:moveTo>
                <a:cubicBezTo>
                  <a:pt x="326" y="457"/>
                  <a:pt x="324" y="458"/>
                  <a:pt x="323" y="459"/>
                </a:cubicBezTo>
                <a:cubicBezTo>
                  <a:pt x="324" y="458"/>
                  <a:pt x="325" y="457"/>
                  <a:pt x="326" y="456"/>
                </a:cubicBezTo>
                <a:close/>
                <a:moveTo>
                  <a:pt x="330" y="515"/>
                </a:moveTo>
                <a:cubicBezTo>
                  <a:pt x="326" y="518"/>
                  <a:pt x="323" y="521"/>
                  <a:pt x="317" y="522"/>
                </a:cubicBezTo>
                <a:cubicBezTo>
                  <a:pt x="320" y="519"/>
                  <a:pt x="325" y="516"/>
                  <a:pt x="330" y="515"/>
                </a:cubicBezTo>
                <a:close/>
                <a:moveTo>
                  <a:pt x="319" y="490"/>
                </a:moveTo>
                <a:cubicBezTo>
                  <a:pt x="318" y="491"/>
                  <a:pt x="318" y="489"/>
                  <a:pt x="319" y="489"/>
                </a:cubicBezTo>
                <a:cubicBezTo>
                  <a:pt x="320" y="489"/>
                  <a:pt x="320" y="490"/>
                  <a:pt x="319" y="490"/>
                </a:cubicBezTo>
                <a:close/>
                <a:moveTo>
                  <a:pt x="320" y="514"/>
                </a:moveTo>
                <a:cubicBezTo>
                  <a:pt x="320" y="514"/>
                  <a:pt x="319" y="515"/>
                  <a:pt x="319" y="514"/>
                </a:cubicBezTo>
                <a:cubicBezTo>
                  <a:pt x="319" y="513"/>
                  <a:pt x="322" y="513"/>
                  <a:pt x="320" y="514"/>
                </a:cubicBezTo>
                <a:close/>
                <a:moveTo>
                  <a:pt x="322" y="487"/>
                </a:moveTo>
                <a:cubicBezTo>
                  <a:pt x="324" y="489"/>
                  <a:pt x="319" y="490"/>
                  <a:pt x="319" y="488"/>
                </a:cubicBezTo>
                <a:cubicBezTo>
                  <a:pt x="319" y="487"/>
                  <a:pt x="320" y="486"/>
                  <a:pt x="321" y="486"/>
                </a:cubicBezTo>
                <a:cubicBezTo>
                  <a:pt x="321" y="486"/>
                  <a:pt x="321" y="485"/>
                  <a:pt x="321" y="485"/>
                </a:cubicBezTo>
                <a:cubicBezTo>
                  <a:pt x="323" y="484"/>
                  <a:pt x="323" y="486"/>
                  <a:pt x="322" y="487"/>
                </a:cubicBezTo>
                <a:cubicBezTo>
                  <a:pt x="322" y="487"/>
                  <a:pt x="322" y="487"/>
                  <a:pt x="322" y="487"/>
                </a:cubicBezTo>
                <a:cubicBezTo>
                  <a:pt x="322" y="487"/>
                  <a:pt x="322" y="487"/>
                  <a:pt x="322" y="487"/>
                </a:cubicBezTo>
                <a:close/>
                <a:moveTo>
                  <a:pt x="319" y="565"/>
                </a:moveTo>
                <a:cubicBezTo>
                  <a:pt x="316" y="567"/>
                  <a:pt x="316" y="562"/>
                  <a:pt x="319" y="563"/>
                </a:cubicBezTo>
                <a:cubicBezTo>
                  <a:pt x="319" y="563"/>
                  <a:pt x="319" y="564"/>
                  <a:pt x="319" y="565"/>
                </a:cubicBezTo>
                <a:close/>
                <a:moveTo>
                  <a:pt x="320" y="570"/>
                </a:moveTo>
                <a:cubicBezTo>
                  <a:pt x="321" y="569"/>
                  <a:pt x="322" y="571"/>
                  <a:pt x="320" y="570"/>
                </a:cubicBezTo>
                <a:close/>
                <a:moveTo>
                  <a:pt x="322" y="580"/>
                </a:moveTo>
                <a:cubicBezTo>
                  <a:pt x="322" y="580"/>
                  <a:pt x="322" y="581"/>
                  <a:pt x="322" y="581"/>
                </a:cubicBezTo>
                <a:cubicBezTo>
                  <a:pt x="322" y="580"/>
                  <a:pt x="323" y="579"/>
                  <a:pt x="322" y="580"/>
                </a:cubicBezTo>
                <a:close/>
                <a:moveTo>
                  <a:pt x="323" y="537"/>
                </a:moveTo>
                <a:cubicBezTo>
                  <a:pt x="322" y="538"/>
                  <a:pt x="320" y="542"/>
                  <a:pt x="318" y="542"/>
                </a:cubicBezTo>
                <a:cubicBezTo>
                  <a:pt x="313" y="543"/>
                  <a:pt x="324" y="535"/>
                  <a:pt x="325" y="534"/>
                </a:cubicBezTo>
                <a:cubicBezTo>
                  <a:pt x="322" y="537"/>
                  <a:pt x="326" y="533"/>
                  <a:pt x="327" y="534"/>
                </a:cubicBezTo>
                <a:cubicBezTo>
                  <a:pt x="328" y="535"/>
                  <a:pt x="324" y="537"/>
                  <a:pt x="323" y="537"/>
                </a:cubicBezTo>
                <a:close/>
                <a:moveTo>
                  <a:pt x="327" y="588"/>
                </a:moveTo>
                <a:cubicBezTo>
                  <a:pt x="326" y="589"/>
                  <a:pt x="324" y="589"/>
                  <a:pt x="324" y="588"/>
                </a:cubicBezTo>
                <a:cubicBezTo>
                  <a:pt x="324" y="586"/>
                  <a:pt x="327" y="587"/>
                  <a:pt x="327" y="588"/>
                </a:cubicBezTo>
                <a:close/>
                <a:moveTo>
                  <a:pt x="326" y="564"/>
                </a:moveTo>
                <a:cubicBezTo>
                  <a:pt x="326" y="563"/>
                  <a:pt x="329" y="562"/>
                  <a:pt x="329" y="564"/>
                </a:cubicBezTo>
                <a:cubicBezTo>
                  <a:pt x="329" y="565"/>
                  <a:pt x="325" y="566"/>
                  <a:pt x="326" y="564"/>
                </a:cubicBezTo>
                <a:close/>
                <a:moveTo>
                  <a:pt x="327" y="585"/>
                </a:moveTo>
                <a:cubicBezTo>
                  <a:pt x="328" y="585"/>
                  <a:pt x="329" y="586"/>
                  <a:pt x="328" y="586"/>
                </a:cubicBezTo>
                <a:cubicBezTo>
                  <a:pt x="328" y="586"/>
                  <a:pt x="326" y="586"/>
                  <a:pt x="327" y="585"/>
                </a:cubicBezTo>
                <a:close/>
                <a:moveTo>
                  <a:pt x="327" y="624"/>
                </a:moveTo>
                <a:cubicBezTo>
                  <a:pt x="327" y="624"/>
                  <a:pt x="326" y="624"/>
                  <a:pt x="326" y="624"/>
                </a:cubicBezTo>
                <a:cubicBezTo>
                  <a:pt x="326" y="623"/>
                  <a:pt x="328" y="622"/>
                  <a:pt x="327" y="624"/>
                </a:cubicBezTo>
                <a:close/>
                <a:moveTo>
                  <a:pt x="329" y="612"/>
                </a:moveTo>
                <a:cubicBezTo>
                  <a:pt x="326" y="613"/>
                  <a:pt x="328" y="608"/>
                  <a:pt x="330" y="609"/>
                </a:cubicBezTo>
                <a:cubicBezTo>
                  <a:pt x="332" y="610"/>
                  <a:pt x="330" y="612"/>
                  <a:pt x="329" y="612"/>
                </a:cubicBezTo>
                <a:close/>
                <a:moveTo>
                  <a:pt x="335" y="620"/>
                </a:moveTo>
                <a:cubicBezTo>
                  <a:pt x="335" y="620"/>
                  <a:pt x="335" y="620"/>
                  <a:pt x="334" y="620"/>
                </a:cubicBezTo>
                <a:cubicBezTo>
                  <a:pt x="334" y="620"/>
                  <a:pt x="334" y="620"/>
                  <a:pt x="334" y="620"/>
                </a:cubicBezTo>
                <a:cubicBezTo>
                  <a:pt x="333" y="620"/>
                  <a:pt x="332" y="621"/>
                  <a:pt x="330" y="621"/>
                </a:cubicBezTo>
                <a:cubicBezTo>
                  <a:pt x="332" y="619"/>
                  <a:pt x="334" y="619"/>
                  <a:pt x="337" y="618"/>
                </a:cubicBezTo>
                <a:cubicBezTo>
                  <a:pt x="336" y="619"/>
                  <a:pt x="336" y="619"/>
                  <a:pt x="335" y="620"/>
                </a:cubicBezTo>
                <a:close/>
                <a:moveTo>
                  <a:pt x="339" y="618"/>
                </a:moveTo>
                <a:cubicBezTo>
                  <a:pt x="338" y="618"/>
                  <a:pt x="338" y="619"/>
                  <a:pt x="337" y="618"/>
                </a:cubicBezTo>
                <a:cubicBezTo>
                  <a:pt x="337" y="617"/>
                  <a:pt x="342" y="617"/>
                  <a:pt x="339" y="618"/>
                </a:cubicBezTo>
                <a:close/>
                <a:moveTo>
                  <a:pt x="348" y="611"/>
                </a:moveTo>
                <a:cubicBezTo>
                  <a:pt x="346" y="612"/>
                  <a:pt x="346" y="609"/>
                  <a:pt x="348" y="609"/>
                </a:cubicBezTo>
                <a:cubicBezTo>
                  <a:pt x="349" y="610"/>
                  <a:pt x="348" y="611"/>
                  <a:pt x="348" y="611"/>
                </a:cubicBezTo>
                <a:close/>
                <a:moveTo>
                  <a:pt x="347" y="599"/>
                </a:moveTo>
                <a:cubicBezTo>
                  <a:pt x="347" y="598"/>
                  <a:pt x="348" y="599"/>
                  <a:pt x="348" y="599"/>
                </a:cubicBezTo>
                <a:cubicBezTo>
                  <a:pt x="348" y="600"/>
                  <a:pt x="347" y="600"/>
                  <a:pt x="347" y="599"/>
                </a:cubicBezTo>
                <a:close/>
                <a:moveTo>
                  <a:pt x="353" y="622"/>
                </a:moveTo>
                <a:cubicBezTo>
                  <a:pt x="352" y="622"/>
                  <a:pt x="352" y="622"/>
                  <a:pt x="352" y="622"/>
                </a:cubicBezTo>
                <a:cubicBezTo>
                  <a:pt x="351" y="620"/>
                  <a:pt x="354" y="621"/>
                  <a:pt x="353" y="622"/>
                </a:cubicBezTo>
                <a:close/>
                <a:moveTo>
                  <a:pt x="352" y="594"/>
                </a:moveTo>
                <a:cubicBezTo>
                  <a:pt x="349" y="595"/>
                  <a:pt x="344" y="598"/>
                  <a:pt x="340" y="598"/>
                </a:cubicBezTo>
                <a:cubicBezTo>
                  <a:pt x="343" y="596"/>
                  <a:pt x="350" y="593"/>
                  <a:pt x="353" y="593"/>
                </a:cubicBezTo>
                <a:cubicBezTo>
                  <a:pt x="352" y="593"/>
                  <a:pt x="355" y="593"/>
                  <a:pt x="355" y="593"/>
                </a:cubicBezTo>
                <a:cubicBezTo>
                  <a:pt x="355" y="595"/>
                  <a:pt x="353" y="594"/>
                  <a:pt x="352" y="594"/>
                </a:cubicBezTo>
                <a:close/>
                <a:moveTo>
                  <a:pt x="355" y="550"/>
                </a:moveTo>
                <a:cubicBezTo>
                  <a:pt x="355" y="549"/>
                  <a:pt x="356" y="549"/>
                  <a:pt x="358" y="549"/>
                </a:cubicBezTo>
                <a:cubicBezTo>
                  <a:pt x="357" y="550"/>
                  <a:pt x="356" y="550"/>
                  <a:pt x="355" y="550"/>
                </a:cubicBezTo>
                <a:close/>
                <a:moveTo>
                  <a:pt x="358" y="493"/>
                </a:moveTo>
                <a:cubicBezTo>
                  <a:pt x="358" y="493"/>
                  <a:pt x="358" y="493"/>
                  <a:pt x="357" y="493"/>
                </a:cubicBezTo>
                <a:cubicBezTo>
                  <a:pt x="357" y="492"/>
                  <a:pt x="359" y="492"/>
                  <a:pt x="358" y="493"/>
                </a:cubicBezTo>
                <a:close/>
                <a:moveTo>
                  <a:pt x="356" y="570"/>
                </a:moveTo>
                <a:cubicBezTo>
                  <a:pt x="357" y="569"/>
                  <a:pt x="359" y="570"/>
                  <a:pt x="359" y="570"/>
                </a:cubicBezTo>
                <a:cubicBezTo>
                  <a:pt x="359" y="571"/>
                  <a:pt x="356" y="572"/>
                  <a:pt x="356" y="570"/>
                </a:cubicBezTo>
                <a:close/>
                <a:moveTo>
                  <a:pt x="358" y="619"/>
                </a:moveTo>
                <a:cubicBezTo>
                  <a:pt x="357" y="618"/>
                  <a:pt x="359" y="618"/>
                  <a:pt x="359" y="619"/>
                </a:cubicBezTo>
                <a:cubicBezTo>
                  <a:pt x="360" y="620"/>
                  <a:pt x="358" y="619"/>
                  <a:pt x="358" y="619"/>
                </a:cubicBezTo>
                <a:close/>
                <a:moveTo>
                  <a:pt x="361" y="614"/>
                </a:moveTo>
                <a:cubicBezTo>
                  <a:pt x="359" y="615"/>
                  <a:pt x="360" y="612"/>
                  <a:pt x="361" y="613"/>
                </a:cubicBezTo>
                <a:cubicBezTo>
                  <a:pt x="362" y="613"/>
                  <a:pt x="361" y="614"/>
                  <a:pt x="361" y="614"/>
                </a:cubicBezTo>
                <a:close/>
                <a:moveTo>
                  <a:pt x="363" y="621"/>
                </a:moveTo>
                <a:cubicBezTo>
                  <a:pt x="361" y="622"/>
                  <a:pt x="362" y="619"/>
                  <a:pt x="363" y="621"/>
                </a:cubicBezTo>
                <a:close/>
                <a:moveTo>
                  <a:pt x="360" y="560"/>
                </a:moveTo>
                <a:cubicBezTo>
                  <a:pt x="360" y="558"/>
                  <a:pt x="365" y="557"/>
                  <a:pt x="366" y="560"/>
                </a:cubicBezTo>
                <a:cubicBezTo>
                  <a:pt x="366" y="563"/>
                  <a:pt x="359" y="564"/>
                  <a:pt x="360" y="560"/>
                </a:cubicBezTo>
                <a:close/>
                <a:moveTo>
                  <a:pt x="362" y="459"/>
                </a:moveTo>
                <a:cubicBezTo>
                  <a:pt x="360" y="461"/>
                  <a:pt x="362" y="457"/>
                  <a:pt x="362" y="459"/>
                </a:cubicBezTo>
                <a:cubicBezTo>
                  <a:pt x="362" y="459"/>
                  <a:pt x="362" y="459"/>
                  <a:pt x="362" y="459"/>
                </a:cubicBezTo>
                <a:close/>
                <a:moveTo>
                  <a:pt x="362" y="508"/>
                </a:moveTo>
                <a:cubicBezTo>
                  <a:pt x="363" y="507"/>
                  <a:pt x="361" y="510"/>
                  <a:pt x="362" y="508"/>
                </a:cubicBezTo>
                <a:close/>
                <a:moveTo>
                  <a:pt x="362" y="515"/>
                </a:moveTo>
                <a:cubicBezTo>
                  <a:pt x="361" y="516"/>
                  <a:pt x="363" y="514"/>
                  <a:pt x="362" y="515"/>
                </a:cubicBezTo>
                <a:close/>
                <a:moveTo>
                  <a:pt x="366" y="501"/>
                </a:moveTo>
                <a:cubicBezTo>
                  <a:pt x="366" y="501"/>
                  <a:pt x="366" y="501"/>
                  <a:pt x="366" y="501"/>
                </a:cubicBezTo>
                <a:cubicBezTo>
                  <a:pt x="365" y="503"/>
                  <a:pt x="367" y="499"/>
                  <a:pt x="366" y="501"/>
                </a:cubicBezTo>
                <a:close/>
                <a:moveTo>
                  <a:pt x="368" y="619"/>
                </a:moveTo>
                <a:cubicBezTo>
                  <a:pt x="367" y="618"/>
                  <a:pt x="369" y="618"/>
                  <a:pt x="369" y="617"/>
                </a:cubicBezTo>
                <a:cubicBezTo>
                  <a:pt x="369" y="618"/>
                  <a:pt x="368" y="618"/>
                  <a:pt x="368" y="619"/>
                </a:cubicBezTo>
                <a:close/>
                <a:moveTo>
                  <a:pt x="371" y="614"/>
                </a:moveTo>
                <a:cubicBezTo>
                  <a:pt x="371" y="614"/>
                  <a:pt x="372" y="615"/>
                  <a:pt x="372" y="615"/>
                </a:cubicBezTo>
                <a:cubicBezTo>
                  <a:pt x="370" y="616"/>
                  <a:pt x="372" y="612"/>
                  <a:pt x="371" y="614"/>
                </a:cubicBezTo>
                <a:close/>
                <a:moveTo>
                  <a:pt x="366" y="619"/>
                </a:moveTo>
                <a:cubicBezTo>
                  <a:pt x="367" y="616"/>
                  <a:pt x="370" y="613"/>
                  <a:pt x="372" y="611"/>
                </a:cubicBezTo>
                <a:cubicBezTo>
                  <a:pt x="370" y="614"/>
                  <a:pt x="368" y="617"/>
                  <a:pt x="366" y="619"/>
                </a:cubicBezTo>
                <a:close/>
                <a:moveTo>
                  <a:pt x="369" y="581"/>
                </a:moveTo>
                <a:cubicBezTo>
                  <a:pt x="369" y="582"/>
                  <a:pt x="368" y="582"/>
                  <a:pt x="367" y="582"/>
                </a:cubicBezTo>
                <a:cubicBezTo>
                  <a:pt x="365" y="579"/>
                  <a:pt x="372" y="579"/>
                  <a:pt x="369" y="581"/>
                </a:cubicBezTo>
                <a:close/>
                <a:moveTo>
                  <a:pt x="371" y="586"/>
                </a:moveTo>
                <a:cubicBezTo>
                  <a:pt x="371" y="586"/>
                  <a:pt x="370" y="587"/>
                  <a:pt x="370" y="587"/>
                </a:cubicBezTo>
                <a:cubicBezTo>
                  <a:pt x="369" y="586"/>
                  <a:pt x="371" y="585"/>
                  <a:pt x="371" y="586"/>
                </a:cubicBezTo>
                <a:close/>
                <a:moveTo>
                  <a:pt x="367" y="558"/>
                </a:moveTo>
                <a:cubicBezTo>
                  <a:pt x="368" y="557"/>
                  <a:pt x="365" y="556"/>
                  <a:pt x="366" y="555"/>
                </a:cubicBezTo>
                <a:cubicBezTo>
                  <a:pt x="367" y="553"/>
                  <a:pt x="368" y="555"/>
                  <a:pt x="369" y="554"/>
                </a:cubicBezTo>
                <a:cubicBezTo>
                  <a:pt x="371" y="552"/>
                  <a:pt x="372" y="548"/>
                  <a:pt x="375" y="546"/>
                </a:cubicBezTo>
                <a:cubicBezTo>
                  <a:pt x="373" y="550"/>
                  <a:pt x="370" y="554"/>
                  <a:pt x="367" y="558"/>
                </a:cubicBezTo>
                <a:close/>
                <a:moveTo>
                  <a:pt x="369" y="514"/>
                </a:moveTo>
                <a:cubicBezTo>
                  <a:pt x="369" y="514"/>
                  <a:pt x="368" y="514"/>
                  <a:pt x="368" y="514"/>
                </a:cubicBezTo>
                <a:cubicBezTo>
                  <a:pt x="366" y="516"/>
                  <a:pt x="369" y="511"/>
                  <a:pt x="369" y="514"/>
                </a:cubicBezTo>
                <a:close/>
                <a:moveTo>
                  <a:pt x="370" y="543"/>
                </a:moveTo>
                <a:cubicBezTo>
                  <a:pt x="371" y="544"/>
                  <a:pt x="369" y="545"/>
                  <a:pt x="369" y="545"/>
                </a:cubicBezTo>
                <a:cubicBezTo>
                  <a:pt x="366" y="546"/>
                  <a:pt x="368" y="541"/>
                  <a:pt x="370" y="543"/>
                </a:cubicBezTo>
                <a:close/>
                <a:moveTo>
                  <a:pt x="375" y="543"/>
                </a:moveTo>
                <a:cubicBezTo>
                  <a:pt x="375" y="544"/>
                  <a:pt x="372" y="545"/>
                  <a:pt x="372" y="543"/>
                </a:cubicBezTo>
                <a:cubicBezTo>
                  <a:pt x="372" y="542"/>
                  <a:pt x="374" y="542"/>
                  <a:pt x="375" y="543"/>
                </a:cubicBezTo>
                <a:close/>
                <a:moveTo>
                  <a:pt x="373" y="506"/>
                </a:moveTo>
                <a:cubicBezTo>
                  <a:pt x="373" y="505"/>
                  <a:pt x="372" y="507"/>
                  <a:pt x="373" y="506"/>
                </a:cubicBezTo>
                <a:close/>
                <a:moveTo>
                  <a:pt x="377" y="627"/>
                </a:moveTo>
                <a:cubicBezTo>
                  <a:pt x="377" y="629"/>
                  <a:pt x="375" y="627"/>
                  <a:pt x="377" y="627"/>
                </a:cubicBezTo>
                <a:close/>
                <a:moveTo>
                  <a:pt x="376" y="607"/>
                </a:moveTo>
                <a:cubicBezTo>
                  <a:pt x="376" y="608"/>
                  <a:pt x="375" y="606"/>
                  <a:pt x="376" y="607"/>
                </a:cubicBezTo>
                <a:close/>
                <a:moveTo>
                  <a:pt x="373" y="574"/>
                </a:moveTo>
                <a:cubicBezTo>
                  <a:pt x="374" y="573"/>
                  <a:pt x="376" y="572"/>
                  <a:pt x="377" y="572"/>
                </a:cubicBezTo>
                <a:cubicBezTo>
                  <a:pt x="376" y="573"/>
                  <a:pt x="375" y="573"/>
                  <a:pt x="373" y="574"/>
                </a:cubicBezTo>
                <a:close/>
                <a:moveTo>
                  <a:pt x="376" y="566"/>
                </a:moveTo>
                <a:cubicBezTo>
                  <a:pt x="373" y="566"/>
                  <a:pt x="376" y="562"/>
                  <a:pt x="377" y="564"/>
                </a:cubicBezTo>
                <a:cubicBezTo>
                  <a:pt x="377" y="565"/>
                  <a:pt x="376" y="565"/>
                  <a:pt x="376" y="566"/>
                </a:cubicBezTo>
                <a:close/>
                <a:moveTo>
                  <a:pt x="373" y="610"/>
                </a:moveTo>
                <a:cubicBezTo>
                  <a:pt x="373" y="609"/>
                  <a:pt x="374" y="608"/>
                  <a:pt x="375" y="607"/>
                </a:cubicBezTo>
                <a:cubicBezTo>
                  <a:pt x="376" y="608"/>
                  <a:pt x="374" y="610"/>
                  <a:pt x="373" y="610"/>
                </a:cubicBezTo>
                <a:close/>
                <a:moveTo>
                  <a:pt x="375" y="636"/>
                </a:moveTo>
                <a:cubicBezTo>
                  <a:pt x="375" y="635"/>
                  <a:pt x="382" y="634"/>
                  <a:pt x="382" y="637"/>
                </a:cubicBezTo>
                <a:cubicBezTo>
                  <a:pt x="382" y="641"/>
                  <a:pt x="373" y="640"/>
                  <a:pt x="375" y="636"/>
                </a:cubicBezTo>
                <a:close/>
                <a:moveTo>
                  <a:pt x="378" y="554"/>
                </a:moveTo>
                <a:cubicBezTo>
                  <a:pt x="378" y="555"/>
                  <a:pt x="377" y="553"/>
                  <a:pt x="378" y="554"/>
                </a:cubicBezTo>
                <a:close/>
                <a:moveTo>
                  <a:pt x="378" y="572"/>
                </a:moveTo>
                <a:cubicBezTo>
                  <a:pt x="378" y="572"/>
                  <a:pt x="377" y="572"/>
                  <a:pt x="378" y="572"/>
                </a:cubicBezTo>
                <a:close/>
                <a:moveTo>
                  <a:pt x="385" y="570"/>
                </a:moveTo>
                <a:cubicBezTo>
                  <a:pt x="384" y="571"/>
                  <a:pt x="382" y="571"/>
                  <a:pt x="380" y="571"/>
                </a:cubicBezTo>
                <a:cubicBezTo>
                  <a:pt x="381" y="570"/>
                  <a:pt x="383" y="570"/>
                  <a:pt x="385" y="570"/>
                </a:cubicBezTo>
                <a:close/>
                <a:moveTo>
                  <a:pt x="384" y="504"/>
                </a:moveTo>
                <a:cubicBezTo>
                  <a:pt x="385" y="504"/>
                  <a:pt x="384" y="505"/>
                  <a:pt x="384" y="504"/>
                </a:cubicBezTo>
                <a:cubicBezTo>
                  <a:pt x="383" y="504"/>
                  <a:pt x="384" y="504"/>
                  <a:pt x="384" y="504"/>
                </a:cubicBezTo>
                <a:close/>
                <a:moveTo>
                  <a:pt x="383" y="466"/>
                </a:moveTo>
                <a:cubicBezTo>
                  <a:pt x="381" y="468"/>
                  <a:pt x="379" y="469"/>
                  <a:pt x="377" y="470"/>
                </a:cubicBezTo>
                <a:cubicBezTo>
                  <a:pt x="378" y="469"/>
                  <a:pt x="380" y="467"/>
                  <a:pt x="383" y="466"/>
                </a:cubicBezTo>
                <a:close/>
                <a:moveTo>
                  <a:pt x="378" y="425"/>
                </a:moveTo>
                <a:cubicBezTo>
                  <a:pt x="378" y="425"/>
                  <a:pt x="378" y="426"/>
                  <a:pt x="378" y="426"/>
                </a:cubicBezTo>
                <a:cubicBezTo>
                  <a:pt x="378" y="427"/>
                  <a:pt x="377" y="425"/>
                  <a:pt x="378" y="425"/>
                </a:cubicBezTo>
                <a:close/>
                <a:moveTo>
                  <a:pt x="380" y="453"/>
                </a:moveTo>
                <a:cubicBezTo>
                  <a:pt x="381" y="452"/>
                  <a:pt x="381" y="452"/>
                  <a:pt x="382" y="452"/>
                </a:cubicBezTo>
                <a:cubicBezTo>
                  <a:pt x="381" y="452"/>
                  <a:pt x="380" y="453"/>
                  <a:pt x="380" y="453"/>
                </a:cubicBezTo>
                <a:close/>
                <a:moveTo>
                  <a:pt x="376" y="394"/>
                </a:moveTo>
                <a:cubicBezTo>
                  <a:pt x="377" y="394"/>
                  <a:pt x="381" y="388"/>
                  <a:pt x="384" y="388"/>
                </a:cubicBezTo>
                <a:cubicBezTo>
                  <a:pt x="381" y="389"/>
                  <a:pt x="379" y="394"/>
                  <a:pt x="376" y="394"/>
                </a:cubicBezTo>
                <a:close/>
                <a:moveTo>
                  <a:pt x="397" y="460"/>
                </a:moveTo>
                <a:cubicBezTo>
                  <a:pt x="394" y="463"/>
                  <a:pt x="387" y="465"/>
                  <a:pt x="383" y="468"/>
                </a:cubicBezTo>
                <a:cubicBezTo>
                  <a:pt x="387" y="464"/>
                  <a:pt x="392" y="463"/>
                  <a:pt x="397" y="460"/>
                </a:cubicBezTo>
                <a:close/>
                <a:moveTo>
                  <a:pt x="386" y="182"/>
                </a:moveTo>
                <a:cubicBezTo>
                  <a:pt x="386" y="181"/>
                  <a:pt x="388" y="181"/>
                  <a:pt x="388" y="182"/>
                </a:cubicBezTo>
                <a:cubicBezTo>
                  <a:pt x="389" y="183"/>
                  <a:pt x="386" y="183"/>
                  <a:pt x="386" y="182"/>
                </a:cubicBezTo>
                <a:close/>
                <a:moveTo>
                  <a:pt x="398" y="418"/>
                </a:moveTo>
                <a:cubicBezTo>
                  <a:pt x="398" y="419"/>
                  <a:pt x="396" y="420"/>
                  <a:pt x="396" y="421"/>
                </a:cubicBezTo>
                <a:cubicBezTo>
                  <a:pt x="395" y="420"/>
                  <a:pt x="397" y="418"/>
                  <a:pt x="398" y="418"/>
                </a:cubicBezTo>
                <a:close/>
                <a:moveTo>
                  <a:pt x="397" y="371"/>
                </a:moveTo>
                <a:cubicBezTo>
                  <a:pt x="395" y="372"/>
                  <a:pt x="398" y="370"/>
                  <a:pt x="397" y="371"/>
                </a:cubicBezTo>
                <a:close/>
                <a:moveTo>
                  <a:pt x="403" y="137"/>
                </a:moveTo>
                <a:cubicBezTo>
                  <a:pt x="405" y="139"/>
                  <a:pt x="398" y="141"/>
                  <a:pt x="398" y="140"/>
                </a:cubicBezTo>
                <a:cubicBezTo>
                  <a:pt x="397" y="140"/>
                  <a:pt x="401" y="135"/>
                  <a:pt x="403" y="137"/>
                </a:cubicBezTo>
                <a:close/>
                <a:moveTo>
                  <a:pt x="401" y="86"/>
                </a:moveTo>
                <a:cubicBezTo>
                  <a:pt x="402" y="84"/>
                  <a:pt x="404" y="89"/>
                  <a:pt x="401" y="88"/>
                </a:cubicBezTo>
                <a:cubicBezTo>
                  <a:pt x="400" y="88"/>
                  <a:pt x="400" y="87"/>
                  <a:pt x="401" y="86"/>
                </a:cubicBezTo>
                <a:close/>
                <a:moveTo>
                  <a:pt x="440" y="59"/>
                </a:moveTo>
                <a:cubicBezTo>
                  <a:pt x="440" y="60"/>
                  <a:pt x="438" y="61"/>
                  <a:pt x="438" y="60"/>
                </a:cubicBezTo>
                <a:cubicBezTo>
                  <a:pt x="437" y="60"/>
                  <a:pt x="440" y="58"/>
                  <a:pt x="440" y="59"/>
                </a:cubicBezTo>
                <a:close/>
                <a:moveTo>
                  <a:pt x="438" y="29"/>
                </a:moveTo>
                <a:cubicBezTo>
                  <a:pt x="438" y="28"/>
                  <a:pt x="440" y="29"/>
                  <a:pt x="440" y="29"/>
                </a:cubicBezTo>
                <a:cubicBezTo>
                  <a:pt x="441" y="30"/>
                  <a:pt x="438" y="30"/>
                  <a:pt x="438" y="29"/>
                </a:cubicBezTo>
                <a:close/>
                <a:moveTo>
                  <a:pt x="437" y="51"/>
                </a:moveTo>
                <a:cubicBezTo>
                  <a:pt x="437" y="51"/>
                  <a:pt x="438" y="50"/>
                  <a:pt x="438" y="51"/>
                </a:cubicBezTo>
                <a:cubicBezTo>
                  <a:pt x="439" y="52"/>
                  <a:pt x="437" y="51"/>
                  <a:pt x="437" y="51"/>
                </a:cubicBezTo>
                <a:close/>
                <a:moveTo>
                  <a:pt x="443" y="75"/>
                </a:moveTo>
                <a:cubicBezTo>
                  <a:pt x="442" y="77"/>
                  <a:pt x="431" y="76"/>
                  <a:pt x="432" y="75"/>
                </a:cubicBezTo>
                <a:cubicBezTo>
                  <a:pt x="432" y="74"/>
                  <a:pt x="440" y="76"/>
                  <a:pt x="443" y="75"/>
                </a:cubicBezTo>
                <a:close/>
                <a:moveTo>
                  <a:pt x="450" y="40"/>
                </a:moveTo>
                <a:cubicBezTo>
                  <a:pt x="450" y="40"/>
                  <a:pt x="448" y="39"/>
                  <a:pt x="448" y="39"/>
                </a:cubicBezTo>
                <a:cubicBezTo>
                  <a:pt x="448" y="39"/>
                  <a:pt x="450" y="39"/>
                  <a:pt x="450" y="40"/>
                </a:cubicBezTo>
                <a:close/>
                <a:moveTo>
                  <a:pt x="453" y="36"/>
                </a:moveTo>
                <a:cubicBezTo>
                  <a:pt x="449" y="39"/>
                  <a:pt x="447" y="36"/>
                  <a:pt x="453" y="36"/>
                </a:cubicBezTo>
                <a:close/>
                <a:moveTo>
                  <a:pt x="446" y="83"/>
                </a:moveTo>
                <a:cubicBezTo>
                  <a:pt x="448" y="81"/>
                  <a:pt x="448" y="83"/>
                  <a:pt x="446" y="83"/>
                </a:cubicBezTo>
                <a:close/>
                <a:moveTo>
                  <a:pt x="445" y="112"/>
                </a:moveTo>
                <a:cubicBezTo>
                  <a:pt x="446" y="111"/>
                  <a:pt x="446" y="112"/>
                  <a:pt x="447" y="111"/>
                </a:cubicBezTo>
                <a:cubicBezTo>
                  <a:pt x="447" y="111"/>
                  <a:pt x="446" y="112"/>
                  <a:pt x="445" y="112"/>
                </a:cubicBezTo>
                <a:close/>
                <a:moveTo>
                  <a:pt x="449" y="53"/>
                </a:moveTo>
                <a:cubicBezTo>
                  <a:pt x="449" y="54"/>
                  <a:pt x="449" y="55"/>
                  <a:pt x="448" y="55"/>
                </a:cubicBezTo>
                <a:cubicBezTo>
                  <a:pt x="446" y="55"/>
                  <a:pt x="448" y="51"/>
                  <a:pt x="449" y="53"/>
                </a:cubicBezTo>
                <a:close/>
                <a:moveTo>
                  <a:pt x="448" y="50"/>
                </a:moveTo>
                <a:cubicBezTo>
                  <a:pt x="447" y="51"/>
                  <a:pt x="446" y="51"/>
                  <a:pt x="445" y="52"/>
                </a:cubicBezTo>
                <a:cubicBezTo>
                  <a:pt x="445" y="51"/>
                  <a:pt x="447" y="50"/>
                  <a:pt x="448" y="50"/>
                </a:cubicBezTo>
                <a:close/>
                <a:moveTo>
                  <a:pt x="444" y="51"/>
                </a:moveTo>
                <a:cubicBezTo>
                  <a:pt x="444" y="51"/>
                  <a:pt x="445" y="50"/>
                  <a:pt x="445" y="51"/>
                </a:cubicBezTo>
                <a:cubicBezTo>
                  <a:pt x="445" y="51"/>
                  <a:pt x="444" y="52"/>
                  <a:pt x="444" y="51"/>
                </a:cubicBezTo>
                <a:close/>
                <a:moveTo>
                  <a:pt x="444" y="112"/>
                </a:moveTo>
                <a:cubicBezTo>
                  <a:pt x="444" y="112"/>
                  <a:pt x="445" y="112"/>
                  <a:pt x="445" y="112"/>
                </a:cubicBezTo>
                <a:cubicBezTo>
                  <a:pt x="445" y="114"/>
                  <a:pt x="442" y="111"/>
                  <a:pt x="444" y="112"/>
                </a:cubicBezTo>
                <a:close/>
                <a:moveTo>
                  <a:pt x="443" y="52"/>
                </a:moveTo>
                <a:cubicBezTo>
                  <a:pt x="445" y="51"/>
                  <a:pt x="441" y="52"/>
                  <a:pt x="443" y="52"/>
                </a:cubicBezTo>
                <a:close/>
                <a:moveTo>
                  <a:pt x="445" y="115"/>
                </a:moveTo>
                <a:cubicBezTo>
                  <a:pt x="453" y="112"/>
                  <a:pt x="454" y="123"/>
                  <a:pt x="446" y="122"/>
                </a:cubicBezTo>
                <a:cubicBezTo>
                  <a:pt x="445" y="122"/>
                  <a:pt x="442" y="121"/>
                  <a:pt x="442" y="118"/>
                </a:cubicBezTo>
                <a:cubicBezTo>
                  <a:pt x="443" y="119"/>
                  <a:pt x="444" y="116"/>
                  <a:pt x="445" y="115"/>
                </a:cubicBezTo>
                <a:close/>
                <a:moveTo>
                  <a:pt x="450" y="112"/>
                </a:moveTo>
                <a:cubicBezTo>
                  <a:pt x="451" y="113"/>
                  <a:pt x="449" y="113"/>
                  <a:pt x="449" y="113"/>
                </a:cubicBezTo>
                <a:cubicBezTo>
                  <a:pt x="449" y="113"/>
                  <a:pt x="449" y="112"/>
                  <a:pt x="450" y="112"/>
                </a:cubicBezTo>
                <a:close/>
                <a:moveTo>
                  <a:pt x="456" y="102"/>
                </a:moveTo>
                <a:cubicBezTo>
                  <a:pt x="456" y="104"/>
                  <a:pt x="453" y="105"/>
                  <a:pt x="452" y="103"/>
                </a:cubicBezTo>
                <a:cubicBezTo>
                  <a:pt x="450" y="102"/>
                  <a:pt x="456" y="100"/>
                  <a:pt x="456" y="102"/>
                </a:cubicBezTo>
                <a:close/>
                <a:moveTo>
                  <a:pt x="452" y="90"/>
                </a:moveTo>
                <a:cubicBezTo>
                  <a:pt x="452" y="89"/>
                  <a:pt x="454" y="89"/>
                  <a:pt x="454" y="89"/>
                </a:cubicBezTo>
                <a:cubicBezTo>
                  <a:pt x="455" y="90"/>
                  <a:pt x="453" y="91"/>
                  <a:pt x="452" y="90"/>
                </a:cubicBezTo>
                <a:close/>
                <a:moveTo>
                  <a:pt x="454" y="91"/>
                </a:moveTo>
                <a:cubicBezTo>
                  <a:pt x="455" y="89"/>
                  <a:pt x="456" y="92"/>
                  <a:pt x="454" y="91"/>
                </a:cubicBezTo>
                <a:close/>
                <a:moveTo>
                  <a:pt x="456" y="169"/>
                </a:moveTo>
                <a:cubicBezTo>
                  <a:pt x="461" y="172"/>
                  <a:pt x="453" y="179"/>
                  <a:pt x="448" y="175"/>
                </a:cubicBezTo>
                <a:cubicBezTo>
                  <a:pt x="450" y="175"/>
                  <a:pt x="449" y="174"/>
                  <a:pt x="447" y="173"/>
                </a:cubicBezTo>
                <a:cubicBezTo>
                  <a:pt x="448" y="170"/>
                  <a:pt x="452" y="167"/>
                  <a:pt x="456" y="169"/>
                </a:cubicBezTo>
                <a:close/>
                <a:moveTo>
                  <a:pt x="461" y="136"/>
                </a:moveTo>
                <a:cubicBezTo>
                  <a:pt x="465" y="134"/>
                  <a:pt x="460" y="140"/>
                  <a:pt x="457" y="139"/>
                </a:cubicBezTo>
                <a:cubicBezTo>
                  <a:pt x="458" y="138"/>
                  <a:pt x="460" y="136"/>
                  <a:pt x="461" y="136"/>
                </a:cubicBezTo>
                <a:close/>
                <a:moveTo>
                  <a:pt x="459" y="124"/>
                </a:moveTo>
                <a:cubicBezTo>
                  <a:pt x="458" y="124"/>
                  <a:pt x="460" y="124"/>
                  <a:pt x="459" y="124"/>
                </a:cubicBezTo>
                <a:close/>
                <a:moveTo>
                  <a:pt x="463" y="74"/>
                </a:moveTo>
                <a:cubicBezTo>
                  <a:pt x="462" y="74"/>
                  <a:pt x="463" y="73"/>
                  <a:pt x="464" y="74"/>
                </a:cubicBezTo>
                <a:cubicBezTo>
                  <a:pt x="464" y="74"/>
                  <a:pt x="463" y="75"/>
                  <a:pt x="463" y="74"/>
                </a:cubicBezTo>
                <a:close/>
                <a:moveTo>
                  <a:pt x="463" y="76"/>
                </a:moveTo>
                <a:cubicBezTo>
                  <a:pt x="464" y="74"/>
                  <a:pt x="465" y="76"/>
                  <a:pt x="463" y="76"/>
                </a:cubicBezTo>
                <a:close/>
                <a:moveTo>
                  <a:pt x="464" y="82"/>
                </a:moveTo>
                <a:cubicBezTo>
                  <a:pt x="464" y="84"/>
                  <a:pt x="459" y="84"/>
                  <a:pt x="460" y="81"/>
                </a:cubicBezTo>
                <a:cubicBezTo>
                  <a:pt x="460" y="80"/>
                  <a:pt x="464" y="81"/>
                  <a:pt x="464" y="82"/>
                </a:cubicBezTo>
                <a:close/>
                <a:moveTo>
                  <a:pt x="462" y="133"/>
                </a:moveTo>
                <a:cubicBezTo>
                  <a:pt x="463" y="134"/>
                  <a:pt x="461" y="135"/>
                  <a:pt x="461" y="135"/>
                </a:cubicBezTo>
                <a:cubicBezTo>
                  <a:pt x="460" y="134"/>
                  <a:pt x="462" y="133"/>
                  <a:pt x="462" y="133"/>
                </a:cubicBezTo>
                <a:close/>
                <a:moveTo>
                  <a:pt x="460" y="102"/>
                </a:moveTo>
                <a:cubicBezTo>
                  <a:pt x="460" y="102"/>
                  <a:pt x="461" y="102"/>
                  <a:pt x="461" y="102"/>
                </a:cubicBezTo>
                <a:cubicBezTo>
                  <a:pt x="463" y="99"/>
                  <a:pt x="462" y="103"/>
                  <a:pt x="460" y="102"/>
                </a:cubicBezTo>
                <a:close/>
                <a:moveTo>
                  <a:pt x="460" y="130"/>
                </a:moveTo>
                <a:cubicBezTo>
                  <a:pt x="460" y="130"/>
                  <a:pt x="460" y="131"/>
                  <a:pt x="460" y="131"/>
                </a:cubicBezTo>
                <a:cubicBezTo>
                  <a:pt x="459" y="131"/>
                  <a:pt x="460" y="130"/>
                  <a:pt x="460" y="130"/>
                </a:cubicBezTo>
                <a:close/>
                <a:moveTo>
                  <a:pt x="466" y="137"/>
                </a:moveTo>
                <a:cubicBezTo>
                  <a:pt x="466" y="138"/>
                  <a:pt x="464" y="138"/>
                  <a:pt x="464" y="138"/>
                </a:cubicBezTo>
                <a:cubicBezTo>
                  <a:pt x="464" y="137"/>
                  <a:pt x="466" y="136"/>
                  <a:pt x="466" y="137"/>
                </a:cubicBezTo>
                <a:close/>
                <a:moveTo>
                  <a:pt x="465" y="123"/>
                </a:moveTo>
                <a:cubicBezTo>
                  <a:pt x="467" y="122"/>
                  <a:pt x="467" y="123"/>
                  <a:pt x="465" y="123"/>
                </a:cubicBezTo>
                <a:close/>
                <a:moveTo>
                  <a:pt x="469" y="145"/>
                </a:moveTo>
                <a:cubicBezTo>
                  <a:pt x="469" y="145"/>
                  <a:pt x="468" y="147"/>
                  <a:pt x="468" y="147"/>
                </a:cubicBezTo>
                <a:cubicBezTo>
                  <a:pt x="467" y="148"/>
                  <a:pt x="467" y="149"/>
                  <a:pt x="465" y="148"/>
                </a:cubicBezTo>
                <a:cubicBezTo>
                  <a:pt x="465" y="148"/>
                  <a:pt x="465" y="147"/>
                  <a:pt x="465" y="147"/>
                </a:cubicBezTo>
                <a:cubicBezTo>
                  <a:pt x="465" y="147"/>
                  <a:pt x="462" y="146"/>
                  <a:pt x="462" y="145"/>
                </a:cubicBezTo>
                <a:cubicBezTo>
                  <a:pt x="462" y="142"/>
                  <a:pt x="469" y="144"/>
                  <a:pt x="469" y="145"/>
                </a:cubicBezTo>
                <a:close/>
                <a:moveTo>
                  <a:pt x="476" y="189"/>
                </a:moveTo>
                <a:cubicBezTo>
                  <a:pt x="475" y="192"/>
                  <a:pt x="472" y="193"/>
                  <a:pt x="470" y="195"/>
                </a:cubicBezTo>
                <a:cubicBezTo>
                  <a:pt x="471" y="193"/>
                  <a:pt x="474" y="191"/>
                  <a:pt x="476" y="189"/>
                </a:cubicBezTo>
                <a:close/>
                <a:moveTo>
                  <a:pt x="474" y="164"/>
                </a:moveTo>
                <a:cubicBezTo>
                  <a:pt x="476" y="162"/>
                  <a:pt x="475" y="166"/>
                  <a:pt x="473" y="165"/>
                </a:cubicBezTo>
                <a:cubicBezTo>
                  <a:pt x="473" y="165"/>
                  <a:pt x="474" y="164"/>
                  <a:pt x="474" y="164"/>
                </a:cubicBezTo>
                <a:close/>
                <a:moveTo>
                  <a:pt x="478" y="618"/>
                </a:moveTo>
                <a:cubicBezTo>
                  <a:pt x="478" y="617"/>
                  <a:pt x="481" y="616"/>
                  <a:pt x="482" y="618"/>
                </a:cubicBezTo>
                <a:cubicBezTo>
                  <a:pt x="483" y="621"/>
                  <a:pt x="477" y="622"/>
                  <a:pt x="478" y="618"/>
                </a:cubicBezTo>
                <a:close/>
                <a:moveTo>
                  <a:pt x="479" y="669"/>
                </a:moveTo>
                <a:cubicBezTo>
                  <a:pt x="479" y="669"/>
                  <a:pt x="477" y="670"/>
                  <a:pt x="477" y="669"/>
                </a:cubicBezTo>
                <a:cubicBezTo>
                  <a:pt x="476" y="667"/>
                  <a:pt x="479" y="668"/>
                  <a:pt x="479" y="669"/>
                </a:cubicBezTo>
                <a:close/>
                <a:moveTo>
                  <a:pt x="477" y="598"/>
                </a:moveTo>
                <a:cubicBezTo>
                  <a:pt x="477" y="597"/>
                  <a:pt x="480" y="596"/>
                  <a:pt x="481" y="594"/>
                </a:cubicBezTo>
                <a:cubicBezTo>
                  <a:pt x="481" y="596"/>
                  <a:pt x="478" y="597"/>
                  <a:pt x="477" y="598"/>
                </a:cubicBezTo>
                <a:close/>
                <a:moveTo>
                  <a:pt x="478" y="310"/>
                </a:moveTo>
                <a:cubicBezTo>
                  <a:pt x="480" y="308"/>
                  <a:pt x="480" y="313"/>
                  <a:pt x="478" y="312"/>
                </a:cubicBezTo>
                <a:cubicBezTo>
                  <a:pt x="477" y="311"/>
                  <a:pt x="478" y="310"/>
                  <a:pt x="478" y="310"/>
                </a:cubicBezTo>
                <a:close/>
                <a:moveTo>
                  <a:pt x="478" y="226"/>
                </a:moveTo>
                <a:cubicBezTo>
                  <a:pt x="479" y="224"/>
                  <a:pt x="480" y="227"/>
                  <a:pt x="478" y="227"/>
                </a:cubicBezTo>
                <a:cubicBezTo>
                  <a:pt x="478" y="226"/>
                  <a:pt x="478" y="226"/>
                  <a:pt x="478" y="226"/>
                </a:cubicBezTo>
                <a:close/>
                <a:moveTo>
                  <a:pt x="476" y="210"/>
                </a:moveTo>
                <a:cubicBezTo>
                  <a:pt x="475" y="208"/>
                  <a:pt x="480" y="205"/>
                  <a:pt x="480" y="209"/>
                </a:cubicBezTo>
                <a:cubicBezTo>
                  <a:pt x="481" y="210"/>
                  <a:pt x="476" y="211"/>
                  <a:pt x="476" y="210"/>
                </a:cubicBezTo>
                <a:close/>
                <a:moveTo>
                  <a:pt x="473" y="217"/>
                </a:moveTo>
                <a:cubicBezTo>
                  <a:pt x="472" y="219"/>
                  <a:pt x="467" y="225"/>
                  <a:pt x="465" y="226"/>
                </a:cubicBezTo>
                <a:cubicBezTo>
                  <a:pt x="462" y="227"/>
                  <a:pt x="466" y="224"/>
                  <a:pt x="467" y="223"/>
                </a:cubicBezTo>
                <a:cubicBezTo>
                  <a:pt x="469" y="222"/>
                  <a:pt x="471" y="218"/>
                  <a:pt x="472" y="215"/>
                </a:cubicBezTo>
                <a:cubicBezTo>
                  <a:pt x="472" y="216"/>
                  <a:pt x="472" y="216"/>
                  <a:pt x="472" y="215"/>
                </a:cubicBezTo>
                <a:cubicBezTo>
                  <a:pt x="472" y="215"/>
                  <a:pt x="472" y="215"/>
                  <a:pt x="473" y="215"/>
                </a:cubicBezTo>
                <a:cubicBezTo>
                  <a:pt x="473" y="215"/>
                  <a:pt x="473" y="215"/>
                  <a:pt x="473" y="215"/>
                </a:cubicBezTo>
                <a:cubicBezTo>
                  <a:pt x="474" y="214"/>
                  <a:pt x="474" y="213"/>
                  <a:pt x="475" y="212"/>
                </a:cubicBezTo>
                <a:cubicBezTo>
                  <a:pt x="475" y="212"/>
                  <a:pt x="476" y="213"/>
                  <a:pt x="476" y="213"/>
                </a:cubicBezTo>
                <a:cubicBezTo>
                  <a:pt x="476" y="213"/>
                  <a:pt x="474" y="215"/>
                  <a:pt x="473" y="217"/>
                </a:cubicBezTo>
                <a:close/>
                <a:moveTo>
                  <a:pt x="475" y="228"/>
                </a:moveTo>
                <a:cubicBezTo>
                  <a:pt x="474" y="227"/>
                  <a:pt x="475" y="227"/>
                  <a:pt x="475" y="227"/>
                </a:cubicBezTo>
                <a:cubicBezTo>
                  <a:pt x="476" y="227"/>
                  <a:pt x="475" y="229"/>
                  <a:pt x="475" y="228"/>
                </a:cubicBezTo>
                <a:close/>
                <a:moveTo>
                  <a:pt x="473" y="638"/>
                </a:moveTo>
                <a:cubicBezTo>
                  <a:pt x="473" y="638"/>
                  <a:pt x="474" y="637"/>
                  <a:pt x="474" y="638"/>
                </a:cubicBezTo>
                <a:cubicBezTo>
                  <a:pt x="475" y="639"/>
                  <a:pt x="472" y="640"/>
                  <a:pt x="473" y="638"/>
                </a:cubicBezTo>
                <a:close/>
                <a:moveTo>
                  <a:pt x="471" y="623"/>
                </a:moveTo>
                <a:cubicBezTo>
                  <a:pt x="471" y="622"/>
                  <a:pt x="473" y="622"/>
                  <a:pt x="473" y="623"/>
                </a:cubicBezTo>
                <a:cubicBezTo>
                  <a:pt x="473" y="624"/>
                  <a:pt x="471" y="624"/>
                  <a:pt x="471" y="623"/>
                </a:cubicBezTo>
                <a:close/>
                <a:moveTo>
                  <a:pt x="469" y="613"/>
                </a:moveTo>
                <a:cubicBezTo>
                  <a:pt x="465" y="614"/>
                  <a:pt x="462" y="616"/>
                  <a:pt x="459" y="615"/>
                </a:cubicBezTo>
                <a:cubicBezTo>
                  <a:pt x="460" y="612"/>
                  <a:pt x="468" y="613"/>
                  <a:pt x="470" y="613"/>
                </a:cubicBezTo>
                <a:cubicBezTo>
                  <a:pt x="471" y="613"/>
                  <a:pt x="476" y="611"/>
                  <a:pt x="475" y="613"/>
                </a:cubicBezTo>
                <a:cubicBezTo>
                  <a:pt x="474" y="614"/>
                  <a:pt x="469" y="613"/>
                  <a:pt x="469" y="613"/>
                </a:cubicBezTo>
                <a:close/>
                <a:moveTo>
                  <a:pt x="470" y="623"/>
                </a:moveTo>
                <a:cubicBezTo>
                  <a:pt x="470" y="623"/>
                  <a:pt x="469" y="623"/>
                  <a:pt x="469" y="623"/>
                </a:cubicBezTo>
                <a:cubicBezTo>
                  <a:pt x="469" y="623"/>
                  <a:pt x="470" y="622"/>
                  <a:pt x="470" y="623"/>
                </a:cubicBezTo>
                <a:close/>
                <a:moveTo>
                  <a:pt x="467" y="625"/>
                </a:moveTo>
                <a:cubicBezTo>
                  <a:pt x="467" y="625"/>
                  <a:pt x="467" y="624"/>
                  <a:pt x="468" y="624"/>
                </a:cubicBezTo>
                <a:cubicBezTo>
                  <a:pt x="468" y="624"/>
                  <a:pt x="467" y="625"/>
                  <a:pt x="467" y="625"/>
                </a:cubicBezTo>
                <a:close/>
                <a:moveTo>
                  <a:pt x="465" y="683"/>
                </a:moveTo>
                <a:cubicBezTo>
                  <a:pt x="465" y="682"/>
                  <a:pt x="469" y="682"/>
                  <a:pt x="469" y="684"/>
                </a:cubicBezTo>
                <a:cubicBezTo>
                  <a:pt x="469" y="686"/>
                  <a:pt x="464" y="686"/>
                  <a:pt x="465" y="683"/>
                </a:cubicBezTo>
                <a:close/>
                <a:moveTo>
                  <a:pt x="468" y="686"/>
                </a:moveTo>
                <a:cubicBezTo>
                  <a:pt x="467" y="688"/>
                  <a:pt x="465" y="686"/>
                  <a:pt x="468" y="686"/>
                </a:cubicBezTo>
                <a:close/>
                <a:moveTo>
                  <a:pt x="465" y="727"/>
                </a:moveTo>
                <a:cubicBezTo>
                  <a:pt x="464" y="728"/>
                  <a:pt x="464" y="727"/>
                  <a:pt x="464" y="727"/>
                </a:cubicBezTo>
                <a:cubicBezTo>
                  <a:pt x="464" y="727"/>
                  <a:pt x="466" y="727"/>
                  <a:pt x="465" y="727"/>
                </a:cubicBezTo>
                <a:close/>
                <a:moveTo>
                  <a:pt x="459" y="730"/>
                </a:moveTo>
                <a:cubicBezTo>
                  <a:pt x="460" y="729"/>
                  <a:pt x="461" y="729"/>
                  <a:pt x="463" y="729"/>
                </a:cubicBezTo>
                <a:cubicBezTo>
                  <a:pt x="461" y="729"/>
                  <a:pt x="460" y="730"/>
                  <a:pt x="459" y="730"/>
                </a:cubicBezTo>
                <a:close/>
                <a:moveTo>
                  <a:pt x="462" y="732"/>
                </a:moveTo>
                <a:cubicBezTo>
                  <a:pt x="461" y="733"/>
                  <a:pt x="460" y="733"/>
                  <a:pt x="459" y="733"/>
                </a:cubicBezTo>
                <a:cubicBezTo>
                  <a:pt x="459" y="732"/>
                  <a:pt x="461" y="732"/>
                  <a:pt x="462" y="732"/>
                </a:cubicBezTo>
                <a:close/>
                <a:moveTo>
                  <a:pt x="459" y="679"/>
                </a:moveTo>
                <a:cubicBezTo>
                  <a:pt x="459" y="679"/>
                  <a:pt x="462" y="677"/>
                  <a:pt x="463" y="678"/>
                </a:cubicBezTo>
                <a:cubicBezTo>
                  <a:pt x="462" y="679"/>
                  <a:pt x="460" y="679"/>
                  <a:pt x="459" y="679"/>
                </a:cubicBezTo>
                <a:close/>
                <a:moveTo>
                  <a:pt x="457" y="618"/>
                </a:moveTo>
                <a:cubicBezTo>
                  <a:pt x="457" y="618"/>
                  <a:pt x="456" y="618"/>
                  <a:pt x="456" y="618"/>
                </a:cubicBezTo>
                <a:cubicBezTo>
                  <a:pt x="454" y="616"/>
                  <a:pt x="460" y="616"/>
                  <a:pt x="457" y="618"/>
                </a:cubicBezTo>
                <a:close/>
                <a:moveTo>
                  <a:pt x="457" y="670"/>
                </a:moveTo>
                <a:cubicBezTo>
                  <a:pt x="457" y="670"/>
                  <a:pt x="457" y="670"/>
                  <a:pt x="456" y="670"/>
                </a:cubicBezTo>
                <a:cubicBezTo>
                  <a:pt x="456" y="669"/>
                  <a:pt x="458" y="670"/>
                  <a:pt x="457" y="670"/>
                </a:cubicBezTo>
                <a:close/>
                <a:moveTo>
                  <a:pt x="440" y="664"/>
                </a:moveTo>
                <a:cubicBezTo>
                  <a:pt x="436" y="659"/>
                  <a:pt x="445" y="655"/>
                  <a:pt x="449" y="659"/>
                </a:cubicBezTo>
                <a:cubicBezTo>
                  <a:pt x="448" y="660"/>
                  <a:pt x="448" y="661"/>
                  <a:pt x="449" y="661"/>
                </a:cubicBezTo>
                <a:cubicBezTo>
                  <a:pt x="448" y="664"/>
                  <a:pt x="443" y="666"/>
                  <a:pt x="440" y="664"/>
                </a:cubicBezTo>
                <a:close/>
                <a:moveTo>
                  <a:pt x="447" y="703"/>
                </a:moveTo>
                <a:cubicBezTo>
                  <a:pt x="447" y="703"/>
                  <a:pt x="445" y="703"/>
                  <a:pt x="445" y="703"/>
                </a:cubicBezTo>
                <a:cubicBezTo>
                  <a:pt x="444" y="702"/>
                  <a:pt x="447" y="702"/>
                  <a:pt x="447" y="703"/>
                </a:cubicBezTo>
                <a:close/>
                <a:moveTo>
                  <a:pt x="435" y="744"/>
                </a:moveTo>
                <a:cubicBezTo>
                  <a:pt x="435" y="743"/>
                  <a:pt x="435" y="743"/>
                  <a:pt x="436" y="742"/>
                </a:cubicBezTo>
                <a:cubicBezTo>
                  <a:pt x="436" y="739"/>
                  <a:pt x="440" y="739"/>
                  <a:pt x="441" y="741"/>
                </a:cubicBezTo>
                <a:cubicBezTo>
                  <a:pt x="441" y="741"/>
                  <a:pt x="441" y="741"/>
                  <a:pt x="441" y="741"/>
                </a:cubicBezTo>
                <a:cubicBezTo>
                  <a:pt x="441" y="741"/>
                  <a:pt x="441" y="741"/>
                  <a:pt x="442" y="741"/>
                </a:cubicBezTo>
                <a:cubicBezTo>
                  <a:pt x="445" y="742"/>
                  <a:pt x="439" y="750"/>
                  <a:pt x="435" y="744"/>
                </a:cubicBezTo>
                <a:close/>
                <a:moveTo>
                  <a:pt x="437" y="748"/>
                </a:moveTo>
                <a:cubicBezTo>
                  <a:pt x="436" y="747"/>
                  <a:pt x="438" y="748"/>
                  <a:pt x="437" y="748"/>
                </a:cubicBezTo>
                <a:close/>
                <a:moveTo>
                  <a:pt x="415" y="747"/>
                </a:moveTo>
                <a:cubicBezTo>
                  <a:pt x="415" y="748"/>
                  <a:pt x="411" y="747"/>
                  <a:pt x="411" y="746"/>
                </a:cubicBezTo>
                <a:cubicBezTo>
                  <a:pt x="412" y="744"/>
                  <a:pt x="417" y="745"/>
                  <a:pt x="415" y="747"/>
                </a:cubicBezTo>
                <a:close/>
                <a:moveTo>
                  <a:pt x="412" y="734"/>
                </a:moveTo>
                <a:cubicBezTo>
                  <a:pt x="413" y="733"/>
                  <a:pt x="413" y="735"/>
                  <a:pt x="412" y="734"/>
                </a:cubicBezTo>
                <a:close/>
                <a:moveTo>
                  <a:pt x="409" y="732"/>
                </a:moveTo>
                <a:cubicBezTo>
                  <a:pt x="407" y="731"/>
                  <a:pt x="406" y="729"/>
                  <a:pt x="409" y="727"/>
                </a:cubicBezTo>
                <a:cubicBezTo>
                  <a:pt x="410" y="726"/>
                  <a:pt x="412" y="726"/>
                  <a:pt x="413" y="727"/>
                </a:cubicBezTo>
                <a:cubicBezTo>
                  <a:pt x="415" y="727"/>
                  <a:pt x="417" y="727"/>
                  <a:pt x="417" y="727"/>
                </a:cubicBezTo>
                <a:cubicBezTo>
                  <a:pt x="417" y="727"/>
                  <a:pt x="416" y="728"/>
                  <a:pt x="416" y="728"/>
                </a:cubicBezTo>
                <a:cubicBezTo>
                  <a:pt x="416" y="728"/>
                  <a:pt x="417" y="728"/>
                  <a:pt x="417" y="728"/>
                </a:cubicBezTo>
                <a:cubicBezTo>
                  <a:pt x="417" y="728"/>
                  <a:pt x="417" y="728"/>
                  <a:pt x="417" y="728"/>
                </a:cubicBezTo>
                <a:cubicBezTo>
                  <a:pt x="418" y="730"/>
                  <a:pt x="411" y="733"/>
                  <a:pt x="409" y="732"/>
                </a:cubicBezTo>
                <a:close/>
                <a:moveTo>
                  <a:pt x="411" y="754"/>
                </a:moveTo>
                <a:cubicBezTo>
                  <a:pt x="411" y="755"/>
                  <a:pt x="410" y="754"/>
                  <a:pt x="409" y="754"/>
                </a:cubicBezTo>
                <a:cubicBezTo>
                  <a:pt x="409" y="753"/>
                  <a:pt x="411" y="753"/>
                  <a:pt x="411" y="754"/>
                </a:cubicBezTo>
                <a:close/>
                <a:moveTo>
                  <a:pt x="411" y="752"/>
                </a:moveTo>
                <a:cubicBezTo>
                  <a:pt x="409" y="753"/>
                  <a:pt x="409" y="751"/>
                  <a:pt x="411" y="752"/>
                </a:cubicBezTo>
                <a:close/>
                <a:moveTo>
                  <a:pt x="408" y="748"/>
                </a:moveTo>
                <a:cubicBezTo>
                  <a:pt x="408" y="749"/>
                  <a:pt x="407" y="748"/>
                  <a:pt x="407" y="747"/>
                </a:cubicBezTo>
                <a:cubicBezTo>
                  <a:pt x="407" y="746"/>
                  <a:pt x="409" y="747"/>
                  <a:pt x="408" y="748"/>
                </a:cubicBezTo>
                <a:close/>
                <a:moveTo>
                  <a:pt x="408" y="709"/>
                </a:moveTo>
                <a:cubicBezTo>
                  <a:pt x="409" y="709"/>
                  <a:pt x="408" y="710"/>
                  <a:pt x="408" y="710"/>
                </a:cubicBezTo>
                <a:cubicBezTo>
                  <a:pt x="407" y="709"/>
                  <a:pt x="408" y="709"/>
                  <a:pt x="408" y="709"/>
                </a:cubicBezTo>
                <a:close/>
                <a:moveTo>
                  <a:pt x="412" y="720"/>
                </a:moveTo>
                <a:cubicBezTo>
                  <a:pt x="413" y="721"/>
                  <a:pt x="412" y="722"/>
                  <a:pt x="411" y="721"/>
                </a:cubicBezTo>
                <a:cubicBezTo>
                  <a:pt x="411" y="721"/>
                  <a:pt x="412" y="720"/>
                  <a:pt x="412" y="720"/>
                </a:cubicBezTo>
                <a:close/>
                <a:moveTo>
                  <a:pt x="412" y="701"/>
                </a:moveTo>
                <a:cubicBezTo>
                  <a:pt x="413" y="700"/>
                  <a:pt x="415" y="699"/>
                  <a:pt x="417" y="700"/>
                </a:cubicBezTo>
                <a:cubicBezTo>
                  <a:pt x="417" y="699"/>
                  <a:pt x="416" y="699"/>
                  <a:pt x="417" y="698"/>
                </a:cubicBezTo>
                <a:cubicBezTo>
                  <a:pt x="417" y="697"/>
                  <a:pt x="420" y="698"/>
                  <a:pt x="420" y="698"/>
                </a:cubicBezTo>
                <a:cubicBezTo>
                  <a:pt x="420" y="699"/>
                  <a:pt x="419" y="700"/>
                  <a:pt x="418" y="700"/>
                </a:cubicBezTo>
                <a:cubicBezTo>
                  <a:pt x="418" y="700"/>
                  <a:pt x="418" y="700"/>
                  <a:pt x="418" y="700"/>
                </a:cubicBezTo>
                <a:cubicBezTo>
                  <a:pt x="416" y="701"/>
                  <a:pt x="414" y="700"/>
                  <a:pt x="412" y="701"/>
                </a:cubicBezTo>
                <a:close/>
                <a:moveTo>
                  <a:pt x="419" y="727"/>
                </a:moveTo>
                <a:cubicBezTo>
                  <a:pt x="420" y="728"/>
                  <a:pt x="419" y="728"/>
                  <a:pt x="419" y="728"/>
                </a:cubicBezTo>
                <a:cubicBezTo>
                  <a:pt x="416" y="729"/>
                  <a:pt x="418" y="726"/>
                  <a:pt x="419" y="727"/>
                </a:cubicBezTo>
                <a:close/>
                <a:moveTo>
                  <a:pt x="420" y="706"/>
                </a:moveTo>
                <a:cubicBezTo>
                  <a:pt x="418" y="707"/>
                  <a:pt x="419" y="705"/>
                  <a:pt x="420" y="706"/>
                </a:cubicBezTo>
                <a:close/>
                <a:moveTo>
                  <a:pt x="415" y="681"/>
                </a:moveTo>
                <a:cubicBezTo>
                  <a:pt x="418" y="679"/>
                  <a:pt x="422" y="679"/>
                  <a:pt x="425" y="679"/>
                </a:cubicBezTo>
                <a:cubicBezTo>
                  <a:pt x="422" y="681"/>
                  <a:pt x="419" y="680"/>
                  <a:pt x="415" y="681"/>
                </a:cubicBezTo>
                <a:close/>
                <a:moveTo>
                  <a:pt x="414" y="562"/>
                </a:moveTo>
                <a:cubicBezTo>
                  <a:pt x="412" y="562"/>
                  <a:pt x="415" y="560"/>
                  <a:pt x="414" y="562"/>
                </a:cubicBezTo>
                <a:cubicBezTo>
                  <a:pt x="414" y="562"/>
                  <a:pt x="414" y="562"/>
                  <a:pt x="414" y="562"/>
                </a:cubicBezTo>
                <a:close/>
                <a:moveTo>
                  <a:pt x="413" y="170"/>
                </a:moveTo>
                <a:cubicBezTo>
                  <a:pt x="413" y="168"/>
                  <a:pt x="418" y="167"/>
                  <a:pt x="419" y="169"/>
                </a:cubicBezTo>
                <a:cubicBezTo>
                  <a:pt x="420" y="173"/>
                  <a:pt x="413" y="172"/>
                  <a:pt x="413" y="170"/>
                </a:cubicBezTo>
                <a:close/>
                <a:moveTo>
                  <a:pt x="416" y="113"/>
                </a:moveTo>
                <a:cubicBezTo>
                  <a:pt x="417" y="112"/>
                  <a:pt x="418" y="113"/>
                  <a:pt x="417" y="113"/>
                </a:cubicBezTo>
                <a:cubicBezTo>
                  <a:pt x="417" y="114"/>
                  <a:pt x="416" y="114"/>
                  <a:pt x="416" y="113"/>
                </a:cubicBezTo>
                <a:close/>
                <a:moveTo>
                  <a:pt x="414" y="113"/>
                </a:moveTo>
                <a:cubicBezTo>
                  <a:pt x="414" y="112"/>
                  <a:pt x="416" y="111"/>
                  <a:pt x="417" y="111"/>
                </a:cubicBezTo>
                <a:cubicBezTo>
                  <a:pt x="416" y="112"/>
                  <a:pt x="415" y="112"/>
                  <a:pt x="414" y="113"/>
                </a:cubicBezTo>
                <a:close/>
                <a:moveTo>
                  <a:pt x="420" y="274"/>
                </a:moveTo>
                <a:cubicBezTo>
                  <a:pt x="421" y="276"/>
                  <a:pt x="418" y="277"/>
                  <a:pt x="417" y="278"/>
                </a:cubicBezTo>
                <a:cubicBezTo>
                  <a:pt x="417" y="277"/>
                  <a:pt x="419" y="276"/>
                  <a:pt x="420" y="274"/>
                </a:cubicBezTo>
                <a:close/>
                <a:moveTo>
                  <a:pt x="420" y="122"/>
                </a:moveTo>
                <a:cubicBezTo>
                  <a:pt x="419" y="122"/>
                  <a:pt x="420" y="122"/>
                  <a:pt x="420" y="122"/>
                </a:cubicBezTo>
                <a:close/>
                <a:moveTo>
                  <a:pt x="421" y="543"/>
                </a:moveTo>
                <a:cubicBezTo>
                  <a:pt x="422" y="545"/>
                  <a:pt x="417" y="547"/>
                  <a:pt x="417" y="544"/>
                </a:cubicBezTo>
                <a:cubicBezTo>
                  <a:pt x="416" y="542"/>
                  <a:pt x="421" y="541"/>
                  <a:pt x="421" y="543"/>
                </a:cubicBezTo>
                <a:close/>
                <a:moveTo>
                  <a:pt x="416" y="450"/>
                </a:moveTo>
                <a:cubicBezTo>
                  <a:pt x="416" y="449"/>
                  <a:pt x="418" y="450"/>
                  <a:pt x="416" y="450"/>
                </a:cubicBezTo>
                <a:close/>
                <a:moveTo>
                  <a:pt x="419" y="512"/>
                </a:moveTo>
                <a:cubicBezTo>
                  <a:pt x="418" y="511"/>
                  <a:pt x="420" y="511"/>
                  <a:pt x="419" y="512"/>
                </a:cubicBezTo>
                <a:close/>
                <a:moveTo>
                  <a:pt x="421" y="496"/>
                </a:moveTo>
                <a:cubicBezTo>
                  <a:pt x="422" y="496"/>
                  <a:pt x="421" y="497"/>
                  <a:pt x="420" y="497"/>
                </a:cubicBezTo>
                <a:cubicBezTo>
                  <a:pt x="419" y="498"/>
                  <a:pt x="420" y="495"/>
                  <a:pt x="421" y="496"/>
                </a:cubicBezTo>
                <a:close/>
                <a:moveTo>
                  <a:pt x="416" y="391"/>
                </a:moveTo>
                <a:cubicBezTo>
                  <a:pt x="416" y="390"/>
                  <a:pt x="419" y="387"/>
                  <a:pt x="421" y="386"/>
                </a:cubicBezTo>
                <a:cubicBezTo>
                  <a:pt x="420" y="388"/>
                  <a:pt x="414" y="394"/>
                  <a:pt x="416" y="391"/>
                </a:cubicBezTo>
                <a:close/>
                <a:moveTo>
                  <a:pt x="414" y="228"/>
                </a:moveTo>
                <a:cubicBezTo>
                  <a:pt x="414" y="227"/>
                  <a:pt x="417" y="226"/>
                  <a:pt x="417" y="228"/>
                </a:cubicBezTo>
                <a:cubicBezTo>
                  <a:pt x="417" y="229"/>
                  <a:pt x="414" y="229"/>
                  <a:pt x="414" y="228"/>
                </a:cubicBezTo>
                <a:close/>
                <a:moveTo>
                  <a:pt x="417" y="173"/>
                </a:moveTo>
                <a:cubicBezTo>
                  <a:pt x="417" y="173"/>
                  <a:pt x="418" y="172"/>
                  <a:pt x="419" y="173"/>
                </a:cubicBezTo>
                <a:cubicBezTo>
                  <a:pt x="420" y="174"/>
                  <a:pt x="417" y="174"/>
                  <a:pt x="417" y="173"/>
                </a:cubicBezTo>
                <a:close/>
                <a:moveTo>
                  <a:pt x="417" y="151"/>
                </a:moveTo>
                <a:cubicBezTo>
                  <a:pt x="418" y="150"/>
                  <a:pt x="418" y="150"/>
                  <a:pt x="419" y="149"/>
                </a:cubicBezTo>
                <a:cubicBezTo>
                  <a:pt x="419" y="150"/>
                  <a:pt x="418" y="151"/>
                  <a:pt x="417" y="151"/>
                </a:cubicBezTo>
                <a:close/>
                <a:moveTo>
                  <a:pt x="415" y="454"/>
                </a:moveTo>
                <a:cubicBezTo>
                  <a:pt x="415" y="454"/>
                  <a:pt x="415" y="455"/>
                  <a:pt x="414" y="454"/>
                </a:cubicBezTo>
                <a:cubicBezTo>
                  <a:pt x="413" y="453"/>
                  <a:pt x="417" y="452"/>
                  <a:pt x="415" y="454"/>
                </a:cubicBezTo>
                <a:close/>
                <a:moveTo>
                  <a:pt x="417" y="583"/>
                </a:moveTo>
                <a:cubicBezTo>
                  <a:pt x="416" y="584"/>
                  <a:pt x="416" y="583"/>
                  <a:pt x="415" y="583"/>
                </a:cubicBezTo>
                <a:cubicBezTo>
                  <a:pt x="415" y="583"/>
                  <a:pt x="417" y="582"/>
                  <a:pt x="417" y="583"/>
                </a:cubicBezTo>
                <a:close/>
                <a:moveTo>
                  <a:pt x="416" y="610"/>
                </a:moveTo>
                <a:cubicBezTo>
                  <a:pt x="416" y="610"/>
                  <a:pt x="417" y="610"/>
                  <a:pt x="417" y="610"/>
                </a:cubicBezTo>
                <a:cubicBezTo>
                  <a:pt x="417" y="611"/>
                  <a:pt x="415" y="610"/>
                  <a:pt x="416" y="610"/>
                </a:cubicBezTo>
                <a:close/>
                <a:moveTo>
                  <a:pt x="416" y="575"/>
                </a:moveTo>
                <a:cubicBezTo>
                  <a:pt x="417" y="573"/>
                  <a:pt x="419" y="568"/>
                  <a:pt x="422" y="567"/>
                </a:cubicBezTo>
                <a:cubicBezTo>
                  <a:pt x="419" y="570"/>
                  <a:pt x="419" y="573"/>
                  <a:pt x="416" y="575"/>
                </a:cubicBezTo>
                <a:close/>
                <a:moveTo>
                  <a:pt x="423" y="167"/>
                </a:moveTo>
                <a:cubicBezTo>
                  <a:pt x="423" y="167"/>
                  <a:pt x="422" y="168"/>
                  <a:pt x="422" y="167"/>
                </a:cubicBezTo>
                <a:cubicBezTo>
                  <a:pt x="421" y="166"/>
                  <a:pt x="423" y="165"/>
                  <a:pt x="423" y="167"/>
                </a:cubicBezTo>
                <a:close/>
                <a:moveTo>
                  <a:pt x="422" y="155"/>
                </a:moveTo>
                <a:cubicBezTo>
                  <a:pt x="421" y="154"/>
                  <a:pt x="424" y="155"/>
                  <a:pt x="422" y="155"/>
                </a:cubicBezTo>
                <a:close/>
                <a:moveTo>
                  <a:pt x="427" y="156"/>
                </a:moveTo>
                <a:cubicBezTo>
                  <a:pt x="427" y="157"/>
                  <a:pt x="423" y="158"/>
                  <a:pt x="423" y="156"/>
                </a:cubicBezTo>
                <a:cubicBezTo>
                  <a:pt x="422" y="154"/>
                  <a:pt x="427" y="153"/>
                  <a:pt x="427" y="156"/>
                </a:cubicBezTo>
                <a:close/>
                <a:moveTo>
                  <a:pt x="424" y="154"/>
                </a:moveTo>
                <a:cubicBezTo>
                  <a:pt x="424" y="152"/>
                  <a:pt x="426" y="153"/>
                  <a:pt x="424" y="154"/>
                </a:cubicBezTo>
                <a:close/>
                <a:moveTo>
                  <a:pt x="441" y="90"/>
                </a:moveTo>
                <a:cubicBezTo>
                  <a:pt x="442" y="90"/>
                  <a:pt x="441" y="91"/>
                  <a:pt x="441" y="92"/>
                </a:cubicBezTo>
                <a:cubicBezTo>
                  <a:pt x="441" y="95"/>
                  <a:pt x="437" y="95"/>
                  <a:pt x="436" y="94"/>
                </a:cubicBezTo>
                <a:cubicBezTo>
                  <a:pt x="436" y="94"/>
                  <a:pt x="436" y="94"/>
                  <a:pt x="436" y="94"/>
                </a:cubicBezTo>
                <a:cubicBezTo>
                  <a:pt x="436" y="94"/>
                  <a:pt x="436" y="94"/>
                  <a:pt x="436" y="94"/>
                </a:cubicBezTo>
                <a:cubicBezTo>
                  <a:pt x="432" y="94"/>
                  <a:pt x="437" y="85"/>
                  <a:pt x="441" y="90"/>
                </a:cubicBezTo>
                <a:close/>
                <a:moveTo>
                  <a:pt x="439" y="86"/>
                </a:moveTo>
                <a:cubicBezTo>
                  <a:pt x="439" y="87"/>
                  <a:pt x="438" y="86"/>
                  <a:pt x="439" y="86"/>
                </a:cubicBezTo>
                <a:close/>
                <a:moveTo>
                  <a:pt x="443" y="128"/>
                </a:moveTo>
                <a:cubicBezTo>
                  <a:pt x="443" y="127"/>
                  <a:pt x="445" y="126"/>
                  <a:pt x="446" y="128"/>
                </a:cubicBezTo>
                <a:cubicBezTo>
                  <a:pt x="447" y="130"/>
                  <a:pt x="443" y="129"/>
                  <a:pt x="443" y="128"/>
                </a:cubicBezTo>
                <a:close/>
                <a:moveTo>
                  <a:pt x="447" y="192"/>
                </a:moveTo>
                <a:cubicBezTo>
                  <a:pt x="448" y="193"/>
                  <a:pt x="447" y="194"/>
                  <a:pt x="447" y="194"/>
                </a:cubicBezTo>
                <a:cubicBezTo>
                  <a:pt x="444" y="194"/>
                  <a:pt x="446" y="191"/>
                  <a:pt x="447" y="192"/>
                </a:cubicBezTo>
                <a:close/>
                <a:moveTo>
                  <a:pt x="449" y="220"/>
                </a:moveTo>
                <a:cubicBezTo>
                  <a:pt x="449" y="223"/>
                  <a:pt x="441" y="225"/>
                  <a:pt x="439" y="225"/>
                </a:cubicBezTo>
                <a:cubicBezTo>
                  <a:pt x="438" y="225"/>
                  <a:pt x="434" y="228"/>
                  <a:pt x="434" y="226"/>
                </a:cubicBezTo>
                <a:cubicBezTo>
                  <a:pt x="434" y="225"/>
                  <a:pt x="440" y="225"/>
                  <a:pt x="440" y="225"/>
                </a:cubicBezTo>
                <a:cubicBezTo>
                  <a:pt x="443" y="223"/>
                  <a:pt x="446" y="220"/>
                  <a:pt x="449" y="220"/>
                </a:cubicBezTo>
                <a:close/>
                <a:moveTo>
                  <a:pt x="448" y="177"/>
                </a:moveTo>
                <a:cubicBezTo>
                  <a:pt x="449" y="177"/>
                  <a:pt x="449" y="177"/>
                  <a:pt x="449" y="177"/>
                </a:cubicBezTo>
                <a:cubicBezTo>
                  <a:pt x="449" y="179"/>
                  <a:pt x="446" y="175"/>
                  <a:pt x="448" y="177"/>
                </a:cubicBezTo>
                <a:close/>
                <a:moveTo>
                  <a:pt x="451" y="187"/>
                </a:moveTo>
                <a:cubicBezTo>
                  <a:pt x="452" y="188"/>
                  <a:pt x="450" y="189"/>
                  <a:pt x="449" y="188"/>
                </a:cubicBezTo>
                <a:cubicBezTo>
                  <a:pt x="448" y="187"/>
                  <a:pt x="451" y="185"/>
                  <a:pt x="451" y="187"/>
                </a:cubicBezTo>
                <a:close/>
                <a:moveTo>
                  <a:pt x="442" y="608"/>
                </a:moveTo>
                <a:cubicBezTo>
                  <a:pt x="441" y="609"/>
                  <a:pt x="438" y="612"/>
                  <a:pt x="435" y="614"/>
                </a:cubicBezTo>
                <a:cubicBezTo>
                  <a:pt x="436" y="614"/>
                  <a:pt x="436" y="614"/>
                  <a:pt x="436" y="615"/>
                </a:cubicBezTo>
                <a:cubicBezTo>
                  <a:pt x="436" y="615"/>
                  <a:pt x="435" y="615"/>
                  <a:pt x="435" y="615"/>
                </a:cubicBezTo>
                <a:cubicBezTo>
                  <a:pt x="435" y="615"/>
                  <a:pt x="435" y="615"/>
                  <a:pt x="435" y="615"/>
                </a:cubicBezTo>
                <a:cubicBezTo>
                  <a:pt x="434" y="616"/>
                  <a:pt x="433" y="617"/>
                  <a:pt x="432" y="617"/>
                </a:cubicBezTo>
                <a:cubicBezTo>
                  <a:pt x="432" y="617"/>
                  <a:pt x="431" y="616"/>
                  <a:pt x="431" y="616"/>
                </a:cubicBezTo>
                <a:cubicBezTo>
                  <a:pt x="431" y="615"/>
                  <a:pt x="434" y="614"/>
                  <a:pt x="435" y="613"/>
                </a:cubicBezTo>
                <a:cubicBezTo>
                  <a:pt x="437" y="612"/>
                  <a:pt x="443" y="606"/>
                  <a:pt x="445" y="606"/>
                </a:cubicBezTo>
                <a:cubicBezTo>
                  <a:pt x="448" y="605"/>
                  <a:pt x="443" y="608"/>
                  <a:pt x="442" y="608"/>
                </a:cubicBezTo>
                <a:close/>
                <a:moveTo>
                  <a:pt x="444" y="648"/>
                </a:moveTo>
                <a:cubicBezTo>
                  <a:pt x="444" y="648"/>
                  <a:pt x="442" y="648"/>
                  <a:pt x="442" y="648"/>
                </a:cubicBezTo>
                <a:cubicBezTo>
                  <a:pt x="442" y="647"/>
                  <a:pt x="444" y="647"/>
                  <a:pt x="444" y="648"/>
                </a:cubicBezTo>
                <a:close/>
                <a:moveTo>
                  <a:pt x="442" y="648"/>
                </a:moveTo>
                <a:cubicBezTo>
                  <a:pt x="440" y="649"/>
                  <a:pt x="440" y="646"/>
                  <a:pt x="442" y="648"/>
                </a:cubicBezTo>
                <a:close/>
                <a:moveTo>
                  <a:pt x="429" y="656"/>
                </a:moveTo>
                <a:cubicBezTo>
                  <a:pt x="429" y="655"/>
                  <a:pt x="431" y="655"/>
                  <a:pt x="431" y="656"/>
                </a:cubicBezTo>
                <a:cubicBezTo>
                  <a:pt x="431" y="657"/>
                  <a:pt x="430" y="657"/>
                  <a:pt x="429" y="656"/>
                </a:cubicBezTo>
                <a:close/>
                <a:moveTo>
                  <a:pt x="430" y="686"/>
                </a:moveTo>
                <a:cubicBezTo>
                  <a:pt x="429" y="689"/>
                  <a:pt x="427" y="687"/>
                  <a:pt x="430" y="686"/>
                </a:cubicBezTo>
                <a:close/>
                <a:moveTo>
                  <a:pt x="436" y="241"/>
                </a:moveTo>
                <a:cubicBezTo>
                  <a:pt x="436" y="242"/>
                  <a:pt x="434" y="244"/>
                  <a:pt x="432" y="246"/>
                </a:cubicBezTo>
                <a:cubicBezTo>
                  <a:pt x="433" y="244"/>
                  <a:pt x="435" y="242"/>
                  <a:pt x="436" y="241"/>
                </a:cubicBezTo>
                <a:close/>
                <a:moveTo>
                  <a:pt x="434" y="216"/>
                </a:moveTo>
                <a:cubicBezTo>
                  <a:pt x="434" y="215"/>
                  <a:pt x="435" y="215"/>
                  <a:pt x="436" y="216"/>
                </a:cubicBezTo>
                <a:cubicBezTo>
                  <a:pt x="436" y="217"/>
                  <a:pt x="434" y="217"/>
                  <a:pt x="434" y="216"/>
                </a:cubicBezTo>
                <a:close/>
                <a:moveTo>
                  <a:pt x="436" y="602"/>
                </a:moveTo>
                <a:cubicBezTo>
                  <a:pt x="436" y="602"/>
                  <a:pt x="436" y="602"/>
                  <a:pt x="435" y="602"/>
                </a:cubicBezTo>
                <a:cubicBezTo>
                  <a:pt x="435" y="602"/>
                  <a:pt x="436" y="601"/>
                  <a:pt x="436" y="602"/>
                </a:cubicBezTo>
                <a:close/>
                <a:moveTo>
                  <a:pt x="435" y="529"/>
                </a:moveTo>
                <a:cubicBezTo>
                  <a:pt x="434" y="529"/>
                  <a:pt x="435" y="527"/>
                  <a:pt x="436" y="528"/>
                </a:cubicBezTo>
                <a:cubicBezTo>
                  <a:pt x="436" y="529"/>
                  <a:pt x="435" y="529"/>
                  <a:pt x="435" y="529"/>
                </a:cubicBezTo>
                <a:close/>
                <a:moveTo>
                  <a:pt x="433" y="340"/>
                </a:moveTo>
                <a:cubicBezTo>
                  <a:pt x="433" y="341"/>
                  <a:pt x="432" y="342"/>
                  <a:pt x="431" y="342"/>
                </a:cubicBezTo>
                <a:cubicBezTo>
                  <a:pt x="431" y="341"/>
                  <a:pt x="432" y="341"/>
                  <a:pt x="433" y="340"/>
                </a:cubicBezTo>
                <a:close/>
                <a:moveTo>
                  <a:pt x="432" y="603"/>
                </a:moveTo>
                <a:cubicBezTo>
                  <a:pt x="431" y="604"/>
                  <a:pt x="431" y="601"/>
                  <a:pt x="432" y="602"/>
                </a:cubicBezTo>
                <a:cubicBezTo>
                  <a:pt x="433" y="602"/>
                  <a:pt x="432" y="603"/>
                  <a:pt x="432" y="603"/>
                </a:cubicBezTo>
                <a:close/>
                <a:moveTo>
                  <a:pt x="431" y="437"/>
                </a:moveTo>
                <a:cubicBezTo>
                  <a:pt x="433" y="438"/>
                  <a:pt x="430" y="440"/>
                  <a:pt x="429" y="441"/>
                </a:cubicBezTo>
                <a:cubicBezTo>
                  <a:pt x="426" y="442"/>
                  <a:pt x="430" y="435"/>
                  <a:pt x="431" y="437"/>
                </a:cubicBezTo>
                <a:close/>
                <a:moveTo>
                  <a:pt x="428" y="504"/>
                </a:moveTo>
                <a:cubicBezTo>
                  <a:pt x="429" y="503"/>
                  <a:pt x="427" y="506"/>
                  <a:pt x="428" y="504"/>
                </a:cubicBezTo>
                <a:close/>
                <a:moveTo>
                  <a:pt x="429" y="250"/>
                </a:moveTo>
                <a:cubicBezTo>
                  <a:pt x="429" y="252"/>
                  <a:pt x="427" y="251"/>
                  <a:pt x="429" y="250"/>
                </a:cubicBezTo>
                <a:close/>
                <a:moveTo>
                  <a:pt x="430" y="247"/>
                </a:moveTo>
                <a:cubicBezTo>
                  <a:pt x="430" y="247"/>
                  <a:pt x="429" y="248"/>
                  <a:pt x="429" y="248"/>
                </a:cubicBezTo>
                <a:cubicBezTo>
                  <a:pt x="428" y="247"/>
                  <a:pt x="430" y="246"/>
                  <a:pt x="430" y="247"/>
                </a:cubicBezTo>
                <a:close/>
                <a:moveTo>
                  <a:pt x="429" y="202"/>
                </a:moveTo>
                <a:cubicBezTo>
                  <a:pt x="428" y="201"/>
                  <a:pt x="430" y="200"/>
                  <a:pt x="431" y="202"/>
                </a:cubicBezTo>
                <a:cubicBezTo>
                  <a:pt x="431" y="202"/>
                  <a:pt x="430" y="203"/>
                  <a:pt x="429" y="202"/>
                </a:cubicBezTo>
                <a:close/>
                <a:moveTo>
                  <a:pt x="430" y="222"/>
                </a:moveTo>
                <a:cubicBezTo>
                  <a:pt x="430" y="223"/>
                  <a:pt x="428" y="225"/>
                  <a:pt x="426" y="223"/>
                </a:cubicBezTo>
                <a:cubicBezTo>
                  <a:pt x="425" y="221"/>
                  <a:pt x="430" y="218"/>
                  <a:pt x="430" y="222"/>
                </a:cubicBezTo>
                <a:close/>
                <a:moveTo>
                  <a:pt x="426" y="246"/>
                </a:moveTo>
                <a:cubicBezTo>
                  <a:pt x="423" y="248"/>
                  <a:pt x="426" y="241"/>
                  <a:pt x="427" y="243"/>
                </a:cubicBezTo>
                <a:cubicBezTo>
                  <a:pt x="428" y="243"/>
                  <a:pt x="426" y="246"/>
                  <a:pt x="426" y="246"/>
                </a:cubicBezTo>
                <a:close/>
                <a:moveTo>
                  <a:pt x="426" y="268"/>
                </a:moveTo>
                <a:cubicBezTo>
                  <a:pt x="426" y="267"/>
                  <a:pt x="427" y="267"/>
                  <a:pt x="427" y="266"/>
                </a:cubicBezTo>
                <a:cubicBezTo>
                  <a:pt x="428" y="266"/>
                  <a:pt x="427" y="268"/>
                  <a:pt x="426" y="268"/>
                </a:cubicBezTo>
                <a:close/>
                <a:moveTo>
                  <a:pt x="424" y="181"/>
                </a:moveTo>
                <a:cubicBezTo>
                  <a:pt x="424" y="180"/>
                  <a:pt x="426" y="180"/>
                  <a:pt x="426" y="180"/>
                </a:cubicBezTo>
                <a:cubicBezTo>
                  <a:pt x="426" y="180"/>
                  <a:pt x="425" y="182"/>
                  <a:pt x="424" y="181"/>
                </a:cubicBezTo>
                <a:close/>
                <a:moveTo>
                  <a:pt x="428" y="378"/>
                </a:moveTo>
                <a:cubicBezTo>
                  <a:pt x="428" y="380"/>
                  <a:pt x="425" y="382"/>
                  <a:pt x="424" y="383"/>
                </a:cubicBezTo>
                <a:cubicBezTo>
                  <a:pt x="425" y="381"/>
                  <a:pt x="426" y="379"/>
                  <a:pt x="428" y="378"/>
                </a:cubicBezTo>
                <a:close/>
                <a:moveTo>
                  <a:pt x="425" y="431"/>
                </a:moveTo>
                <a:cubicBezTo>
                  <a:pt x="425" y="432"/>
                  <a:pt x="423" y="432"/>
                  <a:pt x="423" y="433"/>
                </a:cubicBezTo>
                <a:cubicBezTo>
                  <a:pt x="422" y="432"/>
                  <a:pt x="424" y="432"/>
                  <a:pt x="425" y="431"/>
                </a:cubicBezTo>
                <a:close/>
                <a:moveTo>
                  <a:pt x="424" y="448"/>
                </a:moveTo>
                <a:cubicBezTo>
                  <a:pt x="425" y="449"/>
                  <a:pt x="423" y="449"/>
                  <a:pt x="424" y="448"/>
                </a:cubicBezTo>
                <a:close/>
                <a:moveTo>
                  <a:pt x="431" y="549"/>
                </a:moveTo>
                <a:cubicBezTo>
                  <a:pt x="428" y="552"/>
                  <a:pt x="425" y="556"/>
                  <a:pt x="423" y="558"/>
                </a:cubicBezTo>
                <a:cubicBezTo>
                  <a:pt x="424" y="556"/>
                  <a:pt x="428" y="550"/>
                  <a:pt x="431" y="549"/>
                </a:cubicBezTo>
                <a:close/>
                <a:moveTo>
                  <a:pt x="426" y="585"/>
                </a:moveTo>
                <a:cubicBezTo>
                  <a:pt x="425" y="583"/>
                  <a:pt x="429" y="585"/>
                  <a:pt x="426" y="585"/>
                </a:cubicBezTo>
                <a:close/>
                <a:moveTo>
                  <a:pt x="427" y="565"/>
                </a:moveTo>
                <a:cubicBezTo>
                  <a:pt x="427" y="564"/>
                  <a:pt x="428" y="564"/>
                  <a:pt x="428" y="564"/>
                </a:cubicBezTo>
                <a:cubicBezTo>
                  <a:pt x="428" y="564"/>
                  <a:pt x="427" y="565"/>
                  <a:pt x="427" y="565"/>
                </a:cubicBezTo>
                <a:close/>
                <a:moveTo>
                  <a:pt x="431" y="619"/>
                </a:moveTo>
                <a:cubicBezTo>
                  <a:pt x="431" y="621"/>
                  <a:pt x="425" y="622"/>
                  <a:pt x="426" y="619"/>
                </a:cubicBezTo>
                <a:cubicBezTo>
                  <a:pt x="426" y="618"/>
                  <a:pt x="431" y="617"/>
                  <a:pt x="431" y="619"/>
                </a:cubicBezTo>
                <a:close/>
                <a:moveTo>
                  <a:pt x="433" y="635"/>
                </a:moveTo>
                <a:cubicBezTo>
                  <a:pt x="431" y="637"/>
                  <a:pt x="428" y="638"/>
                  <a:pt x="425" y="639"/>
                </a:cubicBezTo>
                <a:cubicBezTo>
                  <a:pt x="427" y="637"/>
                  <a:pt x="431" y="636"/>
                  <a:pt x="433" y="635"/>
                </a:cubicBezTo>
                <a:close/>
                <a:moveTo>
                  <a:pt x="432" y="642"/>
                </a:moveTo>
                <a:cubicBezTo>
                  <a:pt x="432" y="643"/>
                  <a:pt x="431" y="642"/>
                  <a:pt x="431" y="642"/>
                </a:cubicBezTo>
                <a:cubicBezTo>
                  <a:pt x="430" y="641"/>
                  <a:pt x="432" y="641"/>
                  <a:pt x="432" y="642"/>
                </a:cubicBezTo>
                <a:close/>
                <a:moveTo>
                  <a:pt x="431" y="686"/>
                </a:moveTo>
                <a:cubicBezTo>
                  <a:pt x="431" y="686"/>
                  <a:pt x="431" y="686"/>
                  <a:pt x="431" y="686"/>
                </a:cubicBezTo>
                <a:cubicBezTo>
                  <a:pt x="430" y="686"/>
                  <a:pt x="431" y="685"/>
                  <a:pt x="431" y="686"/>
                </a:cubicBezTo>
                <a:close/>
                <a:moveTo>
                  <a:pt x="431" y="678"/>
                </a:moveTo>
                <a:cubicBezTo>
                  <a:pt x="431" y="677"/>
                  <a:pt x="435" y="677"/>
                  <a:pt x="436" y="678"/>
                </a:cubicBezTo>
                <a:cubicBezTo>
                  <a:pt x="436" y="679"/>
                  <a:pt x="431" y="680"/>
                  <a:pt x="431" y="678"/>
                </a:cubicBezTo>
                <a:close/>
                <a:moveTo>
                  <a:pt x="433" y="675"/>
                </a:moveTo>
                <a:cubicBezTo>
                  <a:pt x="432" y="677"/>
                  <a:pt x="434" y="674"/>
                  <a:pt x="433" y="675"/>
                </a:cubicBezTo>
                <a:close/>
                <a:moveTo>
                  <a:pt x="431" y="649"/>
                </a:moveTo>
                <a:cubicBezTo>
                  <a:pt x="431" y="646"/>
                  <a:pt x="437" y="647"/>
                  <a:pt x="437" y="650"/>
                </a:cubicBezTo>
                <a:cubicBezTo>
                  <a:pt x="437" y="652"/>
                  <a:pt x="430" y="652"/>
                  <a:pt x="431" y="649"/>
                </a:cubicBezTo>
                <a:close/>
                <a:moveTo>
                  <a:pt x="436" y="638"/>
                </a:moveTo>
                <a:cubicBezTo>
                  <a:pt x="437" y="639"/>
                  <a:pt x="436" y="640"/>
                  <a:pt x="435" y="640"/>
                </a:cubicBezTo>
                <a:cubicBezTo>
                  <a:pt x="433" y="642"/>
                  <a:pt x="435" y="636"/>
                  <a:pt x="436" y="638"/>
                </a:cubicBezTo>
                <a:close/>
                <a:moveTo>
                  <a:pt x="433" y="635"/>
                </a:moveTo>
                <a:cubicBezTo>
                  <a:pt x="435" y="635"/>
                  <a:pt x="436" y="633"/>
                  <a:pt x="437" y="634"/>
                </a:cubicBezTo>
                <a:cubicBezTo>
                  <a:pt x="436" y="635"/>
                  <a:pt x="435" y="635"/>
                  <a:pt x="433" y="635"/>
                </a:cubicBezTo>
                <a:close/>
                <a:moveTo>
                  <a:pt x="438" y="700"/>
                </a:moveTo>
                <a:cubicBezTo>
                  <a:pt x="438" y="701"/>
                  <a:pt x="437" y="700"/>
                  <a:pt x="437" y="700"/>
                </a:cubicBezTo>
                <a:cubicBezTo>
                  <a:pt x="437" y="699"/>
                  <a:pt x="438" y="700"/>
                  <a:pt x="438" y="700"/>
                </a:cubicBezTo>
                <a:close/>
                <a:moveTo>
                  <a:pt x="446" y="410"/>
                </a:moveTo>
                <a:cubicBezTo>
                  <a:pt x="444" y="411"/>
                  <a:pt x="441" y="414"/>
                  <a:pt x="438" y="415"/>
                </a:cubicBezTo>
                <a:cubicBezTo>
                  <a:pt x="440" y="413"/>
                  <a:pt x="443" y="411"/>
                  <a:pt x="446" y="410"/>
                </a:cubicBezTo>
                <a:close/>
                <a:moveTo>
                  <a:pt x="442" y="225"/>
                </a:moveTo>
                <a:cubicBezTo>
                  <a:pt x="442" y="225"/>
                  <a:pt x="444" y="224"/>
                  <a:pt x="445" y="224"/>
                </a:cubicBezTo>
                <a:cubicBezTo>
                  <a:pt x="445" y="225"/>
                  <a:pt x="443" y="226"/>
                  <a:pt x="442" y="225"/>
                </a:cubicBezTo>
                <a:close/>
                <a:moveTo>
                  <a:pt x="446" y="565"/>
                </a:moveTo>
                <a:cubicBezTo>
                  <a:pt x="445" y="565"/>
                  <a:pt x="445" y="565"/>
                  <a:pt x="445" y="565"/>
                </a:cubicBezTo>
                <a:cubicBezTo>
                  <a:pt x="445" y="565"/>
                  <a:pt x="445" y="565"/>
                  <a:pt x="445" y="565"/>
                </a:cubicBezTo>
                <a:cubicBezTo>
                  <a:pt x="445" y="565"/>
                  <a:pt x="445" y="565"/>
                  <a:pt x="446" y="565"/>
                </a:cubicBezTo>
                <a:close/>
                <a:moveTo>
                  <a:pt x="442" y="577"/>
                </a:moveTo>
                <a:cubicBezTo>
                  <a:pt x="442" y="578"/>
                  <a:pt x="441" y="578"/>
                  <a:pt x="441" y="577"/>
                </a:cubicBezTo>
                <a:cubicBezTo>
                  <a:pt x="440" y="575"/>
                  <a:pt x="443" y="576"/>
                  <a:pt x="442" y="577"/>
                </a:cubicBezTo>
                <a:close/>
                <a:moveTo>
                  <a:pt x="440" y="539"/>
                </a:moveTo>
                <a:cubicBezTo>
                  <a:pt x="441" y="539"/>
                  <a:pt x="442" y="540"/>
                  <a:pt x="441" y="540"/>
                </a:cubicBezTo>
                <a:cubicBezTo>
                  <a:pt x="440" y="541"/>
                  <a:pt x="440" y="540"/>
                  <a:pt x="440" y="539"/>
                </a:cubicBezTo>
                <a:close/>
                <a:moveTo>
                  <a:pt x="438" y="393"/>
                </a:moveTo>
                <a:cubicBezTo>
                  <a:pt x="439" y="392"/>
                  <a:pt x="437" y="395"/>
                  <a:pt x="438" y="393"/>
                </a:cubicBezTo>
                <a:close/>
                <a:moveTo>
                  <a:pt x="438" y="497"/>
                </a:moveTo>
                <a:cubicBezTo>
                  <a:pt x="438" y="497"/>
                  <a:pt x="438" y="497"/>
                  <a:pt x="438" y="497"/>
                </a:cubicBezTo>
                <a:cubicBezTo>
                  <a:pt x="438" y="497"/>
                  <a:pt x="438" y="497"/>
                  <a:pt x="438" y="497"/>
                </a:cubicBezTo>
                <a:close/>
                <a:moveTo>
                  <a:pt x="437" y="241"/>
                </a:moveTo>
                <a:cubicBezTo>
                  <a:pt x="437" y="241"/>
                  <a:pt x="437" y="239"/>
                  <a:pt x="438" y="239"/>
                </a:cubicBezTo>
                <a:cubicBezTo>
                  <a:pt x="439" y="239"/>
                  <a:pt x="437" y="241"/>
                  <a:pt x="437" y="241"/>
                </a:cubicBezTo>
                <a:close/>
                <a:moveTo>
                  <a:pt x="438" y="174"/>
                </a:moveTo>
                <a:cubicBezTo>
                  <a:pt x="439" y="175"/>
                  <a:pt x="437" y="175"/>
                  <a:pt x="437" y="175"/>
                </a:cubicBezTo>
                <a:cubicBezTo>
                  <a:pt x="436" y="174"/>
                  <a:pt x="438" y="174"/>
                  <a:pt x="438" y="174"/>
                </a:cubicBezTo>
                <a:close/>
                <a:moveTo>
                  <a:pt x="435" y="167"/>
                </a:moveTo>
                <a:cubicBezTo>
                  <a:pt x="435" y="166"/>
                  <a:pt x="437" y="165"/>
                  <a:pt x="437" y="167"/>
                </a:cubicBezTo>
                <a:cubicBezTo>
                  <a:pt x="437" y="168"/>
                  <a:pt x="435" y="168"/>
                  <a:pt x="435" y="167"/>
                </a:cubicBezTo>
                <a:close/>
                <a:moveTo>
                  <a:pt x="441" y="117"/>
                </a:moveTo>
                <a:cubicBezTo>
                  <a:pt x="441" y="118"/>
                  <a:pt x="437" y="119"/>
                  <a:pt x="437" y="117"/>
                </a:cubicBezTo>
                <a:cubicBezTo>
                  <a:pt x="437" y="117"/>
                  <a:pt x="441" y="115"/>
                  <a:pt x="441" y="117"/>
                </a:cubicBezTo>
                <a:close/>
                <a:moveTo>
                  <a:pt x="439" y="97"/>
                </a:moveTo>
                <a:cubicBezTo>
                  <a:pt x="439" y="97"/>
                  <a:pt x="438" y="98"/>
                  <a:pt x="437" y="97"/>
                </a:cubicBezTo>
                <a:cubicBezTo>
                  <a:pt x="437" y="96"/>
                  <a:pt x="438" y="96"/>
                  <a:pt x="439" y="97"/>
                </a:cubicBezTo>
                <a:close/>
                <a:moveTo>
                  <a:pt x="442" y="132"/>
                </a:moveTo>
                <a:cubicBezTo>
                  <a:pt x="442" y="132"/>
                  <a:pt x="440" y="133"/>
                  <a:pt x="440" y="133"/>
                </a:cubicBezTo>
                <a:cubicBezTo>
                  <a:pt x="440" y="132"/>
                  <a:pt x="442" y="132"/>
                  <a:pt x="442" y="132"/>
                </a:cubicBezTo>
                <a:close/>
                <a:moveTo>
                  <a:pt x="439" y="214"/>
                </a:moveTo>
                <a:cubicBezTo>
                  <a:pt x="438" y="214"/>
                  <a:pt x="439" y="213"/>
                  <a:pt x="439" y="213"/>
                </a:cubicBezTo>
                <a:cubicBezTo>
                  <a:pt x="440" y="213"/>
                  <a:pt x="439" y="214"/>
                  <a:pt x="439" y="214"/>
                </a:cubicBezTo>
                <a:close/>
                <a:moveTo>
                  <a:pt x="439" y="166"/>
                </a:moveTo>
                <a:cubicBezTo>
                  <a:pt x="439" y="167"/>
                  <a:pt x="437" y="167"/>
                  <a:pt x="438" y="166"/>
                </a:cubicBezTo>
                <a:cubicBezTo>
                  <a:pt x="438" y="166"/>
                  <a:pt x="438" y="166"/>
                  <a:pt x="439" y="166"/>
                </a:cubicBezTo>
                <a:close/>
                <a:moveTo>
                  <a:pt x="437" y="216"/>
                </a:moveTo>
                <a:cubicBezTo>
                  <a:pt x="437" y="216"/>
                  <a:pt x="438" y="215"/>
                  <a:pt x="438" y="215"/>
                </a:cubicBezTo>
                <a:cubicBezTo>
                  <a:pt x="438" y="215"/>
                  <a:pt x="437" y="217"/>
                  <a:pt x="437" y="216"/>
                </a:cubicBezTo>
                <a:close/>
                <a:moveTo>
                  <a:pt x="441" y="121"/>
                </a:moveTo>
                <a:cubicBezTo>
                  <a:pt x="441" y="121"/>
                  <a:pt x="442" y="121"/>
                  <a:pt x="442" y="121"/>
                </a:cubicBezTo>
                <a:cubicBezTo>
                  <a:pt x="443" y="122"/>
                  <a:pt x="441" y="122"/>
                  <a:pt x="441" y="121"/>
                </a:cubicBezTo>
                <a:close/>
                <a:moveTo>
                  <a:pt x="442" y="79"/>
                </a:moveTo>
                <a:cubicBezTo>
                  <a:pt x="441" y="80"/>
                  <a:pt x="441" y="79"/>
                  <a:pt x="442" y="79"/>
                </a:cubicBezTo>
                <a:close/>
                <a:moveTo>
                  <a:pt x="435" y="194"/>
                </a:moveTo>
                <a:cubicBezTo>
                  <a:pt x="435" y="194"/>
                  <a:pt x="437" y="193"/>
                  <a:pt x="436" y="194"/>
                </a:cubicBezTo>
                <a:cubicBezTo>
                  <a:pt x="434" y="197"/>
                  <a:pt x="430" y="199"/>
                  <a:pt x="426" y="200"/>
                </a:cubicBezTo>
                <a:cubicBezTo>
                  <a:pt x="429" y="198"/>
                  <a:pt x="433" y="195"/>
                  <a:pt x="435" y="194"/>
                </a:cubicBezTo>
                <a:close/>
                <a:moveTo>
                  <a:pt x="430" y="161"/>
                </a:moveTo>
                <a:cubicBezTo>
                  <a:pt x="431" y="159"/>
                  <a:pt x="433" y="159"/>
                  <a:pt x="434" y="158"/>
                </a:cubicBezTo>
                <a:cubicBezTo>
                  <a:pt x="434" y="159"/>
                  <a:pt x="432" y="161"/>
                  <a:pt x="430" y="161"/>
                </a:cubicBezTo>
                <a:close/>
                <a:moveTo>
                  <a:pt x="429" y="81"/>
                </a:moveTo>
                <a:cubicBezTo>
                  <a:pt x="431" y="80"/>
                  <a:pt x="432" y="79"/>
                  <a:pt x="434" y="78"/>
                </a:cubicBezTo>
                <a:cubicBezTo>
                  <a:pt x="434" y="80"/>
                  <a:pt x="431" y="81"/>
                  <a:pt x="429" y="81"/>
                </a:cubicBezTo>
                <a:close/>
                <a:moveTo>
                  <a:pt x="428" y="135"/>
                </a:moveTo>
                <a:cubicBezTo>
                  <a:pt x="431" y="133"/>
                  <a:pt x="432" y="135"/>
                  <a:pt x="428" y="135"/>
                </a:cubicBezTo>
                <a:close/>
                <a:moveTo>
                  <a:pt x="430" y="177"/>
                </a:moveTo>
                <a:cubicBezTo>
                  <a:pt x="430" y="178"/>
                  <a:pt x="428" y="179"/>
                  <a:pt x="427" y="179"/>
                </a:cubicBezTo>
                <a:cubicBezTo>
                  <a:pt x="428" y="178"/>
                  <a:pt x="429" y="178"/>
                  <a:pt x="430" y="177"/>
                </a:cubicBezTo>
                <a:close/>
                <a:moveTo>
                  <a:pt x="422" y="541"/>
                </a:moveTo>
                <a:cubicBezTo>
                  <a:pt x="421" y="543"/>
                  <a:pt x="423" y="540"/>
                  <a:pt x="422" y="541"/>
                </a:cubicBezTo>
                <a:close/>
                <a:moveTo>
                  <a:pt x="422" y="384"/>
                </a:moveTo>
                <a:cubicBezTo>
                  <a:pt x="422" y="384"/>
                  <a:pt x="422" y="384"/>
                  <a:pt x="422" y="384"/>
                </a:cubicBezTo>
                <a:cubicBezTo>
                  <a:pt x="422" y="384"/>
                  <a:pt x="423" y="384"/>
                  <a:pt x="423" y="384"/>
                </a:cubicBezTo>
                <a:cubicBezTo>
                  <a:pt x="422" y="384"/>
                  <a:pt x="422" y="384"/>
                  <a:pt x="422" y="384"/>
                </a:cubicBezTo>
                <a:close/>
                <a:moveTo>
                  <a:pt x="422" y="617"/>
                </a:moveTo>
                <a:cubicBezTo>
                  <a:pt x="422" y="618"/>
                  <a:pt x="421" y="617"/>
                  <a:pt x="421" y="617"/>
                </a:cubicBezTo>
                <a:cubicBezTo>
                  <a:pt x="420" y="617"/>
                  <a:pt x="422" y="616"/>
                  <a:pt x="422" y="617"/>
                </a:cubicBezTo>
                <a:close/>
                <a:moveTo>
                  <a:pt x="421" y="588"/>
                </a:moveTo>
                <a:cubicBezTo>
                  <a:pt x="420" y="588"/>
                  <a:pt x="419" y="589"/>
                  <a:pt x="420" y="587"/>
                </a:cubicBezTo>
                <a:cubicBezTo>
                  <a:pt x="420" y="587"/>
                  <a:pt x="421" y="587"/>
                  <a:pt x="421" y="588"/>
                </a:cubicBezTo>
                <a:close/>
                <a:moveTo>
                  <a:pt x="422" y="663"/>
                </a:moveTo>
                <a:cubicBezTo>
                  <a:pt x="423" y="663"/>
                  <a:pt x="422" y="664"/>
                  <a:pt x="421" y="664"/>
                </a:cubicBezTo>
                <a:cubicBezTo>
                  <a:pt x="419" y="665"/>
                  <a:pt x="421" y="662"/>
                  <a:pt x="422" y="663"/>
                </a:cubicBezTo>
                <a:close/>
                <a:moveTo>
                  <a:pt x="424" y="741"/>
                </a:moveTo>
                <a:cubicBezTo>
                  <a:pt x="424" y="742"/>
                  <a:pt x="423" y="742"/>
                  <a:pt x="423" y="741"/>
                </a:cubicBezTo>
                <a:cubicBezTo>
                  <a:pt x="422" y="740"/>
                  <a:pt x="424" y="740"/>
                  <a:pt x="424" y="741"/>
                </a:cubicBezTo>
                <a:close/>
                <a:moveTo>
                  <a:pt x="423" y="739"/>
                </a:moveTo>
                <a:cubicBezTo>
                  <a:pt x="422" y="741"/>
                  <a:pt x="421" y="738"/>
                  <a:pt x="423" y="739"/>
                </a:cubicBezTo>
                <a:close/>
                <a:moveTo>
                  <a:pt x="423" y="692"/>
                </a:moveTo>
                <a:cubicBezTo>
                  <a:pt x="422" y="691"/>
                  <a:pt x="425" y="691"/>
                  <a:pt x="425" y="692"/>
                </a:cubicBezTo>
                <a:cubicBezTo>
                  <a:pt x="425" y="692"/>
                  <a:pt x="423" y="693"/>
                  <a:pt x="423" y="692"/>
                </a:cubicBezTo>
                <a:close/>
                <a:moveTo>
                  <a:pt x="422" y="683"/>
                </a:moveTo>
                <a:cubicBezTo>
                  <a:pt x="422" y="683"/>
                  <a:pt x="423" y="682"/>
                  <a:pt x="423" y="682"/>
                </a:cubicBezTo>
                <a:cubicBezTo>
                  <a:pt x="424" y="681"/>
                  <a:pt x="425" y="680"/>
                  <a:pt x="426" y="682"/>
                </a:cubicBezTo>
                <a:cubicBezTo>
                  <a:pt x="426" y="682"/>
                  <a:pt x="426" y="682"/>
                  <a:pt x="425" y="683"/>
                </a:cubicBezTo>
                <a:cubicBezTo>
                  <a:pt x="426" y="683"/>
                  <a:pt x="428" y="684"/>
                  <a:pt x="428" y="685"/>
                </a:cubicBezTo>
                <a:cubicBezTo>
                  <a:pt x="428" y="688"/>
                  <a:pt x="422" y="684"/>
                  <a:pt x="422" y="683"/>
                </a:cubicBezTo>
                <a:close/>
                <a:moveTo>
                  <a:pt x="427" y="688"/>
                </a:moveTo>
                <a:cubicBezTo>
                  <a:pt x="428" y="689"/>
                  <a:pt x="426" y="688"/>
                  <a:pt x="426" y="689"/>
                </a:cubicBezTo>
                <a:cubicBezTo>
                  <a:pt x="425" y="688"/>
                  <a:pt x="427" y="688"/>
                  <a:pt x="427" y="688"/>
                </a:cubicBezTo>
                <a:close/>
                <a:moveTo>
                  <a:pt x="427" y="696"/>
                </a:moveTo>
                <a:cubicBezTo>
                  <a:pt x="427" y="696"/>
                  <a:pt x="426" y="697"/>
                  <a:pt x="425" y="696"/>
                </a:cubicBezTo>
                <a:cubicBezTo>
                  <a:pt x="425" y="696"/>
                  <a:pt x="427" y="695"/>
                  <a:pt x="427" y="696"/>
                </a:cubicBezTo>
                <a:close/>
                <a:moveTo>
                  <a:pt x="427" y="699"/>
                </a:moveTo>
                <a:cubicBezTo>
                  <a:pt x="428" y="700"/>
                  <a:pt x="427" y="700"/>
                  <a:pt x="427" y="700"/>
                </a:cubicBezTo>
                <a:cubicBezTo>
                  <a:pt x="426" y="700"/>
                  <a:pt x="427" y="699"/>
                  <a:pt x="427" y="699"/>
                </a:cubicBezTo>
                <a:close/>
                <a:moveTo>
                  <a:pt x="426" y="706"/>
                </a:moveTo>
                <a:cubicBezTo>
                  <a:pt x="427" y="707"/>
                  <a:pt x="425" y="707"/>
                  <a:pt x="426" y="706"/>
                </a:cubicBezTo>
                <a:close/>
                <a:moveTo>
                  <a:pt x="427" y="706"/>
                </a:moveTo>
                <a:cubicBezTo>
                  <a:pt x="430" y="703"/>
                  <a:pt x="428" y="709"/>
                  <a:pt x="426" y="708"/>
                </a:cubicBezTo>
                <a:cubicBezTo>
                  <a:pt x="426" y="708"/>
                  <a:pt x="427" y="707"/>
                  <a:pt x="427" y="706"/>
                </a:cubicBezTo>
                <a:close/>
                <a:moveTo>
                  <a:pt x="427" y="695"/>
                </a:moveTo>
                <a:cubicBezTo>
                  <a:pt x="423" y="695"/>
                  <a:pt x="429" y="691"/>
                  <a:pt x="432" y="692"/>
                </a:cubicBezTo>
                <a:cubicBezTo>
                  <a:pt x="430" y="693"/>
                  <a:pt x="428" y="694"/>
                  <a:pt x="427" y="695"/>
                </a:cubicBezTo>
                <a:close/>
                <a:moveTo>
                  <a:pt x="432" y="754"/>
                </a:moveTo>
                <a:cubicBezTo>
                  <a:pt x="433" y="753"/>
                  <a:pt x="433" y="755"/>
                  <a:pt x="432" y="754"/>
                </a:cubicBezTo>
                <a:close/>
                <a:moveTo>
                  <a:pt x="432" y="720"/>
                </a:moveTo>
                <a:cubicBezTo>
                  <a:pt x="431" y="719"/>
                  <a:pt x="433" y="719"/>
                  <a:pt x="433" y="719"/>
                </a:cubicBezTo>
                <a:cubicBezTo>
                  <a:pt x="434" y="719"/>
                  <a:pt x="433" y="720"/>
                  <a:pt x="432" y="720"/>
                </a:cubicBezTo>
                <a:close/>
                <a:moveTo>
                  <a:pt x="438" y="712"/>
                </a:moveTo>
                <a:cubicBezTo>
                  <a:pt x="440" y="712"/>
                  <a:pt x="442" y="714"/>
                  <a:pt x="442" y="717"/>
                </a:cubicBezTo>
                <a:cubicBezTo>
                  <a:pt x="441" y="715"/>
                  <a:pt x="439" y="718"/>
                  <a:pt x="438" y="718"/>
                </a:cubicBezTo>
                <a:cubicBezTo>
                  <a:pt x="429" y="720"/>
                  <a:pt x="431" y="709"/>
                  <a:pt x="438" y="712"/>
                </a:cubicBezTo>
                <a:close/>
                <a:moveTo>
                  <a:pt x="441" y="738"/>
                </a:moveTo>
                <a:cubicBezTo>
                  <a:pt x="441" y="738"/>
                  <a:pt x="439" y="738"/>
                  <a:pt x="439" y="738"/>
                </a:cubicBezTo>
                <a:cubicBezTo>
                  <a:pt x="439" y="737"/>
                  <a:pt x="440" y="737"/>
                  <a:pt x="441" y="738"/>
                </a:cubicBezTo>
                <a:close/>
                <a:moveTo>
                  <a:pt x="438" y="721"/>
                </a:moveTo>
                <a:cubicBezTo>
                  <a:pt x="438" y="721"/>
                  <a:pt x="437" y="721"/>
                  <a:pt x="437" y="721"/>
                </a:cubicBezTo>
                <a:cubicBezTo>
                  <a:pt x="437" y="719"/>
                  <a:pt x="439" y="723"/>
                  <a:pt x="438" y="721"/>
                </a:cubicBezTo>
                <a:close/>
                <a:moveTo>
                  <a:pt x="437" y="722"/>
                </a:moveTo>
                <a:cubicBezTo>
                  <a:pt x="436" y="722"/>
                  <a:pt x="436" y="721"/>
                  <a:pt x="435" y="722"/>
                </a:cubicBezTo>
                <a:cubicBezTo>
                  <a:pt x="434" y="722"/>
                  <a:pt x="436" y="721"/>
                  <a:pt x="437" y="722"/>
                </a:cubicBezTo>
                <a:close/>
                <a:moveTo>
                  <a:pt x="440" y="706"/>
                </a:moveTo>
                <a:cubicBezTo>
                  <a:pt x="440" y="704"/>
                  <a:pt x="443" y="705"/>
                  <a:pt x="443" y="706"/>
                </a:cubicBezTo>
                <a:cubicBezTo>
                  <a:pt x="443" y="708"/>
                  <a:pt x="440" y="707"/>
                  <a:pt x="440" y="706"/>
                </a:cubicBezTo>
                <a:close/>
                <a:moveTo>
                  <a:pt x="443" y="713"/>
                </a:moveTo>
                <a:cubicBezTo>
                  <a:pt x="443" y="713"/>
                  <a:pt x="442" y="713"/>
                  <a:pt x="442" y="713"/>
                </a:cubicBezTo>
                <a:cubicBezTo>
                  <a:pt x="442" y="712"/>
                  <a:pt x="443" y="713"/>
                  <a:pt x="443" y="713"/>
                </a:cubicBezTo>
                <a:close/>
                <a:moveTo>
                  <a:pt x="449" y="658"/>
                </a:moveTo>
                <a:cubicBezTo>
                  <a:pt x="449" y="658"/>
                  <a:pt x="449" y="658"/>
                  <a:pt x="449" y="658"/>
                </a:cubicBezTo>
                <a:cubicBezTo>
                  <a:pt x="449" y="655"/>
                  <a:pt x="451" y="660"/>
                  <a:pt x="449" y="658"/>
                </a:cubicBezTo>
                <a:close/>
                <a:moveTo>
                  <a:pt x="446" y="653"/>
                </a:moveTo>
                <a:cubicBezTo>
                  <a:pt x="447" y="652"/>
                  <a:pt x="449" y="651"/>
                  <a:pt x="450" y="651"/>
                </a:cubicBezTo>
                <a:cubicBezTo>
                  <a:pt x="449" y="652"/>
                  <a:pt x="448" y="653"/>
                  <a:pt x="446" y="653"/>
                </a:cubicBezTo>
                <a:close/>
                <a:moveTo>
                  <a:pt x="449" y="647"/>
                </a:moveTo>
                <a:cubicBezTo>
                  <a:pt x="449" y="646"/>
                  <a:pt x="451" y="645"/>
                  <a:pt x="451" y="646"/>
                </a:cubicBezTo>
                <a:cubicBezTo>
                  <a:pt x="452" y="647"/>
                  <a:pt x="449" y="649"/>
                  <a:pt x="449" y="647"/>
                </a:cubicBezTo>
                <a:close/>
                <a:moveTo>
                  <a:pt x="451" y="217"/>
                </a:moveTo>
                <a:cubicBezTo>
                  <a:pt x="451" y="217"/>
                  <a:pt x="451" y="217"/>
                  <a:pt x="451" y="217"/>
                </a:cubicBezTo>
                <a:cubicBezTo>
                  <a:pt x="454" y="218"/>
                  <a:pt x="448" y="220"/>
                  <a:pt x="451" y="217"/>
                </a:cubicBezTo>
                <a:close/>
                <a:moveTo>
                  <a:pt x="449" y="184"/>
                </a:moveTo>
                <a:cubicBezTo>
                  <a:pt x="450" y="182"/>
                  <a:pt x="451" y="181"/>
                  <a:pt x="453" y="181"/>
                </a:cubicBezTo>
                <a:cubicBezTo>
                  <a:pt x="452" y="182"/>
                  <a:pt x="451" y="183"/>
                  <a:pt x="449" y="184"/>
                </a:cubicBezTo>
                <a:close/>
                <a:moveTo>
                  <a:pt x="459" y="243"/>
                </a:moveTo>
                <a:cubicBezTo>
                  <a:pt x="458" y="244"/>
                  <a:pt x="455" y="246"/>
                  <a:pt x="452" y="247"/>
                </a:cubicBezTo>
                <a:cubicBezTo>
                  <a:pt x="454" y="245"/>
                  <a:pt x="457" y="244"/>
                  <a:pt x="459" y="243"/>
                </a:cubicBezTo>
                <a:close/>
                <a:moveTo>
                  <a:pt x="456" y="185"/>
                </a:moveTo>
                <a:cubicBezTo>
                  <a:pt x="456" y="185"/>
                  <a:pt x="458" y="184"/>
                  <a:pt x="458" y="185"/>
                </a:cubicBezTo>
                <a:cubicBezTo>
                  <a:pt x="458" y="185"/>
                  <a:pt x="456" y="186"/>
                  <a:pt x="456" y="185"/>
                </a:cubicBezTo>
                <a:close/>
                <a:moveTo>
                  <a:pt x="457" y="243"/>
                </a:moveTo>
                <a:cubicBezTo>
                  <a:pt x="457" y="245"/>
                  <a:pt x="457" y="241"/>
                  <a:pt x="457" y="243"/>
                </a:cubicBezTo>
                <a:close/>
                <a:moveTo>
                  <a:pt x="458" y="185"/>
                </a:moveTo>
                <a:cubicBezTo>
                  <a:pt x="459" y="183"/>
                  <a:pt x="460" y="185"/>
                  <a:pt x="458" y="185"/>
                </a:cubicBezTo>
                <a:close/>
                <a:moveTo>
                  <a:pt x="460" y="254"/>
                </a:moveTo>
                <a:cubicBezTo>
                  <a:pt x="460" y="255"/>
                  <a:pt x="456" y="257"/>
                  <a:pt x="456" y="255"/>
                </a:cubicBezTo>
                <a:cubicBezTo>
                  <a:pt x="455" y="252"/>
                  <a:pt x="460" y="252"/>
                  <a:pt x="460" y="254"/>
                </a:cubicBezTo>
                <a:close/>
                <a:moveTo>
                  <a:pt x="460" y="156"/>
                </a:moveTo>
                <a:cubicBezTo>
                  <a:pt x="461" y="154"/>
                  <a:pt x="459" y="157"/>
                  <a:pt x="460" y="156"/>
                </a:cubicBezTo>
                <a:close/>
                <a:moveTo>
                  <a:pt x="461" y="243"/>
                </a:moveTo>
                <a:cubicBezTo>
                  <a:pt x="462" y="243"/>
                  <a:pt x="461" y="244"/>
                  <a:pt x="461" y="244"/>
                </a:cubicBezTo>
                <a:cubicBezTo>
                  <a:pt x="461" y="244"/>
                  <a:pt x="461" y="243"/>
                  <a:pt x="461" y="243"/>
                </a:cubicBezTo>
                <a:close/>
                <a:moveTo>
                  <a:pt x="461" y="144"/>
                </a:moveTo>
                <a:cubicBezTo>
                  <a:pt x="461" y="142"/>
                  <a:pt x="463" y="143"/>
                  <a:pt x="461" y="144"/>
                </a:cubicBezTo>
                <a:close/>
                <a:moveTo>
                  <a:pt x="460" y="266"/>
                </a:moveTo>
                <a:cubicBezTo>
                  <a:pt x="459" y="267"/>
                  <a:pt x="463" y="264"/>
                  <a:pt x="460" y="266"/>
                </a:cubicBezTo>
                <a:close/>
                <a:moveTo>
                  <a:pt x="458" y="550"/>
                </a:moveTo>
                <a:cubicBezTo>
                  <a:pt x="457" y="550"/>
                  <a:pt x="459" y="549"/>
                  <a:pt x="458" y="550"/>
                </a:cubicBezTo>
                <a:cubicBezTo>
                  <a:pt x="458" y="550"/>
                  <a:pt x="458" y="550"/>
                  <a:pt x="458" y="550"/>
                </a:cubicBezTo>
                <a:close/>
                <a:moveTo>
                  <a:pt x="459" y="569"/>
                </a:moveTo>
                <a:cubicBezTo>
                  <a:pt x="460" y="568"/>
                  <a:pt x="456" y="570"/>
                  <a:pt x="459" y="569"/>
                </a:cubicBezTo>
                <a:close/>
                <a:moveTo>
                  <a:pt x="461" y="580"/>
                </a:moveTo>
                <a:cubicBezTo>
                  <a:pt x="461" y="583"/>
                  <a:pt x="456" y="582"/>
                  <a:pt x="456" y="580"/>
                </a:cubicBezTo>
                <a:cubicBezTo>
                  <a:pt x="456" y="579"/>
                  <a:pt x="461" y="578"/>
                  <a:pt x="461" y="580"/>
                </a:cubicBezTo>
                <a:close/>
                <a:moveTo>
                  <a:pt x="462" y="589"/>
                </a:moveTo>
                <a:cubicBezTo>
                  <a:pt x="460" y="590"/>
                  <a:pt x="457" y="590"/>
                  <a:pt x="454" y="591"/>
                </a:cubicBezTo>
                <a:cubicBezTo>
                  <a:pt x="456" y="590"/>
                  <a:pt x="460" y="589"/>
                  <a:pt x="462" y="589"/>
                </a:cubicBezTo>
                <a:close/>
                <a:moveTo>
                  <a:pt x="457" y="591"/>
                </a:moveTo>
                <a:cubicBezTo>
                  <a:pt x="457" y="590"/>
                  <a:pt x="456" y="593"/>
                  <a:pt x="457" y="591"/>
                </a:cubicBezTo>
                <a:close/>
                <a:moveTo>
                  <a:pt x="460" y="671"/>
                </a:moveTo>
                <a:cubicBezTo>
                  <a:pt x="460" y="671"/>
                  <a:pt x="457" y="672"/>
                  <a:pt x="458" y="670"/>
                </a:cubicBezTo>
                <a:cubicBezTo>
                  <a:pt x="458" y="669"/>
                  <a:pt x="460" y="669"/>
                  <a:pt x="460" y="671"/>
                </a:cubicBezTo>
                <a:close/>
                <a:moveTo>
                  <a:pt x="460" y="662"/>
                </a:moveTo>
                <a:cubicBezTo>
                  <a:pt x="460" y="663"/>
                  <a:pt x="459" y="663"/>
                  <a:pt x="459" y="663"/>
                </a:cubicBezTo>
                <a:cubicBezTo>
                  <a:pt x="458" y="662"/>
                  <a:pt x="460" y="662"/>
                  <a:pt x="460" y="662"/>
                </a:cubicBezTo>
                <a:close/>
                <a:moveTo>
                  <a:pt x="467" y="612"/>
                </a:moveTo>
                <a:cubicBezTo>
                  <a:pt x="467" y="613"/>
                  <a:pt x="465" y="613"/>
                  <a:pt x="465" y="613"/>
                </a:cubicBezTo>
                <a:cubicBezTo>
                  <a:pt x="464" y="612"/>
                  <a:pt x="467" y="612"/>
                  <a:pt x="467" y="612"/>
                </a:cubicBezTo>
                <a:close/>
                <a:moveTo>
                  <a:pt x="466" y="284"/>
                </a:moveTo>
                <a:cubicBezTo>
                  <a:pt x="466" y="284"/>
                  <a:pt x="466" y="283"/>
                  <a:pt x="466" y="283"/>
                </a:cubicBezTo>
                <a:cubicBezTo>
                  <a:pt x="467" y="284"/>
                  <a:pt x="466" y="285"/>
                  <a:pt x="466" y="284"/>
                </a:cubicBezTo>
                <a:close/>
                <a:moveTo>
                  <a:pt x="474" y="600"/>
                </a:moveTo>
                <a:cubicBezTo>
                  <a:pt x="474" y="599"/>
                  <a:pt x="476" y="598"/>
                  <a:pt x="476" y="598"/>
                </a:cubicBezTo>
                <a:cubicBezTo>
                  <a:pt x="476" y="599"/>
                  <a:pt x="475" y="600"/>
                  <a:pt x="474" y="600"/>
                </a:cubicBezTo>
                <a:close/>
                <a:moveTo>
                  <a:pt x="475" y="266"/>
                </a:moveTo>
                <a:cubicBezTo>
                  <a:pt x="475" y="266"/>
                  <a:pt x="474" y="266"/>
                  <a:pt x="474" y="266"/>
                </a:cubicBezTo>
                <a:cubicBezTo>
                  <a:pt x="475" y="266"/>
                  <a:pt x="475" y="265"/>
                  <a:pt x="475" y="265"/>
                </a:cubicBezTo>
                <a:cubicBezTo>
                  <a:pt x="475" y="265"/>
                  <a:pt x="475" y="265"/>
                  <a:pt x="475" y="266"/>
                </a:cubicBezTo>
                <a:close/>
                <a:moveTo>
                  <a:pt x="466" y="190"/>
                </a:moveTo>
                <a:cubicBezTo>
                  <a:pt x="469" y="188"/>
                  <a:pt x="468" y="194"/>
                  <a:pt x="466" y="192"/>
                </a:cubicBezTo>
                <a:cubicBezTo>
                  <a:pt x="465" y="192"/>
                  <a:pt x="466" y="191"/>
                  <a:pt x="466" y="190"/>
                </a:cubicBezTo>
                <a:close/>
                <a:moveTo>
                  <a:pt x="469" y="188"/>
                </a:moveTo>
                <a:cubicBezTo>
                  <a:pt x="468" y="187"/>
                  <a:pt x="470" y="187"/>
                  <a:pt x="470" y="188"/>
                </a:cubicBezTo>
                <a:cubicBezTo>
                  <a:pt x="471" y="188"/>
                  <a:pt x="469" y="189"/>
                  <a:pt x="469" y="188"/>
                </a:cubicBezTo>
                <a:close/>
                <a:moveTo>
                  <a:pt x="469" y="195"/>
                </a:moveTo>
                <a:cubicBezTo>
                  <a:pt x="468" y="196"/>
                  <a:pt x="467" y="197"/>
                  <a:pt x="466" y="197"/>
                </a:cubicBezTo>
                <a:cubicBezTo>
                  <a:pt x="467" y="196"/>
                  <a:pt x="468" y="195"/>
                  <a:pt x="469" y="195"/>
                </a:cubicBezTo>
                <a:close/>
                <a:moveTo>
                  <a:pt x="463" y="182"/>
                </a:moveTo>
                <a:cubicBezTo>
                  <a:pt x="462" y="180"/>
                  <a:pt x="468" y="178"/>
                  <a:pt x="469" y="181"/>
                </a:cubicBezTo>
                <a:cubicBezTo>
                  <a:pt x="469" y="184"/>
                  <a:pt x="463" y="184"/>
                  <a:pt x="463" y="182"/>
                </a:cubicBezTo>
                <a:close/>
                <a:moveTo>
                  <a:pt x="466" y="174"/>
                </a:moveTo>
                <a:cubicBezTo>
                  <a:pt x="466" y="174"/>
                  <a:pt x="468" y="173"/>
                  <a:pt x="468" y="174"/>
                </a:cubicBezTo>
                <a:cubicBezTo>
                  <a:pt x="469" y="174"/>
                  <a:pt x="466" y="175"/>
                  <a:pt x="466" y="174"/>
                </a:cubicBezTo>
                <a:close/>
                <a:moveTo>
                  <a:pt x="462" y="142"/>
                </a:moveTo>
                <a:cubicBezTo>
                  <a:pt x="462" y="141"/>
                  <a:pt x="464" y="141"/>
                  <a:pt x="464" y="141"/>
                </a:cubicBezTo>
                <a:cubicBezTo>
                  <a:pt x="464" y="141"/>
                  <a:pt x="463" y="142"/>
                  <a:pt x="462" y="142"/>
                </a:cubicBezTo>
                <a:close/>
                <a:moveTo>
                  <a:pt x="459" y="145"/>
                </a:moveTo>
                <a:cubicBezTo>
                  <a:pt x="459" y="145"/>
                  <a:pt x="460" y="145"/>
                  <a:pt x="460" y="145"/>
                </a:cubicBezTo>
                <a:cubicBezTo>
                  <a:pt x="460" y="145"/>
                  <a:pt x="459" y="146"/>
                  <a:pt x="459" y="145"/>
                </a:cubicBezTo>
                <a:close/>
                <a:moveTo>
                  <a:pt x="458" y="124"/>
                </a:moveTo>
                <a:cubicBezTo>
                  <a:pt x="456" y="128"/>
                  <a:pt x="457" y="122"/>
                  <a:pt x="459" y="122"/>
                </a:cubicBezTo>
                <a:cubicBezTo>
                  <a:pt x="459" y="123"/>
                  <a:pt x="459" y="124"/>
                  <a:pt x="458" y="124"/>
                </a:cubicBezTo>
                <a:close/>
                <a:moveTo>
                  <a:pt x="461" y="153"/>
                </a:moveTo>
                <a:cubicBezTo>
                  <a:pt x="461" y="154"/>
                  <a:pt x="457" y="155"/>
                  <a:pt x="457" y="154"/>
                </a:cubicBezTo>
                <a:cubicBezTo>
                  <a:pt x="456" y="153"/>
                  <a:pt x="460" y="151"/>
                  <a:pt x="461" y="153"/>
                </a:cubicBezTo>
                <a:close/>
                <a:moveTo>
                  <a:pt x="449" y="133"/>
                </a:moveTo>
                <a:cubicBezTo>
                  <a:pt x="448" y="132"/>
                  <a:pt x="450" y="133"/>
                  <a:pt x="450" y="133"/>
                </a:cubicBezTo>
                <a:cubicBezTo>
                  <a:pt x="451" y="133"/>
                  <a:pt x="449" y="133"/>
                  <a:pt x="449" y="133"/>
                </a:cubicBezTo>
                <a:close/>
                <a:moveTo>
                  <a:pt x="434" y="47"/>
                </a:moveTo>
                <a:cubicBezTo>
                  <a:pt x="435" y="47"/>
                  <a:pt x="436" y="47"/>
                  <a:pt x="436" y="47"/>
                </a:cubicBezTo>
                <a:cubicBezTo>
                  <a:pt x="436" y="47"/>
                  <a:pt x="435" y="48"/>
                  <a:pt x="434" y="47"/>
                </a:cubicBezTo>
                <a:close/>
                <a:moveTo>
                  <a:pt x="433" y="61"/>
                </a:moveTo>
                <a:cubicBezTo>
                  <a:pt x="434" y="60"/>
                  <a:pt x="435" y="62"/>
                  <a:pt x="433" y="61"/>
                </a:cubicBezTo>
                <a:close/>
                <a:moveTo>
                  <a:pt x="432" y="54"/>
                </a:moveTo>
                <a:cubicBezTo>
                  <a:pt x="432" y="53"/>
                  <a:pt x="433" y="53"/>
                  <a:pt x="433" y="53"/>
                </a:cubicBezTo>
                <a:cubicBezTo>
                  <a:pt x="434" y="54"/>
                  <a:pt x="432" y="54"/>
                  <a:pt x="432" y="54"/>
                </a:cubicBezTo>
                <a:close/>
                <a:moveTo>
                  <a:pt x="432" y="47"/>
                </a:moveTo>
                <a:cubicBezTo>
                  <a:pt x="431" y="47"/>
                  <a:pt x="432" y="46"/>
                  <a:pt x="432" y="46"/>
                </a:cubicBezTo>
                <a:cubicBezTo>
                  <a:pt x="433" y="47"/>
                  <a:pt x="432" y="47"/>
                  <a:pt x="432" y="47"/>
                </a:cubicBezTo>
                <a:close/>
                <a:moveTo>
                  <a:pt x="435" y="69"/>
                </a:moveTo>
                <a:cubicBezTo>
                  <a:pt x="435" y="72"/>
                  <a:pt x="431" y="71"/>
                  <a:pt x="431" y="69"/>
                </a:cubicBezTo>
                <a:cubicBezTo>
                  <a:pt x="431" y="67"/>
                  <a:pt x="435" y="66"/>
                  <a:pt x="435" y="69"/>
                </a:cubicBezTo>
                <a:close/>
                <a:moveTo>
                  <a:pt x="426" y="60"/>
                </a:moveTo>
                <a:cubicBezTo>
                  <a:pt x="425" y="58"/>
                  <a:pt x="430" y="57"/>
                  <a:pt x="431" y="59"/>
                </a:cubicBezTo>
                <a:cubicBezTo>
                  <a:pt x="432" y="62"/>
                  <a:pt x="427" y="61"/>
                  <a:pt x="426" y="60"/>
                </a:cubicBezTo>
                <a:close/>
                <a:moveTo>
                  <a:pt x="426" y="47"/>
                </a:moveTo>
                <a:cubicBezTo>
                  <a:pt x="426" y="47"/>
                  <a:pt x="426" y="47"/>
                  <a:pt x="426" y="47"/>
                </a:cubicBezTo>
                <a:cubicBezTo>
                  <a:pt x="427" y="48"/>
                  <a:pt x="424" y="45"/>
                  <a:pt x="426" y="47"/>
                </a:cubicBezTo>
                <a:close/>
                <a:moveTo>
                  <a:pt x="426" y="48"/>
                </a:moveTo>
                <a:cubicBezTo>
                  <a:pt x="426" y="50"/>
                  <a:pt x="424" y="49"/>
                  <a:pt x="424" y="49"/>
                </a:cubicBezTo>
                <a:cubicBezTo>
                  <a:pt x="424" y="48"/>
                  <a:pt x="425" y="48"/>
                  <a:pt x="426" y="48"/>
                </a:cubicBezTo>
                <a:close/>
                <a:moveTo>
                  <a:pt x="428" y="81"/>
                </a:moveTo>
                <a:cubicBezTo>
                  <a:pt x="426" y="82"/>
                  <a:pt x="425" y="83"/>
                  <a:pt x="423" y="83"/>
                </a:cubicBezTo>
                <a:cubicBezTo>
                  <a:pt x="424" y="83"/>
                  <a:pt x="426" y="81"/>
                  <a:pt x="428" y="81"/>
                </a:cubicBezTo>
                <a:close/>
                <a:moveTo>
                  <a:pt x="425" y="98"/>
                </a:moveTo>
                <a:cubicBezTo>
                  <a:pt x="424" y="101"/>
                  <a:pt x="421" y="99"/>
                  <a:pt x="425" y="98"/>
                </a:cubicBezTo>
                <a:close/>
                <a:moveTo>
                  <a:pt x="424" y="146"/>
                </a:moveTo>
                <a:cubicBezTo>
                  <a:pt x="424" y="148"/>
                  <a:pt x="422" y="148"/>
                  <a:pt x="421" y="149"/>
                </a:cubicBezTo>
                <a:cubicBezTo>
                  <a:pt x="421" y="147"/>
                  <a:pt x="423" y="147"/>
                  <a:pt x="424" y="146"/>
                </a:cubicBezTo>
                <a:close/>
                <a:moveTo>
                  <a:pt x="418" y="110"/>
                </a:moveTo>
                <a:cubicBezTo>
                  <a:pt x="419" y="110"/>
                  <a:pt x="420" y="109"/>
                  <a:pt x="422" y="109"/>
                </a:cubicBezTo>
                <a:cubicBezTo>
                  <a:pt x="421" y="110"/>
                  <a:pt x="419" y="111"/>
                  <a:pt x="418" y="110"/>
                </a:cubicBezTo>
                <a:close/>
                <a:moveTo>
                  <a:pt x="418" y="108"/>
                </a:moveTo>
                <a:cubicBezTo>
                  <a:pt x="419" y="106"/>
                  <a:pt x="420" y="106"/>
                  <a:pt x="421" y="106"/>
                </a:cubicBezTo>
                <a:cubicBezTo>
                  <a:pt x="421" y="107"/>
                  <a:pt x="419" y="108"/>
                  <a:pt x="418" y="108"/>
                </a:cubicBezTo>
                <a:close/>
                <a:moveTo>
                  <a:pt x="420" y="89"/>
                </a:moveTo>
                <a:cubicBezTo>
                  <a:pt x="420" y="89"/>
                  <a:pt x="420" y="89"/>
                  <a:pt x="420" y="89"/>
                </a:cubicBezTo>
                <a:cubicBezTo>
                  <a:pt x="420" y="89"/>
                  <a:pt x="420" y="89"/>
                  <a:pt x="420" y="89"/>
                </a:cubicBezTo>
                <a:cubicBezTo>
                  <a:pt x="420" y="89"/>
                  <a:pt x="420" y="89"/>
                  <a:pt x="420" y="89"/>
                </a:cubicBezTo>
                <a:close/>
                <a:moveTo>
                  <a:pt x="421" y="89"/>
                </a:moveTo>
                <a:cubicBezTo>
                  <a:pt x="421" y="89"/>
                  <a:pt x="421" y="88"/>
                  <a:pt x="421" y="89"/>
                </a:cubicBezTo>
                <a:close/>
                <a:moveTo>
                  <a:pt x="418" y="85"/>
                </a:moveTo>
                <a:cubicBezTo>
                  <a:pt x="418" y="84"/>
                  <a:pt x="420" y="84"/>
                  <a:pt x="421" y="84"/>
                </a:cubicBezTo>
                <a:cubicBezTo>
                  <a:pt x="421" y="85"/>
                  <a:pt x="418" y="86"/>
                  <a:pt x="418" y="85"/>
                </a:cubicBezTo>
                <a:close/>
                <a:moveTo>
                  <a:pt x="416" y="78"/>
                </a:moveTo>
                <a:cubicBezTo>
                  <a:pt x="416" y="78"/>
                  <a:pt x="418" y="77"/>
                  <a:pt x="419" y="78"/>
                </a:cubicBezTo>
                <a:cubicBezTo>
                  <a:pt x="420" y="80"/>
                  <a:pt x="416" y="80"/>
                  <a:pt x="416" y="78"/>
                </a:cubicBezTo>
                <a:close/>
                <a:moveTo>
                  <a:pt x="420" y="96"/>
                </a:moveTo>
                <a:cubicBezTo>
                  <a:pt x="420" y="98"/>
                  <a:pt x="417" y="99"/>
                  <a:pt x="415" y="98"/>
                </a:cubicBezTo>
                <a:cubicBezTo>
                  <a:pt x="411" y="95"/>
                  <a:pt x="420" y="92"/>
                  <a:pt x="420" y="96"/>
                </a:cubicBezTo>
                <a:close/>
                <a:moveTo>
                  <a:pt x="415" y="101"/>
                </a:moveTo>
                <a:cubicBezTo>
                  <a:pt x="417" y="103"/>
                  <a:pt x="410" y="105"/>
                  <a:pt x="413" y="102"/>
                </a:cubicBezTo>
                <a:cubicBezTo>
                  <a:pt x="413" y="101"/>
                  <a:pt x="414" y="101"/>
                  <a:pt x="415" y="101"/>
                </a:cubicBezTo>
                <a:close/>
                <a:moveTo>
                  <a:pt x="414" y="157"/>
                </a:moveTo>
                <a:cubicBezTo>
                  <a:pt x="414" y="158"/>
                  <a:pt x="412" y="159"/>
                  <a:pt x="410" y="159"/>
                </a:cubicBezTo>
                <a:cubicBezTo>
                  <a:pt x="411" y="158"/>
                  <a:pt x="413" y="158"/>
                  <a:pt x="414" y="157"/>
                </a:cubicBezTo>
                <a:close/>
                <a:moveTo>
                  <a:pt x="413" y="544"/>
                </a:moveTo>
                <a:cubicBezTo>
                  <a:pt x="412" y="547"/>
                  <a:pt x="410" y="546"/>
                  <a:pt x="413" y="544"/>
                </a:cubicBezTo>
                <a:close/>
                <a:moveTo>
                  <a:pt x="411" y="281"/>
                </a:moveTo>
                <a:cubicBezTo>
                  <a:pt x="413" y="282"/>
                  <a:pt x="410" y="282"/>
                  <a:pt x="411" y="281"/>
                </a:cubicBezTo>
                <a:close/>
                <a:moveTo>
                  <a:pt x="417" y="620"/>
                </a:moveTo>
                <a:cubicBezTo>
                  <a:pt x="418" y="619"/>
                  <a:pt x="419" y="618"/>
                  <a:pt x="420" y="619"/>
                </a:cubicBezTo>
                <a:cubicBezTo>
                  <a:pt x="420" y="620"/>
                  <a:pt x="420" y="620"/>
                  <a:pt x="420" y="620"/>
                </a:cubicBezTo>
                <a:cubicBezTo>
                  <a:pt x="420" y="620"/>
                  <a:pt x="420" y="620"/>
                  <a:pt x="420" y="620"/>
                </a:cubicBezTo>
                <a:cubicBezTo>
                  <a:pt x="421" y="620"/>
                  <a:pt x="420" y="621"/>
                  <a:pt x="420" y="621"/>
                </a:cubicBezTo>
                <a:cubicBezTo>
                  <a:pt x="418" y="622"/>
                  <a:pt x="418" y="621"/>
                  <a:pt x="418" y="620"/>
                </a:cubicBezTo>
                <a:cubicBezTo>
                  <a:pt x="417" y="620"/>
                  <a:pt x="416" y="620"/>
                  <a:pt x="416" y="620"/>
                </a:cubicBezTo>
                <a:cubicBezTo>
                  <a:pt x="415" y="621"/>
                  <a:pt x="408" y="625"/>
                  <a:pt x="407" y="624"/>
                </a:cubicBezTo>
                <a:cubicBezTo>
                  <a:pt x="406" y="622"/>
                  <a:pt x="416" y="620"/>
                  <a:pt x="417" y="620"/>
                </a:cubicBezTo>
                <a:close/>
                <a:moveTo>
                  <a:pt x="408" y="668"/>
                </a:moveTo>
                <a:cubicBezTo>
                  <a:pt x="408" y="669"/>
                  <a:pt x="410" y="667"/>
                  <a:pt x="410" y="668"/>
                </a:cubicBezTo>
                <a:cubicBezTo>
                  <a:pt x="410" y="669"/>
                  <a:pt x="408" y="670"/>
                  <a:pt x="408" y="668"/>
                </a:cubicBezTo>
                <a:close/>
                <a:moveTo>
                  <a:pt x="409" y="676"/>
                </a:moveTo>
                <a:cubicBezTo>
                  <a:pt x="409" y="676"/>
                  <a:pt x="409" y="677"/>
                  <a:pt x="408" y="676"/>
                </a:cubicBezTo>
                <a:cubicBezTo>
                  <a:pt x="407" y="676"/>
                  <a:pt x="410" y="675"/>
                  <a:pt x="409" y="676"/>
                </a:cubicBezTo>
                <a:close/>
                <a:moveTo>
                  <a:pt x="400" y="518"/>
                </a:moveTo>
                <a:cubicBezTo>
                  <a:pt x="397" y="519"/>
                  <a:pt x="400" y="515"/>
                  <a:pt x="401" y="517"/>
                </a:cubicBezTo>
                <a:cubicBezTo>
                  <a:pt x="401" y="518"/>
                  <a:pt x="401" y="518"/>
                  <a:pt x="400" y="518"/>
                </a:cubicBezTo>
                <a:close/>
                <a:moveTo>
                  <a:pt x="400" y="648"/>
                </a:moveTo>
                <a:cubicBezTo>
                  <a:pt x="400" y="647"/>
                  <a:pt x="400" y="647"/>
                  <a:pt x="400" y="647"/>
                </a:cubicBezTo>
                <a:cubicBezTo>
                  <a:pt x="400" y="647"/>
                  <a:pt x="400" y="647"/>
                  <a:pt x="400" y="647"/>
                </a:cubicBezTo>
                <a:cubicBezTo>
                  <a:pt x="400" y="647"/>
                  <a:pt x="400" y="647"/>
                  <a:pt x="400" y="648"/>
                </a:cubicBezTo>
                <a:close/>
                <a:moveTo>
                  <a:pt x="392" y="551"/>
                </a:moveTo>
                <a:cubicBezTo>
                  <a:pt x="393" y="549"/>
                  <a:pt x="397" y="551"/>
                  <a:pt x="396" y="553"/>
                </a:cubicBezTo>
                <a:cubicBezTo>
                  <a:pt x="395" y="555"/>
                  <a:pt x="390" y="554"/>
                  <a:pt x="392" y="551"/>
                </a:cubicBezTo>
                <a:close/>
                <a:moveTo>
                  <a:pt x="393" y="587"/>
                </a:moveTo>
                <a:cubicBezTo>
                  <a:pt x="390" y="588"/>
                  <a:pt x="394" y="586"/>
                  <a:pt x="393" y="587"/>
                </a:cubicBezTo>
                <a:close/>
                <a:moveTo>
                  <a:pt x="394" y="493"/>
                </a:moveTo>
                <a:cubicBezTo>
                  <a:pt x="394" y="493"/>
                  <a:pt x="393" y="494"/>
                  <a:pt x="393" y="493"/>
                </a:cubicBezTo>
                <a:cubicBezTo>
                  <a:pt x="391" y="492"/>
                  <a:pt x="396" y="491"/>
                  <a:pt x="394" y="493"/>
                </a:cubicBezTo>
                <a:close/>
                <a:moveTo>
                  <a:pt x="394" y="530"/>
                </a:moveTo>
                <a:cubicBezTo>
                  <a:pt x="394" y="530"/>
                  <a:pt x="394" y="531"/>
                  <a:pt x="394" y="530"/>
                </a:cubicBezTo>
                <a:cubicBezTo>
                  <a:pt x="393" y="530"/>
                  <a:pt x="395" y="529"/>
                  <a:pt x="394" y="530"/>
                </a:cubicBezTo>
                <a:close/>
                <a:moveTo>
                  <a:pt x="397" y="543"/>
                </a:moveTo>
                <a:cubicBezTo>
                  <a:pt x="397" y="543"/>
                  <a:pt x="396" y="544"/>
                  <a:pt x="396" y="543"/>
                </a:cubicBezTo>
                <a:cubicBezTo>
                  <a:pt x="395" y="543"/>
                  <a:pt x="398" y="542"/>
                  <a:pt x="397" y="543"/>
                </a:cubicBezTo>
                <a:close/>
                <a:moveTo>
                  <a:pt x="396" y="585"/>
                </a:moveTo>
                <a:cubicBezTo>
                  <a:pt x="396" y="586"/>
                  <a:pt x="396" y="586"/>
                  <a:pt x="396" y="586"/>
                </a:cubicBezTo>
                <a:cubicBezTo>
                  <a:pt x="394" y="587"/>
                  <a:pt x="396" y="586"/>
                  <a:pt x="396" y="585"/>
                </a:cubicBezTo>
                <a:close/>
                <a:moveTo>
                  <a:pt x="396" y="601"/>
                </a:moveTo>
                <a:cubicBezTo>
                  <a:pt x="397" y="601"/>
                  <a:pt x="396" y="602"/>
                  <a:pt x="395" y="603"/>
                </a:cubicBezTo>
                <a:cubicBezTo>
                  <a:pt x="395" y="602"/>
                  <a:pt x="396" y="601"/>
                  <a:pt x="396" y="601"/>
                </a:cubicBezTo>
                <a:close/>
                <a:moveTo>
                  <a:pt x="399" y="645"/>
                </a:moveTo>
                <a:cubicBezTo>
                  <a:pt x="399" y="646"/>
                  <a:pt x="396" y="647"/>
                  <a:pt x="397" y="645"/>
                </a:cubicBezTo>
                <a:cubicBezTo>
                  <a:pt x="397" y="643"/>
                  <a:pt x="399" y="644"/>
                  <a:pt x="399" y="645"/>
                </a:cubicBezTo>
                <a:close/>
                <a:moveTo>
                  <a:pt x="398" y="622"/>
                </a:moveTo>
                <a:cubicBezTo>
                  <a:pt x="395" y="624"/>
                  <a:pt x="397" y="618"/>
                  <a:pt x="399" y="619"/>
                </a:cubicBezTo>
                <a:cubicBezTo>
                  <a:pt x="401" y="620"/>
                  <a:pt x="399" y="622"/>
                  <a:pt x="398" y="622"/>
                </a:cubicBezTo>
                <a:close/>
                <a:moveTo>
                  <a:pt x="397" y="513"/>
                </a:moveTo>
                <a:cubicBezTo>
                  <a:pt x="397" y="513"/>
                  <a:pt x="399" y="513"/>
                  <a:pt x="399" y="513"/>
                </a:cubicBezTo>
                <a:cubicBezTo>
                  <a:pt x="399" y="514"/>
                  <a:pt x="397" y="514"/>
                  <a:pt x="397" y="513"/>
                </a:cubicBezTo>
                <a:close/>
                <a:moveTo>
                  <a:pt x="397" y="606"/>
                </a:moveTo>
                <a:cubicBezTo>
                  <a:pt x="397" y="605"/>
                  <a:pt x="397" y="605"/>
                  <a:pt x="398" y="605"/>
                </a:cubicBezTo>
                <a:cubicBezTo>
                  <a:pt x="399" y="605"/>
                  <a:pt x="398" y="607"/>
                  <a:pt x="397" y="606"/>
                </a:cubicBezTo>
                <a:close/>
                <a:moveTo>
                  <a:pt x="397" y="461"/>
                </a:moveTo>
                <a:cubicBezTo>
                  <a:pt x="398" y="459"/>
                  <a:pt x="400" y="459"/>
                  <a:pt x="402" y="458"/>
                </a:cubicBezTo>
                <a:cubicBezTo>
                  <a:pt x="401" y="460"/>
                  <a:pt x="399" y="460"/>
                  <a:pt x="397" y="461"/>
                </a:cubicBezTo>
                <a:close/>
                <a:moveTo>
                  <a:pt x="401" y="364"/>
                </a:moveTo>
                <a:cubicBezTo>
                  <a:pt x="399" y="366"/>
                  <a:pt x="401" y="361"/>
                  <a:pt x="402" y="362"/>
                </a:cubicBezTo>
                <a:cubicBezTo>
                  <a:pt x="403" y="362"/>
                  <a:pt x="401" y="364"/>
                  <a:pt x="401" y="364"/>
                </a:cubicBezTo>
                <a:close/>
                <a:moveTo>
                  <a:pt x="400" y="245"/>
                </a:moveTo>
                <a:cubicBezTo>
                  <a:pt x="401" y="244"/>
                  <a:pt x="399" y="246"/>
                  <a:pt x="400" y="245"/>
                </a:cubicBezTo>
                <a:close/>
                <a:moveTo>
                  <a:pt x="402" y="477"/>
                </a:moveTo>
                <a:cubicBezTo>
                  <a:pt x="401" y="478"/>
                  <a:pt x="403" y="476"/>
                  <a:pt x="402" y="477"/>
                </a:cubicBezTo>
                <a:close/>
                <a:moveTo>
                  <a:pt x="402" y="458"/>
                </a:moveTo>
                <a:cubicBezTo>
                  <a:pt x="401" y="457"/>
                  <a:pt x="406" y="457"/>
                  <a:pt x="404" y="458"/>
                </a:cubicBezTo>
                <a:cubicBezTo>
                  <a:pt x="403" y="458"/>
                  <a:pt x="403" y="459"/>
                  <a:pt x="402" y="458"/>
                </a:cubicBezTo>
                <a:close/>
                <a:moveTo>
                  <a:pt x="406" y="578"/>
                </a:moveTo>
                <a:cubicBezTo>
                  <a:pt x="406" y="578"/>
                  <a:pt x="408" y="577"/>
                  <a:pt x="409" y="578"/>
                </a:cubicBezTo>
                <a:cubicBezTo>
                  <a:pt x="409" y="579"/>
                  <a:pt x="406" y="580"/>
                  <a:pt x="406" y="578"/>
                </a:cubicBezTo>
                <a:close/>
                <a:moveTo>
                  <a:pt x="409" y="606"/>
                </a:moveTo>
                <a:cubicBezTo>
                  <a:pt x="408" y="607"/>
                  <a:pt x="407" y="606"/>
                  <a:pt x="409" y="606"/>
                </a:cubicBezTo>
                <a:close/>
                <a:moveTo>
                  <a:pt x="408" y="313"/>
                </a:moveTo>
                <a:cubicBezTo>
                  <a:pt x="407" y="314"/>
                  <a:pt x="409" y="312"/>
                  <a:pt x="408" y="313"/>
                </a:cubicBezTo>
                <a:close/>
                <a:moveTo>
                  <a:pt x="407" y="275"/>
                </a:moveTo>
                <a:cubicBezTo>
                  <a:pt x="407" y="273"/>
                  <a:pt x="410" y="273"/>
                  <a:pt x="407" y="275"/>
                </a:cubicBezTo>
                <a:close/>
                <a:moveTo>
                  <a:pt x="408" y="442"/>
                </a:moveTo>
                <a:cubicBezTo>
                  <a:pt x="408" y="443"/>
                  <a:pt x="407" y="443"/>
                  <a:pt x="406" y="443"/>
                </a:cubicBezTo>
                <a:cubicBezTo>
                  <a:pt x="406" y="443"/>
                  <a:pt x="407" y="442"/>
                  <a:pt x="408" y="442"/>
                </a:cubicBezTo>
                <a:close/>
                <a:moveTo>
                  <a:pt x="406" y="543"/>
                </a:moveTo>
                <a:cubicBezTo>
                  <a:pt x="406" y="544"/>
                  <a:pt x="405" y="543"/>
                  <a:pt x="405" y="543"/>
                </a:cubicBezTo>
                <a:cubicBezTo>
                  <a:pt x="406" y="542"/>
                  <a:pt x="406" y="543"/>
                  <a:pt x="406" y="543"/>
                </a:cubicBezTo>
                <a:close/>
                <a:moveTo>
                  <a:pt x="405" y="445"/>
                </a:moveTo>
                <a:cubicBezTo>
                  <a:pt x="404" y="444"/>
                  <a:pt x="406" y="443"/>
                  <a:pt x="405" y="445"/>
                </a:cubicBezTo>
                <a:close/>
                <a:moveTo>
                  <a:pt x="404" y="396"/>
                </a:moveTo>
                <a:cubicBezTo>
                  <a:pt x="404" y="395"/>
                  <a:pt x="405" y="395"/>
                  <a:pt x="406" y="395"/>
                </a:cubicBezTo>
                <a:cubicBezTo>
                  <a:pt x="405" y="395"/>
                  <a:pt x="405" y="396"/>
                  <a:pt x="404" y="396"/>
                </a:cubicBezTo>
                <a:close/>
                <a:moveTo>
                  <a:pt x="403" y="318"/>
                </a:moveTo>
                <a:cubicBezTo>
                  <a:pt x="403" y="317"/>
                  <a:pt x="404" y="317"/>
                  <a:pt x="404" y="316"/>
                </a:cubicBezTo>
                <a:cubicBezTo>
                  <a:pt x="405" y="316"/>
                  <a:pt x="403" y="318"/>
                  <a:pt x="403" y="318"/>
                </a:cubicBezTo>
                <a:close/>
                <a:moveTo>
                  <a:pt x="404" y="524"/>
                </a:moveTo>
                <a:cubicBezTo>
                  <a:pt x="404" y="524"/>
                  <a:pt x="404" y="523"/>
                  <a:pt x="404" y="523"/>
                </a:cubicBezTo>
                <a:cubicBezTo>
                  <a:pt x="404" y="521"/>
                  <a:pt x="406" y="524"/>
                  <a:pt x="404" y="524"/>
                </a:cubicBezTo>
                <a:close/>
                <a:moveTo>
                  <a:pt x="405" y="525"/>
                </a:moveTo>
                <a:cubicBezTo>
                  <a:pt x="405" y="525"/>
                  <a:pt x="405" y="525"/>
                  <a:pt x="405" y="525"/>
                </a:cubicBezTo>
                <a:cubicBezTo>
                  <a:pt x="405" y="525"/>
                  <a:pt x="405" y="525"/>
                  <a:pt x="405" y="525"/>
                </a:cubicBezTo>
                <a:close/>
                <a:moveTo>
                  <a:pt x="404" y="655"/>
                </a:moveTo>
                <a:cubicBezTo>
                  <a:pt x="405" y="653"/>
                  <a:pt x="407" y="655"/>
                  <a:pt x="404" y="655"/>
                </a:cubicBezTo>
                <a:close/>
                <a:moveTo>
                  <a:pt x="407" y="684"/>
                </a:moveTo>
                <a:cubicBezTo>
                  <a:pt x="407" y="684"/>
                  <a:pt x="405" y="685"/>
                  <a:pt x="405" y="683"/>
                </a:cubicBezTo>
                <a:cubicBezTo>
                  <a:pt x="405" y="683"/>
                  <a:pt x="407" y="683"/>
                  <a:pt x="407" y="684"/>
                </a:cubicBezTo>
                <a:close/>
                <a:moveTo>
                  <a:pt x="409" y="608"/>
                </a:moveTo>
                <a:cubicBezTo>
                  <a:pt x="410" y="608"/>
                  <a:pt x="408" y="610"/>
                  <a:pt x="407" y="609"/>
                </a:cubicBezTo>
                <a:cubicBezTo>
                  <a:pt x="407" y="609"/>
                  <a:pt x="409" y="608"/>
                  <a:pt x="409" y="608"/>
                </a:cubicBezTo>
                <a:close/>
                <a:moveTo>
                  <a:pt x="410" y="568"/>
                </a:moveTo>
                <a:cubicBezTo>
                  <a:pt x="410" y="568"/>
                  <a:pt x="409" y="568"/>
                  <a:pt x="409" y="568"/>
                </a:cubicBezTo>
                <a:cubicBezTo>
                  <a:pt x="408" y="567"/>
                  <a:pt x="411" y="566"/>
                  <a:pt x="410" y="568"/>
                </a:cubicBezTo>
                <a:close/>
                <a:moveTo>
                  <a:pt x="409" y="52"/>
                </a:moveTo>
                <a:cubicBezTo>
                  <a:pt x="410" y="51"/>
                  <a:pt x="412" y="49"/>
                  <a:pt x="414" y="50"/>
                </a:cubicBezTo>
                <a:cubicBezTo>
                  <a:pt x="416" y="51"/>
                  <a:pt x="411" y="53"/>
                  <a:pt x="409" y="52"/>
                </a:cubicBezTo>
                <a:close/>
                <a:moveTo>
                  <a:pt x="409" y="237"/>
                </a:moveTo>
                <a:cubicBezTo>
                  <a:pt x="409" y="239"/>
                  <a:pt x="407" y="238"/>
                  <a:pt x="409" y="237"/>
                </a:cubicBezTo>
                <a:close/>
                <a:moveTo>
                  <a:pt x="408" y="55"/>
                </a:moveTo>
                <a:cubicBezTo>
                  <a:pt x="408" y="55"/>
                  <a:pt x="408" y="55"/>
                  <a:pt x="409" y="55"/>
                </a:cubicBezTo>
                <a:cubicBezTo>
                  <a:pt x="409" y="57"/>
                  <a:pt x="406" y="53"/>
                  <a:pt x="408" y="55"/>
                </a:cubicBezTo>
                <a:close/>
                <a:moveTo>
                  <a:pt x="406" y="162"/>
                </a:moveTo>
                <a:cubicBezTo>
                  <a:pt x="404" y="163"/>
                  <a:pt x="403" y="163"/>
                  <a:pt x="401" y="163"/>
                </a:cubicBezTo>
                <a:cubicBezTo>
                  <a:pt x="401" y="164"/>
                  <a:pt x="400" y="164"/>
                  <a:pt x="400" y="164"/>
                </a:cubicBezTo>
                <a:cubicBezTo>
                  <a:pt x="400" y="164"/>
                  <a:pt x="401" y="164"/>
                  <a:pt x="401" y="163"/>
                </a:cubicBezTo>
                <a:cubicBezTo>
                  <a:pt x="403" y="162"/>
                  <a:pt x="406" y="160"/>
                  <a:pt x="407" y="159"/>
                </a:cubicBezTo>
                <a:cubicBezTo>
                  <a:pt x="410" y="159"/>
                  <a:pt x="406" y="162"/>
                  <a:pt x="406" y="162"/>
                </a:cubicBezTo>
                <a:close/>
                <a:moveTo>
                  <a:pt x="393" y="311"/>
                </a:moveTo>
                <a:cubicBezTo>
                  <a:pt x="391" y="311"/>
                  <a:pt x="394" y="305"/>
                  <a:pt x="395" y="306"/>
                </a:cubicBezTo>
                <a:cubicBezTo>
                  <a:pt x="397" y="307"/>
                  <a:pt x="394" y="311"/>
                  <a:pt x="393" y="311"/>
                </a:cubicBezTo>
                <a:close/>
                <a:moveTo>
                  <a:pt x="396" y="305"/>
                </a:moveTo>
                <a:cubicBezTo>
                  <a:pt x="397" y="304"/>
                  <a:pt x="395" y="306"/>
                  <a:pt x="396" y="305"/>
                </a:cubicBezTo>
                <a:close/>
                <a:moveTo>
                  <a:pt x="394" y="421"/>
                </a:moveTo>
                <a:cubicBezTo>
                  <a:pt x="395" y="422"/>
                  <a:pt x="393" y="423"/>
                  <a:pt x="394" y="421"/>
                </a:cubicBezTo>
                <a:close/>
                <a:moveTo>
                  <a:pt x="393" y="423"/>
                </a:moveTo>
                <a:cubicBezTo>
                  <a:pt x="393" y="424"/>
                  <a:pt x="392" y="424"/>
                  <a:pt x="391" y="424"/>
                </a:cubicBezTo>
                <a:cubicBezTo>
                  <a:pt x="391" y="423"/>
                  <a:pt x="392" y="423"/>
                  <a:pt x="393" y="423"/>
                </a:cubicBezTo>
                <a:close/>
                <a:moveTo>
                  <a:pt x="391" y="240"/>
                </a:moveTo>
                <a:cubicBezTo>
                  <a:pt x="390" y="240"/>
                  <a:pt x="392" y="238"/>
                  <a:pt x="391" y="240"/>
                </a:cubicBezTo>
                <a:close/>
                <a:moveTo>
                  <a:pt x="392" y="270"/>
                </a:moveTo>
                <a:cubicBezTo>
                  <a:pt x="391" y="270"/>
                  <a:pt x="393" y="269"/>
                  <a:pt x="393" y="268"/>
                </a:cubicBezTo>
                <a:cubicBezTo>
                  <a:pt x="394" y="269"/>
                  <a:pt x="392" y="269"/>
                  <a:pt x="392" y="270"/>
                </a:cubicBezTo>
                <a:close/>
                <a:moveTo>
                  <a:pt x="392" y="138"/>
                </a:moveTo>
                <a:cubicBezTo>
                  <a:pt x="394" y="139"/>
                  <a:pt x="391" y="137"/>
                  <a:pt x="392" y="138"/>
                </a:cubicBezTo>
                <a:close/>
                <a:moveTo>
                  <a:pt x="390" y="132"/>
                </a:moveTo>
                <a:cubicBezTo>
                  <a:pt x="391" y="132"/>
                  <a:pt x="392" y="132"/>
                  <a:pt x="392" y="132"/>
                </a:cubicBezTo>
                <a:cubicBezTo>
                  <a:pt x="392" y="132"/>
                  <a:pt x="391" y="133"/>
                  <a:pt x="390" y="132"/>
                </a:cubicBezTo>
                <a:close/>
                <a:moveTo>
                  <a:pt x="384" y="595"/>
                </a:moveTo>
                <a:cubicBezTo>
                  <a:pt x="392" y="593"/>
                  <a:pt x="390" y="603"/>
                  <a:pt x="384" y="604"/>
                </a:cubicBezTo>
                <a:cubicBezTo>
                  <a:pt x="378" y="604"/>
                  <a:pt x="379" y="597"/>
                  <a:pt x="384" y="595"/>
                </a:cubicBezTo>
                <a:close/>
                <a:moveTo>
                  <a:pt x="380" y="627"/>
                </a:moveTo>
                <a:cubicBezTo>
                  <a:pt x="380" y="627"/>
                  <a:pt x="379" y="627"/>
                  <a:pt x="379" y="627"/>
                </a:cubicBezTo>
                <a:cubicBezTo>
                  <a:pt x="379" y="624"/>
                  <a:pt x="381" y="628"/>
                  <a:pt x="380" y="627"/>
                </a:cubicBezTo>
                <a:close/>
                <a:moveTo>
                  <a:pt x="387" y="569"/>
                </a:moveTo>
                <a:cubicBezTo>
                  <a:pt x="387" y="569"/>
                  <a:pt x="387" y="569"/>
                  <a:pt x="387" y="569"/>
                </a:cubicBezTo>
                <a:cubicBezTo>
                  <a:pt x="388" y="569"/>
                  <a:pt x="388" y="569"/>
                  <a:pt x="388" y="569"/>
                </a:cubicBezTo>
                <a:cubicBezTo>
                  <a:pt x="388" y="569"/>
                  <a:pt x="388" y="569"/>
                  <a:pt x="389" y="569"/>
                </a:cubicBezTo>
                <a:cubicBezTo>
                  <a:pt x="388" y="569"/>
                  <a:pt x="388" y="569"/>
                  <a:pt x="388" y="569"/>
                </a:cubicBezTo>
                <a:cubicBezTo>
                  <a:pt x="388" y="569"/>
                  <a:pt x="387" y="569"/>
                  <a:pt x="387" y="569"/>
                </a:cubicBezTo>
                <a:close/>
                <a:moveTo>
                  <a:pt x="380" y="511"/>
                </a:moveTo>
                <a:cubicBezTo>
                  <a:pt x="380" y="511"/>
                  <a:pt x="380" y="512"/>
                  <a:pt x="380" y="512"/>
                </a:cubicBezTo>
                <a:cubicBezTo>
                  <a:pt x="379" y="511"/>
                  <a:pt x="381" y="510"/>
                  <a:pt x="380" y="511"/>
                </a:cubicBezTo>
                <a:close/>
                <a:moveTo>
                  <a:pt x="379" y="533"/>
                </a:moveTo>
                <a:cubicBezTo>
                  <a:pt x="380" y="532"/>
                  <a:pt x="381" y="533"/>
                  <a:pt x="379" y="533"/>
                </a:cubicBezTo>
                <a:close/>
                <a:moveTo>
                  <a:pt x="379" y="572"/>
                </a:moveTo>
                <a:cubicBezTo>
                  <a:pt x="379" y="572"/>
                  <a:pt x="379" y="572"/>
                  <a:pt x="379" y="572"/>
                </a:cubicBezTo>
                <a:cubicBezTo>
                  <a:pt x="379" y="572"/>
                  <a:pt x="379" y="572"/>
                  <a:pt x="379" y="572"/>
                </a:cubicBezTo>
                <a:cubicBezTo>
                  <a:pt x="379" y="572"/>
                  <a:pt x="379" y="572"/>
                  <a:pt x="379" y="572"/>
                </a:cubicBezTo>
                <a:close/>
                <a:moveTo>
                  <a:pt x="380" y="590"/>
                </a:moveTo>
                <a:cubicBezTo>
                  <a:pt x="380" y="590"/>
                  <a:pt x="379" y="591"/>
                  <a:pt x="379" y="591"/>
                </a:cubicBezTo>
                <a:cubicBezTo>
                  <a:pt x="378" y="592"/>
                  <a:pt x="379" y="589"/>
                  <a:pt x="380" y="590"/>
                </a:cubicBezTo>
                <a:close/>
                <a:moveTo>
                  <a:pt x="381" y="633"/>
                </a:moveTo>
                <a:cubicBezTo>
                  <a:pt x="382" y="633"/>
                  <a:pt x="384" y="632"/>
                  <a:pt x="384" y="632"/>
                </a:cubicBezTo>
                <a:cubicBezTo>
                  <a:pt x="385" y="633"/>
                  <a:pt x="381" y="634"/>
                  <a:pt x="381" y="633"/>
                </a:cubicBezTo>
                <a:close/>
                <a:moveTo>
                  <a:pt x="382" y="620"/>
                </a:moveTo>
                <a:cubicBezTo>
                  <a:pt x="379" y="617"/>
                  <a:pt x="382" y="612"/>
                  <a:pt x="386" y="611"/>
                </a:cubicBezTo>
                <a:cubicBezTo>
                  <a:pt x="387" y="610"/>
                  <a:pt x="390" y="611"/>
                  <a:pt x="392" y="611"/>
                </a:cubicBezTo>
                <a:cubicBezTo>
                  <a:pt x="395" y="611"/>
                  <a:pt x="393" y="611"/>
                  <a:pt x="395" y="613"/>
                </a:cubicBezTo>
                <a:cubicBezTo>
                  <a:pt x="397" y="616"/>
                  <a:pt x="396" y="621"/>
                  <a:pt x="392" y="620"/>
                </a:cubicBezTo>
                <a:cubicBezTo>
                  <a:pt x="394" y="614"/>
                  <a:pt x="391" y="621"/>
                  <a:pt x="389" y="622"/>
                </a:cubicBezTo>
                <a:cubicBezTo>
                  <a:pt x="388" y="622"/>
                  <a:pt x="383" y="621"/>
                  <a:pt x="382" y="620"/>
                </a:cubicBezTo>
                <a:close/>
                <a:moveTo>
                  <a:pt x="388" y="623"/>
                </a:moveTo>
                <a:cubicBezTo>
                  <a:pt x="389" y="623"/>
                  <a:pt x="397" y="619"/>
                  <a:pt x="396" y="622"/>
                </a:cubicBezTo>
                <a:cubicBezTo>
                  <a:pt x="396" y="623"/>
                  <a:pt x="390" y="624"/>
                  <a:pt x="388" y="623"/>
                </a:cubicBezTo>
                <a:close/>
                <a:moveTo>
                  <a:pt x="394" y="625"/>
                </a:moveTo>
                <a:cubicBezTo>
                  <a:pt x="394" y="626"/>
                  <a:pt x="393" y="626"/>
                  <a:pt x="392" y="625"/>
                </a:cubicBezTo>
                <a:cubicBezTo>
                  <a:pt x="392" y="624"/>
                  <a:pt x="395" y="625"/>
                  <a:pt x="394" y="625"/>
                </a:cubicBezTo>
                <a:close/>
                <a:moveTo>
                  <a:pt x="392" y="698"/>
                </a:moveTo>
                <a:cubicBezTo>
                  <a:pt x="392" y="698"/>
                  <a:pt x="394" y="697"/>
                  <a:pt x="394" y="698"/>
                </a:cubicBezTo>
                <a:cubicBezTo>
                  <a:pt x="394" y="699"/>
                  <a:pt x="393" y="698"/>
                  <a:pt x="392" y="698"/>
                </a:cubicBezTo>
                <a:close/>
                <a:moveTo>
                  <a:pt x="392" y="637"/>
                </a:moveTo>
                <a:cubicBezTo>
                  <a:pt x="392" y="636"/>
                  <a:pt x="394" y="636"/>
                  <a:pt x="394" y="637"/>
                </a:cubicBezTo>
                <a:cubicBezTo>
                  <a:pt x="395" y="638"/>
                  <a:pt x="392" y="637"/>
                  <a:pt x="392" y="637"/>
                </a:cubicBezTo>
                <a:close/>
                <a:moveTo>
                  <a:pt x="395" y="671"/>
                </a:moveTo>
                <a:cubicBezTo>
                  <a:pt x="394" y="671"/>
                  <a:pt x="396" y="670"/>
                  <a:pt x="397" y="671"/>
                </a:cubicBezTo>
                <a:cubicBezTo>
                  <a:pt x="397" y="672"/>
                  <a:pt x="395" y="672"/>
                  <a:pt x="395" y="671"/>
                </a:cubicBezTo>
                <a:close/>
                <a:moveTo>
                  <a:pt x="396" y="648"/>
                </a:moveTo>
                <a:cubicBezTo>
                  <a:pt x="396" y="647"/>
                  <a:pt x="397" y="647"/>
                  <a:pt x="398" y="648"/>
                </a:cubicBezTo>
                <a:cubicBezTo>
                  <a:pt x="397" y="648"/>
                  <a:pt x="397" y="648"/>
                  <a:pt x="396" y="648"/>
                </a:cubicBezTo>
                <a:close/>
                <a:moveTo>
                  <a:pt x="400" y="692"/>
                </a:moveTo>
                <a:cubicBezTo>
                  <a:pt x="399" y="692"/>
                  <a:pt x="397" y="692"/>
                  <a:pt x="397" y="691"/>
                </a:cubicBezTo>
                <a:cubicBezTo>
                  <a:pt x="397" y="689"/>
                  <a:pt x="400" y="691"/>
                  <a:pt x="400" y="692"/>
                </a:cubicBezTo>
                <a:close/>
                <a:moveTo>
                  <a:pt x="401" y="665"/>
                </a:moveTo>
                <a:cubicBezTo>
                  <a:pt x="401" y="663"/>
                  <a:pt x="401" y="666"/>
                  <a:pt x="401" y="665"/>
                </a:cubicBezTo>
                <a:close/>
                <a:moveTo>
                  <a:pt x="400" y="653"/>
                </a:moveTo>
                <a:cubicBezTo>
                  <a:pt x="400" y="650"/>
                  <a:pt x="404" y="652"/>
                  <a:pt x="403" y="653"/>
                </a:cubicBezTo>
                <a:cubicBezTo>
                  <a:pt x="403" y="655"/>
                  <a:pt x="400" y="654"/>
                  <a:pt x="400" y="653"/>
                </a:cubicBezTo>
                <a:close/>
                <a:moveTo>
                  <a:pt x="402" y="661"/>
                </a:moveTo>
                <a:cubicBezTo>
                  <a:pt x="401" y="660"/>
                  <a:pt x="403" y="660"/>
                  <a:pt x="403" y="660"/>
                </a:cubicBezTo>
                <a:cubicBezTo>
                  <a:pt x="403" y="661"/>
                  <a:pt x="402" y="661"/>
                  <a:pt x="402" y="661"/>
                </a:cubicBezTo>
                <a:close/>
                <a:moveTo>
                  <a:pt x="405" y="663"/>
                </a:moveTo>
                <a:cubicBezTo>
                  <a:pt x="404" y="664"/>
                  <a:pt x="404" y="664"/>
                  <a:pt x="403" y="663"/>
                </a:cubicBezTo>
                <a:cubicBezTo>
                  <a:pt x="403" y="662"/>
                  <a:pt x="406" y="662"/>
                  <a:pt x="405" y="663"/>
                </a:cubicBezTo>
                <a:close/>
                <a:moveTo>
                  <a:pt x="404" y="703"/>
                </a:moveTo>
                <a:cubicBezTo>
                  <a:pt x="405" y="701"/>
                  <a:pt x="409" y="701"/>
                  <a:pt x="411" y="701"/>
                </a:cubicBezTo>
                <a:cubicBezTo>
                  <a:pt x="409" y="702"/>
                  <a:pt x="406" y="702"/>
                  <a:pt x="404" y="703"/>
                </a:cubicBezTo>
                <a:close/>
                <a:moveTo>
                  <a:pt x="407" y="752"/>
                </a:moveTo>
                <a:cubicBezTo>
                  <a:pt x="407" y="753"/>
                  <a:pt x="406" y="751"/>
                  <a:pt x="406" y="751"/>
                </a:cubicBezTo>
                <a:cubicBezTo>
                  <a:pt x="406" y="750"/>
                  <a:pt x="409" y="751"/>
                  <a:pt x="407" y="752"/>
                </a:cubicBezTo>
                <a:close/>
                <a:moveTo>
                  <a:pt x="404" y="753"/>
                </a:moveTo>
                <a:cubicBezTo>
                  <a:pt x="405" y="752"/>
                  <a:pt x="406" y="753"/>
                  <a:pt x="407" y="753"/>
                </a:cubicBezTo>
                <a:cubicBezTo>
                  <a:pt x="406" y="754"/>
                  <a:pt x="405" y="753"/>
                  <a:pt x="404" y="753"/>
                </a:cubicBezTo>
                <a:close/>
                <a:moveTo>
                  <a:pt x="413" y="782"/>
                </a:moveTo>
                <a:cubicBezTo>
                  <a:pt x="412" y="781"/>
                  <a:pt x="415" y="781"/>
                  <a:pt x="415" y="782"/>
                </a:cubicBezTo>
                <a:cubicBezTo>
                  <a:pt x="415" y="782"/>
                  <a:pt x="413" y="783"/>
                  <a:pt x="413" y="782"/>
                </a:cubicBezTo>
                <a:close/>
                <a:moveTo>
                  <a:pt x="415" y="790"/>
                </a:moveTo>
                <a:cubicBezTo>
                  <a:pt x="415" y="790"/>
                  <a:pt x="416" y="791"/>
                  <a:pt x="416" y="791"/>
                </a:cubicBezTo>
                <a:cubicBezTo>
                  <a:pt x="416" y="792"/>
                  <a:pt x="414" y="791"/>
                  <a:pt x="415" y="790"/>
                </a:cubicBezTo>
                <a:close/>
                <a:moveTo>
                  <a:pt x="416" y="769"/>
                </a:moveTo>
                <a:cubicBezTo>
                  <a:pt x="415" y="771"/>
                  <a:pt x="412" y="767"/>
                  <a:pt x="409" y="767"/>
                </a:cubicBezTo>
                <a:cubicBezTo>
                  <a:pt x="408" y="767"/>
                  <a:pt x="403" y="768"/>
                  <a:pt x="402" y="766"/>
                </a:cubicBezTo>
                <a:cubicBezTo>
                  <a:pt x="402" y="764"/>
                  <a:pt x="408" y="766"/>
                  <a:pt x="409" y="765"/>
                </a:cubicBezTo>
                <a:cubicBezTo>
                  <a:pt x="409" y="765"/>
                  <a:pt x="407" y="761"/>
                  <a:pt x="407" y="760"/>
                </a:cubicBezTo>
                <a:cubicBezTo>
                  <a:pt x="407" y="752"/>
                  <a:pt x="419" y="758"/>
                  <a:pt x="422" y="761"/>
                </a:cubicBezTo>
                <a:cubicBezTo>
                  <a:pt x="426" y="765"/>
                  <a:pt x="417" y="761"/>
                  <a:pt x="419" y="766"/>
                </a:cubicBezTo>
                <a:cubicBezTo>
                  <a:pt x="416" y="764"/>
                  <a:pt x="417" y="769"/>
                  <a:pt x="416" y="769"/>
                </a:cubicBezTo>
                <a:close/>
                <a:moveTo>
                  <a:pt x="420" y="776"/>
                </a:moveTo>
                <a:cubicBezTo>
                  <a:pt x="422" y="777"/>
                  <a:pt x="419" y="780"/>
                  <a:pt x="419" y="777"/>
                </a:cubicBezTo>
                <a:cubicBezTo>
                  <a:pt x="419" y="777"/>
                  <a:pt x="419" y="776"/>
                  <a:pt x="420" y="776"/>
                </a:cubicBezTo>
                <a:close/>
                <a:moveTo>
                  <a:pt x="419" y="781"/>
                </a:moveTo>
                <a:cubicBezTo>
                  <a:pt x="420" y="780"/>
                  <a:pt x="421" y="780"/>
                  <a:pt x="423" y="780"/>
                </a:cubicBezTo>
                <a:cubicBezTo>
                  <a:pt x="422" y="781"/>
                  <a:pt x="420" y="781"/>
                  <a:pt x="419" y="781"/>
                </a:cubicBezTo>
                <a:close/>
                <a:moveTo>
                  <a:pt x="422" y="781"/>
                </a:moveTo>
                <a:cubicBezTo>
                  <a:pt x="422" y="780"/>
                  <a:pt x="423" y="780"/>
                  <a:pt x="423" y="781"/>
                </a:cubicBezTo>
                <a:cubicBezTo>
                  <a:pt x="423" y="781"/>
                  <a:pt x="422" y="782"/>
                  <a:pt x="422" y="781"/>
                </a:cubicBezTo>
                <a:close/>
                <a:moveTo>
                  <a:pt x="424" y="780"/>
                </a:moveTo>
                <a:cubicBezTo>
                  <a:pt x="423" y="780"/>
                  <a:pt x="426" y="781"/>
                  <a:pt x="424" y="780"/>
                </a:cubicBezTo>
                <a:close/>
                <a:moveTo>
                  <a:pt x="428" y="750"/>
                </a:moveTo>
                <a:cubicBezTo>
                  <a:pt x="427" y="750"/>
                  <a:pt x="427" y="749"/>
                  <a:pt x="428" y="750"/>
                </a:cubicBezTo>
                <a:close/>
                <a:moveTo>
                  <a:pt x="424" y="728"/>
                </a:moveTo>
                <a:cubicBezTo>
                  <a:pt x="424" y="727"/>
                  <a:pt x="428" y="726"/>
                  <a:pt x="428" y="728"/>
                </a:cubicBezTo>
                <a:cubicBezTo>
                  <a:pt x="429" y="730"/>
                  <a:pt x="424" y="731"/>
                  <a:pt x="424" y="728"/>
                </a:cubicBezTo>
                <a:close/>
                <a:moveTo>
                  <a:pt x="429" y="774"/>
                </a:moveTo>
                <a:cubicBezTo>
                  <a:pt x="429" y="773"/>
                  <a:pt x="431" y="773"/>
                  <a:pt x="431" y="773"/>
                </a:cubicBezTo>
                <a:cubicBezTo>
                  <a:pt x="432" y="774"/>
                  <a:pt x="429" y="775"/>
                  <a:pt x="429" y="774"/>
                </a:cubicBezTo>
                <a:close/>
                <a:moveTo>
                  <a:pt x="436" y="765"/>
                </a:moveTo>
                <a:cubicBezTo>
                  <a:pt x="437" y="763"/>
                  <a:pt x="441" y="765"/>
                  <a:pt x="441" y="767"/>
                </a:cubicBezTo>
                <a:cubicBezTo>
                  <a:pt x="440" y="769"/>
                  <a:pt x="435" y="768"/>
                  <a:pt x="436" y="765"/>
                </a:cubicBezTo>
                <a:close/>
                <a:moveTo>
                  <a:pt x="430" y="758"/>
                </a:moveTo>
                <a:cubicBezTo>
                  <a:pt x="432" y="757"/>
                  <a:pt x="442" y="760"/>
                  <a:pt x="441" y="760"/>
                </a:cubicBezTo>
                <a:cubicBezTo>
                  <a:pt x="440" y="761"/>
                  <a:pt x="433" y="758"/>
                  <a:pt x="430" y="758"/>
                </a:cubicBezTo>
                <a:close/>
                <a:moveTo>
                  <a:pt x="439" y="757"/>
                </a:moveTo>
                <a:cubicBezTo>
                  <a:pt x="440" y="755"/>
                  <a:pt x="443" y="755"/>
                  <a:pt x="445" y="756"/>
                </a:cubicBezTo>
                <a:cubicBezTo>
                  <a:pt x="443" y="756"/>
                  <a:pt x="441" y="757"/>
                  <a:pt x="439" y="757"/>
                </a:cubicBezTo>
                <a:close/>
                <a:moveTo>
                  <a:pt x="442" y="718"/>
                </a:moveTo>
                <a:cubicBezTo>
                  <a:pt x="442" y="716"/>
                  <a:pt x="446" y="716"/>
                  <a:pt x="446" y="718"/>
                </a:cubicBezTo>
                <a:cubicBezTo>
                  <a:pt x="446" y="718"/>
                  <a:pt x="442" y="720"/>
                  <a:pt x="442" y="718"/>
                </a:cubicBezTo>
                <a:close/>
                <a:moveTo>
                  <a:pt x="446" y="755"/>
                </a:moveTo>
                <a:cubicBezTo>
                  <a:pt x="448" y="755"/>
                  <a:pt x="450" y="754"/>
                  <a:pt x="452" y="755"/>
                </a:cubicBezTo>
                <a:cubicBezTo>
                  <a:pt x="450" y="755"/>
                  <a:pt x="448" y="756"/>
                  <a:pt x="446" y="755"/>
                </a:cubicBezTo>
                <a:close/>
                <a:moveTo>
                  <a:pt x="453" y="520"/>
                </a:moveTo>
                <a:cubicBezTo>
                  <a:pt x="454" y="520"/>
                  <a:pt x="453" y="521"/>
                  <a:pt x="453" y="521"/>
                </a:cubicBezTo>
                <a:cubicBezTo>
                  <a:pt x="450" y="523"/>
                  <a:pt x="452" y="518"/>
                  <a:pt x="453" y="520"/>
                </a:cubicBezTo>
                <a:close/>
                <a:moveTo>
                  <a:pt x="453" y="590"/>
                </a:moveTo>
                <a:cubicBezTo>
                  <a:pt x="452" y="590"/>
                  <a:pt x="453" y="590"/>
                  <a:pt x="453" y="590"/>
                </a:cubicBezTo>
                <a:cubicBezTo>
                  <a:pt x="454" y="590"/>
                  <a:pt x="453" y="590"/>
                  <a:pt x="453" y="590"/>
                </a:cubicBezTo>
                <a:close/>
                <a:moveTo>
                  <a:pt x="455" y="750"/>
                </a:moveTo>
                <a:cubicBezTo>
                  <a:pt x="455" y="750"/>
                  <a:pt x="454" y="750"/>
                  <a:pt x="455" y="750"/>
                </a:cubicBezTo>
                <a:close/>
                <a:moveTo>
                  <a:pt x="455" y="750"/>
                </a:moveTo>
                <a:cubicBezTo>
                  <a:pt x="455" y="750"/>
                  <a:pt x="455" y="750"/>
                  <a:pt x="455" y="750"/>
                </a:cubicBezTo>
                <a:cubicBezTo>
                  <a:pt x="455" y="750"/>
                  <a:pt x="455" y="750"/>
                  <a:pt x="455" y="750"/>
                </a:cubicBezTo>
                <a:cubicBezTo>
                  <a:pt x="455" y="750"/>
                  <a:pt x="455" y="750"/>
                  <a:pt x="455" y="750"/>
                </a:cubicBezTo>
                <a:close/>
                <a:moveTo>
                  <a:pt x="453" y="740"/>
                </a:moveTo>
                <a:cubicBezTo>
                  <a:pt x="455" y="737"/>
                  <a:pt x="457" y="739"/>
                  <a:pt x="453" y="740"/>
                </a:cubicBezTo>
                <a:close/>
                <a:moveTo>
                  <a:pt x="454" y="643"/>
                </a:moveTo>
                <a:cubicBezTo>
                  <a:pt x="454" y="642"/>
                  <a:pt x="455" y="641"/>
                  <a:pt x="455" y="641"/>
                </a:cubicBezTo>
                <a:cubicBezTo>
                  <a:pt x="458" y="642"/>
                  <a:pt x="455" y="645"/>
                  <a:pt x="454" y="643"/>
                </a:cubicBezTo>
                <a:close/>
                <a:moveTo>
                  <a:pt x="459" y="703"/>
                </a:moveTo>
                <a:cubicBezTo>
                  <a:pt x="456" y="704"/>
                  <a:pt x="455" y="702"/>
                  <a:pt x="459" y="703"/>
                </a:cubicBezTo>
                <a:close/>
                <a:moveTo>
                  <a:pt x="457" y="743"/>
                </a:moveTo>
                <a:cubicBezTo>
                  <a:pt x="458" y="741"/>
                  <a:pt x="461" y="740"/>
                  <a:pt x="462" y="742"/>
                </a:cubicBezTo>
                <a:cubicBezTo>
                  <a:pt x="465" y="746"/>
                  <a:pt x="457" y="747"/>
                  <a:pt x="457" y="743"/>
                </a:cubicBezTo>
                <a:close/>
                <a:moveTo>
                  <a:pt x="464" y="717"/>
                </a:moveTo>
                <a:cubicBezTo>
                  <a:pt x="463" y="717"/>
                  <a:pt x="463" y="717"/>
                  <a:pt x="464" y="717"/>
                </a:cubicBezTo>
                <a:close/>
                <a:moveTo>
                  <a:pt x="466" y="739"/>
                </a:moveTo>
                <a:cubicBezTo>
                  <a:pt x="465" y="739"/>
                  <a:pt x="464" y="740"/>
                  <a:pt x="464" y="739"/>
                </a:cubicBezTo>
                <a:cubicBezTo>
                  <a:pt x="462" y="736"/>
                  <a:pt x="469" y="737"/>
                  <a:pt x="466" y="739"/>
                </a:cubicBezTo>
                <a:close/>
                <a:moveTo>
                  <a:pt x="464" y="729"/>
                </a:moveTo>
                <a:cubicBezTo>
                  <a:pt x="465" y="728"/>
                  <a:pt x="466" y="728"/>
                  <a:pt x="467" y="728"/>
                </a:cubicBezTo>
                <a:cubicBezTo>
                  <a:pt x="467" y="729"/>
                  <a:pt x="465" y="729"/>
                  <a:pt x="464" y="729"/>
                </a:cubicBezTo>
                <a:close/>
                <a:moveTo>
                  <a:pt x="465" y="693"/>
                </a:moveTo>
                <a:cubicBezTo>
                  <a:pt x="466" y="692"/>
                  <a:pt x="468" y="692"/>
                  <a:pt x="469" y="692"/>
                </a:cubicBezTo>
                <a:cubicBezTo>
                  <a:pt x="469" y="693"/>
                  <a:pt x="466" y="692"/>
                  <a:pt x="465" y="693"/>
                </a:cubicBezTo>
                <a:close/>
                <a:moveTo>
                  <a:pt x="470" y="685"/>
                </a:moveTo>
                <a:cubicBezTo>
                  <a:pt x="470" y="686"/>
                  <a:pt x="468" y="685"/>
                  <a:pt x="470" y="685"/>
                </a:cubicBezTo>
                <a:close/>
                <a:moveTo>
                  <a:pt x="467" y="662"/>
                </a:moveTo>
                <a:cubicBezTo>
                  <a:pt x="468" y="661"/>
                  <a:pt x="470" y="660"/>
                  <a:pt x="471" y="661"/>
                </a:cubicBezTo>
                <a:cubicBezTo>
                  <a:pt x="470" y="661"/>
                  <a:pt x="468" y="662"/>
                  <a:pt x="467" y="662"/>
                </a:cubicBezTo>
                <a:close/>
                <a:moveTo>
                  <a:pt x="471" y="692"/>
                </a:moveTo>
                <a:cubicBezTo>
                  <a:pt x="471" y="691"/>
                  <a:pt x="473" y="690"/>
                  <a:pt x="473" y="691"/>
                </a:cubicBezTo>
                <a:cubicBezTo>
                  <a:pt x="473" y="691"/>
                  <a:pt x="472" y="691"/>
                  <a:pt x="471" y="692"/>
                </a:cubicBezTo>
                <a:close/>
                <a:moveTo>
                  <a:pt x="472" y="674"/>
                </a:moveTo>
                <a:cubicBezTo>
                  <a:pt x="472" y="673"/>
                  <a:pt x="472" y="673"/>
                  <a:pt x="473" y="674"/>
                </a:cubicBezTo>
                <a:cubicBezTo>
                  <a:pt x="474" y="674"/>
                  <a:pt x="471" y="676"/>
                  <a:pt x="472" y="674"/>
                </a:cubicBezTo>
                <a:close/>
                <a:moveTo>
                  <a:pt x="472" y="660"/>
                </a:moveTo>
                <a:cubicBezTo>
                  <a:pt x="472" y="660"/>
                  <a:pt x="473" y="659"/>
                  <a:pt x="474" y="660"/>
                </a:cubicBezTo>
                <a:cubicBezTo>
                  <a:pt x="474" y="660"/>
                  <a:pt x="472" y="660"/>
                  <a:pt x="472" y="660"/>
                </a:cubicBezTo>
                <a:close/>
                <a:moveTo>
                  <a:pt x="466" y="644"/>
                </a:moveTo>
                <a:cubicBezTo>
                  <a:pt x="466" y="644"/>
                  <a:pt x="464" y="645"/>
                  <a:pt x="465" y="644"/>
                </a:cubicBezTo>
                <a:cubicBezTo>
                  <a:pt x="468" y="641"/>
                  <a:pt x="473" y="641"/>
                  <a:pt x="476" y="640"/>
                </a:cubicBezTo>
                <a:cubicBezTo>
                  <a:pt x="473" y="642"/>
                  <a:pt x="468" y="644"/>
                  <a:pt x="466" y="644"/>
                </a:cubicBezTo>
                <a:close/>
                <a:moveTo>
                  <a:pt x="475" y="253"/>
                </a:moveTo>
                <a:cubicBezTo>
                  <a:pt x="475" y="253"/>
                  <a:pt x="476" y="252"/>
                  <a:pt x="476" y="253"/>
                </a:cubicBezTo>
                <a:cubicBezTo>
                  <a:pt x="477" y="255"/>
                  <a:pt x="474" y="255"/>
                  <a:pt x="475" y="253"/>
                </a:cubicBezTo>
                <a:close/>
                <a:moveTo>
                  <a:pt x="478" y="685"/>
                </a:moveTo>
                <a:cubicBezTo>
                  <a:pt x="478" y="684"/>
                  <a:pt x="481" y="684"/>
                  <a:pt x="482" y="684"/>
                </a:cubicBezTo>
                <a:cubicBezTo>
                  <a:pt x="482" y="685"/>
                  <a:pt x="479" y="685"/>
                  <a:pt x="478" y="685"/>
                </a:cubicBezTo>
                <a:close/>
                <a:moveTo>
                  <a:pt x="476" y="672"/>
                </a:moveTo>
                <a:cubicBezTo>
                  <a:pt x="476" y="668"/>
                  <a:pt x="483" y="671"/>
                  <a:pt x="482" y="673"/>
                </a:cubicBezTo>
                <a:cubicBezTo>
                  <a:pt x="482" y="675"/>
                  <a:pt x="476" y="675"/>
                  <a:pt x="476" y="672"/>
                </a:cubicBezTo>
                <a:close/>
                <a:moveTo>
                  <a:pt x="484" y="112"/>
                </a:moveTo>
                <a:cubicBezTo>
                  <a:pt x="484" y="111"/>
                  <a:pt x="486" y="111"/>
                  <a:pt x="486" y="111"/>
                </a:cubicBezTo>
                <a:cubicBezTo>
                  <a:pt x="488" y="111"/>
                  <a:pt x="489" y="111"/>
                  <a:pt x="489" y="113"/>
                </a:cubicBezTo>
                <a:cubicBezTo>
                  <a:pt x="489" y="114"/>
                  <a:pt x="484" y="115"/>
                  <a:pt x="483" y="114"/>
                </a:cubicBezTo>
                <a:cubicBezTo>
                  <a:pt x="483" y="113"/>
                  <a:pt x="484" y="113"/>
                  <a:pt x="484" y="112"/>
                </a:cubicBezTo>
                <a:cubicBezTo>
                  <a:pt x="484" y="112"/>
                  <a:pt x="484" y="112"/>
                  <a:pt x="484" y="112"/>
                </a:cubicBezTo>
                <a:close/>
                <a:moveTo>
                  <a:pt x="483" y="110"/>
                </a:moveTo>
                <a:cubicBezTo>
                  <a:pt x="483" y="111"/>
                  <a:pt x="482" y="111"/>
                  <a:pt x="481" y="111"/>
                </a:cubicBezTo>
                <a:cubicBezTo>
                  <a:pt x="481" y="110"/>
                  <a:pt x="483" y="111"/>
                  <a:pt x="483" y="110"/>
                </a:cubicBezTo>
                <a:close/>
                <a:moveTo>
                  <a:pt x="476" y="116"/>
                </a:moveTo>
                <a:cubicBezTo>
                  <a:pt x="477" y="116"/>
                  <a:pt x="476" y="117"/>
                  <a:pt x="476" y="117"/>
                </a:cubicBezTo>
                <a:cubicBezTo>
                  <a:pt x="475" y="117"/>
                  <a:pt x="476" y="116"/>
                  <a:pt x="476" y="116"/>
                </a:cubicBezTo>
                <a:close/>
                <a:moveTo>
                  <a:pt x="482" y="122"/>
                </a:moveTo>
                <a:cubicBezTo>
                  <a:pt x="481" y="124"/>
                  <a:pt x="477" y="125"/>
                  <a:pt x="475" y="126"/>
                </a:cubicBezTo>
                <a:cubicBezTo>
                  <a:pt x="477" y="124"/>
                  <a:pt x="479" y="123"/>
                  <a:pt x="482" y="122"/>
                </a:cubicBezTo>
                <a:close/>
                <a:moveTo>
                  <a:pt x="476" y="146"/>
                </a:moveTo>
                <a:cubicBezTo>
                  <a:pt x="474" y="149"/>
                  <a:pt x="470" y="149"/>
                  <a:pt x="467" y="150"/>
                </a:cubicBezTo>
                <a:cubicBezTo>
                  <a:pt x="469" y="148"/>
                  <a:pt x="473" y="148"/>
                  <a:pt x="476" y="146"/>
                </a:cubicBezTo>
                <a:close/>
                <a:moveTo>
                  <a:pt x="474" y="126"/>
                </a:moveTo>
                <a:cubicBezTo>
                  <a:pt x="473" y="127"/>
                  <a:pt x="471" y="128"/>
                  <a:pt x="469" y="128"/>
                </a:cubicBezTo>
                <a:cubicBezTo>
                  <a:pt x="470" y="128"/>
                  <a:pt x="471" y="129"/>
                  <a:pt x="470" y="130"/>
                </a:cubicBezTo>
                <a:cubicBezTo>
                  <a:pt x="470" y="131"/>
                  <a:pt x="467" y="131"/>
                  <a:pt x="467" y="130"/>
                </a:cubicBezTo>
                <a:cubicBezTo>
                  <a:pt x="467" y="129"/>
                  <a:pt x="468" y="129"/>
                  <a:pt x="469" y="128"/>
                </a:cubicBezTo>
                <a:cubicBezTo>
                  <a:pt x="469" y="128"/>
                  <a:pt x="468" y="128"/>
                  <a:pt x="468" y="128"/>
                </a:cubicBezTo>
                <a:cubicBezTo>
                  <a:pt x="470" y="127"/>
                  <a:pt x="472" y="127"/>
                  <a:pt x="474" y="126"/>
                </a:cubicBezTo>
                <a:close/>
                <a:moveTo>
                  <a:pt x="470" y="106"/>
                </a:moveTo>
                <a:cubicBezTo>
                  <a:pt x="470" y="106"/>
                  <a:pt x="470" y="107"/>
                  <a:pt x="469" y="107"/>
                </a:cubicBezTo>
                <a:cubicBezTo>
                  <a:pt x="469" y="107"/>
                  <a:pt x="469" y="106"/>
                  <a:pt x="470" y="106"/>
                </a:cubicBezTo>
                <a:close/>
                <a:moveTo>
                  <a:pt x="469" y="74"/>
                </a:moveTo>
                <a:cubicBezTo>
                  <a:pt x="468" y="74"/>
                  <a:pt x="467" y="74"/>
                  <a:pt x="466" y="74"/>
                </a:cubicBezTo>
                <a:cubicBezTo>
                  <a:pt x="467" y="73"/>
                  <a:pt x="468" y="73"/>
                  <a:pt x="469" y="74"/>
                </a:cubicBezTo>
                <a:close/>
                <a:moveTo>
                  <a:pt x="466" y="75"/>
                </a:moveTo>
                <a:cubicBezTo>
                  <a:pt x="466" y="75"/>
                  <a:pt x="468" y="76"/>
                  <a:pt x="468" y="75"/>
                </a:cubicBezTo>
                <a:cubicBezTo>
                  <a:pt x="468" y="77"/>
                  <a:pt x="465" y="76"/>
                  <a:pt x="466" y="75"/>
                </a:cubicBezTo>
                <a:close/>
                <a:moveTo>
                  <a:pt x="468" y="80"/>
                </a:moveTo>
                <a:cubicBezTo>
                  <a:pt x="468" y="81"/>
                  <a:pt x="466" y="81"/>
                  <a:pt x="466" y="79"/>
                </a:cubicBezTo>
                <a:cubicBezTo>
                  <a:pt x="467" y="79"/>
                  <a:pt x="468" y="79"/>
                  <a:pt x="468" y="80"/>
                </a:cubicBezTo>
                <a:close/>
                <a:moveTo>
                  <a:pt x="466" y="93"/>
                </a:moveTo>
                <a:cubicBezTo>
                  <a:pt x="466" y="95"/>
                  <a:pt x="465" y="93"/>
                  <a:pt x="466" y="93"/>
                </a:cubicBezTo>
                <a:close/>
                <a:moveTo>
                  <a:pt x="470" y="95"/>
                </a:moveTo>
                <a:cubicBezTo>
                  <a:pt x="472" y="95"/>
                  <a:pt x="473" y="98"/>
                  <a:pt x="471" y="100"/>
                </a:cubicBezTo>
                <a:cubicBezTo>
                  <a:pt x="470" y="101"/>
                  <a:pt x="468" y="101"/>
                  <a:pt x="467" y="101"/>
                </a:cubicBezTo>
                <a:cubicBezTo>
                  <a:pt x="465" y="101"/>
                  <a:pt x="463" y="102"/>
                  <a:pt x="463" y="101"/>
                </a:cubicBezTo>
                <a:cubicBezTo>
                  <a:pt x="463" y="101"/>
                  <a:pt x="463" y="101"/>
                  <a:pt x="464" y="101"/>
                </a:cubicBezTo>
                <a:cubicBezTo>
                  <a:pt x="463" y="101"/>
                  <a:pt x="463" y="101"/>
                  <a:pt x="463" y="101"/>
                </a:cubicBezTo>
                <a:cubicBezTo>
                  <a:pt x="463" y="101"/>
                  <a:pt x="462" y="100"/>
                  <a:pt x="462" y="101"/>
                </a:cubicBezTo>
                <a:cubicBezTo>
                  <a:pt x="461" y="99"/>
                  <a:pt x="467" y="94"/>
                  <a:pt x="470" y="95"/>
                </a:cubicBezTo>
                <a:close/>
                <a:moveTo>
                  <a:pt x="470" y="59"/>
                </a:moveTo>
                <a:cubicBezTo>
                  <a:pt x="470" y="59"/>
                  <a:pt x="470" y="60"/>
                  <a:pt x="470" y="59"/>
                </a:cubicBezTo>
                <a:cubicBezTo>
                  <a:pt x="469" y="59"/>
                  <a:pt x="470" y="58"/>
                  <a:pt x="470" y="59"/>
                </a:cubicBezTo>
                <a:close/>
                <a:moveTo>
                  <a:pt x="453" y="60"/>
                </a:moveTo>
                <a:cubicBezTo>
                  <a:pt x="455" y="59"/>
                  <a:pt x="458" y="61"/>
                  <a:pt x="461" y="61"/>
                </a:cubicBezTo>
                <a:cubicBezTo>
                  <a:pt x="462" y="61"/>
                  <a:pt x="467" y="59"/>
                  <a:pt x="468" y="61"/>
                </a:cubicBezTo>
                <a:cubicBezTo>
                  <a:pt x="468" y="62"/>
                  <a:pt x="462" y="62"/>
                  <a:pt x="462" y="62"/>
                </a:cubicBezTo>
                <a:cubicBezTo>
                  <a:pt x="462" y="63"/>
                  <a:pt x="465" y="66"/>
                  <a:pt x="465" y="67"/>
                </a:cubicBezTo>
                <a:cubicBezTo>
                  <a:pt x="467" y="75"/>
                  <a:pt x="454" y="72"/>
                  <a:pt x="450" y="70"/>
                </a:cubicBezTo>
                <a:cubicBezTo>
                  <a:pt x="445" y="67"/>
                  <a:pt x="455" y="69"/>
                  <a:pt x="451" y="64"/>
                </a:cubicBezTo>
                <a:cubicBezTo>
                  <a:pt x="455" y="66"/>
                  <a:pt x="453" y="61"/>
                  <a:pt x="453" y="60"/>
                </a:cubicBezTo>
                <a:close/>
                <a:moveTo>
                  <a:pt x="454" y="47"/>
                </a:moveTo>
                <a:cubicBezTo>
                  <a:pt x="455" y="48"/>
                  <a:pt x="452" y="49"/>
                  <a:pt x="452" y="48"/>
                </a:cubicBezTo>
                <a:cubicBezTo>
                  <a:pt x="452" y="47"/>
                  <a:pt x="454" y="47"/>
                  <a:pt x="454" y="47"/>
                </a:cubicBezTo>
                <a:close/>
                <a:moveTo>
                  <a:pt x="455" y="21"/>
                </a:moveTo>
                <a:cubicBezTo>
                  <a:pt x="456" y="22"/>
                  <a:pt x="453" y="22"/>
                  <a:pt x="453" y="21"/>
                </a:cubicBezTo>
                <a:cubicBezTo>
                  <a:pt x="453" y="20"/>
                  <a:pt x="455" y="20"/>
                  <a:pt x="455" y="21"/>
                </a:cubicBezTo>
                <a:close/>
                <a:moveTo>
                  <a:pt x="454" y="23"/>
                </a:moveTo>
                <a:cubicBezTo>
                  <a:pt x="454" y="25"/>
                  <a:pt x="450" y="24"/>
                  <a:pt x="450" y="23"/>
                </a:cubicBezTo>
                <a:cubicBezTo>
                  <a:pt x="450" y="22"/>
                  <a:pt x="454" y="21"/>
                  <a:pt x="454" y="23"/>
                </a:cubicBezTo>
                <a:close/>
                <a:moveTo>
                  <a:pt x="447" y="8"/>
                </a:moveTo>
                <a:cubicBezTo>
                  <a:pt x="448" y="9"/>
                  <a:pt x="446" y="9"/>
                  <a:pt x="446" y="9"/>
                </a:cubicBezTo>
                <a:cubicBezTo>
                  <a:pt x="446" y="8"/>
                  <a:pt x="447" y="8"/>
                  <a:pt x="447" y="8"/>
                </a:cubicBezTo>
                <a:close/>
                <a:moveTo>
                  <a:pt x="446" y="11"/>
                </a:moveTo>
                <a:cubicBezTo>
                  <a:pt x="447" y="11"/>
                  <a:pt x="450" y="8"/>
                  <a:pt x="451" y="10"/>
                </a:cubicBezTo>
                <a:cubicBezTo>
                  <a:pt x="453" y="14"/>
                  <a:pt x="448" y="13"/>
                  <a:pt x="447" y="13"/>
                </a:cubicBezTo>
                <a:cubicBezTo>
                  <a:pt x="447" y="13"/>
                  <a:pt x="447" y="13"/>
                  <a:pt x="446" y="13"/>
                </a:cubicBezTo>
                <a:cubicBezTo>
                  <a:pt x="446" y="14"/>
                  <a:pt x="444" y="14"/>
                  <a:pt x="444" y="13"/>
                </a:cubicBezTo>
                <a:cubicBezTo>
                  <a:pt x="444" y="13"/>
                  <a:pt x="444" y="13"/>
                  <a:pt x="444" y="13"/>
                </a:cubicBezTo>
                <a:cubicBezTo>
                  <a:pt x="444" y="12"/>
                  <a:pt x="444" y="12"/>
                  <a:pt x="444" y="12"/>
                </a:cubicBezTo>
                <a:cubicBezTo>
                  <a:pt x="444" y="12"/>
                  <a:pt x="444" y="11"/>
                  <a:pt x="444" y="12"/>
                </a:cubicBezTo>
                <a:cubicBezTo>
                  <a:pt x="444" y="11"/>
                  <a:pt x="445" y="11"/>
                  <a:pt x="445" y="11"/>
                </a:cubicBezTo>
                <a:cubicBezTo>
                  <a:pt x="446" y="11"/>
                  <a:pt x="446" y="11"/>
                  <a:pt x="446" y="11"/>
                </a:cubicBezTo>
                <a:close/>
                <a:moveTo>
                  <a:pt x="442" y="4"/>
                </a:moveTo>
                <a:cubicBezTo>
                  <a:pt x="444" y="3"/>
                  <a:pt x="444" y="5"/>
                  <a:pt x="442" y="4"/>
                </a:cubicBezTo>
                <a:close/>
                <a:moveTo>
                  <a:pt x="442" y="6"/>
                </a:moveTo>
                <a:cubicBezTo>
                  <a:pt x="442" y="6"/>
                  <a:pt x="443" y="7"/>
                  <a:pt x="443" y="7"/>
                </a:cubicBezTo>
                <a:cubicBezTo>
                  <a:pt x="444" y="9"/>
                  <a:pt x="440" y="7"/>
                  <a:pt x="442" y="6"/>
                </a:cubicBezTo>
                <a:close/>
                <a:moveTo>
                  <a:pt x="442" y="12"/>
                </a:moveTo>
                <a:cubicBezTo>
                  <a:pt x="441" y="12"/>
                  <a:pt x="442" y="11"/>
                  <a:pt x="442" y="12"/>
                </a:cubicBezTo>
                <a:cubicBezTo>
                  <a:pt x="443" y="12"/>
                  <a:pt x="442" y="12"/>
                  <a:pt x="442" y="12"/>
                </a:cubicBezTo>
                <a:close/>
                <a:moveTo>
                  <a:pt x="442" y="23"/>
                </a:moveTo>
                <a:cubicBezTo>
                  <a:pt x="442" y="23"/>
                  <a:pt x="441" y="24"/>
                  <a:pt x="441" y="23"/>
                </a:cubicBezTo>
                <a:cubicBezTo>
                  <a:pt x="441" y="23"/>
                  <a:pt x="442" y="23"/>
                  <a:pt x="442" y="23"/>
                </a:cubicBezTo>
                <a:close/>
                <a:moveTo>
                  <a:pt x="440" y="7"/>
                </a:moveTo>
                <a:cubicBezTo>
                  <a:pt x="441" y="7"/>
                  <a:pt x="439" y="7"/>
                  <a:pt x="439" y="7"/>
                </a:cubicBezTo>
                <a:cubicBezTo>
                  <a:pt x="439" y="6"/>
                  <a:pt x="440" y="6"/>
                  <a:pt x="440" y="7"/>
                </a:cubicBezTo>
                <a:close/>
                <a:moveTo>
                  <a:pt x="441" y="16"/>
                </a:moveTo>
                <a:cubicBezTo>
                  <a:pt x="441" y="17"/>
                  <a:pt x="438" y="17"/>
                  <a:pt x="439" y="16"/>
                </a:cubicBezTo>
                <a:cubicBezTo>
                  <a:pt x="439" y="15"/>
                  <a:pt x="440" y="16"/>
                  <a:pt x="441" y="16"/>
                </a:cubicBezTo>
                <a:close/>
                <a:moveTo>
                  <a:pt x="439" y="25"/>
                </a:moveTo>
                <a:cubicBezTo>
                  <a:pt x="440" y="26"/>
                  <a:pt x="437" y="27"/>
                  <a:pt x="437" y="26"/>
                </a:cubicBezTo>
                <a:cubicBezTo>
                  <a:pt x="436" y="25"/>
                  <a:pt x="439" y="25"/>
                  <a:pt x="439" y="25"/>
                </a:cubicBezTo>
                <a:close/>
                <a:moveTo>
                  <a:pt x="436" y="30"/>
                </a:moveTo>
                <a:cubicBezTo>
                  <a:pt x="437" y="29"/>
                  <a:pt x="438" y="31"/>
                  <a:pt x="436" y="30"/>
                </a:cubicBezTo>
                <a:close/>
                <a:moveTo>
                  <a:pt x="434" y="10"/>
                </a:moveTo>
                <a:cubicBezTo>
                  <a:pt x="435" y="11"/>
                  <a:pt x="433" y="11"/>
                  <a:pt x="433" y="11"/>
                </a:cubicBezTo>
                <a:cubicBezTo>
                  <a:pt x="432" y="11"/>
                  <a:pt x="434" y="10"/>
                  <a:pt x="434" y="10"/>
                </a:cubicBezTo>
                <a:close/>
                <a:moveTo>
                  <a:pt x="432" y="13"/>
                </a:moveTo>
                <a:cubicBezTo>
                  <a:pt x="433" y="14"/>
                  <a:pt x="429" y="15"/>
                  <a:pt x="430" y="13"/>
                </a:cubicBezTo>
                <a:cubicBezTo>
                  <a:pt x="430" y="13"/>
                  <a:pt x="431" y="12"/>
                  <a:pt x="432" y="13"/>
                </a:cubicBezTo>
                <a:close/>
                <a:moveTo>
                  <a:pt x="430" y="16"/>
                </a:moveTo>
                <a:cubicBezTo>
                  <a:pt x="430" y="16"/>
                  <a:pt x="431" y="15"/>
                  <a:pt x="432" y="16"/>
                </a:cubicBezTo>
                <a:cubicBezTo>
                  <a:pt x="432" y="17"/>
                  <a:pt x="430" y="17"/>
                  <a:pt x="430" y="16"/>
                </a:cubicBezTo>
                <a:close/>
                <a:moveTo>
                  <a:pt x="432" y="26"/>
                </a:moveTo>
                <a:cubicBezTo>
                  <a:pt x="431" y="26"/>
                  <a:pt x="430" y="27"/>
                  <a:pt x="429" y="26"/>
                </a:cubicBezTo>
                <a:cubicBezTo>
                  <a:pt x="430" y="25"/>
                  <a:pt x="431" y="25"/>
                  <a:pt x="432" y="26"/>
                </a:cubicBezTo>
                <a:close/>
                <a:moveTo>
                  <a:pt x="428" y="27"/>
                </a:moveTo>
                <a:cubicBezTo>
                  <a:pt x="428" y="27"/>
                  <a:pt x="427" y="28"/>
                  <a:pt x="426" y="27"/>
                </a:cubicBezTo>
                <a:cubicBezTo>
                  <a:pt x="426" y="26"/>
                  <a:pt x="427" y="26"/>
                  <a:pt x="428" y="27"/>
                </a:cubicBezTo>
                <a:close/>
                <a:moveTo>
                  <a:pt x="426" y="23"/>
                </a:moveTo>
                <a:cubicBezTo>
                  <a:pt x="425" y="22"/>
                  <a:pt x="428" y="23"/>
                  <a:pt x="426" y="23"/>
                </a:cubicBezTo>
                <a:close/>
                <a:moveTo>
                  <a:pt x="426" y="37"/>
                </a:moveTo>
                <a:cubicBezTo>
                  <a:pt x="428" y="33"/>
                  <a:pt x="436" y="29"/>
                  <a:pt x="439" y="33"/>
                </a:cubicBezTo>
                <a:cubicBezTo>
                  <a:pt x="440" y="35"/>
                  <a:pt x="438" y="39"/>
                  <a:pt x="437" y="39"/>
                </a:cubicBezTo>
                <a:cubicBezTo>
                  <a:pt x="436" y="39"/>
                  <a:pt x="435" y="39"/>
                  <a:pt x="434" y="39"/>
                </a:cubicBezTo>
                <a:cubicBezTo>
                  <a:pt x="433" y="39"/>
                  <a:pt x="433" y="40"/>
                  <a:pt x="433" y="40"/>
                </a:cubicBezTo>
                <a:cubicBezTo>
                  <a:pt x="431" y="41"/>
                  <a:pt x="429" y="40"/>
                  <a:pt x="427" y="40"/>
                </a:cubicBezTo>
                <a:cubicBezTo>
                  <a:pt x="426" y="39"/>
                  <a:pt x="426" y="40"/>
                  <a:pt x="425" y="40"/>
                </a:cubicBezTo>
                <a:cubicBezTo>
                  <a:pt x="425" y="39"/>
                  <a:pt x="426" y="37"/>
                  <a:pt x="426" y="37"/>
                </a:cubicBezTo>
                <a:close/>
                <a:moveTo>
                  <a:pt x="426" y="42"/>
                </a:moveTo>
                <a:cubicBezTo>
                  <a:pt x="426" y="43"/>
                  <a:pt x="423" y="43"/>
                  <a:pt x="423" y="43"/>
                </a:cubicBezTo>
                <a:cubicBezTo>
                  <a:pt x="422" y="41"/>
                  <a:pt x="425" y="41"/>
                  <a:pt x="426" y="42"/>
                </a:cubicBezTo>
                <a:close/>
                <a:moveTo>
                  <a:pt x="421" y="63"/>
                </a:moveTo>
                <a:cubicBezTo>
                  <a:pt x="418" y="65"/>
                  <a:pt x="413" y="66"/>
                  <a:pt x="411" y="64"/>
                </a:cubicBezTo>
                <a:cubicBezTo>
                  <a:pt x="410" y="64"/>
                  <a:pt x="410" y="61"/>
                  <a:pt x="412" y="62"/>
                </a:cubicBezTo>
                <a:cubicBezTo>
                  <a:pt x="413" y="62"/>
                  <a:pt x="413" y="64"/>
                  <a:pt x="413" y="64"/>
                </a:cubicBezTo>
                <a:cubicBezTo>
                  <a:pt x="414" y="64"/>
                  <a:pt x="415" y="62"/>
                  <a:pt x="415" y="62"/>
                </a:cubicBezTo>
                <a:cubicBezTo>
                  <a:pt x="415" y="61"/>
                  <a:pt x="413" y="61"/>
                  <a:pt x="414" y="60"/>
                </a:cubicBezTo>
                <a:cubicBezTo>
                  <a:pt x="413" y="61"/>
                  <a:pt x="412" y="60"/>
                  <a:pt x="414" y="60"/>
                </a:cubicBezTo>
                <a:cubicBezTo>
                  <a:pt x="414" y="59"/>
                  <a:pt x="415" y="60"/>
                  <a:pt x="416" y="60"/>
                </a:cubicBezTo>
                <a:cubicBezTo>
                  <a:pt x="417" y="59"/>
                  <a:pt x="417" y="59"/>
                  <a:pt x="419" y="59"/>
                </a:cubicBezTo>
                <a:cubicBezTo>
                  <a:pt x="420" y="59"/>
                  <a:pt x="424" y="62"/>
                  <a:pt x="421" y="63"/>
                </a:cubicBezTo>
                <a:close/>
                <a:moveTo>
                  <a:pt x="422" y="29"/>
                </a:moveTo>
                <a:cubicBezTo>
                  <a:pt x="422" y="31"/>
                  <a:pt x="418" y="31"/>
                  <a:pt x="417" y="30"/>
                </a:cubicBezTo>
                <a:cubicBezTo>
                  <a:pt x="416" y="29"/>
                  <a:pt x="421" y="27"/>
                  <a:pt x="422" y="29"/>
                </a:cubicBezTo>
                <a:close/>
                <a:moveTo>
                  <a:pt x="416" y="12"/>
                </a:moveTo>
                <a:cubicBezTo>
                  <a:pt x="415" y="12"/>
                  <a:pt x="417" y="13"/>
                  <a:pt x="416" y="12"/>
                </a:cubicBezTo>
                <a:close/>
                <a:moveTo>
                  <a:pt x="414" y="18"/>
                </a:moveTo>
                <a:cubicBezTo>
                  <a:pt x="414" y="19"/>
                  <a:pt x="413" y="19"/>
                  <a:pt x="412" y="18"/>
                </a:cubicBezTo>
                <a:cubicBezTo>
                  <a:pt x="411" y="18"/>
                  <a:pt x="414" y="17"/>
                  <a:pt x="414" y="18"/>
                </a:cubicBezTo>
                <a:close/>
                <a:moveTo>
                  <a:pt x="410" y="17"/>
                </a:moveTo>
                <a:cubicBezTo>
                  <a:pt x="412" y="16"/>
                  <a:pt x="413" y="18"/>
                  <a:pt x="410" y="17"/>
                </a:cubicBezTo>
                <a:close/>
                <a:moveTo>
                  <a:pt x="409" y="31"/>
                </a:moveTo>
                <a:cubicBezTo>
                  <a:pt x="411" y="29"/>
                  <a:pt x="412" y="33"/>
                  <a:pt x="409" y="31"/>
                </a:cubicBezTo>
                <a:close/>
                <a:moveTo>
                  <a:pt x="410" y="38"/>
                </a:moveTo>
                <a:cubicBezTo>
                  <a:pt x="409" y="37"/>
                  <a:pt x="411" y="38"/>
                  <a:pt x="410" y="38"/>
                </a:cubicBezTo>
                <a:close/>
                <a:moveTo>
                  <a:pt x="410" y="14"/>
                </a:moveTo>
                <a:cubicBezTo>
                  <a:pt x="410" y="15"/>
                  <a:pt x="410" y="15"/>
                  <a:pt x="409" y="15"/>
                </a:cubicBezTo>
                <a:cubicBezTo>
                  <a:pt x="407" y="16"/>
                  <a:pt x="409" y="12"/>
                  <a:pt x="410" y="14"/>
                </a:cubicBezTo>
                <a:close/>
                <a:moveTo>
                  <a:pt x="410" y="23"/>
                </a:moveTo>
                <a:cubicBezTo>
                  <a:pt x="411" y="24"/>
                  <a:pt x="408" y="25"/>
                  <a:pt x="408" y="24"/>
                </a:cubicBezTo>
                <a:cubicBezTo>
                  <a:pt x="407" y="23"/>
                  <a:pt x="410" y="22"/>
                  <a:pt x="410" y="23"/>
                </a:cubicBezTo>
                <a:close/>
                <a:moveTo>
                  <a:pt x="406" y="35"/>
                </a:moveTo>
                <a:cubicBezTo>
                  <a:pt x="405" y="35"/>
                  <a:pt x="404" y="34"/>
                  <a:pt x="404" y="34"/>
                </a:cubicBezTo>
                <a:cubicBezTo>
                  <a:pt x="402" y="31"/>
                  <a:pt x="411" y="34"/>
                  <a:pt x="406" y="35"/>
                </a:cubicBezTo>
                <a:close/>
                <a:moveTo>
                  <a:pt x="406" y="37"/>
                </a:moveTo>
                <a:cubicBezTo>
                  <a:pt x="405" y="36"/>
                  <a:pt x="406" y="37"/>
                  <a:pt x="407" y="36"/>
                </a:cubicBezTo>
                <a:cubicBezTo>
                  <a:pt x="407" y="37"/>
                  <a:pt x="406" y="37"/>
                  <a:pt x="406" y="37"/>
                </a:cubicBezTo>
                <a:close/>
                <a:moveTo>
                  <a:pt x="394" y="46"/>
                </a:moveTo>
                <a:cubicBezTo>
                  <a:pt x="400" y="45"/>
                  <a:pt x="404" y="44"/>
                  <a:pt x="409" y="43"/>
                </a:cubicBezTo>
                <a:cubicBezTo>
                  <a:pt x="411" y="43"/>
                  <a:pt x="417" y="42"/>
                  <a:pt x="418" y="43"/>
                </a:cubicBezTo>
                <a:cubicBezTo>
                  <a:pt x="419" y="44"/>
                  <a:pt x="410" y="45"/>
                  <a:pt x="407" y="45"/>
                </a:cubicBezTo>
                <a:cubicBezTo>
                  <a:pt x="403" y="46"/>
                  <a:pt x="401" y="46"/>
                  <a:pt x="398" y="47"/>
                </a:cubicBezTo>
                <a:cubicBezTo>
                  <a:pt x="400" y="47"/>
                  <a:pt x="403" y="48"/>
                  <a:pt x="402" y="51"/>
                </a:cubicBezTo>
                <a:cubicBezTo>
                  <a:pt x="402" y="56"/>
                  <a:pt x="394" y="55"/>
                  <a:pt x="390" y="53"/>
                </a:cubicBezTo>
                <a:cubicBezTo>
                  <a:pt x="390" y="53"/>
                  <a:pt x="390" y="52"/>
                  <a:pt x="390" y="52"/>
                </a:cubicBezTo>
                <a:cubicBezTo>
                  <a:pt x="389" y="51"/>
                  <a:pt x="392" y="48"/>
                  <a:pt x="394" y="47"/>
                </a:cubicBezTo>
                <a:cubicBezTo>
                  <a:pt x="393" y="48"/>
                  <a:pt x="391" y="48"/>
                  <a:pt x="390" y="48"/>
                </a:cubicBezTo>
                <a:cubicBezTo>
                  <a:pt x="385" y="48"/>
                  <a:pt x="394" y="46"/>
                  <a:pt x="394" y="46"/>
                </a:cubicBezTo>
                <a:close/>
                <a:moveTo>
                  <a:pt x="393" y="64"/>
                </a:moveTo>
                <a:cubicBezTo>
                  <a:pt x="392" y="65"/>
                  <a:pt x="389" y="66"/>
                  <a:pt x="387" y="66"/>
                </a:cubicBezTo>
                <a:cubicBezTo>
                  <a:pt x="389" y="64"/>
                  <a:pt x="391" y="65"/>
                  <a:pt x="393" y="64"/>
                </a:cubicBezTo>
                <a:close/>
                <a:moveTo>
                  <a:pt x="388" y="66"/>
                </a:moveTo>
                <a:cubicBezTo>
                  <a:pt x="389" y="66"/>
                  <a:pt x="387" y="68"/>
                  <a:pt x="387" y="67"/>
                </a:cubicBezTo>
                <a:cubicBezTo>
                  <a:pt x="387" y="66"/>
                  <a:pt x="388" y="66"/>
                  <a:pt x="388" y="66"/>
                </a:cubicBezTo>
                <a:close/>
                <a:moveTo>
                  <a:pt x="387" y="116"/>
                </a:moveTo>
                <a:cubicBezTo>
                  <a:pt x="387" y="116"/>
                  <a:pt x="387" y="116"/>
                  <a:pt x="387" y="116"/>
                </a:cubicBezTo>
                <a:cubicBezTo>
                  <a:pt x="388" y="116"/>
                  <a:pt x="387" y="116"/>
                  <a:pt x="387" y="116"/>
                </a:cubicBezTo>
                <a:close/>
                <a:moveTo>
                  <a:pt x="388" y="136"/>
                </a:moveTo>
                <a:cubicBezTo>
                  <a:pt x="387" y="137"/>
                  <a:pt x="386" y="135"/>
                  <a:pt x="388" y="136"/>
                </a:cubicBezTo>
                <a:close/>
                <a:moveTo>
                  <a:pt x="386" y="125"/>
                </a:moveTo>
                <a:cubicBezTo>
                  <a:pt x="385" y="126"/>
                  <a:pt x="381" y="127"/>
                  <a:pt x="381" y="126"/>
                </a:cubicBezTo>
                <a:cubicBezTo>
                  <a:pt x="383" y="126"/>
                  <a:pt x="384" y="124"/>
                  <a:pt x="386" y="125"/>
                </a:cubicBezTo>
                <a:close/>
                <a:moveTo>
                  <a:pt x="382" y="167"/>
                </a:moveTo>
                <a:cubicBezTo>
                  <a:pt x="382" y="165"/>
                  <a:pt x="384" y="165"/>
                  <a:pt x="385" y="166"/>
                </a:cubicBezTo>
                <a:cubicBezTo>
                  <a:pt x="385" y="168"/>
                  <a:pt x="382" y="168"/>
                  <a:pt x="382" y="167"/>
                </a:cubicBezTo>
                <a:close/>
                <a:moveTo>
                  <a:pt x="384" y="66"/>
                </a:moveTo>
                <a:cubicBezTo>
                  <a:pt x="385" y="65"/>
                  <a:pt x="386" y="67"/>
                  <a:pt x="384" y="66"/>
                </a:cubicBezTo>
                <a:close/>
                <a:moveTo>
                  <a:pt x="383" y="67"/>
                </a:moveTo>
                <a:cubicBezTo>
                  <a:pt x="382" y="67"/>
                  <a:pt x="381" y="68"/>
                  <a:pt x="380" y="68"/>
                </a:cubicBezTo>
                <a:cubicBezTo>
                  <a:pt x="380" y="66"/>
                  <a:pt x="382" y="67"/>
                  <a:pt x="383" y="67"/>
                </a:cubicBezTo>
                <a:close/>
                <a:moveTo>
                  <a:pt x="386" y="172"/>
                </a:moveTo>
                <a:cubicBezTo>
                  <a:pt x="387" y="176"/>
                  <a:pt x="379" y="176"/>
                  <a:pt x="379" y="173"/>
                </a:cubicBezTo>
                <a:cubicBezTo>
                  <a:pt x="378" y="170"/>
                  <a:pt x="386" y="168"/>
                  <a:pt x="386" y="172"/>
                </a:cubicBezTo>
                <a:close/>
                <a:moveTo>
                  <a:pt x="379" y="127"/>
                </a:moveTo>
                <a:cubicBezTo>
                  <a:pt x="380" y="127"/>
                  <a:pt x="377" y="128"/>
                  <a:pt x="377" y="128"/>
                </a:cubicBezTo>
                <a:cubicBezTo>
                  <a:pt x="377" y="128"/>
                  <a:pt x="378" y="127"/>
                  <a:pt x="379" y="127"/>
                </a:cubicBezTo>
                <a:close/>
                <a:moveTo>
                  <a:pt x="377" y="223"/>
                </a:moveTo>
                <a:cubicBezTo>
                  <a:pt x="376" y="224"/>
                  <a:pt x="373" y="225"/>
                  <a:pt x="372" y="227"/>
                </a:cubicBezTo>
                <a:cubicBezTo>
                  <a:pt x="372" y="225"/>
                  <a:pt x="375" y="224"/>
                  <a:pt x="377" y="223"/>
                </a:cubicBezTo>
                <a:close/>
                <a:moveTo>
                  <a:pt x="376" y="378"/>
                </a:moveTo>
                <a:cubicBezTo>
                  <a:pt x="376" y="378"/>
                  <a:pt x="375" y="379"/>
                  <a:pt x="376" y="378"/>
                </a:cubicBezTo>
                <a:cubicBezTo>
                  <a:pt x="376" y="378"/>
                  <a:pt x="376" y="378"/>
                  <a:pt x="376" y="378"/>
                </a:cubicBezTo>
                <a:close/>
                <a:moveTo>
                  <a:pt x="375" y="462"/>
                </a:moveTo>
                <a:cubicBezTo>
                  <a:pt x="376" y="462"/>
                  <a:pt x="375" y="464"/>
                  <a:pt x="375" y="464"/>
                </a:cubicBezTo>
                <a:cubicBezTo>
                  <a:pt x="372" y="466"/>
                  <a:pt x="374" y="460"/>
                  <a:pt x="375" y="462"/>
                </a:cubicBezTo>
                <a:close/>
                <a:moveTo>
                  <a:pt x="374" y="451"/>
                </a:moveTo>
                <a:cubicBezTo>
                  <a:pt x="374" y="451"/>
                  <a:pt x="374" y="451"/>
                  <a:pt x="374" y="451"/>
                </a:cubicBezTo>
                <a:cubicBezTo>
                  <a:pt x="373" y="451"/>
                  <a:pt x="374" y="451"/>
                  <a:pt x="374" y="451"/>
                </a:cubicBezTo>
                <a:close/>
                <a:moveTo>
                  <a:pt x="369" y="182"/>
                </a:moveTo>
                <a:cubicBezTo>
                  <a:pt x="369" y="182"/>
                  <a:pt x="369" y="182"/>
                  <a:pt x="369" y="182"/>
                </a:cubicBezTo>
                <a:cubicBezTo>
                  <a:pt x="369" y="182"/>
                  <a:pt x="369" y="182"/>
                  <a:pt x="369" y="182"/>
                </a:cubicBezTo>
                <a:cubicBezTo>
                  <a:pt x="369" y="182"/>
                  <a:pt x="369" y="182"/>
                  <a:pt x="369" y="182"/>
                </a:cubicBezTo>
                <a:close/>
                <a:moveTo>
                  <a:pt x="375" y="371"/>
                </a:moveTo>
                <a:cubicBezTo>
                  <a:pt x="375" y="372"/>
                  <a:pt x="374" y="373"/>
                  <a:pt x="372" y="373"/>
                </a:cubicBezTo>
                <a:cubicBezTo>
                  <a:pt x="371" y="374"/>
                  <a:pt x="370" y="374"/>
                  <a:pt x="370" y="372"/>
                </a:cubicBezTo>
                <a:cubicBezTo>
                  <a:pt x="368" y="368"/>
                  <a:pt x="375" y="367"/>
                  <a:pt x="375" y="371"/>
                </a:cubicBezTo>
                <a:close/>
                <a:moveTo>
                  <a:pt x="374" y="472"/>
                </a:moveTo>
                <a:cubicBezTo>
                  <a:pt x="373" y="473"/>
                  <a:pt x="371" y="475"/>
                  <a:pt x="369" y="475"/>
                </a:cubicBezTo>
                <a:cubicBezTo>
                  <a:pt x="370" y="474"/>
                  <a:pt x="372" y="473"/>
                  <a:pt x="374" y="472"/>
                </a:cubicBezTo>
                <a:close/>
                <a:moveTo>
                  <a:pt x="369" y="228"/>
                </a:moveTo>
                <a:cubicBezTo>
                  <a:pt x="367" y="231"/>
                  <a:pt x="366" y="228"/>
                  <a:pt x="369" y="228"/>
                </a:cubicBezTo>
                <a:close/>
                <a:moveTo>
                  <a:pt x="368" y="370"/>
                </a:moveTo>
                <a:cubicBezTo>
                  <a:pt x="367" y="371"/>
                  <a:pt x="370" y="369"/>
                  <a:pt x="368" y="370"/>
                </a:cubicBezTo>
                <a:close/>
                <a:moveTo>
                  <a:pt x="368" y="319"/>
                </a:moveTo>
                <a:cubicBezTo>
                  <a:pt x="369" y="319"/>
                  <a:pt x="368" y="320"/>
                  <a:pt x="368" y="320"/>
                </a:cubicBezTo>
                <a:cubicBezTo>
                  <a:pt x="367" y="322"/>
                  <a:pt x="367" y="318"/>
                  <a:pt x="368" y="319"/>
                </a:cubicBezTo>
                <a:close/>
                <a:moveTo>
                  <a:pt x="367" y="94"/>
                </a:moveTo>
                <a:cubicBezTo>
                  <a:pt x="366" y="92"/>
                  <a:pt x="368" y="94"/>
                  <a:pt x="367" y="94"/>
                </a:cubicBezTo>
                <a:close/>
                <a:moveTo>
                  <a:pt x="374" y="488"/>
                </a:moveTo>
                <a:cubicBezTo>
                  <a:pt x="375" y="486"/>
                  <a:pt x="380" y="483"/>
                  <a:pt x="383" y="481"/>
                </a:cubicBezTo>
                <a:cubicBezTo>
                  <a:pt x="383" y="481"/>
                  <a:pt x="383" y="479"/>
                  <a:pt x="384" y="480"/>
                </a:cubicBezTo>
                <a:cubicBezTo>
                  <a:pt x="385" y="481"/>
                  <a:pt x="382" y="484"/>
                  <a:pt x="382" y="484"/>
                </a:cubicBezTo>
                <a:cubicBezTo>
                  <a:pt x="380" y="485"/>
                  <a:pt x="378" y="486"/>
                  <a:pt x="376" y="487"/>
                </a:cubicBezTo>
                <a:cubicBezTo>
                  <a:pt x="372" y="489"/>
                  <a:pt x="369" y="494"/>
                  <a:pt x="365" y="496"/>
                </a:cubicBezTo>
                <a:cubicBezTo>
                  <a:pt x="365" y="492"/>
                  <a:pt x="372" y="491"/>
                  <a:pt x="374" y="488"/>
                </a:cubicBezTo>
                <a:close/>
                <a:moveTo>
                  <a:pt x="365" y="407"/>
                </a:moveTo>
                <a:cubicBezTo>
                  <a:pt x="366" y="406"/>
                  <a:pt x="364" y="408"/>
                  <a:pt x="365" y="407"/>
                </a:cubicBezTo>
                <a:close/>
                <a:moveTo>
                  <a:pt x="354" y="444"/>
                </a:moveTo>
                <a:cubicBezTo>
                  <a:pt x="356" y="441"/>
                  <a:pt x="360" y="438"/>
                  <a:pt x="365" y="437"/>
                </a:cubicBezTo>
                <a:cubicBezTo>
                  <a:pt x="361" y="439"/>
                  <a:pt x="358" y="442"/>
                  <a:pt x="354" y="444"/>
                </a:cubicBezTo>
                <a:close/>
                <a:moveTo>
                  <a:pt x="354" y="419"/>
                </a:moveTo>
                <a:cubicBezTo>
                  <a:pt x="353" y="419"/>
                  <a:pt x="356" y="417"/>
                  <a:pt x="354" y="419"/>
                </a:cubicBezTo>
                <a:close/>
                <a:moveTo>
                  <a:pt x="358" y="413"/>
                </a:moveTo>
                <a:cubicBezTo>
                  <a:pt x="358" y="414"/>
                  <a:pt x="357" y="415"/>
                  <a:pt x="356" y="415"/>
                </a:cubicBezTo>
                <a:cubicBezTo>
                  <a:pt x="356" y="414"/>
                  <a:pt x="357" y="414"/>
                  <a:pt x="358" y="413"/>
                </a:cubicBezTo>
                <a:close/>
                <a:moveTo>
                  <a:pt x="358" y="130"/>
                </a:moveTo>
                <a:cubicBezTo>
                  <a:pt x="357" y="129"/>
                  <a:pt x="358" y="132"/>
                  <a:pt x="358" y="130"/>
                </a:cubicBezTo>
                <a:close/>
                <a:moveTo>
                  <a:pt x="359" y="414"/>
                </a:moveTo>
                <a:cubicBezTo>
                  <a:pt x="358" y="415"/>
                  <a:pt x="358" y="416"/>
                  <a:pt x="357" y="416"/>
                </a:cubicBezTo>
                <a:cubicBezTo>
                  <a:pt x="358" y="415"/>
                  <a:pt x="358" y="414"/>
                  <a:pt x="359" y="414"/>
                </a:cubicBezTo>
                <a:close/>
                <a:moveTo>
                  <a:pt x="357" y="416"/>
                </a:moveTo>
                <a:cubicBezTo>
                  <a:pt x="357" y="417"/>
                  <a:pt x="356" y="417"/>
                  <a:pt x="355" y="418"/>
                </a:cubicBezTo>
                <a:cubicBezTo>
                  <a:pt x="355" y="417"/>
                  <a:pt x="356" y="416"/>
                  <a:pt x="357" y="416"/>
                </a:cubicBezTo>
                <a:close/>
                <a:moveTo>
                  <a:pt x="360" y="312"/>
                </a:moveTo>
                <a:cubicBezTo>
                  <a:pt x="360" y="312"/>
                  <a:pt x="360" y="313"/>
                  <a:pt x="359" y="313"/>
                </a:cubicBezTo>
                <a:cubicBezTo>
                  <a:pt x="359" y="312"/>
                  <a:pt x="361" y="311"/>
                  <a:pt x="360" y="312"/>
                </a:cubicBezTo>
                <a:close/>
                <a:moveTo>
                  <a:pt x="360" y="411"/>
                </a:moveTo>
                <a:cubicBezTo>
                  <a:pt x="359" y="413"/>
                  <a:pt x="361" y="411"/>
                  <a:pt x="360" y="411"/>
                </a:cubicBezTo>
                <a:close/>
                <a:moveTo>
                  <a:pt x="359" y="414"/>
                </a:moveTo>
                <a:cubicBezTo>
                  <a:pt x="360" y="412"/>
                  <a:pt x="361" y="414"/>
                  <a:pt x="359" y="414"/>
                </a:cubicBezTo>
                <a:close/>
                <a:moveTo>
                  <a:pt x="361" y="412"/>
                </a:moveTo>
                <a:cubicBezTo>
                  <a:pt x="362" y="411"/>
                  <a:pt x="362" y="410"/>
                  <a:pt x="364" y="410"/>
                </a:cubicBezTo>
                <a:cubicBezTo>
                  <a:pt x="363" y="411"/>
                  <a:pt x="363" y="412"/>
                  <a:pt x="361" y="412"/>
                </a:cubicBezTo>
                <a:close/>
                <a:moveTo>
                  <a:pt x="364" y="204"/>
                </a:moveTo>
                <a:cubicBezTo>
                  <a:pt x="364" y="203"/>
                  <a:pt x="365" y="205"/>
                  <a:pt x="364" y="204"/>
                </a:cubicBezTo>
                <a:close/>
                <a:moveTo>
                  <a:pt x="363" y="409"/>
                </a:moveTo>
                <a:cubicBezTo>
                  <a:pt x="362" y="409"/>
                  <a:pt x="366" y="407"/>
                  <a:pt x="363" y="409"/>
                </a:cubicBezTo>
                <a:close/>
                <a:moveTo>
                  <a:pt x="362" y="253"/>
                </a:moveTo>
                <a:cubicBezTo>
                  <a:pt x="361" y="253"/>
                  <a:pt x="361" y="254"/>
                  <a:pt x="360" y="253"/>
                </a:cubicBezTo>
                <a:cubicBezTo>
                  <a:pt x="358" y="249"/>
                  <a:pt x="366" y="251"/>
                  <a:pt x="362" y="253"/>
                </a:cubicBezTo>
                <a:close/>
                <a:moveTo>
                  <a:pt x="362" y="67"/>
                </a:moveTo>
                <a:cubicBezTo>
                  <a:pt x="362" y="68"/>
                  <a:pt x="361" y="68"/>
                  <a:pt x="360" y="68"/>
                </a:cubicBezTo>
                <a:cubicBezTo>
                  <a:pt x="360" y="67"/>
                  <a:pt x="362" y="67"/>
                  <a:pt x="362" y="67"/>
                </a:cubicBezTo>
                <a:close/>
                <a:moveTo>
                  <a:pt x="363" y="73"/>
                </a:moveTo>
                <a:cubicBezTo>
                  <a:pt x="363" y="73"/>
                  <a:pt x="360" y="73"/>
                  <a:pt x="359" y="73"/>
                </a:cubicBezTo>
                <a:cubicBezTo>
                  <a:pt x="359" y="72"/>
                  <a:pt x="363" y="70"/>
                  <a:pt x="363" y="73"/>
                </a:cubicBezTo>
                <a:close/>
                <a:moveTo>
                  <a:pt x="359" y="40"/>
                </a:moveTo>
                <a:cubicBezTo>
                  <a:pt x="360" y="40"/>
                  <a:pt x="359" y="41"/>
                  <a:pt x="358" y="40"/>
                </a:cubicBezTo>
                <a:cubicBezTo>
                  <a:pt x="358" y="40"/>
                  <a:pt x="358" y="39"/>
                  <a:pt x="359" y="40"/>
                </a:cubicBezTo>
                <a:close/>
                <a:moveTo>
                  <a:pt x="359" y="47"/>
                </a:moveTo>
                <a:cubicBezTo>
                  <a:pt x="359" y="47"/>
                  <a:pt x="357" y="47"/>
                  <a:pt x="357" y="46"/>
                </a:cubicBezTo>
                <a:cubicBezTo>
                  <a:pt x="357" y="46"/>
                  <a:pt x="358" y="46"/>
                  <a:pt x="359" y="47"/>
                </a:cubicBezTo>
                <a:close/>
                <a:moveTo>
                  <a:pt x="350" y="49"/>
                </a:moveTo>
                <a:cubicBezTo>
                  <a:pt x="350" y="49"/>
                  <a:pt x="350" y="50"/>
                  <a:pt x="349" y="50"/>
                </a:cubicBezTo>
                <a:cubicBezTo>
                  <a:pt x="348" y="49"/>
                  <a:pt x="350" y="48"/>
                  <a:pt x="350" y="49"/>
                </a:cubicBezTo>
                <a:close/>
                <a:moveTo>
                  <a:pt x="347" y="81"/>
                </a:moveTo>
                <a:cubicBezTo>
                  <a:pt x="347" y="82"/>
                  <a:pt x="346" y="82"/>
                  <a:pt x="346" y="82"/>
                </a:cubicBezTo>
                <a:cubicBezTo>
                  <a:pt x="345" y="81"/>
                  <a:pt x="347" y="80"/>
                  <a:pt x="347" y="81"/>
                </a:cubicBezTo>
                <a:close/>
                <a:moveTo>
                  <a:pt x="346" y="127"/>
                </a:moveTo>
                <a:cubicBezTo>
                  <a:pt x="348" y="124"/>
                  <a:pt x="357" y="125"/>
                  <a:pt x="357" y="129"/>
                </a:cubicBezTo>
                <a:cubicBezTo>
                  <a:pt x="356" y="136"/>
                  <a:pt x="342" y="134"/>
                  <a:pt x="346" y="127"/>
                </a:cubicBezTo>
                <a:close/>
                <a:moveTo>
                  <a:pt x="353" y="149"/>
                </a:moveTo>
                <a:cubicBezTo>
                  <a:pt x="354" y="147"/>
                  <a:pt x="357" y="148"/>
                  <a:pt x="353" y="149"/>
                </a:cubicBezTo>
                <a:close/>
                <a:moveTo>
                  <a:pt x="345" y="114"/>
                </a:moveTo>
                <a:cubicBezTo>
                  <a:pt x="345" y="115"/>
                  <a:pt x="343" y="114"/>
                  <a:pt x="345" y="114"/>
                </a:cubicBezTo>
                <a:close/>
                <a:moveTo>
                  <a:pt x="344" y="85"/>
                </a:moveTo>
                <a:cubicBezTo>
                  <a:pt x="343" y="85"/>
                  <a:pt x="343" y="84"/>
                  <a:pt x="343" y="84"/>
                </a:cubicBezTo>
                <a:cubicBezTo>
                  <a:pt x="342" y="82"/>
                  <a:pt x="345" y="84"/>
                  <a:pt x="344" y="85"/>
                </a:cubicBezTo>
                <a:close/>
                <a:moveTo>
                  <a:pt x="347" y="145"/>
                </a:moveTo>
                <a:cubicBezTo>
                  <a:pt x="345" y="147"/>
                  <a:pt x="341" y="149"/>
                  <a:pt x="338" y="149"/>
                </a:cubicBezTo>
                <a:cubicBezTo>
                  <a:pt x="340" y="148"/>
                  <a:pt x="344" y="147"/>
                  <a:pt x="347" y="145"/>
                </a:cubicBezTo>
                <a:close/>
                <a:moveTo>
                  <a:pt x="339" y="111"/>
                </a:moveTo>
                <a:cubicBezTo>
                  <a:pt x="339" y="111"/>
                  <a:pt x="338" y="112"/>
                  <a:pt x="338" y="112"/>
                </a:cubicBezTo>
                <a:cubicBezTo>
                  <a:pt x="337" y="111"/>
                  <a:pt x="338" y="111"/>
                  <a:pt x="339" y="111"/>
                </a:cubicBezTo>
                <a:close/>
                <a:moveTo>
                  <a:pt x="340" y="58"/>
                </a:moveTo>
                <a:cubicBezTo>
                  <a:pt x="340" y="58"/>
                  <a:pt x="338" y="59"/>
                  <a:pt x="338" y="58"/>
                </a:cubicBezTo>
                <a:cubicBezTo>
                  <a:pt x="338" y="58"/>
                  <a:pt x="340" y="57"/>
                  <a:pt x="340" y="58"/>
                </a:cubicBezTo>
                <a:close/>
                <a:moveTo>
                  <a:pt x="338" y="85"/>
                </a:moveTo>
                <a:cubicBezTo>
                  <a:pt x="337" y="85"/>
                  <a:pt x="337" y="86"/>
                  <a:pt x="336" y="85"/>
                </a:cubicBezTo>
                <a:cubicBezTo>
                  <a:pt x="336" y="85"/>
                  <a:pt x="337" y="85"/>
                  <a:pt x="338" y="85"/>
                </a:cubicBezTo>
                <a:close/>
                <a:moveTo>
                  <a:pt x="336" y="151"/>
                </a:moveTo>
                <a:cubicBezTo>
                  <a:pt x="336" y="151"/>
                  <a:pt x="336" y="150"/>
                  <a:pt x="337" y="150"/>
                </a:cubicBezTo>
                <a:cubicBezTo>
                  <a:pt x="337" y="150"/>
                  <a:pt x="336" y="151"/>
                  <a:pt x="336" y="151"/>
                </a:cubicBezTo>
                <a:close/>
                <a:moveTo>
                  <a:pt x="337" y="161"/>
                </a:moveTo>
                <a:cubicBezTo>
                  <a:pt x="337" y="162"/>
                  <a:pt x="335" y="163"/>
                  <a:pt x="335" y="161"/>
                </a:cubicBezTo>
                <a:cubicBezTo>
                  <a:pt x="335" y="160"/>
                  <a:pt x="337" y="161"/>
                  <a:pt x="337" y="161"/>
                </a:cubicBezTo>
                <a:close/>
                <a:moveTo>
                  <a:pt x="335" y="151"/>
                </a:moveTo>
                <a:cubicBezTo>
                  <a:pt x="336" y="151"/>
                  <a:pt x="333" y="153"/>
                  <a:pt x="333" y="152"/>
                </a:cubicBezTo>
                <a:cubicBezTo>
                  <a:pt x="333" y="151"/>
                  <a:pt x="335" y="151"/>
                  <a:pt x="335" y="151"/>
                </a:cubicBezTo>
                <a:close/>
                <a:moveTo>
                  <a:pt x="334" y="65"/>
                </a:moveTo>
                <a:cubicBezTo>
                  <a:pt x="333" y="65"/>
                  <a:pt x="333" y="65"/>
                  <a:pt x="332" y="65"/>
                </a:cubicBezTo>
                <a:cubicBezTo>
                  <a:pt x="332" y="65"/>
                  <a:pt x="333" y="64"/>
                  <a:pt x="334" y="65"/>
                </a:cubicBezTo>
                <a:close/>
                <a:moveTo>
                  <a:pt x="356" y="172"/>
                </a:moveTo>
                <a:cubicBezTo>
                  <a:pt x="348" y="177"/>
                  <a:pt x="339" y="182"/>
                  <a:pt x="329" y="187"/>
                </a:cubicBezTo>
                <a:cubicBezTo>
                  <a:pt x="329" y="187"/>
                  <a:pt x="327" y="189"/>
                  <a:pt x="326" y="188"/>
                </a:cubicBezTo>
                <a:cubicBezTo>
                  <a:pt x="325" y="187"/>
                  <a:pt x="329" y="186"/>
                  <a:pt x="327" y="187"/>
                </a:cubicBezTo>
                <a:cubicBezTo>
                  <a:pt x="336" y="181"/>
                  <a:pt x="347" y="175"/>
                  <a:pt x="356" y="172"/>
                </a:cubicBezTo>
                <a:close/>
                <a:moveTo>
                  <a:pt x="331" y="92"/>
                </a:moveTo>
                <a:cubicBezTo>
                  <a:pt x="331" y="94"/>
                  <a:pt x="328" y="93"/>
                  <a:pt x="328" y="92"/>
                </a:cubicBezTo>
                <a:cubicBezTo>
                  <a:pt x="329" y="91"/>
                  <a:pt x="330" y="91"/>
                  <a:pt x="331" y="92"/>
                </a:cubicBezTo>
                <a:close/>
                <a:moveTo>
                  <a:pt x="326" y="66"/>
                </a:moveTo>
                <a:cubicBezTo>
                  <a:pt x="325" y="67"/>
                  <a:pt x="324" y="66"/>
                  <a:pt x="323" y="66"/>
                </a:cubicBezTo>
                <a:cubicBezTo>
                  <a:pt x="323" y="65"/>
                  <a:pt x="325" y="66"/>
                  <a:pt x="326" y="66"/>
                </a:cubicBezTo>
                <a:close/>
                <a:moveTo>
                  <a:pt x="323" y="101"/>
                </a:moveTo>
                <a:cubicBezTo>
                  <a:pt x="323" y="101"/>
                  <a:pt x="325" y="99"/>
                  <a:pt x="325" y="101"/>
                </a:cubicBezTo>
                <a:cubicBezTo>
                  <a:pt x="326" y="102"/>
                  <a:pt x="322" y="103"/>
                  <a:pt x="323" y="101"/>
                </a:cubicBezTo>
                <a:close/>
                <a:moveTo>
                  <a:pt x="320" y="102"/>
                </a:moveTo>
                <a:cubicBezTo>
                  <a:pt x="321" y="100"/>
                  <a:pt x="323" y="102"/>
                  <a:pt x="320" y="102"/>
                </a:cubicBezTo>
                <a:close/>
                <a:moveTo>
                  <a:pt x="313" y="98"/>
                </a:moveTo>
                <a:cubicBezTo>
                  <a:pt x="313" y="98"/>
                  <a:pt x="316" y="96"/>
                  <a:pt x="317" y="98"/>
                </a:cubicBezTo>
                <a:cubicBezTo>
                  <a:pt x="317" y="99"/>
                  <a:pt x="313" y="99"/>
                  <a:pt x="313" y="98"/>
                </a:cubicBezTo>
                <a:close/>
                <a:moveTo>
                  <a:pt x="316" y="67"/>
                </a:moveTo>
                <a:cubicBezTo>
                  <a:pt x="317" y="67"/>
                  <a:pt x="315" y="68"/>
                  <a:pt x="314" y="68"/>
                </a:cubicBezTo>
                <a:cubicBezTo>
                  <a:pt x="315" y="67"/>
                  <a:pt x="315" y="67"/>
                  <a:pt x="316" y="67"/>
                </a:cubicBezTo>
                <a:close/>
                <a:moveTo>
                  <a:pt x="313" y="68"/>
                </a:moveTo>
                <a:cubicBezTo>
                  <a:pt x="313" y="68"/>
                  <a:pt x="312" y="68"/>
                  <a:pt x="311" y="68"/>
                </a:cubicBezTo>
                <a:cubicBezTo>
                  <a:pt x="311" y="68"/>
                  <a:pt x="313" y="67"/>
                  <a:pt x="313" y="68"/>
                </a:cubicBezTo>
                <a:close/>
                <a:moveTo>
                  <a:pt x="300" y="82"/>
                </a:moveTo>
                <a:cubicBezTo>
                  <a:pt x="298" y="83"/>
                  <a:pt x="298" y="82"/>
                  <a:pt x="300" y="82"/>
                </a:cubicBezTo>
                <a:close/>
                <a:moveTo>
                  <a:pt x="299" y="99"/>
                </a:moveTo>
                <a:cubicBezTo>
                  <a:pt x="298" y="100"/>
                  <a:pt x="294" y="100"/>
                  <a:pt x="294" y="100"/>
                </a:cubicBezTo>
                <a:cubicBezTo>
                  <a:pt x="293" y="100"/>
                  <a:pt x="293" y="99"/>
                  <a:pt x="293" y="99"/>
                </a:cubicBezTo>
                <a:cubicBezTo>
                  <a:pt x="293" y="99"/>
                  <a:pt x="291" y="101"/>
                  <a:pt x="291" y="99"/>
                </a:cubicBezTo>
                <a:cubicBezTo>
                  <a:pt x="290" y="98"/>
                  <a:pt x="300" y="95"/>
                  <a:pt x="299" y="99"/>
                </a:cubicBezTo>
                <a:close/>
                <a:moveTo>
                  <a:pt x="293" y="116"/>
                </a:moveTo>
                <a:cubicBezTo>
                  <a:pt x="299" y="113"/>
                  <a:pt x="305" y="113"/>
                  <a:pt x="311" y="110"/>
                </a:cubicBezTo>
                <a:cubicBezTo>
                  <a:pt x="316" y="108"/>
                  <a:pt x="321" y="105"/>
                  <a:pt x="327" y="105"/>
                </a:cubicBezTo>
                <a:cubicBezTo>
                  <a:pt x="327" y="105"/>
                  <a:pt x="328" y="105"/>
                  <a:pt x="328" y="106"/>
                </a:cubicBezTo>
                <a:cubicBezTo>
                  <a:pt x="328" y="107"/>
                  <a:pt x="318" y="110"/>
                  <a:pt x="315" y="111"/>
                </a:cubicBezTo>
                <a:cubicBezTo>
                  <a:pt x="310" y="112"/>
                  <a:pt x="306" y="113"/>
                  <a:pt x="301" y="114"/>
                </a:cubicBezTo>
                <a:cubicBezTo>
                  <a:pt x="299" y="115"/>
                  <a:pt x="294" y="118"/>
                  <a:pt x="292" y="118"/>
                </a:cubicBezTo>
                <a:cubicBezTo>
                  <a:pt x="288" y="118"/>
                  <a:pt x="293" y="116"/>
                  <a:pt x="293" y="116"/>
                </a:cubicBezTo>
                <a:close/>
                <a:moveTo>
                  <a:pt x="294" y="382"/>
                </a:moveTo>
                <a:cubicBezTo>
                  <a:pt x="294" y="382"/>
                  <a:pt x="293" y="382"/>
                  <a:pt x="292" y="384"/>
                </a:cubicBezTo>
                <a:cubicBezTo>
                  <a:pt x="289" y="386"/>
                  <a:pt x="286" y="391"/>
                  <a:pt x="283" y="396"/>
                </a:cubicBezTo>
                <a:cubicBezTo>
                  <a:pt x="281" y="399"/>
                  <a:pt x="280" y="403"/>
                  <a:pt x="278" y="405"/>
                </a:cubicBezTo>
                <a:cubicBezTo>
                  <a:pt x="278" y="406"/>
                  <a:pt x="277" y="406"/>
                  <a:pt x="277" y="406"/>
                </a:cubicBezTo>
                <a:cubicBezTo>
                  <a:pt x="276" y="406"/>
                  <a:pt x="280" y="399"/>
                  <a:pt x="281" y="398"/>
                </a:cubicBezTo>
                <a:cubicBezTo>
                  <a:pt x="283" y="395"/>
                  <a:pt x="284" y="392"/>
                  <a:pt x="286" y="390"/>
                </a:cubicBezTo>
                <a:cubicBezTo>
                  <a:pt x="287" y="388"/>
                  <a:pt x="291" y="385"/>
                  <a:pt x="291" y="382"/>
                </a:cubicBezTo>
                <a:cubicBezTo>
                  <a:pt x="291" y="382"/>
                  <a:pt x="290" y="380"/>
                  <a:pt x="290" y="379"/>
                </a:cubicBezTo>
                <a:cubicBezTo>
                  <a:pt x="290" y="375"/>
                  <a:pt x="298" y="376"/>
                  <a:pt x="294" y="382"/>
                </a:cubicBezTo>
                <a:close/>
                <a:moveTo>
                  <a:pt x="286" y="197"/>
                </a:moveTo>
                <a:cubicBezTo>
                  <a:pt x="286" y="197"/>
                  <a:pt x="286" y="198"/>
                  <a:pt x="286" y="198"/>
                </a:cubicBezTo>
                <a:cubicBezTo>
                  <a:pt x="285" y="198"/>
                  <a:pt x="285" y="196"/>
                  <a:pt x="286" y="197"/>
                </a:cubicBezTo>
                <a:close/>
                <a:moveTo>
                  <a:pt x="286" y="346"/>
                </a:moveTo>
                <a:cubicBezTo>
                  <a:pt x="287" y="346"/>
                  <a:pt x="286" y="347"/>
                  <a:pt x="286" y="348"/>
                </a:cubicBezTo>
                <a:cubicBezTo>
                  <a:pt x="284" y="350"/>
                  <a:pt x="284" y="344"/>
                  <a:pt x="286" y="346"/>
                </a:cubicBezTo>
                <a:close/>
                <a:moveTo>
                  <a:pt x="284" y="385"/>
                </a:moveTo>
                <a:cubicBezTo>
                  <a:pt x="284" y="386"/>
                  <a:pt x="283" y="386"/>
                  <a:pt x="283" y="386"/>
                </a:cubicBezTo>
                <a:cubicBezTo>
                  <a:pt x="282" y="386"/>
                  <a:pt x="284" y="385"/>
                  <a:pt x="284" y="385"/>
                </a:cubicBezTo>
                <a:close/>
                <a:moveTo>
                  <a:pt x="281" y="387"/>
                </a:moveTo>
                <a:cubicBezTo>
                  <a:pt x="283" y="388"/>
                  <a:pt x="280" y="390"/>
                  <a:pt x="279" y="391"/>
                </a:cubicBezTo>
                <a:cubicBezTo>
                  <a:pt x="280" y="389"/>
                  <a:pt x="281" y="388"/>
                  <a:pt x="281" y="387"/>
                </a:cubicBezTo>
                <a:close/>
                <a:moveTo>
                  <a:pt x="278" y="392"/>
                </a:moveTo>
                <a:cubicBezTo>
                  <a:pt x="278" y="393"/>
                  <a:pt x="277" y="393"/>
                  <a:pt x="277" y="394"/>
                </a:cubicBezTo>
                <a:cubicBezTo>
                  <a:pt x="276" y="394"/>
                  <a:pt x="277" y="392"/>
                  <a:pt x="278" y="392"/>
                </a:cubicBezTo>
                <a:close/>
                <a:moveTo>
                  <a:pt x="275" y="342"/>
                </a:moveTo>
                <a:cubicBezTo>
                  <a:pt x="274" y="343"/>
                  <a:pt x="274" y="343"/>
                  <a:pt x="273" y="344"/>
                </a:cubicBezTo>
                <a:cubicBezTo>
                  <a:pt x="273" y="344"/>
                  <a:pt x="274" y="342"/>
                  <a:pt x="275" y="342"/>
                </a:cubicBezTo>
                <a:close/>
                <a:moveTo>
                  <a:pt x="273" y="119"/>
                </a:moveTo>
                <a:cubicBezTo>
                  <a:pt x="273" y="120"/>
                  <a:pt x="272" y="119"/>
                  <a:pt x="271" y="120"/>
                </a:cubicBezTo>
                <a:cubicBezTo>
                  <a:pt x="271" y="119"/>
                  <a:pt x="273" y="119"/>
                  <a:pt x="273" y="119"/>
                </a:cubicBezTo>
                <a:close/>
                <a:moveTo>
                  <a:pt x="272" y="481"/>
                </a:moveTo>
                <a:cubicBezTo>
                  <a:pt x="273" y="482"/>
                  <a:pt x="271" y="483"/>
                  <a:pt x="271" y="483"/>
                </a:cubicBezTo>
                <a:cubicBezTo>
                  <a:pt x="269" y="483"/>
                  <a:pt x="271" y="480"/>
                  <a:pt x="272" y="481"/>
                </a:cubicBezTo>
                <a:close/>
                <a:moveTo>
                  <a:pt x="270" y="120"/>
                </a:moveTo>
                <a:cubicBezTo>
                  <a:pt x="269" y="119"/>
                  <a:pt x="271" y="121"/>
                  <a:pt x="270" y="120"/>
                </a:cubicBezTo>
                <a:close/>
                <a:moveTo>
                  <a:pt x="270" y="409"/>
                </a:moveTo>
                <a:cubicBezTo>
                  <a:pt x="270" y="410"/>
                  <a:pt x="269" y="410"/>
                  <a:pt x="269" y="411"/>
                </a:cubicBezTo>
                <a:cubicBezTo>
                  <a:pt x="268" y="410"/>
                  <a:pt x="270" y="409"/>
                  <a:pt x="270" y="409"/>
                </a:cubicBezTo>
                <a:close/>
                <a:moveTo>
                  <a:pt x="269" y="378"/>
                </a:moveTo>
                <a:cubicBezTo>
                  <a:pt x="269" y="380"/>
                  <a:pt x="267" y="379"/>
                  <a:pt x="266" y="380"/>
                </a:cubicBezTo>
                <a:cubicBezTo>
                  <a:pt x="266" y="379"/>
                  <a:pt x="268" y="379"/>
                  <a:pt x="269" y="378"/>
                </a:cubicBezTo>
                <a:close/>
                <a:moveTo>
                  <a:pt x="267" y="407"/>
                </a:moveTo>
                <a:cubicBezTo>
                  <a:pt x="269" y="408"/>
                  <a:pt x="267" y="411"/>
                  <a:pt x="266" y="411"/>
                </a:cubicBezTo>
                <a:cubicBezTo>
                  <a:pt x="263" y="412"/>
                  <a:pt x="265" y="406"/>
                  <a:pt x="267" y="407"/>
                </a:cubicBezTo>
                <a:close/>
                <a:moveTo>
                  <a:pt x="264" y="422"/>
                </a:moveTo>
                <a:cubicBezTo>
                  <a:pt x="265" y="423"/>
                  <a:pt x="264" y="423"/>
                  <a:pt x="264" y="423"/>
                </a:cubicBezTo>
                <a:cubicBezTo>
                  <a:pt x="263" y="424"/>
                  <a:pt x="264" y="422"/>
                  <a:pt x="264" y="422"/>
                </a:cubicBezTo>
                <a:close/>
                <a:moveTo>
                  <a:pt x="264" y="455"/>
                </a:moveTo>
                <a:cubicBezTo>
                  <a:pt x="266" y="456"/>
                  <a:pt x="265" y="457"/>
                  <a:pt x="264" y="458"/>
                </a:cubicBezTo>
                <a:cubicBezTo>
                  <a:pt x="262" y="459"/>
                  <a:pt x="262" y="454"/>
                  <a:pt x="264" y="455"/>
                </a:cubicBezTo>
                <a:close/>
                <a:moveTo>
                  <a:pt x="262" y="487"/>
                </a:moveTo>
                <a:cubicBezTo>
                  <a:pt x="263" y="486"/>
                  <a:pt x="262" y="487"/>
                  <a:pt x="262" y="487"/>
                </a:cubicBezTo>
                <a:cubicBezTo>
                  <a:pt x="262" y="487"/>
                  <a:pt x="262" y="487"/>
                  <a:pt x="262" y="487"/>
                </a:cubicBezTo>
                <a:close/>
                <a:moveTo>
                  <a:pt x="262" y="390"/>
                </a:moveTo>
                <a:cubicBezTo>
                  <a:pt x="262" y="390"/>
                  <a:pt x="261" y="391"/>
                  <a:pt x="261" y="391"/>
                </a:cubicBezTo>
                <a:cubicBezTo>
                  <a:pt x="260" y="392"/>
                  <a:pt x="261" y="389"/>
                  <a:pt x="262" y="390"/>
                </a:cubicBezTo>
                <a:close/>
                <a:moveTo>
                  <a:pt x="261" y="409"/>
                </a:moveTo>
                <a:cubicBezTo>
                  <a:pt x="262" y="410"/>
                  <a:pt x="261" y="412"/>
                  <a:pt x="261" y="412"/>
                </a:cubicBezTo>
                <a:cubicBezTo>
                  <a:pt x="258" y="415"/>
                  <a:pt x="259" y="408"/>
                  <a:pt x="261" y="409"/>
                </a:cubicBezTo>
                <a:close/>
                <a:moveTo>
                  <a:pt x="260" y="161"/>
                </a:moveTo>
                <a:cubicBezTo>
                  <a:pt x="259" y="162"/>
                  <a:pt x="258" y="162"/>
                  <a:pt x="257" y="162"/>
                </a:cubicBezTo>
                <a:cubicBezTo>
                  <a:pt x="258" y="161"/>
                  <a:pt x="259" y="161"/>
                  <a:pt x="260" y="161"/>
                </a:cubicBezTo>
                <a:close/>
                <a:moveTo>
                  <a:pt x="256" y="236"/>
                </a:moveTo>
                <a:cubicBezTo>
                  <a:pt x="257" y="236"/>
                  <a:pt x="257" y="237"/>
                  <a:pt x="257" y="237"/>
                </a:cubicBezTo>
                <a:cubicBezTo>
                  <a:pt x="255" y="239"/>
                  <a:pt x="255" y="235"/>
                  <a:pt x="256" y="236"/>
                </a:cubicBezTo>
                <a:close/>
                <a:moveTo>
                  <a:pt x="220" y="484"/>
                </a:moveTo>
                <a:cubicBezTo>
                  <a:pt x="219" y="485"/>
                  <a:pt x="219" y="482"/>
                  <a:pt x="220" y="482"/>
                </a:cubicBezTo>
                <a:cubicBezTo>
                  <a:pt x="220" y="483"/>
                  <a:pt x="220" y="483"/>
                  <a:pt x="220" y="484"/>
                </a:cubicBezTo>
                <a:close/>
                <a:moveTo>
                  <a:pt x="219" y="482"/>
                </a:moveTo>
                <a:cubicBezTo>
                  <a:pt x="218" y="481"/>
                  <a:pt x="220" y="479"/>
                  <a:pt x="220" y="480"/>
                </a:cubicBezTo>
                <a:cubicBezTo>
                  <a:pt x="221" y="482"/>
                  <a:pt x="219" y="483"/>
                  <a:pt x="219" y="482"/>
                </a:cubicBezTo>
                <a:close/>
                <a:moveTo>
                  <a:pt x="223" y="478"/>
                </a:moveTo>
                <a:cubicBezTo>
                  <a:pt x="219" y="481"/>
                  <a:pt x="218" y="471"/>
                  <a:pt x="222" y="470"/>
                </a:cubicBezTo>
                <a:cubicBezTo>
                  <a:pt x="220" y="474"/>
                  <a:pt x="224" y="473"/>
                  <a:pt x="224" y="475"/>
                </a:cubicBezTo>
                <a:cubicBezTo>
                  <a:pt x="224" y="475"/>
                  <a:pt x="223" y="477"/>
                  <a:pt x="223" y="478"/>
                </a:cubicBezTo>
                <a:close/>
                <a:moveTo>
                  <a:pt x="226" y="519"/>
                </a:moveTo>
                <a:cubicBezTo>
                  <a:pt x="226" y="519"/>
                  <a:pt x="226" y="519"/>
                  <a:pt x="226" y="519"/>
                </a:cubicBezTo>
                <a:cubicBezTo>
                  <a:pt x="226" y="518"/>
                  <a:pt x="227" y="518"/>
                  <a:pt x="227" y="518"/>
                </a:cubicBezTo>
                <a:cubicBezTo>
                  <a:pt x="226" y="518"/>
                  <a:pt x="226" y="519"/>
                  <a:pt x="226" y="519"/>
                </a:cubicBezTo>
                <a:close/>
                <a:moveTo>
                  <a:pt x="231" y="488"/>
                </a:moveTo>
                <a:cubicBezTo>
                  <a:pt x="232" y="486"/>
                  <a:pt x="234" y="487"/>
                  <a:pt x="231" y="488"/>
                </a:cubicBezTo>
                <a:close/>
                <a:moveTo>
                  <a:pt x="236" y="473"/>
                </a:moveTo>
                <a:cubicBezTo>
                  <a:pt x="236" y="474"/>
                  <a:pt x="238" y="474"/>
                  <a:pt x="236" y="476"/>
                </a:cubicBezTo>
                <a:cubicBezTo>
                  <a:pt x="237" y="475"/>
                  <a:pt x="234" y="476"/>
                  <a:pt x="234" y="476"/>
                </a:cubicBezTo>
                <a:cubicBezTo>
                  <a:pt x="233" y="475"/>
                  <a:pt x="233" y="474"/>
                  <a:pt x="235" y="473"/>
                </a:cubicBezTo>
                <a:cubicBezTo>
                  <a:pt x="233" y="473"/>
                  <a:pt x="231" y="472"/>
                  <a:pt x="231" y="470"/>
                </a:cubicBezTo>
                <a:cubicBezTo>
                  <a:pt x="231" y="467"/>
                  <a:pt x="233" y="465"/>
                  <a:pt x="236" y="464"/>
                </a:cubicBezTo>
                <a:cubicBezTo>
                  <a:pt x="236" y="464"/>
                  <a:pt x="236" y="464"/>
                  <a:pt x="236" y="464"/>
                </a:cubicBezTo>
                <a:cubicBezTo>
                  <a:pt x="237" y="464"/>
                  <a:pt x="238" y="466"/>
                  <a:pt x="238" y="466"/>
                </a:cubicBezTo>
                <a:cubicBezTo>
                  <a:pt x="240" y="467"/>
                  <a:pt x="239" y="462"/>
                  <a:pt x="241" y="463"/>
                </a:cubicBezTo>
                <a:cubicBezTo>
                  <a:pt x="244" y="463"/>
                  <a:pt x="241" y="465"/>
                  <a:pt x="241" y="466"/>
                </a:cubicBezTo>
                <a:cubicBezTo>
                  <a:pt x="240" y="468"/>
                  <a:pt x="242" y="468"/>
                  <a:pt x="239" y="470"/>
                </a:cubicBezTo>
                <a:cubicBezTo>
                  <a:pt x="238" y="470"/>
                  <a:pt x="236" y="473"/>
                  <a:pt x="236" y="473"/>
                </a:cubicBezTo>
                <a:close/>
                <a:moveTo>
                  <a:pt x="232" y="444"/>
                </a:moveTo>
                <a:cubicBezTo>
                  <a:pt x="233" y="444"/>
                  <a:pt x="233" y="443"/>
                  <a:pt x="233" y="444"/>
                </a:cubicBezTo>
                <a:cubicBezTo>
                  <a:pt x="232" y="444"/>
                  <a:pt x="232" y="444"/>
                  <a:pt x="232" y="444"/>
                </a:cubicBezTo>
                <a:close/>
                <a:moveTo>
                  <a:pt x="237" y="453"/>
                </a:moveTo>
                <a:cubicBezTo>
                  <a:pt x="239" y="450"/>
                  <a:pt x="241" y="447"/>
                  <a:pt x="243" y="445"/>
                </a:cubicBezTo>
                <a:cubicBezTo>
                  <a:pt x="242" y="448"/>
                  <a:pt x="240" y="450"/>
                  <a:pt x="237" y="453"/>
                </a:cubicBezTo>
                <a:close/>
                <a:moveTo>
                  <a:pt x="243" y="461"/>
                </a:moveTo>
                <a:cubicBezTo>
                  <a:pt x="242" y="462"/>
                  <a:pt x="243" y="460"/>
                  <a:pt x="243" y="460"/>
                </a:cubicBezTo>
                <a:cubicBezTo>
                  <a:pt x="244" y="460"/>
                  <a:pt x="244" y="461"/>
                  <a:pt x="243" y="461"/>
                </a:cubicBezTo>
                <a:close/>
                <a:moveTo>
                  <a:pt x="238" y="463"/>
                </a:moveTo>
                <a:cubicBezTo>
                  <a:pt x="237" y="462"/>
                  <a:pt x="239" y="461"/>
                  <a:pt x="239" y="462"/>
                </a:cubicBezTo>
                <a:cubicBezTo>
                  <a:pt x="241" y="463"/>
                  <a:pt x="238" y="465"/>
                  <a:pt x="238" y="463"/>
                </a:cubicBezTo>
                <a:close/>
                <a:moveTo>
                  <a:pt x="237" y="446"/>
                </a:moveTo>
                <a:cubicBezTo>
                  <a:pt x="234" y="447"/>
                  <a:pt x="235" y="441"/>
                  <a:pt x="238" y="443"/>
                </a:cubicBezTo>
                <a:cubicBezTo>
                  <a:pt x="239" y="443"/>
                  <a:pt x="237" y="445"/>
                  <a:pt x="237" y="446"/>
                </a:cubicBezTo>
                <a:close/>
                <a:moveTo>
                  <a:pt x="236" y="453"/>
                </a:moveTo>
                <a:cubicBezTo>
                  <a:pt x="236" y="455"/>
                  <a:pt x="234" y="458"/>
                  <a:pt x="233" y="458"/>
                </a:cubicBezTo>
                <a:cubicBezTo>
                  <a:pt x="233" y="458"/>
                  <a:pt x="235" y="454"/>
                  <a:pt x="236" y="453"/>
                </a:cubicBezTo>
                <a:close/>
                <a:moveTo>
                  <a:pt x="234" y="464"/>
                </a:moveTo>
                <a:cubicBezTo>
                  <a:pt x="235" y="462"/>
                  <a:pt x="233" y="465"/>
                  <a:pt x="234" y="464"/>
                </a:cubicBezTo>
                <a:close/>
                <a:moveTo>
                  <a:pt x="241" y="500"/>
                </a:moveTo>
                <a:cubicBezTo>
                  <a:pt x="240" y="501"/>
                  <a:pt x="241" y="499"/>
                  <a:pt x="241" y="499"/>
                </a:cubicBezTo>
                <a:cubicBezTo>
                  <a:pt x="242" y="499"/>
                  <a:pt x="242" y="500"/>
                  <a:pt x="241" y="500"/>
                </a:cubicBezTo>
                <a:close/>
                <a:moveTo>
                  <a:pt x="243" y="497"/>
                </a:moveTo>
                <a:cubicBezTo>
                  <a:pt x="241" y="498"/>
                  <a:pt x="243" y="494"/>
                  <a:pt x="244" y="496"/>
                </a:cubicBezTo>
                <a:cubicBezTo>
                  <a:pt x="244" y="496"/>
                  <a:pt x="243" y="497"/>
                  <a:pt x="243" y="497"/>
                </a:cubicBezTo>
                <a:close/>
                <a:moveTo>
                  <a:pt x="245" y="513"/>
                </a:moveTo>
                <a:cubicBezTo>
                  <a:pt x="246" y="513"/>
                  <a:pt x="244" y="514"/>
                  <a:pt x="245" y="513"/>
                </a:cubicBezTo>
                <a:close/>
                <a:moveTo>
                  <a:pt x="244" y="494"/>
                </a:moveTo>
                <a:cubicBezTo>
                  <a:pt x="245" y="492"/>
                  <a:pt x="249" y="492"/>
                  <a:pt x="248" y="495"/>
                </a:cubicBezTo>
                <a:cubicBezTo>
                  <a:pt x="248" y="497"/>
                  <a:pt x="242" y="497"/>
                  <a:pt x="244" y="494"/>
                </a:cubicBezTo>
                <a:close/>
                <a:moveTo>
                  <a:pt x="248" y="489"/>
                </a:moveTo>
                <a:cubicBezTo>
                  <a:pt x="247" y="488"/>
                  <a:pt x="249" y="488"/>
                  <a:pt x="248" y="489"/>
                </a:cubicBezTo>
                <a:close/>
                <a:moveTo>
                  <a:pt x="249" y="485"/>
                </a:moveTo>
                <a:cubicBezTo>
                  <a:pt x="248" y="486"/>
                  <a:pt x="249" y="483"/>
                  <a:pt x="249" y="484"/>
                </a:cubicBezTo>
                <a:cubicBezTo>
                  <a:pt x="250" y="484"/>
                  <a:pt x="249" y="485"/>
                  <a:pt x="249" y="485"/>
                </a:cubicBezTo>
                <a:close/>
                <a:moveTo>
                  <a:pt x="251" y="501"/>
                </a:moveTo>
                <a:cubicBezTo>
                  <a:pt x="251" y="501"/>
                  <a:pt x="251" y="501"/>
                  <a:pt x="251" y="501"/>
                </a:cubicBezTo>
                <a:cubicBezTo>
                  <a:pt x="251" y="499"/>
                  <a:pt x="252" y="503"/>
                  <a:pt x="251" y="501"/>
                </a:cubicBezTo>
                <a:close/>
                <a:moveTo>
                  <a:pt x="252" y="488"/>
                </a:moveTo>
                <a:cubicBezTo>
                  <a:pt x="252" y="488"/>
                  <a:pt x="251" y="489"/>
                  <a:pt x="251" y="488"/>
                </a:cubicBezTo>
                <a:cubicBezTo>
                  <a:pt x="248" y="485"/>
                  <a:pt x="256" y="486"/>
                  <a:pt x="252" y="488"/>
                </a:cubicBezTo>
                <a:close/>
                <a:moveTo>
                  <a:pt x="252" y="480"/>
                </a:moveTo>
                <a:cubicBezTo>
                  <a:pt x="251" y="480"/>
                  <a:pt x="251" y="480"/>
                  <a:pt x="251" y="480"/>
                </a:cubicBezTo>
                <a:cubicBezTo>
                  <a:pt x="250" y="480"/>
                  <a:pt x="252" y="479"/>
                  <a:pt x="252" y="480"/>
                </a:cubicBezTo>
                <a:close/>
                <a:moveTo>
                  <a:pt x="250" y="475"/>
                </a:moveTo>
                <a:cubicBezTo>
                  <a:pt x="248" y="477"/>
                  <a:pt x="245" y="480"/>
                  <a:pt x="244" y="481"/>
                </a:cubicBezTo>
                <a:cubicBezTo>
                  <a:pt x="242" y="482"/>
                  <a:pt x="241" y="485"/>
                  <a:pt x="239" y="485"/>
                </a:cubicBezTo>
                <a:cubicBezTo>
                  <a:pt x="243" y="480"/>
                  <a:pt x="249" y="474"/>
                  <a:pt x="253" y="470"/>
                </a:cubicBezTo>
                <a:cubicBezTo>
                  <a:pt x="256" y="466"/>
                  <a:pt x="251" y="474"/>
                  <a:pt x="250" y="475"/>
                </a:cubicBezTo>
                <a:close/>
                <a:moveTo>
                  <a:pt x="251" y="410"/>
                </a:moveTo>
                <a:cubicBezTo>
                  <a:pt x="252" y="411"/>
                  <a:pt x="251" y="412"/>
                  <a:pt x="250" y="412"/>
                </a:cubicBezTo>
                <a:cubicBezTo>
                  <a:pt x="248" y="414"/>
                  <a:pt x="248" y="409"/>
                  <a:pt x="251" y="410"/>
                </a:cubicBezTo>
                <a:close/>
                <a:moveTo>
                  <a:pt x="249" y="314"/>
                </a:moveTo>
                <a:cubicBezTo>
                  <a:pt x="250" y="313"/>
                  <a:pt x="251" y="314"/>
                  <a:pt x="251" y="314"/>
                </a:cubicBezTo>
                <a:cubicBezTo>
                  <a:pt x="250" y="315"/>
                  <a:pt x="249" y="314"/>
                  <a:pt x="249" y="314"/>
                </a:cubicBezTo>
                <a:close/>
                <a:moveTo>
                  <a:pt x="250" y="459"/>
                </a:moveTo>
                <a:cubicBezTo>
                  <a:pt x="251" y="458"/>
                  <a:pt x="248" y="460"/>
                  <a:pt x="250" y="459"/>
                </a:cubicBezTo>
                <a:close/>
                <a:moveTo>
                  <a:pt x="254" y="448"/>
                </a:moveTo>
                <a:cubicBezTo>
                  <a:pt x="254" y="447"/>
                  <a:pt x="254" y="450"/>
                  <a:pt x="254" y="448"/>
                </a:cubicBezTo>
                <a:close/>
                <a:moveTo>
                  <a:pt x="254" y="252"/>
                </a:moveTo>
                <a:cubicBezTo>
                  <a:pt x="255" y="252"/>
                  <a:pt x="254" y="253"/>
                  <a:pt x="254" y="254"/>
                </a:cubicBezTo>
                <a:cubicBezTo>
                  <a:pt x="253" y="255"/>
                  <a:pt x="253" y="252"/>
                  <a:pt x="254" y="252"/>
                </a:cubicBezTo>
                <a:close/>
                <a:moveTo>
                  <a:pt x="253" y="418"/>
                </a:moveTo>
                <a:cubicBezTo>
                  <a:pt x="254" y="416"/>
                  <a:pt x="255" y="417"/>
                  <a:pt x="253" y="418"/>
                </a:cubicBezTo>
                <a:close/>
                <a:moveTo>
                  <a:pt x="253" y="419"/>
                </a:moveTo>
                <a:cubicBezTo>
                  <a:pt x="253" y="421"/>
                  <a:pt x="252" y="419"/>
                  <a:pt x="253" y="419"/>
                </a:cubicBezTo>
                <a:close/>
                <a:moveTo>
                  <a:pt x="251" y="212"/>
                </a:moveTo>
                <a:cubicBezTo>
                  <a:pt x="252" y="213"/>
                  <a:pt x="251" y="213"/>
                  <a:pt x="251" y="214"/>
                </a:cubicBezTo>
                <a:cubicBezTo>
                  <a:pt x="250" y="214"/>
                  <a:pt x="251" y="213"/>
                  <a:pt x="251" y="212"/>
                </a:cubicBezTo>
                <a:close/>
                <a:moveTo>
                  <a:pt x="250" y="272"/>
                </a:moveTo>
                <a:cubicBezTo>
                  <a:pt x="250" y="273"/>
                  <a:pt x="250" y="273"/>
                  <a:pt x="249" y="274"/>
                </a:cubicBezTo>
                <a:cubicBezTo>
                  <a:pt x="248" y="275"/>
                  <a:pt x="250" y="272"/>
                  <a:pt x="250" y="272"/>
                </a:cubicBezTo>
                <a:close/>
                <a:moveTo>
                  <a:pt x="249" y="219"/>
                </a:moveTo>
                <a:cubicBezTo>
                  <a:pt x="248" y="218"/>
                  <a:pt x="250" y="217"/>
                  <a:pt x="249" y="219"/>
                </a:cubicBezTo>
                <a:close/>
                <a:moveTo>
                  <a:pt x="250" y="374"/>
                </a:moveTo>
                <a:cubicBezTo>
                  <a:pt x="250" y="374"/>
                  <a:pt x="250" y="376"/>
                  <a:pt x="249" y="376"/>
                </a:cubicBezTo>
                <a:cubicBezTo>
                  <a:pt x="248" y="377"/>
                  <a:pt x="248" y="374"/>
                  <a:pt x="250" y="374"/>
                </a:cubicBezTo>
                <a:close/>
                <a:moveTo>
                  <a:pt x="245" y="428"/>
                </a:moveTo>
                <a:cubicBezTo>
                  <a:pt x="246" y="428"/>
                  <a:pt x="245" y="428"/>
                  <a:pt x="245" y="429"/>
                </a:cubicBezTo>
                <a:cubicBezTo>
                  <a:pt x="244" y="430"/>
                  <a:pt x="244" y="427"/>
                  <a:pt x="245" y="428"/>
                </a:cubicBezTo>
                <a:close/>
                <a:moveTo>
                  <a:pt x="244" y="378"/>
                </a:moveTo>
                <a:cubicBezTo>
                  <a:pt x="245" y="378"/>
                  <a:pt x="244" y="379"/>
                  <a:pt x="243" y="379"/>
                </a:cubicBezTo>
                <a:cubicBezTo>
                  <a:pt x="243" y="378"/>
                  <a:pt x="244" y="378"/>
                  <a:pt x="244" y="378"/>
                </a:cubicBezTo>
                <a:close/>
                <a:moveTo>
                  <a:pt x="243" y="406"/>
                </a:moveTo>
                <a:cubicBezTo>
                  <a:pt x="246" y="408"/>
                  <a:pt x="243" y="412"/>
                  <a:pt x="242" y="413"/>
                </a:cubicBezTo>
                <a:cubicBezTo>
                  <a:pt x="237" y="414"/>
                  <a:pt x="239" y="404"/>
                  <a:pt x="243" y="406"/>
                </a:cubicBezTo>
                <a:close/>
                <a:moveTo>
                  <a:pt x="236" y="275"/>
                </a:moveTo>
                <a:cubicBezTo>
                  <a:pt x="237" y="275"/>
                  <a:pt x="237" y="277"/>
                  <a:pt x="236" y="278"/>
                </a:cubicBezTo>
                <a:cubicBezTo>
                  <a:pt x="235" y="279"/>
                  <a:pt x="235" y="275"/>
                  <a:pt x="236" y="275"/>
                </a:cubicBezTo>
                <a:close/>
                <a:moveTo>
                  <a:pt x="236" y="430"/>
                </a:moveTo>
                <a:cubicBezTo>
                  <a:pt x="235" y="431"/>
                  <a:pt x="235" y="429"/>
                  <a:pt x="236" y="429"/>
                </a:cubicBezTo>
                <a:cubicBezTo>
                  <a:pt x="237" y="429"/>
                  <a:pt x="236" y="430"/>
                  <a:pt x="236" y="430"/>
                </a:cubicBezTo>
                <a:close/>
                <a:moveTo>
                  <a:pt x="236" y="371"/>
                </a:moveTo>
                <a:cubicBezTo>
                  <a:pt x="237" y="370"/>
                  <a:pt x="235" y="372"/>
                  <a:pt x="236" y="371"/>
                </a:cubicBezTo>
                <a:close/>
                <a:moveTo>
                  <a:pt x="236" y="412"/>
                </a:moveTo>
                <a:cubicBezTo>
                  <a:pt x="237" y="413"/>
                  <a:pt x="235" y="414"/>
                  <a:pt x="235" y="415"/>
                </a:cubicBezTo>
                <a:cubicBezTo>
                  <a:pt x="234" y="416"/>
                  <a:pt x="235" y="411"/>
                  <a:pt x="236" y="412"/>
                </a:cubicBezTo>
                <a:close/>
                <a:moveTo>
                  <a:pt x="236" y="431"/>
                </a:moveTo>
                <a:cubicBezTo>
                  <a:pt x="240" y="431"/>
                  <a:pt x="238" y="437"/>
                  <a:pt x="234" y="438"/>
                </a:cubicBezTo>
                <a:cubicBezTo>
                  <a:pt x="233" y="438"/>
                  <a:pt x="230" y="438"/>
                  <a:pt x="231" y="435"/>
                </a:cubicBezTo>
                <a:cubicBezTo>
                  <a:pt x="231" y="433"/>
                  <a:pt x="232" y="434"/>
                  <a:pt x="234" y="433"/>
                </a:cubicBezTo>
                <a:cubicBezTo>
                  <a:pt x="234" y="432"/>
                  <a:pt x="234" y="431"/>
                  <a:pt x="236" y="431"/>
                </a:cubicBezTo>
                <a:close/>
                <a:moveTo>
                  <a:pt x="234" y="353"/>
                </a:moveTo>
                <a:cubicBezTo>
                  <a:pt x="232" y="355"/>
                  <a:pt x="235" y="352"/>
                  <a:pt x="234" y="353"/>
                </a:cubicBezTo>
                <a:close/>
                <a:moveTo>
                  <a:pt x="233" y="336"/>
                </a:moveTo>
                <a:cubicBezTo>
                  <a:pt x="233" y="336"/>
                  <a:pt x="233" y="337"/>
                  <a:pt x="232" y="337"/>
                </a:cubicBezTo>
                <a:cubicBezTo>
                  <a:pt x="231" y="338"/>
                  <a:pt x="232" y="335"/>
                  <a:pt x="233" y="336"/>
                </a:cubicBezTo>
                <a:close/>
                <a:moveTo>
                  <a:pt x="232" y="409"/>
                </a:moveTo>
                <a:cubicBezTo>
                  <a:pt x="232" y="409"/>
                  <a:pt x="232" y="409"/>
                  <a:pt x="232" y="409"/>
                </a:cubicBezTo>
                <a:cubicBezTo>
                  <a:pt x="230" y="410"/>
                  <a:pt x="233" y="407"/>
                  <a:pt x="232" y="409"/>
                </a:cubicBezTo>
                <a:close/>
                <a:moveTo>
                  <a:pt x="230" y="395"/>
                </a:moveTo>
                <a:cubicBezTo>
                  <a:pt x="231" y="394"/>
                  <a:pt x="231" y="395"/>
                  <a:pt x="231" y="395"/>
                </a:cubicBezTo>
                <a:cubicBezTo>
                  <a:pt x="231" y="395"/>
                  <a:pt x="230" y="395"/>
                  <a:pt x="230" y="395"/>
                </a:cubicBezTo>
                <a:close/>
                <a:moveTo>
                  <a:pt x="230" y="490"/>
                </a:moveTo>
                <a:cubicBezTo>
                  <a:pt x="230" y="490"/>
                  <a:pt x="230" y="490"/>
                  <a:pt x="230" y="490"/>
                </a:cubicBezTo>
                <a:cubicBezTo>
                  <a:pt x="230" y="490"/>
                  <a:pt x="231" y="489"/>
                  <a:pt x="230" y="490"/>
                </a:cubicBezTo>
                <a:close/>
                <a:moveTo>
                  <a:pt x="230" y="495"/>
                </a:moveTo>
                <a:cubicBezTo>
                  <a:pt x="230" y="498"/>
                  <a:pt x="226" y="498"/>
                  <a:pt x="225" y="501"/>
                </a:cubicBezTo>
                <a:cubicBezTo>
                  <a:pt x="225" y="498"/>
                  <a:pt x="228" y="496"/>
                  <a:pt x="230" y="495"/>
                </a:cubicBezTo>
                <a:close/>
                <a:moveTo>
                  <a:pt x="225" y="486"/>
                </a:moveTo>
                <a:cubicBezTo>
                  <a:pt x="226" y="485"/>
                  <a:pt x="227" y="487"/>
                  <a:pt x="225" y="486"/>
                </a:cubicBezTo>
                <a:close/>
                <a:moveTo>
                  <a:pt x="223" y="437"/>
                </a:moveTo>
                <a:cubicBezTo>
                  <a:pt x="222" y="438"/>
                  <a:pt x="223" y="435"/>
                  <a:pt x="223" y="435"/>
                </a:cubicBezTo>
                <a:cubicBezTo>
                  <a:pt x="224" y="436"/>
                  <a:pt x="223" y="437"/>
                  <a:pt x="223" y="437"/>
                </a:cubicBezTo>
                <a:close/>
                <a:moveTo>
                  <a:pt x="223" y="313"/>
                </a:moveTo>
                <a:cubicBezTo>
                  <a:pt x="224" y="313"/>
                  <a:pt x="223" y="315"/>
                  <a:pt x="223" y="316"/>
                </a:cubicBezTo>
                <a:cubicBezTo>
                  <a:pt x="219" y="317"/>
                  <a:pt x="220" y="312"/>
                  <a:pt x="223" y="313"/>
                </a:cubicBezTo>
                <a:close/>
                <a:moveTo>
                  <a:pt x="219" y="387"/>
                </a:moveTo>
                <a:cubicBezTo>
                  <a:pt x="219" y="389"/>
                  <a:pt x="220" y="388"/>
                  <a:pt x="220" y="389"/>
                </a:cubicBezTo>
                <a:cubicBezTo>
                  <a:pt x="222" y="391"/>
                  <a:pt x="219" y="394"/>
                  <a:pt x="218" y="392"/>
                </a:cubicBezTo>
                <a:cubicBezTo>
                  <a:pt x="216" y="391"/>
                  <a:pt x="218" y="389"/>
                  <a:pt x="219" y="387"/>
                </a:cubicBezTo>
                <a:close/>
                <a:moveTo>
                  <a:pt x="213" y="346"/>
                </a:moveTo>
                <a:cubicBezTo>
                  <a:pt x="213" y="348"/>
                  <a:pt x="211" y="346"/>
                  <a:pt x="213" y="346"/>
                </a:cubicBezTo>
                <a:close/>
                <a:moveTo>
                  <a:pt x="216" y="395"/>
                </a:moveTo>
                <a:cubicBezTo>
                  <a:pt x="215" y="395"/>
                  <a:pt x="215" y="396"/>
                  <a:pt x="215" y="396"/>
                </a:cubicBezTo>
                <a:cubicBezTo>
                  <a:pt x="214" y="396"/>
                  <a:pt x="215" y="394"/>
                  <a:pt x="216" y="395"/>
                </a:cubicBezTo>
                <a:close/>
                <a:moveTo>
                  <a:pt x="214" y="449"/>
                </a:moveTo>
                <a:cubicBezTo>
                  <a:pt x="214" y="450"/>
                  <a:pt x="215" y="447"/>
                  <a:pt x="214" y="449"/>
                </a:cubicBezTo>
                <a:close/>
                <a:moveTo>
                  <a:pt x="214" y="417"/>
                </a:moveTo>
                <a:cubicBezTo>
                  <a:pt x="215" y="418"/>
                  <a:pt x="213" y="419"/>
                  <a:pt x="214" y="417"/>
                </a:cubicBezTo>
                <a:close/>
                <a:moveTo>
                  <a:pt x="213" y="341"/>
                </a:moveTo>
                <a:cubicBezTo>
                  <a:pt x="213" y="343"/>
                  <a:pt x="211" y="341"/>
                  <a:pt x="213" y="341"/>
                </a:cubicBezTo>
                <a:close/>
                <a:moveTo>
                  <a:pt x="211" y="453"/>
                </a:moveTo>
                <a:cubicBezTo>
                  <a:pt x="211" y="454"/>
                  <a:pt x="210" y="451"/>
                  <a:pt x="211" y="451"/>
                </a:cubicBezTo>
                <a:cubicBezTo>
                  <a:pt x="211" y="451"/>
                  <a:pt x="212" y="452"/>
                  <a:pt x="211" y="453"/>
                </a:cubicBezTo>
                <a:close/>
                <a:moveTo>
                  <a:pt x="211" y="238"/>
                </a:moveTo>
                <a:cubicBezTo>
                  <a:pt x="211" y="238"/>
                  <a:pt x="211" y="238"/>
                  <a:pt x="211" y="238"/>
                </a:cubicBezTo>
                <a:cubicBezTo>
                  <a:pt x="211" y="238"/>
                  <a:pt x="212" y="237"/>
                  <a:pt x="211" y="238"/>
                </a:cubicBezTo>
                <a:close/>
                <a:moveTo>
                  <a:pt x="211" y="409"/>
                </a:moveTo>
                <a:cubicBezTo>
                  <a:pt x="210" y="408"/>
                  <a:pt x="212" y="408"/>
                  <a:pt x="211" y="409"/>
                </a:cubicBezTo>
                <a:close/>
                <a:moveTo>
                  <a:pt x="210" y="299"/>
                </a:moveTo>
                <a:cubicBezTo>
                  <a:pt x="210" y="299"/>
                  <a:pt x="210" y="299"/>
                  <a:pt x="210" y="298"/>
                </a:cubicBezTo>
                <a:cubicBezTo>
                  <a:pt x="210" y="299"/>
                  <a:pt x="209" y="299"/>
                  <a:pt x="209" y="299"/>
                </a:cubicBezTo>
                <a:cubicBezTo>
                  <a:pt x="209" y="299"/>
                  <a:pt x="210" y="299"/>
                  <a:pt x="210" y="299"/>
                </a:cubicBezTo>
                <a:close/>
                <a:moveTo>
                  <a:pt x="209" y="464"/>
                </a:moveTo>
                <a:cubicBezTo>
                  <a:pt x="209" y="465"/>
                  <a:pt x="209" y="462"/>
                  <a:pt x="209" y="464"/>
                </a:cubicBezTo>
                <a:close/>
                <a:moveTo>
                  <a:pt x="201" y="445"/>
                </a:moveTo>
                <a:cubicBezTo>
                  <a:pt x="200" y="446"/>
                  <a:pt x="200" y="443"/>
                  <a:pt x="201" y="443"/>
                </a:cubicBezTo>
                <a:cubicBezTo>
                  <a:pt x="202" y="443"/>
                  <a:pt x="201" y="444"/>
                  <a:pt x="201" y="445"/>
                </a:cubicBezTo>
                <a:close/>
                <a:moveTo>
                  <a:pt x="202" y="438"/>
                </a:moveTo>
                <a:cubicBezTo>
                  <a:pt x="201" y="438"/>
                  <a:pt x="202" y="437"/>
                  <a:pt x="203" y="437"/>
                </a:cubicBezTo>
                <a:cubicBezTo>
                  <a:pt x="203" y="437"/>
                  <a:pt x="203" y="438"/>
                  <a:pt x="202" y="438"/>
                </a:cubicBezTo>
                <a:close/>
                <a:moveTo>
                  <a:pt x="201" y="428"/>
                </a:moveTo>
                <a:cubicBezTo>
                  <a:pt x="201" y="430"/>
                  <a:pt x="201" y="435"/>
                  <a:pt x="199" y="435"/>
                </a:cubicBezTo>
                <a:cubicBezTo>
                  <a:pt x="198" y="436"/>
                  <a:pt x="197" y="436"/>
                  <a:pt x="197" y="434"/>
                </a:cubicBezTo>
                <a:cubicBezTo>
                  <a:pt x="198" y="432"/>
                  <a:pt x="203" y="423"/>
                  <a:pt x="203" y="423"/>
                </a:cubicBezTo>
                <a:cubicBezTo>
                  <a:pt x="205" y="424"/>
                  <a:pt x="202" y="427"/>
                  <a:pt x="201" y="428"/>
                </a:cubicBezTo>
                <a:close/>
                <a:moveTo>
                  <a:pt x="204" y="400"/>
                </a:moveTo>
                <a:cubicBezTo>
                  <a:pt x="202" y="401"/>
                  <a:pt x="203" y="398"/>
                  <a:pt x="204" y="399"/>
                </a:cubicBezTo>
                <a:cubicBezTo>
                  <a:pt x="204" y="399"/>
                  <a:pt x="204" y="400"/>
                  <a:pt x="204" y="400"/>
                </a:cubicBezTo>
                <a:close/>
                <a:moveTo>
                  <a:pt x="204" y="455"/>
                </a:moveTo>
                <a:cubicBezTo>
                  <a:pt x="204" y="455"/>
                  <a:pt x="206" y="455"/>
                  <a:pt x="205" y="456"/>
                </a:cubicBezTo>
                <a:cubicBezTo>
                  <a:pt x="205" y="457"/>
                  <a:pt x="204" y="456"/>
                  <a:pt x="204" y="455"/>
                </a:cubicBezTo>
                <a:close/>
                <a:moveTo>
                  <a:pt x="205" y="428"/>
                </a:moveTo>
                <a:cubicBezTo>
                  <a:pt x="206" y="428"/>
                  <a:pt x="206" y="429"/>
                  <a:pt x="205" y="430"/>
                </a:cubicBezTo>
                <a:cubicBezTo>
                  <a:pt x="204" y="430"/>
                  <a:pt x="205" y="428"/>
                  <a:pt x="205" y="428"/>
                </a:cubicBezTo>
                <a:close/>
                <a:moveTo>
                  <a:pt x="206" y="456"/>
                </a:moveTo>
                <a:cubicBezTo>
                  <a:pt x="207" y="456"/>
                  <a:pt x="206" y="457"/>
                  <a:pt x="206" y="457"/>
                </a:cubicBezTo>
                <a:cubicBezTo>
                  <a:pt x="205" y="457"/>
                  <a:pt x="206" y="456"/>
                  <a:pt x="206" y="456"/>
                </a:cubicBezTo>
                <a:close/>
                <a:moveTo>
                  <a:pt x="206" y="467"/>
                </a:moveTo>
                <a:cubicBezTo>
                  <a:pt x="207" y="468"/>
                  <a:pt x="205" y="469"/>
                  <a:pt x="206" y="467"/>
                </a:cubicBezTo>
                <a:close/>
                <a:moveTo>
                  <a:pt x="206" y="465"/>
                </a:moveTo>
                <a:cubicBezTo>
                  <a:pt x="206" y="465"/>
                  <a:pt x="208" y="465"/>
                  <a:pt x="208" y="465"/>
                </a:cubicBezTo>
                <a:cubicBezTo>
                  <a:pt x="208" y="466"/>
                  <a:pt x="205" y="466"/>
                  <a:pt x="206" y="465"/>
                </a:cubicBezTo>
                <a:close/>
                <a:moveTo>
                  <a:pt x="207" y="448"/>
                </a:moveTo>
                <a:cubicBezTo>
                  <a:pt x="208" y="447"/>
                  <a:pt x="208" y="448"/>
                  <a:pt x="208" y="449"/>
                </a:cubicBezTo>
                <a:cubicBezTo>
                  <a:pt x="208" y="450"/>
                  <a:pt x="207" y="448"/>
                  <a:pt x="207" y="448"/>
                </a:cubicBezTo>
                <a:close/>
                <a:moveTo>
                  <a:pt x="206" y="415"/>
                </a:moveTo>
                <a:cubicBezTo>
                  <a:pt x="205" y="416"/>
                  <a:pt x="207" y="413"/>
                  <a:pt x="206" y="415"/>
                </a:cubicBezTo>
                <a:close/>
                <a:moveTo>
                  <a:pt x="204" y="380"/>
                </a:moveTo>
                <a:cubicBezTo>
                  <a:pt x="206" y="379"/>
                  <a:pt x="207" y="384"/>
                  <a:pt x="205" y="385"/>
                </a:cubicBezTo>
                <a:cubicBezTo>
                  <a:pt x="202" y="386"/>
                  <a:pt x="202" y="381"/>
                  <a:pt x="204" y="380"/>
                </a:cubicBezTo>
                <a:close/>
                <a:moveTo>
                  <a:pt x="203" y="416"/>
                </a:moveTo>
                <a:cubicBezTo>
                  <a:pt x="203" y="417"/>
                  <a:pt x="203" y="417"/>
                  <a:pt x="202" y="418"/>
                </a:cubicBezTo>
                <a:cubicBezTo>
                  <a:pt x="201" y="419"/>
                  <a:pt x="202" y="416"/>
                  <a:pt x="203" y="416"/>
                </a:cubicBezTo>
                <a:close/>
                <a:moveTo>
                  <a:pt x="202" y="401"/>
                </a:moveTo>
                <a:cubicBezTo>
                  <a:pt x="202" y="402"/>
                  <a:pt x="201" y="403"/>
                  <a:pt x="201" y="403"/>
                </a:cubicBezTo>
                <a:cubicBezTo>
                  <a:pt x="200" y="404"/>
                  <a:pt x="201" y="401"/>
                  <a:pt x="202" y="401"/>
                </a:cubicBezTo>
                <a:close/>
                <a:moveTo>
                  <a:pt x="200" y="405"/>
                </a:moveTo>
                <a:cubicBezTo>
                  <a:pt x="200" y="406"/>
                  <a:pt x="200" y="406"/>
                  <a:pt x="199" y="407"/>
                </a:cubicBezTo>
                <a:cubicBezTo>
                  <a:pt x="199" y="407"/>
                  <a:pt x="199" y="405"/>
                  <a:pt x="200" y="405"/>
                </a:cubicBezTo>
                <a:close/>
                <a:moveTo>
                  <a:pt x="198" y="419"/>
                </a:moveTo>
                <a:cubicBezTo>
                  <a:pt x="197" y="421"/>
                  <a:pt x="198" y="418"/>
                  <a:pt x="198" y="418"/>
                </a:cubicBezTo>
                <a:cubicBezTo>
                  <a:pt x="198" y="418"/>
                  <a:pt x="198" y="419"/>
                  <a:pt x="198" y="419"/>
                </a:cubicBezTo>
                <a:close/>
                <a:moveTo>
                  <a:pt x="198" y="411"/>
                </a:moveTo>
                <a:cubicBezTo>
                  <a:pt x="198" y="413"/>
                  <a:pt x="197" y="415"/>
                  <a:pt x="196" y="416"/>
                </a:cubicBezTo>
                <a:cubicBezTo>
                  <a:pt x="195" y="415"/>
                  <a:pt x="197" y="412"/>
                  <a:pt x="198" y="411"/>
                </a:cubicBezTo>
                <a:close/>
                <a:moveTo>
                  <a:pt x="196" y="426"/>
                </a:moveTo>
                <a:cubicBezTo>
                  <a:pt x="196" y="426"/>
                  <a:pt x="196" y="427"/>
                  <a:pt x="195" y="427"/>
                </a:cubicBezTo>
                <a:cubicBezTo>
                  <a:pt x="194" y="428"/>
                  <a:pt x="195" y="426"/>
                  <a:pt x="196" y="426"/>
                </a:cubicBezTo>
                <a:close/>
                <a:moveTo>
                  <a:pt x="75" y="451"/>
                </a:moveTo>
                <a:cubicBezTo>
                  <a:pt x="74" y="451"/>
                  <a:pt x="74" y="449"/>
                  <a:pt x="75" y="449"/>
                </a:cubicBezTo>
                <a:cubicBezTo>
                  <a:pt x="75" y="450"/>
                  <a:pt x="75" y="450"/>
                  <a:pt x="75" y="451"/>
                </a:cubicBezTo>
                <a:close/>
                <a:moveTo>
                  <a:pt x="84" y="417"/>
                </a:moveTo>
                <a:cubicBezTo>
                  <a:pt x="86" y="416"/>
                  <a:pt x="89" y="422"/>
                  <a:pt x="86" y="423"/>
                </a:cubicBezTo>
                <a:cubicBezTo>
                  <a:pt x="82" y="425"/>
                  <a:pt x="82" y="417"/>
                  <a:pt x="84" y="417"/>
                </a:cubicBezTo>
                <a:close/>
                <a:moveTo>
                  <a:pt x="82" y="401"/>
                </a:moveTo>
                <a:cubicBezTo>
                  <a:pt x="82" y="402"/>
                  <a:pt x="83" y="398"/>
                  <a:pt x="82" y="401"/>
                </a:cubicBezTo>
                <a:close/>
                <a:moveTo>
                  <a:pt x="88" y="429"/>
                </a:moveTo>
                <a:cubicBezTo>
                  <a:pt x="88" y="428"/>
                  <a:pt x="88" y="428"/>
                  <a:pt x="88" y="427"/>
                </a:cubicBezTo>
                <a:cubicBezTo>
                  <a:pt x="87" y="427"/>
                  <a:pt x="86" y="427"/>
                  <a:pt x="87" y="426"/>
                </a:cubicBezTo>
                <a:cubicBezTo>
                  <a:pt x="87" y="426"/>
                  <a:pt x="87" y="426"/>
                  <a:pt x="88" y="426"/>
                </a:cubicBezTo>
                <a:cubicBezTo>
                  <a:pt x="88" y="423"/>
                  <a:pt x="90" y="418"/>
                  <a:pt x="90" y="418"/>
                </a:cubicBezTo>
                <a:cubicBezTo>
                  <a:pt x="91" y="419"/>
                  <a:pt x="88" y="426"/>
                  <a:pt x="88" y="429"/>
                </a:cubicBezTo>
                <a:close/>
                <a:moveTo>
                  <a:pt x="88" y="449"/>
                </a:moveTo>
                <a:cubicBezTo>
                  <a:pt x="87" y="449"/>
                  <a:pt x="89" y="448"/>
                  <a:pt x="88" y="449"/>
                </a:cubicBezTo>
                <a:close/>
                <a:moveTo>
                  <a:pt x="85" y="448"/>
                </a:moveTo>
                <a:cubicBezTo>
                  <a:pt x="84" y="450"/>
                  <a:pt x="84" y="446"/>
                  <a:pt x="85" y="446"/>
                </a:cubicBezTo>
                <a:cubicBezTo>
                  <a:pt x="86" y="447"/>
                  <a:pt x="86" y="448"/>
                  <a:pt x="85" y="448"/>
                </a:cubicBezTo>
                <a:close/>
                <a:moveTo>
                  <a:pt x="86" y="437"/>
                </a:moveTo>
                <a:cubicBezTo>
                  <a:pt x="83" y="434"/>
                  <a:pt x="90" y="436"/>
                  <a:pt x="86" y="437"/>
                </a:cubicBezTo>
                <a:cubicBezTo>
                  <a:pt x="86" y="437"/>
                  <a:pt x="86" y="438"/>
                  <a:pt x="86" y="437"/>
                </a:cubicBezTo>
                <a:close/>
                <a:moveTo>
                  <a:pt x="88" y="451"/>
                </a:moveTo>
                <a:cubicBezTo>
                  <a:pt x="88" y="451"/>
                  <a:pt x="88" y="452"/>
                  <a:pt x="88" y="452"/>
                </a:cubicBezTo>
                <a:cubicBezTo>
                  <a:pt x="87" y="453"/>
                  <a:pt x="87" y="451"/>
                  <a:pt x="88" y="451"/>
                </a:cubicBezTo>
                <a:close/>
                <a:moveTo>
                  <a:pt x="88" y="462"/>
                </a:moveTo>
                <a:cubicBezTo>
                  <a:pt x="88" y="460"/>
                  <a:pt x="86" y="457"/>
                  <a:pt x="89" y="457"/>
                </a:cubicBezTo>
                <a:cubicBezTo>
                  <a:pt x="93" y="456"/>
                  <a:pt x="88" y="463"/>
                  <a:pt x="88" y="462"/>
                </a:cubicBezTo>
                <a:close/>
                <a:moveTo>
                  <a:pt x="91" y="450"/>
                </a:moveTo>
                <a:cubicBezTo>
                  <a:pt x="90" y="451"/>
                  <a:pt x="90" y="450"/>
                  <a:pt x="90" y="449"/>
                </a:cubicBezTo>
                <a:cubicBezTo>
                  <a:pt x="90" y="449"/>
                  <a:pt x="91" y="450"/>
                  <a:pt x="91" y="450"/>
                </a:cubicBezTo>
                <a:close/>
                <a:moveTo>
                  <a:pt x="92" y="442"/>
                </a:moveTo>
                <a:cubicBezTo>
                  <a:pt x="91" y="443"/>
                  <a:pt x="89" y="440"/>
                  <a:pt x="90" y="440"/>
                </a:cubicBezTo>
                <a:cubicBezTo>
                  <a:pt x="91" y="439"/>
                  <a:pt x="93" y="441"/>
                  <a:pt x="92" y="442"/>
                </a:cubicBezTo>
                <a:close/>
                <a:moveTo>
                  <a:pt x="92" y="428"/>
                </a:moveTo>
                <a:cubicBezTo>
                  <a:pt x="93" y="429"/>
                  <a:pt x="93" y="430"/>
                  <a:pt x="93" y="431"/>
                </a:cubicBezTo>
                <a:cubicBezTo>
                  <a:pt x="91" y="432"/>
                  <a:pt x="91" y="428"/>
                  <a:pt x="92" y="428"/>
                </a:cubicBezTo>
                <a:close/>
                <a:moveTo>
                  <a:pt x="92" y="416"/>
                </a:moveTo>
                <a:cubicBezTo>
                  <a:pt x="93" y="416"/>
                  <a:pt x="93" y="417"/>
                  <a:pt x="93" y="417"/>
                </a:cubicBezTo>
                <a:cubicBezTo>
                  <a:pt x="92" y="418"/>
                  <a:pt x="92" y="416"/>
                  <a:pt x="92" y="416"/>
                </a:cubicBezTo>
                <a:close/>
                <a:moveTo>
                  <a:pt x="97" y="465"/>
                </a:moveTo>
                <a:cubicBezTo>
                  <a:pt x="96" y="466"/>
                  <a:pt x="96" y="463"/>
                  <a:pt x="97" y="463"/>
                </a:cubicBezTo>
                <a:cubicBezTo>
                  <a:pt x="98" y="463"/>
                  <a:pt x="98" y="465"/>
                  <a:pt x="97" y="465"/>
                </a:cubicBezTo>
                <a:close/>
                <a:moveTo>
                  <a:pt x="95" y="461"/>
                </a:moveTo>
                <a:cubicBezTo>
                  <a:pt x="96" y="462"/>
                  <a:pt x="99" y="462"/>
                  <a:pt x="96" y="463"/>
                </a:cubicBezTo>
                <a:cubicBezTo>
                  <a:pt x="95" y="463"/>
                  <a:pt x="94" y="463"/>
                  <a:pt x="93" y="462"/>
                </a:cubicBezTo>
                <a:cubicBezTo>
                  <a:pt x="93" y="462"/>
                  <a:pt x="94" y="459"/>
                  <a:pt x="94" y="460"/>
                </a:cubicBezTo>
                <a:cubicBezTo>
                  <a:pt x="96" y="458"/>
                  <a:pt x="95" y="461"/>
                  <a:pt x="95" y="461"/>
                </a:cubicBezTo>
                <a:close/>
                <a:moveTo>
                  <a:pt x="103" y="430"/>
                </a:moveTo>
                <a:cubicBezTo>
                  <a:pt x="104" y="431"/>
                  <a:pt x="101" y="432"/>
                  <a:pt x="103" y="430"/>
                </a:cubicBezTo>
                <a:close/>
                <a:moveTo>
                  <a:pt x="107" y="428"/>
                </a:moveTo>
                <a:cubicBezTo>
                  <a:pt x="106" y="429"/>
                  <a:pt x="105" y="426"/>
                  <a:pt x="107" y="427"/>
                </a:cubicBezTo>
                <a:cubicBezTo>
                  <a:pt x="108" y="427"/>
                  <a:pt x="107" y="428"/>
                  <a:pt x="107" y="428"/>
                </a:cubicBezTo>
                <a:close/>
                <a:moveTo>
                  <a:pt x="112" y="444"/>
                </a:moveTo>
                <a:cubicBezTo>
                  <a:pt x="111" y="442"/>
                  <a:pt x="112" y="441"/>
                  <a:pt x="112" y="444"/>
                </a:cubicBezTo>
                <a:close/>
                <a:moveTo>
                  <a:pt x="113" y="428"/>
                </a:moveTo>
                <a:cubicBezTo>
                  <a:pt x="112" y="429"/>
                  <a:pt x="112" y="426"/>
                  <a:pt x="113" y="427"/>
                </a:cubicBezTo>
                <a:cubicBezTo>
                  <a:pt x="113" y="427"/>
                  <a:pt x="113" y="428"/>
                  <a:pt x="113" y="428"/>
                </a:cubicBezTo>
                <a:close/>
                <a:moveTo>
                  <a:pt x="114" y="420"/>
                </a:moveTo>
                <a:cubicBezTo>
                  <a:pt x="112" y="420"/>
                  <a:pt x="113" y="419"/>
                  <a:pt x="112" y="418"/>
                </a:cubicBezTo>
                <a:cubicBezTo>
                  <a:pt x="111" y="418"/>
                  <a:pt x="111" y="419"/>
                  <a:pt x="110" y="419"/>
                </a:cubicBezTo>
                <a:cubicBezTo>
                  <a:pt x="109" y="417"/>
                  <a:pt x="108" y="407"/>
                  <a:pt x="111" y="406"/>
                </a:cubicBezTo>
                <a:cubicBezTo>
                  <a:pt x="111" y="406"/>
                  <a:pt x="113" y="408"/>
                  <a:pt x="114" y="406"/>
                </a:cubicBezTo>
                <a:cubicBezTo>
                  <a:pt x="114" y="404"/>
                  <a:pt x="117" y="415"/>
                  <a:pt x="117" y="418"/>
                </a:cubicBezTo>
                <a:cubicBezTo>
                  <a:pt x="115" y="416"/>
                  <a:pt x="114" y="420"/>
                  <a:pt x="114" y="420"/>
                </a:cubicBezTo>
                <a:close/>
                <a:moveTo>
                  <a:pt x="108" y="393"/>
                </a:moveTo>
                <a:cubicBezTo>
                  <a:pt x="110" y="393"/>
                  <a:pt x="112" y="398"/>
                  <a:pt x="109" y="399"/>
                </a:cubicBezTo>
                <a:cubicBezTo>
                  <a:pt x="106" y="401"/>
                  <a:pt x="106" y="394"/>
                  <a:pt x="108" y="393"/>
                </a:cubicBezTo>
                <a:close/>
                <a:moveTo>
                  <a:pt x="113" y="402"/>
                </a:moveTo>
                <a:cubicBezTo>
                  <a:pt x="112" y="403"/>
                  <a:pt x="112" y="405"/>
                  <a:pt x="111" y="406"/>
                </a:cubicBezTo>
                <a:cubicBezTo>
                  <a:pt x="110" y="405"/>
                  <a:pt x="111" y="402"/>
                  <a:pt x="113" y="402"/>
                </a:cubicBezTo>
                <a:close/>
                <a:moveTo>
                  <a:pt x="112" y="359"/>
                </a:moveTo>
                <a:cubicBezTo>
                  <a:pt x="110" y="359"/>
                  <a:pt x="113" y="358"/>
                  <a:pt x="112" y="359"/>
                </a:cubicBezTo>
                <a:close/>
                <a:moveTo>
                  <a:pt x="115" y="382"/>
                </a:moveTo>
                <a:cubicBezTo>
                  <a:pt x="115" y="382"/>
                  <a:pt x="117" y="385"/>
                  <a:pt x="116" y="386"/>
                </a:cubicBezTo>
                <a:cubicBezTo>
                  <a:pt x="116" y="389"/>
                  <a:pt x="113" y="387"/>
                  <a:pt x="114" y="390"/>
                </a:cubicBezTo>
                <a:cubicBezTo>
                  <a:pt x="113" y="390"/>
                  <a:pt x="113" y="390"/>
                  <a:pt x="113" y="390"/>
                </a:cubicBezTo>
                <a:cubicBezTo>
                  <a:pt x="113" y="387"/>
                  <a:pt x="111" y="381"/>
                  <a:pt x="115" y="382"/>
                </a:cubicBezTo>
                <a:close/>
                <a:moveTo>
                  <a:pt x="113" y="361"/>
                </a:moveTo>
                <a:cubicBezTo>
                  <a:pt x="114" y="362"/>
                  <a:pt x="112" y="363"/>
                  <a:pt x="113" y="361"/>
                </a:cubicBezTo>
                <a:close/>
                <a:moveTo>
                  <a:pt x="117" y="394"/>
                </a:moveTo>
                <a:cubicBezTo>
                  <a:pt x="116" y="395"/>
                  <a:pt x="116" y="393"/>
                  <a:pt x="116" y="393"/>
                </a:cubicBezTo>
                <a:cubicBezTo>
                  <a:pt x="117" y="392"/>
                  <a:pt x="117" y="394"/>
                  <a:pt x="117" y="394"/>
                </a:cubicBezTo>
                <a:close/>
                <a:moveTo>
                  <a:pt x="115" y="440"/>
                </a:moveTo>
                <a:cubicBezTo>
                  <a:pt x="114" y="439"/>
                  <a:pt x="116" y="439"/>
                  <a:pt x="115" y="440"/>
                </a:cubicBezTo>
                <a:close/>
                <a:moveTo>
                  <a:pt x="117" y="429"/>
                </a:moveTo>
                <a:cubicBezTo>
                  <a:pt x="116" y="430"/>
                  <a:pt x="115" y="424"/>
                  <a:pt x="116" y="423"/>
                </a:cubicBezTo>
                <a:cubicBezTo>
                  <a:pt x="117" y="424"/>
                  <a:pt x="118" y="429"/>
                  <a:pt x="117" y="429"/>
                </a:cubicBezTo>
                <a:close/>
                <a:moveTo>
                  <a:pt x="122" y="437"/>
                </a:moveTo>
                <a:cubicBezTo>
                  <a:pt x="121" y="438"/>
                  <a:pt x="123" y="435"/>
                  <a:pt x="122" y="437"/>
                </a:cubicBezTo>
                <a:close/>
                <a:moveTo>
                  <a:pt x="121" y="400"/>
                </a:moveTo>
                <a:cubicBezTo>
                  <a:pt x="122" y="400"/>
                  <a:pt x="123" y="405"/>
                  <a:pt x="122" y="406"/>
                </a:cubicBezTo>
                <a:cubicBezTo>
                  <a:pt x="119" y="407"/>
                  <a:pt x="121" y="400"/>
                  <a:pt x="121" y="400"/>
                </a:cubicBezTo>
                <a:close/>
                <a:moveTo>
                  <a:pt x="124" y="434"/>
                </a:moveTo>
                <a:cubicBezTo>
                  <a:pt x="124" y="432"/>
                  <a:pt x="124" y="436"/>
                  <a:pt x="124" y="434"/>
                </a:cubicBezTo>
                <a:close/>
                <a:moveTo>
                  <a:pt x="124" y="420"/>
                </a:moveTo>
                <a:cubicBezTo>
                  <a:pt x="123" y="418"/>
                  <a:pt x="124" y="417"/>
                  <a:pt x="122" y="417"/>
                </a:cubicBezTo>
                <a:cubicBezTo>
                  <a:pt x="124" y="417"/>
                  <a:pt x="124" y="408"/>
                  <a:pt x="127" y="412"/>
                </a:cubicBezTo>
                <a:cubicBezTo>
                  <a:pt x="128" y="413"/>
                  <a:pt x="128" y="416"/>
                  <a:pt x="127" y="416"/>
                </a:cubicBezTo>
                <a:cubicBezTo>
                  <a:pt x="125" y="417"/>
                  <a:pt x="124" y="415"/>
                  <a:pt x="124" y="420"/>
                </a:cubicBezTo>
                <a:close/>
                <a:moveTo>
                  <a:pt x="125" y="428"/>
                </a:moveTo>
                <a:cubicBezTo>
                  <a:pt x="125" y="430"/>
                  <a:pt x="124" y="426"/>
                  <a:pt x="125" y="427"/>
                </a:cubicBezTo>
                <a:cubicBezTo>
                  <a:pt x="125" y="427"/>
                  <a:pt x="125" y="428"/>
                  <a:pt x="125" y="428"/>
                </a:cubicBezTo>
                <a:close/>
                <a:moveTo>
                  <a:pt x="128" y="431"/>
                </a:moveTo>
                <a:cubicBezTo>
                  <a:pt x="127" y="433"/>
                  <a:pt x="128" y="440"/>
                  <a:pt x="126" y="440"/>
                </a:cubicBezTo>
                <a:cubicBezTo>
                  <a:pt x="127" y="437"/>
                  <a:pt x="126" y="433"/>
                  <a:pt x="127" y="429"/>
                </a:cubicBezTo>
                <a:cubicBezTo>
                  <a:pt x="128" y="425"/>
                  <a:pt x="128" y="429"/>
                  <a:pt x="128" y="431"/>
                </a:cubicBezTo>
                <a:close/>
                <a:moveTo>
                  <a:pt x="128" y="426"/>
                </a:moveTo>
                <a:cubicBezTo>
                  <a:pt x="129" y="425"/>
                  <a:pt x="128" y="422"/>
                  <a:pt x="129" y="421"/>
                </a:cubicBezTo>
                <a:cubicBezTo>
                  <a:pt x="129" y="423"/>
                  <a:pt x="129" y="425"/>
                  <a:pt x="128" y="426"/>
                </a:cubicBezTo>
                <a:close/>
                <a:moveTo>
                  <a:pt x="129" y="421"/>
                </a:moveTo>
                <a:cubicBezTo>
                  <a:pt x="128" y="420"/>
                  <a:pt x="129" y="418"/>
                  <a:pt x="130" y="417"/>
                </a:cubicBezTo>
                <a:cubicBezTo>
                  <a:pt x="130" y="418"/>
                  <a:pt x="129" y="420"/>
                  <a:pt x="129" y="421"/>
                </a:cubicBezTo>
                <a:close/>
                <a:moveTo>
                  <a:pt x="130" y="416"/>
                </a:moveTo>
                <a:cubicBezTo>
                  <a:pt x="130" y="417"/>
                  <a:pt x="129" y="415"/>
                  <a:pt x="130" y="415"/>
                </a:cubicBezTo>
                <a:cubicBezTo>
                  <a:pt x="130" y="414"/>
                  <a:pt x="131" y="415"/>
                  <a:pt x="130" y="416"/>
                </a:cubicBezTo>
                <a:close/>
                <a:moveTo>
                  <a:pt x="129" y="392"/>
                </a:moveTo>
                <a:cubicBezTo>
                  <a:pt x="127" y="393"/>
                  <a:pt x="127" y="398"/>
                  <a:pt x="126" y="400"/>
                </a:cubicBezTo>
                <a:cubicBezTo>
                  <a:pt x="125" y="404"/>
                  <a:pt x="124" y="407"/>
                  <a:pt x="122" y="410"/>
                </a:cubicBezTo>
                <a:cubicBezTo>
                  <a:pt x="121" y="405"/>
                  <a:pt x="128" y="396"/>
                  <a:pt x="128" y="391"/>
                </a:cubicBezTo>
                <a:cubicBezTo>
                  <a:pt x="128" y="387"/>
                  <a:pt x="126" y="384"/>
                  <a:pt x="132" y="383"/>
                </a:cubicBezTo>
                <a:cubicBezTo>
                  <a:pt x="131" y="386"/>
                  <a:pt x="135" y="390"/>
                  <a:pt x="131" y="392"/>
                </a:cubicBezTo>
                <a:cubicBezTo>
                  <a:pt x="131" y="392"/>
                  <a:pt x="129" y="391"/>
                  <a:pt x="129" y="392"/>
                </a:cubicBezTo>
                <a:close/>
                <a:moveTo>
                  <a:pt x="124" y="396"/>
                </a:moveTo>
                <a:cubicBezTo>
                  <a:pt x="125" y="396"/>
                  <a:pt x="124" y="398"/>
                  <a:pt x="124" y="398"/>
                </a:cubicBezTo>
                <a:cubicBezTo>
                  <a:pt x="124" y="398"/>
                  <a:pt x="124" y="397"/>
                  <a:pt x="124" y="396"/>
                </a:cubicBezTo>
                <a:close/>
                <a:moveTo>
                  <a:pt x="125" y="394"/>
                </a:moveTo>
                <a:cubicBezTo>
                  <a:pt x="125" y="395"/>
                  <a:pt x="125" y="395"/>
                  <a:pt x="125" y="395"/>
                </a:cubicBezTo>
                <a:cubicBezTo>
                  <a:pt x="125" y="396"/>
                  <a:pt x="125" y="395"/>
                  <a:pt x="125" y="394"/>
                </a:cubicBezTo>
                <a:close/>
                <a:moveTo>
                  <a:pt x="132" y="409"/>
                </a:moveTo>
                <a:cubicBezTo>
                  <a:pt x="133" y="408"/>
                  <a:pt x="136" y="412"/>
                  <a:pt x="133" y="412"/>
                </a:cubicBezTo>
                <a:cubicBezTo>
                  <a:pt x="132" y="413"/>
                  <a:pt x="130" y="410"/>
                  <a:pt x="132" y="409"/>
                </a:cubicBezTo>
                <a:close/>
                <a:moveTo>
                  <a:pt x="133" y="420"/>
                </a:moveTo>
                <a:cubicBezTo>
                  <a:pt x="134" y="422"/>
                  <a:pt x="131" y="422"/>
                  <a:pt x="133" y="420"/>
                </a:cubicBezTo>
                <a:close/>
                <a:moveTo>
                  <a:pt x="133" y="456"/>
                </a:moveTo>
                <a:cubicBezTo>
                  <a:pt x="134" y="455"/>
                  <a:pt x="135" y="459"/>
                  <a:pt x="135" y="460"/>
                </a:cubicBezTo>
                <a:cubicBezTo>
                  <a:pt x="134" y="461"/>
                  <a:pt x="132" y="456"/>
                  <a:pt x="133" y="456"/>
                </a:cubicBezTo>
                <a:close/>
                <a:moveTo>
                  <a:pt x="135" y="433"/>
                </a:moveTo>
                <a:cubicBezTo>
                  <a:pt x="135" y="433"/>
                  <a:pt x="136" y="433"/>
                  <a:pt x="135" y="433"/>
                </a:cubicBezTo>
                <a:cubicBezTo>
                  <a:pt x="133" y="433"/>
                  <a:pt x="137" y="431"/>
                  <a:pt x="135" y="433"/>
                </a:cubicBezTo>
                <a:close/>
                <a:moveTo>
                  <a:pt x="136" y="461"/>
                </a:moveTo>
                <a:cubicBezTo>
                  <a:pt x="134" y="461"/>
                  <a:pt x="137" y="460"/>
                  <a:pt x="136" y="461"/>
                </a:cubicBezTo>
                <a:close/>
                <a:moveTo>
                  <a:pt x="140" y="485"/>
                </a:moveTo>
                <a:cubicBezTo>
                  <a:pt x="138" y="486"/>
                  <a:pt x="139" y="481"/>
                  <a:pt x="141" y="482"/>
                </a:cubicBezTo>
                <a:cubicBezTo>
                  <a:pt x="141" y="483"/>
                  <a:pt x="141" y="484"/>
                  <a:pt x="140" y="485"/>
                </a:cubicBezTo>
                <a:close/>
                <a:moveTo>
                  <a:pt x="139" y="447"/>
                </a:moveTo>
                <a:cubicBezTo>
                  <a:pt x="140" y="447"/>
                  <a:pt x="140" y="447"/>
                  <a:pt x="140" y="447"/>
                </a:cubicBezTo>
                <a:cubicBezTo>
                  <a:pt x="141" y="448"/>
                  <a:pt x="139" y="448"/>
                  <a:pt x="139" y="447"/>
                </a:cubicBezTo>
                <a:close/>
                <a:moveTo>
                  <a:pt x="143" y="469"/>
                </a:moveTo>
                <a:cubicBezTo>
                  <a:pt x="143" y="469"/>
                  <a:pt x="142" y="470"/>
                  <a:pt x="142" y="470"/>
                </a:cubicBezTo>
                <a:cubicBezTo>
                  <a:pt x="141" y="469"/>
                  <a:pt x="143" y="469"/>
                  <a:pt x="143" y="469"/>
                </a:cubicBezTo>
                <a:close/>
                <a:moveTo>
                  <a:pt x="143" y="464"/>
                </a:moveTo>
                <a:cubicBezTo>
                  <a:pt x="141" y="466"/>
                  <a:pt x="140" y="460"/>
                  <a:pt x="142" y="461"/>
                </a:cubicBezTo>
                <a:cubicBezTo>
                  <a:pt x="144" y="461"/>
                  <a:pt x="143" y="464"/>
                  <a:pt x="143" y="464"/>
                </a:cubicBezTo>
                <a:close/>
                <a:moveTo>
                  <a:pt x="145" y="481"/>
                </a:moveTo>
                <a:cubicBezTo>
                  <a:pt x="144" y="483"/>
                  <a:pt x="143" y="479"/>
                  <a:pt x="144" y="479"/>
                </a:cubicBezTo>
                <a:cubicBezTo>
                  <a:pt x="144" y="479"/>
                  <a:pt x="145" y="479"/>
                  <a:pt x="145" y="481"/>
                </a:cubicBezTo>
                <a:close/>
                <a:moveTo>
                  <a:pt x="147" y="486"/>
                </a:moveTo>
                <a:cubicBezTo>
                  <a:pt x="147" y="486"/>
                  <a:pt x="147" y="486"/>
                  <a:pt x="147" y="486"/>
                </a:cubicBezTo>
                <a:cubicBezTo>
                  <a:pt x="147" y="486"/>
                  <a:pt x="147" y="486"/>
                  <a:pt x="147" y="486"/>
                </a:cubicBezTo>
                <a:cubicBezTo>
                  <a:pt x="147" y="486"/>
                  <a:pt x="147" y="486"/>
                  <a:pt x="147" y="486"/>
                </a:cubicBezTo>
                <a:close/>
                <a:moveTo>
                  <a:pt x="147" y="483"/>
                </a:moveTo>
                <a:cubicBezTo>
                  <a:pt x="145" y="484"/>
                  <a:pt x="145" y="480"/>
                  <a:pt x="147" y="481"/>
                </a:cubicBezTo>
                <a:cubicBezTo>
                  <a:pt x="148" y="481"/>
                  <a:pt x="147" y="483"/>
                  <a:pt x="147" y="483"/>
                </a:cubicBezTo>
                <a:close/>
                <a:moveTo>
                  <a:pt x="148" y="479"/>
                </a:moveTo>
                <a:cubicBezTo>
                  <a:pt x="147" y="480"/>
                  <a:pt x="146" y="478"/>
                  <a:pt x="147" y="478"/>
                </a:cubicBezTo>
                <a:cubicBezTo>
                  <a:pt x="147" y="478"/>
                  <a:pt x="148" y="479"/>
                  <a:pt x="148" y="479"/>
                </a:cubicBezTo>
                <a:close/>
                <a:moveTo>
                  <a:pt x="151" y="479"/>
                </a:moveTo>
                <a:cubicBezTo>
                  <a:pt x="151" y="479"/>
                  <a:pt x="148" y="478"/>
                  <a:pt x="147" y="478"/>
                </a:cubicBezTo>
                <a:cubicBezTo>
                  <a:pt x="146" y="473"/>
                  <a:pt x="153" y="476"/>
                  <a:pt x="151" y="479"/>
                </a:cubicBezTo>
                <a:close/>
                <a:moveTo>
                  <a:pt x="149" y="487"/>
                </a:moveTo>
                <a:cubicBezTo>
                  <a:pt x="148" y="486"/>
                  <a:pt x="147" y="482"/>
                  <a:pt x="150" y="484"/>
                </a:cubicBezTo>
                <a:cubicBezTo>
                  <a:pt x="148" y="481"/>
                  <a:pt x="152" y="481"/>
                  <a:pt x="151" y="484"/>
                </a:cubicBezTo>
                <a:cubicBezTo>
                  <a:pt x="151" y="484"/>
                  <a:pt x="149" y="487"/>
                  <a:pt x="149" y="487"/>
                </a:cubicBezTo>
                <a:close/>
                <a:moveTo>
                  <a:pt x="151" y="488"/>
                </a:moveTo>
                <a:cubicBezTo>
                  <a:pt x="151" y="488"/>
                  <a:pt x="151" y="488"/>
                  <a:pt x="151" y="488"/>
                </a:cubicBezTo>
                <a:cubicBezTo>
                  <a:pt x="151" y="488"/>
                  <a:pt x="151" y="488"/>
                  <a:pt x="152" y="487"/>
                </a:cubicBezTo>
                <a:cubicBezTo>
                  <a:pt x="152" y="487"/>
                  <a:pt x="152" y="487"/>
                  <a:pt x="151" y="488"/>
                </a:cubicBezTo>
                <a:close/>
                <a:moveTo>
                  <a:pt x="153" y="489"/>
                </a:moveTo>
                <a:cubicBezTo>
                  <a:pt x="153" y="489"/>
                  <a:pt x="153" y="488"/>
                  <a:pt x="153" y="488"/>
                </a:cubicBezTo>
                <a:cubicBezTo>
                  <a:pt x="153" y="489"/>
                  <a:pt x="152" y="489"/>
                  <a:pt x="153" y="489"/>
                </a:cubicBezTo>
                <a:close/>
                <a:moveTo>
                  <a:pt x="153" y="459"/>
                </a:moveTo>
                <a:cubicBezTo>
                  <a:pt x="152" y="459"/>
                  <a:pt x="144" y="455"/>
                  <a:pt x="145" y="452"/>
                </a:cubicBezTo>
                <a:cubicBezTo>
                  <a:pt x="145" y="451"/>
                  <a:pt x="146" y="452"/>
                  <a:pt x="146" y="451"/>
                </a:cubicBezTo>
                <a:cubicBezTo>
                  <a:pt x="147" y="449"/>
                  <a:pt x="145" y="449"/>
                  <a:pt x="145" y="447"/>
                </a:cubicBezTo>
                <a:cubicBezTo>
                  <a:pt x="149" y="452"/>
                  <a:pt x="148" y="440"/>
                  <a:pt x="152" y="443"/>
                </a:cubicBezTo>
                <a:cubicBezTo>
                  <a:pt x="154" y="444"/>
                  <a:pt x="152" y="448"/>
                  <a:pt x="155" y="446"/>
                </a:cubicBezTo>
                <a:cubicBezTo>
                  <a:pt x="152" y="448"/>
                  <a:pt x="158" y="450"/>
                  <a:pt x="157" y="454"/>
                </a:cubicBezTo>
                <a:cubicBezTo>
                  <a:pt x="157" y="457"/>
                  <a:pt x="155" y="459"/>
                  <a:pt x="153" y="459"/>
                </a:cubicBezTo>
                <a:close/>
                <a:moveTo>
                  <a:pt x="152" y="394"/>
                </a:moveTo>
                <a:cubicBezTo>
                  <a:pt x="150" y="396"/>
                  <a:pt x="150" y="391"/>
                  <a:pt x="151" y="391"/>
                </a:cubicBezTo>
                <a:cubicBezTo>
                  <a:pt x="152" y="391"/>
                  <a:pt x="152" y="394"/>
                  <a:pt x="152" y="394"/>
                </a:cubicBezTo>
                <a:close/>
                <a:moveTo>
                  <a:pt x="153" y="410"/>
                </a:moveTo>
                <a:cubicBezTo>
                  <a:pt x="153" y="411"/>
                  <a:pt x="153" y="411"/>
                  <a:pt x="153" y="411"/>
                </a:cubicBezTo>
                <a:cubicBezTo>
                  <a:pt x="151" y="412"/>
                  <a:pt x="152" y="410"/>
                  <a:pt x="153" y="410"/>
                </a:cubicBezTo>
                <a:close/>
                <a:moveTo>
                  <a:pt x="151" y="434"/>
                </a:moveTo>
                <a:cubicBezTo>
                  <a:pt x="150" y="435"/>
                  <a:pt x="148" y="434"/>
                  <a:pt x="149" y="432"/>
                </a:cubicBezTo>
                <a:cubicBezTo>
                  <a:pt x="150" y="432"/>
                  <a:pt x="153" y="433"/>
                  <a:pt x="151" y="434"/>
                </a:cubicBezTo>
                <a:close/>
                <a:moveTo>
                  <a:pt x="149" y="411"/>
                </a:moveTo>
                <a:cubicBezTo>
                  <a:pt x="148" y="413"/>
                  <a:pt x="148" y="428"/>
                  <a:pt x="146" y="429"/>
                </a:cubicBezTo>
                <a:cubicBezTo>
                  <a:pt x="144" y="430"/>
                  <a:pt x="145" y="425"/>
                  <a:pt x="145" y="424"/>
                </a:cubicBezTo>
                <a:cubicBezTo>
                  <a:pt x="146" y="422"/>
                  <a:pt x="148" y="407"/>
                  <a:pt x="149" y="406"/>
                </a:cubicBezTo>
                <a:cubicBezTo>
                  <a:pt x="151" y="405"/>
                  <a:pt x="149" y="411"/>
                  <a:pt x="149" y="411"/>
                </a:cubicBezTo>
                <a:close/>
                <a:moveTo>
                  <a:pt x="154" y="385"/>
                </a:moveTo>
                <a:cubicBezTo>
                  <a:pt x="153" y="386"/>
                  <a:pt x="153" y="385"/>
                  <a:pt x="154" y="384"/>
                </a:cubicBezTo>
                <a:cubicBezTo>
                  <a:pt x="154" y="384"/>
                  <a:pt x="154" y="385"/>
                  <a:pt x="154" y="385"/>
                </a:cubicBezTo>
                <a:close/>
                <a:moveTo>
                  <a:pt x="155" y="440"/>
                </a:moveTo>
                <a:cubicBezTo>
                  <a:pt x="156" y="441"/>
                  <a:pt x="155" y="441"/>
                  <a:pt x="155" y="442"/>
                </a:cubicBezTo>
                <a:cubicBezTo>
                  <a:pt x="153" y="443"/>
                  <a:pt x="154" y="439"/>
                  <a:pt x="155" y="440"/>
                </a:cubicBezTo>
                <a:close/>
                <a:moveTo>
                  <a:pt x="160" y="417"/>
                </a:moveTo>
                <a:cubicBezTo>
                  <a:pt x="160" y="417"/>
                  <a:pt x="158" y="417"/>
                  <a:pt x="159" y="415"/>
                </a:cubicBezTo>
                <a:cubicBezTo>
                  <a:pt x="161" y="419"/>
                  <a:pt x="164" y="409"/>
                  <a:pt x="165" y="414"/>
                </a:cubicBezTo>
                <a:cubicBezTo>
                  <a:pt x="166" y="416"/>
                  <a:pt x="168" y="419"/>
                  <a:pt x="167" y="421"/>
                </a:cubicBezTo>
                <a:cubicBezTo>
                  <a:pt x="166" y="422"/>
                  <a:pt x="163" y="423"/>
                  <a:pt x="163" y="423"/>
                </a:cubicBezTo>
                <a:cubicBezTo>
                  <a:pt x="163" y="425"/>
                  <a:pt x="165" y="427"/>
                  <a:pt x="163" y="428"/>
                </a:cubicBezTo>
                <a:cubicBezTo>
                  <a:pt x="160" y="430"/>
                  <a:pt x="158" y="427"/>
                  <a:pt x="158" y="427"/>
                </a:cubicBezTo>
                <a:cubicBezTo>
                  <a:pt x="157" y="424"/>
                  <a:pt x="162" y="421"/>
                  <a:pt x="160" y="417"/>
                </a:cubicBezTo>
                <a:close/>
                <a:moveTo>
                  <a:pt x="160" y="402"/>
                </a:moveTo>
                <a:cubicBezTo>
                  <a:pt x="161" y="406"/>
                  <a:pt x="158" y="404"/>
                  <a:pt x="160" y="402"/>
                </a:cubicBezTo>
                <a:close/>
                <a:moveTo>
                  <a:pt x="161" y="383"/>
                </a:moveTo>
                <a:cubicBezTo>
                  <a:pt x="162" y="384"/>
                  <a:pt x="161" y="387"/>
                  <a:pt x="160" y="387"/>
                </a:cubicBezTo>
                <a:cubicBezTo>
                  <a:pt x="159" y="388"/>
                  <a:pt x="160" y="383"/>
                  <a:pt x="161" y="383"/>
                </a:cubicBezTo>
                <a:close/>
                <a:moveTo>
                  <a:pt x="166" y="387"/>
                </a:moveTo>
                <a:cubicBezTo>
                  <a:pt x="166" y="387"/>
                  <a:pt x="165" y="387"/>
                  <a:pt x="165" y="387"/>
                </a:cubicBezTo>
                <a:cubicBezTo>
                  <a:pt x="164" y="386"/>
                  <a:pt x="166" y="386"/>
                  <a:pt x="166" y="387"/>
                </a:cubicBezTo>
                <a:close/>
                <a:moveTo>
                  <a:pt x="167" y="395"/>
                </a:moveTo>
                <a:cubicBezTo>
                  <a:pt x="169" y="395"/>
                  <a:pt x="168" y="398"/>
                  <a:pt x="167" y="398"/>
                </a:cubicBezTo>
                <a:cubicBezTo>
                  <a:pt x="166" y="399"/>
                  <a:pt x="166" y="395"/>
                  <a:pt x="167" y="395"/>
                </a:cubicBezTo>
                <a:close/>
                <a:moveTo>
                  <a:pt x="168" y="392"/>
                </a:moveTo>
                <a:cubicBezTo>
                  <a:pt x="169" y="392"/>
                  <a:pt x="170" y="393"/>
                  <a:pt x="168" y="393"/>
                </a:cubicBezTo>
                <a:cubicBezTo>
                  <a:pt x="166" y="394"/>
                  <a:pt x="166" y="392"/>
                  <a:pt x="168" y="392"/>
                </a:cubicBezTo>
                <a:close/>
                <a:moveTo>
                  <a:pt x="167" y="413"/>
                </a:moveTo>
                <a:cubicBezTo>
                  <a:pt x="167" y="415"/>
                  <a:pt x="166" y="411"/>
                  <a:pt x="167" y="412"/>
                </a:cubicBezTo>
                <a:cubicBezTo>
                  <a:pt x="167" y="412"/>
                  <a:pt x="167" y="413"/>
                  <a:pt x="167" y="413"/>
                </a:cubicBezTo>
                <a:close/>
                <a:moveTo>
                  <a:pt x="163" y="443"/>
                </a:moveTo>
                <a:cubicBezTo>
                  <a:pt x="162" y="444"/>
                  <a:pt x="161" y="442"/>
                  <a:pt x="162" y="441"/>
                </a:cubicBezTo>
                <a:cubicBezTo>
                  <a:pt x="162" y="442"/>
                  <a:pt x="163" y="442"/>
                  <a:pt x="163" y="443"/>
                </a:cubicBezTo>
                <a:close/>
                <a:moveTo>
                  <a:pt x="160" y="459"/>
                </a:moveTo>
                <a:cubicBezTo>
                  <a:pt x="159" y="460"/>
                  <a:pt x="159" y="458"/>
                  <a:pt x="160" y="457"/>
                </a:cubicBezTo>
                <a:cubicBezTo>
                  <a:pt x="160" y="457"/>
                  <a:pt x="161" y="458"/>
                  <a:pt x="160" y="459"/>
                </a:cubicBezTo>
                <a:close/>
                <a:moveTo>
                  <a:pt x="157" y="404"/>
                </a:moveTo>
                <a:cubicBezTo>
                  <a:pt x="155" y="406"/>
                  <a:pt x="156" y="399"/>
                  <a:pt x="158" y="401"/>
                </a:cubicBezTo>
                <a:cubicBezTo>
                  <a:pt x="159" y="402"/>
                  <a:pt x="157" y="404"/>
                  <a:pt x="157" y="404"/>
                </a:cubicBezTo>
                <a:close/>
                <a:moveTo>
                  <a:pt x="154" y="466"/>
                </a:moveTo>
                <a:cubicBezTo>
                  <a:pt x="155" y="466"/>
                  <a:pt x="156" y="467"/>
                  <a:pt x="155" y="468"/>
                </a:cubicBezTo>
                <a:cubicBezTo>
                  <a:pt x="154" y="468"/>
                  <a:pt x="154" y="467"/>
                  <a:pt x="154" y="466"/>
                </a:cubicBezTo>
                <a:close/>
                <a:moveTo>
                  <a:pt x="155" y="476"/>
                </a:moveTo>
                <a:cubicBezTo>
                  <a:pt x="154" y="476"/>
                  <a:pt x="158" y="472"/>
                  <a:pt x="157" y="471"/>
                </a:cubicBezTo>
                <a:cubicBezTo>
                  <a:pt x="159" y="473"/>
                  <a:pt x="156" y="477"/>
                  <a:pt x="155" y="476"/>
                </a:cubicBezTo>
                <a:close/>
                <a:moveTo>
                  <a:pt x="158" y="470"/>
                </a:moveTo>
                <a:cubicBezTo>
                  <a:pt x="156" y="466"/>
                  <a:pt x="160" y="467"/>
                  <a:pt x="158" y="470"/>
                </a:cubicBezTo>
                <a:close/>
                <a:moveTo>
                  <a:pt x="159" y="461"/>
                </a:moveTo>
                <a:cubicBezTo>
                  <a:pt x="159" y="461"/>
                  <a:pt x="159" y="462"/>
                  <a:pt x="159" y="462"/>
                </a:cubicBezTo>
                <a:cubicBezTo>
                  <a:pt x="157" y="464"/>
                  <a:pt x="158" y="460"/>
                  <a:pt x="159" y="461"/>
                </a:cubicBezTo>
                <a:close/>
                <a:moveTo>
                  <a:pt x="159" y="490"/>
                </a:moveTo>
                <a:cubicBezTo>
                  <a:pt x="159" y="489"/>
                  <a:pt x="160" y="488"/>
                  <a:pt x="160" y="488"/>
                </a:cubicBezTo>
                <a:cubicBezTo>
                  <a:pt x="160" y="489"/>
                  <a:pt x="160" y="489"/>
                  <a:pt x="159" y="490"/>
                </a:cubicBezTo>
                <a:close/>
                <a:moveTo>
                  <a:pt x="160" y="486"/>
                </a:moveTo>
                <a:cubicBezTo>
                  <a:pt x="160" y="487"/>
                  <a:pt x="159" y="484"/>
                  <a:pt x="160" y="484"/>
                </a:cubicBezTo>
                <a:cubicBezTo>
                  <a:pt x="160" y="484"/>
                  <a:pt x="161" y="485"/>
                  <a:pt x="160" y="486"/>
                </a:cubicBezTo>
                <a:close/>
                <a:moveTo>
                  <a:pt x="161" y="468"/>
                </a:moveTo>
                <a:cubicBezTo>
                  <a:pt x="162" y="470"/>
                  <a:pt x="159" y="470"/>
                  <a:pt x="161" y="468"/>
                </a:cubicBezTo>
                <a:close/>
                <a:moveTo>
                  <a:pt x="162" y="461"/>
                </a:moveTo>
                <a:cubicBezTo>
                  <a:pt x="163" y="462"/>
                  <a:pt x="163" y="462"/>
                  <a:pt x="162" y="463"/>
                </a:cubicBezTo>
                <a:cubicBezTo>
                  <a:pt x="161" y="465"/>
                  <a:pt x="161" y="460"/>
                  <a:pt x="162" y="461"/>
                </a:cubicBezTo>
                <a:close/>
                <a:moveTo>
                  <a:pt x="162" y="497"/>
                </a:moveTo>
                <a:cubicBezTo>
                  <a:pt x="164" y="497"/>
                  <a:pt x="161" y="499"/>
                  <a:pt x="162" y="497"/>
                </a:cubicBezTo>
                <a:close/>
                <a:moveTo>
                  <a:pt x="163" y="483"/>
                </a:moveTo>
                <a:cubicBezTo>
                  <a:pt x="162" y="485"/>
                  <a:pt x="162" y="481"/>
                  <a:pt x="163" y="483"/>
                </a:cubicBezTo>
                <a:cubicBezTo>
                  <a:pt x="163" y="483"/>
                  <a:pt x="164" y="483"/>
                  <a:pt x="163" y="483"/>
                </a:cubicBezTo>
                <a:close/>
                <a:moveTo>
                  <a:pt x="164" y="472"/>
                </a:moveTo>
                <a:cubicBezTo>
                  <a:pt x="163" y="474"/>
                  <a:pt x="163" y="471"/>
                  <a:pt x="164" y="472"/>
                </a:cubicBezTo>
                <a:cubicBezTo>
                  <a:pt x="164" y="472"/>
                  <a:pt x="164" y="472"/>
                  <a:pt x="164" y="472"/>
                </a:cubicBezTo>
                <a:close/>
                <a:moveTo>
                  <a:pt x="166" y="461"/>
                </a:moveTo>
                <a:cubicBezTo>
                  <a:pt x="160" y="465"/>
                  <a:pt x="163" y="449"/>
                  <a:pt x="168" y="453"/>
                </a:cubicBezTo>
                <a:cubicBezTo>
                  <a:pt x="167" y="452"/>
                  <a:pt x="168" y="456"/>
                  <a:pt x="168" y="455"/>
                </a:cubicBezTo>
                <a:cubicBezTo>
                  <a:pt x="168" y="456"/>
                  <a:pt x="166" y="461"/>
                  <a:pt x="166" y="461"/>
                </a:cubicBezTo>
                <a:close/>
                <a:moveTo>
                  <a:pt x="168" y="450"/>
                </a:moveTo>
                <a:cubicBezTo>
                  <a:pt x="167" y="450"/>
                  <a:pt x="167" y="448"/>
                  <a:pt x="168" y="448"/>
                </a:cubicBezTo>
                <a:cubicBezTo>
                  <a:pt x="168" y="448"/>
                  <a:pt x="169" y="449"/>
                  <a:pt x="168" y="450"/>
                </a:cubicBezTo>
                <a:close/>
                <a:moveTo>
                  <a:pt x="168" y="433"/>
                </a:moveTo>
                <a:cubicBezTo>
                  <a:pt x="168" y="431"/>
                  <a:pt x="168" y="434"/>
                  <a:pt x="168" y="433"/>
                </a:cubicBezTo>
                <a:close/>
                <a:moveTo>
                  <a:pt x="169" y="454"/>
                </a:moveTo>
                <a:cubicBezTo>
                  <a:pt x="169" y="455"/>
                  <a:pt x="169" y="452"/>
                  <a:pt x="169" y="454"/>
                </a:cubicBezTo>
                <a:close/>
                <a:moveTo>
                  <a:pt x="171" y="467"/>
                </a:moveTo>
                <a:cubicBezTo>
                  <a:pt x="170" y="463"/>
                  <a:pt x="174" y="463"/>
                  <a:pt x="171" y="467"/>
                </a:cubicBezTo>
                <a:close/>
                <a:moveTo>
                  <a:pt x="173" y="473"/>
                </a:moveTo>
                <a:cubicBezTo>
                  <a:pt x="172" y="474"/>
                  <a:pt x="172" y="469"/>
                  <a:pt x="173" y="470"/>
                </a:cubicBezTo>
                <a:cubicBezTo>
                  <a:pt x="174" y="471"/>
                  <a:pt x="173" y="472"/>
                  <a:pt x="173" y="473"/>
                </a:cubicBezTo>
                <a:close/>
                <a:moveTo>
                  <a:pt x="173" y="462"/>
                </a:moveTo>
                <a:cubicBezTo>
                  <a:pt x="172" y="463"/>
                  <a:pt x="173" y="461"/>
                  <a:pt x="173" y="460"/>
                </a:cubicBezTo>
                <a:cubicBezTo>
                  <a:pt x="174" y="460"/>
                  <a:pt x="174" y="462"/>
                  <a:pt x="173" y="462"/>
                </a:cubicBezTo>
                <a:close/>
                <a:moveTo>
                  <a:pt x="173" y="460"/>
                </a:moveTo>
                <a:cubicBezTo>
                  <a:pt x="172" y="460"/>
                  <a:pt x="170" y="460"/>
                  <a:pt x="170" y="458"/>
                </a:cubicBezTo>
                <a:cubicBezTo>
                  <a:pt x="171" y="457"/>
                  <a:pt x="176" y="458"/>
                  <a:pt x="173" y="460"/>
                </a:cubicBezTo>
                <a:close/>
                <a:moveTo>
                  <a:pt x="173" y="418"/>
                </a:moveTo>
                <a:cubicBezTo>
                  <a:pt x="174" y="418"/>
                  <a:pt x="174" y="418"/>
                  <a:pt x="173" y="419"/>
                </a:cubicBezTo>
                <a:cubicBezTo>
                  <a:pt x="172" y="420"/>
                  <a:pt x="172" y="417"/>
                  <a:pt x="173" y="418"/>
                </a:cubicBezTo>
                <a:close/>
                <a:moveTo>
                  <a:pt x="174" y="409"/>
                </a:moveTo>
                <a:cubicBezTo>
                  <a:pt x="175" y="409"/>
                  <a:pt x="174" y="409"/>
                  <a:pt x="174" y="410"/>
                </a:cubicBezTo>
                <a:cubicBezTo>
                  <a:pt x="173" y="410"/>
                  <a:pt x="173" y="408"/>
                  <a:pt x="174" y="409"/>
                </a:cubicBezTo>
                <a:close/>
                <a:moveTo>
                  <a:pt x="175" y="414"/>
                </a:moveTo>
                <a:cubicBezTo>
                  <a:pt x="177" y="414"/>
                  <a:pt x="177" y="418"/>
                  <a:pt x="176" y="419"/>
                </a:cubicBezTo>
                <a:cubicBezTo>
                  <a:pt x="173" y="420"/>
                  <a:pt x="175" y="414"/>
                  <a:pt x="175" y="414"/>
                </a:cubicBezTo>
                <a:close/>
                <a:moveTo>
                  <a:pt x="176" y="430"/>
                </a:moveTo>
                <a:cubicBezTo>
                  <a:pt x="175" y="431"/>
                  <a:pt x="175" y="428"/>
                  <a:pt x="176" y="428"/>
                </a:cubicBezTo>
                <a:cubicBezTo>
                  <a:pt x="177" y="428"/>
                  <a:pt x="177" y="429"/>
                  <a:pt x="176" y="430"/>
                </a:cubicBezTo>
                <a:close/>
                <a:moveTo>
                  <a:pt x="177" y="433"/>
                </a:moveTo>
                <a:cubicBezTo>
                  <a:pt x="178" y="434"/>
                  <a:pt x="178" y="436"/>
                  <a:pt x="177" y="436"/>
                </a:cubicBezTo>
                <a:cubicBezTo>
                  <a:pt x="175" y="439"/>
                  <a:pt x="175" y="431"/>
                  <a:pt x="177" y="433"/>
                </a:cubicBezTo>
                <a:close/>
                <a:moveTo>
                  <a:pt x="178" y="429"/>
                </a:moveTo>
                <a:cubicBezTo>
                  <a:pt x="177" y="428"/>
                  <a:pt x="178" y="426"/>
                  <a:pt x="179" y="426"/>
                </a:cubicBezTo>
                <a:cubicBezTo>
                  <a:pt x="178" y="427"/>
                  <a:pt x="178" y="428"/>
                  <a:pt x="178" y="429"/>
                </a:cubicBezTo>
                <a:close/>
                <a:moveTo>
                  <a:pt x="178" y="432"/>
                </a:moveTo>
                <a:cubicBezTo>
                  <a:pt x="177" y="433"/>
                  <a:pt x="178" y="431"/>
                  <a:pt x="178" y="430"/>
                </a:cubicBezTo>
                <a:cubicBezTo>
                  <a:pt x="179" y="430"/>
                  <a:pt x="179" y="431"/>
                  <a:pt x="178" y="432"/>
                </a:cubicBezTo>
                <a:close/>
                <a:moveTo>
                  <a:pt x="179" y="411"/>
                </a:moveTo>
                <a:cubicBezTo>
                  <a:pt x="176" y="413"/>
                  <a:pt x="176" y="406"/>
                  <a:pt x="178" y="408"/>
                </a:cubicBezTo>
                <a:cubicBezTo>
                  <a:pt x="179" y="408"/>
                  <a:pt x="179" y="410"/>
                  <a:pt x="179" y="411"/>
                </a:cubicBezTo>
                <a:close/>
                <a:moveTo>
                  <a:pt x="178" y="467"/>
                </a:moveTo>
                <a:cubicBezTo>
                  <a:pt x="176" y="466"/>
                  <a:pt x="179" y="464"/>
                  <a:pt x="179" y="462"/>
                </a:cubicBezTo>
                <a:cubicBezTo>
                  <a:pt x="180" y="463"/>
                  <a:pt x="179" y="468"/>
                  <a:pt x="178" y="467"/>
                </a:cubicBezTo>
                <a:close/>
                <a:moveTo>
                  <a:pt x="182" y="477"/>
                </a:moveTo>
                <a:cubicBezTo>
                  <a:pt x="182" y="477"/>
                  <a:pt x="179" y="477"/>
                  <a:pt x="180" y="476"/>
                </a:cubicBezTo>
                <a:cubicBezTo>
                  <a:pt x="181" y="475"/>
                  <a:pt x="184" y="477"/>
                  <a:pt x="182" y="477"/>
                </a:cubicBezTo>
                <a:close/>
                <a:moveTo>
                  <a:pt x="180" y="459"/>
                </a:moveTo>
                <a:cubicBezTo>
                  <a:pt x="181" y="457"/>
                  <a:pt x="182" y="456"/>
                  <a:pt x="182" y="455"/>
                </a:cubicBezTo>
                <a:cubicBezTo>
                  <a:pt x="182" y="456"/>
                  <a:pt x="182" y="458"/>
                  <a:pt x="180" y="459"/>
                </a:cubicBezTo>
                <a:close/>
                <a:moveTo>
                  <a:pt x="183" y="432"/>
                </a:moveTo>
                <a:cubicBezTo>
                  <a:pt x="182" y="433"/>
                  <a:pt x="182" y="430"/>
                  <a:pt x="183" y="431"/>
                </a:cubicBezTo>
                <a:cubicBezTo>
                  <a:pt x="183" y="431"/>
                  <a:pt x="183" y="432"/>
                  <a:pt x="183" y="432"/>
                </a:cubicBezTo>
                <a:close/>
                <a:moveTo>
                  <a:pt x="184" y="458"/>
                </a:moveTo>
                <a:cubicBezTo>
                  <a:pt x="183" y="456"/>
                  <a:pt x="186" y="456"/>
                  <a:pt x="184" y="458"/>
                </a:cubicBezTo>
                <a:close/>
                <a:moveTo>
                  <a:pt x="184" y="423"/>
                </a:moveTo>
                <a:cubicBezTo>
                  <a:pt x="184" y="423"/>
                  <a:pt x="184" y="423"/>
                  <a:pt x="184" y="423"/>
                </a:cubicBezTo>
                <a:cubicBezTo>
                  <a:pt x="185" y="422"/>
                  <a:pt x="185" y="422"/>
                  <a:pt x="184" y="423"/>
                </a:cubicBezTo>
                <a:cubicBezTo>
                  <a:pt x="184" y="423"/>
                  <a:pt x="184" y="423"/>
                  <a:pt x="184" y="423"/>
                </a:cubicBezTo>
                <a:cubicBezTo>
                  <a:pt x="184" y="423"/>
                  <a:pt x="184" y="423"/>
                  <a:pt x="184" y="423"/>
                </a:cubicBezTo>
                <a:close/>
                <a:moveTo>
                  <a:pt x="184" y="452"/>
                </a:moveTo>
                <a:cubicBezTo>
                  <a:pt x="182" y="449"/>
                  <a:pt x="186" y="449"/>
                  <a:pt x="184" y="452"/>
                </a:cubicBezTo>
                <a:close/>
                <a:moveTo>
                  <a:pt x="184" y="464"/>
                </a:moveTo>
                <a:cubicBezTo>
                  <a:pt x="185" y="466"/>
                  <a:pt x="182" y="465"/>
                  <a:pt x="184" y="464"/>
                </a:cubicBezTo>
                <a:close/>
                <a:moveTo>
                  <a:pt x="185" y="467"/>
                </a:moveTo>
                <a:cubicBezTo>
                  <a:pt x="186" y="471"/>
                  <a:pt x="182" y="470"/>
                  <a:pt x="185" y="467"/>
                </a:cubicBezTo>
                <a:close/>
                <a:moveTo>
                  <a:pt x="190" y="491"/>
                </a:moveTo>
                <a:cubicBezTo>
                  <a:pt x="189" y="492"/>
                  <a:pt x="189" y="488"/>
                  <a:pt x="190" y="489"/>
                </a:cubicBezTo>
                <a:cubicBezTo>
                  <a:pt x="191" y="490"/>
                  <a:pt x="190" y="491"/>
                  <a:pt x="190" y="491"/>
                </a:cubicBezTo>
                <a:close/>
                <a:moveTo>
                  <a:pt x="194" y="474"/>
                </a:moveTo>
                <a:cubicBezTo>
                  <a:pt x="195" y="475"/>
                  <a:pt x="194" y="475"/>
                  <a:pt x="194" y="475"/>
                </a:cubicBezTo>
                <a:cubicBezTo>
                  <a:pt x="193" y="476"/>
                  <a:pt x="193" y="473"/>
                  <a:pt x="194" y="474"/>
                </a:cubicBezTo>
                <a:close/>
                <a:moveTo>
                  <a:pt x="195" y="474"/>
                </a:moveTo>
                <a:cubicBezTo>
                  <a:pt x="197" y="475"/>
                  <a:pt x="194" y="476"/>
                  <a:pt x="195" y="474"/>
                </a:cubicBezTo>
                <a:close/>
                <a:moveTo>
                  <a:pt x="195" y="490"/>
                </a:moveTo>
                <a:cubicBezTo>
                  <a:pt x="195" y="490"/>
                  <a:pt x="195" y="491"/>
                  <a:pt x="195" y="491"/>
                </a:cubicBezTo>
                <a:cubicBezTo>
                  <a:pt x="194" y="493"/>
                  <a:pt x="194" y="489"/>
                  <a:pt x="195" y="490"/>
                </a:cubicBezTo>
                <a:close/>
                <a:moveTo>
                  <a:pt x="194" y="384"/>
                </a:moveTo>
                <a:cubicBezTo>
                  <a:pt x="193" y="385"/>
                  <a:pt x="194" y="382"/>
                  <a:pt x="195" y="383"/>
                </a:cubicBezTo>
                <a:cubicBezTo>
                  <a:pt x="195" y="383"/>
                  <a:pt x="194" y="384"/>
                  <a:pt x="194" y="384"/>
                </a:cubicBezTo>
                <a:close/>
                <a:moveTo>
                  <a:pt x="194" y="321"/>
                </a:moveTo>
                <a:cubicBezTo>
                  <a:pt x="195" y="321"/>
                  <a:pt x="194" y="322"/>
                  <a:pt x="194" y="322"/>
                </a:cubicBezTo>
                <a:cubicBezTo>
                  <a:pt x="192" y="324"/>
                  <a:pt x="193" y="321"/>
                  <a:pt x="194" y="321"/>
                </a:cubicBezTo>
                <a:close/>
                <a:moveTo>
                  <a:pt x="192" y="489"/>
                </a:moveTo>
                <a:cubicBezTo>
                  <a:pt x="191" y="491"/>
                  <a:pt x="192" y="487"/>
                  <a:pt x="193" y="488"/>
                </a:cubicBezTo>
                <a:cubicBezTo>
                  <a:pt x="194" y="489"/>
                  <a:pt x="193" y="489"/>
                  <a:pt x="192" y="489"/>
                </a:cubicBezTo>
                <a:close/>
                <a:moveTo>
                  <a:pt x="192" y="466"/>
                </a:moveTo>
                <a:cubicBezTo>
                  <a:pt x="190" y="466"/>
                  <a:pt x="191" y="463"/>
                  <a:pt x="192" y="464"/>
                </a:cubicBezTo>
                <a:cubicBezTo>
                  <a:pt x="193" y="465"/>
                  <a:pt x="192" y="465"/>
                  <a:pt x="192" y="466"/>
                </a:cubicBezTo>
                <a:close/>
                <a:moveTo>
                  <a:pt x="191" y="461"/>
                </a:moveTo>
                <a:cubicBezTo>
                  <a:pt x="192" y="460"/>
                  <a:pt x="193" y="460"/>
                  <a:pt x="191" y="461"/>
                </a:cubicBezTo>
                <a:close/>
                <a:moveTo>
                  <a:pt x="191" y="403"/>
                </a:moveTo>
                <a:cubicBezTo>
                  <a:pt x="189" y="404"/>
                  <a:pt x="190" y="400"/>
                  <a:pt x="191" y="400"/>
                </a:cubicBezTo>
                <a:cubicBezTo>
                  <a:pt x="192" y="400"/>
                  <a:pt x="193" y="403"/>
                  <a:pt x="191" y="403"/>
                </a:cubicBezTo>
                <a:close/>
                <a:moveTo>
                  <a:pt x="191" y="311"/>
                </a:moveTo>
                <a:cubicBezTo>
                  <a:pt x="192" y="310"/>
                  <a:pt x="192" y="311"/>
                  <a:pt x="192" y="312"/>
                </a:cubicBezTo>
                <a:cubicBezTo>
                  <a:pt x="191" y="313"/>
                  <a:pt x="191" y="311"/>
                  <a:pt x="191" y="311"/>
                </a:cubicBezTo>
                <a:close/>
                <a:moveTo>
                  <a:pt x="190" y="343"/>
                </a:moveTo>
                <a:cubicBezTo>
                  <a:pt x="190" y="340"/>
                  <a:pt x="192" y="342"/>
                  <a:pt x="190" y="343"/>
                </a:cubicBezTo>
                <a:close/>
                <a:moveTo>
                  <a:pt x="191" y="480"/>
                </a:moveTo>
                <a:cubicBezTo>
                  <a:pt x="191" y="481"/>
                  <a:pt x="189" y="483"/>
                  <a:pt x="188" y="483"/>
                </a:cubicBezTo>
                <a:cubicBezTo>
                  <a:pt x="183" y="484"/>
                  <a:pt x="190" y="478"/>
                  <a:pt x="191" y="480"/>
                </a:cubicBezTo>
                <a:close/>
                <a:moveTo>
                  <a:pt x="188" y="475"/>
                </a:moveTo>
                <a:cubicBezTo>
                  <a:pt x="187" y="476"/>
                  <a:pt x="188" y="473"/>
                  <a:pt x="189" y="474"/>
                </a:cubicBezTo>
                <a:cubicBezTo>
                  <a:pt x="189" y="474"/>
                  <a:pt x="189" y="475"/>
                  <a:pt x="188" y="475"/>
                </a:cubicBezTo>
                <a:close/>
                <a:moveTo>
                  <a:pt x="189" y="478"/>
                </a:moveTo>
                <a:cubicBezTo>
                  <a:pt x="188" y="479"/>
                  <a:pt x="188" y="479"/>
                  <a:pt x="188" y="479"/>
                </a:cubicBezTo>
                <a:cubicBezTo>
                  <a:pt x="188" y="479"/>
                  <a:pt x="188" y="479"/>
                  <a:pt x="188" y="479"/>
                </a:cubicBezTo>
                <a:cubicBezTo>
                  <a:pt x="188" y="479"/>
                  <a:pt x="189" y="478"/>
                  <a:pt x="189" y="478"/>
                </a:cubicBezTo>
                <a:close/>
                <a:moveTo>
                  <a:pt x="189" y="439"/>
                </a:moveTo>
                <a:cubicBezTo>
                  <a:pt x="188" y="441"/>
                  <a:pt x="189" y="438"/>
                  <a:pt x="189" y="439"/>
                </a:cubicBezTo>
                <a:close/>
                <a:moveTo>
                  <a:pt x="188" y="458"/>
                </a:moveTo>
                <a:cubicBezTo>
                  <a:pt x="190" y="459"/>
                  <a:pt x="190" y="462"/>
                  <a:pt x="189" y="462"/>
                </a:cubicBezTo>
                <a:cubicBezTo>
                  <a:pt x="186" y="464"/>
                  <a:pt x="186" y="458"/>
                  <a:pt x="188" y="458"/>
                </a:cubicBezTo>
                <a:close/>
                <a:moveTo>
                  <a:pt x="187" y="458"/>
                </a:moveTo>
                <a:cubicBezTo>
                  <a:pt x="186" y="459"/>
                  <a:pt x="188" y="457"/>
                  <a:pt x="187" y="458"/>
                </a:cubicBezTo>
                <a:close/>
                <a:moveTo>
                  <a:pt x="187" y="433"/>
                </a:moveTo>
                <a:cubicBezTo>
                  <a:pt x="185" y="434"/>
                  <a:pt x="185" y="430"/>
                  <a:pt x="187" y="431"/>
                </a:cubicBezTo>
                <a:cubicBezTo>
                  <a:pt x="188" y="432"/>
                  <a:pt x="187" y="433"/>
                  <a:pt x="187" y="433"/>
                </a:cubicBezTo>
                <a:close/>
                <a:moveTo>
                  <a:pt x="187" y="298"/>
                </a:moveTo>
                <a:cubicBezTo>
                  <a:pt x="187" y="299"/>
                  <a:pt x="186" y="300"/>
                  <a:pt x="186" y="301"/>
                </a:cubicBezTo>
                <a:cubicBezTo>
                  <a:pt x="185" y="302"/>
                  <a:pt x="186" y="298"/>
                  <a:pt x="187" y="298"/>
                </a:cubicBezTo>
                <a:close/>
                <a:moveTo>
                  <a:pt x="185" y="303"/>
                </a:moveTo>
                <a:cubicBezTo>
                  <a:pt x="186" y="304"/>
                  <a:pt x="185" y="306"/>
                  <a:pt x="185" y="308"/>
                </a:cubicBezTo>
                <a:cubicBezTo>
                  <a:pt x="183" y="307"/>
                  <a:pt x="185" y="304"/>
                  <a:pt x="185" y="303"/>
                </a:cubicBezTo>
                <a:close/>
                <a:moveTo>
                  <a:pt x="185" y="380"/>
                </a:moveTo>
                <a:cubicBezTo>
                  <a:pt x="187" y="380"/>
                  <a:pt x="186" y="386"/>
                  <a:pt x="184" y="386"/>
                </a:cubicBezTo>
                <a:cubicBezTo>
                  <a:pt x="181" y="387"/>
                  <a:pt x="182" y="380"/>
                  <a:pt x="185" y="380"/>
                </a:cubicBezTo>
                <a:close/>
                <a:moveTo>
                  <a:pt x="185" y="400"/>
                </a:moveTo>
                <a:cubicBezTo>
                  <a:pt x="184" y="400"/>
                  <a:pt x="185" y="397"/>
                  <a:pt x="186" y="398"/>
                </a:cubicBezTo>
                <a:cubicBezTo>
                  <a:pt x="186" y="399"/>
                  <a:pt x="186" y="400"/>
                  <a:pt x="185" y="400"/>
                </a:cubicBezTo>
                <a:close/>
                <a:moveTo>
                  <a:pt x="183" y="360"/>
                </a:moveTo>
                <a:cubicBezTo>
                  <a:pt x="182" y="361"/>
                  <a:pt x="184" y="358"/>
                  <a:pt x="183" y="360"/>
                </a:cubicBezTo>
                <a:close/>
                <a:moveTo>
                  <a:pt x="183" y="311"/>
                </a:moveTo>
                <a:cubicBezTo>
                  <a:pt x="184" y="312"/>
                  <a:pt x="183" y="313"/>
                  <a:pt x="182" y="314"/>
                </a:cubicBezTo>
                <a:cubicBezTo>
                  <a:pt x="181" y="315"/>
                  <a:pt x="181" y="310"/>
                  <a:pt x="183" y="311"/>
                </a:cubicBezTo>
                <a:close/>
                <a:moveTo>
                  <a:pt x="184" y="408"/>
                </a:moveTo>
                <a:cubicBezTo>
                  <a:pt x="185" y="409"/>
                  <a:pt x="185" y="411"/>
                  <a:pt x="186" y="411"/>
                </a:cubicBezTo>
                <a:cubicBezTo>
                  <a:pt x="188" y="412"/>
                  <a:pt x="187" y="416"/>
                  <a:pt x="185" y="417"/>
                </a:cubicBezTo>
                <a:cubicBezTo>
                  <a:pt x="181" y="418"/>
                  <a:pt x="182" y="416"/>
                  <a:pt x="181" y="414"/>
                </a:cubicBezTo>
                <a:cubicBezTo>
                  <a:pt x="181" y="414"/>
                  <a:pt x="180" y="413"/>
                  <a:pt x="180" y="413"/>
                </a:cubicBezTo>
                <a:cubicBezTo>
                  <a:pt x="180" y="411"/>
                  <a:pt x="182" y="408"/>
                  <a:pt x="184" y="408"/>
                </a:cubicBezTo>
                <a:close/>
                <a:moveTo>
                  <a:pt x="180" y="440"/>
                </a:moveTo>
                <a:cubicBezTo>
                  <a:pt x="181" y="440"/>
                  <a:pt x="180" y="441"/>
                  <a:pt x="180" y="441"/>
                </a:cubicBezTo>
                <a:cubicBezTo>
                  <a:pt x="179" y="441"/>
                  <a:pt x="180" y="440"/>
                  <a:pt x="180" y="440"/>
                </a:cubicBezTo>
                <a:close/>
                <a:moveTo>
                  <a:pt x="179" y="443"/>
                </a:moveTo>
                <a:cubicBezTo>
                  <a:pt x="178" y="441"/>
                  <a:pt x="181" y="441"/>
                  <a:pt x="179" y="443"/>
                </a:cubicBezTo>
                <a:close/>
                <a:moveTo>
                  <a:pt x="179" y="317"/>
                </a:moveTo>
                <a:cubicBezTo>
                  <a:pt x="180" y="320"/>
                  <a:pt x="177" y="318"/>
                  <a:pt x="179" y="317"/>
                </a:cubicBezTo>
                <a:close/>
                <a:moveTo>
                  <a:pt x="178" y="324"/>
                </a:moveTo>
                <a:cubicBezTo>
                  <a:pt x="176" y="323"/>
                  <a:pt x="178" y="321"/>
                  <a:pt x="178" y="320"/>
                </a:cubicBezTo>
                <a:cubicBezTo>
                  <a:pt x="179" y="321"/>
                  <a:pt x="178" y="323"/>
                  <a:pt x="178" y="324"/>
                </a:cubicBezTo>
                <a:close/>
                <a:moveTo>
                  <a:pt x="178" y="296"/>
                </a:moveTo>
                <a:cubicBezTo>
                  <a:pt x="179" y="297"/>
                  <a:pt x="177" y="298"/>
                  <a:pt x="177" y="298"/>
                </a:cubicBezTo>
                <a:cubicBezTo>
                  <a:pt x="176" y="299"/>
                  <a:pt x="177" y="295"/>
                  <a:pt x="178" y="296"/>
                </a:cubicBezTo>
                <a:close/>
                <a:moveTo>
                  <a:pt x="174" y="309"/>
                </a:moveTo>
                <a:cubicBezTo>
                  <a:pt x="175" y="310"/>
                  <a:pt x="173" y="310"/>
                  <a:pt x="174" y="309"/>
                </a:cubicBezTo>
                <a:close/>
                <a:moveTo>
                  <a:pt x="175" y="357"/>
                </a:moveTo>
                <a:cubicBezTo>
                  <a:pt x="175" y="359"/>
                  <a:pt x="173" y="358"/>
                  <a:pt x="175" y="357"/>
                </a:cubicBezTo>
                <a:close/>
                <a:moveTo>
                  <a:pt x="174" y="377"/>
                </a:moveTo>
                <a:cubicBezTo>
                  <a:pt x="175" y="378"/>
                  <a:pt x="174" y="379"/>
                  <a:pt x="173" y="380"/>
                </a:cubicBezTo>
                <a:cubicBezTo>
                  <a:pt x="173" y="379"/>
                  <a:pt x="174" y="378"/>
                  <a:pt x="174" y="377"/>
                </a:cubicBezTo>
                <a:close/>
                <a:moveTo>
                  <a:pt x="172" y="391"/>
                </a:moveTo>
                <a:cubicBezTo>
                  <a:pt x="172" y="390"/>
                  <a:pt x="175" y="392"/>
                  <a:pt x="176" y="391"/>
                </a:cubicBezTo>
                <a:cubicBezTo>
                  <a:pt x="176" y="390"/>
                  <a:pt x="174" y="389"/>
                  <a:pt x="175" y="388"/>
                </a:cubicBezTo>
                <a:cubicBezTo>
                  <a:pt x="178" y="385"/>
                  <a:pt x="181" y="394"/>
                  <a:pt x="178" y="396"/>
                </a:cubicBezTo>
                <a:cubicBezTo>
                  <a:pt x="176" y="397"/>
                  <a:pt x="174" y="397"/>
                  <a:pt x="173" y="396"/>
                </a:cubicBezTo>
                <a:cubicBezTo>
                  <a:pt x="173" y="396"/>
                  <a:pt x="172" y="392"/>
                  <a:pt x="172" y="391"/>
                </a:cubicBezTo>
                <a:close/>
                <a:moveTo>
                  <a:pt x="172" y="439"/>
                </a:moveTo>
                <a:cubicBezTo>
                  <a:pt x="173" y="439"/>
                  <a:pt x="173" y="441"/>
                  <a:pt x="172" y="441"/>
                </a:cubicBezTo>
                <a:cubicBezTo>
                  <a:pt x="170" y="443"/>
                  <a:pt x="170" y="437"/>
                  <a:pt x="172" y="439"/>
                </a:cubicBezTo>
                <a:close/>
                <a:moveTo>
                  <a:pt x="169" y="427"/>
                </a:moveTo>
                <a:cubicBezTo>
                  <a:pt x="166" y="428"/>
                  <a:pt x="167" y="422"/>
                  <a:pt x="169" y="422"/>
                </a:cubicBezTo>
                <a:cubicBezTo>
                  <a:pt x="171" y="422"/>
                  <a:pt x="171" y="426"/>
                  <a:pt x="169" y="427"/>
                </a:cubicBezTo>
                <a:close/>
                <a:moveTo>
                  <a:pt x="165" y="288"/>
                </a:moveTo>
                <a:cubicBezTo>
                  <a:pt x="166" y="288"/>
                  <a:pt x="166" y="289"/>
                  <a:pt x="166" y="290"/>
                </a:cubicBezTo>
                <a:cubicBezTo>
                  <a:pt x="165" y="291"/>
                  <a:pt x="164" y="288"/>
                  <a:pt x="165" y="288"/>
                </a:cubicBezTo>
                <a:close/>
                <a:moveTo>
                  <a:pt x="163" y="282"/>
                </a:moveTo>
                <a:cubicBezTo>
                  <a:pt x="164" y="282"/>
                  <a:pt x="164" y="284"/>
                  <a:pt x="163" y="284"/>
                </a:cubicBezTo>
                <a:cubicBezTo>
                  <a:pt x="162" y="286"/>
                  <a:pt x="161" y="282"/>
                  <a:pt x="163" y="282"/>
                </a:cubicBezTo>
                <a:close/>
                <a:moveTo>
                  <a:pt x="161" y="324"/>
                </a:moveTo>
                <a:cubicBezTo>
                  <a:pt x="161" y="324"/>
                  <a:pt x="162" y="322"/>
                  <a:pt x="162" y="321"/>
                </a:cubicBezTo>
                <a:cubicBezTo>
                  <a:pt x="162" y="322"/>
                  <a:pt x="166" y="321"/>
                  <a:pt x="166" y="321"/>
                </a:cubicBezTo>
                <a:cubicBezTo>
                  <a:pt x="166" y="321"/>
                  <a:pt x="166" y="322"/>
                  <a:pt x="166" y="322"/>
                </a:cubicBezTo>
                <a:cubicBezTo>
                  <a:pt x="167" y="323"/>
                  <a:pt x="168" y="322"/>
                  <a:pt x="168" y="323"/>
                </a:cubicBezTo>
                <a:cubicBezTo>
                  <a:pt x="171" y="328"/>
                  <a:pt x="168" y="335"/>
                  <a:pt x="165" y="336"/>
                </a:cubicBezTo>
                <a:cubicBezTo>
                  <a:pt x="163" y="337"/>
                  <a:pt x="160" y="335"/>
                  <a:pt x="160" y="334"/>
                </a:cubicBezTo>
                <a:cubicBezTo>
                  <a:pt x="160" y="334"/>
                  <a:pt x="160" y="332"/>
                  <a:pt x="160" y="333"/>
                </a:cubicBezTo>
                <a:cubicBezTo>
                  <a:pt x="160" y="331"/>
                  <a:pt x="158" y="332"/>
                  <a:pt x="158" y="330"/>
                </a:cubicBezTo>
                <a:cubicBezTo>
                  <a:pt x="156" y="327"/>
                  <a:pt x="159" y="326"/>
                  <a:pt x="161" y="324"/>
                </a:cubicBezTo>
                <a:close/>
                <a:moveTo>
                  <a:pt x="157" y="351"/>
                </a:moveTo>
                <a:cubicBezTo>
                  <a:pt x="159" y="352"/>
                  <a:pt x="156" y="353"/>
                  <a:pt x="157" y="351"/>
                </a:cubicBezTo>
                <a:close/>
                <a:moveTo>
                  <a:pt x="157" y="367"/>
                </a:moveTo>
                <a:cubicBezTo>
                  <a:pt x="157" y="366"/>
                  <a:pt x="158" y="367"/>
                  <a:pt x="158" y="367"/>
                </a:cubicBezTo>
                <a:cubicBezTo>
                  <a:pt x="159" y="366"/>
                  <a:pt x="157" y="364"/>
                  <a:pt x="159" y="364"/>
                </a:cubicBezTo>
                <a:cubicBezTo>
                  <a:pt x="162" y="364"/>
                  <a:pt x="159" y="373"/>
                  <a:pt x="159" y="374"/>
                </a:cubicBezTo>
                <a:cubicBezTo>
                  <a:pt x="159" y="372"/>
                  <a:pt x="154" y="369"/>
                  <a:pt x="157" y="367"/>
                </a:cubicBezTo>
                <a:close/>
                <a:moveTo>
                  <a:pt x="157" y="386"/>
                </a:moveTo>
                <a:cubicBezTo>
                  <a:pt x="158" y="386"/>
                  <a:pt x="157" y="388"/>
                  <a:pt x="156" y="389"/>
                </a:cubicBezTo>
                <a:cubicBezTo>
                  <a:pt x="155" y="389"/>
                  <a:pt x="155" y="385"/>
                  <a:pt x="157" y="386"/>
                </a:cubicBezTo>
                <a:close/>
                <a:moveTo>
                  <a:pt x="155" y="373"/>
                </a:moveTo>
                <a:cubicBezTo>
                  <a:pt x="154" y="374"/>
                  <a:pt x="154" y="372"/>
                  <a:pt x="155" y="371"/>
                </a:cubicBezTo>
                <a:cubicBezTo>
                  <a:pt x="156" y="371"/>
                  <a:pt x="156" y="373"/>
                  <a:pt x="155" y="373"/>
                </a:cubicBezTo>
                <a:close/>
                <a:moveTo>
                  <a:pt x="153" y="242"/>
                </a:moveTo>
                <a:cubicBezTo>
                  <a:pt x="153" y="242"/>
                  <a:pt x="154" y="237"/>
                  <a:pt x="155" y="238"/>
                </a:cubicBezTo>
                <a:cubicBezTo>
                  <a:pt x="156" y="238"/>
                  <a:pt x="154" y="243"/>
                  <a:pt x="154" y="241"/>
                </a:cubicBezTo>
                <a:cubicBezTo>
                  <a:pt x="153" y="247"/>
                  <a:pt x="153" y="255"/>
                  <a:pt x="152" y="262"/>
                </a:cubicBezTo>
                <a:cubicBezTo>
                  <a:pt x="152" y="262"/>
                  <a:pt x="151" y="264"/>
                  <a:pt x="151" y="264"/>
                </a:cubicBezTo>
                <a:cubicBezTo>
                  <a:pt x="149" y="265"/>
                  <a:pt x="152" y="246"/>
                  <a:pt x="153" y="242"/>
                </a:cubicBezTo>
                <a:close/>
                <a:moveTo>
                  <a:pt x="150" y="352"/>
                </a:moveTo>
                <a:cubicBezTo>
                  <a:pt x="151" y="351"/>
                  <a:pt x="155" y="357"/>
                  <a:pt x="155" y="359"/>
                </a:cubicBezTo>
                <a:cubicBezTo>
                  <a:pt x="155" y="360"/>
                  <a:pt x="154" y="362"/>
                  <a:pt x="152" y="363"/>
                </a:cubicBezTo>
                <a:cubicBezTo>
                  <a:pt x="147" y="365"/>
                  <a:pt x="149" y="352"/>
                  <a:pt x="150" y="352"/>
                </a:cubicBezTo>
                <a:close/>
                <a:moveTo>
                  <a:pt x="148" y="397"/>
                </a:moveTo>
                <a:cubicBezTo>
                  <a:pt x="148" y="397"/>
                  <a:pt x="148" y="398"/>
                  <a:pt x="148" y="398"/>
                </a:cubicBezTo>
                <a:cubicBezTo>
                  <a:pt x="146" y="396"/>
                  <a:pt x="149" y="396"/>
                  <a:pt x="148" y="397"/>
                </a:cubicBezTo>
                <a:close/>
                <a:moveTo>
                  <a:pt x="147" y="373"/>
                </a:moveTo>
                <a:cubicBezTo>
                  <a:pt x="148" y="377"/>
                  <a:pt x="145" y="374"/>
                  <a:pt x="147" y="373"/>
                </a:cubicBezTo>
                <a:close/>
                <a:moveTo>
                  <a:pt x="145" y="340"/>
                </a:moveTo>
                <a:cubicBezTo>
                  <a:pt x="148" y="342"/>
                  <a:pt x="144" y="344"/>
                  <a:pt x="145" y="340"/>
                </a:cubicBezTo>
                <a:close/>
                <a:moveTo>
                  <a:pt x="145" y="351"/>
                </a:moveTo>
                <a:cubicBezTo>
                  <a:pt x="145" y="351"/>
                  <a:pt x="145" y="352"/>
                  <a:pt x="145" y="352"/>
                </a:cubicBezTo>
                <a:cubicBezTo>
                  <a:pt x="143" y="354"/>
                  <a:pt x="143" y="350"/>
                  <a:pt x="145" y="351"/>
                </a:cubicBezTo>
                <a:close/>
                <a:moveTo>
                  <a:pt x="143" y="299"/>
                </a:moveTo>
                <a:cubicBezTo>
                  <a:pt x="143" y="299"/>
                  <a:pt x="144" y="301"/>
                  <a:pt x="143" y="301"/>
                </a:cubicBezTo>
                <a:cubicBezTo>
                  <a:pt x="142" y="303"/>
                  <a:pt x="142" y="298"/>
                  <a:pt x="143" y="299"/>
                </a:cubicBezTo>
                <a:close/>
                <a:moveTo>
                  <a:pt x="143" y="429"/>
                </a:moveTo>
                <a:cubicBezTo>
                  <a:pt x="145" y="430"/>
                  <a:pt x="143" y="430"/>
                  <a:pt x="144" y="431"/>
                </a:cubicBezTo>
                <a:cubicBezTo>
                  <a:pt x="145" y="433"/>
                  <a:pt x="146" y="433"/>
                  <a:pt x="146" y="433"/>
                </a:cubicBezTo>
                <a:cubicBezTo>
                  <a:pt x="147" y="435"/>
                  <a:pt x="146" y="438"/>
                  <a:pt x="145" y="439"/>
                </a:cubicBezTo>
                <a:cubicBezTo>
                  <a:pt x="142" y="440"/>
                  <a:pt x="140" y="438"/>
                  <a:pt x="140" y="435"/>
                </a:cubicBezTo>
                <a:cubicBezTo>
                  <a:pt x="141" y="433"/>
                  <a:pt x="143" y="433"/>
                  <a:pt x="143" y="432"/>
                </a:cubicBezTo>
                <a:cubicBezTo>
                  <a:pt x="143" y="431"/>
                  <a:pt x="141" y="429"/>
                  <a:pt x="143" y="429"/>
                </a:cubicBezTo>
                <a:close/>
                <a:moveTo>
                  <a:pt x="142" y="354"/>
                </a:moveTo>
                <a:cubicBezTo>
                  <a:pt x="143" y="355"/>
                  <a:pt x="140" y="357"/>
                  <a:pt x="142" y="354"/>
                </a:cubicBezTo>
                <a:close/>
                <a:moveTo>
                  <a:pt x="141" y="298"/>
                </a:moveTo>
                <a:cubicBezTo>
                  <a:pt x="142" y="301"/>
                  <a:pt x="139" y="299"/>
                  <a:pt x="141" y="298"/>
                </a:cubicBezTo>
                <a:close/>
                <a:moveTo>
                  <a:pt x="140" y="375"/>
                </a:moveTo>
                <a:cubicBezTo>
                  <a:pt x="141" y="375"/>
                  <a:pt x="142" y="377"/>
                  <a:pt x="141" y="378"/>
                </a:cubicBezTo>
                <a:cubicBezTo>
                  <a:pt x="140" y="380"/>
                  <a:pt x="139" y="375"/>
                  <a:pt x="140" y="375"/>
                </a:cubicBezTo>
                <a:close/>
                <a:moveTo>
                  <a:pt x="142" y="405"/>
                </a:moveTo>
                <a:cubicBezTo>
                  <a:pt x="141" y="406"/>
                  <a:pt x="141" y="406"/>
                  <a:pt x="141" y="406"/>
                </a:cubicBezTo>
                <a:cubicBezTo>
                  <a:pt x="141" y="406"/>
                  <a:pt x="141" y="406"/>
                  <a:pt x="142" y="405"/>
                </a:cubicBezTo>
                <a:close/>
                <a:moveTo>
                  <a:pt x="141" y="417"/>
                </a:moveTo>
                <a:cubicBezTo>
                  <a:pt x="142" y="418"/>
                  <a:pt x="141" y="420"/>
                  <a:pt x="141" y="420"/>
                </a:cubicBezTo>
                <a:cubicBezTo>
                  <a:pt x="139" y="422"/>
                  <a:pt x="139" y="417"/>
                  <a:pt x="141" y="417"/>
                </a:cubicBezTo>
                <a:close/>
                <a:moveTo>
                  <a:pt x="137" y="465"/>
                </a:moveTo>
                <a:cubicBezTo>
                  <a:pt x="135" y="470"/>
                  <a:pt x="131" y="464"/>
                  <a:pt x="136" y="463"/>
                </a:cubicBezTo>
                <a:cubicBezTo>
                  <a:pt x="136" y="463"/>
                  <a:pt x="139" y="463"/>
                  <a:pt x="139" y="463"/>
                </a:cubicBezTo>
                <a:cubicBezTo>
                  <a:pt x="142" y="466"/>
                  <a:pt x="137" y="469"/>
                  <a:pt x="137" y="465"/>
                </a:cubicBezTo>
                <a:close/>
                <a:moveTo>
                  <a:pt x="138" y="439"/>
                </a:moveTo>
                <a:cubicBezTo>
                  <a:pt x="139" y="439"/>
                  <a:pt x="139" y="440"/>
                  <a:pt x="139" y="441"/>
                </a:cubicBezTo>
                <a:cubicBezTo>
                  <a:pt x="138" y="441"/>
                  <a:pt x="138" y="439"/>
                  <a:pt x="138" y="439"/>
                </a:cubicBezTo>
                <a:close/>
                <a:moveTo>
                  <a:pt x="138" y="452"/>
                </a:moveTo>
                <a:cubicBezTo>
                  <a:pt x="137" y="454"/>
                  <a:pt x="136" y="451"/>
                  <a:pt x="137" y="451"/>
                </a:cubicBezTo>
                <a:cubicBezTo>
                  <a:pt x="138" y="451"/>
                  <a:pt x="138" y="452"/>
                  <a:pt x="138" y="452"/>
                </a:cubicBezTo>
                <a:close/>
                <a:moveTo>
                  <a:pt x="137" y="363"/>
                </a:moveTo>
                <a:cubicBezTo>
                  <a:pt x="137" y="363"/>
                  <a:pt x="135" y="363"/>
                  <a:pt x="135" y="364"/>
                </a:cubicBezTo>
                <a:cubicBezTo>
                  <a:pt x="133" y="367"/>
                  <a:pt x="138" y="377"/>
                  <a:pt x="134" y="379"/>
                </a:cubicBezTo>
                <a:cubicBezTo>
                  <a:pt x="132" y="380"/>
                  <a:pt x="133" y="366"/>
                  <a:pt x="134" y="364"/>
                </a:cubicBezTo>
                <a:cubicBezTo>
                  <a:pt x="134" y="360"/>
                  <a:pt x="134" y="356"/>
                  <a:pt x="134" y="353"/>
                </a:cubicBezTo>
                <a:cubicBezTo>
                  <a:pt x="134" y="353"/>
                  <a:pt x="135" y="352"/>
                  <a:pt x="135" y="352"/>
                </a:cubicBezTo>
                <a:cubicBezTo>
                  <a:pt x="137" y="353"/>
                  <a:pt x="135" y="355"/>
                  <a:pt x="135" y="357"/>
                </a:cubicBezTo>
                <a:cubicBezTo>
                  <a:pt x="135" y="360"/>
                  <a:pt x="138" y="360"/>
                  <a:pt x="137" y="363"/>
                </a:cubicBezTo>
                <a:close/>
                <a:moveTo>
                  <a:pt x="133" y="337"/>
                </a:moveTo>
                <a:cubicBezTo>
                  <a:pt x="134" y="338"/>
                  <a:pt x="132" y="339"/>
                  <a:pt x="133" y="337"/>
                </a:cubicBezTo>
                <a:close/>
                <a:moveTo>
                  <a:pt x="136" y="331"/>
                </a:moveTo>
                <a:cubicBezTo>
                  <a:pt x="137" y="332"/>
                  <a:pt x="136" y="334"/>
                  <a:pt x="136" y="334"/>
                </a:cubicBezTo>
                <a:cubicBezTo>
                  <a:pt x="135" y="335"/>
                  <a:pt x="135" y="331"/>
                  <a:pt x="136" y="331"/>
                </a:cubicBezTo>
                <a:close/>
                <a:moveTo>
                  <a:pt x="133" y="322"/>
                </a:moveTo>
                <a:cubicBezTo>
                  <a:pt x="134" y="322"/>
                  <a:pt x="135" y="323"/>
                  <a:pt x="134" y="324"/>
                </a:cubicBezTo>
                <a:cubicBezTo>
                  <a:pt x="133" y="325"/>
                  <a:pt x="132" y="322"/>
                  <a:pt x="133" y="322"/>
                </a:cubicBezTo>
                <a:close/>
                <a:moveTo>
                  <a:pt x="133" y="325"/>
                </a:moveTo>
                <a:cubicBezTo>
                  <a:pt x="135" y="324"/>
                  <a:pt x="136" y="328"/>
                  <a:pt x="134" y="329"/>
                </a:cubicBezTo>
                <a:cubicBezTo>
                  <a:pt x="132" y="331"/>
                  <a:pt x="132" y="325"/>
                  <a:pt x="133" y="325"/>
                </a:cubicBezTo>
                <a:close/>
                <a:moveTo>
                  <a:pt x="132" y="371"/>
                </a:moveTo>
                <a:cubicBezTo>
                  <a:pt x="132" y="371"/>
                  <a:pt x="131" y="371"/>
                  <a:pt x="131" y="371"/>
                </a:cubicBezTo>
                <a:cubicBezTo>
                  <a:pt x="131" y="370"/>
                  <a:pt x="133" y="370"/>
                  <a:pt x="132" y="371"/>
                </a:cubicBezTo>
                <a:close/>
                <a:moveTo>
                  <a:pt x="129" y="374"/>
                </a:moveTo>
                <a:cubicBezTo>
                  <a:pt x="129" y="376"/>
                  <a:pt x="127" y="374"/>
                  <a:pt x="129" y="374"/>
                </a:cubicBezTo>
                <a:close/>
                <a:moveTo>
                  <a:pt x="128" y="318"/>
                </a:moveTo>
                <a:cubicBezTo>
                  <a:pt x="128" y="319"/>
                  <a:pt x="127" y="319"/>
                  <a:pt x="127" y="320"/>
                </a:cubicBezTo>
                <a:cubicBezTo>
                  <a:pt x="127" y="320"/>
                  <a:pt x="127" y="318"/>
                  <a:pt x="128" y="318"/>
                </a:cubicBezTo>
                <a:close/>
                <a:moveTo>
                  <a:pt x="126" y="325"/>
                </a:moveTo>
                <a:cubicBezTo>
                  <a:pt x="127" y="326"/>
                  <a:pt x="126" y="328"/>
                  <a:pt x="126" y="329"/>
                </a:cubicBezTo>
                <a:cubicBezTo>
                  <a:pt x="124" y="329"/>
                  <a:pt x="126" y="326"/>
                  <a:pt x="126" y="325"/>
                </a:cubicBezTo>
                <a:close/>
                <a:moveTo>
                  <a:pt x="124" y="375"/>
                </a:moveTo>
                <a:cubicBezTo>
                  <a:pt x="124" y="374"/>
                  <a:pt x="125" y="375"/>
                  <a:pt x="125" y="375"/>
                </a:cubicBezTo>
                <a:cubicBezTo>
                  <a:pt x="125" y="375"/>
                  <a:pt x="124" y="375"/>
                  <a:pt x="124" y="375"/>
                </a:cubicBezTo>
                <a:close/>
                <a:moveTo>
                  <a:pt x="120" y="352"/>
                </a:moveTo>
                <a:cubicBezTo>
                  <a:pt x="121" y="352"/>
                  <a:pt x="122" y="353"/>
                  <a:pt x="121" y="354"/>
                </a:cubicBezTo>
                <a:cubicBezTo>
                  <a:pt x="120" y="356"/>
                  <a:pt x="119" y="352"/>
                  <a:pt x="120" y="352"/>
                </a:cubicBezTo>
                <a:close/>
                <a:moveTo>
                  <a:pt x="124" y="362"/>
                </a:moveTo>
                <a:cubicBezTo>
                  <a:pt x="126" y="364"/>
                  <a:pt x="124" y="368"/>
                  <a:pt x="121" y="367"/>
                </a:cubicBezTo>
                <a:cubicBezTo>
                  <a:pt x="120" y="367"/>
                  <a:pt x="121" y="364"/>
                  <a:pt x="120" y="362"/>
                </a:cubicBezTo>
                <a:cubicBezTo>
                  <a:pt x="121" y="365"/>
                  <a:pt x="124" y="362"/>
                  <a:pt x="124" y="362"/>
                </a:cubicBezTo>
                <a:close/>
                <a:moveTo>
                  <a:pt x="121" y="425"/>
                </a:moveTo>
                <a:cubicBezTo>
                  <a:pt x="121" y="425"/>
                  <a:pt x="120" y="425"/>
                  <a:pt x="120" y="425"/>
                </a:cubicBezTo>
                <a:cubicBezTo>
                  <a:pt x="118" y="423"/>
                  <a:pt x="123" y="422"/>
                  <a:pt x="121" y="425"/>
                </a:cubicBezTo>
                <a:close/>
                <a:moveTo>
                  <a:pt x="119" y="435"/>
                </a:moveTo>
                <a:cubicBezTo>
                  <a:pt x="118" y="435"/>
                  <a:pt x="119" y="435"/>
                  <a:pt x="119" y="434"/>
                </a:cubicBezTo>
                <a:cubicBezTo>
                  <a:pt x="119" y="434"/>
                  <a:pt x="119" y="435"/>
                  <a:pt x="119" y="435"/>
                </a:cubicBezTo>
                <a:close/>
                <a:moveTo>
                  <a:pt x="112" y="346"/>
                </a:moveTo>
                <a:cubicBezTo>
                  <a:pt x="112" y="346"/>
                  <a:pt x="114" y="344"/>
                  <a:pt x="116" y="345"/>
                </a:cubicBezTo>
                <a:cubicBezTo>
                  <a:pt x="118" y="345"/>
                  <a:pt x="119" y="348"/>
                  <a:pt x="119" y="351"/>
                </a:cubicBezTo>
                <a:cubicBezTo>
                  <a:pt x="118" y="352"/>
                  <a:pt x="117" y="355"/>
                  <a:pt x="117" y="355"/>
                </a:cubicBezTo>
                <a:cubicBezTo>
                  <a:pt x="117" y="355"/>
                  <a:pt x="113" y="354"/>
                  <a:pt x="112" y="352"/>
                </a:cubicBezTo>
                <a:cubicBezTo>
                  <a:pt x="112" y="352"/>
                  <a:pt x="111" y="347"/>
                  <a:pt x="112" y="346"/>
                </a:cubicBezTo>
                <a:close/>
                <a:moveTo>
                  <a:pt x="111" y="354"/>
                </a:moveTo>
                <a:cubicBezTo>
                  <a:pt x="112" y="354"/>
                  <a:pt x="111" y="355"/>
                  <a:pt x="111" y="355"/>
                </a:cubicBezTo>
                <a:cubicBezTo>
                  <a:pt x="110" y="356"/>
                  <a:pt x="110" y="353"/>
                  <a:pt x="111" y="354"/>
                </a:cubicBezTo>
                <a:close/>
                <a:moveTo>
                  <a:pt x="110" y="283"/>
                </a:moveTo>
                <a:cubicBezTo>
                  <a:pt x="110" y="283"/>
                  <a:pt x="110" y="284"/>
                  <a:pt x="110" y="284"/>
                </a:cubicBezTo>
                <a:cubicBezTo>
                  <a:pt x="109" y="286"/>
                  <a:pt x="109" y="282"/>
                  <a:pt x="110" y="283"/>
                </a:cubicBezTo>
                <a:close/>
                <a:moveTo>
                  <a:pt x="108" y="299"/>
                </a:moveTo>
                <a:cubicBezTo>
                  <a:pt x="109" y="299"/>
                  <a:pt x="109" y="300"/>
                  <a:pt x="109" y="301"/>
                </a:cubicBezTo>
                <a:cubicBezTo>
                  <a:pt x="108" y="302"/>
                  <a:pt x="107" y="299"/>
                  <a:pt x="108" y="299"/>
                </a:cubicBezTo>
                <a:close/>
                <a:moveTo>
                  <a:pt x="109" y="347"/>
                </a:moveTo>
                <a:cubicBezTo>
                  <a:pt x="111" y="348"/>
                  <a:pt x="110" y="352"/>
                  <a:pt x="109" y="353"/>
                </a:cubicBezTo>
                <a:cubicBezTo>
                  <a:pt x="106" y="355"/>
                  <a:pt x="106" y="346"/>
                  <a:pt x="109" y="347"/>
                </a:cubicBezTo>
                <a:close/>
                <a:moveTo>
                  <a:pt x="108" y="421"/>
                </a:moveTo>
                <a:cubicBezTo>
                  <a:pt x="109" y="422"/>
                  <a:pt x="107" y="425"/>
                  <a:pt x="107" y="425"/>
                </a:cubicBezTo>
                <a:cubicBezTo>
                  <a:pt x="104" y="426"/>
                  <a:pt x="106" y="420"/>
                  <a:pt x="108" y="421"/>
                </a:cubicBezTo>
                <a:close/>
                <a:moveTo>
                  <a:pt x="105" y="283"/>
                </a:moveTo>
                <a:cubicBezTo>
                  <a:pt x="106" y="283"/>
                  <a:pt x="107" y="285"/>
                  <a:pt x="106" y="286"/>
                </a:cubicBezTo>
                <a:cubicBezTo>
                  <a:pt x="104" y="287"/>
                  <a:pt x="104" y="284"/>
                  <a:pt x="105" y="283"/>
                </a:cubicBezTo>
                <a:close/>
                <a:moveTo>
                  <a:pt x="105" y="425"/>
                </a:moveTo>
                <a:cubicBezTo>
                  <a:pt x="105" y="423"/>
                  <a:pt x="104" y="426"/>
                  <a:pt x="105" y="425"/>
                </a:cubicBezTo>
                <a:close/>
                <a:moveTo>
                  <a:pt x="104" y="301"/>
                </a:moveTo>
                <a:cubicBezTo>
                  <a:pt x="106" y="302"/>
                  <a:pt x="103" y="304"/>
                  <a:pt x="104" y="301"/>
                </a:cubicBezTo>
                <a:close/>
                <a:moveTo>
                  <a:pt x="104" y="370"/>
                </a:moveTo>
                <a:cubicBezTo>
                  <a:pt x="104" y="370"/>
                  <a:pt x="104" y="372"/>
                  <a:pt x="104" y="372"/>
                </a:cubicBezTo>
                <a:cubicBezTo>
                  <a:pt x="103" y="373"/>
                  <a:pt x="103" y="370"/>
                  <a:pt x="104" y="370"/>
                </a:cubicBezTo>
                <a:close/>
                <a:moveTo>
                  <a:pt x="102" y="425"/>
                </a:moveTo>
                <a:cubicBezTo>
                  <a:pt x="103" y="426"/>
                  <a:pt x="103" y="426"/>
                  <a:pt x="103" y="426"/>
                </a:cubicBezTo>
                <a:cubicBezTo>
                  <a:pt x="104" y="426"/>
                  <a:pt x="106" y="426"/>
                  <a:pt x="104" y="428"/>
                </a:cubicBezTo>
                <a:cubicBezTo>
                  <a:pt x="104" y="428"/>
                  <a:pt x="104" y="428"/>
                  <a:pt x="103" y="428"/>
                </a:cubicBezTo>
                <a:cubicBezTo>
                  <a:pt x="103" y="428"/>
                  <a:pt x="103" y="428"/>
                  <a:pt x="103" y="427"/>
                </a:cubicBezTo>
                <a:cubicBezTo>
                  <a:pt x="102" y="428"/>
                  <a:pt x="102" y="428"/>
                  <a:pt x="102" y="428"/>
                </a:cubicBezTo>
                <a:cubicBezTo>
                  <a:pt x="100" y="429"/>
                  <a:pt x="100" y="424"/>
                  <a:pt x="102" y="425"/>
                </a:cubicBezTo>
                <a:close/>
                <a:moveTo>
                  <a:pt x="101" y="363"/>
                </a:moveTo>
                <a:cubicBezTo>
                  <a:pt x="99" y="362"/>
                  <a:pt x="101" y="362"/>
                  <a:pt x="101" y="363"/>
                </a:cubicBezTo>
                <a:close/>
                <a:moveTo>
                  <a:pt x="100" y="315"/>
                </a:moveTo>
                <a:cubicBezTo>
                  <a:pt x="100" y="318"/>
                  <a:pt x="98" y="316"/>
                  <a:pt x="100" y="315"/>
                </a:cubicBezTo>
                <a:close/>
                <a:moveTo>
                  <a:pt x="99" y="422"/>
                </a:moveTo>
                <a:cubicBezTo>
                  <a:pt x="99" y="422"/>
                  <a:pt x="100" y="423"/>
                  <a:pt x="99" y="424"/>
                </a:cubicBezTo>
                <a:cubicBezTo>
                  <a:pt x="98" y="426"/>
                  <a:pt x="98" y="421"/>
                  <a:pt x="99" y="422"/>
                </a:cubicBezTo>
                <a:close/>
                <a:moveTo>
                  <a:pt x="96" y="297"/>
                </a:moveTo>
                <a:cubicBezTo>
                  <a:pt x="97" y="298"/>
                  <a:pt x="95" y="298"/>
                  <a:pt x="96" y="297"/>
                </a:cubicBezTo>
                <a:cubicBezTo>
                  <a:pt x="96" y="297"/>
                  <a:pt x="96" y="297"/>
                  <a:pt x="96" y="297"/>
                </a:cubicBezTo>
                <a:close/>
                <a:moveTo>
                  <a:pt x="96" y="305"/>
                </a:moveTo>
                <a:cubicBezTo>
                  <a:pt x="96" y="305"/>
                  <a:pt x="96" y="304"/>
                  <a:pt x="96" y="303"/>
                </a:cubicBezTo>
                <a:cubicBezTo>
                  <a:pt x="96" y="303"/>
                  <a:pt x="97" y="304"/>
                  <a:pt x="96" y="305"/>
                </a:cubicBezTo>
                <a:close/>
                <a:moveTo>
                  <a:pt x="96" y="380"/>
                </a:moveTo>
                <a:cubicBezTo>
                  <a:pt x="97" y="380"/>
                  <a:pt x="97" y="383"/>
                  <a:pt x="96" y="384"/>
                </a:cubicBezTo>
                <a:cubicBezTo>
                  <a:pt x="93" y="385"/>
                  <a:pt x="94" y="379"/>
                  <a:pt x="96" y="380"/>
                </a:cubicBezTo>
                <a:close/>
                <a:moveTo>
                  <a:pt x="95" y="393"/>
                </a:moveTo>
                <a:cubicBezTo>
                  <a:pt x="94" y="391"/>
                  <a:pt x="97" y="391"/>
                  <a:pt x="95" y="393"/>
                </a:cubicBezTo>
                <a:close/>
                <a:moveTo>
                  <a:pt x="97" y="431"/>
                </a:moveTo>
                <a:cubicBezTo>
                  <a:pt x="97" y="432"/>
                  <a:pt x="95" y="434"/>
                  <a:pt x="94" y="434"/>
                </a:cubicBezTo>
                <a:cubicBezTo>
                  <a:pt x="95" y="434"/>
                  <a:pt x="94" y="436"/>
                  <a:pt x="93" y="436"/>
                </a:cubicBezTo>
                <a:cubicBezTo>
                  <a:pt x="93" y="435"/>
                  <a:pt x="93" y="433"/>
                  <a:pt x="94" y="434"/>
                </a:cubicBezTo>
                <a:cubicBezTo>
                  <a:pt x="93" y="433"/>
                  <a:pt x="93" y="430"/>
                  <a:pt x="94" y="430"/>
                </a:cubicBezTo>
                <a:cubicBezTo>
                  <a:pt x="95" y="430"/>
                  <a:pt x="97" y="431"/>
                  <a:pt x="97" y="431"/>
                </a:cubicBezTo>
                <a:close/>
                <a:moveTo>
                  <a:pt x="93" y="359"/>
                </a:moveTo>
                <a:cubicBezTo>
                  <a:pt x="94" y="362"/>
                  <a:pt x="91" y="360"/>
                  <a:pt x="93" y="359"/>
                </a:cubicBezTo>
                <a:close/>
                <a:moveTo>
                  <a:pt x="93" y="379"/>
                </a:moveTo>
                <a:cubicBezTo>
                  <a:pt x="94" y="382"/>
                  <a:pt x="91" y="380"/>
                  <a:pt x="93" y="379"/>
                </a:cubicBezTo>
                <a:close/>
                <a:moveTo>
                  <a:pt x="92" y="391"/>
                </a:moveTo>
                <a:cubicBezTo>
                  <a:pt x="92" y="393"/>
                  <a:pt x="91" y="393"/>
                  <a:pt x="91" y="391"/>
                </a:cubicBezTo>
                <a:cubicBezTo>
                  <a:pt x="91" y="391"/>
                  <a:pt x="92" y="391"/>
                  <a:pt x="92" y="391"/>
                </a:cubicBezTo>
                <a:close/>
                <a:moveTo>
                  <a:pt x="89" y="352"/>
                </a:moveTo>
                <a:cubicBezTo>
                  <a:pt x="90" y="354"/>
                  <a:pt x="88" y="354"/>
                  <a:pt x="89" y="352"/>
                </a:cubicBezTo>
                <a:close/>
                <a:moveTo>
                  <a:pt x="89" y="400"/>
                </a:moveTo>
                <a:cubicBezTo>
                  <a:pt x="88" y="401"/>
                  <a:pt x="90" y="399"/>
                  <a:pt x="89" y="400"/>
                </a:cubicBezTo>
                <a:close/>
                <a:moveTo>
                  <a:pt x="87" y="362"/>
                </a:moveTo>
                <a:cubicBezTo>
                  <a:pt x="88" y="361"/>
                  <a:pt x="89" y="364"/>
                  <a:pt x="88" y="364"/>
                </a:cubicBezTo>
                <a:cubicBezTo>
                  <a:pt x="87" y="365"/>
                  <a:pt x="86" y="362"/>
                  <a:pt x="87" y="362"/>
                </a:cubicBezTo>
                <a:close/>
                <a:moveTo>
                  <a:pt x="85" y="385"/>
                </a:moveTo>
                <a:cubicBezTo>
                  <a:pt x="86" y="384"/>
                  <a:pt x="87" y="385"/>
                  <a:pt x="87" y="385"/>
                </a:cubicBezTo>
                <a:cubicBezTo>
                  <a:pt x="89" y="388"/>
                  <a:pt x="84" y="388"/>
                  <a:pt x="85" y="385"/>
                </a:cubicBezTo>
                <a:close/>
                <a:moveTo>
                  <a:pt x="86" y="398"/>
                </a:moveTo>
                <a:cubicBezTo>
                  <a:pt x="86" y="398"/>
                  <a:pt x="85" y="398"/>
                  <a:pt x="85" y="398"/>
                </a:cubicBezTo>
                <a:cubicBezTo>
                  <a:pt x="85" y="397"/>
                  <a:pt x="86" y="398"/>
                  <a:pt x="86" y="398"/>
                </a:cubicBezTo>
                <a:close/>
                <a:moveTo>
                  <a:pt x="87" y="400"/>
                </a:moveTo>
                <a:cubicBezTo>
                  <a:pt x="88" y="400"/>
                  <a:pt x="87" y="402"/>
                  <a:pt x="88" y="402"/>
                </a:cubicBezTo>
                <a:cubicBezTo>
                  <a:pt x="88" y="403"/>
                  <a:pt x="91" y="402"/>
                  <a:pt x="92" y="402"/>
                </a:cubicBezTo>
                <a:cubicBezTo>
                  <a:pt x="92" y="402"/>
                  <a:pt x="94" y="405"/>
                  <a:pt x="94" y="405"/>
                </a:cubicBezTo>
                <a:cubicBezTo>
                  <a:pt x="96" y="408"/>
                  <a:pt x="92" y="411"/>
                  <a:pt x="92" y="414"/>
                </a:cubicBezTo>
                <a:cubicBezTo>
                  <a:pt x="90" y="412"/>
                  <a:pt x="86" y="411"/>
                  <a:pt x="86" y="407"/>
                </a:cubicBezTo>
                <a:cubicBezTo>
                  <a:pt x="83" y="412"/>
                  <a:pt x="83" y="400"/>
                  <a:pt x="87" y="400"/>
                </a:cubicBezTo>
                <a:close/>
                <a:moveTo>
                  <a:pt x="84" y="412"/>
                </a:moveTo>
                <a:cubicBezTo>
                  <a:pt x="84" y="412"/>
                  <a:pt x="84" y="413"/>
                  <a:pt x="84" y="413"/>
                </a:cubicBezTo>
                <a:cubicBezTo>
                  <a:pt x="83" y="414"/>
                  <a:pt x="83" y="412"/>
                  <a:pt x="84" y="412"/>
                </a:cubicBezTo>
                <a:close/>
                <a:moveTo>
                  <a:pt x="82" y="395"/>
                </a:moveTo>
                <a:cubicBezTo>
                  <a:pt x="83" y="395"/>
                  <a:pt x="84" y="397"/>
                  <a:pt x="83" y="398"/>
                </a:cubicBezTo>
                <a:cubicBezTo>
                  <a:pt x="81" y="398"/>
                  <a:pt x="81" y="396"/>
                  <a:pt x="82" y="395"/>
                </a:cubicBezTo>
                <a:close/>
                <a:moveTo>
                  <a:pt x="81" y="405"/>
                </a:moveTo>
                <a:cubicBezTo>
                  <a:pt x="81" y="405"/>
                  <a:pt x="81" y="405"/>
                  <a:pt x="81" y="405"/>
                </a:cubicBezTo>
                <a:cubicBezTo>
                  <a:pt x="79" y="406"/>
                  <a:pt x="83" y="403"/>
                  <a:pt x="81" y="405"/>
                </a:cubicBezTo>
                <a:close/>
                <a:moveTo>
                  <a:pt x="80" y="427"/>
                </a:moveTo>
                <a:cubicBezTo>
                  <a:pt x="80" y="425"/>
                  <a:pt x="82" y="427"/>
                  <a:pt x="80" y="427"/>
                </a:cubicBezTo>
                <a:close/>
                <a:moveTo>
                  <a:pt x="79" y="403"/>
                </a:moveTo>
                <a:cubicBezTo>
                  <a:pt x="80" y="402"/>
                  <a:pt x="80" y="403"/>
                  <a:pt x="80" y="403"/>
                </a:cubicBezTo>
                <a:cubicBezTo>
                  <a:pt x="80" y="403"/>
                  <a:pt x="79" y="403"/>
                  <a:pt x="79" y="403"/>
                </a:cubicBezTo>
                <a:close/>
                <a:moveTo>
                  <a:pt x="79" y="352"/>
                </a:moveTo>
                <a:cubicBezTo>
                  <a:pt x="79" y="355"/>
                  <a:pt x="78" y="357"/>
                  <a:pt x="79" y="361"/>
                </a:cubicBezTo>
                <a:cubicBezTo>
                  <a:pt x="77" y="359"/>
                  <a:pt x="77" y="353"/>
                  <a:pt x="79" y="352"/>
                </a:cubicBezTo>
                <a:close/>
                <a:moveTo>
                  <a:pt x="79" y="363"/>
                </a:moveTo>
                <a:cubicBezTo>
                  <a:pt x="78" y="366"/>
                  <a:pt x="80" y="370"/>
                  <a:pt x="79" y="372"/>
                </a:cubicBezTo>
                <a:cubicBezTo>
                  <a:pt x="78" y="375"/>
                  <a:pt x="76" y="365"/>
                  <a:pt x="79" y="363"/>
                </a:cubicBezTo>
                <a:close/>
                <a:moveTo>
                  <a:pt x="77" y="429"/>
                </a:moveTo>
                <a:cubicBezTo>
                  <a:pt x="79" y="430"/>
                  <a:pt x="78" y="431"/>
                  <a:pt x="78" y="432"/>
                </a:cubicBezTo>
                <a:cubicBezTo>
                  <a:pt x="80" y="429"/>
                  <a:pt x="81" y="434"/>
                  <a:pt x="83" y="433"/>
                </a:cubicBezTo>
                <a:cubicBezTo>
                  <a:pt x="82" y="436"/>
                  <a:pt x="84" y="439"/>
                  <a:pt x="82" y="441"/>
                </a:cubicBezTo>
                <a:cubicBezTo>
                  <a:pt x="81" y="442"/>
                  <a:pt x="79" y="442"/>
                  <a:pt x="78" y="441"/>
                </a:cubicBezTo>
                <a:cubicBezTo>
                  <a:pt x="76" y="440"/>
                  <a:pt x="75" y="433"/>
                  <a:pt x="75" y="432"/>
                </a:cubicBezTo>
                <a:cubicBezTo>
                  <a:pt x="75" y="433"/>
                  <a:pt x="78" y="431"/>
                  <a:pt x="77" y="429"/>
                </a:cubicBezTo>
                <a:close/>
                <a:moveTo>
                  <a:pt x="76" y="420"/>
                </a:moveTo>
                <a:cubicBezTo>
                  <a:pt x="76" y="420"/>
                  <a:pt x="76" y="420"/>
                  <a:pt x="76" y="420"/>
                </a:cubicBezTo>
                <a:cubicBezTo>
                  <a:pt x="76" y="420"/>
                  <a:pt x="76" y="420"/>
                  <a:pt x="76" y="420"/>
                </a:cubicBezTo>
                <a:cubicBezTo>
                  <a:pt x="76" y="420"/>
                  <a:pt x="76" y="420"/>
                  <a:pt x="76" y="420"/>
                </a:cubicBezTo>
                <a:close/>
                <a:moveTo>
                  <a:pt x="76" y="370"/>
                </a:moveTo>
                <a:cubicBezTo>
                  <a:pt x="78" y="371"/>
                  <a:pt x="76" y="374"/>
                  <a:pt x="76" y="370"/>
                </a:cubicBezTo>
                <a:close/>
                <a:moveTo>
                  <a:pt x="75" y="384"/>
                </a:moveTo>
                <a:cubicBezTo>
                  <a:pt x="76" y="386"/>
                  <a:pt x="74" y="386"/>
                  <a:pt x="75" y="384"/>
                </a:cubicBezTo>
                <a:close/>
                <a:moveTo>
                  <a:pt x="75" y="426"/>
                </a:moveTo>
                <a:cubicBezTo>
                  <a:pt x="74" y="426"/>
                  <a:pt x="75" y="424"/>
                  <a:pt x="75" y="426"/>
                </a:cubicBezTo>
                <a:close/>
                <a:moveTo>
                  <a:pt x="74" y="369"/>
                </a:moveTo>
                <a:cubicBezTo>
                  <a:pt x="74" y="371"/>
                  <a:pt x="74" y="367"/>
                  <a:pt x="74" y="369"/>
                </a:cubicBezTo>
                <a:close/>
                <a:moveTo>
                  <a:pt x="57" y="427"/>
                </a:moveTo>
                <a:cubicBezTo>
                  <a:pt x="55" y="426"/>
                  <a:pt x="55" y="426"/>
                  <a:pt x="56" y="423"/>
                </a:cubicBezTo>
                <a:cubicBezTo>
                  <a:pt x="57" y="424"/>
                  <a:pt x="60" y="430"/>
                  <a:pt x="57" y="427"/>
                </a:cubicBezTo>
                <a:close/>
                <a:moveTo>
                  <a:pt x="58" y="394"/>
                </a:moveTo>
                <a:cubicBezTo>
                  <a:pt x="58" y="395"/>
                  <a:pt x="57" y="395"/>
                  <a:pt x="57" y="395"/>
                </a:cubicBezTo>
                <a:cubicBezTo>
                  <a:pt x="57" y="395"/>
                  <a:pt x="57" y="393"/>
                  <a:pt x="58" y="394"/>
                </a:cubicBezTo>
                <a:close/>
                <a:moveTo>
                  <a:pt x="60" y="383"/>
                </a:moveTo>
                <a:cubicBezTo>
                  <a:pt x="60" y="384"/>
                  <a:pt x="59" y="382"/>
                  <a:pt x="59" y="382"/>
                </a:cubicBezTo>
                <a:cubicBezTo>
                  <a:pt x="60" y="381"/>
                  <a:pt x="60" y="382"/>
                  <a:pt x="60" y="383"/>
                </a:cubicBezTo>
                <a:close/>
                <a:moveTo>
                  <a:pt x="62" y="438"/>
                </a:moveTo>
                <a:cubicBezTo>
                  <a:pt x="61" y="439"/>
                  <a:pt x="61" y="436"/>
                  <a:pt x="61" y="436"/>
                </a:cubicBezTo>
                <a:cubicBezTo>
                  <a:pt x="62" y="435"/>
                  <a:pt x="63" y="437"/>
                  <a:pt x="62" y="438"/>
                </a:cubicBezTo>
                <a:close/>
                <a:moveTo>
                  <a:pt x="63" y="434"/>
                </a:moveTo>
                <a:cubicBezTo>
                  <a:pt x="64" y="434"/>
                  <a:pt x="64" y="435"/>
                  <a:pt x="64" y="435"/>
                </a:cubicBezTo>
                <a:cubicBezTo>
                  <a:pt x="63" y="436"/>
                  <a:pt x="62" y="433"/>
                  <a:pt x="63" y="434"/>
                </a:cubicBezTo>
                <a:close/>
                <a:moveTo>
                  <a:pt x="63" y="409"/>
                </a:moveTo>
                <a:cubicBezTo>
                  <a:pt x="62" y="410"/>
                  <a:pt x="62" y="407"/>
                  <a:pt x="63" y="409"/>
                </a:cubicBezTo>
                <a:close/>
                <a:moveTo>
                  <a:pt x="64" y="436"/>
                </a:moveTo>
                <a:cubicBezTo>
                  <a:pt x="65" y="437"/>
                  <a:pt x="63" y="438"/>
                  <a:pt x="64" y="436"/>
                </a:cubicBezTo>
                <a:close/>
                <a:moveTo>
                  <a:pt x="66" y="438"/>
                </a:moveTo>
                <a:cubicBezTo>
                  <a:pt x="66" y="439"/>
                  <a:pt x="65" y="437"/>
                  <a:pt x="65" y="437"/>
                </a:cubicBezTo>
                <a:cubicBezTo>
                  <a:pt x="66" y="437"/>
                  <a:pt x="66" y="437"/>
                  <a:pt x="66" y="438"/>
                </a:cubicBezTo>
                <a:close/>
                <a:moveTo>
                  <a:pt x="67" y="426"/>
                </a:moveTo>
                <a:cubicBezTo>
                  <a:pt x="68" y="426"/>
                  <a:pt x="68" y="427"/>
                  <a:pt x="68" y="428"/>
                </a:cubicBezTo>
                <a:cubicBezTo>
                  <a:pt x="67" y="428"/>
                  <a:pt x="67" y="426"/>
                  <a:pt x="67" y="426"/>
                </a:cubicBezTo>
                <a:close/>
                <a:moveTo>
                  <a:pt x="68" y="438"/>
                </a:moveTo>
                <a:cubicBezTo>
                  <a:pt x="67" y="439"/>
                  <a:pt x="70" y="438"/>
                  <a:pt x="68" y="438"/>
                </a:cubicBezTo>
                <a:close/>
                <a:moveTo>
                  <a:pt x="69" y="428"/>
                </a:moveTo>
                <a:cubicBezTo>
                  <a:pt x="70" y="428"/>
                  <a:pt x="70" y="429"/>
                  <a:pt x="70" y="430"/>
                </a:cubicBezTo>
                <a:cubicBezTo>
                  <a:pt x="70" y="431"/>
                  <a:pt x="69" y="429"/>
                  <a:pt x="69" y="428"/>
                </a:cubicBezTo>
                <a:close/>
                <a:moveTo>
                  <a:pt x="70" y="403"/>
                </a:moveTo>
                <a:cubicBezTo>
                  <a:pt x="70" y="401"/>
                  <a:pt x="70" y="404"/>
                  <a:pt x="70" y="403"/>
                </a:cubicBezTo>
                <a:close/>
                <a:moveTo>
                  <a:pt x="72" y="435"/>
                </a:moveTo>
                <a:cubicBezTo>
                  <a:pt x="70" y="436"/>
                  <a:pt x="70" y="433"/>
                  <a:pt x="71" y="433"/>
                </a:cubicBezTo>
                <a:cubicBezTo>
                  <a:pt x="72" y="432"/>
                  <a:pt x="73" y="434"/>
                  <a:pt x="72" y="435"/>
                </a:cubicBezTo>
                <a:close/>
                <a:moveTo>
                  <a:pt x="72" y="432"/>
                </a:moveTo>
                <a:cubicBezTo>
                  <a:pt x="71" y="431"/>
                  <a:pt x="71" y="430"/>
                  <a:pt x="70" y="429"/>
                </a:cubicBezTo>
                <a:cubicBezTo>
                  <a:pt x="71" y="430"/>
                  <a:pt x="72" y="431"/>
                  <a:pt x="72" y="432"/>
                </a:cubicBezTo>
                <a:close/>
                <a:moveTo>
                  <a:pt x="70" y="364"/>
                </a:moveTo>
                <a:cubicBezTo>
                  <a:pt x="68" y="366"/>
                  <a:pt x="67" y="361"/>
                  <a:pt x="69" y="360"/>
                </a:cubicBezTo>
                <a:cubicBezTo>
                  <a:pt x="70" y="360"/>
                  <a:pt x="71" y="363"/>
                  <a:pt x="70" y="364"/>
                </a:cubicBezTo>
                <a:close/>
                <a:moveTo>
                  <a:pt x="68" y="340"/>
                </a:moveTo>
                <a:cubicBezTo>
                  <a:pt x="71" y="345"/>
                  <a:pt x="67" y="346"/>
                  <a:pt x="68" y="340"/>
                </a:cubicBezTo>
                <a:close/>
                <a:moveTo>
                  <a:pt x="69" y="393"/>
                </a:moveTo>
                <a:cubicBezTo>
                  <a:pt x="70" y="394"/>
                  <a:pt x="70" y="395"/>
                  <a:pt x="69" y="395"/>
                </a:cubicBezTo>
                <a:cubicBezTo>
                  <a:pt x="67" y="397"/>
                  <a:pt x="67" y="390"/>
                  <a:pt x="69" y="393"/>
                </a:cubicBezTo>
                <a:close/>
                <a:moveTo>
                  <a:pt x="66" y="377"/>
                </a:moveTo>
                <a:cubicBezTo>
                  <a:pt x="67" y="377"/>
                  <a:pt x="68" y="378"/>
                  <a:pt x="67" y="379"/>
                </a:cubicBezTo>
                <a:cubicBezTo>
                  <a:pt x="66" y="380"/>
                  <a:pt x="65" y="377"/>
                  <a:pt x="66" y="377"/>
                </a:cubicBezTo>
                <a:close/>
                <a:moveTo>
                  <a:pt x="65" y="423"/>
                </a:moveTo>
                <a:cubicBezTo>
                  <a:pt x="65" y="424"/>
                  <a:pt x="64" y="420"/>
                  <a:pt x="65" y="420"/>
                </a:cubicBezTo>
                <a:cubicBezTo>
                  <a:pt x="66" y="420"/>
                  <a:pt x="66" y="422"/>
                  <a:pt x="65" y="423"/>
                </a:cubicBezTo>
                <a:close/>
                <a:moveTo>
                  <a:pt x="65" y="406"/>
                </a:moveTo>
                <a:cubicBezTo>
                  <a:pt x="65" y="407"/>
                  <a:pt x="65" y="405"/>
                  <a:pt x="64" y="404"/>
                </a:cubicBezTo>
                <a:cubicBezTo>
                  <a:pt x="66" y="404"/>
                  <a:pt x="65" y="406"/>
                  <a:pt x="65" y="406"/>
                </a:cubicBezTo>
                <a:close/>
                <a:moveTo>
                  <a:pt x="65" y="377"/>
                </a:moveTo>
                <a:cubicBezTo>
                  <a:pt x="65" y="377"/>
                  <a:pt x="65" y="378"/>
                  <a:pt x="65" y="378"/>
                </a:cubicBezTo>
                <a:cubicBezTo>
                  <a:pt x="64" y="380"/>
                  <a:pt x="63" y="376"/>
                  <a:pt x="65" y="377"/>
                </a:cubicBezTo>
                <a:close/>
                <a:moveTo>
                  <a:pt x="62" y="377"/>
                </a:moveTo>
                <a:cubicBezTo>
                  <a:pt x="64" y="376"/>
                  <a:pt x="65" y="381"/>
                  <a:pt x="63" y="382"/>
                </a:cubicBezTo>
                <a:cubicBezTo>
                  <a:pt x="61" y="384"/>
                  <a:pt x="61" y="378"/>
                  <a:pt x="62" y="377"/>
                </a:cubicBezTo>
                <a:close/>
                <a:moveTo>
                  <a:pt x="61" y="384"/>
                </a:moveTo>
                <a:cubicBezTo>
                  <a:pt x="61" y="384"/>
                  <a:pt x="62" y="386"/>
                  <a:pt x="62" y="387"/>
                </a:cubicBezTo>
                <a:cubicBezTo>
                  <a:pt x="61" y="388"/>
                  <a:pt x="60" y="384"/>
                  <a:pt x="61" y="384"/>
                </a:cubicBezTo>
                <a:close/>
                <a:moveTo>
                  <a:pt x="59" y="359"/>
                </a:moveTo>
                <a:cubicBezTo>
                  <a:pt x="60" y="358"/>
                  <a:pt x="61" y="362"/>
                  <a:pt x="60" y="362"/>
                </a:cubicBezTo>
                <a:cubicBezTo>
                  <a:pt x="58" y="363"/>
                  <a:pt x="58" y="359"/>
                  <a:pt x="59" y="359"/>
                </a:cubicBezTo>
                <a:close/>
                <a:moveTo>
                  <a:pt x="57" y="368"/>
                </a:moveTo>
                <a:cubicBezTo>
                  <a:pt x="58" y="368"/>
                  <a:pt x="58" y="370"/>
                  <a:pt x="57" y="370"/>
                </a:cubicBezTo>
                <a:cubicBezTo>
                  <a:pt x="56" y="371"/>
                  <a:pt x="56" y="367"/>
                  <a:pt x="57" y="368"/>
                </a:cubicBezTo>
                <a:close/>
                <a:moveTo>
                  <a:pt x="57" y="352"/>
                </a:moveTo>
                <a:cubicBezTo>
                  <a:pt x="57" y="354"/>
                  <a:pt x="56" y="354"/>
                  <a:pt x="56" y="352"/>
                </a:cubicBezTo>
                <a:cubicBezTo>
                  <a:pt x="56" y="352"/>
                  <a:pt x="56" y="352"/>
                  <a:pt x="57" y="352"/>
                </a:cubicBezTo>
                <a:close/>
                <a:moveTo>
                  <a:pt x="57" y="422"/>
                </a:moveTo>
                <a:cubicBezTo>
                  <a:pt x="56" y="423"/>
                  <a:pt x="55" y="421"/>
                  <a:pt x="56" y="421"/>
                </a:cubicBezTo>
                <a:cubicBezTo>
                  <a:pt x="56" y="420"/>
                  <a:pt x="57" y="421"/>
                  <a:pt x="57" y="422"/>
                </a:cubicBezTo>
                <a:close/>
                <a:moveTo>
                  <a:pt x="55" y="396"/>
                </a:moveTo>
                <a:cubicBezTo>
                  <a:pt x="55" y="396"/>
                  <a:pt x="56" y="397"/>
                  <a:pt x="56" y="398"/>
                </a:cubicBezTo>
                <a:cubicBezTo>
                  <a:pt x="55" y="399"/>
                  <a:pt x="54" y="397"/>
                  <a:pt x="55" y="396"/>
                </a:cubicBezTo>
                <a:close/>
                <a:moveTo>
                  <a:pt x="53" y="387"/>
                </a:moveTo>
                <a:cubicBezTo>
                  <a:pt x="53" y="387"/>
                  <a:pt x="54" y="388"/>
                  <a:pt x="53" y="389"/>
                </a:cubicBezTo>
                <a:cubicBezTo>
                  <a:pt x="52" y="390"/>
                  <a:pt x="51" y="387"/>
                  <a:pt x="53" y="387"/>
                </a:cubicBezTo>
                <a:close/>
                <a:moveTo>
                  <a:pt x="13" y="370"/>
                </a:moveTo>
                <a:cubicBezTo>
                  <a:pt x="14" y="371"/>
                  <a:pt x="12" y="371"/>
                  <a:pt x="13" y="370"/>
                </a:cubicBezTo>
                <a:close/>
                <a:moveTo>
                  <a:pt x="49" y="418"/>
                </a:moveTo>
                <a:cubicBezTo>
                  <a:pt x="51" y="418"/>
                  <a:pt x="49" y="420"/>
                  <a:pt x="49" y="418"/>
                </a:cubicBezTo>
                <a:close/>
                <a:moveTo>
                  <a:pt x="51" y="423"/>
                </a:moveTo>
                <a:cubicBezTo>
                  <a:pt x="50" y="424"/>
                  <a:pt x="51" y="419"/>
                  <a:pt x="51" y="423"/>
                </a:cubicBezTo>
                <a:cubicBezTo>
                  <a:pt x="51" y="423"/>
                  <a:pt x="51" y="423"/>
                  <a:pt x="51" y="423"/>
                </a:cubicBezTo>
                <a:close/>
                <a:moveTo>
                  <a:pt x="51" y="402"/>
                </a:moveTo>
                <a:cubicBezTo>
                  <a:pt x="50" y="402"/>
                  <a:pt x="50" y="401"/>
                  <a:pt x="50" y="401"/>
                </a:cubicBezTo>
                <a:cubicBezTo>
                  <a:pt x="51" y="401"/>
                  <a:pt x="51" y="401"/>
                  <a:pt x="51" y="402"/>
                </a:cubicBezTo>
                <a:close/>
                <a:moveTo>
                  <a:pt x="50" y="364"/>
                </a:moveTo>
                <a:cubicBezTo>
                  <a:pt x="49" y="365"/>
                  <a:pt x="49" y="361"/>
                  <a:pt x="50" y="361"/>
                </a:cubicBezTo>
                <a:cubicBezTo>
                  <a:pt x="50" y="360"/>
                  <a:pt x="51" y="363"/>
                  <a:pt x="50" y="364"/>
                </a:cubicBezTo>
                <a:close/>
                <a:moveTo>
                  <a:pt x="50" y="340"/>
                </a:moveTo>
                <a:cubicBezTo>
                  <a:pt x="50" y="340"/>
                  <a:pt x="51" y="341"/>
                  <a:pt x="50" y="342"/>
                </a:cubicBezTo>
                <a:cubicBezTo>
                  <a:pt x="50" y="343"/>
                  <a:pt x="50" y="341"/>
                  <a:pt x="50" y="340"/>
                </a:cubicBezTo>
                <a:close/>
                <a:moveTo>
                  <a:pt x="45" y="343"/>
                </a:moveTo>
                <a:cubicBezTo>
                  <a:pt x="43" y="342"/>
                  <a:pt x="45" y="340"/>
                  <a:pt x="45" y="343"/>
                </a:cubicBezTo>
                <a:close/>
                <a:moveTo>
                  <a:pt x="33" y="345"/>
                </a:moveTo>
                <a:cubicBezTo>
                  <a:pt x="33" y="345"/>
                  <a:pt x="33" y="346"/>
                  <a:pt x="33" y="346"/>
                </a:cubicBezTo>
                <a:cubicBezTo>
                  <a:pt x="31" y="346"/>
                  <a:pt x="35" y="343"/>
                  <a:pt x="33" y="345"/>
                </a:cubicBezTo>
                <a:close/>
                <a:moveTo>
                  <a:pt x="32" y="346"/>
                </a:moveTo>
                <a:cubicBezTo>
                  <a:pt x="31" y="347"/>
                  <a:pt x="35" y="345"/>
                  <a:pt x="34" y="345"/>
                </a:cubicBezTo>
                <a:cubicBezTo>
                  <a:pt x="35" y="345"/>
                  <a:pt x="38" y="351"/>
                  <a:pt x="37" y="355"/>
                </a:cubicBezTo>
                <a:cubicBezTo>
                  <a:pt x="37" y="354"/>
                  <a:pt x="34" y="356"/>
                  <a:pt x="34" y="357"/>
                </a:cubicBezTo>
                <a:cubicBezTo>
                  <a:pt x="33" y="356"/>
                  <a:pt x="30" y="349"/>
                  <a:pt x="32" y="346"/>
                </a:cubicBezTo>
                <a:close/>
                <a:moveTo>
                  <a:pt x="31" y="370"/>
                </a:moveTo>
                <a:cubicBezTo>
                  <a:pt x="32" y="370"/>
                  <a:pt x="32" y="371"/>
                  <a:pt x="32" y="372"/>
                </a:cubicBezTo>
                <a:cubicBezTo>
                  <a:pt x="32" y="373"/>
                  <a:pt x="30" y="370"/>
                  <a:pt x="31" y="370"/>
                </a:cubicBezTo>
                <a:close/>
                <a:moveTo>
                  <a:pt x="16" y="392"/>
                </a:moveTo>
                <a:cubicBezTo>
                  <a:pt x="15" y="391"/>
                  <a:pt x="14" y="386"/>
                  <a:pt x="14" y="383"/>
                </a:cubicBezTo>
                <a:cubicBezTo>
                  <a:pt x="14" y="383"/>
                  <a:pt x="14" y="384"/>
                  <a:pt x="14" y="384"/>
                </a:cubicBezTo>
                <a:cubicBezTo>
                  <a:pt x="15" y="387"/>
                  <a:pt x="17" y="389"/>
                  <a:pt x="16" y="392"/>
                </a:cubicBezTo>
                <a:close/>
                <a:moveTo>
                  <a:pt x="20" y="381"/>
                </a:moveTo>
                <a:cubicBezTo>
                  <a:pt x="15" y="383"/>
                  <a:pt x="12" y="373"/>
                  <a:pt x="15" y="371"/>
                </a:cubicBezTo>
                <a:cubicBezTo>
                  <a:pt x="18" y="370"/>
                  <a:pt x="25" y="379"/>
                  <a:pt x="20" y="381"/>
                </a:cubicBezTo>
                <a:close/>
                <a:moveTo>
                  <a:pt x="21" y="396"/>
                </a:moveTo>
                <a:cubicBezTo>
                  <a:pt x="23" y="396"/>
                  <a:pt x="21" y="398"/>
                  <a:pt x="21" y="396"/>
                </a:cubicBezTo>
                <a:close/>
                <a:moveTo>
                  <a:pt x="22" y="368"/>
                </a:moveTo>
                <a:cubicBezTo>
                  <a:pt x="20" y="369"/>
                  <a:pt x="17" y="364"/>
                  <a:pt x="19" y="363"/>
                </a:cubicBezTo>
                <a:cubicBezTo>
                  <a:pt x="19" y="363"/>
                  <a:pt x="20" y="362"/>
                  <a:pt x="20" y="362"/>
                </a:cubicBezTo>
                <a:cubicBezTo>
                  <a:pt x="23" y="361"/>
                  <a:pt x="24" y="367"/>
                  <a:pt x="22" y="368"/>
                </a:cubicBezTo>
                <a:close/>
                <a:moveTo>
                  <a:pt x="23" y="397"/>
                </a:moveTo>
                <a:cubicBezTo>
                  <a:pt x="24" y="398"/>
                  <a:pt x="23" y="401"/>
                  <a:pt x="23" y="397"/>
                </a:cubicBezTo>
                <a:close/>
                <a:moveTo>
                  <a:pt x="27" y="376"/>
                </a:moveTo>
                <a:cubicBezTo>
                  <a:pt x="28" y="375"/>
                  <a:pt x="31" y="380"/>
                  <a:pt x="29" y="381"/>
                </a:cubicBezTo>
                <a:cubicBezTo>
                  <a:pt x="27" y="382"/>
                  <a:pt x="26" y="377"/>
                  <a:pt x="27" y="376"/>
                </a:cubicBezTo>
                <a:close/>
                <a:moveTo>
                  <a:pt x="26" y="382"/>
                </a:moveTo>
                <a:cubicBezTo>
                  <a:pt x="26" y="382"/>
                  <a:pt x="27" y="382"/>
                  <a:pt x="27" y="383"/>
                </a:cubicBezTo>
                <a:cubicBezTo>
                  <a:pt x="27" y="383"/>
                  <a:pt x="26" y="383"/>
                  <a:pt x="26" y="382"/>
                </a:cubicBezTo>
                <a:close/>
                <a:moveTo>
                  <a:pt x="33" y="400"/>
                </a:moveTo>
                <a:cubicBezTo>
                  <a:pt x="34" y="403"/>
                  <a:pt x="32" y="404"/>
                  <a:pt x="33" y="400"/>
                </a:cubicBezTo>
                <a:close/>
                <a:moveTo>
                  <a:pt x="34" y="395"/>
                </a:moveTo>
                <a:cubicBezTo>
                  <a:pt x="32" y="396"/>
                  <a:pt x="29" y="395"/>
                  <a:pt x="28" y="393"/>
                </a:cubicBezTo>
                <a:cubicBezTo>
                  <a:pt x="28" y="393"/>
                  <a:pt x="29" y="392"/>
                  <a:pt x="29" y="391"/>
                </a:cubicBezTo>
                <a:cubicBezTo>
                  <a:pt x="28" y="389"/>
                  <a:pt x="26" y="390"/>
                  <a:pt x="28" y="388"/>
                </a:cubicBezTo>
                <a:cubicBezTo>
                  <a:pt x="30" y="387"/>
                  <a:pt x="27" y="387"/>
                  <a:pt x="29" y="386"/>
                </a:cubicBezTo>
                <a:cubicBezTo>
                  <a:pt x="30" y="386"/>
                  <a:pt x="31" y="382"/>
                  <a:pt x="33" y="382"/>
                </a:cubicBezTo>
                <a:cubicBezTo>
                  <a:pt x="34" y="382"/>
                  <a:pt x="34" y="385"/>
                  <a:pt x="35" y="385"/>
                </a:cubicBezTo>
                <a:cubicBezTo>
                  <a:pt x="38" y="386"/>
                  <a:pt x="35" y="385"/>
                  <a:pt x="36" y="387"/>
                </a:cubicBezTo>
                <a:cubicBezTo>
                  <a:pt x="36" y="387"/>
                  <a:pt x="38" y="388"/>
                  <a:pt x="38" y="388"/>
                </a:cubicBezTo>
                <a:cubicBezTo>
                  <a:pt x="38" y="390"/>
                  <a:pt x="36" y="395"/>
                  <a:pt x="34" y="395"/>
                </a:cubicBezTo>
                <a:close/>
                <a:moveTo>
                  <a:pt x="39" y="373"/>
                </a:moveTo>
                <a:cubicBezTo>
                  <a:pt x="40" y="374"/>
                  <a:pt x="40" y="375"/>
                  <a:pt x="40" y="376"/>
                </a:cubicBezTo>
                <a:cubicBezTo>
                  <a:pt x="38" y="377"/>
                  <a:pt x="37" y="373"/>
                  <a:pt x="39" y="373"/>
                </a:cubicBezTo>
                <a:close/>
                <a:moveTo>
                  <a:pt x="39" y="406"/>
                </a:moveTo>
                <a:cubicBezTo>
                  <a:pt x="40" y="406"/>
                  <a:pt x="38" y="408"/>
                  <a:pt x="39" y="406"/>
                </a:cubicBezTo>
                <a:close/>
                <a:moveTo>
                  <a:pt x="40" y="384"/>
                </a:moveTo>
                <a:cubicBezTo>
                  <a:pt x="40" y="384"/>
                  <a:pt x="41" y="385"/>
                  <a:pt x="40" y="386"/>
                </a:cubicBezTo>
                <a:cubicBezTo>
                  <a:pt x="40" y="386"/>
                  <a:pt x="39" y="385"/>
                  <a:pt x="40" y="384"/>
                </a:cubicBezTo>
                <a:close/>
                <a:moveTo>
                  <a:pt x="42" y="412"/>
                </a:moveTo>
                <a:cubicBezTo>
                  <a:pt x="41" y="414"/>
                  <a:pt x="40" y="411"/>
                  <a:pt x="41" y="411"/>
                </a:cubicBezTo>
                <a:cubicBezTo>
                  <a:pt x="41" y="411"/>
                  <a:pt x="42" y="411"/>
                  <a:pt x="42" y="412"/>
                </a:cubicBezTo>
                <a:close/>
                <a:moveTo>
                  <a:pt x="43" y="354"/>
                </a:moveTo>
                <a:cubicBezTo>
                  <a:pt x="43" y="355"/>
                  <a:pt x="42" y="353"/>
                  <a:pt x="43" y="353"/>
                </a:cubicBezTo>
                <a:cubicBezTo>
                  <a:pt x="43" y="353"/>
                  <a:pt x="44" y="354"/>
                  <a:pt x="43" y="354"/>
                </a:cubicBezTo>
                <a:close/>
                <a:moveTo>
                  <a:pt x="45" y="344"/>
                </a:moveTo>
                <a:cubicBezTo>
                  <a:pt x="45" y="344"/>
                  <a:pt x="47" y="345"/>
                  <a:pt x="48" y="344"/>
                </a:cubicBezTo>
                <a:cubicBezTo>
                  <a:pt x="46" y="345"/>
                  <a:pt x="50" y="347"/>
                  <a:pt x="50" y="348"/>
                </a:cubicBezTo>
                <a:cubicBezTo>
                  <a:pt x="50" y="349"/>
                  <a:pt x="50" y="355"/>
                  <a:pt x="46" y="354"/>
                </a:cubicBezTo>
                <a:cubicBezTo>
                  <a:pt x="43" y="353"/>
                  <a:pt x="43" y="346"/>
                  <a:pt x="45" y="344"/>
                </a:cubicBezTo>
                <a:close/>
                <a:moveTo>
                  <a:pt x="48" y="390"/>
                </a:moveTo>
                <a:cubicBezTo>
                  <a:pt x="49" y="390"/>
                  <a:pt x="47" y="392"/>
                  <a:pt x="48" y="390"/>
                </a:cubicBezTo>
                <a:close/>
                <a:moveTo>
                  <a:pt x="48" y="406"/>
                </a:moveTo>
                <a:cubicBezTo>
                  <a:pt x="47" y="407"/>
                  <a:pt x="47" y="405"/>
                  <a:pt x="48" y="404"/>
                </a:cubicBezTo>
                <a:cubicBezTo>
                  <a:pt x="48" y="404"/>
                  <a:pt x="48" y="405"/>
                  <a:pt x="48" y="406"/>
                </a:cubicBezTo>
                <a:close/>
                <a:moveTo>
                  <a:pt x="46" y="416"/>
                </a:moveTo>
                <a:cubicBezTo>
                  <a:pt x="47" y="417"/>
                  <a:pt x="47" y="418"/>
                  <a:pt x="48" y="419"/>
                </a:cubicBezTo>
                <a:cubicBezTo>
                  <a:pt x="46" y="419"/>
                  <a:pt x="47" y="417"/>
                  <a:pt x="46" y="416"/>
                </a:cubicBezTo>
                <a:close/>
                <a:moveTo>
                  <a:pt x="45" y="412"/>
                </a:moveTo>
                <a:cubicBezTo>
                  <a:pt x="46" y="411"/>
                  <a:pt x="45" y="410"/>
                  <a:pt x="45" y="410"/>
                </a:cubicBezTo>
                <a:cubicBezTo>
                  <a:pt x="47" y="409"/>
                  <a:pt x="46" y="411"/>
                  <a:pt x="48" y="412"/>
                </a:cubicBezTo>
                <a:cubicBezTo>
                  <a:pt x="48" y="412"/>
                  <a:pt x="49" y="412"/>
                  <a:pt x="49" y="412"/>
                </a:cubicBezTo>
                <a:cubicBezTo>
                  <a:pt x="50" y="414"/>
                  <a:pt x="49" y="416"/>
                  <a:pt x="48" y="416"/>
                </a:cubicBezTo>
                <a:cubicBezTo>
                  <a:pt x="45" y="417"/>
                  <a:pt x="44" y="414"/>
                  <a:pt x="45" y="412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214" name="Rectangle 213">
            <a:extLst>
              <a:ext uri="{FF2B5EF4-FFF2-40B4-BE49-F238E27FC236}">
                <a16:creationId xmlns="" xmlns:a16="http://schemas.microsoft.com/office/drawing/2014/main" id="{C5EFE00D-20F1-44D4-9D86-E5D0ADDF3C58}"/>
              </a:ext>
            </a:extLst>
          </p:cNvPr>
          <p:cNvSpPr/>
          <p:nvPr/>
        </p:nvSpPr>
        <p:spPr>
          <a:xfrm>
            <a:off x="9537277" y="3812875"/>
            <a:ext cx="2020147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ANSPORTATION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216" name="Rectangle 215">
            <a:extLst>
              <a:ext uri="{FF2B5EF4-FFF2-40B4-BE49-F238E27FC236}">
                <a16:creationId xmlns="" xmlns:a16="http://schemas.microsoft.com/office/drawing/2014/main" id="{1F76205E-0E32-4381-89DD-51FE37067C0A}"/>
              </a:ext>
            </a:extLst>
          </p:cNvPr>
          <p:cNvSpPr/>
          <p:nvPr/>
        </p:nvSpPr>
        <p:spPr>
          <a:xfrm>
            <a:off x="9537277" y="4264049"/>
            <a:ext cx="2029127" cy="150810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lo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l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grpSp>
        <p:nvGrpSpPr>
          <p:cNvPr id="218" name="Group 217">
            <a:extLst>
              <a:ext uri="{FF2B5EF4-FFF2-40B4-BE49-F238E27FC236}">
                <a16:creationId xmlns="" xmlns:a16="http://schemas.microsoft.com/office/drawing/2014/main" id="{EFAE0214-FC5F-4370-9A1B-2DCB703B9EF2}"/>
              </a:ext>
            </a:extLst>
          </p:cNvPr>
          <p:cNvGrpSpPr/>
          <p:nvPr/>
        </p:nvGrpSpPr>
        <p:grpSpPr>
          <a:xfrm flipH="1">
            <a:off x="4366890" y="2428047"/>
            <a:ext cx="487662" cy="490228"/>
            <a:chOff x="1547813" y="3240088"/>
            <a:chExt cx="301626" cy="303213"/>
          </a:xfrm>
          <a:solidFill>
            <a:schemeClr val="bg1"/>
          </a:solidFill>
        </p:grpSpPr>
        <p:sp>
          <p:nvSpPr>
            <p:cNvPr id="219" name="Freeform 61">
              <a:extLst>
                <a:ext uri="{FF2B5EF4-FFF2-40B4-BE49-F238E27FC236}">
                  <a16:creationId xmlns="" xmlns:a16="http://schemas.microsoft.com/office/drawing/2014/main" id="{B6F452AA-F79F-4616-A00E-7F3E7E5031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11313" y="3392488"/>
              <a:ext cx="85725" cy="87313"/>
            </a:xfrm>
            <a:custGeom>
              <a:avLst/>
              <a:gdLst>
                <a:gd name="T0" fmla="*/ 92 w 218"/>
                <a:gd name="T1" fmla="*/ 191 h 219"/>
                <a:gd name="T2" fmla="*/ 70 w 218"/>
                <a:gd name="T3" fmla="*/ 183 h 219"/>
                <a:gd name="T4" fmla="*/ 50 w 218"/>
                <a:gd name="T5" fmla="*/ 168 h 219"/>
                <a:gd name="T6" fmla="*/ 35 w 218"/>
                <a:gd name="T7" fmla="*/ 149 h 219"/>
                <a:gd name="T8" fmla="*/ 27 w 218"/>
                <a:gd name="T9" fmla="*/ 125 h 219"/>
                <a:gd name="T10" fmla="*/ 26 w 218"/>
                <a:gd name="T11" fmla="*/ 101 h 219"/>
                <a:gd name="T12" fmla="*/ 32 w 218"/>
                <a:gd name="T13" fmla="*/ 77 h 219"/>
                <a:gd name="T14" fmla="*/ 45 w 218"/>
                <a:gd name="T15" fmla="*/ 56 h 219"/>
                <a:gd name="T16" fmla="*/ 62 w 218"/>
                <a:gd name="T17" fmla="*/ 40 h 219"/>
                <a:gd name="T18" fmla="*/ 85 w 218"/>
                <a:gd name="T19" fmla="*/ 29 h 219"/>
                <a:gd name="T20" fmla="*/ 109 w 218"/>
                <a:gd name="T21" fmla="*/ 26 h 219"/>
                <a:gd name="T22" fmla="*/ 134 w 218"/>
                <a:gd name="T23" fmla="*/ 29 h 219"/>
                <a:gd name="T24" fmla="*/ 155 w 218"/>
                <a:gd name="T25" fmla="*/ 40 h 219"/>
                <a:gd name="T26" fmla="*/ 174 w 218"/>
                <a:gd name="T27" fmla="*/ 56 h 219"/>
                <a:gd name="T28" fmla="*/ 186 w 218"/>
                <a:gd name="T29" fmla="*/ 77 h 219"/>
                <a:gd name="T30" fmla="*/ 192 w 218"/>
                <a:gd name="T31" fmla="*/ 101 h 219"/>
                <a:gd name="T32" fmla="*/ 191 w 218"/>
                <a:gd name="T33" fmla="*/ 125 h 219"/>
                <a:gd name="T34" fmla="*/ 182 w 218"/>
                <a:gd name="T35" fmla="*/ 149 h 219"/>
                <a:gd name="T36" fmla="*/ 168 w 218"/>
                <a:gd name="T37" fmla="*/ 168 h 219"/>
                <a:gd name="T38" fmla="*/ 149 w 218"/>
                <a:gd name="T39" fmla="*/ 183 h 219"/>
                <a:gd name="T40" fmla="*/ 125 w 218"/>
                <a:gd name="T41" fmla="*/ 191 h 219"/>
                <a:gd name="T42" fmla="*/ 109 w 218"/>
                <a:gd name="T43" fmla="*/ 0 h 219"/>
                <a:gd name="T44" fmla="*/ 77 w 218"/>
                <a:gd name="T45" fmla="*/ 4 h 219"/>
                <a:gd name="T46" fmla="*/ 48 w 218"/>
                <a:gd name="T47" fmla="*/ 18 h 219"/>
                <a:gd name="T48" fmla="*/ 25 w 218"/>
                <a:gd name="T49" fmla="*/ 40 h 219"/>
                <a:gd name="T50" fmla="*/ 8 w 218"/>
                <a:gd name="T51" fmla="*/ 66 h 219"/>
                <a:gd name="T52" fmla="*/ 1 w 218"/>
                <a:gd name="T53" fmla="*/ 98 h 219"/>
                <a:gd name="T54" fmla="*/ 2 w 218"/>
                <a:gd name="T55" fmla="*/ 131 h 219"/>
                <a:gd name="T56" fmla="*/ 13 w 218"/>
                <a:gd name="T57" fmla="*/ 161 h 219"/>
                <a:gd name="T58" fmla="*/ 32 w 218"/>
                <a:gd name="T59" fmla="*/ 187 h 219"/>
                <a:gd name="T60" fmla="*/ 57 w 218"/>
                <a:gd name="T61" fmla="*/ 205 h 219"/>
                <a:gd name="T62" fmla="*/ 87 w 218"/>
                <a:gd name="T63" fmla="*/ 217 h 219"/>
                <a:gd name="T64" fmla="*/ 120 w 218"/>
                <a:gd name="T65" fmla="*/ 218 h 219"/>
                <a:gd name="T66" fmla="*/ 151 w 218"/>
                <a:gd name="T67" fmla="*/ 210 h 219"/>
                <a:gd name="T68" fmla="*/ 178 w 218"/>
                <a:gd name="T69" fmla="*/ 193 h 219"/>
                <a:gd name="T70" fmla="*/ 200 w 218"/>
                <a:gd name="T71" fmla="*/ 171 h 219"/>
                <a:gd name="T72" fmla="*/ 213 w 218"/>
                <a:gd name="T73" fmla="*/ 142 h 219"/>
                <a:gd name="T74" fmla="*/ 218 w 218"/>
                <a:gd name="T75" fmla="*/ 109 h 219"/>
                <a:gd name="T76" fmla="*/ 213 w 218"/>
                <a:gd name="T77" fmla="*/ 77 h 219"/>
                <a:gd name="T78" fmla="*/ 200 w 218"/>
                <a:gd name="T79" fmla="*/ 48 h 219"/>
                <a:gd name="T80" fmla="*/ 178 w 218"/>
                <a:gd name="T81" fmla="*/ 25 h 219"/>
                <a:gd name="T82" fmla="*/ 151 w 218"/>
                <a:gd name="T83" fmla="*/ 8 h 219"/>
                <a:gd name="T84" fmla="*/ 120 w 218"/>
                <a:gd name="T85" fmla="*/ 0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18" h="219">
                  <a:moveTo>
                    <a:pt x="109" y="193"/>
                  </a:moveTo>
                  <a:lnTo>
                    <a:pt x="101" y="193"/>
                  </a:lnTo>
                  <a:lnTo>
                    <a:pt x="92" y="191"/>
                  </a:lnTo>
                  <a:lnTo>
                    <a:pt x="85" y="190"/>
                  </a:lnTo>
                  <a:lnTo>
                    <a:pt x="76" y="187"/>
                  </a:lnTo>
                  <a:lnTo>
                    <a:pt x="70" y="183"/>
                  </a:lnTo>
                  <a:lnTo>
                    <a:pt x="62" y="179"/>
                  </a:lnTo>
                  <a:lnTo>
                    <a:pt x="56" y="174"/>
                  </a:lnTo>
                  <a:lnTo>
                    <a:pt x="50" y="168"/>
                  </a:lnTo>
                  <a:lnTo>
                    <a:pt x="45" y="162"/>
                  </a:lnTo>
                  <a:lnTo>
                    <a:pt x="40" y="156"/>
                  </a:lnTo>
                  <a:lnTo>
                    <a:pt x="35" y="149"/>
                  </a:lnTo>
                  <a:lnTo>
                    <a:pt x="32" y="142"/>
                  </a:lnTo>
                  <a:lnTo>
                    <a:pt x="29" y="134"/>
                  </a:lnTo>
                  <a:lnTo>
                    <a:pt x="27" y="125"/>
                  </a:lnTo>
                  <a:lnTo>
                    <a:pt x="26" y="118"/>
                  </a:lnTo>
                  <a:lnTo>
                    <a:pt x="26" y="109"/>
                  </a:lnTo>
                  <a:lnTo>
                    <a:pt x="26" y="101"/>
                  </a:lnTo>
                  <a:lnTo>
                    <a:pt x="27" y="92"/>
                  </a:lnTo>
                  <a:lnTo>
                    <a:pt x="29" y="85"/>
                  </a:lnTo>
                  <a:lnTo>
                    <a:pt x="32" y="77"/>
                  </a:lnTo>
                  <a:lnTo>
                    <a:pt x="35" y="70"/>
                  </a:lnTo>
                  <a:lnTo>
                    <a:pt x="40" y="62"/>
                  </a:lnTo>
                  <a:lnTo>
                    <a:pt x="45" y="56"/>
                  </a:lnTo>
                  <a:lnTo>
                    <a:pt x="50" y="50"/>
                  </a:lnTo>
                  <a:lnTo>
                    <a:pt x="56" y="45"/>
                  </a:lnTo>
                  <a:lnTo>
                    <a:pt x="62" y="40"/>
                  </a:lnTo>
                  <a:lnTo>
                    <a:pt x="70" y="35"/>
                  </a:lnTo>
                  <a:lnTo>
                    <a:pt x="76" y="32"/>
                  </a:lnTo>
                  <a:lnTo>
                    <a:pt x="85" y="29"/>
                  </a:lnTo>
                  <a:lnTo>
                    <a:pt x="92" y="27"/>
                  </a:lnTo>
                  <a:lnTo>
                    <a:pt x="101" y="26"/>
                  </a:lnTo>
                  <a:lnTo>
                    <a:pt x="109" y="26"/>
                  </a:lnTo>
                  <a:lnTo>
                    <a:pt x="118" y="26"/>
                  </a:lnTo>
                  <a:lnTo>
                    <a:pt x="125" y="27"/>
                  </a:lnTo>
                  <a:lnTo>
                    <a:pt x="134" y="29"/>
                  </a:lnTo>
                  <a:lnTo>
                    <a:pt x="142" y="32"/>
                  </a:lnTo>
                  <a:lnTo>
                    <a:pt x="149" y="35"/>
                  </a:lnTo>
                  <a:lnTo>
                    <a:pt x="155" y="40"/>
                  </a:lnTo>
                  <a:lnTo>
                    <a:pt x="162" y="45"/>
                  </a:lnTo>
                  <a:lnTo>
                    <a:pt x="168" y="50"/>
                  </a:lnTo>
                  <a:lnTo>
                    <a:pt x="174" y="56"/>
                  </a:lnTo>
                  <a:lnTo>
                    <a:pt x="178" y="62"/>
                  </a:lnTo>
                  <a:lnTo>
                    <a:pt x="182" y="70"/>
                  </a:lnTo>
                  <a:lnTo>
                    <a:pt x="186" y="77"/>
                  </a:lnTo>
                  <a:lnTo>
                    <a:pt x="189" y="85"/>
                  </a:lnTo>
                  <a:lnTo>
                    <a:pt x="191" y="92"/>
                  </a:lnTo>
                  <a:lnTo>
                    <a:pt x="192" y="101"/>
                  </a:lnTo>
                  <a:lnTo>
                    <a:pt x="193" y="109"/>
                  </a:lnTo>
                  <a:lnTo>
                    <a:pt x="192" y="118"/>
                  </a:lnTo>
                  <a:lnTo>
                    <a:pt x="191" y="125"/>
                  </a:lnTo>
                  <a:lnTo>
                    <a:pt x="189" y="134"/>
                  </a:lnTo>
                  <a:lnTo>
                    <a:pt x="186" y="142"/>
                  </a:lnTo>
                  <a:lnTo>
                    <a:pt x="182" y="149"/>
                  </a:lnTo>
                  <a:lnTo>
                    <a:pt x="178" y="156"/>
                  </a:lnTo>
                  <a:lnTo>
                    <a:pt x="174" y="162"/>
                  </a:lnTo>
                  <a:lnTo>
                    <a:pt x="168" y="168"/>
                  </a:lnTo>
                  <a:lnTo>
                    <a:pt x="162" y="174"/>
                  </a:lnTo>
                  <a:lnTo>
                    <a:pt x="155" y="179"/>
                  </a:lnTo>
                  <a:lnTo>
                    <a:pt x="149" y="183"/>
                  </a:lnTo>
                  <a:lnTo>
                    <a:pt x="142" y="187"/>
                  </a:lnTo>
                  <a:lnTo>
                    <a:pt x="134" y="190"/>
                  </a:lnTo>
                  <a:lnTo>
                    <a:pt x="125" y="191"/>
                  </a:lnTo>
                  <a:lnTo>
                    <a:pt x="118" y="193"/>
                  </a:lnTo>
                  <a:lnTo>
                    <a:pt x="109" y="193"/>
                  </a:lnTo>
                  <a:close/>
                  <a:moveTo>
                    <a:pt x="109" y="0"/>
                  </a:moveTo>
                  <a:lnTo>
                    <a:pt x="98" y="0"/>
                  </a:lnTo>
                  <a:lnTo>
                    <a:pt x="87" y="2"/>
                  </a:lnTo>
                  <a:lnTo>
                    <a:pt x="77" y="4"/>
                  </a:lnTo>
                  <a:lnTo>
                    <a:pt x="66" y="8"/>
                  </a:lnTo>
                  <a:lnTo>
                    <a:pt x="57" y="13"/>
                  </a:lnTo>
                  <a:lnTo>
                    <a:pt x="48" y="18"/>
                  </a:lnTo>
                  <a:lnTo>
                    <a:pt x="40" y="25"/>
                  </a:lnTo>
                  <a:lnTo>
                    <a:pt x="32" y="32"/>
                  </a:lnTo>
                  <a:lnTo>
                    <a:pt x="25" y="40"/>
                  </a:lnTo>
                  <a:lnTo>
                    <a:pt x="19" y="48"/>
                  </a:lnTo>
                  <a:lnTo>
                    <a:pt x="13" y="57"/>
                  </a:lnTo>
                  <a:lnTo>
                    <a:pt x="8" y="66"/>
                  </a:lnTo>
                  <a:lnTo>
                    <a:pt x="5" y="77"/>
                  </a:lnTo>
                  <a:lnTo>
                    <a:pt x="2" y="87"/>
                  </a:lnTo>
                  <a:lnTo>
                    <a:pt x="1" y="98"/>
                  </a:lnTo>
                  <a:lnTo>
                    <a:pt x="0" y="109"/>
                  </a:lnTo>
                  <a:lnTo>
                    <a:pt x="1" y="120"/>
                  </a:lnTo>
                  <a:lnTo>
                    <a:pt x="2" y="131"/>
                  </a:lnTo>
                  <a:lnTo>
                    <a:pt x="5" y="142"/>
                  </a:lnTo>
                  <a:lnTo>
                    <a:pt x="8" y="151"/>
                  </a:lnTo>
                  <a:lnTo>
                    <a:pt x="13" y="161"/>
                  </a:lnTo>
                  <a:lnTo>
                    <a:pt x="19" y="171"/>
                  </a:lnTo>
                  <a:lnTo>
                    <a:pt x="25" y="178"/>
                  </a:lnTo>
                  <a:lnTo>
                    <a:pt x="32" y="187"/>
                  </a:lnTo>
                  <a:lnTo>
                    <a:pt x="40" y="193"/>
                  </a:lnTo>
                  <a:lnTo>
                    <a:pt x="48" y="200"/>
                  </a:lnTo>
                  <a:lnTo>
                    <a:pt x="57" y="205"/>
                  </a:lnTo>
                  <a:lnTo>
                    <a:pt x="66" y="210"/>
                  </a:lnTo>
                  <a:lnTo>
                    <a:pt x="77" y="214"/>
                  </a:lnTo>
                  <a:lnTo>
                    <a:pt x="87" y="217"/>
                  </a:lnTo>
                  <a:lnTo>
                    <a:pt x="98" y="218"/>
                  </a:lnTo>
                  <a:lnTo>
                    <a:pt x="109" y="219"/>
                  </a:lnTo>
                  <a:lnTo>
                    <a:pt x="120" y="218"/>
                  </a:lnTo>
                  <a:lnTo>
                    <a:pt x="131" y="217"/>
                  </a:lnTo>
                  <a:lnTo>
                    <a:pt x="142" y="214"/>
                  </a:lnTo>
                  <a:lnTo>
                    <a:pt x="151" y="210"/>
                  </a:lnTo>
                  <a:lnTo>
                    <a:pt x="161" y="205"/>
                  </a:lnTo>
                  <a:lnTo>
                    <a:pt x="169" y="200"/>
                  </a:lnTo>
                  <a:lnTo>
                    <a:pt x="178" y="193"/>
                  </a:lnTo>
                  <a:lnTo>
                    <a:pt x="187" y="187"/>
                  </a:lnTo>
                  <a:lnTo>
                    <a:pt x="193" y="178"/>
                  </a:lnTo>
                  <a:lnTo>
                    <a:pt x="200" y="171"/>
                  </a:lnTo>
                  <a:lnTo>
                    <a:pt x="205" y="161"/>
                  </a:lnTo>
                  <a:lnTo>
                    <a:pt x="209" y="151"/>
                  </a:lnTo>
                  <a:lnTo>
                    <a:pt x="213" y="142"/>
                  </a:lnTo>
                  <a:lnTo>
                    <a:pt x="216" y="131"/>
                  </a:lnTo>
                  <a:lnTo>
                    <a:pt x="218" y="120"/>
                  </a:lnTo>
                  <a:lnTo>
                    <a:pt x="218" y="109"/>
                  </a:lnTo>
                  <a:lnTo>
                    <a:pt x="218" y="98"/>
                  </a:lnTo>
                  <a:lnTo>
                    <a:pt x="216" y="87"/>
                  </a:lnTo>
                  <a:lnTo>
                    <a:pt x="213" y="77"/>
                  </a:lnTo>
                  <a:lnTo>
                    <a:pt x="209" y="66"/>
                  </a:lnTo>
                  <a:lnTo>
                    <a:pt x="205" y="57"/>
                  </a:lnTo>
                  <a:lnTo>
                    <a:pt x="200" y="48"/>
                  </a:lnTo>
                  <a:lnTo>
                    <a:pt x="193" y="40"/>
                  </a:lnTo>
                  <a:lnTo>
                    <a:pt x="187" y="32"/>
                  </a:lnTo>
                  <a:lnTo>
                    <a:pt x="178" y="25"/>
                  </a:lnTo>
                  <a:lnTo>
                    <a:pt x="169" y="18"/>
                  </a:lnTo>
                  <a:lnTo>
                    <a:pt x="161" y="13"/>
                  </a:lnTo>
                  <a:lnTo>
                    <a:pt x="151" y="8"/>
                  </a:lnTo>
                  <a:lnTo>
                    <a:pt x="142" y="4"/>
                  </a:lnTo>
                  <a:lnTo>
                    <a:pt x="131" y="2"/>
                  </a:lnTo>
                  <a:lnTo>
                    <a:pt x="120" y="0"/>
                  </a:lnTo>
                  <a:lnTo>
                    <a:pt x="10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62">
              <a:extLst>
                <a:ext uri="{FF2B5EF4-FFF2-40B4-BE49-F238E27FC236}">
                  <a16:creationId xmlns="" xmlns:a16="http://schemas.microsoft.com/office/drawing/2014/main" id="{BC0FBE46-9A65-43A6-847E-01D017AEA92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63713" y="3278188"/>
              <a:ext cx="49213" cy="47625"/>
            </a:xfrm>
            <a:custGeom>
              <a:avLst/>
              <a:gdLst>
                <a:gd name="T0" fmla="*/ 54 w 122"/>
                <a:gd name="T1" fmla="*/ 96 h 121"/>
                <a:gd name="T2" fmla="*/ 41 w 122"/>
                <a:gd name="T3" fmla="*/ 90 h 121"/>
                <a:gd name="T4" fmla="*/ 31 w 122"/>
                <a:gd name="T5" fmla="*/ 81 h 121"/>
                <a:gd name="T6" fmla="*/ 26 w 122"/>
                <a:gd name="T7" fmla="*/ 68 h 121"/>
                <a:gd name="T8" fmla="*/ 26 w 122"/>
                <a:gd name="T9" fmla="*/ 54 h 121"/>
                <a:gd name="T10" fmla="*/ 31 w 122"/>
                <a:gd name="T11" fmla="*/ 41 h 121"/>
                <a:gd name="T12" fmla="*/ 41 w 122"/>
                <a:gd name="T13" fmla="*/ 31 h 121"/>
                <a:gd name="T14" fmla="*/ 54 w 122"/>
                <a:gd name="T15" fmla="*/ 26 h 121"/>
                <a:gd name="T16" fmla="*/ 68 w 122"/>
                <a:gd name="T17" fmla="*/ 26 h 121"/>
                <a:gd name="T18" fmla="*/ 81 w 122"/>
                <a:gd name="T19" fmla="*/ 31 h 121"/>
                <a:gd name="T20" fmla="*/ 90 w 122"/>
                <a:gd name="T21" fmla="*/ 41 h 121"/>
                <a:gd name="T22" fmla="*/ 96 w 122"/>
                <a:gd name="T23" fmla="*/ 54 h 121"/>
                <a:gd name="T24" fmla="*/ 96 w 122"/>
                <a:gd name="T25" fmla="*/ 68 h 121"/>
                <a:gd name="T26" fmla="*/ 90 w 122"/>
                <a:gd name="T27" fmla="*/ 81 h 121"/>
                <a:gd name="T28" fmla="*/ 81 w 122"/>
                <a:gd name="T29" fmla="*/ 90 h 121"/>
                <a:gd name="T30" fmla="*/ 68 w 122"/>
                <a:gd name="T31" fmla="*/ 96 h 121"/>
                <a:gd name="T32" fmla="*/ 61 w 122"/>
                <a:gd name="T33" fmla="*/ 0 h 121"/>
                <a:gd name="T34" fmla="*/ 49 w 122"/>
                <a:gd name="T35" fmla="*/ 1 h 121"/>
                <a:gd name="T36" fmla="*/ 38 w 122"/>
                <a:gd name="T37" fmla="*/ 4 h 121"/>
                <a:gd name="T38" fmla="*/ 27 w 122"/>
                <a:gd name="T39" fmla="*/ 11 h 121"/>
                <a:gd name="T40" fmla="*/ 19 w 122"/>
                <a:gd name="T41" fmla="*/ 18 h 121"/>
                <a:gd name="T42" fmla="*/ 11 w 122"/>
                <a:gd name="T43" fmla="*/ 27 h 121"/>
                <a:gd name="T44" fmla="*/ 5 w 122"/>
                <a:gd name="T45" fmla="*/ 38 h 121"/>
                <a:gd name="T46" fmla="*/ 1 w 122"/>
                <a:gd name="T47" fmla="*/ 48 h 121"/>
                <a:gd name="T48" fmla="*/ 0 w 122"/>
                <a:gd name="T49" fmla="*/ 61 h 121"/>
                <a:gd name="T50" fmla="*/ 1 w 122"/>
                <a:gd name="T51" fmla="*/ 73 h 121"/>
                <a:gd name="T52" fmla="*/ 5 w 122"/>
                <a:gd name="T53" fmla="*/ 85 h 121"/>
                <a:gd name="T54" fmla="*/ 11 w 122"/>
                <a:gd name="T55" fmla="*/ 96 h 121"/>
                <a:gd name="T56" fmla="*/ 19 w 122"/>
                <a:gd name="T57" fmla="*/ 104 h 121"/>
                <a:gd name="T58" fmla="*/ 27 w 122"/>
                <a:gd name="T59" fmla="*/ 112 h 121"/>
                <a:gd name="T60" fmla="*/ 38 w 122"/>
                <a:gd name="T61" fmla="*/ 117 h 121"/>
                <a:gd name="T62" fmla="*/ 49 w 122"/>
                <a:gd name="T63" fmla="*/ 120 h 121"/>
                <a:gd name="T64" fmla="*/ 61 w 122"/>
                <a:gd name="T65" fmla="*/ 121 h 121"/>
                <a:gd name="T66" fmla="*/ 73 w 122"/>
                <a:gd name="T67" fmla="*/ 120 h 121"/>
                <a:gd name="T68" fmla="*/ 85 w 122"/>
                <a:gd name="T69" fmla="*/ 117 h 121"/>
                <a:gd name="T70" fmla="*/ 95 w 122"/>
                <a:gd name="T71" fmla="*/ 112 h 121"/>
                <a:gd name="T72" fmla="*/ 104 w 122"/>
                <a:gd name="T73" fmla="*/ 104 h 121"/>
                <a:gd name="T74" fmla="*/ 112 w 122"/>
                <a:gd name="T75" fmla="*/ 96 h 121"/>
                <a:gd name="T76" fmla="*/ 117 w 122"/>
                <a:gd name="T77" fmla="*/ 85 h 121"/>
                <a:gd name="T78" fmla="*/ 121 w 122"/>
                <a:gd name="T79" fmla="*/ 73 h 121"/>
                <a:gd name="T80" fmla="*/ 122 w 122"/>
                <a:gd name="T81" fmla="*/ 61 h 121"/>
                <a:gd name="T82" fmla="*/ 121 w 122"/>
                <a:gd name="T83" fmla="*/ 48 h 121"/>
                <a:gd name="T84" fmla="*/ 117 w 122"/>
                <a:gd name="T85" fmla="*/ 38 h 121"/>
                <a:gd name="T86" fmla="*/ 112 w 122"/>
                <a:gd name="T87" fmla="*/ 27 h 121"/>
                <a:gd name="T88" fmla="*/ 104 w 122"/>
                <a:gd name="T89" fmla="*/ 18 h 121"/>
                <a:gd name="T90" fmla="*/ 95 w 122"/>
                <a:gd name="T91" fmla="*/ 11 h 121"/>
                <a:gd name="T92" fmla="*/ 85 w 122"/>
                <a:gd name="T93" fmla="*/ 4 h 121"/>
                <a:gd name="T94" fmla="*/ 73 w 122"/>
                <a:gd name="T95" fmla="*/ 1 h 121"/>
                <a:gd name="T96" fmla="*/ 61 w 122"/>
                <a:gd name="T97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2" h="121">
                  <a:moveTo>
                    <a:pt x="61" y="97"/>
                  </a:moveTo>
                  <a:lnTo>
                    <a:pt x="54" y="96"/>
                  </a:lnTo>
                  <a:lnTo>
                    <a:pt x="47" y="93"/>
                  </a:lnTo>
                  <a:lnTo>
                    <a:pt x="41" y="90"/>
                  </a:lnTo>
                  <a:lnTo>
                    <a:pt x="36" y="86"/>
                  </a:lnTo>
                  <a:lnTo>
                    <a:pt x="31" y="81"/>
                  </a:lnTo>
                  <a:lnTo>
                    <a:pt x="28" y="75"/>
                  </a:lnTo>
                  <a:lnTo>
                    <a:pt x="26" y="68"/>
                  </a:lnTo>
                  <a:lnTo>
                    <a:pt x="26" y="61"/>
                  </a:lnTo>
                  <a:lnTo>
                    <a:pt x="26" y="54"/>
                  </a:lnTo>
                  <a:lnTo>
                    <a:pt x="28" y="47"/>
                  </a:lnTo>
                  <a:lnTo>
                    <a:pt x="31" y="41"/>
                  </a:lnTo>
                  <a:lnTo>
                    <a:pt x="36" y="35"/>
                  </a:lnTo>
                  <a:lnTo>
                    <a:pt x="41" y="31"/>
                  </a:lnTo>
                  <a:lnTo>
                    <a:pt x="47" y="28"/>
                  </a:lnTo>
                  <a:lnTo>
                    <a:pt x="54" y="26"/>
                  </a:lnTo>
                  <a:lnTo>
                    <a:pt x="61" y="25"/>
                  </a:lnTo>
                  <a:lnTo>
                    <a:pt x="68" y="26"/>
                  </a:lnTo>
                  <a:lnTo>
                    <a:pt x="75" y="28"/>
                  </a:lnTo>
                  <a:lnTo>
                    <a:pt x="81" y="31"/>
                  </a:lnTo>
                  <a:lnTo>
                    <a:pt x="86" y="35"/>
                  </a:lnTo>
                  <a:lnTo>
                    <a:pt x="90" y="41"/>
                  </a:lnTo>
                  <a:lnTo>
                    <a:pt x="94" y="47"/>
                  </a:lnTo>
                  <a:lnTo>
                    <a:pt x="96" y="54"/>
                  </a:lnTo>
                  <a:lnTo>
                    <a:pt x="97" y="61"/>
                  </a:lnTo>
                  <a:lnTo>
                    <a:pt x="96" y="68"/>
                  </a:lnTo>
                  <a:lnTo>
                    <a:pt x="94" y="75"/>
                  </a:lnTo>
                  <a:lnTo>
                    <a:pt x="90" y="81"/>
                  </a:lnTo>
                  <a:lnTo>
                    <a:pt x="86" y="86"/>
                  </a:lnTo>
                  <a:lnTo>
                    <a:pt x="81" y="90"/>
                  </a:lnTo>
                  <a:lnTo>
                    <a:pt x="75" y="93"/>
                  </a:lnTo>
                  <a:lnTo>
                    <a:pt x="68" y="96"/>
                  </a:lnTo>
                  <a:lnTo>
                    <a:pt x="61" y="97"/>
                  </a:lnTo>
                  <a:close/>
                  <a:moveTo>
                    <a:pt x="61" y="0"/>
                  </a:moveTo>
                  <a:lnTo>
                    <a:pt x="55" y="0"/>
                  </a:lnTo>
                  <a:lnTo>
                    <a:pt x="49" y="1"/>
                  </a:lnTo>
                  <a:lnTo>
                    <a:pt x="43" y="2"/>
                  </a:lnTo>
                  <a:lnTo>
                    <a:pt x="38" y="4"/>
                  </a:lnTo>
                  <a:lnTo>
                    <a:pt x="32" y="8"/>
                  </a:lnTo>
                  <a:lnTo>
                    <a:pt x="27" y="11"/>
                  </a:lnTo>
                  <a:lnTo>
                    <a:pt x="23" y="14"/>
                  </a:lnTo>
                  <a:lnTo>
                    <a:pt x="19" y="18"/>
                  </a:lnTo>
                  <a:lnTo>
                    <a:pt x="14" y="23"/>
                  </a:lnTo>
                  <a:lnTo>
                    <a:pt x="11" y="27"/>
                  </a:lnTo>
                  <a:lnTo>
                    <a:pt x="8" y="32"/>
                  </a:lnTo>
                  <a:lnTo>
                    <a:pt x="5" y="38"/>
                  </a:lnTo>
                  <a:lnTo>
                    <a:pt x="3" y="43"/>
                  </a:lnTo>
                  <a:lnTo>
                    <a:pt x="1" y="48"/>
                  </a:lnTo>
                  <a:lnTo>
                    <a:pt x="0" y="55"/>
                  </a:lnTo>
                  <a:lnTo>
                    <a:pt x="0" y="61"/>
                  </a:lnTo>
                  <a:lnTo>
                    <a:pt x="0" y="67"/>
                  </a:lnTo>
                  <a:lnTo>
                    <a:pt x="1" y="73"/>
                  </a:lnTo>
                  <a:lnTo>
                    <a:pt x="3" y="79"/>
                  </a:lnTo>
                  <a:lnTo>
                    <a:pt x="5" y="85"/>
                  </a:lnTo>
                  <a:lnTo>
                    <a:pt x="8" y="90"/>
                  </a:lnTo>
                  <a:lnTo>
                    <a:pt x="11" y="96"/>
                  </a:lnTo>
                  <a:lnTo>
                    <a:pt x="14" y="100"/>
                  </a:lnTo>
                  <a:lnTo>
                    <a:pt x="19" y="104"/>
                  </a:lnTo>
                  <a:lnTo>
                    <a:pt x="23" y="108"/>
                  </a:lnTo>
                  <a:lnTo>
                    <a:pt x="27" y="112"/>
                  </a:lnTo>
                  <a:lnTo>
                    <a:pt x="32" y="115"/>
                  </a:lnTo>
                  <a:lnTo>
                    <a:pt x="38" y="117"/>
                  </a:lnTo>
                  <a:lnTo>
                    <a:pt x="43" y="119"/>
                  </a:lnTo>
                  <a:lnTo>
                    <a:pt x="49" y="120"/>
                  </a:lnTo>
                  <a:lnTo>
                    <a:pt x="55" y="121"/>
                  </a:lnTo>
                  <a:lnTo>
                    <a:pt x="61" y="121"/>
                  </a:lnTo>
                  <a:lnTo>
                    <a:pt x="68" y="121"/>
                  </a:lnTo>
                  <a:lnTo>
                    <a:pt x="73" y="120"/>
                  </a:lnTo>
                  <a:lnTo>
                    <a:pt x="80" y="119"/>
                  </a:lnTo>
                  <a:lnTo>
                    <a:pt x="85" y="117"/>
                  </a:lnTo>
                  <a:lnTo>
                    <a:pt x="90" y="115"/>
                  </a:lnTo>
                  <a:lnTo>
                    <a:pt x="95" y="112"/>
                  </a:lnTo>
                  <a:lnTo>
                    <a:pt x="100" y="108"/>
                  </a:lnTo>
                  <a:lnTo>
                    <a:pt x="104" y="104"/>
                  </a:lnTo>
                  <a:lnTo>
                    <a:pt x="108" y="100"/>
                  </a:lnTo>
                  <a:lnTo>
                    <a:pt x="112" y="96"/>
                  </a:lnTo>
                  <a:lnTo>
                    <a:pt x="115" y="90"/>
                  </a:lnTo>
                  <a:lnTo>
                    <a:pt x="117" y="85"/>
                  </a:lnTo>
                  <a:lnTo>
                    <a:pt x="119" y="79"/>
                  </a:lnTo>
                  <a:lnTo>
                    <a:pt x="121" y="73"/>
                  </a:lnTo>
                  <a:lnTo>
                    <a:pt x="122" y="67"/>
                  </a:lnTo>
                  <a:lnTo>
                    <a:pt x="122" y="61"/>
                  </a:lnTo>
                  <a:lnTo>
                    <a:pt x="122" y="55"/>
                  </a:lnTo>
                  <a:lnTo>
                    <a:pt x="121" y="48"/>
                  </a:lnTo>
                  <a:lnTo>
                    <a:pt x="119" y="43"/>
                  </a:lnTo>
                  <a:lnTo>
                    <a:pt x="117" y="38"/>
                  </a:lnTo>
                  <a:lnTo>
                    <a:pt x="115" y="32"/>
                  </a:lnTo>
                  <a:lnTo>
                    <a:pt x="112" y="27"/>
                  </a:lnTo>
                  <a:lnTo>
                    <a:pt x="108" y="23"/>
                  </a:lnTo>
                  <a:lnTo>
                    <a:pt x="104" y="18"/>
                  </a:lnTo>
                  <a:lnTo>
                    <a:pt x="100" y="14"/>
                  </a:lnTo>
                  <a:lnTo>
                    <a:pt x="95" y="11"/>
                  </a:lnTo>
                  <a:lnTo>
                    <a:pt x="90" y="8"/>
                  </a:lnTo>
                  <a:lnTo>
                    <a:pt x="85" y="4"/>
                  </a:lnTo>
                  <a:lnTo>
                    <a:pt x="80" y="2"/>
                  </a:lnTo>
                  <a:lnTo>
                    <a:pt x="73" y="1"/>
                  </a:lnTo>
                  <a:lnTo>
                    <a:pt x="68" y="0"/>
                  </a:lnTo>
                  <a:lnTo>
                    <a:pt x="6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63">
              <a:extLst>
                <a:ext uri="{FF2B5EF4-FFF2-40B4-BE49-F238E27FC236}">
                  <a16:creationId xmlns="" xmlns:a16="http://schemas.microsoft.com/office/drawing/2014/main" id="{7B5FAC2B-7315-4E7E-8C02-64BFCC087C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3330576"/>
              <a:ext cx="212725" cy="212725"/>
            </a:xfrm>
            <a:custGeom>
              <a:avLst/>
              <a:gdLst>
                <a:gd name="T0" fmla="*/ 407 w 535"/>
                <a:gd name="T1" fmla="*/ 408 h 536"/>
                <a:gd name="T2" fmla="*/ 367 w 535"/>
                <a:gd name="T3" fmla="*/ 436 h 536"/>
                <a:gd name="T4" fmla="*/ 330 w 535"/>
                <a:gd name="T5" fmla="*/ 452 h 536"/>
                <a:gd name="T6" fmla="*/ 321 w 535"/>
                <a:gd name="T7" fmla="*/ 465 h 536"/>
                <a:gd name="T8" fmla="*/ 217 w 535"/>
                <a:gd name="T9" fmla="*/ 461 h 536"/>
                <a:gd name="T10" fmla="*/ 199 w 535"/>
                <a:gd name="T11" fmla="*/ 449 h 536"/>
                <a:gd name="T12" fmla="*/ 163 w 535"/>
                <a:gd name="T13" fmla="*/ 432 h 536"/>
                <a:gd name="T14" fmla="*/ 134 w 535"/>
                <a:gd name="T15" fmla="*/ 409 h 536"/>
                <a:gd name="T16" fmla="*/ 82 w 535"/>
                <a:gd name="T17" fmla="*/ 433 h 536"/>
                <a:gd name="T18" fmla="*/ 75 w 535"/>
                <a:gd name="T19" fmla="*/ 316 h 536"/>
                <a:gd name="T20" fmla="*/ 72 w 535"/>
                <a:gd name="T21" fmla="*/ 287 h 536"/>
                <a:gd name="T22" fmla="*/ 72 w 535"/>
                <a:gd name="T23" fmla="*/ 246 h 536"/>
                <a:gd name="T24" fmla="*/ 75 w 535"/>
                <a:gd name="T25" fmla="*/ 217 h 536"/>
                <a:gd name="T26" fmla="*/ 82 w 535"/>
                <a:gd name="T27" fmla="*/ 99 h 536"/>
                <a:gd name="T28" fmla="*/ 134 w 535"/>
                <a:gd name="T29" fmla="*/ 124 h 536"/>
                <a:gd name="T30" fmla="*/ 163 w 535"/>
                <a:gd name="T31" fmla="*/ 101 h 536"/>
                <a:gd name="T32" fmla="*/ 199 w 535"/>
                <a:gd name="T33" fmla="*/ 84 h 536"/>
                <a:gd name="T34" fmla="*/ 217 w 535"/>
                <a:gd name="T35" fmla="*/ 72 h 536"/>
                <a:gd name="T36" fmla="*/ 321 w 535"/>
                <a:gd name="T37" fmla="*/ 68 h 536"/>
                <a:gd name="T38" fmla="*/ 330 w 535"/>
                <a:gd name="T39" fmla="*/ 81 h 536"/>
                <a:gd name="T40" fmla="*/ 367 w 535"/>
                <a:gd name="T41" fmla="*/ 97 h 536"/>
                <a:gd name="T42" fmla="*/ 407 w 535"/>
                <a:gd name="T43" fmla="*/ 124 h 536"/>
                <a:gd name="T44" fmla="*/ 505 w 535"/>
                <a:gd name="T45" fmla="*/ 188 h 536"/>
                <a:gd name="T46" fmla="*/ 458 w 535"/>
                <a:gd name="T47" fmla="*/ 221 h 536"/>
                <a:gd name="T48" fmla="*/ 463 w 535"/>
                <a:gd name="T49" fmla="*/ 256 h 536"/>
                <a:gd name="T50" fmla="*/ 461 w 535"/>
                <a:gd name="T51" fmla="*/ 297 h 536"/>
                <a:gd name="T52" fmla="*/ 462 w 535"/>
                <a:gd name="T53" fmla="*/ 319 h 536"/>
                <a:gd name="T54" fmla="*/ 528 w 535"/>
                <a:gd name="T55" fmla="*/ 329 h 536"/>
                <a:gd name="T56" fmla="*/ 489 w 535"/>
                <a:gd name="T57" fmla="*/ 276 h 536"/>
                <a:gd name="T58" fmla="*/ 486 w 535"/>
                <a:gd name="T59" fmla="*/ 238 h 536"/>
                <a:gd name="T60" fmla="*/ 534 w 535"/>
                <a:gd name="T61" fmla="*/ 197 h 536"/>
                <a:gd name="T62" fmla="*/ 467 w 535"/>
                <a:gd name="T63" fmla="*/ 74 h 536"/>
                <a:gd name="T64" fmla="*/ 455 w 535"/>
                <a:gd name="T65" fmla="*/ 70 h 536"/>
                <a:gd name="T66" fmla="*/ 380 w 535"/>
                <a:gd name="T67" fmla="*/ 74 h 536"/>
                <a:gd name="T68" fmla="*/ 346 w 535"/>
                <a:gd name="T69" fmla="*/ 8 h 536"/>
                <a:gd name="T70" fmla="*/ 205 w 535"/>
                <a:gd name="T71" fmla="*/ 0 h 536"/>
                <a:gd name="T72" fmla="*/ 192 w 535"/>
                <a:gd name="T73" fmla="*/ 13 h 536"/>
                <a:gd name="T74" fmla="*/ 143 w 535"/>
                <a:gd name="T75" fmla="*/ 84 h 536"/>
                <a:gd name="T76" fmla="*/ 74 w 535"/>
                <a:gd name="T77" fmla="*/ 70 h 536"/>
                <a:gd name="T78" fmla="*/ 0 w 535"/>
                <a:gd name="T79" fmla="*/ 191 h 536"/>
                <a:gd name="T80" fmla="*/ 49 w 535"/>
                <a:gd name="T81" fmla="*/ 229 h 536"/>
                <a:gd name="T82" fmla="*/ 46 w 535"/>
                <a:gd name="T83" fmla="*/ 266 h 536"/>
                <a:gd name="T84" fmla="*/ 48 w 535"/>
                <a:gd name="T85" fmla="*/ 303 h 536"/>
                <a:gd name="T86" fmla="*/ 0 w 535"/>
                <a:gd name="T87" fmla="*/ 340 h 536"/>
                <a:gd name="T88" fmla="*/ 73 w 535"/>
                <a:gd name="T89" fmla="*/ 463 h 536"/>
                <a:gd name="T90" fmla="*/ 143 w 535"/>
                <a:gd name="T91" fmla="*/ 449 h 536"/>
                <a:gd name="T92" fmla="*/ 192 w 535"/>
                <a:gd name="T93" fmla="*/ 523 h 536"/>
                <a:gd name="T94" fmla="*/ 205 w 535"/>
                <a:gd name="T95" fmla="*/ 536 h 536"/>
                <a:gd name="T96" fmla="*/ 346 w 535"/>
                <a:gd name="T97" fmla="*/ 528 h 536"/>
                <a:gd name="T98" fmla="*/ 364 w 535"/>
                <a:gd name="T99" fmla="*/ 467 h 536"/>
                <a:gd name="T100" fmla="*/ 409 w 535"/>
                <a:gd name="T101" fmla="*/ 437 h 536"/>
                <a:gd name="T102" fmla="*/ 458 w 535"/>
                <a:gd name="T103" fmla="*/ 463 h 536"/>
                <a:gd name="T104" fmla="*/ 467 w 535"/>
                <a:gd name="T105" fmla="*/ 459 h 536"/>
                <a:gd name="T106" fmla="*/ 535 w 535"/>
                <a:gd name="T107" fmla="*/ 335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5" h="536">
                  <a:moveTo>
                    <a:pt x="453" y="433"/>
                  </a:moveTo>
                  <a:lnTo>
                    <a:pt x="414" y="410"/>
                  </a:lnTo>
                  <a:lnTo>
                    <a:pt x="410" y="409"/>
                  </a:lnTo>
                  <a:lnTo>
                    <a:pt x="407" y="408"/>
                  </a:lnTo>
                  <a:lnTo>
                    <a:pt x="403" y="409"/>
                  </a:lnTo>
                  <a:lnTo>
                    <a:pt x="399" y="411"/>
                  </a:lnTo>
                  <a:lnTo>
                    <a:pt x="383" y="424"/>
                  </a:lnTo>
                  <a:lnTo>
                    <a:pt x="367" y="436"/>
                  </a:lnTo>
                  <a:lnTo>
                    <a:pt x="359" y="441"/>
                  </a:lnTo>
                  <a:lnTo>
                    <a:pt x="350" y="446"/>
                  </a:lnTo>
                  <a:lnTo>
                    <a:pt x="340" y="449"/>
                  </a:lnTo>
                  <a:lnTo>
                    <a:pt x="330" y="452"/>
                  </a:lnTo>
                  <a:lnTo>
                    <a:pt x="326" y="454"/>
                  </a:lnTo>
                  <a:lnTo>
                    <a:pt x="323" y="457"/>
                  </a:lnTo>
                  <a:lnTo>
                    <a:pt x="321" y="461"/>
                  </a:lnTo>
                  <a:lnTo>
                    <a:pt x="321" y="465"/>
                  </a:lnTo>
                  <a:lnTo>
                    <a:pt x="321" y="511"/>
                  </a:lnTo>
                  <a:lnTo>
                    <a:pt x="218" y="511"/>
                  </a:lnTo>
                  <a:lnTo>
                    <a:pt x="218" y="465"/>
                  </a:lnTo>
                  <a:lnTo>
                    <a:pt x="217" y="461"/>
                  </a:lnTo>
                  <a:lnTo>
                    <a:pt x="216" y="457"/>
                  </a:lnTo>
                  <a:lnTo>
                    <a:pt x="213" y="454"/>
                  </a:lnTo>
                  <a:lnTo>
                    <a:pt x="208" y="452"/>
                  </a:lnTo>
                  <a:lnTo>
                    <a:pt x="199" y="449"/>
                  </a:lnTo>
                  <a:lnTo>
                    <a:pt x="189" y="446"/>
                  </a:lnTo>
                  <a:lnTo>
                    <a:pt x="180" y="441"/>
                  </a:lnTo>
                  <a:lnTo>
                    <a:pt x="172" y="437"/>
                  </a:lnTo>
                  <a:lnTo>
                    <a:pt x="163" y="432"/>
                  </a:lnTo>
                  <a:lnTo>
                    <a:pt x="155" y="425"/>
                  </a:lnTo>
                  <a:lnTo>
                    <a:pt x="146" y="419"/>
                  </a:lnTo>
                  <a:lnTo>
                    <a:pt x="137" y="411"/>
                  </a:lnTo>
                  <a:lnTo>
                    <a:pt x="134" y="409"/>
                  </a:lnTo>
                  <a:lnTo>
                    <a:pt x="130" y="408"/>
                  </a:lnTo>
                  <a:lnTo>
                    <a:pt x="126" y="409"/>
                  </a:lnTo>
                  <a:lnTo>
                    <a:pt x="122" y="410"/>
                  </a:lnTo>
                  <a:lnTo>
                    <a:pt x="82" y="433"/>
                  </a:lnTo>
                  <a:lnTo>
                    <a:pt x="30" y="344"/>
                  </a:lnTo>
                  <a:lnTo>
                    <a:pt x="70" y="321"/>
                  </a:lnTo>
                  <a:lnTo>
                    <a:pt x="73" y="319"/>
                  </a:lnTo>
                  <a:lnTo>
                    <a:pt x="75" y="316"/>
                  </a:lnTo>
                  <a:lnTo>
                    <a:pt x="75" y="311"/>
                  </a:lnTo>
                  <a:lnTo>
                    <a:pt x="75" y="307"/>
                  </a:lnTo>
                  <a:lnTo>
                    <a:pt x="74" y="297"/>
                  </a:lnTo>
                  <a:lnTo>
                    <a:pt x="72" y="287"/>
                  </a:lnTo>
                  <a:lnTo>
                    <a:pt x="72" y="277"/>
                  </a:lnTo>
                  <a:lnTo>
                    <a:pt x="71" y="266"/>
                  </a:lnTo>
                  <a:lnTo>
                    <a:pt x="72" y="257"/>
                  </a:lnTo>
                  <a:lnTo>
                    <a:pt x="72" y="246"/>
                  </a:lnTo>
                  <a:lnTo>
                    <a:pt x="74" y="236"/>
                  </a:lnTo>
                  <a:lnTo>
                    <a:pt x="75" y="226"/>
                  </a:lnTo>
                  <a:lnTo>
                    <a:pt x="76" y="221"/>
                  </a:lnTo>
                  <a:lnTo>
                    <a:pt x="75" y="217"/>
                  </a:lnTo>
                  <a:lnTo>
                    <a:pt x="73" y="214"/>
                  </a:lnTo>
                  <a:lnTo>
                    <a:pt x="70" y="212"/>
                  </a:lnTo>
                  <a:lnTo>
                    <a:pt x="30" y="188"/>
                  </a:lnTo>
                  <a:lnTo>
                    <a:pt x="82" y="99"/>
                  </a:lnTo>
                  <a:lnTo>
                    <a:pt x="122" y="122"/>
                  </a:lnTo>
                  <a:lnTo>
                    <a:pt x="126" y="124"/>
                  </a:lnTo>
                  <a:lnTo>
                    <a:pt x="130" y="124"/>
                  </a:lnTo>
                  <a:lnTo>
                    <a:pt x="134" y="124"/>
                  </a:lnTo>
                  <a:lnTo>
                    <a:pt x="137" y="121"/>
                  </a:lnTo>
                  <a:lnTo>
                    <a:pt x="146" y="114"/>
                  </a:lnTo>
                  <a:lnTo>
                    <a:pt x="155" y="106"/>
                  </a:lnTo>
                  <a:lnTo>
                    <a:pt x="163" y="101"/>
                  </a:lnTo>
                  <a:lnTo>
                    <a:pt x="172" y="96"/>
                  </a:lnTo>
                  <a:lnTo>
                    <a:pt x="180" y="91"/>
                  </a:lnTo>
                  <a:lnTo>
                    <a:pt x="189" y="87"/>
                  </a:lnTo>
                  <a:lnTo>
                    <a:pt x="199" y="84"/>
                  </a:lnTo>
                  <a:lnTo>
                    <a:pt x="208" y="81"/>
                  </a:lnTo>
                  <a:lnTo>
                    <a:pt x="213" y="78"/>
                  </a:lnTo>
                  <a:lnTo>
                    <a:pt x="215" y="76"/>
                  </a:lnTo>
                  <a:lnTo>
                    <a:pt x="217" y="72"/>
                  </a:lnTo>
                  <a:lnTo>
                    <a:pt x="218" y="68"/>
                  </a:lnTo>
                  <a:lnTo>
                    <a:pt x="218" y="26"/>
                  </a:lnTo>
                  <a:lnTo>
                    <a:pt x="321" y="26"/>
                  </a:lnTo>
                  <a:lnTo>
                    <a:pt x="321" y="68"/>
                  </a:lnTo>
                  <a:lnTo>
                    <a:pt x="321" y="72"/>
                  </a:lnTo>
                  <a:lnTo>
                    <a:pt x="323" y="76"/>
                  </a:lnTo>
                  <a:lnTo>
                    <a:pt x="326" y="78"/>
                  </a:lnTo>
                  <a:lnTo>
                    <a:pt x="330" y="81"/>
                  </a:lnTo>
                  <a:lnTo>
                    <a:pt x="340" y="84"/>
                  </a:lnTo>
                  <a:lnTo>
                    <a:pt x="350" y="87"/>
                  </a:lnTo>
                  <a:lnTo>
                    <a:pt x="360" y="91"/>
                  </a:lnTo>
                  <a:lnTo>
                    <a:pt x="367" y="97"/>
                  </a:lnTo>
                  <a:lnTo>
                    <a:pt x="383" y="107"/>
                  </a:lnTo>
                  <a:lnTo>
                    <a:pt x="399" y="121"/>
                  </a:lnTo>
                  <a:lnTo>
                    <a:pt x="403" y="124"/>
                  </a:lnTo>
                  <a:lnTo>
                    <a:pt x="407" y="124"/>
                  </a:lnTo>
                  <a:lnTo>
                    <a:pt x="410" y="124"/>
                  </a:lnTo>
                  <a:lnTo>
                    <a:pt x="414" y="122"/>
                  </a:lnTo>
                  <a:lnTo>
                    <a:pt x="453" y="99"/>
                  </a:lnTo>
                  <a:lnTo>
                    <a:pt x="505" y="188"/>
                  </a:lnTo>
                  <a:lnTo>
                    <a:pt x="465" y="212"/>
                  </a:lnTo>
                  <a:lnTo>
                    <a:pt x="462" y="214"/>
                  </a:lnTo>
                  <a:lnTo>
                    <a:pt x="460" y="217"/>
                  </a:lnTo>
                  <a:lnTo>
                    <a:pt x="458" y="221"/>
                  </a:lnTo>
                  <a:lnTo>
                    <a:pt x="458" y="226"/>
                  </a:lnTo>
                  <a:lnTo>
                    <a:pt x="461" y="235"/>
                  </a:lnTo>
                  <a:lnTo>
                    <a:pt x="462" y="246"/>
                  </a:lnTo>
                  <a:lnTo>
                    <a:pt x="463" y="256"/>
                  </a:lnTo>
                  <a:lnTo>
                    <a:pt x="463" y="266"/>
                  </a:lnTo>
                  <a:lnTo>
                    <a:pt x="463" y="277"/>
                  </a:lnTo>
                  <a:lnTo>
                    <a:pt x="462" y="287"/>
                  </a:lnTo>
                  <a:lnTo>
                    <a:pt x="461" y="297"/>
                  </a:lnTo>
                  <a:lnTo>
                    <a:pt x="458" y="307"/>
                  </a:lnTo>
                  <a:lnTo>
                    <a:pt x="458" y="311"/>
                  </a:lnTo>
                  <a:lnTo>
                    <a:pt x="460" y="316"/>
                  </a:lnTo>
                  <a:lnTo>
                    <a:pt x="462" y="319"/>
                  </a:lnTo>
                  <a:lnTo>
                    <a:pt x="465" y="321"/>
                  </a:lnTo>
                  <a:lnTo>
                    <a:pt x="505" y="344"/>
                  </a:lnTo>
                  <a:lnTo>
                    <a:pt x="453" y="433"/>
                  </a:lnTo>
                  <a:close/>
                  <a:moveTo>
                    <a:pt x="528" y="329"/>
                  </a:moveTo>
                  <a:lnTo>
                    <a:pt x="485" y="303"/>
                  </a:lnTo>
                  <a:lnTo>
                    <a:pt x="486" y="294"/>
                  </a:lnTo>
                  <a:lnTo>
                    <a:pt x="487" y="285"/>
                  </a:lnTo>
                  <a:lnTo>
                    <a:pt x="489" y="276"/>
                  </a:lnTo>
                  <a:lnTo>
                    <a:pt x="489" y="266"/>
                  </a:lnTo>
                  <a:lnTo>
                    <a:pt x="489" y="257"/>
                  </a:lnTo>
                  <a:lnTo>
                    <a:pt x="487" y="248"/>
                  </a:lnTo>
                  <a:lnTo>
                    <a:pt x="486" y="238"/>
                  </a:lnTo>
                  <a:lnTo>
                    <a:pt x="485" y="229"/>
                  </a:lnTo>
                  <a:lnTo>
                    <a:pt x="528" y="205"/>
                  </a:lnTo>
                  <a:lnTo>
                    <a:pt x="531" y="202"/>
                  </a:lnTo>
                  <a:lnTo>
                    <a:pt x="534" y="197"/>
                  </a:lnTo>
                  <a:lnTo>
                    <a:pt x="535" y="192"/>
                  </a:lnTo>
                  <a:lnTo>
                    <a:pt x="533" y="187"/>
                  </a:lnTo>
                  <a:lnTo>
                    <a:pt x="468" y="76"/>
                  </a:lnTo>
                  <a:lnTo>
                    <a:pt x="467" y="74"/>
                  </a:lnTo>
                  <a:lnTo>
                    <a:pt x="465" y="72"/>
                  </a:lnTo>
                  <a:lnTo>
                    <a:pt x="463" y="71"/>
                  </a:lnTo>
                  <a:lnTo>
                    <a:pt x="461" y="70"/>
                  </a:lnTo>
                  <a:lnTo>
                    <a:pt x="455" y="70"/>
                  </a:lnTo>
                  <a:lnTo>
                    <a:pt x="451" y="71"/>
                  </a:lnTo>
                  <a:lnTo>
                    <a:pt x="409" y="96"/>
                  </a:lnTo>
                  <a:lnTo>
                    <a:pt x="395" y="85"/>
                  </a:lnTo>
                  <a:lnTo>
                    <a:pt x="380" y="74"/>
                  </a:lnTo>
                  <a:lnTo>
                    <a:pt x="364" y="66"/>
                  </a:lnTo>
                  <a:lnTo>
                    <a:pt x="347" y="59"/>
                  </a:lnTo>
                  <a:lnTo>
                    <a:pt x="347" y="13"/>
                  </a:lnTo>
                  <a:lnTo>
                    <a:pt x="346" y="8"/>
                  </a:lnTo>
                  <a:lnTo>
                    <a:pt x="342" y="4"/>
                  </a:lnTo>
                  <a:lnTo>
                    <a:pt x="338" y="1"/>
                  </a:lnTo>
                  <a:lnTo>
                    <a:pt x="334" y="0"/>
                  </a:lnTo>
                  <a:lnTo>
                    <a:pt x="205" y="0"/>
                  </a:lnTo>
                  <a:lnTo>
                    <a:pt x="200" y="1"/>
                  </a:lnTo>
                  <a:lnTo>
                    <a:pt x="196" y="4"/>
                  </a:lnTo>
                  <a:lnTo>
                    <a:pt x="193" y="8"/>
                  </a:lnTo>
                  <a:lnTo>
                    <a:pt x="192" y="13"/>
                  </a:lnTo>
                  <a:lnTo>
                    <a:pt x="192" y="59"/>
                  </a:lnTo>
                  <a:lnTo>
                    <a:pt x="175" y="66"/>
                  </a:lnTo>
                  <a:lnTo>
                    <a:pt x="159" y="73"/>
                  </a:lnTo>
                  <a:lnTo>
                    <a:pt x="143" y="84"/>
                  </a:lnTo>
                  <a:lnTo>
                    <a:pt x="127" y="96"/>
                  </a:lnTo>
                  <a:lnTo>
                    <a:pt x="84" y="71"/>
                  </a:lnTo>
                  <a:lnTo>
                    <a:pt x="78" y="70"/>
                  </a:lnTo>
                  <a:lnTo>
                    <a:pt x="74" y="70"/>
                  </a:lnTo>
                  <a:lnTo>
                    <a:pt x="70" y="72"/>
                  </a:lnTo>
                  <a:lnTo>
                    <a:pt x="67" y="76"/>
                  </a:lnTo>
                  <a:lnTo>
                    <a:pt x="2" y="187"/>
                  </a:lnTo>
                  <a:lnTo>
                    <a:pt x="0" y="191"/>
                  </a:lnTo>
                  <a:lnTo>
                    <a:pt x="0" y="197"/>
                  </a:lnTo>
                  <a:lnTo>
                    <a:pt x="2" y="201"/>
                  </a:lnTo>
                  <a:lnTo>
                    <a:pt x="6" y="205"/>
                  </a:lnTo>
                  <a:lnTo>
                    <a:pt x="49" y="229"/>
                  </a:lnTo>
                  <a:lnTo>
                    <a:pt x="47" y="238"/>
                  </a:lnTo>
                  <a:lnTo>
                    <a:pt x="46" y="248"/>
                  </a:lnTo>
                  <a:lnTo>
                    <a:pt x="46" y="257"/>
                  </a:lnTo>
                  <a:lnTo>
                    <a:pt x="46" y="266"/>
                  </a:lnTo>
                  <a:lnTo>
                    <a:pt x="46" y="276"/>
                  </a:lnTo>
                  <a:lnTo>
                    <a:pt x="46" y="285"/>
                  </a:lnTo>
                  <a:lnTo>
                    <a:pt x="47" y="294"/>
                  </a:lnTo>
                  <a:lnTo>
                    <a:pt x="48" y="303"/>
                  </a:lnTo>
                  <a:lnTo>
                    <a:pt x="6" y="329"/>
                  </a:lnTo>
                  <a:lnTo>
                    <a:pt x="2" y="332"/>
                  </a:lnTo>
                  <a:lnTo>
                    <a:pt x="0" y="335"/>
                  </a:lnTo>
                  <a:lnTo>
                    <a:pt x="0" y="340"/>
                  </a:lnTo>
                  <a:lnTo>
                    <a:pt x="1" y="345"/>
                  </a:lnTo>
                  <a:lnTo>
                    <a:pt x="65" y="457"/>
                  </a:lnTo>
                  <a:lnTo>
                    <a:pt x="69" y="461"/>
                  </a:lnTo>
                  <a:lnTo>
                    <a:pt x="73" y="463"/>
                  </a:lnTo>
                  <a:lnTo>
                    <a:pt x="78" y="463"/>
                  </a:lnTo>
                  <a:lnTo>
                    <a:pt x="83" y="461"/>
                  </a:lnTo>
                  <a:lnTo>
                    <a:pt x="127" y="437"/>
                  </a:lnTo>
                  <a:lnTo>
                    <a:pt x="143" y="449"/>
                  </a:lnTo>
                  <a:lnTo>
                    <a:pt x="159" y="459"/>
                  </a:lnTo>
                  <a:lnTo>
                    <a:pt x="175" y="467"/>
                  </a:lnTo>
                  <a:lnTo>
                    <a:pt x="192" y="474"/>
                  </a:lnTo>
                  <a:lnTo>
                    <a:pt x="192" y="523"/>
                  </a:lnTo>
                  <a:lnTo>
                    <a:pt x="193" y="528"/>
                  </a:lnTo>
                  <a:lnTo>
                    <a:pt x="196" y="533"/>
                  </a:lnTo>
                  <a:lnTo>
                    <a:pt x="200" y="535"/>
                  </a:lnTo>
                  <a:lnTo>
                    <a:pt x="205" y="536"/>
                  </a:lnTo>
                  <a:lnTo>
                    <a:pt x="334" y="536"/>
                  </a:lnTo>
                  <a:lnTo>
                    <a:pt x="338" y="535"/>
                  </a:lnTo>
                  <a:lnTo>
                    <a:pt x="342" y="533"/>
                  </a:lnTo>
                  <a:lnTo>
                    <a:pt x="346" y="528"/>
                  </a:lnTo>
                  <a:lnTo>
                    <a:pt x="347" y="523"/>
                  </a:lnTo>
                  <a:lnTo>
                    <a:pt x="347" y="474"/>
                  </a:lnTo>
                  <a:lnTo>
                    <a:pt x="355" y="470"/>
                  </a:lnTo>
                  <a:lnTo>
                    <a:pt x="364" y="467"/>
                  </a:lnTo>
                  <a:lnTo>
                    <a:pt x="373" y="463"/>
                  </a:lnTo>
                  <a:lnTo>
                    <a:pt x="380" y="459"/>
                  </a:lnTo>
                  <a:lnTo>
                    <a:pt x="395" y="449"/>
                  </a:lnTo>
                  <a:lnTo>
                    <a:pt x="409" y="437"/>
                  </a:lnTo>
                  <a:lnTo>
                    <a:pt x="452" y="461"/>
                  </a:lnTo>
                  <a:lnTo>
                    <a:pt x="454" y="463"/>
                  </a:lnTo>
                  <a:lnTo>
                    <a:pt x="456" y="463"/>
                  </a:lnTo>
                  <a:lnTo>
                    <a:pt x="458" y="463"/>
                  </a:lnTo>
                  <a:lnTo>
                    <a:pt x="462" y="462"/>
                  </a:lnTo>
                  <a:lnTo>
                    <a:pt x="464" y="462"/>
                  </a:lnTo>
                  <a:lnTo>
                    <a:pt x="466" y="461"/>
                  </a:lnTo>
                  <a:lnTo>
                    <a:pt x="467" y="459"/>
                  </a:lnTo>
                  <a:lnTo>
                    <a:pt x="469" y="457"/>
                  </a:lnTo>
                  <a:lnTo>
                    <a:pt x="533" y="345"/>
                  </a:lnTo>
                  <a:lnTo>
                    <a:pt x="535" y="340"/>
                  </a:lnTo>
                  <a:lnTo>
                    <a:pt x="535" y="335"/>
                  </a:lnTo>
                  <a:lnTo>
                    <a:pt x="533" y="332"/>
                  </a:lnTo>
                  <a:lnTo>
                    <a:pt x="528" y="3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64">
              <a:extLst>
                <a:ext uri="{FF2B5EF4-FFF2-40B4-BE49-F238E27FC236}">
                  <a16:creationId xmlns="" xmlns:a16="http://schemas.microsoft.com/office/drawing/2014/main" id="{2846C9A9-B197-4ADD-9309-93044FC624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7201" y="3240088"/>
              <a:ext cx="122238" cy="125413"/>
            </a:xfrm>
            <a:custGeom>
              <a:avLst/>
              <a:gdLst>
                <a:gd name="T0" fmla="*/ 235 w 308"/>
                <a:gd name="T1" fmla="*/ 227 h 315"/>
                <a:gd name="T2" fmla="*/ 223 w 308"/>
                <a:gd name="T3" fmla="*/ 229 h 315"/>
                <a:gd name="T4" fmla="*/ 195 w 308"/>
                <a:gd name="T5" fmla="*/ 248 h 315"/>
                <a:gd name="T6" fmla="*/ 178 w 308"/>
                <a:gd name="T7" fmla="*/ 257 h 315"/>
                <a:gd name="T8" fmla="*/ 176 w 308"/>
                <a:gd name="T9" fmla="*/ 289 h 315"/>
                <a:gd name="T10" fmla="*/ 136 w 308"/>
                <a:gd name="T11" fmla="*/ 260 h 315"/>
                <a:gd name="T12" fmla="*/ 129 w 308"/>
                <a:gd name="T13" fmla="*/ 253 h 315"/>
                <a:gd name="T14" fmla="*/ 95 w 308"/>
                <a:gd name="T15" fmla="*/ 237 h 315"/>
                <a:gd name="T16" fmla="*/ 79 w 308"/>
                <a:gd name="T17" fmla="*/ 226 h 315"/>
                <a:gd name="T18" fmla="*/ 50 w 308"/>
                <a:gd name="T19" fmla="*/ 240 h 315"/>
                <a:gd name="T20" fmla="*/ 55 w 308"/>
                <a:gd name="T21" fmla="*/ 192 h 315"/>
                <a:gd name="T22" fmla="*/ 58 w 308"/>
                <a:gd name="T23" fmla="*/ 180 h 315"/>
                <a:gd name="T24" fmla="*/ 56 w 308"/>
                <a:gd name="T25" fmla="*/ 145 h 315"/>
                <a:gd name="T26" fmla="*/ 57 w 308"/>
                <a:gd name="T27" fmla="*/ 126 h 315"/>
                <a:gd name="T28" fmla="*/ 31 w 308"/>
                <a:gd name="T29" fmla="*/ 108 h 315"/>
                <a:gd name="T30" fmla="*/ 76 w 308"/>
                <a:gd name="T31" fmla="*/ 87 h 315"/>
                <a:gd name="T32" fmla="*/ 87 w 308"/>
                <a:gd name="T33" fmla="*/ 84 h 315"/>
                <a:gd name="T34" fmla="*/ 117 w 308"/>
                <a:gd name="T35" fmla="*/ 66 h 315"/>
                <a:gd name="T36" fmla="*/ 135 w 308"/>
                <a:gd name="T37" fmla="*/ 57 h 315"/>
                <a:gd name="T38" fmla="*/ 137 w 308"/>
                <a:gd name="T39" fmla="*/ 25 h 315"/>
                <a:gd name="T40" fmla="*/ 176 w 308"/>
                <a:gd name="T41" fmla="*/ 53 h 315"/>
                <a:gd name="T42" fmla="*/ 185 w 308"/>
                <a:gd name="T43" fmla="*/ 62 h 315"/>
                <a:gd name="T44" fmla="*/ 215 w 308"/>
                <a:gd name="T45" fmla="*/ 77 h 315"/>
                <a:gd name="T46" fmla="*/ 231 w 308"/>
                <a:gd name="T47" fmla="*/ 88 h 315"/>
                <a:gd name="T48" fmla="*/ 259 w 308"/>
                <a:gd name="T49" fmla="*/ 76 h 315"/>
                <a:gd name="T50" fmla="*/ 254 w 308"/>
                <a:gd name="T51" fmla="*/ 123 h 315"/>
                <a:gd name="T52" fmla="*/ 251 w 308"/>
                <a:gd name="T53" fmla="*/ 134 h 315"/>
                <a:gd name="T54" fmla="*/ 253 w 308"/>
                <a:gd name="T55" fmla="*/ 169 h 315"/>
                <a:gd name="T56" fmla="*/ 252 w 308"/>
                <a:gd name="T57" fmla="*/ 188 h 315"/>
                <a:gd name="T58" fmla="*/ 278 w 308"/>
                <a:gd name="T59" fmla="*/ 207 h 315"/>
                <a:gd name="T60" fmla="*/ 278 w 308"/>
                <a:gd name="T61" fmla="*/ 178 h 315"/>
                <a:gd name="T62" fmla="*/ 279 w 308"/>
                <a:gd name="T63" fmla="*/ 148 h 315"/>
                <a:gd name="T64" fmla="*/ 304 w 308"/>
                <a:gd name="T65" fmla="*/ 123 h 315"/>
                <a:gd name="T66" fmla="*/ 308 w 308"/>
                <a:gd name="T67" fmla="*/ 116 h 315"/>
                <a:gd name="T68" fmla="*/ 275 w 308"/>
                <a:gd name="T69" fmla="*/ 51 h 315"/>
                <a:gd name="T70" fmla="*/ 269 w 308"/>
                <a:gd name="T71" fmla="*/ 46 h 315"/>
                <a:gd name="T72" fmla="*/ 256 w 308"/>
                <a:gd name="T73" fmla="*/ 46 h 315"/>
                <a:gd name="T74" fmla="*/ 218 w 308"/>
                <a:gd name="T75" fmla="*/ 49 h 315"/>
                <a:gd name="T76" fmla="*/ 202 w 308"/>
                <a:gd name="T77" fmla="*/ 13 h 315"/>
                <a:gd name="T78" fmla="*/ 193 w 308"/>
                <a:gd name="T79" fmla="*/ 2 h 315"/>
                <a:gd name="T80" fmla="*/ 119 w 308"/>
                <a:gd name="T81" fmla="*/ 2 h 315"/>
                <a:gd name="T82" fmla="*/ 112 w 308"/>
                <a:gd name="T83" fmla="*/ 13 h 315"/>
                <a:gd name="T84" fmla="*/ 93 w 308"/>
                <a:gd name="T85" fmla="*/ 50 h 315"/>
                <a:gd name="T86" fmla="*/ 52 w 308"/>
                <a:gd name="T87" fmla="*/ 46 h 315"/>
                <a:gd name="T88" fmla="*/ 37 w 308"/>
                <a:gd name="T89" fmla="*/ 47 h 315"/>
                <a:gd name="T90" fmla="*/ 1 w 308"/>
                <a:gd name="T91" fmla="*/ 111 h 315"/>
                <a:gd name="T92" fmla="*/ 3 w 308"/>
                <a:gd name="T93" fmla="*/ 121 h 315"/>
                <a:gd name="T94" fmla="*/ 31 w 308"/>
                <a:gd name="T95" fmla="*/ 138 h 315"/>
                <a:gd name="T96" fmla="*/ 30 w 308"/>
                <a:gd name="T97" fmla="*/ 167 h 315"/>
                <a:gd name="T98" fmla="*/ 4 w 308"/>
                <a:gd name="T99" fmla="*/ 193 h 315"/>
                <a:gd name="T100" fmla="*/ 1 w 308"/>
                <a:gd name="T101" fmla="*/ 199 h 315"/>
                <a:gd name="T102" fmla="*/ 34 w 308"/>
                <a:gd name="T103" fmla="*/ 263 h 315"/>
                <a:gd name="T104" fmla="*/ 46 w 308"/>
                <a:gd name="T105" fmla="*/ 270 h 315"/>
                <a:gd name="T106" fmla="*/ 85 w 308"/>
                <a:gd name="T107" fmla="*/ 259 h 315"/>
                <a:gd name="T108" fmla="*/ 112 w 308"/>
                <a:gd name="T109" fmla="*/ 274 h 315"/>
                <a:gd name="T110" fmla="*/ 116 w 308"/>
                <a:gd name="T111" fmla="*/ 311 h 315"/>
                <a:gd name="T112" fmla="*/ 189 w 308"/>
                <a:gd name="T113" fmla="*/ 315 h 315"/>
                <a:gd name="T114" fmla="*/ 201 w 308"/>
                <a:gd name="T115" fmla="*/ 306 h 315"/>
                <a:gd name="T116" fmla="*/ 210 w 308"/>
                <a:gd name="T117" fmla="*/ 270 h 315"/>
                <a:gd name="T118" fmla="*/ 234 w 308"/>
                <a:gd name="T119" fmla="*/ 255 h 315"/>
                <a:gd name="T120" fmla="*/ 267 w 308"/>
                <a:gd name="T121" fmla="*/ 270 h 315"/>
                <a:gd name="T122" fmla="*/ 307 w 308"/>
                <a:gd name="T123" fmla="*/ 208 h 315"/>
                <a:gd name="T124" fmla="*/ 306 w 308"/>
                <a:gd name="T125" fmla="*/ 194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8" h="315">
                  <a:moveTo>
                    <a:pt x="260" y="240"/>
                  </a:moveTo>
                  <a:lnTo>
                    <a:pt x="239" y="228"/>
                  </a:lnTo>
                  <a:lnTo>
                    <a:pt x="235" y="227"/>
                  </a:lnTo>
                  <a:lnTo>
                    <a:pt x="231" y="226"/>
                  </a:lnTo>
                  <a:lnTo>
                    <a:pt x="227" y="227"/>
                  </a:lnTo>
                  <a:lnTo>
                    <a:pt x="223" y="229"/>
                  </a:lnTo>
                  <a:lnTo>
                    <a:pt x="215" y="237"/>
                  </a:lnTo>
                  <a:lnTo>
                    <a:pt x="205" y="243"/>
                  </a:lnTo>
                  <a:lnTo>
                    <a:pt x="195" y="248"/>
                  </a:lnTo>
                  <a:lnTo>
                    <a:pt x="185" y="253"/>
                  </a:lnTo>
                  <a:lnTo>
                    <a:pt x="181" y="255"/>
                  </a:lnTo>
                  <a:lnTo>
                    <a:pt x="178" y="257"/>
                  </a:lnTo>
                  <a:lnTo>
                    <a:pt x="177" y="260"/>
                  </a:lnTo>
                  <a:lnTo>
                    <a:pt x="176" y="265"/>
                  </a:lnTo>
                  <a:lnTo>
                    <a:pt x="176" y="289"/>
                  </a:lnTo>
                  <a:lnTo>
                    <a:pt x="137" y="289"/>
                  </a:lnTo>
                  <a:lnTo>
                    <a:pt x="137" y="265"/>
                  </a:lnTo>
                  <a:lnTo>
                    <a:pt x="136" y="260"/>
                  </a:lnTo>
                  <a:lnTo>
                    <a:pt x="135" y="257"/>
                  </a:lnTo>
                  <a:lnTo>
                    <a:pt x="132" y="255"/>
                  </a:lnTo>
                  <a:lnTo>
                    <a:pt x="129" y="253"/>
                  </a:lnTo>
                  <a:lnTo>
                    <a:pt x="117" y="248"/>
                  </a:lnTo>
                  <a:lnTo>
                    <a:pt x="105" y="243"/>
                  </a:lnTo>
                  <a:lnTo>
                    <a:pt x="95" y="237"/>
                  </a:lnTo>
                  <a:lnTo>
                    <a:pt x="87" y="229"/>
                  </a:lnTo>
                  <a:lnTo>
                    <a:pt x="84" y="227"/>
                  </a:lnTo>
                  <a:lnTo>
                    <a:pt x="79" y="226"/>
                  </a:lnTo>
                  <a:lnTo>
                    <a:pt x="76" y="227"/>
                  </a:lnTo>
                  <a:lnTo>
                    <a:pt x="72" y="228"/>
                  </a:lnTo>
                  <a:lnTo>
                    <a:pt x="50" y="240"/>
                  </a:lnTo>
                  <a:lnTo>
                    <a:pt x="30" y="207"/>
                  </a:lnTo>
                  <a:lnTo>
                    <a:pt x="51" y="194"/>
                  </a:lnTo>
                  <a:lnTo>
                    <a:pt x="55" y="192"/>
                  </a:lnTo>
                  <a:lnTo>
                    <a:pt x="57" y="188"/>
                  </a:lnTo>
                  <a:lnTo>
                    <a:pt x="58" y="184"/>
                  </a:lnTo>
                  <a:lnTo>
                    <a:pt x="58" y="180"/>
                  </a:lnTo>
                  <a:lnTo>
                    <a:pt x="56" y="168"/>
                  </a:lnTo>
                  <a:lnTo>
                    <a:pt x="55" y="157"/>
                  </a:lnTo>
                  <a:lnTo>
                    <a:pt x="56" y="145"/>
                  </a:lnTo>
                  <a:lnTo>
                    <a:pt x="58" y="134"/>
                  </a:lnTo>
                  <a:lnTo>
                    <a:pt x="58" y="130"/>
                  </a:lnTo>
                  <a:lnTo>
                    <a:pt x="57" y="126"/>
                  </a:lnTo>
                  <a:lnTo>
                    <a:pt x="55" y="123"/>
                  </a:lnTo>
                  <a:lnTo>
                    <a:pt x="51" y="120"/>
                  </a:lnTo>
                  <a:lnTo>
                    <a:pt x="31" y="108"/>
                  </a:lnTo>
                  <a:lnTo>
                    <a:pt x="50" y="73"/>
                  </a:lnTo>
                  <a:lnTo>
                    <a:pt x="72" y="86"/>
                  </a:lnTo>
                  <a:lnTo>
                    <a:pt x="76" y="87"/>
                  </a:lnTo>
                  <a:lnTo>
                    <a:pt x="79" y="87"/>
                  </a:lnTo>
                  <a:lnTo>
                    <a:pt x="84" y="86"/>
                  </a:lnTo>
                  <a:lnTo>
                    <a:pt x="87" y="84"/>
                  </a:lnTo>
                  <a:lnTo>
                    <a:pt x="95" y="78"/>
                  </a:lnTo>
                  <a:lnTo>
                    <a:pt x="105" y="71"/>
                  </a:lnTo>
                  <a:lnTo>
                    <a:pt x="117" y="66"/>
                  </a:lnTo>
                  <a:lnTo>
                    <a:pt x="129" y="62"/>
                  </a:lnTo>
                  <a:lnTo>
                    <a:pt x="132" y="59"/>
                  </a:lnTo>
                  <a:lnTo>
                    <a:pt x="135" y="57"/>
                  </a:lnTo>
                  <a:lnTo>
                    <a:pt x="136" y="53"/>
                  </a:lnTo>
                  <a:lnTo>
                    <a:pt x="137" y="50"/>
                  </a:lnTo>
                  <a:lnTo>
                    <a:pt x="137" y="25"/>
                  </a:lnTo>
                  <a:lnTo>
                    <a:pt x="176" y="25"/>
                  </a:lnTo>
                  <a:lnTo>
                    <a:pt x="176" y="50"/>
                  </a:lnTo>
                  <a:lnTo>
                    <a:pt x="176" y="53"/>
                  </a:lnTo>
                  <a:lnTo>
                    <a:pt x="178" y="57"/>
                  </a:lnTo>
                  <a:lnTo>
                    <a:pt x="181" y="59"/>
                  </a:lnTo>
                  <a:lnTo>
                    <a:pt x="185" y="62"/>
                  </a:lnTo>
                  <a:lnTo>
                    <a:pt x="195" y="66"/>
                  </a:lnTo>
                  <a:lnTo>
                    <a:pt x="205" y="71"/>
                  </a:lnTo>
                  <a:lnTo>
                    <a:pt x="215" y="77"/>
                  </a:lnTo>
                  <a:lnTo>
                    <a:pt x="223" y="84"/>
                  </a:lnTo>
                  <a:lnTo>
                    <a:pt x="227" y="87"/>
                  </a:lnTo>
                  <a:lnTo>
                    <a:pt x="231" y="88"/>
                  </a:lnTo>
                  <a:lnTo>
                    <a:pt x="235" y="88"/>
                  </a:lnTo>
                  <a:lnTo>
                    <a:pt x="239" y="86"/>
                  </a:lnTo>
                  <a:lnTo>
                    <a:pt x="259" y="76"/>
                  </a:lnTo>
                  <a:lnTo>
                    <a:pt x="278" y="108"/>
                  </a:lnTo>
                  <a:lnTo>
                    <a:pt x="258" y="120"/>
                  </a:lnTo>
                  <a:lnTo>
                    <a:pt x="254" y="123"/>
                  </a:lnTo>
                  <a:lnTo>
                    <a:pt x="252" y="126"/>
                  </a:lnTo>
                  <a:lnTo>
                    <a:pt x="251" y="130"/>
                  </a:lnTo>
                  <a:lnTo>
                    <a:pt x="251" y="134"/>
                  </a:lnTo>
                  <a:lnTo>
                    <a:pt x="253" y="145"/>
                  </a:lnTo>
                  <a:lnTo>
                    <a:pt x="254" y="157"/>
                  </a:lnTo>
                  <a:lnTo>
                    <a:pt x="253" y="169"/>
                  </a:lnTo>
                  <a:lnTo>
                    <a:pt x="251" y="180"/>
                  </a:lnTo>
                  <a:lnTo>
                    <a:pt x="251" y="184"/>
                  </a:lnTo>
                  <a:lnTo>
                    <a:pt x="252" y="188"/>
                  </a:lnTo>
                  <a:lnTo>
                    <a:pt x="254" y="192"/>
                  </a:lnTo>
                  <a:lnTo>
                    <a:pt x="258" y="194"/>
                  </a:lnTo>
                  <a:lnTo>
                    <a:pt x="278" y="207"/>
                  </a:lnTo>
                  <a:lnTo>
                    <a:pt x="260" y="240"/>
                  </a:lnTo>
                  <a:close/>
                  <a:moveTo>
                    <a:pt x="302" y="192"/>
                  </a:moveTo>
                  <a:lnTo>
                    <a:pt x="278" y="178"/>
                  </a:lnTo>
                  <a:lnTo>
                    <a:pt x="279" y="167"/>
                  </a:lnTo>
                  <a:lnTo>
                    <a:pt x="279" y="157"/>
                  </a:lnTo>
                  <a:lnTo>
                    <a:pt x="279" y="148"/>
                  </a:lnTo>
                  <a:lnTo>
                    <a:pt x="278" y="138"/>
                  </a:lnTo>
                  <a:lnTo>
                    <a:pt x="302" y="124"/>
                  </a:lnTo>
                  <a:lnTo>
                    <a:pt x="304" y="123"/>
                  </a:lnTo>
                  <a:lnTo>
                    <a:pt x="306" y="121"/>
                  </a:lnTo>
                  <a:lnTo>
                    <a:pt x="307" y="119"/>
                  </a:lnTo>
                  <a:lnTo>
                    <a:pt x="308" y="116"/>
                  </a:lnTo>
                  <a:lnTo>
                    <a:pt x="308" y="111"/>
                  </a:lnTo>
                  <a:lnTo>
                    <a:pt x="306" y="106"/>
                  </a:lnTo>
                  <a:lnTo>
                    <a:pt x="275" y="51"/>
                  </a:lnTo>
                  <a:lnTo>
                    <a:pt x="273" y="49"/>
                  </a:lnTo>
                  <a:lnTo>
                    <a:pt x="271" y="47"/>
                  </a:lnTo>
                  <a:lnTo>
                    <a:pt x="269" y="46"/>
                  </a:lnTo>
                  <a:lnTo>
                    <a:pt x="266" y="44"/>
                  </a:lnTo>
                  <a:lnTo>
                    <a:pt x="262" y="44"/>
                  </a:lnTo>
                  <a:lnTo>
                    <a:pt x="256" y="46"/>
                  </a:lnTo>
                  <a:lnTo>
                    <a:pt x="234" y="59"/>
                  </a:lnTo>
                  <a:lnTo>
                    <a:pt x="226" y="54"/>
                  </a:lnTo>
                  <a:lnTo>
                    <a:pt x="218" y="49"/>
                  </a:lnTo>
                  <a:lnTo>
                    <a:pt x="210" y="44"/>
                  </a:lnTo>
                  <a:lnTo>
                    <a:pt x="202" y="41"/>
                  </a:lnTo>
                  <a:lnTo>
                    <a:pt x="202" y="13"/>
                  </a:lnTo>
                  <a:lnTo>
                    <a:pt x="201" y="8"/>
                  </a:lnTo>
                  <a:lnTo>
                    <a:pt x="197" y="4"/>
                  </a:lnTo>
                  <a:lnTo>
                    <a:pt x="193" y="2"/>
                  </a:lnTo>
                  <a:lnTo>
                    <a:pt x="189" y="0"/>
                  </a:lnTo>
                  <a:lnTo>
                    <a:pt x="124" y="0"/>
                  </a:lnTo>
                  <a:lnTo>
                    <a:pt x="119" y="2"/>
                  </a:lnTo>
                  <a:lnTo>
                    <a:pt x="116" y="4"/>
                  </a:lnTo>
                  <a:lnTo>
                    <a:pt x="113" y="8"/>
                  </a:lnTo>
                  <a:lnTo>
                    <a:pt x="112" y="13"/>
                  </a:lnTo>
                  <a:lnTo>
                    <a:pt x="112" y="41"/>
                  </a:lnTo>
                  <a:lnTo>
                    <a:pt x="102" y="44"/>
                  </a:lnTo>
                  <a:lnTo>
                    <a:pt x="93" y="50"/>
                  </a:lnTo>
                  <a:lnTo>
                    <a:pt x="85" y="54"/>
                  </a:lnTo>
                  <a:lnTo>
                    <a:pt x="77" y="59"/>
                  </a:lnTo>
                  <a:lnTo>
                    <a:pt x="52" y="46"/>
                  </a:lnTo>
                  <a:lnTo>
                    <a:pt x="47" y="44"/>
                  </a:lnTo>
                  <a:lnTo>
                    <a:pt x="43" y="44"/>
                  </a:lnTo>
                  <a:lnTo>
                    <a:pt x="37" y="47"/>
                  </a:lnTo>
                  <a:lnTo>
                    <a:pt x="34" y="51"/>
                  </a:lnTo>
                  <a:lnTo>
                    <a:pt x="2" y="106"/>
                  </a:lnTo>
                  <a:lnTo>
                    <a:pt x="1" y="111"/>
                  </a:lnTo>
                  <a:lnTo>
                    <a:pt x="1" y="116"/>
                  </a:lnTo>
                  <a:lnTo>
                    <a:pt x="2" y="119"/>
                  </a:lnTo>
                  <a:lnTo>
                    <a:pt x="3" y="121"/>
                  </a:lnTo>
                  <a:lnTo>
                    <a:pt x="5" y="123"/>
                  </a:lnTo>
                  <a:lnTo>
                    <a:pt x="7" y="124"/>
                  </a:lnTo>
                  <a:lnTo>
                    <a:pt x="31" y="138"/>
                  </a:lnTo>
                  <a:lnTo>
                    <a:pt x="30" y="148"/>
                  </a:lnTo>
                  <a:lnTo>
                    <a:pt x="29" y="157"/>
                  </a:lnTo>
                  <a:lnTo>
                    <a:pt x="30" y="167"/>
                  </a:lnTo>
                  <a:lnTo>
                    <a:pt x="31" y="178"/>
                  </a:lnTo>
                  <a:lnTo>
                    <a:pt x="6" y="192"/>
                  </a:lnTo>
                  <a:lnTo>
                    <a:pt x="4" y="193"/>
                  </a:lnTo>
                  <a:lnTo>
                    <a:pt x="3" y="194"/>
                  </a:lnTo>
                  <a:lnTo>
                    <a:pt x="2" y="196"/>
                  </a:lnTo>
                  <a:lnTo>
                    <a:pt x="1" y="199"/>
                  </a:lnTo>
                  <a:lnTo>
                    <a:pt x="0" y="203"/>
                  </a:lnTo>
                  <a:lnTo>
                    <a:pt x="2" y="208"/>
                  </a:lnTo>
                  <a:lnTo>
                    <a:pt x="34" y="263"/>
                  </a:lnTo>
                  <a:lnTo>
                    <a:pt x="37" y="268"/>
                  </a:lnTo>
                  <a:lnTo>
                    <a:pt x="42" y="270"/>
                  </a:lnTo>
                  <a:lnTo>
                    <a:pt x="46" y="270"/>
                  </a:lnTo>
                  <a:lnTo>
                    <a:pt x="51" y="269"/>
                  </a:lnTo>
                  <a:lnTo>
                    <a:pt x="77" y="254"/>
                  </a:lnTo>
                  <a:lnTo>
                    <a:pt x="85" y="259"/>
                  </a:lnTo>
                  <a:lnTo>
                    <a:pt x="93" y="266"/>
                  </a:lnTo>
                  <a:lnTo>
                    <a:pt x="102" y="270"/>
                  </a:lnTo>
                  <a:lnTo>
                    <a:pt x="112" y="274"/>
                  </a:lnTo>
                  <a:lnTo>
                    <a:pt x="112" y="302"/>
                  </a:lnTo>
                  <a:lnTo>
                    <a:pt x="113" y="306"/>
                  </a:lnTo>
                  <a:lnTo>
                    <a:pt x="116" y="311"/>
                  </a:lnTo>
                  <a:lnTo>
                    <a:pt x="119" y="314"/>
                  </a:lnTo>
                  <a:lnTo>
                    <a:pt x="124" y="315"/>
                  </a:lnTo>
                  <a:lnTo>
                    <a:pt x="189" y="315"/>
                  </a:lnTo>
                  <a:lnTo>
                    <a:pt x="193" y="314"/>
                  </a:lnTo>
                  <a:lnTo>
                    <a:pt x="197" y="311"/>
                  </a:lnTo>
                  <a:lnTo>
                    <a:pt x="201" y="306"/>
                  </a:lnTo>
                  <a:lnTo>
                    <a:pt x="202" y="302"/>
                  </a:lnTo>
                  <a:lnTo>
                    <a:pt x="202" y="274"/>
                  </a:lnTo>
                  <a:lnTo>
                    <a:pt x="210" y="270"/>
                  </a:lnTo>
                  <a:lnTo>
                    <a:pt x="218" y="266"/>
                  </a:lnTo>
                  <a:lnTo>
                    <a:pt x="226" y="260"/>
                  </a:lnTo>
                  <a:lnTo>
                    <a:pt x="234" y="255"/>
                  </a:lnTo>
                  <a:lnTo>
                    <a:pt x="258" y="268"/>
                  </a:lnTo>
                  <a:lnTo>
                    <a:pt x="262" y="270"/>
                  </a:lnTo>
                  <a:lnTo>
                    <a:pt x="267" y="270"/>
                  </a:lnTo>
                  <a:lnTo>
                    <a:pt x="271" y="268"/>
                  </a:lnTo>
                  <a:lnTo>
                    <a:pt x="275" y="263"/>
                  </a:lnTo>
                  <a:lnTo>
                    <a:pt x="307" y="208"/>
                  </a:lnTo>
                  <a:lnTo>
                    <a:pt x="308" y="202"/>
                  </a:lnTo>
                  <a:lnTo>
                    <a:pt x="308" y="198"/>
                  </a:lnTo>
                  <a:lnTo>
                    <a:pt x="306" y="194"/>
                  </a:lnTo>
                  <a:lnTo>
                    <a:pt x="302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3" name="Group 222">
            <a:extLst>
              <a:ext uri="{FF2B5EF4-FFF2-40B4-BE49-F238E27FC236}">
                <a16:creationId xmlns="" xmlns:a16="http://schemas.microsoft.com/office/drawing/2014/main" id="{A70FAB3A-A4E8-4305-B03E-A5DCC5F1B17E}"/>
              </a:ext>
            </a:extLst>
          </p:cNvPr>
          <p:cNvGrpSpPr/>
          <p:nvPr/>
        </p:nvGrpSpPr>
        <p:grpSpPr>
          <a:xfrm flipH="1">
            <a:off x="7334583" y="2426462"/>
            <a:ext cx="493396" cy="493396"/>
            <a:chOff x="8736013" y="1925638"/>
            <a:chExt cx="287338" cy="287338"/>
          </a:xfrm>
          <a:solidFill>
            <a:schemeClr val="bg1"/>
          </a:solidFill>
        </p:grpSpPr>
        <p:sp>
          <p:nvSpPr>
            <p:cNvPr id="224" name="Freeform 97">
              <a:extLst>
                <a:ext uri="{FF2B5EF4-FFF2-40B4-BE49-F238E27FC236}">
                  <a16:creationId xmlns="" xmlns:a16="http://schemas.microsoft.com/office/drawing/2014/main" id="{CEC49F32-7A61-436B-8534-A56D656D02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36013" y="1925638"/>
              <a:ext cx="287338" cy="287338"/>
            </a:xfrm>
            <a:custGeom>
              <a:avLst/>
              <a:gdLst>
                <a:gd name="T0" fmla="*/ 481 w 902"/>
                <a:gd name="T1" fmla="*/ 863 h 902"/>
                <a:gd name="T2" fmla="*/ 872 w 902"/>
                <a:gd name="T3" fmla="*/ 219 h 902"/>
                <a:gd name="T4" fmla="*/ 30 w 902"/>
                <a:gd name="T5" fmla="*/ 219 h 902"/>
                <a:gd name="T6" fmla="*/ 451 w 902"/>
                <a:gd name="T7" fmla="*/ 864 h 902"/>
                <a:gd name="T8" fmla="*/ 30 w 902"/>
                <a:gd name="T9" fmla="*/ 219 h 902"/>
                <a:gd name="T10" fmla="*/ 54 w 902"/>
                <a:gd name="T11" fmla="*/ 197 h 902"/>
                <a:gd name="T12" fmla="*/ 648 w 902"/>
                <a:gd name="T13" fmla="*/ 290 h 902"/>
                <a:gd name="T14" fmla="*/ 466 w 902"/>
                <a:gd name="T15" fmla="*/ 32 h 902"/>
                <a:gd name="T16" fmla="*/ 683 w 902"/>
                <a:gd name="T17" fmla="*/ 274 h 902"/>
                <a:gd name="T18" fmla="*/ 466 w 902"/>
                <a:gd name="T19" fmla="*/ 32 h 902"/>
                <a:gd name="T20" fmla="*/ 902 w 902"/>
                <a:gd name="T21" fmla="*/ 195 h 902"/>
                <a:gd name="T22" fmla="*/ 901 w 902"/>
                <a:gd name="T23" fmla="*/ 191 h 902"/>
                <a:gd name="T24" fmla="*/ 901 w 902"/>
                <a:gd name="T25" fmla="*/ 190 h 902"/>
                <a:gd name="T26" fmla="*/ 898 w 902"/>
                <a:gd name="T27" fmla="*/ 186 h 902"/>
                <a:gd name="T28" fmla="*/ 898 w 902"/>
                <a:gd name="T29" fmla="*/ 185 h 902"/>
                <a:gd name="T30" fmla="*/ 896 w 902"/>
                <a:gd name="T31" fmla="*/ 184 h 902"/>
                <a:gd name="T32" fmla="*/ 893 w 902"/>
                <a:gd name="T33" fmla="*/ 183 h 902"/>
                <a:gd name="T34" fmla="*/ 892 w 902"/>
                <a:gd name="T35" fmla="*/ 182 h 902"/>
                <a:gd name="T36" fmla="*/ 469 w 902"/>
                <a:gd name="T37" fmla="*/ 0 h 902"/>
                <a:gd name="T38" fmla="*/ 463 w 902"/>
                <a:gd name="T39" fmla="*/ 0 h 902"/>
                <a:gd name="T40" fmla="*/ 10 w 902"/>
                <a:gd name="T41" fmla="*/ 182 h 902"/>
                <a:gd name="T42" fmla="*/ 9 w 902"/>
                <a:gd name="T43" fmla="*/ 183 h 902"/>
                <a:gd name="T44" fmla="*/ 6 w 902"/>
                <a:gd name="T45" fmla="*/ 184 h 902"/>
                <a:gd name="T46" fmla="*/ 4 w 902"/>
                <a:gd name="T47" fmla="*/ 185 h 902"/>
                <a:gd name="T48" fmla="*/ 4 w 902"/>
                <a:gd name="T49" fmla="*/ 186 h 902"/>
                <a:gd name="T50" fmla="*/ 1 w 902"/>
                <a:gd name="T51" fmla="*/ 189 h 902"/>
                <a:gd name="T52" fmla="*/ 1 w 902"/>
                <a:gd name="T53" fmla="*/ 190 h 902"/>
                <a:gd name="T54" fmla="*/ 0 w 902"/>
                <a:gd name="T55" fmla="*/ 195 h 902"/>
                <a:gd name="T56" fmla="*/ 0 w 902"/>
                <a:gd name="T57" fmla="*/ 195 h 902"/>
                <a:gd name="T58" fmla="*/ 0 w 902"/>
                <a:gd name="T59" fmla="*/ 195 h 902"/>
                <a:gd name="T60" fmla="*/ 0 w 902"/>
                <a:gd name="T61" fmla="*/ 681 h 902"/>
                <a:gd name="T62" fmla="*/ 5 w 902"/>
                <a:gd name="T63" fmla="*/ 688 h 902"/>
                <a:gd name="T64" fmla="*/ 460 w 902"/>
                <a:gd name="T65" fmla="*/ 901 h 902"/>
                <a:gd name="T66" fmla="*/ 461 w 902"/>
                <a:gd name="T67" fmla="*/ 901 h 902"/>
                <a:gd name="T68" fmla="*/ 466 w 902"/>
                <a:gd name="T69" fmla="*/ 902 h 902"/>
                <a:gd name="T70" fmla="*/ 472 w 902"/>
                <a:gd name="T71" fmla="*/ 901 h 902"/>
                <a:gd name="T72" fmla="*/ 472 w 902"/>
                <a:gd name="T73" fmla="*/ 900 h 902"/>
                <a:gd name="T74" fmla="*/ 897 w 902"/>
                <a:gd name="T75" fmla="*/ 688 h 902"/>
                <a:gd name="T76" fmla="*/ 901 w 902"/>
                <a:gd name="T77" fmla="*/ 681 h 902"/>
                <a:gd name="T78" fmla="*/ 902 w 902"/>
                <a:gd name="T79" fmla="*/ 195 h 902"/>
                <a:gd name="T80" fmla="*/ 902 w 902"/>
                <a:gd name="T81" fmla="*/ 195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02" h="902">
                  <a:moveTo>
                    <a:pt x="872" y="668"/>
                  </a:moveTo>
                  <a:lnTo>
                    <a:pt x="481" y="863"/>
                  </a:lnTo>
                  <a:lnTo>
                    <a:pt x="481" y="401"/>
                  </a:lnTo>
                  <a:lnTo>
                    <a:pt x="872" y="219"/>
                  </a:lnTo>
                  <a:lnTo>
                    <a:pt x="872" y="668"/>
                  </a:lnTo>
                  <a:close/>
                  <a:moveTo>
                    <a:pt x="30" y="219"/>
                  </a:moveTo>
                  <a:lnTo>
                    <a:pt x="451" y="401"/>
                  </a:lnTo>
                  <a:lnTo>
                    <a:pt x="451" y="864"/>
                  </a:lnTo>
                  <a:lnTo>
                    <a:pt x="30" y="667"/>
                  </a:lnTo>
                  <a:lnTo>
                    <a:pt x="30" y="219"/>
                  </a:lnTo>
                  <a:close/>
                  <a:moveTo>
                    <a:pt x="466" y="374"/>
                  </a:moveTo>
                  <a:lnTo>
                    <a:pt x="54" y="197"/>
                  </a:lnTo>
                  <a:lnTo>
                    <a:pt x="266" y="112"/>
                  </a:lnTo>
                  <a:lnTo>
                    <a:pt x="648" y="290"/>
                  </a:lnTo>
                  <a:lnTo>
                    <a:pt x="466" y="374"/>
                  </a:lnTo>
                  <a:close/>
                  <a:moveTo>
                    <a:pt x="466" y="32"/>
                  </a:moveTo>
                  <a:lnTo>
                    <a:pt x="851" y="197"/>
                  </a:lnTo>
                  <a:lnTo>
                    <a:pt x="683" y="274"/>
                  </a:lnTo>
                  <a:lnTo>
                    <a:pt x="304" y="97"/>
                  </a:lnTo>
                  <a:lnTo>
                    <a:pt x="466" y="32"/>
                  </a:lnTo>
                  <a:close/>
                  <a:moveTo>
                    <a:pt x="902" y="195"/>
                  </a:moveTo>
                  <a:lnTo>
                    <a:pt x="902" y="195"/>
                  </a:lnTo>
                  <a:lnTo>
                    <a:pt x="902" y="193"/>
                  </a:lnTo>
                  <a:lnTo>
                    <a:pt x="901" y="191"/>
                  </a:lnTo>
                  <a:lnTo>
                    <a:pt x="901" y="190"/>
                  </a:lnTo>
                  <a:lnTo>
                    <a:pt x="901" y="190"/>
                  </a:lnTo>
                  <a:lnTo>
                    <a:pt x="900" y="188"/>
                  </a:lnTo>
                  <a:lnTo>
                    <a:pt x="898" y="186"/>
                  </a:lnTo>
                  <a:lnTo>
                    <a:pt x="898" y="186"/>
                  </a:lnTo>
                  <a:lnTo>
                    <a:pt x="898" y="185"/>
                  </a:lnTo>
                  <a:lnTo>
                    <a:pt x="897" y="184"/>
                  </a:lnTo>
                  <a:lnTo>
                    <a:pt x="896" y="184"/>
                  </a:lnTo>
                  <a:lnTo>
                    <a:pt x="895" y="183"/>
                  </a:lnTo>
                  <a:lnTo>
                    <a:pt x="893" y="183"/>
                  </a:lnTo>
                  <a:lnTo>
                    <a:pt x="893" y="183"/>
                  </a:lnTo>
                  <a:lnTo>
                    <a:pt x="892" y="182"/>
                  </a:lnTo>
                  <a:lnTo>
                    <a:pt x="471" y="2"/>
                  </a:lnTo>
                  <a:lnTo>
                    <a:pt x="469" y="0"/>
                  </a:lnTo>
                  <a:lnTo>
                    <a:pt x="466" y="0"/>
                  </a:lnTo>
                  <a:lnTo>
                    <a:pt x="463" y="0"/>
                  </a:lnTo>
                  <a:lnTo>
                    <a:pt x="461" y="2"/>
                  </a:lnTo>
                  <a:lnTo>
                    <a:pt x="10" y="182"/>
                  </a:lnTo>
                  <a:lnTo>
                    <a:pt x="9" y="182"/>
                  </a:lnTo>
                  <a:lnTo>
                    <a:pt x="9" y="183"/>
                  </a:lnTo>
                  <a:lnTo>
                    <a:pt x="8" y="183"/>
                  </a:lnTo>
                  <a:lnTo>
                    <a:pt x="6" y="184"/>
                  </a:lnTo>
                  <a:lnTo>
                    <a:pt x="5" y="184"/>
                  </a:lnTo>
                  <a:lnTo>
                    <a:pt x="4" y="185"/>
                  </a:lnTo>
                  <a:lnTo>
                    <a:pt x="4" y="185"/>
                  </a:lnTo>
                  <a:lnTo>
                    <a:pt x="4" y="186"/>
                  </a:lnTo>
                  <a:lnTo>
                    <a:pt x="2" y="187"/>
                  </a:lnTo>
                  <a:lnTo>
                    <a:pt x="1" y="189"/>
                  </a:lnTo>
                  <a:lnTo>
                    <a:pt x="1" y="190"/>
                  </a:lnTo>
                  <a:lnTo>
                    <a:pt x="1" y="190"/>
                  </a:lnTo>
                  <a:lnTo>
                    <a:pt x="0" y="192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0" y="195"/>
                  </a:lnTo>
                  <a:lnTo>
                    <a:pt x="0" y="676"/>
                  </a:lnTo>
                  <a:lnTo>
                    <a:pt x="0" y="681"/>
                  </a:lnTo>
                  <a:lnTo>
                    <a:pt x="2" y="685"/>
                  </a:lnTo>
                  <a:lnTo>
                    <a:pt x="5" y="688"/>
                  </a:lnTo>
                  <a:lnTo>
                    <a:pt x="9" y="690"/>
                  </a:lnTo>
                  <a:lnTo>
                    <a:pt x="460" y="901"/>
                  </a:lnTo>
                  <a:lnTo>
                    <a:pt x="460" y="901"/>
                  </a:lnTo>
                  <a:lnTo>
                    <a:pt x="461" y="901"/>
                  </a:lnTo>
                  <a:lnTo>
                    <a:pt x="463" y="902"/>
                  </a:lnTo>
                  <a:lnTo>
                    <a:pt x="466" y="902"/>
                  </a:lnTo>
                  <a:lnTo>
                    <a:pt x="469" y="902"/>
                  </a:lnTo>
                  <a:lnTo>
                    <a:pt x="472" y="901"/>
                  </a:lnTo>
                  <a:lnTo>
                    <a:pt x="472" y="901"/>
                  </a:lnTo>
                  <a:lnTo>
                    <a:pt x="472" y="900"/>
                  </a:lnTo>
                  <a:lnTo>
                    <a:pt x="893" y="690"/>
                  </a:lnTo>
                  <a:lnTo>
                    <a:pt x="897" y="688"/>
                  </a:lnTo>
                  <a:lnTo>
                    <a:pt x="900" y="685"/>
                  </a:lnTo>
                  <a:lnTo>
                    <a:pt x="901" y="681"/>
                  </a:lnTo>
                  <a:lnTo>
                    <a:pt x="902" y="676"/>
                  </a:lnTo>
                  <a:lnTo>
                    <a:pt x="902" y="195"/>
                  </a:lnTo>
                  <a:lnTo>
                    <a:pt x="902" y="195"/>
                  </a:lnTo>
                  <a:lnTo>
                    <a:pt x="902" y="1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98">
              <a:extLst>
                <a:ext uri="{FF2B5EF4-FFF2-40B4-BE49-F238E27FC236}">
                  <a16:creationId xmlns="" xmlns:a16="http://schemas.microsoft.com/office/drawing/2014/main" id="{0E8A3BCF-09F5-4ED7-A342-0CDD36C4DB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74113" y="2041525"/>
              <a:ext cx="77788" cy="100013"/>
            </a:xfrm>
            <a:custGeom>
              <a:avLst/>
              <a:gdLst>
                <a:gd name="T0" fmla="*/ 211 w 241"/>
                <a:gd name="T1" fmla="*/ 278 h 315"/>
                <a:gd name="T2" fmla="*/ 30 w 241"/>
                <a:gd name="T3" fmla="*/ 201 h 315"/>
                <a:gd name="T4" fmla="*/ 30 w 241"/>
                <a:gd name="T5" fmla="*/ 38 h 315"/>
                <a:gd name="T6" fmla="*/ 211 w 241"/>
                <a:gd name="T7" fmla="*/ 115 h 315"/>
                <a:gd name="T8" fmla="*/ 211 w 241"/>
                <a:gd name="T9" fmla="*/ 278 h 315"/>
                <a:gd name="T10" fmla="*/ 231 w 241"/>
                <a:gd name="T11" fmla="*/ 92 h 315"/>
                <a:gd name="T12" fmla="*/ 21 w 241"/>
                <a:gd name="T13" fmla="*/ 2 h 315"/>
                <a:gd name="T14" fmla="*/ 17 w 241"/>
                <a:gd name="T15" fmla="*/ 0 h 315"/>
                <a:gd name="T16" fmla="*/ 14 w 241"/>
                <a:gd name="T17" fmla="*/ 0 h 315"/>
                <a:gd name="T18" fmla="*/ 11 w 241"/>
                <a:gd name="T19" fmla="*/ 0 h 315"/>
                <a:gd name="T20" fmla="*/ 6 w 241"/>
                <a:gd name="T21" fmla="*/ 3 h 315"/>
                <a:gd name="T22" fmla="*/ 4 w 241"/>
                <a:gd name="T23" fmla="*/ 5 h 315"/>
                <a:gd name="T24" fmla="*/ 2 w 241"/>
                <a:gd name="T25" fmla="*/ 8 h 315"/>
                <a:gd name="T26" fmla="*/ 1 w 241"/>
                <a:gd name="T27" fmla="*/ 11 h 315"/>
                <a:gd name="T28" fmla="*/ 0 w 241"/>
                <a:gd name="T29" fmla="*/ 15 h 315"/>
                <a:gd name="T30" fmla="*/ 0 w 241"/>
                <a:gd name="T31" fmla="*/ 210 h 315"/>
                <a:gd name="T32" fmla="*/ 1 w 241"/>
                <a:gd name="T33" fmla="*/ 215 h 315"/>
                <a:gd name="T34" fmla="*/ 2 w 241"/>
                <a:gd name="T35" fmla="*/ 219 h 315"/>
                <a:gd name="T36" fmla="*/ 5 w 241"/>
                <a:gd name="T37" fmla="*/ 222 h 315"/>
                <a:gd name="T38" fmla="*/ 10 w 241"/>
                <a:gd name="T39" fmla="*/ 224 h 315"/>
                <a:gd name="T40" fmla="*/ 220 w 241"/>
                <a:gd name="T41" fmla="*/ 314 h 315"/>
                <a:gd name="T42" fmla="*/ 223 w 241"/>
                <a:gd name="T43" fmla="*/ 315 h 315"/>
                <a:gd name="T44" fmla="*/ 226 w 241"/>
                <a:gd name="T45" fmla="*/ 315 h 315"/>
                <a:gd name="T46" fmla="*/ 230 w 241"/>
                <a:gd name="T47" fmla="*/ 315 h 315"/>
                <a:gd name="T48" fmla="*/ 234 w 241"/>
                <a:gd name="T49" fmla="*/ 313 h 315"/>
                <a:gd name="T50" fmla="*/ 237 w 241"/>
                <a:gd name="T51" fmla="*/ 311 h 315"/>
                <a:gd name="T52" fmla="*/ 239 w 241"/>
                <a:gd name="T53" fmla="*/ 308 h 315"/>
                <a:gd name="T54" fmla="*/ 240 w 241"/>
                <a:gd name="T55" fmla="*/ 305 h 315"/>
                <a:gd name="T56" fmla="*/ 241 w 241"/>
                <a:gd name="T57" fmla="*/ 300 h 315"/>
                <a:gd name="T58" fmla="*/ 241 w 241"/>
                <a:gd name="T59" fmla="*/ 105 h 315"/>
                <a:gd name="T60" fmla="*/ 240 w 241"/>
                <a:gd name="T61" fmla="*/ 101 h 315"/>
                <a:gd name="T62" fmla="*/ 238 w 241"/>
                <a:gd name="T63" fmla="*/ 97 h 315"/>
                <a:gd name="T64" fmla="*/ 236 w 241"/>
                <a:gd name="T65" fmla="*/ 94 h 315"/>
                <a:gd name="T66" fmla="*/ 231 w 241"/>
                <a:gd name="T67" fmla="*/ 92 h 315"/>
                <a:gd name="T68" fmla="*/ 231 w 241"/>
                <a:gd name="T69" fmla="*/ 9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1" h="315">
                  <a:moveTo>
                    <a:pt x="211" y="278"/>
                  </a:moveTo>
                  <a:lnTo>
                    <a:pt x="30" y="201"/>
                  </a:lnTo>
                  <a:lnTo>
                    <a:pt x="30" y="38"/>
                  </a:lnTo>
                  <a:lnTo>
                    <a:pt x="211" y="115"/>
                  </a:lnTo>
                  <a:lnTo>
                    <a:pt x="211" y="278"/>
                  </a:lnTo>
                  <a:close/>
                  <a:moveTo>
                    <a:pt x="231" y="92"/>
                  </a:moveTo>
                  <a:lnTo>
                    <a:pt x="21" y="2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8"/>
                  </a:lnTo>
                  <a:lnTo>
                    <a:pt x="1" y="11"/>
                  </a:lnTo>
                  <a:lnTo>
                    <a:pt x="0" y="15"/>
                  </a:lnTo>
                  <a:lnTo>
                    <a:pt x="0" y="210"/>
                  </a:lnTo>
                  <a:lnTo>
                    <a:pt x="1" y="215"/>
                  </a:lnTo>
                  <a:lnTo>
                    <a:pt x="2" y="219"/>
                  </a:lnTo>
                  <a:lnTo>
                    <a:pt x="5" y="222"/>
                  </a:lnTo>
                  <a:lnTo>
                    <a:pt x="10" y="224"/>
                  </a:lnTo>
                  <a:lnTo>
                    <a:pt x="220" y="314"/>
                  </a:lnTo>
                  <a:lnTo>
                    <a:pt x="223" y="315"/>
                  </a:lnTo>
                  <a:lnTo>
                    <a:pt x="226" y="315"/>
                  </a:lnTo>
                  <a:lnTo>
                    <a:pt x="230" y="315"/>
                  </a:lnTo>
                  <a:lnTo>
                    <a:pt x="234" y="313"/>
                  </a:lnTo>
                  <a:lnTo>
                    <a:pt x="237" y="311"/>
                  </a:lnTo>
                  <a:lnTo>
                    <a:pt x="239" y="308"/>
                  </a:lnTo>
                  <a:lnTo>
                    <a:pt x="240" y="305"/>
                  </a:lnTo>
                  <a:lnTo>
                    <a:pt x="241" y="300"/>
                  </a:lnTo>
                  <a:lnTo>
                    <a:pt x="241" y="105"/>
                  </a:lnTo>
                  <a:lnTo>
                    <a:pt x="240" y="101"/>
                  </a:lnTo>
                  <a:lnTo>
                    <a:pt x="238" y="97"/>
                  </a:lnTo>
                  <a:lnTo>
                    <a:pt x="236" y="94"/>
                  </a:lnTo>
                  <a:lnTo>
                    <a:pt x="231" y="92"/>
                  </a:lnTo>
                  <a:lnTo>
                    <a:pt x="231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6" name="Group 225">
            <a:extLst>
              <a:ext uri="{FF2B5EF4-FFF2-40B4-BE49-F238E27FC236}">
                <a16:creationId xmlns="" xmlns:a16="http://schemas.microsoft.com/office/drawing/2014/main" id="{D6039C0A-8F62-44B8-B50A-432807772403}"/>
              </a:ext>
            </a:extLst>
          </p:cNvPr>
          <p:cNvGrpSpPr/>
          <p:nvPr/>
        </p:nvGrpSpPr>
        <p:grpSpPr>
          <a:xfrm flipH="1">
            <a:off x="10305143" y="2459173"/>
            <a:ext cx="493396" cy="427974"/>
            <a:chOff x="8736013" y="2536825"/>
            <a:chExt cx="287338" cy="249238"/>
          </a:xfrm>
          <a:solidFill>
            <a:schemeClr val="bg1"/>
          </a:solidFill>
        </p:grpSpPr>
        <p:sp>
          <p:nvSpPr>
            <p:cNvPr id="227" name="Freeform 219">
              <a:extLst>
                <a:ext uri="{FF2B5EF4-FFF2-40B4-BE49-F238E27FC236}">
                  <a16:creationId xmlns="" xmlns:a16="http://schemas.microsoft.com/office/drawing/2014/main" id="{93D0FFC4-B4AB-49F8-A2B4-008BF3D07D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93163" y="2632075"/>
              <a:ext cx="230188" cy="153988"/>
            </a:xfrm>
            <a:custGeom>
              <a:avLst/>
              <a:gdLst>
                <a:gd name="T0" fmla="*/ 621 w 722"/>
                <a:gd name="T1" fmla="*/ 368 h 481"/>
                <a:gd name="T2" fmla="*/ 588 w 722"/>
                <a:gd name="T3" fmla="*/ 338 h 481"/>
                <a:gd name="T4" fmla="*/ 557 w 722"/>
                <a:gd name="T5" fmla="*/ 331 h 481"/>
                <a:gd name="T6" fmla="*/ 525 w 722"/>
                <a:gd name="T7" fmla="*/ 338 h 481"/>
                <a:gd name="T8" fmla="*/ 493 w 722"/>
                <a:gd name="T9" fmla="*/ 368 h 481"/>
                <a:gd name="T10" fmla="*/ 451 w 722"/>
                <a:gd name="T11" fmla="*/ 391 h 481"/>
                <a:gd name="T12" fmla="*/ 557 w 722"/>
                <a:gd name="T13" fmla="*/ 451 h 481"/>
                <a:gd name="T14" fmla="*/ 520 w 722"/>
                <a:gd name="T15" fmla="*/ 432 h 481"/>
                <a:gd name="T16" fmla="*/ 515 w 722"/>
                <a:gd name="T17" fmla="*/ 389 h 481"/>
                <a:gd name="T18" fmla="*/ 547 w 722"/>
                <a:gd name="T19" fmla="*/ 362 h 481"/>
                <a:gd name="T20" fmla="*/ 588 w 722"/>
                <a:gd name="T21" fmla="*/ 374 h 481"/>
                <a:gd name="T22" fmla="*/ 601 w 722"/>
                <a:gd name="T23" fmla="*/ 415 h 481"/>
                <a:gd name="T24" fmla="*/ 574 w 722"/>
                <a:gd name="T25" fmla="*/ 448 h 481"/>
                <a:gd name="T26" fmla="*/ 451 w 722"/>
                <a:gd name="T27" fmla="*/ 241 h 481"/>
                <a:gd name="T28" fmla="*/ 163 w 722"/>
                <a:gd name="T29" fmla="*/ 448 h 481"/>
                <a:gd name="T30" fmla="*/ 136 w 722"/>
                <a:gd name="T31" fmla="*/ 415 h 481"/>
                <a:gd name="T32" fmla="*/ 149 w 722"/>
                <a:gd name="T33" fmla="*/ 374 h 481"/>
                <a:gd name="T34" fmla="*/ 190 w 722"/>
                <a:gd name="T35" fmla="*/ 362 h 481"/>
                <a:gd name="T36" fmla="*/ 222 w 722"/>
                <a:gd name="T37" fmla="*/ 389 h 481"/>
                <a:gd name="T38" fmla="*/ 219 w 722"/>
                <a:gd name="T39" fmla="*/ 431 h 481"/>
                <a:gd name="T40" fmla="*/ 181 w 722"/>
                <a:gd name="T41" fmla="*/ 451 h 481"/>
                <a:gd name="T42" fmla="*/ 565 w 722"/>
                <a:gd name="T43" fmla="*/ 94 h 481"/>
                <a:gd name="T44" fmla="*/ 451 w 722"/>
                <a:gd name="T45" fmla="*/ 15 h 481"/>
                <a:gd name="T46" fmla="*/ 445 w 722"/>
                <a:gd name="T47" fmla="*/ 3 h 481"/>
                <a:gd name="T48" fmla="*/ 253 w 722"/>
                <a:gd name="T49" fmla="*/ 0 h 481"/>
                <a:gd name="T50" fmla="*/ 242 w 722"/>
                <a:gd name="T51" fmla="*/ 10 h 481"/>
                <a:gd name="T52" fmla="*/ 243 w 722"/>
                <a:gd name="T53" fmla="*/ 24 h 481"/>
                <a:gd name="T54" fmla="*/ 256 w 722"/>
                <a:gd name="T55" fmla="*/ 30 h 481"/>
                <a:gd name="T56" fmla="*/ 251 w 722"/>
                <a:gd name="T57" fmla="*/ 378 h 481"/>
                <a:gd name="T58" fmla="*/ 224 w 722"/>
                <a:gd name="T59" fmla="*/ 344 h 481"/>
                <a:gd name="T60" fmla="*/ 194 w 722"/>
                <a:gd name="T61" fmla="*/ 332 h 481"/>
                <a:gd name="T62" fmla="*/ 161 w 722"/>
                <a:gd name="T63" fmla="*/ 334 h 481"/>
                <a:gd name="T64" fmla="*/ 133 w 722"/>
                <a:gd name="T65" fmla="*/ 349 h 481"/>
                <a:gd name="T66" fmla="*/ 108 w 722"/>
                <a:gd name="T67" fmla="*/ 385 h 481"/>
                <a:gd name="T68" fmla="*/ 29 w 722"/>
                <a:gd name="T69" fmla="*/ 115 h 481"/>
                <a:gd name="T70" fmla="*/ 18 w 722"/>
                <a:gd name="T71" fmla="*/ 106 h 481"/>
                <a:gd name="T72" fmla="*/ 4 w 722"/>
                <a:gd name="T73" fmla="*/ 110 h 481"/>
                <a:gd name="T74" fmla="*/ 0 w 722"/>
                <a:gd name="T75" fmla="*/ 406 h 481"/>
                <a:gd name="T76" fmla="*/ 6 w 722"/>
                <a:gd name="T77" fmla="*/ 419 h 481"/>
                <a:gd name="T78" fmla="*/ 108 w 722"/>
                <a:gd name="T79" fmla="*/ 428 h 481"/>
                <a:gd name="T80" fmla="*/ 133 w 722"/>
                <a:gd name="T81" fmla="*/ 464 h 481"/>
                <a:gd name="T82" fmla="*/ 161 w 722"/>
                <a:gd name="T83" fmla="*/ 479 h 481"/>
                <a:gd name="T84" fmla="*/ 194 w 722"/>
                <a:gd name="T85" fmla="*/ 480 h 481"/>
                <a:gd name="T86" fmla="*/ 224 w 722"/>
                <a:gd name="T87" fmla="*/ 468 h 481"/>
                <a:gd name="T88" fmla="*/ 251 w 722"/>
                <a:gd name="T89" fmla="*/ 434 h 481"/>
                <a:gd name="T90" fmla="*/ 484 w 722"/>
                <a:gd name="T91" fmla="*/ 428 h 481"/>
                <a:gd name="T92" fmla="*/ 509 w 722"/>
                <a:gd name="T93" fmla="*/ 464 h 481"/>
                <a:gd name="T94" fmla="*/ 537 w 722"/>
                <a:gd name="T95" fmla="*/ 479 h 481"/>
                <a:gd name="T96" fmla="*/ 570 w 722"/>
                <a:gd name="T97" fmla="*/ 480 h 481"/>
                <a:gd name="T98" fmla="*/ 599 w 722"/>
                <a:gd name="T99" fmla="*/ 468 h 481"/>
                <a:gd name="T100" fmla="*/ 627 w 722"/>
                <a:gd name="T101" fmla="*/ 434 h 481"/>
                <a:gd name="T102" fmla="*/ 712 w 722"/>
                <a:gd name="T103" fmla="*/ 420 h 481"/>
                <a:gd name="T104" fmla="*/ 722 w 722"/>
                <a:gd name="T105" fmla="*/ 410 h 481"/>
                <a:gd name="T106" fmla="*/ 721 w 722"/>
                <a:gd name="T107" fmla="*/ 25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22" h="481">
                  <a:moveTo>
                    <a:pt x="630" y="391"/>
                  </a:moveTo>
                  <a:lnTo>
                    <a:pt x="629" y="385"/>
                  </a:lnTo>
                  <a:lnTo>
                    <a:pt x="627" y="378"/>
                  </a:lnTo>
                  <a:lnTo>
                    <a:pt x="623" y="373"/>
                  </a:lnTo>
                  <a:lnTo>
                    <a:pt x="621" y="368"/>
                  </a:lnTo>
                  <a:lnTo>
                    <a:pt x="614" y="357"/>
                  </a:lnTo>
                  <a:lnTo>
                    <a:pt x="604" y="349"/>
                  </a:lnTo>
                  <a:lnTo>
                    <a:pt x="599" y="344"/>
                  </a:lnTo>
                  <a:lnTo>
                    <a:pt x="593" y="341"/>
                  </a:lnTo>
                  <a:lnTo>
                    <a:pt x="588" y="338"/>
                  </a:lnTo>
                  <a:lnTo>
                    <a:pt x="583" y="336"/>
                  </a:lnTo>
                  <a:lnTo>
                    <a:pt x="576" y="334"/>
                  </a:lnTo>
                  <a:lnTo>
                    <a:pt x="570" y="332"/>
                  </a:lnTo>
                  <a:lnTo>
                    <a:pt x="563" y="331"/>
                  </a:lnTo>
                  <a:lnTo>
                    <a:pt x="557" y="331"/>
                  </a:lnTo>
                  <a:lnTo>
                    <a:pt x="550" y="331"/>
                  </a:lnTo>
                  <a:lnTo>
                    <a:pt x="543" y="332"/>
                  </a:lnTo>
                  <a:lnTo>
                    <a:pt x="537" y="334"/>
                  </a:lnTo>
                  <a:lnTo>
                    <a:pt x="530" y="336"/>
                  </a:lnTo>
                  <a:lnTo>
                    <a:pt x="525" y="338"/>
                  </a:lnTo>
                  <a:lnTo>
                    <a:pt x="520" y="341"/>
                  </a:lnTo>
                  <a:lnTo>
                    <a:pt x="514" y="344"/>
                  </a:lnTo>
                  <a:lnTo>
                    <a:pt x="509" y="349"/>
                  </a:lnTo>
                  <a:lnTo>
                    <a:pt x="499" y="357"/>
                  </a:lnTo>
                  <a:lnTo>
                    <a:pt x="493" y="368"/>
                  </a:lnTo>
                  <a:lnTo>
                    <a:pt x="490" y="373"/>
                  </a:lnTo>
                  <a:lnTo>
                    <a:pt x="486" y="378"/>
                  </a:lnTo>
                  <a:lnTo>
                    <a:pt x="484" y="385"/>
                  </a:lnTo>
                  <a:lnTo>
                    <a:pt x="483" y="391"/>
                  </a:lnTo>
                  <a:lnTo>
                    <a:pt x="451" y="391"/>
                  </a:lnTo>
                  <a:lnTo>
                    <a:pt x="451" y="271"/>
                  </a:lnTo>
                  <a:lnTo>
                    <a:pt x="692" y="271"/>
                  </a:lnTo>
                  <a:lnTo>
                    <a:pt x="692" y="391"/>
                  </a:lnTo>
                  <a:lnTo>
                    <a:pt x="630" y="391"/>
                  </a:lnTo>
                  <a:close/>
                  <a:moveTo>
                    <a:pt x="557" y="451"/>
                  </a:moveTo>
                  <a:lnTo>
                    <a:pt x="547" y="450"/>
                  </a:lnTo>
                  <a:lnTo>
                    <a:pt x="539" y="448"/>
                  </a:lnTo>
                  <a:lnTo>
                    <a:pt x="531" y="444"/>
                  </a:lnTo>
                  <a:lnTo>
                    <a:pt x="525" y="438"/>
                  </a:lnTo>
                  <a:lnTo>
                    <a:pt x="520" y="432"/>
                  </a:lnTo>
                  <a:lnTo>
                    <a:pt x="515" y="423"/>
                  </a:lnTo>
                  <a:lnTo>
                    <a:pt x="512" y="415"/>
                  </a:lnTo>
                  <a:lnTo>
                    <a:pt x="511" y="406"/>
                  </a:lnTo>
                  <a:lnTo>
                    <a:pt x="512" y="398"/>
                  </a:lnTo>
                  <a:lnTo>
                    <a:pt x="515" y="389"/>
                  </a:lnTo>
                  <a:lnTo>
                    <a:pt x="520" y="381"/>
                  </a:lnTo>
                  <a:lnTo>
                    <a:pt x="525" y="374"/>
                  </a:lnTo>
                  <a:lnTo>
                    <a:pt x="531" y="369"/>
                  </a:lnTo>
                  <a:lnTo>
                    <a:pt x="539" y="365"/>
                  </a:lnTo>
                  <a:lnTo>
                    <a:pt x="547" y="362"/>
                  </a:lnTo>
                  <a:lnTo>
                    <a:pt x="557" y="361"/>
                  </a:lnTo>
                  <a:lnTo>
                    <a:pt x="566" y="362"/>
                  </a:lnTo>
                  <a:lnTo>
                    <a:pt x="574" y="365"/>
                  </a:lnTo>
                  <a:lnTo>
                    <a:pt x="582" y="369"/>
                  </a:lnTo>
                  <a:lnTo>
                    <a:pt x="588" y="374"/>
                  </a:lnTo>
                  <a:lnTo>
                    <a:pt x="593" y="381"/>
                  </a:lnTo>
                  <a:lnTo>
                    <a:pt x="598" y="389"/>
                  </a:lnTo>
                  <a:lnTo>
                    <a:pt x="601" y="398"/>
                  </a:lnTo>
                  <a:lnTo>
                    <a:pt x="602" y="406"/>
                  </a:lnTo>
                  <a:lnTo>
                    <a:pt x="601" y="415"/>
                  </a:lnTo>
                  <a:lnTo>
                    <a:pt x="598" y="423"/>
                  </a:lnTo>
                  <a:lnTo>
                    <a:pt x="593" y="431"/>
                  </a:lnTo>
                  <a:lnTo>
                    <a:pt x="588" y="438"/>
                  </a:lnTo>
                  <a:lnTo>
                    <a:pt x="582" y="444"/>
                  </a:lnTo>
                  <a:lnTo>
                    <a:pt x="574" y="448"/>
                  </a:lnTo>
                  <a:lnTo>
                    <a:pt x="566" y="450"/>
                  </a:lnTo>
                  <a:lnTo>
                    <a:pt x="557" y="451"/>
                  </a:lnTo>
                  <a:close/>
                  <a:moveTo>
                    <a:pt x="551" y="120"/>
                  </a:moveTo>
                  <a:lnTo>
                    <a:pt x="671" y="241"/>
                  </a:lnTo>
                  <a:lnTo>
                    <a:pt x="451" y="241"/>
                  </a:lnTo>
                  <a:lnTo>
                    <a:pt x="451" y="120"/>
                  </a:lnTo>
                  <a:lnTo>
                    <a:pt x="551" y="120"/>
                  </a:lnTo>
                  <a:close/>
                  <a:moveTo>
                    <a:pt x="181" y="451"/>
                  </a:moveTo>
                  <a:lnTo>
                    <a:pt x="171" y="450"/>
                  </a:lnTo>
                  <a:lnTo>
                    <a:pt x="163" y="448"/>
                  </a:lnTo>
                  <a:lnTo>
                    <a:pt x="155" y="444"/>
                  </a:lnTo>
                  <a:lnTo>
                    <a:pt x="149" y="438"/>
                  </a:lnTo>
                  <a:lnTo>
                    <a:pt x="144" y="432"/>
                  </a:lnTo>
                  <a:lnTo>
                    <a:pt x="139" y="423"/>
                  </a:lnTo>
                  <a:lnTo>
                    <a:pt x="136" y="415"/>
                  </a:lnTo>
                  <a:lnTo>
                    <a:pt x="136" y="406"/>
                  </a:lnTo>
                  <a:lnTo>
                    <a:pt x="136" y="398"/>
                  </a:lnTo>
                  <a:lnTo>
                    <a:pt x="139" y="389"/>
                  </a:lnTo>
                  <a:lnTo>
                    <a:pt x="144" y="381"/>
                  </a:lnTo>
                  <a:lnTo>
                    <a:pt x="149" y="374"/>
                  </a:lnTo>
                  <a:lnTo>
                    <a:pt x="155" y="369"/>
                  </a:lnTo>
                  <a:lnTo>
                    <a:pt x="163" y="365"/>
                  </a:lnTo>
                  <a:lnTo>
                    <a:pt x="171" y="362"/>
                  </a:lnTo>
                  <a:lnTo>
                    <a:pt x="181" y="361"/>
                  </a:lnTo>
                  <a:lnTo>
                    <a:pt x="190" y="362"/>
                  </a:lnTo>
                  <a:lnTo>
                    <a:pt x="198" y="365"/>
                  </a:lnTo>
                  <a:lnTo>
                    <a:pt x="206" y="369"/>
                  </a:lnTo>
                  <a:lnTo>
                    <a:pt x="212" y="374"/>
                  </a:lnTo>
                  <a:lnTo>
                    <a:pt x="219" y="381"/>
                  </a:lnTo>
                  <a:lnTo>
                    <a:pt x="222" y="389"/>
                  </a:lnTo>
                  <a:lnTo>
                    <a:pt x="225" y="398"/>
                  </a:lnTo>
                  <a:lnTo>
                    <a:pt x="226" y="406"/>
                  </a:lnTo>
                  <a:lnTo>
                    <a:pt x="225" y="415"/>
                  </a:lnTo>
                  <a:lnTo>
                    <a:pt x="222" y="423"/>
                  </a:lnTo>
                  <a:lnTo>
                    <a:pt x="219" y="431"/>
                  </a:lnTo>
                  <a:lnTo>
                    <a:pt x="212" y="438"/>
                  </a:lnTo>
                  <a:lnTo>
                    <a:pt x="206" y="444"/>
                  </a:lnTo>
                  <a:lnTo>
                    <a:pt x="198" y="448"/>
                  </a:lnTo>
                  <a:lnTo>
                    <a:pt x="190" y="450"/>
                  </a:lnTo>
                  <a:lnTo>
                    <a:pt x="181" y="451"/>
                  </a:lnTo>
                  <a:close/>
                  <a:moveTo>
                    <a:pt x="721" y="250"/>
                  </a:moveTo>
                  <a:lnTo>
                    <a:pt x="720" y="248"/>
                  </a:lnTo>
                  <a:lnTo>
                    <a:pt x="718" y="246"/>
                  </a:lnTo>
                  <a:lnTo>
                    <a:pt x="568" y="95"/>
                  </a:lnTo>
                  <a:lnTo>
                    <a:pt x="565" y="94"/>
                  </a:lnTo>
                  <a:lnTo>
                    <a:pt x="562" y="91"/>
                  </a:lnTo>
                  <a:lnTo>
                    <a:pt x="559" y="91"/>
                  </a:lnTo>
                  <a:lnTo>
                    <a:pt x="557" y="90"/>
                  </a:lnTo>
                  <a:lnTo>
                    <a:pt x="451" y="90"/>
                  </a:lnTo>
                  <a:lnTo>
                    <a:pt x="451" y="15"/>
                  </a:lnTo>
                  <a:lnTo>
                    <a:pt x="451" y="12"/>
                  </a:lnTo>
                  <a:lnTo>
                    <a:pt x="450" y="10"/>
                  </a:lnTo>
                  <a:lnTo>
                    <a:pt x="449" y="7"/>
                  </a:lnTo>
                  <a:lnTo>
                    <a:pt x="447" y="5"/>
                  </a:lnTo>
                  <a:lnTo>
                    <a:pt x="445" y="3"/>
                  </a:lnTo>
                  <a:lnTo>
                    <a:pt x="442" y="1"/>
                  </a:lnTo>
                  <a:lnTo>
                    <a:pt x="439" y="0"/>
                  </a:lnTo>
                  <a:lnTo>
                    <a:pt x="436" y="0"/>
                  </a:lnTo>
                  <a:lnTo>
                    <a:pt x="256" y="0"/>
                  </a:lnTo>
                  <a:lnTo>
                    <a:pt x="253" y="0"/>
                  </a:lnTo>
                  <a:lnTo>
                    <a:pt x="250" y="1"/>
                  </a:lnTo>
                  <a:lnTo>
                    <a:pt x="247" y="3"/>
                  </a:lnTo>
                  <a:lnTo>
                    <a:pt x="245" y="5"/>
                  </a:lnTo>
                  <a:lnTo>
                    <a:pt x="243" y="7"/>
                  </a:lnTo>
                  <a:lnTo>
                    <a:pt x="242" y="10"/>
                  </a:lnTo>
                  <a:lnTo>
                    <a:pt x="241" y="12"/>
                  </a:lnTo>
                  <a:lnTo>
                    <a:pt x="241" y="15"/>
                  </a:lnTo>
                  <a:lnTo>
                    <a:pt x="241" y="19"/>
                  </a:lnTo>
                  <a:lnTo>
                    <a:pt x="242" y="22"/>
                  </a:lnTo>
                  <a:lnTo>
                    <a:pt x="243" y="24"/>
                  </a:lnTo>
                  <a:lnTo>
                    <a:pt x="245" y="26"/>
                  </a:lnTo>
                  <a:lnTo>
                    <a:pt x="247" y="28"/>
                  </a:lnTo>
                  <a:lnTo>
                    <a:pt x="250" y="29"/>
                  </a:lnTo>
                  <a:lnTo>
                    <a:pt x="253" y="30"/>
                  </a:lnTo>
                  <a:lnTo>
                    <a:pt x="256" y="30"/>
                  </a:lnTo>
                  <a:lnTo>
                    <a:pt x="421" y="30"/>
                  </a:lnTo>
                  <a:lnTo>
                    <a:pt x="421" y="391"/>
                  </a:lnTo>
                  <a:lnTo>
                    <a:pt x="254" y="391"/>
                  </a:lnTo>
                  <a:lnTo>
                    <a:pt x="253" y="385"/>
                  </a:lnTo>
                  <a:lnTo>
                    <a:pt x="251" y="378"/>
                  </a:lnTo>
                  <a:lnTo>
                    <a:pt x="249" y="373"/>
                  </a:lnTo>
                  <a:lnTo>
                    <a:pt x="245" y="368"/>
                  </a:lnTo>
                  <a:lnTo>
                    <a:pt x="238" y="357"/>
                  </a:lnTo>
                  <a:lnTo>
                    <a:pt x="228" y="349"/>
                  </a:lnTo>
                  <a:lnTo>
                    <a:pt x="224" y="344"/>
                  </a:lnTo>
                  <a:lnTo>
                    <a:pt x="219" y="341"/>
                  </a:lnTo>
                  <a:lnTo>
                    <a:pt x="212" y="338"/>
                  </a:lnTo>
                  <a:lnTo>
                    <a:pt x="207" y="336"/>
                  </a:lnTo>
                  <a:lnTo>
                    <a:pt x="200" y="334"/>
                  </a:lnTo>
                  <a:lnTo>
                    <a:pt x="194" y="332"/>
                  </a:lnTo>
                  <a:lnTo>
                    <a:pt x="187" y="331"/>
                  </a:lnTo>
                  <a:lnTo>
                    <a:pt x="181" y="331"/>
                  </a:lnTo>
                  <a:lnTo>
                    <a:pt x="174" y="331"/>
                  </a:lnTo>
                  <a:lnTo>
                    <a:pt x="167" y="332"/>
                  </a:lnTo>
                  <a:lnTo>
                    <a:pt x="161" y="334"/>
                  </a:lnTo>
                  <a:lnTo>
                    <a:pt x="155" y="336"/>
                  </a:lnTo>
                  <a:lnTo>
                    <a:pt x="149" y="338"/>
                  </a:lnTo>
                  <a:lnTo>
                    <a:pt x="144" y="341"/>
                  </a:lnTo>
                  <a:lnTo>
                    <a:pt x="138" y="344"/>
                  </a:lnTo>
                  <a:lnTo>
                    <a:pt x="133" y="349"/>
                  </a:lnTo>
                  <a:lnTo>
                    <a:pt x="124" y="357"/>
                  </a:lnTo>
                  <a:lnTo>
                    <a:pt x="117" y="368"/>
                  </a:lnTo>
                  <a:lnTo>
                    <a:pt x="114" y="373"/>
                  </a:lnTo>
                  <a:lnTo>
                    <a:pt x="110" y="378"/>
                  </a:lnTo>
                  <a:lnTo>
                    <a:pt x="108" y="385"/>
                  </a:lnTo>
                  <a:lnTo>
                    <a:pt x="107" y="391"/>
                  </a:lnTo>
                  <a:lnTo>
                    <a:pt x="30" y="391"/>
                  </a:lnTo>
                  <a:lnTo>
                    <a:pt x="30" y="120"/>
                  </a:lnTo>
                  <a:lnTo>
                    <a:pt x="30" y="117"/>
                  </a:lnTo>
                  <a:lnTo>
                    <a:pt x="29" y="115"/>
                  </a:lnTo>
                  <a:lnTo>
                    <a:pt x="28" y="112"/>
                  </a:lnTo>
                  <a:lnTo>
                    <a:pt x="26" y="110"/>
                  </a:lnTo>
                  <a:lnTo>
                    <a:pt x="24" y="109"/>
                  </a:lnTo>
                  <a:lnTo>
                    <a:pt x="21" y="106"/>
                  </a:lnTo>
                  <a:lnTo>
                    <a:pt x="18" y="106"/>
                  </a:lnTo>
                  <a:lnTo>
                    <a:pt x="15" y="105"/>
                  </a:lnTo>
                  <a:lnTo>
                    <a:pt x="12" y="106"/>
                  </a:lnTo>
                  <a:lnTo>
                    <a:pt x="10" y="106"/>
                  </a:lnTo>
                  <a:lnTo>
                    <a:pt x="6" y="109"/>
                  </a:lnTo>
                  <a:lnTo>
                    <a:pt x="4" y="110"/>
                  </a:lnTo>
                  <a:lnTo>
                    <a:pt x="3" y="112"/>
                  </a:lnTo>
                  <a:lnTo>
                    <a:pt x="1" y="115"/>
                  </a:lnTo>
                  <a:lnTo>
                    <a:pt x="1" y="117"/>
                  </a:lnTo>
                  <a:lnTo>
                    <a:pt x="0" y="120"/>
                  </a:lnTo>
                  <a:lnTo>
                    <a:pt x="0" y="406"/>
                  </a:lnTo>
                  <a:lnTo>
                    <a:pt x="1" y="410"/>
                  </a:lnTo>
                  <a:lnTo>
                    <a:pt x="1" y="412"/>
                  </a:lnTo>
                  <a:lnTo>
                    <a:pt x="3" y="415"/>
                  </a:lnTo>
                  <a:lnTo>
                    <a:pt x="4" y="417"/>
                  </a:lnTo>
                  <a:lnTo>
                    <a:pt x="6" y="419"/>
                  </a:lnTo>
                  <a:lnTo>
                    <a:pt x="10" y="420"/>
                  </a:lnTo>
                  <a:lnTo>
                    <a:pt x="12" y="421"/>
                  </a:lnTo>
                  <a:lnTo>
                    <a:pt x="15" y="421"/>
                  </a:lnTo>
                  <a:lnTo>
                    <a:pt x="107" y="421"/>
                  </a:lnTo>
                  <a:lnTo>
                    <a:pt x="108" y="428"/>
                  </a:lnTo>
                  <a:lnTo>
                    <a:pt x="110" y="434"/>
                  </a:lnTo>
                  <a:lnTo>
                    <a:pt x="114" y="440"/>
                  </a:lnTo>
                  <a:lnTo>
                    <a:pt x="117" y="445"/>
                  </a:lnTo>
                  <a:lnTo>
                    <a:pt x="124" y="456"/>
                  </a:lnTo>
                  <a:lnTo>
                    <a:pt x="133" y="464"/>
                  </a:lnTo>
                  <a:lnTo>
                    <a:pt x="138" y="468"/>
                  </a:lnTo>
                  <a:lnTo>
                    <a:pt x="144" y="472"/>
                  </a:lnTo>
                  <a:lnTo>
                    <a:pt x="149" y="475"/>
                  </a:lnTo>
                  <a:lnTo>
                    <a:pt x="155" y="477"/>
                  </a:lnTo>
                  <a:lnTo>
                    <a:pt x="161" y="479"/>
                  </a:lnTo>
                  <a:lnTo>
                    <a:pt x="167" y="480"/>
                  </a:lnTo>
                  <a:lnTo>
                    <a:pt x="174" y="481"/>
                  </a:lnTo>
                  <a:lnTo>
                    <a:pt x="181" y="481"/>
                  </a:lnTo>
                  <a:lnTo>
                    <a:pt x="187" y="481"/>
                  </a:lnTo>
                  <a:lnTo>
                    <a:pt x="194" y="480"/>
                  </a:lnTo>
                  <a:lnTo>
                    <a:pt x="200" y="479"/>
                  </a:lnTo>
                  <a:lnTo>
                    <a:pt x="207" y="477"/>
                  </a:lnTo>
                  <a:lnTo>
                    <a:pt x="212" y="475"/>
                  </a:lnTo>
                  <a:lnTo>
                    <a:pt x="219" y="472"/>
                  </a:lnTo>
                  <a:lnTo>
                    <a:pt x="224" y="468"/>
                  </a:lnTo>
                  <a:lnTo>
                    <a:pt x="228" y="464"/>
                  </a:lnTo>
                  <a:lnTo>
                    <a:pt x="238" y="456"/>
                  </a:lnTo>
                  <a:lnTo>
                    <a:pt x="245" y="445"/>
                  </a:lnTo>
                  <a:lnTo>
                    <a:pt x="249" y="440"/>
                  </a:lnTo>
                  <a:lnTo>
                    <a:pt x="251" y="434"/>
                  </a:lnTo>
                  <a:lnTo>
                    <a:pt x="253" y="428"/>
                  </a:lnTo>
                  <a:lnTo>
                    <a:pt x="254" y="421"/>
                  </a:lnTo>
                  <a:lnTo>
                    <a:pt x="436" y="421"/>
                  </a:lnTo>
                  <a:lnTo>
                    <a:pt x="483" y="421"/>
                  </a:lnTo>
                  <a:lnTo>
                    <a:pt x="484" y="428"/>
                  </a:lnTo>
                  <a:lnTo>
                    <a:pt x="486" y="434"/>
                  </a:lnTo>
                  <a:lnTo>
                    <a:pt x="490" y="440"/>
                  </a:lnTo>
                  <a:lnTo>
                    <a:pt x="493" y="445"/>
                  </a:lnTo>
                  <a:lnTo>
                    <a:pt x="499" y="456"/>
                  </a:lnTo>
                  <a:lnTo>
                    <a:pt x="509" y="464"/>
                  </a:lnTo>
                  <a:lnTo>
                    <a:pt x="514" y="468"/>
                  </a:lnTo>
                  <a:lnTo>
                    <a:pt x="520" y="472"/>
                  </a:lnTo>
                  <a:lnTo>
                    <a:pt x="525" y="475"/>
                  </a:lnTo>
                  <a:lnTo>
                    <a:pt x="530" y="477"/>
                  </a:lnTo>
                  <a:lnTo>
                    <a:pt x="537" y="479"/>
                  </a:lnTo>
                  <a:lnTo>
                    <a:pt x="543" y="480"/>
                  </a:lnTo>
                  <a:lnTo>
                    <a:pt x="550" y="481"/>
                  </a:lnTo>
                  <a:lnTo>
                    <a:pt x="557" y="481"/>
                  </a:lnTo>
                  <a:lnTo>
                    <a:pt x="563" y="481"/>
                  </a:lnTo>
                  <a:lnTo>
                    <a:pt x="570" y="480"/>
                  </a:lnTo>
                  <a:lnTo>
                    <a:pt x="576" y="479"/>
                  </a:lnTo>
                  <a:lnTo>
                    <a:pt x="583" y="477"/>
                  </a:lnTo>
                  <a:lnTo>
                    <a:pt x="588" y="475"/>
                  </a:lnTo>
                  <a:lnTo>
                    <a:pt x="593" y="472"/>
                  </a:lnTo>
                  <a:lnTo>
                    <a:pt x="599" y="468"/>
                  </a:lnTo>
                  <a:lnTo>
                    <a:pt x="604" y="464"/>
                  </a:lnTo>
                  <a:lnTo>
                    <a:pt x="614" y="456"/>
                  </a:lnTo>
                  <a:lnTo>
                    <a:pt x="621" y="445"/>
                  </a:lnTo>
                  <a:lnTo>
                    <a:pt x="623" y="440"/>
                  </a:lnTo>
                  <a:lnTo>
                    <a:pt x="627" y="434"/>
                  </a:lnTo>
                  <a:lnTo>
                    <a:pt x="629" y="428"/>
                  </a:lnTo>
                  <a:lnTo>
                    <a:pt x="630" y="421"/>
                  </a:lnTo>
                  <a:lnTo>
                    <a:pt x="707" y="421"/>
                  </a:lnTo>
                  <a:lnTo>
                    <a:pt x="710" y="421"/>
                  </a:lnTo>
                  <a:lnTo>
                    <a:pt x="712" y="420"/>
                  </a:lnTo>
                  <a:lnTo>
                    <a:pt x="716" y="419"/>
                  </a:lnTo>
                  <a:lnTo>
                    <a:pt x="718" y="417"/>
                  </a:lnTo>
                  <a:lnTo>
                    <a:pt x="720" y="415"/>
                  </a:lnTo>
                  <a:lnTo>
                    <a:pt x="721" y="412"/>
                  </a:lnTo>
                  <a:lnTo>
                    <a:pt x="722" y="410"/>
                  </a:lnTo>
                  <a:lnTo>
                    <a:pt x="722" y="406"/>
                  </a:lnTo>
                  <a:lnTo>
                    <a:pt x="722" y="256"/>
                  </a:lnTo>
                  <a:lnTo>
                    <a:pt x="722" y="253"/>
                  </a:lnTo>
                  <a:lnTo>
                    <a:pt x="721" y="250"/>
                  </a:lnTo>
                  <a:lnTo>
                    <a:pt x="721" y="2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220">
              <a:extLst>
                <a:ext uri="{FF2B5EF4-FFF2-40B4-BE49-F238E27FC236}">
                  <a16:creationId xmlns="" xmlns:a16="http://schemas.microsoft.com/office/drawing/2014/main" id="{7DBE9A51-7EED-42DB-9FD9-3FC183AE4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3163" y="2565400"/>
              <a:ext cx="28575" cy="38100"/>
            </a:xfrm>
            <a:custGeom>
              <a:avLst/>
              <a:gdLst>
                <a:gd name="T0" fmla="*/ 15 w 90"/>
                <a:gd name="T1" fmla="*/ 120 h 120"/>
                <a:gd name="T2" fmla="*/ 75 w 90"/>
                <a:gd name="T3" fmla="*/ 120 h 120"/>
                <a:gd name="T4" fmla="*/ 78 w 90"/>
                <a:gd name="T5" fmla="*/ 120 h 120"/>
                <a:gd name="T6" fmla="*/ 81 w 90"/>
                <a:gd name="T7" fmla="*/ 119 h 120"/>
                <a:gd name="T8" fmla="*/ 84 w 90"/>
                <a:gd name="T9" fmla="*/ 117 h 120"/>
                <a:gd name="T10" fmla="*/ 86 w 90"/>
                <a:gd name="T11" fmla="*/ 116 h 120"/>
                <a:gd name="T12" fmla="*/ 88 w 90"/>
                <a:gd name="T13" fmla="*/ 114 h 120"/>
                <a:gd name="T14" fmla="*/ 89 w 90"/>
                <a:gd name="T15" fmla="*/ 111 h 120"/>
                <a:gd name="T16" fmla="*/ 90 w 90"/>
                <a:gd name="T17" fmla="*/ 109 h 120"/>
                <a:gd name="T18" fmla="*/ 90 w 90"/>
                <a:gd name="T19" fmla="*/ 105 h 120"/>
                <a:gd name="T20" fmla="*/ 90 w 90"/>
                <a:gd name="T21" fmla="*/ 102 h 120"/>
                <a:gd name="T22" fmla="*/ 89 w 90"/>
                <a:gd name="T23" fmla="*/ 99 h 120"/>
                <a:gd name="T24" fmla="*/ 88 w 90"/>
                <a:gd name="T25" fmla="*/ 97 h 120"/>
                <a:gd name="T26" fmla="*/ 86 w 90"/>
                <a:gd name="T27" fmla="*/ 95 h 120"/>
                <a:gd name="T28" fmla="*/ 84 w 90"/>
                <a:gd name="T29" fmla="*/ 93 h 120"/>
                <a:gd name="T30" fmla="*/ 81 w 90"/>
                <a:gd name="T31" fmla="*/ 91 h 120"/>
                <a:gd name="T32" fmla="*/ 78 w 90"/>
                <a:gd name="T33" fmla="*/ 90 h 120"/>
                <a:gd name="T34" fmla="*/ 75 w 90"/>
                <a:gd name="T35" fmla="*/ 90 h 120"/>
                <a:gd name="T36" fmla="*/ 30 w 90"/>
                <a:gd name="T37" fmla="*/ 90 h 120"/>
                <a:gd name="T38" fmla="*/ 30 w 90"/>
                <a:gd name="T39" fmla="*/ 15 h 120"/>
                <a:gd name="T40" fmla="*/ 30 w 90"/>
                <a:gd name="T41" fmla="*/ 12 h 120"/>
                <a:gd name="T42" fmla="*/ 29 w 90"/>
                <a:gd name="T43" fmla="*/ 9 h 120"/>
                <a:gd name="T44" fmla="*/ 28 w 90"/>
                <a:gd name="T45" fmla="*/ 7 h 120"/>
                <a:gd name="T46" fmla="*/ 26 w 90"/>
                <a:gd name="T47" fmla="*/ 5 h 120"/>
                <a:gd name="T48" fmla="*/ 24 w 90"/>
                <a:gd name="T49" fmla="*/ 3 h 120"/>
                <a:gd name="T50" fmla="*/ 21 w 90"/>
                <a:gd name="T51" fmla="*/ 1 h 120"/>
                <a:gd name="T52" fmla="*/ 18 w 90"/>
                <a:gd name="T53" fmla="*/ 0 h 120"/>
                <a:gd name="T54" fmla="*/ 15 w 90"/>
                <a:gd name="T55" fmla="*/ 0 h 120"/>
                <a:gd name="T56" fmla="*/ 12 w 90"/>
                <a:gd name="T57" fmla="*/ 0 h 120"/>
                <a:gd name="T58" fmla="*/ 10 w 90"/>
                <a:gd name="T59" fmla="*/ 1 h 120"/>
                <a:gd name="T60" fmla="*/ 6 w 90"/>
                <a:gd name="T61" fmla="*/ 3 h 120"/>
                <a:gd name="T62" fmla="*/ 4 w 90"/>
                <a:gd name="T63" fmla="*/ 5 h 120"/>
                <a:gd name="T64" fmla="*/ 3 w 90"/>
                <a:gd name="T65" fmla="*/ 7 h 120"/>
                <a:gd name="T66" fmla="*/ 1 w 90"/>
                <a:gd name="T67" fmla="*/ 9 h 120"/>
                <a:gd name="T68" fmla="*/ 1 w 90"/>
                <a:gd name="T69" fmla="*/ 12 h 120"/>
                <a:gd name="T70" fmla="*/ 0 w 90"/>
                <a:gd name="T71" fmla="*/ 15 h 120"/>
                <a:gd name="T72" fmla="*/ 0 w 90"/>
                <a:gd name="T73" fmla="*/ 105 h 120"/>
                <a:gd name="T74" fmla="*/ 1 w 90"/>
                <a:gd name="T75" fmla="*/ 109 h 120"/>
                <a:gd name="T76" fmla="*/ 1 w 90"/>
                <a:gd name="T77" fmla="*/ 111 h 120"/>
                <a:gd name="T78" fmla="*/ 3 w 90"/>
                <a:gd name="T79" fmla="*/ 114 h 120"/>
                <a:gd name="T80" fmla="*/ 4 w 90"/>
                <a:gd name="T81" fmla="*/ 116 h 120"/>
                <a:gd name="T82" fmla="*/ 6 w 90"/>
                <a:gd name="T83" fmla="*/ 117 h 120"/>
                <a:gd name="T84" fmla="*/ 10 w 90"/>
                <a:gd name="T85" fmla="*/ 119 h 120"/>
                <a:gd name="T86" fmla="*/ 13 w 90"/>
                <a:gd name="T87" fmla="*/ 120 h 120"/>
                <a:gd name="T88" fmla="*/ 15 w 90"/>
                <a:gd name="T8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0" h="120">
                  <a:moveTo>
                    <a:pt x="15" y="120"/>
                  </a:moveTo>
                  <a:lnTo>
                    <a:pt x="75" y="120"/>
                  </a:lnTo>
                  <a:lnTo>
                    <a:pt x="78" y="120"/>
                  </a:lnTo>
                  <a:lnTo>
                    <a:pt x="81" y="119"/>
                  </a:lnTo>
                  <a:lnTo>
                    <a:pt x="84" y="117"/>
                  </a:lnTo>
                  <a:lnTo>
                    <a:pt x="86" y="116"/>
                  </a:lnTo>
                  <a:lnTo>
                    <a:pt x="88" y="114"/>
                  </a:lnTo>
                  <a:lnTo>
                    <a:pt x="89" y="111"/>
                  </a:lnTo>
                  <a:lnTo>
                    <a:pt x="90" y="109"/>
                  </a:lnTo>
                  <a:lnTo>
                    <a:pt x="90" y="105"/>
                  </a:lnTo>
                  <a:lnTo>
                    <a:pt x="90" y="102"/>
                  </a:lnTo>
                  <a:lnTo>
                    <a:pt x="89" y="99"/>
                  </a:lnTo>
                  <a:lnTo>
                    <a:pt x="88" y="97"/>
                  </a:lnTo>
                  <a:lnTo>
                    <a:pt x="86" y="95"/>
                  </a:lnTo>
                  <a:lnTo>
                    <a:pt x="84" y="93"/>
                  </a:lnTo>
                  <a:lnTo>
                    <a:pt x="81" y="91"/>
                  </a:lnTo>
                  <a:lnTo>
                    <a:pt x="78" y="90"/>
                  </a:lnTo>
                  <a:lnTo>
                    <a:pt x="75" y="90"/>
                  </a:lnTo>
                  <a:lnTo>
                    <a:pt x="30" y="90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3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05"/>
                  </a:lnTo>
                  <a:lnTo>
                    <a:pt x="1" y="109"/>
                  </a:lnTo>
                  <a:lnTo>
                    <a:pt x="1" y="111"/>
                  </a:lnTo>
                  <a:lnTo>
                    <a:pt x="3" y="114"/>
                  </a:lnTo>
                  <a:lnTo>
                    <a:pt x="4" y="116"/>
                  </a:lnTo>
                  <a:lnTo>
                    <a:pt x="6" y="117"/>
                  </a:lnTo>
                  <a:lnTo>
                    <a:pt x="10" y="119"/>
                  </a:lnTo>
                  <a:lnTo>
                    <a:pt x="13" y="120"/>
                  </a:lnTo>
                  <a:lnTo>
                    <a:pt x="15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221">
              <a:extLst>
                <a:ext uri="{FF2B5EF4-FFF2-40B4-BE49-F238E27FC236}">
                  <a16:creationId xmlns="" xmlns:a16="http://schemas.microsoft.com/office/drawing/2014/main" id="{DE71320E-93E4-4A32-A7DD-7EB48F33A8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6013" y="2698750"/>
              <a:ext cx="47625" cy="11113"/>
            </a:xfrm>
            <a:custGeom>
              <a:avLst/>
              <a:gdLst>
                <a:gd name="T0" fmla="*/ 135 w 150"/>
                <a:gd name="T1" fmla="*/ 0 h 31"/>
                <a:gd name="T2" fmla="*/ 15 w 150"/>
                <a:gd name="T3" fmla="*/ 0 h 31"/>
                <a:gd name="T4" fmla="*/ 12 w 150"/>
                <a:gd name="T5" fmla="*/ 1 h 31"/>
                <a:gd name="T6" fmla="*/ 9 w 150"/>
                <a:gd name="T7" fmla="*/ 2 h 31"/>
                <a:gd name="T8" fmla="*/ 6 w 150"/>
                <a:gd name="T9" fmla="*/ 4 h 31"/>
                <a:gd name="T10" fmla="*/ 4 w 150"/>
                <a:gd name="T11" fmla="*/ 6 h 31"/>
                <a:gd name="T12" fmla="*/ 2 w 150"/>
                <a:gd name="T13" fmla="*/ 8 h 31"/>
                <a:gd name="T14" fmla="*/ 1 w 150"/>
                <a:gd name="T15" fmla="*/ 10 h 31"/>
                <a:gd name="T16" fmla="*/ 0 w 150"/>
                <a:gd name="T17" fmla="*/ 13 h 31"/>
                <a:gd name="T18" fmla="*/ 0 w 150"/>
                <a:gd name="T19" fmla="*/ 16 h 31"/>
                <a:gd name="T20" fmla="*/ 0 w 150"/>
                <a:gd name="T21" fmla="*/ 19 h 31"/>
                <a:gd name="T22" fmla="*/ 1 w 150"/>
                <a:gd name="T23" fmla="*/ 22 h 31"/>
                <a:gd name="T24" fmla="*/ 2 w 150"/>
                <a:gd name="T25" fmla="*/ 24 h 31"/>
                <a:gd name="T26" fmla="*/ 4 w 150"/>
                <a:gd name="T27" fmla="*/ 26 h 31"/>
                <a:gd name="T28" fmla="*/ 6 w 150"/>
                <a:gd name="T29" fmla="*/ 28 h 31"/>
                <a:gd name="T30" fmla="*/ 9 w 150"/>
                <a:gd name="T31" fmla="*/ 29 h 31"/>
                <a:gd name="T32" fmla="*/ 12 w 150"/>
                <a:gd name="T33" fmla="*/ 30 h 31"/>
                <a:gd name="T34" fmla="*/ 15 w 150"/>
                <a:gd name="T35" fmla="*/ 31 h 31"/>
                <a:gd name="T36" fmla="*/ 135 w 150"/>
                <a:gd name="T37" fmla="*/ 31 h 31"/>
                <a:gd name="T38" fmla="*/ 138 w 150"/>
                <a:gd name="T39" fmla="*/ 30 h 31"/>
                <a:gd name="T40" fmla="*/ 141 w 150"/>
                <a:gd name="T41" fmla="*/ 29 h 31"/>
                <a:gd name="T42" fmla="*/ 144 w 150"/>
                <a:gd name="T43" fmla="*/ 28 h 31"/>
                <a:gd name="T44" fmla="*/ 146 w 150"/>
                <a:gd name="T45" fmla="*/ 26 h 31"/>
                <a:gd name="T46" fmla="*/ 148 w 150"/>
                <a:gd name="T47" fmla="*/ 24 h 31"/>
                <a:gd name="T48" fmla="*/ 149 w 150"/>
                <a:gd name="T49" fmla="*/ 22 h 31"/>
                <a:gd name="T50" fmla="*/ 150 w 150"/>
                <a:gd name="T51" fmla="*/ 19 h 31"/>
                <a:gd name="T52" fmla="*/ 150 w 150"/>
                <a:gd name="T53" fmla="*/ 16 h 31"/>
                <a:gd name="T54" fmla="*/ 150 w 150"/>
                <a:gd name="T55" fmla="*/ 13 h 31"/>
                <a:gd name="T56" fmla="*/ 149 w 150"/>
                <a:gd name="T57" fmla="*/ 10 h 31"/>
                <a:gd name="T58" fmla="*/ 148 w 150"/>
                <a:gd name="T59" fmla="*/ 8 h 31"/>
                <a:gd name="T60" fmla="*/ 146 w 150"/>
                <a:gd name="T61" fmla="*/ 6 h 31"/>
                <a:gd name="T62" fmla="*/ 144 w 150"/>
                <a:gd name="T63" fmla="*/ 4 h 31"/>
                <a:gd name="T64" fmla="*/ 141 w 150"/>
                <a:gd name="T65" fmla="*/ 2 h 31"/>
                <a:gd name="T66" fmla="*/ 138 w 150"/>
                <a:gd name="T67" fmla="*/ 1 h 31"/>
                <a:gd name="T68" fmla="*/ 135 w 150"/>
                <a:gd name="T6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0" h="31">
                  <a:moveTo>
                    <a:pt x="135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9" y="2"/>
                  </a:lnTo>
                  <a:lnTo>
                    <a:pt x="6" y="4"/>
                  </a:lnTo>
                  <a:lnTo>
                    <a:pt x="4" y="6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1"/>
                  </a:lnTo>
                  <a:lnTo>
                    <a:pt x="135" y="31"/>
                  </a:lnTo>
                  <a:lnTo>
                    <a:pt x="138" y="30"/>
                  </a:lnTo>
                  <a:lnTo>
                    <a:pt x="141" y="29"/>
                  </a:lnTo>
                  <a:lnTo>
                    <a:pt x="144" y="28"/>
                  </a:lnTo>
                  <a:lnTo>
                    <a:pt x="146" y="26"/>
                  </a:lnTo>
                  <a:lnTo>
                    <a:pt x="148" y="24"/>
                  </a:lnTo>
                  <a:lnTo>
                    <a:pt x="149" y="22"/>
                  </a:lnTo>
                  <a:lnTo>
                    <a:pt x="150" y="19"/>
                  </a:lnTo>
                  <a:lnTo>
                    <a:pt x="150" y="16"/>
                  </a:lnTo>
                  <a:lnTo>
                    <a:pt x="150" y="13"/>
                  </a:lnTo>
                  <a:lnTo>
                    <a:pt x="149" y="10"/>
                  </a:lnTo>
                  <a:lnTo>
                    <a:pt x="148" y="8"/>
                  </a:lnTo>
                  <a:lnTo>
                    <a:pt x="146" y="6"/>
                  </a:lnTo>
                  <a:lnTo>
                    <a:pt x="144" y="4"/>
                  </a:lnTo>
                  <a:lnTo>
                    <a:pt x="141" y="2"/>
                  </a:lnTo>
                  <a:lnTo>
                    <a:pt x="138" y="1"/>
                  </a:lnTo>
                  <a:lnTo>
                    <a:pt x="1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222">
              <a:extLst>
                <a:ext uri="{FF2B5EF4-FFF2-40B4-BE49-F238E27FC236}">
                  <a16:creationId xmlns="" xmlns:a16="http://schemas.microsoft.com/office/drawing/2014/main" id="{03DE0F3E-A6AE-41CA-8C54-082E0384EE4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5063" y="2719388"/>
              <a:ext cx="28575" cy="9525"/>
            </a:xfrm>
            <a:custGeom>
              <a:avLst/>
              <a:gdLst>
                <a:gd name="T0" fmla="*/ 75 w 90"/>
                <a:gd name="T1" fmla="*/ 0 h 30"/>
                <a:gd name="T2" fmla="*/ 15 w 90"/>
                <a:gd name="T3" fmla="*/ 0 h 30"/>
                <a:gd name="T4" fmla="*/ 12 w 90"/>
                <a:gd name="T5" fmla="*/ 0 h 30"/>
                <a:gd name="T6" fmla="*/ 10 w 90"/>
                <a:gd name="T7" fmla="*/ 1 h 30"/>
                <a:gd name="T8" fmla="*/ 6 w 90"/>
                <a:gd name="T9" fmla="*/ 3 h 30"/>
                <a:gd name="T10" fmla="*/ 4 w 90"/>
                <a:gd name="T11" fmla="*/ 5 h 30"/>
                <a:gd name="T12" fmla="*/ 2 w 90"/>
                <a:gd name="T13" fmla="*/ 7 h 30"/>
                <a:gd name="T14" fmla="*/ 1 w 90"/>
                <a:gd name="T15" fmla="*/ 9 h 30"/>
                <a:gd name="T16" fmla="*/ 0 w 90"/>
                <a:gd name="T17" fmla="*/ 12 h 30"/>
                <a:gd name="T18" fmla="*/ 0 w 90"/>
                <a:gd name="T19" fmla="*/ 15 h 30"/>
                <a:gd name="T20" fmla="*/ 0 w 90"/>
                <a:gd name="T21" fmla="*/ 19 h 30"/>
                <a:gd name="T22" fmla="*/ 1 w 90"/>
                <a:gd name="T23" fmla="*/ 21 h 30"/>
                <a:gd name="T24" fmla="*/ 2 w 90"/>
                <a:gd name="T25" fmla="*/ 24 h 30"/>
                <a:gd name="T26" fmla="*/ 4 w 90"/>
                <a:gd name="T27" fmla="*/ 26 h 30"/>
                <a:gd name="T28" fmla="*/ 6 w 90"/>
                <a:gd name="T29" fmla="*/ 27 h 30"/>
                <a:gd name="T30" fmla="*/ 10 w 90"/>
                <a:gd name="T31" fmla="*/ 29 h 30"/>
                <a:gd name="T32" fmla="*/ 12 w 90"/>
                <a:gd name="T33" fmla="*/ 29 h 30"/>
                <a:gd name="T34" fmla="*/ 15 w 90"/>
                <a:gd name="T35" fmla="*/ 30 h 30"/>
                <a:gd name="T36" fmla="*/ 75 w 90"/>
                <a:gd name="T37" fmla="*/ 30 h 30"/>
                <a:gd name="T38" fmla="*/ 78 w 90"/>
                <a:gd name="T39" fmla="*/ 29 h 30"/>
                <a:gd name="T40" fmla="*/ 81 w 90"/>
                <a:gd name="T41" fmla="*/ 29 h 30"/>
                <a:gd name="T42" fmla="*/ 84 w 90"/>
                <a:gd name="T43" fmla="*/ 27 h 30"/>
                <a:gd name="T44" fmla="*/ 86 w 90"/>
                <a:gd name="T45" fmla="*/ 26 h 30"/>
                <a:gd name="T46" fmla="*/ 88 w 90"/>
                <a:gd name="T47" fmla="*/ 24 h 30"/>
                <a:gd name="T48" fmla="*/ 89 w 90"/>
                <a:gd name="T49" fmla="*/ 21 h 30"/>
                <a:gd name="T50" fmla="*/ 90 w 90"/>
                <a:gd name="T51" fmla="*/ 19 h 30"/>
                <a:gd name="T52" fmla="*/ 90 w 90"/>
                <a:gd name="T53" fmla="*/ 15 h 30"/>
                <a:gd name="T54" fmla="*/ 90 w 90"/>
                <a:gd name="T55" fmla="*/ 12 h 30"/>
                <a:gd name="T56" fmla="*/ 89 w 90"/>
                <a:gd name="T57" fmla="*/ 9 h 30"/>
                <a:gd name="T58" fmla="*/ 88 w 90"/>
                <a:gd name="T59" fmla="*/ 7 h 30"/>
                <a:gd name="T60" fmla="*/ 86 w 90"/>
                <a:gd name="T61" fmla="*/ 5 h 30"/>
                <a:gd name="T62" fmla="*/ 84 w 90"/>
                <a:gd name="T63" fmla="*/ 3 h 30"/>
                <a:gd name="T64" fmla="*/ 81 w 90"/>
                <a:gd name="T65" fmla="*/ 1 h 30"/>
                <a:gd name="T66" fmla="*/ 78 w 90"/>
                <a:gd name="T67" fmla="*/ 0 h 30"/>
                <a:gd name="T68" fmla="*/ 75 w 90"/>
                <a:gd name="T69" fmla="*/ 0 h 30"/>
                <a:gd name="T70" fmla="*/ 75 w 9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30">
                  <a:moveTo>
                    <a:pt x="7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75" y="30"/>
                  </a:lnTo>
                  <a:lnTo>
                    <a:pt x="78" y="29"/>
                  </a:lnTo>
                  <a:lnTo>
                    <a:pt x="81" y="29"/>
                  </a:lnTo>
                  <a:lnTo>
                    <a:pt x="84" y="27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89" y="21"/>
                  </a:lnTo>
                  <a:lnTo>
                    <a:pt x="90" y="19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3"/>
                  </a:lnTo>
                  <a:lnTo>
                    <a:pt x="81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223">
              <a:extLst>
                <a:ext uri="{FF2B5EF4-FFF2-40B4-BE49-F238E27FC236}">
                  <a16:creationId xmlns="" xmlns:a16="http://schemas.microsoft.com/office/drawing/2014/main" id="{D3F241D5-BF51-4270-827A-C862413014B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4588" y="2738438"/>
              <a:ext cx="19050" cy="9525"/>
            </a:xfrm>
            <a:custGeom>
              <a:avLst/>
              <a:gdLst>
                <a:gd name="T0" fmla="*/ 45 w 60"/>
                <a:gd name="T1" fmla="*/ 0 h 30"/>
                <a:gd name="T2" fmla="*/ 15 w 60"/>
                <a:gd name="T3" fmla="*/ 0 h 30"/>
                <a:gd name="T4" fmla="*/ 12 w 60"/>
                <a:gd name="T5" fmla="*/ 0 h 30"/>
                <a:gd name="T6" fmla="*/ 10 w 60"/>
                <a:gd name="T7" fmla="*/ 1 h 30"/>
                <a:gd name="T8" fmla="*/ 6 w 60"/>
                <a:gd name="T9" fmla="*/ 3 h 30"/>
                <a:gd name="T10" fmla="*/ 4 w 60"/>
                <a:gd name="T11" fmla="*/ 5 h 30"/>
                <a:gd name="T12" fmla="*/ 2 w 60"/>
                <a:gd name="T13" fmla="*/ 7 h 30"/>
                <a:gd name="T14" fmla="*/ 1 w 60"/>
                <a:gd name="T15" fmla="*/ 9 h 30"/>
                <a:gd name="T16" fmla="*/ 0 w 60"/>
                <a:gd name="T17" fmla="*/ 12 h 30"/>
                <a:gd name="T18" fmla="*/ 0 w 60"/>
                <a:gd name="T19" fmla="*/ 15 h 30"/>
                <a:gd name="T20" fmla="*/ 0 w 60"/>
                <a:gd name="T21" fmla="*/ 19 h 30"/>
                <a:gd name="T22" fmla="*/ 1 w 60"/>
                <a:gd name="T23" fmla="*/ 21 h 30"/>
                <a:gd name="T24" fmla="*/ 2 w 60"/>
                <a:gd name="T25" fmla="*/ 24 h 30"/>
                <a:gd name="T26" fmla="*/ 4 w 60"/>
                <a:gd name="T27" fmla="*/ 26 h 30"/>
                <a:gd name="T28" fmla="*/ 6 w 60"/>
                <a:gd name="T29" fmla="*/ 27 h 30"/>
                <a:gd name="T30" fmla="*/ 10 w 60"/>
                <a:gd name="T31" fmla="*/ 29 h 30"/>
                <a:gd name="T32" fmla="*/ 12 w 60"/>
                <a:gd name="T33" fmla="*/ 30 h 30"/>
                <a:gd name="T34" fmla="*/ 15 w 60"/>
                <a:gd name="T35" fmla="*/ 30 h 30"/>
                <a:gd name="T36" fmla="*/ 45 w 60"/>
                <a:gd name="T37" fmla="*/ 30 h 30"/>
                <a:gd name="T38" fmla="*/ 48 w 60"/>
                <a:gd name="T39" fmla="*/ 30 h 30"/>
                <a:gd name="T40" fmla="*/ 51 w 60"/>
                <a:gd name="T41" fmla="*/ 29 h 30"/>
                <a:gd name="T42" fmla="*/ 54 w 60"/>
                <a:gd name="T43" fmla="*/ 27 h 30"/>
                <a:gd name="T44" fmla="*/ 56 w 60"/>
                <a:gd name="T45" fmla="*/ 26 h 30"/>
                <a:gd name="T46" fmla="*/ 58 w 60"/>
                <a:gd name="T47" fmla="*/ 24 h 30"/>
                <a:gd name="T48" fmla="*/ 59 w 60"/>
                <a:gd name="T49" fmla="*/ 21 h 30"/>
                <a:gd name="T50" fmla="*/ 60 w 60"/>
                <a:gd name="T51" fmla="*/ 19 h 30"/>
                <a:gd name="T52" fmla="*/ 60 w 60"/>
                <a:gd name="T53" fmla="*/ 15 h 30"/>
                <a:gd name="T54" fmla="*/ 60 w 60"/>
                <a:gd name="T55" fmla="*/ 12 h 30"/>
                <a:gd name="T56" fmla="*/ 59 w 60"/>
                <a:gd name="T57" fmla="*/ 9 h 30"/>
                <a:gd name="T58" fmla="*/ 58 w 60"/>
                <a:gd name="T59" fmla="*/ 7 h 30"/>
                <a:gd name="T60" fmla="*/ 56 w 60"/>
                <a:gd name="T61" fmla="*/ 5 h 30"/>
                <a:gd name="T62" fmla="*/ 54 w 60"/>
                <a:gd name="T63" fmla="*/ 3 h 30"/>
                <a:gd name="T64" fmla="*/ 51 w 60"/>
                <a:gd name="T65" fmla="*/ 1 h 30"/>
                <a:gd name="T66" fmla="*/ 48 w 60"/>
                <a:gd name="T67" fmla="*/ 0 h 30"/>
                <a:gd name="T68" fmla="*/ 45 w 6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30">
                  <a:moveTo>
                    <a:pt x="4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5" y="30"/>
                  </a:lnTo>
                  <a:lnTo>
                    <a:pt x="48" y="30"/>
                  </a:lnTo>
                  <a:lnTo>
                    <a:pt x="51" y="29"/>
                  </a:lnTo>
                  <a:lnTo>
                    <a:pt x="54" y="27"/>
                  </a:lnTo>
                  <a:lnTo>
                    <a:pt x="56" y="26"/>
                  </a:lnTo>
                  <a:lnTo>
                    <a:pt x="58" y="24"/>
                  </a:lnTo>
                  <a:lnTo>
                    <a:pt x="59" y="21"/>
                  </a:lnTo>
                  <a:lnTo>
                    <a:pt x="60" y="19"/>
                  </a:lnTo>
                  <a:lnTo>
                    <a:pt x="60" y="15"/>
                  </a:lnTo>
                  <a:lnTo>
                    <a:pt x="60" y="12"/>
                  </a:lnTo>
                  <a:lnTo>
                    <a:pt x="59" y="9"/>
                  </a:lnTo>
                  <a:lnTo>
                    <a:pt x="58" y="7"/>
                  </a:lnTo>
                  <a:lnTo>
                    <a:pt x="56" y="5"/>
                  </a:lnTo>
                  <a:lnTo>
                    <a:pt x="54" y="3"/>
                  </a:lnTo>
                  <a:lnTo>
                    <a:pt x="51" y="1"/>
                  </a:lnTo>
                  <a:lnTo>
                    <a:pt x="48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224">
              <a:extLst>
                <a:ext uri="{FF2B5EF4-FFF2-40B4-BE49-F238E27FC236}">
                  <a16:creationId xmlns="" xmlns:a16="http://schemas.microsoft.com/office/drawing/2014/main" id="{130A4438-65F4-41B8-9A0A-DD14DB2F29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40775" y="2536825"/>
              <a:ext cx="115888" cy="114300"/>
            </a:xfrm>
            <a:custGeom>
              <a:avLst/>
              <a:gdLst>
                <a:gd name="T0" fmla="*/ 211 w 361"/>
                <a:gd name="T1" fmla="*/ 34 h 361"/>
                <a:gd name="T2" fmla="*/ 252 w 361"/>
                <a:gd name="T3" fmla="*/ 49 h 361"/>
                <a:gd name="T4" fmla="*/ 286 w 361"/>
                <a:gd name="T5" fmla="*/ 75 h 361"/>
                <a:gd name="T6" fmla="*/ 313 w 361"/>
                <a:gd name="T7" fmla="*/ 110 h 361"/>
                <a:gd name="T8" fmla="*/ 328 w 361"/>
                <a:gd name="T9" fmla="*/ 151 h 361"/>
                <a:gd name="T10" fmla="*/ 330 w 361"/>
                <a:gd name="T11" fmla="*/ 196 h 361"/>
                <a:gd name="T12" fmla="*/ 319 w 361"/>
                <a:gd name="T13" fmla="*/ 239 h 361"/>
                <a:gd name="T14" fmla="*/ 297 w 361"/>
                <a:gd name="T15" fmla="*/ 277 h 361"/>
                <a:gd name="T16" fmla="*/ 265 w 361"/>
                <a:gd name="T17" fmla="*/ 306 h 361"/>
                <a:gd name="T18" fmla="*/ 225 w 361"/>
                <a:gd name="T19" fmla="*/ 325 h 361"/>
                <a:gd name="T20" fmla="*/ 180 w 361"/>
                <a:gd name="T21" fmla="*/ 331 h 361"/>
                <a:gd name="T22" fmla="*/ 136 w 361"/>
                <a:gd name="T23" fmla="*/ 325 h 361"/>
                <a:gd name="T24" fmla="*/ 96 w 361"/>
                <a:gd name="T25" fmla="*/ 306 h 361"/>
                <a:gd name="T26" fmla="*/ 64 w 361"/>
                <a:gd name="T27" fmla="*/ 277 h 361"/>
                <a:gd name="T28" fmla="*/ 42 w 361"/>
                <a:gd name="T29" fmla="*/ 239 h 361"/>
                <a:gd name="T30" fmla="*/ 31 w 361"/>
                <a:gd name="T31" fmla="*/ 196 h 361"/>
                <a:gd name="T32" fmla="*/ 33 w 361"/>
                <a:gd name="T33" fmla="*/ 151 h 361"/>
                <a:gd name="T34" fmla="*/ 48 w 361"/>
                <a:gd name="T35" fmla="*/ 110 h 361"/>
                <a:gd name="T36" fmla="*/ 74 w 361"/>
                <a:gd name="T37" fmla="*/ 75 h 361"/>
                <a:gd name="T38" fmla="*/ 108 w 361"/>
                <a:gd name="T39" fmla="*/ 49 h 361"/>
                <a:gd name="T40" fmla="*/ 150 w 361"/>
                <a:gd name="T41" fmla="*/ 34 h 361"/>
                <a:gd name="T42" fmla="*/ 180 w 361"/>
                <a:gd name="T43" fmla="*/ 30 h 361"/>
                <a:gd name="T44" fmla="*/ 216 w 361"/>
                <a:gd name="T45" fmla="*/ 358 h 361"/>
                <a:gd name="T46" fmla="*/ 267 w 361"/>
                <a:gd name="T47" fmla="*/ 340 h 361"/>
                <a:gd name="T48" fmla="*/ 307 w 361"/>
                <a:gd name="T49" fmla="*/ 309 h 361"/>
                <a:gd name="T50" fmla="*/ 339 w 361"/>
                <a:gd name="T51" fmla="*/ 267 h 361"/>
                <a:gd name="T52" fmla="*/ 357 w 361"/>
                <a:gd name="T53" fmla="*/ 218 h 361"/>
                <a:gd name="T54" fmla="*/ 360 w 361"/>
                <a:gd name="T55" fmla="*/ 163 h 361"/>
                <a:gd name="T56" fmla="*/ 346 w 361"/>
                <a:gd name="T57" fmla="*/ 111 h 361"/>
                <a:gd name="T58" fmla="*/ 319 w 361"/>
                <a:gd name="T59" fmla="*/ 67 h 361"/>
                <a:gd name="T60" fmla="*/ 281 w 361"/>
                <a:gd name="T61" fmla="*/ 31 h 361"/>
                <a:gd name="T62" fmla="*/ 234 w 361"/>
                <a:gd name="T63" fmla="*/ 9 h 361"/>
                <a:gd name="T64" fmla="*/ 180 w 361"/>
                <a:gd name="T65" fmla="*/ 0 h 361"/>
                <a:gd name="T66" fmla="*/ 126 w 361"/>
                <a:gd name="T67" fmla="*/ 9 h 361"/>
                <a:gd name="T68" fmla="*/ 79 w 361"/>
                <a:gd name="T69" fmla="*/ 31 h 361"/>
                <a:gd name="T70" fmla="*/ 41 w 361"/>
                <a:gd name="T71" fmla="*/ 67 h 361"/>
                <a:gd name="T72" fmla="*/ 14 w 361"/>
                <a:gd name="T73" fmla="*/ 111 h 361"/>
                <a:gd name="T74" fmla="*/ 1 w 361"/>
                <a:gd name="T75" fmla="*/ 163 h 361"/>
                <a:gd name="T76" fmla="*/ 3 w 361"/>
                <a:gd name="T77" fmla="*/ 218 h 361"/>
                <a:gd name="T78" fmla="*/ 21 w 361"/>
                <a:gd name="T79" fmla="*/ 267 h 361"/>
                <a:gd name="T80" fmla="*/ 53 w 361"/>
                <a:gd name="T81" fmla="*/ 309 h 361"/>
                <a:gd name="T82" fmla="*/ 94 w 361"/>
                <a:gd name="T83" fmla="*/ 340 h 361"/>
                <a:gd name="T84" fmla="*/ 144 w 361"/>
                <a:gd name="T85" fmla="*/ 3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1" h="361">
                  <a:moveTo>
                    <a:pt x="180" y="30"/>
                  </a:moveTo>
                  <a:lnTo>
                    <a:pt x="196" y="31"/>
                  </a:lnTo>
                  <a:lnTo>
                    <a:pt x="211" y="34"/>
                  </a:lnTo>
                  <a:lnTo>
                    <a:pt x="225" y="38"/>
                  </a:lnTo>
                  <a:lnTo>
                    <a:pt x="239" y="42"/>
                  </a:lnTo>
                  <a:lnTo>
                    <a:pt x="252" y="49"/>
                  </a:lnTo>
                  <a:lnTo>
                    <a:pt x="265" y="56"/>
                  </a:lnTo>
                  <a:lnTo>
                    <a:pt x="276" y="65"/>
                  </a:lnTo>
                  <a:lnTo>
                    <a:pt x="286" y="75"/>
                  </a:lnTo>
                  <a:lnTo>
                    <a:pt x="297" y="85"/>
                  </a:lnTo>
                  <a:lnTo>
                    <a:pt x="305" y="97"/>
                  </a:lnTo>
                  <a:lnTo>
                    <a:pt x="313" y="110"/>
                  </a:lnTo>
                  <a:lnTo>
                    <a:pt x="319" y="122"/>
                  </a:lnTo>
                  <a:lnTo>
                    <a:pt x="324" y="136"/>
                  </a:lnTo>
                  <a:lnTo>
                    <a:pt x="328" y="151"/>
                  </a:lnTo>
                  <a:lnTo>
                    <a:pt x="330" y="165"/>
                  </a:lnTo>
                  <a:lnTo>
                    <a:pt x="331" y="181"/>
                  </a:lnTo>
                  <a:lnTo>
                    <a:pt x="330" y="196"/>
                  </a:lnTo>
                  <a:lnTo>
                    <a:pt x="328" y="211"/>
                  </a:lnTo>
                  <a:lnTo>
                    <a:pt x="324" y="225"/>
                  </a:lnTo>
                  <a:lnTo>
                    <a:pt x="319" y="239"/>
                  </a:lnTo>
                  <a:lnTo>
                    <a:pt x="313" y="253"/>
                  </a:lnTo>
                  <a:lnTo>
                    <a:pt x="305" y="265"/>
                  </a:lnTo>
                  <a:lnTo>
                    <a:pt x="297" y="277"/>
                  </a:lnTo>
                  <a:lnTo>
                    <a:pt x="286" y="287"/>
                  </a:lnTo>
                  <a:lnTo>
                    <a:pt x="276" y="297"/>
                  </a:lnTo>
                  <a:lnTo>
                    <a:pt x="265" y="306"/>
                  </a:lnTo>
                  <a:lnTo>
                    <a:pt x="252" y="313"/>
                  </a:lnTo>
                  <a:lnTo>
                    <a:pt x="239" y="320"/>
                  </a:lnTo>
                  <a:lnTo>
                    <a:pt x="225" y="325"/>
                  </a:lnTo>
                  <a:lnTo>
                    <a:pt x="211" y="328"/>
                  </a:lnTo>
                  <a:lnTo>
                    <a:pt x="196" y="330"/>
                  </a:lnTo>
                  <a:lnTo>
                    <a:pt x="180" y="331"/>
                  </a:lnTo>
                  <a:lnTo>
                    <a:pt x="165" y="330"/>
                  </a:lnTo>
                  <a:lnTo>
                    <a:pt x="150" y="328"/>
                  </a:lnTo>
                  <a:lnTo>
                    <a:pt x="136" y="325"/>
                  </a:lnTo>
                  <a:lnTo>
                    <a:pt x="122" y="320"/>
                  </a:lnTo>
                  <a:lnTo>
                    <a:pt x="108" y="313"/>
                  </a:lnTo>
                  <a:lnTo>
                    <a:pt x="96" y="306"/>
                  </a:lnTo>
                  <a:lnTo>
                    <a:pt x="85" y="297"/>
                  </a:lnTo>
                  <a:lnTo>
                    <a:pt x="74" y="287"/>
                  </a:lnTo>
                  <a:lnTo>
                    <a:pt x="64" y="277"/>
                  </a:lnTo>
                  <a:lnTo>
                    <a:pt x="56" y="265"/>
                  </a:lnTo>
                  <a:lnTo>
                    <a:pt x="48" y="253"/>
                  </a:lnTo>
                  <a:lnTo>
                    <a:pt x="42" y="239"/>
                  </a:lnTo>
                  <a:lnTo>
                    <a:pt x="36" y="225"/>
                  </a:lnTo>
                  <a:lnTo>
                    <a:pt x="33" y="211"/>
                  </a:lnTo>
                  <a:lnTo>
                    <a:pt x="31" y="196"/>
                  </a:lnTo>
                  <a:lnTo>
                    <a:pt x="30" y="181"/>
                  </a:lnTo>
                  <a:lnTo>
                    <a:pt x="31" y="165"/>
                  </a:lnTo>
                  <a:lnTo>
                    <a:pt x="33" y="151"/>
                  </a:lnTo>
                  <a:lnTo>
                    <a:pt x="36" y="136"/>
                  </a:lnTo>
                  <a:lnTo>
                    <a:pt x="42" y="122"/>
                  </a:lnTo>
                  <a:lnTo>
                    <a:pt x="48" y="110"/>
                  </a:lnTo>
                  <a:lnTo>
                    <a:pt x="56" y="97"/>
                  </a:lnTo>
                  <a:lnTo>
                    <a:pt x="64" y="86"/>
                  </a:lnTo>
                  <a:lnTo>
                    <a:pt x="74" y="75"/>
                  </a:lnTo>
                  <a:lnTo>
                    <a:pt x="85" y="65"/>
                  </a:lnTo>
                  <a:lnTo>
                    <a:pt x="96" y="56"/>
                  </a:lnTo>
                  <a:lnTo>
                    <a:pt x="108" y="49"/>
                  </a:lnTo>
                  <a:lnTo>
                    <a:pt x="122" y="42"/>
                  </a:lnTo>
                  <a:lnTo>
                    <a:pt x="136" y="38"/>
                  </a:lnTo>
                  <a:lnTo>
                    <a:pt x="150" y="34"/>
                  </a:lnTo>
                  <a:lnTo>
                    <a:pt x="165" y="31"/>
                  </a:lnTo>
                  <a:lnTo>
                    <a:pt x="180" y="30"/>
                  </a:lnTo>
                  <a:lnTo>
                    <a:pt x="180" y="30"/>
                  </a:lnTo>
                  <a:close/>
                  <a:moveTo>
                    <a:pt x="180" y="361"/>
                  </a:moveTo>
                  <a:lnTo>
                    <a:pt x="199" y="360"/>
                  </a:lnTo>
                  <a:lnTo>
                    <a:pt x="216" y="358"/>
                  </a:lnTo>
                  <a:lnTo>
                    <a:pt x="234" y="354"/>
                  </a:lnTo>
                  <a:lnTo>
                    <a:pt x="251" y="347"/>
                  </a:lnTo>
                  <a:lnTo>
                    <a:pt x="267" y="340"/>
                  </a:lnTo>
                  <a:lnTo>
                    <a:pt x="281" y="330"/>
                  </a:lnTo>
                  <a:lnTo>
                    <a:pt x="295" y="321"/>
                  </a:lnTo>
                  <a:lnTo>
                    <a:pt x="307" y="309"/>
                  </a:lnTo>
                  <a:lnTo>
                    <a:pt x="319" y="296"/>
                  </a:lnTo>
                  <a:lnTo>
                    <a:pt x="330" y="282"/>
                  </a:lnTo>
                  <a:lnTo>
                    <a:pt x="339" y="267"/>
                  </a:lnTo>
                  <a:lnTo>
                    <a:pt x="346" y="251"/>
                  </a:lnTo>
                  <a:lnTo>
                    <a:pt x="352" y="235"/>
                  </a:lnTo>
                  <a:lnTo>
                    <a:pt x="357" y="218"/>
                  </a:lnTo>
                  <a:lnTo>
                    <a:pt x="360" y="200"/>
                  </a:lnTo>
                  <a:lnTo>
                    <a:pt x="361" y="181"/>
                  </a:lnTo>
                  <a:lnTo>
                    <a:pt x="360" y="163"/>
                  </a:lnTo>
                  <a:lnTo>
                    <a:pt x="357" y="145"/>
                  </a:lnTo>
                  <a:lnTo>
                    <a:pt x="352" y="128"/>
                  </a:lnTo>
                  <a:lnTo>
                    <a:pt x="346" y="111"/>
                  </a:lnTo>
                  <a:lnTo>
                    <a:pt x="339" y="96"/>
                  </a:lnTo>
                  <a:lnTo>
                    <a:pt x="330" y="81"/>
                  </a:lnTo>
                  <a:lnTo>
                    <a:pt x="319" y="67"/>
                  </a:lnTo>
                  <a:lnTo>
                    <a:pt x="307" y="54"/>
                  </a:lnTo>
                  <a:lnTo>
                    <a:pt x="295" y="42"/>
                  </a:lnTo>
                  <a:lnTo>
                    <a:pt x="281" y="31"/>
                  </a:lnTo>
                  <a:lnTo>
                    <a:pt x="267" y="23"/>
                  </a:lnTo>
                  <a:lnTo>
                    <a:pt x="251" y="15"/>
                  </a:lnTo>
                  <a:lnTo>
                    <a:pt x="234" y="9"/>
                  </a:lnTo>
                  <a:lnTo>
                    <a:pt x="216" y="5"/>
                  </a:lnTo>
                  <a:lnTo>
                    <a:pt x="199" y="1"/>
                  </a:lnTo>
                  <a:lnTo>
                    <a:pt x="180" y="0"/>
                  </a:lnTo>
                  <a:lnTo>
                    <a:pt x="162" y="1"/>
                  </a:lnTo>
                  <a:lnTo>
                    <a:pt x="144" y="5"/>
                  </a:lnTo>
                  <a:lnTo>
                    <a:pt x="126" y="9"/>
                  </a:lnTo>
                  <a:lnTo>
                    <a:pt x="110" y="15"/>
                  </a:lnTo>
                  <a:lnTo>
                    <a:pt x="94" y="23"/>
                  </a:lnTo>
                  <a:lnTo>
                    <a:pt x="79" y="31"/>
                  </a:lnTo>
                  <a:lnTo>
                    <a:pt x="65" y="42"/>
                  </a:lnTo>
                  <a:lnTo>
                    <a:pt x="53" y="54"/>
                  </a:lnTo>
                  <a:lnTo>
                    <a:pt x="41" y="67"/>
                  </a:lnTo>
                  <a:lnTo>
                    <a:pt x="31" y="81"/>
                  </a:lnTo>
                  <a:lnTo>
                    <a:pt x="21" y="96"/>
                  </a:lnTo>
                  <a:lnTo>
                    <a:pt x="14" y="111"/>
                  </a:lnTo>
                  <a:lnTo>
                    <a:pt x="8" y="128"/>
                  </a:lnTo>
                  <a:lnTo>
                    <a:pt x="3" y="145"/>
                  </a:lnTo>
                  <a:lnTo>
                    <a:pt x="1" y="163"/>
                  </a:lnTo>
                  <a:lnTo>
                    <a:pt x="0" y="181"/>
                  </a:lnTo>
                  <a:lnTo>
                    <a:pt x="1" y="200"/>
                  </a:lnTo>
                  <a:lnTo>
                    <a:pt x="3" y="218"/>
                  </a:lnTo>
                  <a:lnTo>
                    <a:pt x="8" y="235"/>
                  </a:lnTo>
                  <a:lnTo>
                    <a:pt x="14" y="251"/>
                  </a:lnTo>
                  <a:lnTo>
                    <a:pt x="21" y="267"/>
                  </a:lnTo>
                  <a:lnTo>
                    <a:pt x="31" y="282"/>
                  </a:lnTo>
                  <a:lnTo>
                    <a:pt x="41" y="296"/>
                  </a:lnTo>
                  <a:lnTo>
                    <a:pt x="53" y="309"/>
                  </a:lnTo>
                  <a:lnTo>
                    <a:pt x="65" y="321"/>
                  </a:lnTo>
                  <a:lnTo>
                    <a:pt x="79" y="330"/>
                  </a:lnTo>
                  <a:lnTo>
                    <a:pt x="94" y="340"/>
                  </a:lnTo>
                  <a:lnTo>
                    <a:pt x="110" y="347"/>
                  </a:lnTo>
                  <a:lnTo>
                    <a:pt x="126" y="354"/>
                  </a:lnTo>
                  <a:lnTo>
                    <a:pt x="144" y="358"/>
                  </a:lnTo>
                  <a:lnTo>
                    <a:pt x="162" y="360"/>
                  </a:lnTo>
                  <a:lnTo>
                    <a:pt x="180" y="3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4" name="Freeform 133">
            <a:extLst>
              <a:ext uri="{FF2B5EF4-FFF2-40B4-BE49-F238E27FC236}">
                <a16:creationId xmlns="" xmlns:a16="http://schemas.microsoft.com/office/drawing/2014/main" id="{455CE6E2-C6B7-4E81-859F-BE53E8E862C4}"/>
              </a:ext>
            </a:extLst>
          </p:cNvPr>
          <p:cNvSpPr>
            <a:spLocks/>
          </p:cNvSpPr>
          <p:nvPr/>
        </p:nvSpPr>
        <p:spPr bwMode="auto">
          <a:xfrm>
            <a:off x="2887437" y="2435157"/>
            <a:ext cx="476006" cy="476006"/>
          </a:xfrm>
          <a:custGeom>
            <a:avLst/>
            <a:gdLst>
              <a:gd name="T0" fmla="*/ 452 w 866"/>
              <a:gd name="T1" fmla="*/ 410 h 866"/>
              <a:gd name="T2" fmla="*/ 452 w 866"/>
              <a:gd name="T3" fmla="*/ 13 h 866"/>
              <a:gd name="T4" fmla="*/ 449 w 866"/>
              <a:gd name="T5" fmla="*/ 8 h 866"/>
              <a:gd name="T6" fmla="*/ 445 w 866"/>
              <a:gd name="T7" fmla="*/ 4 h 866"/>
              <a:gd name="T8" fmla="*/ 440 w 866"/>
              <a:gd name="T9" fmla="*/ 0 h 866"/>
              <a:gd name="T10" fmla="*/ 433 w 866"/>
              <a:gd name="T11" fmla="*/ 0 h 866"/>
              <a:gd name="T12" fmla="*/ 428 w 866"/>
              <a:gd name="T13" fmla="*/ 4 h 866"/>
              <a:gd name="T14" fmla="*/ 424 w 866"/>
              <a:gd name="T15" fmla="*/ 8 h 866"/>
              <a:gd name="T16" fmla="*/ 421 w 866"/>
              <a:gd name="T17" fmla="*/ 13 h 866"/>
              <a:gd name="T18" fmla="*/ 421 w 866"/>
              <a:gd name="T19" fmla="*/ 410 h 866"/>
              <a:gd name="T20" fmla="*/ 12 w 866"/>
              <a:gd name="T21" fmla="*/ 410 h 866"/>
              <a:gd name="T22" fmla="*/ 6 w 866"/>
              <a:gd name="T23" fmla="*/ 412 h 866"/>
              <a:gd name="T24" fmla="*/ 2 w 866"/>
              <a:gd name="T25" fmla="*/ 417 h 866"/>
              <a:gd name="T26" fmla="*/ 0 w 866"/>
              <a:gd name="T27" fmla="*/ 422 h 866"/>
              <a:gd name="T28" fmla="*/ 0 w 866"/>
              <a:gd name="T29" fmla="*/ 428 h 866"/>
              <a:gd name="T30" fmla="*/ 2 w 866"/>
              <a:gd name="T31" fmla="*/ 434 h 866"/>
              <a:gd name="T32" fmla="*/ 6 w 866"/>
              <a:gd name="T33" fmla="*/ 438 h 866"/>
              <a:gd name="T34" fmla="*/ 12 w 866"/>
              <a:gd name="T35" fmla="*/ 440 h 866"/>
              <a:gd name="T36" fmla="*/ 421 w 866"/>
              <a:gd name="T37" fmla="*/ 440 h 866"/>
              <a:gd name="T38" fmla="*/ 421 w 866"/>
              <a:gd name="T39" fmla="*/ 854 h 866"/>
              <a:gd name="T40" fmla="*/ 424 w 866"/>
              <a:gd name="T41" fmla="*/ 860 h 866"/>
              <a:gd name="T42" fmla="*/ 428 w 866"/>
              <a:gd name="T43" fmla="*/ 864 h 866"/>
              <a:gd name="T44" fmla="*/ 433 w 866"/>
              <a:gd name="T45" fmla="*/ 866 h 866"/>
              <a:gd name="T46" fmla="*/ 440 w 866"/>
              <a:gd name="T47" fmla="*/ 866 h 866"/>
              <a:gd name="T48" fmla="*/ 445 w 866"/>
              <a:gd name="T49" fmla="*/ 864 h 866"/>
              <a:gd name="T50" fmla="*/ 449 w 866"/>
              <a:gd name="T51" fmla="*/ 860 h 866"/>
              <a:gd name="T52" fmla="*/ 452 w 866"/>
              <a:gd name="T53" fmla="*/ 854 h 866"/>
              <a:gd name="T54" fmla="*/ 452 w 866"/>
              <a:gd name="T55" fmla="*/ 440 h 866"/>
              <a:gd name="T56" fmla="*/ 854 w 866"/>
              <a:gd name="T57" fmla="*/ 440 h 866"/>
              <a:gd name="T58" fmla="*/ 859 w 866"/>
              <a:gd name="T59" fmla="*/ 438 h 866"/>
              <a:gd name="T60" fmla="*/ 862 w 866"/>
              <a:gd name="T61" fmla="*/ 434 h 866"/>
              <a:gd name="T62" fmla="*/ 864 w 866"/>
              <a:gd name="T63" fmla="*/ 428 h 866"/>
              <a:gd name="T64" fmla="*/ 864 w 866"/>
              <a:gd name="T65" fmla="*/ 422 h 866"/>
              <a:gd name="T66" fmla="*/ 862 w 866"/>
              <a:gd name="T67" fmla="*/ 417 h 866"/>
              <a:gd name="T68" fmla="*/ 859 w 866"/>
              <a:gd name="T69" fmla="*/ 412 h 866"/>
              <a:gd name="T70" fmla="*/ 854 w 866"/>
              <a:gd name="T71" fmla="*/ 410 h 8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866" h="866">
                <a:moveTo>
                  <a:pt x="850" y="410"/>
                </a:moveTo>
                <a:lnTo>
                  <a:pt x="452" y="410"/>
                </a:lnTo>
                <a:lnTo>
                  <a:pt x="452" y="15"/>
                </a:lnTo>
                <a:lnTo>
                  <a:pt x="452" y="13"/>
                </a:lnTo>
                <a:lnTo>
                  <a:pt x="450" y="10"/>
                </a:lnTo>
                <a:lnTo>
                  <a:pt x="449" y="8"/>
                </a:lnTo>
                <a:lnTo>
                  <a:pt x="447" y="6"/>
                </a:lnTo>
                <a:lnTo>
                  <a:pt x="445" y="4"/>
                </a:lnTo>
                <a:lnTo>
                  <a:pt x="442" y="1"/>
                </a:lnTo>
                <a:lnTo>
                  <a:pt x="440" y="0"/>
                </a:lnTo>
                <a:lnTo>
                  <a:pt x="437" y="0"/>
                </a:lnTo>
                <a:lnTo>
                  <a:pt x="433" y="0"/>
                </a:lnTo>
                <a:lnTo>
                  <a:pt x="431" y="1"/>
                </a:lnTo>
                <a:lnTo>
                  <a:pt x="428" y="4"/>
                </a:lnTo>
                <a:lnTo>
                  <a:pt x="426" y="6"/>
                </a:lnTo>
                <a:lnTo>
                  <a:pt x="424" y="8"/>
                </a:lnTo>
                <a:lnTo>
                  <a:pt x="423" y="10"/>
                </a:lnTo>
                <a:lnTo>
                  <a:pt x="421" y="13"/>
                </a:lnTo>
                <a:lnTo>
                  <a:pt x="421" y="15"/>
                </a:lnTo>
                <a:lnTo>
                  <a:pt x="421" y="410"/>
                </a:lnTo>
                <a:lnTo>
                  <a:pt x="15" y="410"/>
                </a:lnTo>
                <a:lnTo>
                  <a:pt x="12" y="410"/>
                </a:lnTo>
                <a:lnTo>
                  <a:pt x="10" y="411"/>
                </a:lnTo>
                <a:lnTo>
                  <a:pt x="6" y="412"/>
                </a:lnTo>
                <a:lnTo>
                  <a:pt x="4" y="414"/>
                </a:lnTo>
                <a:lnTo>
                  <a:pt x="2" y="417"/>
                </a:lnTo>
                <a:lnTo>
                  <a:pt x="1" y="420"/>
                </a:lnTo>
                <a:lnTo>
                  <a:pt x="0" y="422"/>
                </a:lnTo>
                <a:lnTo>
                  <a:pt x="0" y="425"/>
                </a:lnTo>
                <a:lnTo>
                  <a:pt x="0" y="428"/>
                </a:lnTo>
                <a:lnTo>
                  <a:pt x="1" y="432"/>
                </a:lnTo>
                <a:lnTo>
                  <a:pt x="2" y="434"/>
                </a:lnTo>
                <a:lnTo>
                  <a:pt x="4" y="436"/>
                </a:lnTo>
                <a:lnTo>
                  <a:pt x="6" y="438"/>
                </a:lnTo>
                <a:lnTo>
                  <a:pt x="10" y="439"/>
                </a:lnTo>
                <a:lnTo>
                  <a:pt x="12" y="440"/>
                </a:lnTo>
                <a:lnTo>
                  <a:pt x="15" y="440"/>
                </a:lnTo>
                <a:lnTo>
                  <a:pt x="421" y="440"/>
                </a:lnTo>
                <a:lnTo>
                  <a:pt x="421" y="851"/>
                </a:lnTo>
                <a:lnTo>
                  <a:pt x="421" y="854"/>
                </a:lnTo>
                <a:lnTo>
                  <a:pt x="423" y="857"/>
                </a:lnTo>
                <a:lnTo>
                  <a:pt x="424" y="860"/>
                </a:lnTo>
                <a:lnTo>
                  <a:pt x="426" y="862"/>
                </a:lnTo>
                <a:lnTo>
                  <a:pt x="428" y="864"/>
                </a:lnTo>
                <a:lnTo>
                  <a:pt x="431" y="865"/>
                </a:lnTo>
                <a:lnTo>
                  <a:pt x="433" y="866"/>
                </a:lnTo>
                <a:lnTo>
                  <a:pt x="437" y="866"/>
                </a:lnTo>
                <a:lnTo>
                  <a:pt x="440" y="866"/>
                </a:lnTo>
                <a:lnTo>
                  <a:pt x="442" y="865"/>
                </a:lnTo>
                <a:lnTo>
                  <a:pt x="445" y="864"/>
                </a:lnTo>
                <a:lnTo>
                  <a:pt x="447" y="862"/>
                </a:lnTo>
                <a:lnTo>
                  <a:pt x="449" y="860"/>
                </a:lnTo>
                <a:lnTo>
                  <a:pt x="450" y="857"/>
                </a:lnTo>
                <a:lnTo>
                  <a:pt x="452" y="854"/>
                </a:lnTo>
                <a:lnTo>
                  <a:pt x="452" y="851"/>
                </a:lnTo>
                <a:lnTo>
                  <a:pt x="452" y="440"/>
                </a:lnTo>
                <a:lnTo>
                  <a:pt x="850" y="440"/>
                </a:lnTo>
                <a:lnTo>
                  <a:pt x="854" y="440"/>
                </a:lnTo>
                <a:lnTo>
                  <a:pt x="856" y="439"/>
                </a:lnTo>
                <a:lnTo>
                  <a:pt x="859" y="438"/>
                </a:lnTo>
                <a:lnTo>
                  <a:pt x="861" y="436"/>
                </a:lnTo>
                <a:lnTo>
                  <a:pt x="862" y="434"/>
                </a:lnTo>
                <a:lnTo>
                  <a:pt x="864" y="432"/>
                </a:lnTo>
                <a:lnTo>
                  <a:pt x="864" y="428"/>
                </a:lnTo>
                <a:lnTo>
                  <a:pt x="866" y="425"/>
                </a:lnTo>
                <a:lnTo>
                  <a:pt x="864" y="422"/>
                </a:lnTo>
                <a:lnTo>
                  <a:pt x="864" y="420"/>
                </a:lnTo>
                <a:lnTo>
                  <a:pt x="862" y="417"/>
                </a:lnTo>
                <a:lnTo>
                  <a:pt x="861" y="414"/>
                </a:lnTo>
                <a:lnTo>
                  <a:pt x="859" y="412"/>
                </a:lnTo>
                <a:lnTo>
                  <a:pt x="856" y="411"/>
                </a:lnTo>
                <a:lnTo>
                  <a:pt x="854" y="410"/>
                </a:lnTo>
                <a:lnTo>
                  <a:pt x="850" y="41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5" name="Freeform 133">
            <a:extLst>
              <a:ext uri="{FF2B5EF4-FFF2-40B4-BE49-F238E27FC236}">
                <a16:creationId xmlns="" xmlns:a16="http://schemas.microsoft.com/office/drawing/2014/main" id="{44AD5823-CA90-4519-BD1F-49B9AC7B2BC2}"/>
              </a:ext>
            </a:extLst>
          </p:cNvPr>
          <p:cNvSpPr>
            <a:spLocks/>
          </p:cNvSpPr>
          <p:nvPr/>
        </p:nvSpPr>
        <p:spPr bwMode="auto">
          <a:xfrm>
            <a:off x="5857997" y="2435157"/>
            <a:ext cx="476006" cy="476006"/>
          </a:xfrm>
          <a:custGeom>
            <a:avLst/>
            <a:gdLst>
              <a:gd name="T0" fmla="*/ 452 w 866"/>
              <a:gd name="T1" fmla="*/ 410 h 866"/>
              <a:gd name="T2" fmla="*/ 452 w 866"/>
              <a:gd name="T3" fmla="*/ 13 h 866"/>
              <a:gd name="T4" fmla="*/ 449 w 866"/>
              <a:gd name="T5" fmla="*/ 8 h 866"/>
              <a:gd name="T6" fmla="*/ 445 w 866"/>
              <a:gd name="T7" fmla="*/ 4 h 866"/>
              <a:gd name="T8" fmla="*/ 440 w 866"/>
              <a:gd name="T9" fmla="*/ 0 h 866"/>
              <a:gd name="T10" fmla="*/ 433 w 866"/>
              <a:gd name="T11" fmla="*/ 0 h 866"/>
              <a:gd name="T12" fmla="*/ 428 w 866"/>
              <a:gd name="T13" fmla="*/ 4 h 866"/>
              <a:gd name="T14" fmla="*/ 424 w 866"/>
              <a:gd name="T15" fmla="*/ 8 h 866"/>
              <a:gd name="T16" fmla="*/ 421 w 866"/>
              <a:gd name="T17" fmla="*/ 13 h 866"/>
              <a:gd name="T18" fmla="*/ 421 w 866"/>
              <a:gd name="T19" fmla="*/ 410 h 866"/>
              <a:gd name="T20" fmla="*/ 12 w 866"/>
              <a:gd name="T21" fmla="*/ 410 h 866"/>
              <a:gd name="T22" fmla="*/ 6 w 866"/>
              <a:gd name="T23" fmla="*/ 412 h 866"/>
              <a:gd name="T24" fmla="*/ 2 w 866"/>
              <a:gd name="T25" fmla="*/ 417 h 866"/>
              <a:gd name="T26" fmla="*/ 0 w 866"/>
              <a:gd name="T27" fmla="*/ 422 h 866"/>
              <a:gd name="T28" fmla="*/ 0 w 866"/>
              <a:gd name="T29" fmla="*/ 428 h 866"/>
              <a:gd name="T30" fmla="*/ 2 w 866"/>
              <a:gd name="T31" fmla="*/ 434 h 866"/>
              <a:gd name="T32" fmla="*/ 6 w 866"/>
              <a:gd name="T33" fmla="*/ 438 h 866"/>
              <a:gd name="T34" fmla="*/ 12 w 866"/>
              <a:gd name="T35" fmla="*/ 440 h 866"/>
              <a:gd name="T36" fmla="*/ 421 w 866"/>
              <a:gd name="T37" fmla="*/ 440 h 866"/>
              <a:gd name="T38" fmla="*/ 421 w 866"/>
              <a:gd name="T39" fmla="*/ 854 h 866"/>
              <a:gd name="T40" fmla="*/ 424 w 866"/>
              <a:gd name="T41" fmla="*/ 860 h 866"/>
              <a:gd name="T42" fmla="*/ 428 w 866"/>
              <a:gd name="T43" fmla="*/ 864 h 866"/>
              <a:gd name="T44" fmla="*/ 433 w 866"/>
              <a:gd name="T45" fmla="*/ 866 h 866"/>
              <a:gd name="T46" fmla="*/ 440 w 866"/>
              <a:gd name="T47" fmla="*/ 866 h 866"/>
              <a:gd name="T48" fmla="*/ 445 w 866"/>
              <a:gd name="T49" fmla="*/ 864 h 866"/>
              <a:gd name="T50" fmla="*/ 449 w 866"/>
              <a:gd name="T51" fmla="*/ 860 h 866"/>
              <a:gd name="T52" fmla="*/ 452 w 866"/>
              <a:gd name="T53" fmla="*/ 854 h 866"/>
              <a:gd name="T54" fmla="*/ 452 w 866"/>
              <a:gd name="T55" fmla="*/ 440 h 866"/>
              <a:gd name="T56" fmla="*/ 854 w 866"/>
              <a:gd name="T57" fmla="*/ 440 h 866"/>
              <a:gd name="T58" fmla="*/ 859 w 866"/>
              <a:gd name="T59" fmla="*/ 438 h 866"/>
              <a:gd name="T60" fmla="*/ 862 w 866"/>
              <a:gd name="T61" fmla="*/ 434 h 866"/>
              <a:gd name="T62" fmla="*/ 864 w 866"/>
              <a:gd name="T63" fmla="*/ 428 h 866"/>
              <a:gd name="T64" fmla="*/ 864 w 866"/>
              <a:gd name="T65" fmla="*/ 422 h 866"/>
              <a:gd name="T66" fmla="*/ 862 w 866"/>
              <a:gd name="T67" fmla="*/ 417 h 866"/>
              <a:gd name="T68" fmla="*/ 859 w 866"/>
              <a:gd name="T69" fmla="*/ 412 h 866"/>
              <a:gd name="T70" fmla="*/ 854 w 866"/>
              <a:gd name="T71" fmla="*/ 410 h 8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866" h="866">
                <a:moveTo>
                  <a:pt x="850" y="410"/>
                </a:moveTo>
                <a:lnTo>
                  <a:pt x="452" y="410"/>
                </a:lnTo>
                <a:lnTo>
                  <a:pt x="452" y="15"/>
                </a:lnTo>
                <a:lnTo>
                  <a:pt x="452" y="13"/>
                </a:lnTo>
                <a:lnTo>
                  <a:pt x="450" y="10"/>
                </a:lnTo>
                <a:lnTo>
                  <a:pt x="449" y="8"/>
                </a:lnTo>
                <a:lnTo>
                  <a:pt x="447" y="6"/>
                </a:lnTo>
                <a:lnTo>
                  <a:pt x="445" y="4"/>
                </a:lnTo>
                <a:lnTo>
                  <a:pt x="442" y="1"/>
                </a:lnTo>
                <a:lnTo>
                  <a:pt x="440" y="0"/>
                </a:lnTo>
                <a:lnTo>
                  <a:pt x="437" y="0"/>
                </a:lnTo>
                <a:lnTo>
                  <a:pt x="433" y="0"/>
                </a:lnTo>
                <a:lnTo>
                  <a:pt x="431" y="1"/>
                </a:lnTo>
                <a:lnTo>
                  <a:pt x="428" y="4"/>
                </a:lnTo>
                <a:lnTo>
                  <a:pt x="426" y="6"/>
                </a:lnTo>
                <a:lnTo>
                  <a:pt x="424" y="8"/>
                </a:lnTo>
                <a:lnTo>
                  <a:pt x="423" y="10"/>
                </a:lnTo>
                <a:lnTo>
                  <a:pt x="421" y="13"/>
                </a:lnTo>
                <a:lnTo>
                  <a:pt x="421" y="15"/>
                </a:lnTo>
                <a:lnTo>
                  <a:pt x="421" y="410"/>
                </a:lnTo>
                <a:lnTo>
                  <a:pt x="15" y="410"/>
                </a:lnTo>
                <a:lnTo>
                  <a:pt x="12" y="410"/>
                </a:lnTo>
                <a:lnTo>
                  <a:pt x="10" y="411"/>
                </a:lnTo>
                <a:lnTo>
                  <a:pt x="6" y="412"/>
                </a:lnTo>
                <a:lnTo>
                  <a:pt x="4" y="414"/>
                </a:lnTo>
                <a:lnTo>
                  <a:pt x="2" y="417"/>
                </a:lnTo>
                <a:lnTo>
                  <a:pt x="1" y="420"/>
                </a:lnTo>
                <a:lnTo>
                  <a:pt x="0" y="422"/>
                </a:lnTo>
                <a:lnTo>
                  <a:pt x="0" y="425"/>
                </a:lnTo>
                <a:lnTo>
                  <a:pt x="0" y="428"/>
                </a:lnTo>
                <a:lnTo>
                  <a:pt x="1" y="432"/>
                </a:lnTo>
                <a:lnTo>
                  <a:pt x="2" y="434"/>
                </a:lnTo>
                <a:lnTo>
                  <a:pt x="4" y="436"/>
                </a:lnTo>
                <a:lnTo>
                  <a:pt x="6" y="438"/>
                </a:lnTo>
                <a:lnTo>
                  <a:pt x="10" y="439"/>
                </a:lnTo>
                <a:lnTo>
                  <a:pt x="12" y="440"/>
                </a:lnTo>
                <a:lnTo>
                  <a:pt x="15" y="440"/>
                </a:lnTo>
                <a:lnTo>
                  <a:pt x="421" y="440"/>
                </a:lnTo>
                <a:lnTo>
                  <a:pt x="421" y="851"/>
                </a:lnTo>
                <a:lnTo>
                  <a:pt x="421" y="854"/>
                </a:lnTo>
                <a:lnTo>
                  <a:pt x="423" y="857"/>
                </a:lnTo>
                <a:lnTo>
                  <a:pt x="424" y="860"/>
                </a:lnTo>
                <a:lnTo>
                  <a:pt x="426" y="862"/>
                </a:lnTo>
                <a:lnTo>
                  <a:pt x="428" y="864"/>
                </a:lnTo>
                <a:lnTo>
                  <a:pt x="431" y="865"/>
                </a:lnTo>
                <a:lnTo>
                  <a:pt x="433" y="866"/>
                </a:lnTo>
                <a:lnTo>
                  <a:pt x="437" y="866"/>
                </a:lnTo>
                <a:lnTo>
                  <a:pt x="440" y="866"/>
                </a:lnTo>
                <a:lnTo>
                  <a:pt x="442" y="865"/>
                </a:lnTo>
                <a:lnTo>
                  <a:pt x="445" y="864"/>
                </a:lnTo>
                <a:lnTo>
                  <a:pt x="447" y="862"/>
                </a:lnTo>
                <a:lnTo>
                  <a:pt x="449" y="860"/>
                </a:lnTo>
                <a:lnTo>
                  <a:pt x="450" y="857"/>
                </a:lnTo>
                <a:lnTo>
                  <a:pt x="452" y="854"/>
                </a:lnTo>
                <a:lnTo>
                  <a:pt x="452" y="851"/>
                </a:lnTo>
                <a:lnTo>
                  <a:pt x="452" y="440"/>
                </a:lnTo>
                <a:lnTo>
                  <a:pt x="850" y="440"/>
                </a:lnTo>
                <a:lnTo>
                  <a:pt x="854" y="440"/>
                </a:lnTo>
                <a:lnTo>
                  <a:pt x="856" y="439"/>
                </a:lnTo>
                <a:lnTo>
                  <a:pt x="859" y="438"/>
                </a:lnTo>
                <a:lnTo>
                  <a:pt x="861" y="436"/>
                </a:lnTo>
                <a:lnTo>
                  <a:pt x="862" y="434"/>
                </a:lnTo>
                <a:lnTo>
                  <a:pt x="864" y="432"/>
                </a:lnTo>
                <a:lnTo>
                  <a:pt x="864" y="428"/>
                </a:lnTo>
                <a:lnTo>
                  <a:pt x="866" y="425"/>
                </a:lnTo>
                <a:lnTo>
                  <a:pt x="864" y="422"/>
                </a:lnTo>
                <a:lnTo>
                  <a:pt x="864" y="420"/>
                </a:lnTo>
                <a:lnTo>
                  <a:pt x="862" y="417"/>
                </a:lnTo>
                <a:lnTo>
                  <a:pt x="861" y="414"/>
                </a:lnTo>
                <a:lnTo>
                  <a:pt x="859" y="412"/>
                </a:lnTo>
                <a:lnTo>
                  <a:pt x="856" y="411"/>
                </a:lnTo>
                <a:lnTo>
                  <a:pt x="854" y="410"/>
                </a:lnTo>
                <a:lnTo>
                  <a:pt x="850" y="41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36" name="Freeform 133">
            <a:extLst>
              <a:ext uri="{FF2B5EF4-FFF2-40B4-BE49-F238E27FC236}">
                <a16:creationId xmlns="" xmlns:a16="http://schemas.microsoft.com/office/drawing/2014/main" id="{B538733E-1A03-4CA8-82C1-E4FDC33AF1F8}"/>
              </a:ext>
            </a:extLst>
          </p:cNvPr>
          <p:cNvSpPr>
            <a:spLocks/>
          </p:cNvSpPr>
          <p:nvPr/>
        </p:nvSpPr>
        <p:spPr bwMode="auto">
          <a:xfrm>
            <a:off x="8828802" y="2435157"/>
            <a:ext cx="476006" cy="476006"/>
          </a:xfrm>
          <a:custGeom>
            <a:avLst/>
            <a:gdLst>
              <a:gd name="T0" fmla="*/ 452 w 866"/>
              <a:gd name="T1" fmla="*/ 410 h 866"/>
              <a:gd name="T2" fmla="*/ 452 w 866"/>
              <a:gd name="T3" fmla="*/ 13 h 866"/>
              <a:gd name="T4" fmla="*/ 449 w 866"/>
              <a:gd name="T5" fmla="*/ 8 h 866"/>
              <a:gd name="T6" fmla="*/ 445 w 866"/>
              <a:gd name="T7" fmla="*/ 4 h 866"/>
              <a:gd name="T8" fmla="*/ 440 w 866"/>
              <a:gd name="T9" fmla="*/ 0 h 866"/>
              <a:gd name="T10" fmla="*/ 433 w 866"/>
              <a:gd name="T11" fmla="*/ 0 h 866"/>
              <a:gd name="T12" fmla="*/ 428 w 866"/>
              <a:gd name="T13" fmla="*/ 4 h 866"/>
              <a:gd name="T14" fmla="*/ 424 w 866"/>
              <a:gd name="T15" fmla="*/ 8 h 866"/>
              <a:gd name="T16" fmla="*/ 421 w 866"/>
              <a:gd name="T17" fmla="*/ 13 h 866"/>
              <a:gd name="T18" fmla="*/ 421 w 866"/>
              <a:gd name="T19" fmla="*/ 410 h 866"/>
              <a:gd name="T20" fmla="*/ 12 w 866"/>
              <a:gd name="T21" fmla="*/ 410 h 866"/>
              <a:gd name="T22" fmla="*/ 6 w 866"/>
              <a:gd name="T23" fmla="*/ 412 h 866"/>
              <a:gd name="T24" fmla="*/ 2 w 866"/>
              <a:gd name="T25" fmla="*/ 417 h 866"/>
              <a:gd name="T26" fmla="*/ 0 w 866"/>
              <a:gd name="T27" fmla="*/ 422 h 866"/>
              <a:gd name="T28" fmla="*/ 0 w 866"/>
              <a:gd name="T29" fmla="*/ 428 h 866"/>
              <a:gd name="T30" fmla="*/ 2 w 866"/>
              <a:gd name="T31" fmla="*/ 434 h 866"/>
              <a:gd name="T32" fmla="*/ 6 w 866"/>
              <a:gd name="T33" fmla="*/ 438 h 866"/>
              <a:gd name="T34" fmla="*/ 12 w 866"/>
              <a:gd name="T35" fmla="*/ 440 h 866"/>
              <a:gd name="T36" fmla="*/ 421 w 866"/>
              <a:gd name="T37" fmla="*/ 440 h 866"/>
              <a:gd name="T38" fmla="*/ 421 w 866"/>
              <a:gd name="T39" fmla="*/ 854 h 866"/>
              <a:gd name="T40" fmla="*/ 424 w 866"/>
              <a:gd name="T41" fmla="*/ 860 h 866"/>
              <a:gd name="T42" fmla="*/ 428 w 866"/>
              <a:gd name="T43" fmla="*/ 864 h 866"/>
              <a:gd name="T44" fmla="*/ 433 w 866"/>
              <a:gd name="T45" fmla="*/ 866 h 866"/>
              <a:gd name="T46" fmla="*/ 440 w 866"/>
              <a:gd name="T47" fmla="*/ 866 h 866"/>
              <a:gd name="T48" fmla="*/ 445 w 866"/>
              <a:gd name="T49" fmla="*/ 864 h 866"/>
              <a:gd name="T50" fmla="*/ 449 w 866"/>
              <a:gd name="T51" fmla="*/ 860 h 866"/>
              <a:gd name="T52" fmla="*/ 452 w 866"/>
              <a:gd name="T53" fmla="*/ 854 h 866"/>
              <a:gd name="T54" fmla="*/ 452 w 866"/>
              <a:gd name="T55" fmla="*/ 440 h 866"/>
              <a:gd name="T56" fmla="*/ 854 w 866"/>
              <a:gd name="T57" fmla="*/ 440 h 866"/>
              <a:gd name="T58" fmla="*/ 859 w 866"/>
              <a:gd name="T59" fmla="*/ 438 h 866"/>
              <a:gd name="T60" fmla="*/ 862 w 866"/>
              <a:gd name="T61" fmla="*/ 434 h 866"/>
              <a:gd name="T62" fmla="*/ 864 w 866"/>
              <a:gd name="T63" fmla="*/ 428 h 866"/>
              <a:gd name="T64" fmla="*/ 864 w 866"/>
              <a:gd name="T65" fmla="*/ 422 h 866"/>
              <a:gd name="T66" fmla="*/ 862 w 866"/>
              <a:gd name="T67" fmla="*/ 417 h 866"/>
              <a:gd name="T68" fmla="*/ 859 w 866"/>
              <a:gd name="T69" fmla="*/ 412 h 866"/>
              <a:gd name="T70" fmla="*/ 854 w 866"/>
              <a:gd name="T71" fmla="*/ 410 h 8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866" h="866">
                <a:moveTo>
                  <a:pt x="850" y="410"/>
                </a:moveTo>
                <a:lnTo>
                  <a:pt x="452" y="410"/>
                </a:lnTo>
                <a:lnTo>
                  <a:pt x="452" y="15"/>
                </a:lnTo>
                <a:lnTo>
                  <a:pt x="452" y="13"/>
                </a:lnTo>
                <a:lnTo>
                  <a:pt x="450" y="10"/>
                </a:lnTo>
                <a:lnTo>
                  <a:pt x="449" y="8"/>
                </a:lnTo>
                <a:lnTo>
                  <a:pt x="447" y="6"/>
                </a:lnTo>
                <a:lnTo>
                  <a:pt x="445" y="4"/>
                </a:lnTo>
                <a:lnTo>
                  <a:pt x="442" y="1"/>
                </a:lnTo>
                <a:lnTo>
                  <a:pt x="440" y="0"/>
                </a:lnTo>
                <a:lnTo>
                  <a:pt x="437" y="0"/>
                </a:lnTo>
                <a:lnTo>
                  <a:pt x="433" y="0"/>
                </a:lnTo>
                <a:lnTo>
                  <a:pt x="431" y="1"/>
                </a:lnTo>
                <a:lnTo>
                  <a:pt x="428" y="4"/>
                </a:lnTo>
                <a:lnTo>
                  <a:pt x="426" y="6"/>
                </a:lnTo>
                <a:lnTo>
                  <a:pt x="424" y="8"/>
                </a:lnTo>
                <a:lnTo>
                  <a:pt x="423" y="10"/>
                </a:lnTo>
                <a:lnTo>
                  <a:pt x="421" y="13"/>
                </a:lnTo>
                <a:lnTo>
                  <a:pt x="421" y="15"/>
                </a:lnTo>
                <a:lnTo>
                  <a:pt x="421" y="410"/>
                </a:lnTo>
                <a:lnTo>
                  <a:pt x="15" y="410"/>
                </a:lnTo>
                <a:lnTo>
                  <a:pt x="12" y="410"/>
                </a:lnTo>
                <a:lnTo>
                  <a:pt x="10" y="411"/>
                </a:lnTo>
                <a:lnTo>
                  <a:pt x="6" y="412"/>
                </a:lnTo>
                <a:lnTo>
                  <a:pt x="4" y="414"/>
                </a:lnTo>
                <a:lnTo>
                  <a:pt x="2" y="417"/>
                </a:lnTo>
                <a:lnTo>
                  <a:pt x="1" y="420"/>
                </a:lnTo>
                <a:lnTo>
                  <a:pt x="0" y="422"/>
                </a:lnTo>
                <a:lnTo>
                  <a:pt x="0" y="425"/>
                </a:lnTo>
                <a:lnTo>
                  <a:pt x="0" y="428"/>
                </a:lnTo>
                <a:lnTo>
                  <a:pt x="1" y="432"/>
                </a:lnTo>
                <a:lnTo>
                  <a:pt x="2" y="434"/>
                </a:lnTo>
                <a:lnTo>
                  <a:pt x="4" y="436"/>
                </a:lnTo>
                <a:lnTo>
                  <a:pt x="6" y="438"/>
                </a:lnTo>
                <a:lnTo>
                  <a:pt x="10" y="439"/>
                </a:lnTo>
                <a:lnTo>
                  <a:pt x="12" y="440"/>
                </a:lnTo>
                <a:lnTo>
                  <a:pt x="15" y="440"/>
                </a:lnTo>
                <a:lnTo>
                  <a:pt x="421" y="440"/>
                </a:lnTo>
                <a:lnTo>
                  <a:pt x="421" y="851"/>
                </a:lnTo>
                <a:lnTo>
                  <a:pt x="421" y="854"/>
                </a:lnTo>
                <a:lnTo>
                  <a:pt x="423" y="857"/>
                </a:lnTo>
                <a:lnTo>
                  <a:pt x="424" y="860"/>
                </a:lnTo>
                <a:lnTo>
                  <a:pt x="426" y="862"/>
                </a:lnTo>
                <a:lnTo>
                  <a:pt x="428" y="864"/>
                </a:lnTo>
                <a:lnTo>
                  <a:pt x="431" y="865"/>
                </a:lnTo>
                <a:lnTo>
                  <a:pt x="433" y="866"/>
                </a:lnTo>
                <a:lnTo>
                  <a:pt x="437" y="866"/>
                </a:lnTo>
                <a:lnTo>
                  <a:pt x="440" y="866"/>
                </a:lnTo>
                <a:lnTo>
                  <a:pt x="442" y="865"/>
                </a:lnTo>
                <a:lnTo>
                  <a:pt x="445" y="864"/>
                </a:lnTo>
                <a:lnTo>
                  <a:pt x="447" y="862"/>
                </a:lnTo>
                <a:lnTo>
                  <a:pt x="449" y="860"/>
                </a:lnTo>
                <a:lnTo>
                  <a:pt x="450" y="857"/>
                </a:lnTo>
                <a:lnTo>
                  <a:pt x="452" y="854"/>
                </a:lnTo>
                <a:lnTo>
                  <a:pt x="452" y="851"/>
                </a:lnTo>
                <a:lnTo>
                  <a:pt x="452" y="440"/>
                </a:lnTo>
                <a:lnTo>
                  <a:pt x="850" y="440"/>
                </a:lnTo>
                <a:lnTo>
                  <a:pt x="854" y="440"/>
                </a:lnTo>
                <a:lnTo>
                  <a:pt x="856" y="439"/>
                </a:lnTo>
                <a:lnTo>
                  <a:pt x="859" y="438"/>
                </a:lnTo>
                <a:lnTo>
                  <a:pt x="861" y="436"/>
                </a:lnTo>
                <a:lnTo>
                  <a:pt x="862" y="434"/>
                </a:lnTo>
                <a:lnTo>
                  <a:pt x="864" y="432"/>
                </a:lnTo>
                <a:lnTo>
                  <a:pt x="864" y="428"/>
                </a:lnTo>
                <a:lnTo>
                  <a:pt x="866" y="425"/>
                </a:lnTo>
                <a:lnTo>
                  <a:pt x="864" y="422"/>
                </a:lnTo>
                <a:lnTo>
                  <a:pt x="864" y="420"/>
                </a:lnTo>
                <a:lnTo>
                  <a:pt x="862" y="417"/>
                </a:lnTo>
                <a:lnTo>
                  <a:pt x="861" y="414"/>
                </a:lnTo>
                <a:lnTo>
                  <a:pt x="859" y="412"/>
                </a:lnTo>
                <a:lnTo>
                  <a:pt x="856" y="411"/>
                </a:lnTo>
                <a:lnTo>
                  <a:pt x="854" y="410"/>
                </a:lnTo>
                <a:lnTo>
                  <a:pt x="850" y="41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8187370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8505CDED-13AE-40F0-87D6-E4A6DDAE0C42}"/>
              </a:ext>
            </a:extLst>
          </p:cNvPr>
          <p:cNvSpPr txBox="1"/>
          <p:nvPr/>
        </p:nvSpPr>
        <p:spPr>
          <a:xfrm>
            <a:off x="391886" y="138113"/>
            <a:ext cx="11408228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>
                <a:solidFill>
                  <a:schemeClr val="tx2"/>
                </a:solidFill>
                <a:latin typeface="+mj-lt"/>
              </a:rPr>
              <a:t>SUPPLY CHAIN</a:t>
            </a:r>
            <a:endParaRPr lang="en-ID" sz="4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650DC6E6-7E8C-4810-BA99-8139F7C1E125}"/>
              </a:ext>
            </a:extLst>
          </p:cNvPr>
          <p:cNvSpPr/>
          <p:nvPr/>
        </p:nvSpPr>
        <p:spPr>
          <a:xfrm>
            <a:off x="334962" y="815221"/>
            <a:ext cx="1152207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lo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l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D372E057-0BFB-4CB4-8BB3-967DEB9AF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BA98C-1060-4864-8096-9350DC016A42}" type="datetime1">
              <a:rPr lang="en-ID" smtClean="0"/>
              <a:pPr/>
              <a:t>6/27/2020</a:t>
            </a:fld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24DC781-AC70-4CCD-8B70-39BA47EBA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89122-6C24-49FD-BEBC-7A811562A5F5}" type="slidenum">
              <a:rPr lang="en-ID" smtClean="0"/>
              <a:pPr/>
              <a:t>3</a:t>
            </a:fld>
            <a:endParaRPr lang="en-ID"/>
          </a:p>
        </p:txBody>
      </p:sp>
      <p:sp>
        <p:nvSpPr>
          <p:cNvPr id="42" name="Freeform: Shape 41">
            <a:extLst>
              <a:ext uri="{FF2B5EF4-FFF2-40B4-BE49-F238E27FC236}">
                <a16:creationId xmlns="" xmlns:a16="http://schemas.microsoft.com/office/drawing/2014/main" id="{9EA0337C-48EC-4AA1-9BD4-81D61D67E0AB}"/>
              </a:ext>
            </a:extLst>
          </p:cNvPr>
          <p:cNvSpPr/>
          <p:nvPr/>
        </p:nvSpPr>
        <p:spPr>
          <a:xfrm>
            <a:off x="308792" y="1674949"/>
            <a:ext cx="11574416" cy="3167064"/>
          </a:xfrm>
          <a:custGeom>
            <a:avLst/>
            <a:gdLst>
              <a:gd name="connsiteX0" fmla="*/ 1464320 w 10515600"/>
              <a:gd name="connsiteY0" fmla="*/ 260103 h 2877344"/>
              <a:gd name="connsiteX1" fmla="*/ 309695 w 10515600"/>
              <a:gd name="connsiteY1" fmla="*/ 1201150 h 2877344"/>
              <a:gd name="connsiteX2" fmla="*/ 285750 w 10515600"/>
              <a:gd name="connsiteY2" fmla="*/ 1438673 h 2877344"/>
              <a:gd name="connsiteX3" fmla="*/ 285750 w 10515600"/>
              <a:gd name="connsiteY3" fmla="*/ 1438672 h 2877344"/>
              <a:gd name="connsiteX4" fmla="*/ 285750 w 10515600"/>
              <a:gd name="connsiteY4" fmla="*/ 1438673 h 2877344"/>
              <a:gd name="connsiteX5" fmla="*/ 285750 w 10515600"/>
              <a:gd name="connsiteY5" fmla="*/ 1438673 h 2877344"/>
              <a:gd name="connsiteX6" fmla="*/ 309695 w 10515600"/>
              <a:gd name="connsiteY6" fmla="*/ 1676195 h 2877344"/>
              <a:gd name="connsiteX7" fmla="*/ 1464320 w 10515600"/>
              <a:gd name="connsiteY7" fmla="*/ 2617242 h 2877344"/>
              <a:gd name="connsiteX8" fmla="*/ 9070330 w 10515600"/>
              <a:gd name="connsiteY8" fmla="*/ 2617243 h 2877344"/>
              <a:gd name="connsiteX9" fmla="*/ 10248900 w 10515600"/>
              <a:gd name="connsiteY9" fmla="*/ 1438673 h 2877344"/>
              <a:gd name="connsiteX10" fmla="*/ 10248901 w 10515600"/>
              <a:gd name="connsiteY10" fmla="*/ 1438673 h 2877344"/>
              <a:gd name="connsiteX11" fmla="*/ 9070331 w 10515600"/>
              <a:gd name="connsiteY11" fmla="*/ 260103 h 2877344"/>
              <a:gd name="connsiteX12" fmla="*/ 1438672 w 10515600"/>
              <a:gd name="connsiteY12" fmla="*/ 0 h 2877344"/>
              <a:gd name="connsiteX13" fmla="*/ 9076928 w 10515600"/>
              <a:gd name="connsiteY13" fmla="*/ 0 h 2877344"/>
              <a:gd name="connsiteX14" fmla="*/ 10515600 w 10515600"/>
              <a:gd name="connsiteY14" fmla="*/ 1438672 h 2877344"/>
              <a:gd name="connsiteX15" fmla="*/ 9076928 w 10515600"/>
              <a:gd name="connsiteY15" fmla="*/ 2877344 h 2877344"/>
              <a:gd name="connsiteX16" fmla="*/ 1438672 w 10515600"/>
              <a:gd name="connsiteY16" fmla="*/ 2877344 h 2877344"/>
              <a:gd name="connsiteX17" fmla="*/ 0 w 10515600"/>
              <a:gd name="connsiteY17" fmla="*/ 1438672 h 2877344"/>
              <a:gd name="connsiteX18" fmla="*/ 1438672 w 10515600"/>
              <a:gd name="connsiteY18" fmla="*/ 0 h 2877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0515600" h="2877344">
                <a:moveTo>
                  <a:pt x="1464320" y="260103"/>
                </a:moveTo>
                <a:cubicBezTo>
                  <a:pt x="894777" y="260103"/>
                  <a:pt x="419592" y="664096"/>
                  <a:pt x="309695" y="1201150"/>
                </a:cubicBezTo>
                <a:lnTo>
                  <a:pt x="285750" y="1438673"/>
                </a:lnTo>
                <a:lnTo>
                  <a:pt x="285750" y="1438672"/>
                </a:lnTo>
                <a:lnTo>
                  <a:pt x="285750" y="1438673"/>
                </a:lnTo>
                <a:lnTo>
                  <a:pt x="285750" y="1438673"/>
                </a:lnTo>
                <a:lnTo>
                  <a:pt x="309695" y="1676195"/>
                </a:lnTo>
                <a:cubicBezTo>
                  <a:pt x="419592" y="2213250"/>
                  <a:pt x="894777" y="2617242"/>
                  <a:pt x="1464320" y="2617242"/>
                </a:cubicBezTo>
                <a:lnTo>
                  <a:pt x="9070330" y="2617243"/>
                </a:lnTo>
                <a:cubicBezTo>
                  <a:pt x="9721236" y="2617243"/>
                  <a:pt x="10248900" y="2089579"/>
                  <a:pt x="10248900" y="1438673"/>
                </a:cubicBezTo>
                <a:lnTo>
                  <a:pt x="10248901" y="1438673"/>
                </a:lnTo>
                <a:cubicBezTo>
                  <a:pt x="10248901" y="787767"/>
                  <a:pt x="9721237" y="260103"/>
                  <a:pt x="9070331" y="260103"/>
                </a:cubicBezTo>
                <a:close/>
                <a:moveTo>
                  <a:pt x="1438672" y="0"/>
                </a:moveTo>
                <a:lnTo>
                  <a:pt x="9076928" y="0"/>
                </a:lnTo>
                <a:cubicBezTo>
                  <a:pt x="9871485" y="0"/>
                  <a:pt x="10515600" y="644115"/>
                  <a:pt x="10515600" y="1438672"/>
                </a:cubicBezTo>
                <a:cubicBezTo>
                  <a:pt x="10515600" y="2233229"/>
                  <a:pt x="9871485" y="2877344"/>
                  <a:pt x="9076928" y="2877344"/>
                </a:cubicBezTo>
                <a:lnTo>
                  <a:pt x="1438672" y="2877344"/>
                </a:lnTo>
                <a:cubicBezTo>
                  <a:pt x="644115" y="2877344"/>
                  <a:pt x="0" y="2233229"/>
                  <a:pt x="0" y="1438672"/>
                </a:cubicBezTo>
                <a:cubicBezTo>
                  <a:pt x="0" y="644115"/>
                  <a:pt x="644115" y="0"/>
                  <a:pt x="1438672" y="0"/>
                </a:cubicBezTo>
                <a:close/>
              </a:path>
            </a:pathLst>
          </a:custGeom>
          <a:noFill/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176" name="Freeform 97">
            <a:extLst>
              <a:ext uri="{FF2B5EF4-FFF2-40B4-BE49-F238E27FC236}">
                <a16:creationId xmlns="" xmlns:a16="http://schemas.microsoft.com/office/drawing/2014/main" id="{22B80AF6-9A81-4B2E-9575-0F4792E00822}"/>
              </a:ext>
            </a:extLst>
          </p:cNvPr>
          <p:cNvSpPr>
            <a:spLocks noEditPoints="1"/>
          </p:cNvSpPr>
          <p:nvPr/>
        </p:nvSpPr>
        <p:spPr bwMode="auto">
          <a:xfrm>
            <a:off x="1121609" y="3907810"/>
            <a:ext cx="1604882" cy="1604882"/>
          </a:xfrm>
          <a:custGeom>
            <a:avLst/>
            <a:gdLst>
              <a:gd name="T0" fmla="*/ 677 w 714"/>
              <a:gd name="T1" fmla="*/ 212 h 715"/>
              <a:gd name="T2" fmla="*/ 626 w 714"/>
              <a:gd name="T3" fmla="*/ 179 h 715"/>
              <a:gd name="T4" fmla="*/ 573 w 714"/>
              <a:gd name="T5" fmla="*/ 139 h 715"/>
              <a:gd name="T6" fmla="*/ 553 w 714"/>
              <a:gd name="T7" fmla="*/ 94 h 715"/>
              <a:gd name="T8" fmla="*/ 516 w 714"/>
              <a:gd name="T9" fmla="*/ 53 h 715"/>
              <a:gd name="T10" fmla="*/ 421 w 714"/>
              <a:gd name="T11" fmla="*/ 60 h 715"/>
              <a:gd name="T12" fmla="*/ 429 w 714"/>
              <a:gd name="T13" fmla="*/ 26 h 715"/>
              <a:gd name="T14" fmla="*/ 22 w 714"/>
              <a:gd name="T15" fmla="*/ 436 h 715"/>
              <a:gd name="T16" fmla="*/ 39 w 714"/>
              <a:gd name="T17" fmla="*/ 451 h 715"/>
              <a:gd name="T18" fmla="*/ 60 w 714"/>
              <a:gd name="T19" fmla="*/ 465 h 715"/>
              <a:gd name="T20" fmla="*/ 108 w 714"/>
              <a:gd name="T21" fmla="*/ 446 h 715"/>
              <a:gd name="T22" fmla="*/ 102 w 714"/>
              <a:gd name="T23" fmla="*/ 508 h 715"/>
              <a:gd name="T24" fmla="*/ 146 w 714"/>
              <a:gd name="T25" fmla="*/ 552 h 715"/>
              <a:gd name="T26" fmla="*/ 190 w 714"/>
              <a:gd name="T27" fmla="*/ 596 h 715"/>
              <a:gd name="T28" fmla="*/ 214 w 714"/>
              <a:gd name="T29" fmla="*/ 647 h 715"/>
              <a:gd name="T30" fmla="*/ 296 w 714"/>
              <a:gd name="T31" fmla="*/ 709 h 715"/>
              <a:gd name="T32" fmla="*/ 684 w 714"/>
              <a:gd name="T33" fmla="*/ 227 h 715"/>
              <a:gd name="T34" fmla="*/ 434 w 714"/>
              <a:gd name="T35" fmla="*/ 24 h 715"/>
              <a:gd name="T36" fmla="*/ 9 w 714"/>
              <a:gd name="T37" fmla="*/ 371 h 715"/>
              <a:gd name="T38" fmla="*/ 37 w 714"/>
              <a:gd name="T39" fmla="*/ 344 h 715"/>
              <a:gd name="T40" fmla="*/ 45 w 714"/>
              <a:gd name="T41" fmla="*/ 192 h 715"/>
              <a:gd name="T42" fmla="*/ 64 w 714"/>
              <a:gd name="T43" fmla="*/ 419 h 715"/>
              <a:gd name="T44" fmla="*/ 84 w 714"/>
              <a:gd name="T45" fmla="*/ 332 h 715"/>
              <a:gd name="T46" fmla="*/ 87 w 714"/>
              <a:gd name="T47" fmla="*/ 502 h 715"/>
              <a:gd name="T48" fmla="*/ 234 w 714"/>
              <a:gd name="T49" fmla="*/ 679 h 715"/>
              <a:gd name="T50" fmla="*/ 287 w 714"/>
              <a:gd name="T51" fmla="*/ 641 h 715"/>
              <a:gd name="T52" fmla="*/ 303 w 714"/>
              <a:gd name="T53" fmla="*/ 67 h 715"/>
              <a:gd name="T54" fmla="*/ 270 w 714"/>
              <a:gd name="T55" fmla="*/ 571 h 715"/>
              <a:gd name="T56" fmla="*/ 246 w 714"/>
              <a:gd name="T57" fmla="*/ 640 h 715"/>
              <a:gd name="T58" fmla="*/ 249 w 714"/>
              <a:gd name="T59" fmla="*/ 640 h 715"/>
              <a:gd name="T60" fmla="*/ 227 w 714"/>
              <a:gd name="T61" fmla="*/ 527 h 715"/>
              <a:gd name="T62" fmla="*/ 209 w 714"/>
              <a:gd name="T63" fmla="*/ 468 h 715"/>
              <a:gd name="T64" fmla="*/ 178 w 714"/>
              <a:gd name="T65" fmla="*/ 383 h 715"/>
              <a:gd name="T66" fmla="*/ 165 w 714"/>
              <a:gd name="T67" fmla="*/ 345 h 715"/>
              <a:gd name="T68" fmla="*/ 156 w 714"/>
              <a:gd name="T69" fmla="*/ 435 h 715"/>
              <a:gd name="T70" fmla="*/ 132 w 714"/>
              <a:gd name="T71" fmla="*/ 280 h 715"/>
              <a:gd name="T72" fmla="*/ 123 w 714"/>
              <a:gd name="T73" fmla="*/ 474 h 715"/>
              <a:gd name="T74" fmla="*/ 154 w 714"/>
              <a:gd name="T75" fmla="*/ 484 h 715"/>
              <a:gd name="T76" fmla="*/ 189 w 714"/>
              <a:gd name="T77" fmla="*/ 398 h 715"/>
              <a:gd name="T78" fmla="*/ 235 w 714"/>
              <a:gd name="T79" fmla="*/ 592 h 715"/>
              <a:gd name="T80" fmla="*/ 277 w 714"/>
              <a:gd name="T81" fmla="*/ 700 h 715"/>
              <a:gd name="T82" fmla="*/ 335 w 714"/>
              <a:gd name="T83" fmla="*/ 131 h 715"/>
              <a:gd name="T84" fmla="*/ 522 w 714"/>
              <a:gd name="T85" fmla="*/ 181 h 715"/>
              <a:gd name="T86" fmla="*/ 480 w 714"/>
              <a:gd name="T87" fmla="*/ 95 h 715"/>
              <a:gd name="T88" fmla="*/ 502 w 714"/>
              <a:gd name="T89" fmla="*/ 132 h 715"/>
              <a:gd name="T90" fmla="*/ 509 w 714"/>
              <a:gd name="T91" fmla="*/ 36 h 715"/>
              <a:gd name="T92" fmla="*/ 462 w 714"/>
              <a:gd name="T93" fmla="*/ 49 h 715"/>
              <a:gd name="T94" fmla="*/ 406 w 714"/>
              <a:gd name="T95" fmla="*/ 125 h 715"/>
              <a:gd name="T96" fmla="*/ 372 w 714"/>
              <a:gd name="T97" fmla="*/ 610 h 715"/>
              <a:gd name="T98" fmla="*/ 398 w 714"/>
              <a:gd name="T99" fmla="*/ 679 h 715"/>
              <a:gd name="T100" fmla="*/ 454 w 714"/>
              <a:gd name="T101" fmla="*/ 644 h 715"/>
              <a:gd name="T102" fmla="*/ 469 w 714"/>
              <a:gd name="T103" fmla="*/ 168 h 715"/>
              <a:gd name="T104" fmla="*/ 522 w 714"/>
              <a:gd name="T105" fmla="*/ 285 h 715"/>
              <a:gd name="T106" fmla="*/ 585 w 714"/>
              <a:gd name="T107" fmla="*/ 213 h 715"/>
              <a:gd name="T108" fmla="*/ 544 w 714"/>
              <a:gd name="T109" fmla="*/ 168 h 715"/>
              <a:gd name="T110" fmla="*/ 573 w 714"/>
              <a:gd name="T111" fmla="*/ 236 h 715"/>
              <a:gd name="T112" fmla="*/ 595 w 714"/>
              <a:gd name="T113" fmla="*/ 470 h 715"/>
              <a:gd name="T114" fmla="*/ 651 w 714"/>
              <a:gd name="T115" fmla="*/ 272 h 715"/>
              <a:gd name="T116" fmla="*/ 630 w 714"/>
              <a:gd name="T117" fmla="*/ 261 h 715"/>
              <a:gd name="T118" fmla="*/ 615 w 714"/>
              <a:gd name="T119" fmla="*/ 194 h 715"/>
              <a:gd name="T120" fmla="*/ 625 w 714"/>
              <a:gd name="T121" fmla="*/ 381 h 715"/>
              <a:gd name="T122" fmla="*/ 658 w 714"/>
              <a:gd name="T123" fmla="*/ 277 h 715"/>
              <a:gd name="T124" fmla="*/ 686 w 714"/>
              <a:gd name="T125" fmla="*/ 342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14" h="715">
                <a:moveTo>
                  <a:pt x="710" y="304"/>
                </a:moveTo>
                <a:cubicBezTo>
                  <a:pt x="710" y="305"/>
                  <a:pt x="710" y="305"/>
                  <a:pt x="709" y="305"/>
                </a:cubicBezTo>
                <a:cubicBezTo>
                  <a:pt x="709" y="304"/>
                  <a:pt x="710" y="303"/>
                  <a:pt x="710" y="303"/>
                </a:cubicBezTo>
                <a:cubicBezTo>
                  <a:pt x="710" y="303"/>
                  <a:pt x="710" y="303"/>
                  <a:pt x="710" y="303"/>
                </a:cubicBezTo>
                <a:cubicBezTo>
                  <a:pt x="709" y="297"/>
                  <a:pt x="708" y="292"/>
                  <a:pt x="707" y="286"/>
                </a:cubicBezTo>
                <a:cubicBezTo>
                  <a:pt x="707" y="287"/>
                  <a:pt x="707" y="288"/>
                  <a:pt x="706" y="290"/>
                </a:cubicBezTo>
                <a:cubicBezTo>
                  <a:pt x="706" y="289"/>
                  <a:pt x="707" y="289"/>
                  <a:pt x="707" y="289"/>
                </a:cubicBezTo>
                <a:cubicBezTo>
                  <a:pt x="707" y="290"/>
                  <a:pt x="706" y="290"/>
                  <a:pt x="706" y="290"/>
                </a:cubicBezTo>
                <a:cubicBezTo>
                  <a:pt x="706" y="292"/>
                  <a:pt x="706" y="294"/>
                  <a:pt x="705" y="295"/>
                </a:cubicBezTo>
                <a:cubicBezTo>
                  <a:pt x="703" y="298"/>
                  <a:pt x="703" y="301"/>
                  <a:pt x="703" y="301"/>
                </a:cubicBezTo>
                <a:cubicBezTo>
                  <a:pt x="702" y="302"/>
                  <a:pt x="700" y="300"/>
                  <a:pt x="699" y="300"/>
                </a:cubicBezTo>
                <a:cubicBezTo>
                  <a:pt x="697" y="301"/>
                  <a:pt x="697" y="303"/>
                  <a:pt x="696" y="300"/>
                </a:cubicBezTo>
                <a:cubicBezTo>
                  <a:pt x="696" y="299"/>
                  <a:pt x="696" y="301"/>
                  <a:pt x="695" y="298"/>
                </a:cubicBezTo>
                <a:cubicBezTo>
                  <a:pt x="695" y="297"/>
                  <a:pt x="697" y="291"/>
                  <a:pt x="700" y="292"/>
                </a:cubicBezTo>
                <a:cubicBezTo>
                  <a:pt x="701" y="293"/>
                  <a:pt x="702" y="295"/>
                  <a:pt x="703" y="292"/>
                </a:cubicBezTo>
                <a:cubicBezTo>
                  <a:pt x="703" y="291"/>
                  <a:pt x="703" y="290"/>
                  <a:pt x="703" y="289"/>
                </a:cubicBezTo>
                <a:cubicBezTo>
                  <a:pt x="703" y="287"/>
                  <a:pt x="705" y="284"/>
                  <a:pt x="706" y="282"/>
                </a:cubicBezTo>
                <a:cubicBezTo>
                  <a:pt x="705" y="276"/>
                  <a:pt x="704" y="270"/>
                  <a:pt x="702" y="264"/>
                </a:cubicBezTo>
                <a:cubicBezTo>
                  <a:pt x="701" y="268"/>
                  <a:pt x="695" y="273"/>
                  <a:pt x="691" y="270"/>
                </a:cubicBezTo>
                <a:cubicBezTo>
                  <a:pt x="691" y="271"/>
                  <a:pt x="691" y="270"/>
                  <a:pt x="690" y="270"/>
                </a:cubicBezTo>
                <a:cubicBezTo>
                  <a:pt x="690" y="270"/>
                  <a:pt x="690" y="270"/>
                  <a:pt x="690" y="270"/>
                </a:cubicBezTo>
                <a:cubicBezTo>
                  <a:pt x="690" y="271"/>
                  <a:pt x="690" y="270"/>
                  <a:pt x="690" y="270"/>
                </a:cubicBezTo>
                <a:cubicBezTo>
                  <a:pt x="690" y="270"/>
                  <a:pt x="690" y="270"/>
                  <a:pt x="690" y="269"/>
                </a:cubicBezTo>
                <a:cubicBezTo>
                  <a:pt x="689" y="270"/>
                  <a:pt x="688" y="271"/>
                  <a:pt x="688" y="271"/>
                </a:cubicBezTo>
                <a:cubicBezTo>
                  <a:pt x="686" y="270"/>
                  <a:pt x="686" y="273"/>
                  <a:pt x="685" y="274"/>
                </a:cubicBezTo>
                <a:cubicBezTo>
                  <a:pt x="684" y="274"/>
                  <a:pt x="682" y="273"/>
                  <a:pt x="682" y="275"/>
                </a:cubicBezTo>
                <a:cubicBezTo>
                  <a:pt x="681" y="270"/>
                  <a:pt x="674" y="279"/>
                  <a:pt x="674" y="281"/>
                </a:cubicBezTo>
                <a:cubicBezTo>
                  <a:pt x="675" y="280"/>
                  <a:pt x="681" y="280"/>
                  <a:pt x="680" y="280"/>
                </a:cubicBezTo>
                <a:cubicBezTo>
                  <a:pt x="680" y="280"/>
                  <a:pt x="681" y="280"/>
                  <a:pt x="681" y="280"/>
                </a:cubicBezTo>
                <a:cubicBezTo>
                  <a:pt x="681" y="280"/>
                  <a:pt x="681" y="280"/>
                  <a:pt x="681" y="280"/>
                </a:cubicBezTo>
                <a:cubicBezTo>
                  <a:pt x="681" y="279"/>
                  <a:pt x="682" y="278"/>
                  <a:pt x="682" y="279"/>
                </a:cubicBezTo>
                <a:cubicBezTo>
                  <a:pt x="684" y="280"/>
                  <a:pt x="681" y="280"/>
                  <a:pt x="681" y="281"/>
                </a:cubicBezTo>
                <a:cubicBezTo>
                  <a:pt x="681" y="282"/>
                  <a:pt x="681" y="282"/>
                  <a:pt x="681" y="282"/>
                </a:cubicBezTo>
                <a:cubicBezTo>
                  <a:pt x="682" y="282"/>
                  <a:pt x="683" y="282"/>
                  <a:pt x="683" y="284"/>
                </a:cubicBezTo>
                <a:cubicBezTo>
                  <a:pt x="683" y="284"/>
                  <a:pt x="683" y="284"/>
                  <a:pt x="683" y="284"/>
                </a:cubicBezTo>
                <a:cubicBezTo>
                  <a:pt x="683" y="284"/>
                  <a:pt x="684" y="285"/>
                  <a:pt x="684" y="286"/>
                </a:cubicBezTo>
                <a:cubicBezTo>
                  <a:pt x="684" y="286"/>
                  <a:pt x="681" y="289"/>
                  <a:pt x="681" y="290"/>
                </a:cubicBezTo>
                <a:cubicBezTo>
                  <a:pt x="680" y="290"/>
                  <a:pt x="679" y="295"/>
                  <a:pt x="678" y="295"/>
                </a:cubicBezTo>
                <a:cubicBezTo>
                  <a:pt x="676" y="295"/>
                  <a:pt x="679" y="293"/>
                  <a:pt x="677" y="292"/>
                </a:cubicBezTo>
                <a:cubicBezTo>
                  <a:pt x="677" y="291"/>
                  <a:pt x="675" y="293"/>
                  <a:pt x="674" y="293"/>
                </a:cubicBezTo>
                <a:cubicBezTo>
                  <a:pt x="673" y="292"/>
                  <a:pt x="674" y="291"/>
                  <a:pt x="673" y="290"/>
                </a:cubicBezTo>
                <a:cubicBezTo>
                  <a:pt x="673" y="290"/>
                  <a:pt x="671" y="292"/>
                  <a:pt x="670" y="290"/>
                </a:cubicBezTo>
                <a:cubicBezTo>
                  <a:pt x="669" y="288"/>
                  <a:pt x="672" y="289"/>
                  <a:pt x="672" y="288"/>
                </a:cubicBezTo>
                <a:cubicBezTo>
                  <a:pt x="672" y="287"/>
                  <a:pt x="671" y="287"/>
                  <a:pt x="671" y="287"/>
                </a:cubicBezTo>
                <a:cubicBezTo>
                  <a:pt x="671" y="286"/>
                  <a:pt x="672" y="285"/>
                  <a:pt x="672" y="283"/>
                </a:cubicBezTo>
                <a:cubicBezTo>
                  <a:pt x="672" y="283"/>
                  <a:pt x="672" y="282"/>
                  <a:pt x="672" y="282"/>
                </a:cubicBezTo>
                <a:cubicBezTo>
                  <a:pt x="673" y="279"/>
                  <a:pt x="678" y="276"/>
                  <a:pt x="677" y="271"/>
                </a:cubicBezTo>
                <a:cubicBezTo>
                  <a:pt x="676" y="270"/>
                  <a:pt x="675" y="271"/>
                  <a:pt x="674" y="272"/>
                </a:cubicBezTo>
                <a:cubicBezTo>
                  <a:pt x="675" y="269"/>
                  <a:pt x="676" y="260"/>
                  <a:pt x="681" y="259"/>
                </a:cubicBezTo>
                <a:cubicBezTo>
                  <a:pt x="681" y="259"/>
                  <a:pt x="684" y="259"/>
                  <a:pt x="685" y="259"/>
                </a:cubicBezTo>
                <a:cubicBezTo>
                  <a:pt x="685" y="259"/>
                  <a:pt x="686" y="260"/>
                  <a:pt x="687" y="261"/>
                </a:cubicBezTo>
                <a:cubicBezTo>
                  <a:pt x="687" y="261"/>
                  <a:pt x="687" y="261"/>
                  <a:pt x="688" y="261"/>
                </a:cubicBezTo>
                <a:cubicBezTo>
                  <a:pt x="688" y="261"/>
                  <a:pt x="688" y="261"/>
                  <a:pt x="688" y="261"/>
                </a:cubicBezTo>
                <a:cubicBezTo>
                  <a:pt x="688" y="262"/>
                  <a:pt x="688" y="262"/>
                  <a:pt x="689" y="262"/>
                </a:cubicBezTo>
                <a:cubicBezTo>
                  <a:pt x="690" y="261"/>
                  <a:pt x="691" y="259"/>
                  <a:pt x="692" y="258"/>
                </a:cubicBezTo>
                <a:cubicBezTo>
                  <a:pt x="691" y="257"/>
                  <a:pt x="690" y="258"/>
                  <a:pt x="689" y="259"/>
                </a:cubicBezTo>
                <a:cubicBezTo>
                  <a:pt x="689" y="258"/>
                  <a:pt x="689" y="258"/>
                  <a:pt x="689" y="258"/>
                </a:cubicBezTo>
                <a:cubicBezTo>
                  <a:pt x="688" y="258"/>
                  <a:pt x="687" y="258"/>
                  <a:pt x="687" y="257"/>
                </a:cubicBezTo>
                <a:cubicBezTo>
                  <a:pt x="686" y="256"/>
                  <a:pt x="688" y="256"/>
                  <a:pt x="688" y="256"/>
                </a:cubicBezTo>
                <a:cubicBezTo>
                  <a:pt x="689" y="254"/>
                  <a:pt x="687" y="255"/>
                  <a:pt x="688" y="253"/>
                </a:cubicBezTo>
                <a:cubicBezTo>
                  <a:pt x="689" y="252"/>
                  <a:pt x="692" y="252"/>
                  <a:pt x="692" y="251"/>
                </a:cubicBezTo>
                <a:cubicBezTo>
                  <a:pt x="692" y="251"/>
                  <a:pt x="692" y="250"/>
                  <a:pt x="692" y="250"/>
                </a:cubicBezTo>
                <a:cubicBezTo>
                  <a:pt x="692" y="250"/>
                  <a:pt x="691" y="249"/>
                  <a:pt x="691" y="249"/>
                </a:cubicBezTo>
                <a:cubicBezTo>
                  <a:pt x="691" y="249"/>
                  <a:pt x="692" y="247"/>
                  <a:pt x="691" y="246"/>
                </a:cubicBezTo>
                <a:cubicBezTo>
                  <a:pt x="690" y="245"/>
                  <a:pt x="690" y="246"/>
                  <a:pt x="690" y="246"/>
                </a:cubicBezTo>
                <a:cubicBezTo>
                  <a:pt x="689" y="246"/>
                  <a:pt x="688" y="242"/>
                  <a:pt x="688" y="242"/>
                </a:cubicBezTo>
                <a:cubicBezTo>
                  <a:pt x="689" y="240"/>
                  <a:pt x="691" y="242"/>
                  <a:pt x="693" y="241"/>
                </a:cubicBezTo>
                <a:cubicBezTo>
                  <a:pt x="692" y="241"/>
                  <a:pt x="693" y="239"/>
                  <a:pt x="694" y="239"/>
                </a:cubicBezTo>
                <a:cubicBezTo>
                  <a:pt x="693" y="235"/>
                  <a:pt x="691" y="231"/>
                  <a:pt x="690" y="227"/>
                </a:cubicBezTo>
                <a:cubicBezTo>
                  <a:pt x="690" y="227"/>
                  <a:pt x="689" y="227"/>
                  <a:pt x="689" y="227"/>
                </a:cubicBezTo>
                <a:cubicBezTo>
                  <a:pt x="688" y="227"/>
                  <a:pt x="689" y="225"/>
                  <a:pt x="688" y="224"/>
                </a:cubicBezTo>
                <a:cubicBezTo>
                  <a:pt x="688" y="223"/>
                  <a:pt x="688" y="223"/>
                  <a:pt x="688" y="223"/>
                </a:cubicBezTo>
                <a:cubicBezTo>
                  <a:pt x="688" y="222"/>
                  <a:pt x="688" y="222"/>
                  <a:pt x="688" y="221"/>
                </a:cubicBezTo>
                <a:cubicBezTo>
                  <a:pt x="685" y="222"/>
                  <a:pt x="682" y="222"/>
                  <a:pt x="681" y="222"/>
                </a:cubicBezTo>
                <a:cubicBezTo>
                  <a:pt x="679" y="222"/>
                  <a:pt x="680" y="219"/>
                  <a:pt x="678" y="220"/>
                </a:cubicBezTo>
                <a:cubicBezTo>
                  <a:pt x="680" y="218"/>
                  <a:pt x="676" y="218"/>
                  <a:pt x="676" y="216"/>
                </a:cubicBezTo>
                <a:cubicBezTo>
                  <a:pt x="675" y="215"/>
                  <a:pt x="677" y="215"/>
                  <a:pt x="677" y="215"/>
                </a:cubicBezTo>
                <a:cubicBezTo>
                  <a:pt x="678" y="214"/>
                  <a:pt x="676" y="213"/>
                  <a:pt x="677" y="212"/>
                </a:cubicBezTo>
                <a:cubicBezTo>
                  <a:pt x="677" y="212"/>
                  <a:pt x="677" y="212"/>
                  <a:pt x="677" y="212"/>
                </a:cubicBezTo>
                <a:cubicBezTo>
                  <a:pt x="676" y="212"/>
                  <a:pt x="675" y="210"/>
                  <a:pt x="675" y="209"/>
                </a:cubicBezTo>
                <a:cubicBezTo>
                  <a:pt x="674" y="209"/>
                  <a:pt x="674" y="209"/>
                  <a:pt x="673" y="209"/>
                </a:cubicBezTo>
                <a:cubicBezTo>
                  <a:pt x="674" y="210"/>
                  <a:pt x="674" y="210"/>
                  <a:pt x="674" y="211"/>
                </a:cubicBezTo>
                <a:cubicBezTo>
                  <a:pt x="674" y="212"/>
                  <a:pt x="674" y="212"/>
                  <a:pt x="673" y="213"/>
                </a:cubicBezTo>
                <a:cubicBezTo>
                  <a:pt x="673" y="214"/>
                  <a:pt x="673" y="214"/>
                  <a:pt x="673" y="215"/>
                </a:cubicBezTo>
                <a:cubicBezTo>
                  <a:pt x="673" y="215"/>
                  <a:pt x="673" y="215"/>
                  <a:pt x="673" y="215"/>
                </a:cubicBezTo>
                <a:cubicBezTo>
                  <a:pt x="673" y="215"/>
                  <a:pt x="672" y="216"/>
                  <a:pt x="672" y="216"/>
                </a:cubicBezTo>
                <a:cubicBezTo>
                  <a:pt x="671" y="217"/>
                  <a:pt x="669" y="218"/>
                  <a:pt x="669" y="220"/>
                </a:cubicBezTo>
                <a:cubicBezTo>
                  <a:pt x="670" y="217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7" y="219"/>
                </a:cubicBezTo>
                <a:cubicBezTo>
                  <a:pt x="668" y="220"/>
                  <a:pt x="668" y="224"/>
                  <a:pt x="667" y="225"/>
                </a:cubicBezTo>
                <a:cubicBezTo>
                  <a:pt x="667" y="225"/>
                  <a:pt x="667" y="224"/>
                  <a:pt x="666" y="224"/>
                </a:cubicBezTo>
                <a:cubicBezTo>
                  <a:pt x="665" y="225"/>
                  <a:pt x="663" y="228"/>
                  <a:pt x="660" y="228"/>
                </a:cubicBezTo>
                <a:cubicBezTo>
                  <a:pt x="661" y="226"/>
                  <a:pt x="663" y="226"/>
                  <a:pt x="663" y="225"/>
                </a:cubicBezTo>
                <a:cubicBezTo>
                  <a:pt x="663" y="224"/>
                  <a:pt x="662" y="225"/>
                  <a:pt x="661" y="224"/>
                </a:cubicBezTo>
                <a:cubicBezTo>
                  <a:pt x="660" y="223"/>
                  <a:pt x="662" y="219"/>
                  <a:pt x="665" y="218"/>
                </a:cubicBezTo>
                <a:cubicBezTo>
                  <a:pt x="665" y="217"/>
                  <a:pt x="665" y="216"/>
                  <a:pt x="665" y="216"/>
                </a:cubicBezTo>
                <a:cubicBezTo>
                  <a:pt x="665" y="215"/>
                  <a:pt x="664" y="215"/>
                  <a:pt x="664" y="215"/>
                </a:cubicBezTo>
                <a:cubicBezTo>
                  <a:pt x="663" y="217"/>
                  <a:pt x="661" y="218"/>
                  <a:pt x="660" y="220"/>
                </a:cubicBezTo>
                <a:cubicBezTo>
                  <a:pt x="660" y="221"/>
                  <a:pt x="661" y="222"/>
                  <a:pt x="660" y="223"/>
                </a:cubicBezTo>
                <a:cubicBezTo>
                  <a:pt x="660" y="223"/>
                  <a:pt x="659" y="224"/>
                  <a:pt x="659" y="225"/>
                </a:cubicBezTo>
                <a:cubicBezTo>
                  <a:pt x="659" y="226"/>
                  <a:pt x="661" y="225"/>
                  <a:pt x="660" y="226"/>
                </a:cubicBezTo>
                <a:cubicBezTo>
                  <a:pt x="660" y="227"/>
                  <a:pt x="659" y="228"/>
                  <a:pt x="659" y="227"/>
                </a:cubicBezTo>
                <a:cubicBezTo>
                  <a:pt x="658" y="227"/>
                  <a:pt x="658" y="225"/>
                  <a:pt x="657" y="224"/>
                </a:cubicBezTo>
                <a:cubicBezTo>
                  <a:pt x="657" y="223"/>
                  <a:pt x="656" y="224"/>
                  <a:pt x="655" y="223"/>
                </a:cubicBezTo>
                <a:cubicBezTo>
                  <a:pt x="653" y="223"/>
                  <a:pt x="653" y="221"/>
                  <a:pt x="650" y="224"/>
                </a:cubicBezTo>
                <a:cubicBezTo>
                  <a:pt x="653" y="220"/>
                  <a:pt x="649" y="222"/>
                  <a:pt x="648" y="221"/>
                </a:cubicBezTo>
                <a:cubicBezTo>
                  <a:pt x="648" y="222"/>
                  <a:pt x="647" y="215"/>
                  <a:pt x="647" y="215"/>
                </a:cubicBezTo>
                <a:cubicBezTo>
                  <a:pt x="647" y="214"/>
                  <a:pt x="648" y="211"/>
                  <a:pt x="648" y="209"/>
                </a:cubicBezTo>
                <a:cubicBezTo>
                  <a:pt x="648" y="210"/>
                  <a:pt x="648" y="210"/>
                  <a:pt x="647" y="210"/>
                </a:cubicBezTo>
                <a:cubicBezTo>
                  <a:pt x="647" y="210"/>
                  <a:pt x="647" y="209"/>
                  <a:pt x="648" y="208"/>
                </a:cubicBezTo>
                <a:cubicBezTo>
                  <a:pt x="648" y="208"/>
                  <a:pt x="648" y="208"/>
                  <a:pt x="648" y="208"/>
                </a:cubicBezTo>
                <a:cubicBezTo>
                  <a:pt x="647" y="208"/>
                  <a:pt x="647" y="209"/>
                  <a:pt x="647" y="209"/>
                </a:cubicBezTo>
                <a:cubicBezTo>
                  <a:pt x="647" y="209"/>
                  <a:pt x="647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4" y="211"/>
                  <a:pt x="639" y="212"/>
                  <a:pt x="635" y="212"/>
                </a:cubicBezTo>
                <a:cubicBezTo>
                  <a:pt x="635" y="213"/>
                  <a:pt x="635" y="214"/>
                  <a:pt x="635" y="214"/>
                </a:cubicBezTo>
                <a:cubicBezTo>
                  <a:pt x="634" y="214"/>
                  <a:pt x="634" y="213"/>
                  <a:pt x="634" y="212"/>
                </a:cubicBezTo>
                <a:cubicBezTo>
                  <a:pt x="633" y="212"/>
                  <a:pt x="633" y="212"/>
                  <a:pt x="633" y="212"/>
                </a:cubicBezTo>
                <a:cubicBezTo>
                  <a:pt x="633" y="211"/>
                  <a:pt x="633" y="210"/>
                  <a:pt x="635" y="210"/>
                </a:cubicBezTo>
                <a:cubicBezTo>
                  <a:pt x="634" y="210"/>
                  <a:pt x="634" y="209"/>
                  <a:pt x="634" y="209"/>
                </a:cubicBezTo>
                <a:cubicBezTo>
                  <a:pt x="633" y="208"/>
                  <a:pt x="634" y="207"/>
                  <a:pt x="635" y="206"/>
                </a:cubicBezTo>
                <a:cubicBezTo>
                  <a:pt x="634" y="205"/>
                  <a:pt x="634" y="204"/>
                  <a:pt x="635" y="203"/>
                </a:cubicBezTo>
                <a:cubicBezTo>
                  <a:pt x="636" y="203"/>
                  <a:pt x="636" y="203"/>
                  <a:pt x="637" y="203"/>
                </a:cubicBezTo>
                <a:cubicBezTo>
                  <a:pt x="637" y="202"/>
                  <a:pt x="636" y="202"/>
                  <a:pt x="635" y="203"/>
                </a:cubicBezTo>
                <a:cubicBezTo>
                  <a:pt x="634" y="203"/>
                  <a:pt x="632" y="206"/>
                  <a:pt x="632" y="206"/>
                </a:cubicBezTo>
                <a:cubicBezTo>
                  <a:pt x="632" y="207"/>
                  <a:pt x="632" y="207"/>
                  <a:pt x="633" y="207"/>
                </a:cubicBezTo>
                <a:cubicBezTo>
                  <a:pt x="629" y="209"/>
                  <a:pt x="629" y="201"/>
                  <a:pt x="631" y="201"/>
                </a:cubicBezTo>
                <a:cubicBezTo>
                  <a:pt x="631" y="201"/>
                  <a:pt x="632" y="203"/>
                  <a:pt x="632" y="203"/>
                </a:cubicBezTo>
                <a:cubicBezTo>
                  <a:pt x="633" y="203"/>
                  <a:pt x="636" y="199"/>
                  <a:pt x="638" y="198"/>
                </a:cubicBezTo>
                <a:cubicBezTo>
                  <a:pt x="638" y="198"/>
                  <a:pt x="638" y="197"/>
                  <a:pt x="639" y="197"/>
                </a:cubicBezTo>
                <a:cubicBezTo>
                  <a:pt x="639" y="196"/>
                  <a:pt x="637" y="195"/>
                  <a:pt x="637" y="194"/>
                </a:cubicBezTo>
                <a:cubicBezTo>
                  <a:pt x="637" y="193"/>
                  <a:pt x="639" y="193"/>
                  <a:pt x="639" y="193"/>
                </a:cubicBezTo>
                <a:cubicBezTo>
                  <a:pt x="639" y="192"/>
                  <a:pt x="640" y="189"/>
                  <a:pt x="639" y="189"/>
                </a:cubicBezTo>
                <a:cubicBezTo>
                  <a:pt x="639" y="188"/>
                  <a:pt x="637" y="189"/>
                  <a:pt x="638" y="190"/>
                </a:cubicBezTo>
                <a:cubicBezTo>
                  <a:pt x="638" y="190"/>
                  <a:pt x="636" y="188"/>
                  <a:pt x="637" y="187"/>
                </a:cubicBezTo>
                <a:cubicBezTo>
                  <a:pt x="637" y="187"/>
                  <a:pt x="637" y="187"/>
                  <a:pt x="637" y="187"/>
                </a:cubicBezTo>
                <a:cubicBezTo>
                  <a:pt x="637" y="186"/>
                  <a:pt x="637" y="186"/>
                  <a:pt x="636" y="186"/>
                </a:cubicBezTo>
                <a:cubicBezTo>
                  <a:pt x="636" y="187"/>
                  <a:pt x="636" y="188"/>
                  <a:pt x="636" y="188"/>
                </a:cubicBezTo>
                <a:cubicBezTo>
                  <a:pt x="636" y="188"/>
                  <a:pt x="636" y="188"/>
                  <a:pt x="637" y="188"/>
                </a:cubicBezTo>
                <a:cubicBezTo>
                  <a:pt x="637" y="189"/>
                  <a:pt x="637" y="189"/>
                  <a:pt x="636" y="189"/>
                </a:cubicBezTo>
                <a:cubicBezTo>
                  <a:pt x="637" y="190"/>
                  <a:pt x="636" y="191"/>
                  <a:pt x="635" y="190"/>
                </a:cubicBezTo>
                <a:cubicBezTo>
                  <a:pt x="635" y="190"/>
                  <a:pt x="635" y="190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4" y="190"/>
                  <a:pt x="633" y="190"/>
                  <a:pt x="632" y="189"/>
                </a:cubicBezTo>
                <a:cubicBezTo>
                  <a:pt x="631" y="188"/>
                  <a:pt x="631" y="186"/>
                  <a:pt x="632" y="185"/>
                </a:cubicBezTo>
                <a:cubicBezTo>
                  <a:pt x="632" y="185"/>
                  <a:pt x="632" y="185"/>
                  <a:pt x="631" y="185"/>
                </a:cubicBezTo>
                <a:cubicBezTo>
                  <a:pt x="630" y="186"/>
                  <a:pt x="632" y="185"/>
                  <a:pt x="631" y="184"/>
                </a:cubicBezTo>
                <a:cubicBezTo>
                  <a:pt x="630" y="184"/>
                  <a:pt x="630" y="185"/>
                  <a:pt x="630" y="185"/>
                </a:cubicBezTo>
                <a:cubicBezTo>
                  <a:pt x="629" y="185"/>
                  <a:pt x="630" y="185"/>
                  <a:pt x="630" y="185"/>
                </a:cubicBezTo>
                <a:cubicBezTo>
                  <a:pt x="629" y="185"/>
                  <a:pt x="629" y="186"/>
                  <a:pt x="628" y="185"/>
                </a:cubicBezTo>
                <a:cubicBezTo>
                  <a:pt x="625" y="185"/>
                  <a:pt x="628" y="181"/>
                  <a:pt x="626" y="179"/>
                </a:cubicBezTo>
                <a:cubicBezTo>
                  <a:pt x="625" y="180"/>
                  <a:pt x="624" y="180"/>
                  <a:pt x="624" y="180"/>
                </a:cubicBezTo>
                <a:cubicBezTo>
                  <a:pt x="623" y="181"/>
                  <a:pt x="623" y="182"/>
                  <a:pt x="623" y="183"/>
                </a:cubicBezTo>
                <a:cubicBezTo>
                  <a:pt x="624" y="184"/>
                  <a:pt x="625" y="185"/>
                  <a:pt x="624" y="186"/>
                </a:cubicBezTo>
                <a:cubicBezTo>
                  <a:pt x="624" y="191"/>
                  <a:pt x="618" y="190"/>
                  <a:pt x="617" y="188"/>
                </a:cubicBezTo>
                <a:cubicBezTo>
                  <a:pt x="616" y="188"/>
                  <a:pt x="615" y="188"/>
                  <a:pt x="615" y="189"/>
                </a:cubicBezTo>
                <a:cubicBezTo>
                  <a:pt x="615" y="189"/>
                  <a:pt x="616" y="188"/>
                  <a:pt x="615" y="188"/>
                </a:cubicBezTo>
                <a:cubicBezTo>
                  <a:pt x="614" y="189"/>
                  <a:pt x="612" y="190"/>
                  <a:pt x="610" y="190"/>
                </a:cubicBezTo>
                <a:cubicBezTo>
                  <a:pt x="609" y="191"/>
                  <a:pt x="607" y="191"/>
                  <a:pt x="607" y="191"/>
                </a:cubicBezTo>
                <a:cubicBezTo>
                  <a:pt x="607" y="190"/>
                  <a:pt x="608" y="190"/>
                  <a:pt x="609" y="189"/>
                </a:cubicBezTo>
                <a:cubicBezTo>
                  <a:pt x="609" y="189"/>
                  <a:pt x="608" y="189"/>
                  <a:pt x="608" y="189"/>
                </a:cubicBezTo>
                <a:cubicBezTo>
                  <a:pt x="608" y="188"/>
                  <a:pt x="607" y="187"/>
                  <a:pt x="607" y="186"/>
                </a:cubicBezTo>
                <a:cubicBezTo>
                  <a:pt x="606" y="186"/>
                  <a:pt x="604" y="186"/>
                  <a:pt x="605" y="183"/>
                </a:cubicBezTo>
                <a:cubicBezTo>
                  <a:pt x="606" y="181"/>
                  <a:pt x="605" y="180"/>
                  <a:pt x="605" y="179"/>
                </a:cubicBezTo>
                <a:cubicBezTo>
                  <a:pt x="605" y="179"/>
                  <a:pt x="606" y="178"/>
                  <a:pt x="605" y="177"/>
                </a:cubicBezTo>
                <a:cubicBezTo>
                  <a:pt x="604" y="179"/>
                  <a:pt x="603" y="181"/>
                  <a:pt x="601" y="183"/>
                </a:cubicBezTo>
                <a:cubicBezTo>
                  <a:pt x="604" y="184"/>
                  <a:pt x="606" y="186"/>
                  <a:pt x="602" y="189"/>
                </a:cubicBezTo>
                <a:cubicBezTo>
                  <a:pt x="602" y="189"/>
                  <a:pt x="601" y="189"/>
                  <a:pt x="600" y="190"/>
                </a:cubicBezTo>
                <a:cubicBezTo>
                  <a:pt x="602" y="190"/>
                  <a:pt x="602" y="194"/>
                  <a:pt x="599" y="193"/>
                </a:cubicBezTo>
                <a:cubicBezTo>
                  <a:pt x="598" y="192"/>
                  <a:pt x="599" y="191"/>
                  <a:pt x="599" y="191"/>
                </a:cubicBezTo>
                <a:cubicBezTo>
                  <a:pt x="600" y="190"/>
                  <a:pt x="600" y="190"/>
                  <a:pt x="600" y="190"/>
                </a:cubicBezTo>
                <a:cubicBezTo>
                  <a:pt x="598" y="190"/>
                  <a:pt x="596" y="191"/>
                  <a:pt x="595" y="192"/>
                </a:cubicBezTo>
                <a:cubicBezTo>
                  <a:pt x="593" y="194"/>
                  <a:pt x="594" y="195"/>
                  <a:pt x="592" y="194"/>
                </a:cubicBezTo>
                <a:cubicBezTo>
                  <a:pt x="592" y="193"/>
                  <a:pt x="591" y="192"/>
                  <a:pt x="590" y="193"/>
                </a:cubicBezTo>
                <a:cubicBezTo>
                  <a:pt x="590" y="193"/>
                  <a:pt x="587" y="198"/>
                  <a:pt x="587" y="195"/>
                </a:cubicBezTo>
                <a:cubicBezTo>
                  <a:pt x="587" y="194"/>
                  <a:pt x="588" y="194"/>
                  <a:pt x="588" y="194"/>
                </a:cubicBezTo>
                <a:cubicBezTo>
                  <a:pt x="587" y="193"/>
                  <a:pt x="584" y="194"/>
                  <a:pt x="583" y="193"/>
                </a:cubicBezTo>
                <a:cubicBezTo>
                  <a:pt x="583" y="192"/>
                  <a:pt x="587" y="190"/>
                  <a:pt x="584" y="189"/>
                </a:cubicBezTo>
                <a:cubicBezTo>
                  <a:pt x="583" y="188"/>
                  <a:pt x="583" y="188"/>
                  <a:pt x="583" y="188"/>
                </a:cubicBezTo>
                <a:cubicBezTo>
                  <a:pt x="583" y="188"/>
                  <a:pt x="583" y="188"/>
                  <a:pt x="583" y="187"/>
                </a:cubicBezTo>
                <a:cubicBezTo>
                  <a:pt x="584" y="186"/>
                  <a:pt x="584" y="185"/>
                  <a:pt x="583" y="185"/>
                </a:cubicBezTo>
                <a:cubicBezTo>
                  <a:pt x="582" y="186"/>
                  <a:pt x="581" y="186"/>
                  <a:pt x="580" y="185"/>
                </a:cubicBezTo>
                <a:cubicBezTo>
                  <a:pt x="580" y="184"/>
                  <a:pt x="581" y="184"/>
                  <a:pt x="581" y="183"/>
                </a:cubicBezTo>
                <a:cubicBezTo>
                  <a:pt x="582" y="183"/>
                  <a:pt x="582" y="183"/>
                  <a:pt x="582" y="183"/>
                </a:cubicBezTo>
                <a:cubicBezTo>
                  <a:pt x="581" y="182"/>
                  <a:pt x="580" y="182"/>
                  <a:pt x="579" y="182"/>
                </a:cubicBezTo>
                <a:cubicBezTo>
                  <a:pt x="578" y="181"/>
                  <a:pt x="580" y="179"/>
                  <a:pt x="580" y="178"/>
                </a:cubicBezTo>
                <a:cubicBezTo>
                  <a:pt x="578" y="176"/>
                  <a:pt x="577" y="179"/>
                  <a:pt x="574" y="179"/>
                </a:cubicBezTo>
                <a:cubicBezTo>
                  <a:pt x="574" y="179"/>
                  <a:pt x="572" y="177"/>
                  <a:pt x="570" y="179"/>
                </a:cubicBezTo>
                <a:cubicBezTo>
                  <a:pt x="569" y="180"/>
                  <a:pt x="571" y="182"/>
                  <a:pt x="568" y="184"/>
                </a:cubicBezTo>
                <a:cubicBezTo>
                  <a:pt x="567" y="184"/>
                  <a:pt x="562" y="186"/>
                  <a:pt x="562" y="185"/>
                </a:cubicBezTo>
                <a:cubicBezTo>
                  <a:pt x="561" y="184"/>
                  <a:pt x="563" y="184"/>
                  <a:pt x="563" y="184"/>
                </a:cubicBezTo>
                <a:cubicBezTo>
                  <a:pt x="564" y="182"/>
                  <a:pt x="562" y="180"/>
                  <a:pt x="562" y="181"/>
                </a:cubicBezTo>
                <a:cubicBezTo>
                  <a:pt x="563" y="179"/>
                  <a:pt x="565" y="179"/>
                  <a:pt x="565" y="178"/>
                </a:cubicBezTo>
                <a:cubicBezTo>
                  <a:pt x="565" y="178"/>
                  <a:pt x="565" y="178"/>
                  <a:pt x="564" y="178"/>
                </a:cubicBezTo>
                <a:cubicBezTo>
                  <a:pt x="564" y="177"/>
                  <a:pt x="565" y="177"/>
                  <a:pt x="565" y="177"/>
                </a:cubicBezTo>
                <a:cubicBezTo>
                  <a:pt x="565" y="176"/>
                  <a:pt x="564" y="174"/>
                  <a:pt x="565" y="173"/>
                </a:cubicBezTo>
                <a:cubicBezTo>
                  <a:pt x="565" y="173"/>
                  <a:pt x="565" y="173"/>
                  <a:pt x="565" y="173"/>
                </a:cubicBezTo>
                <a:cubicBezTo>
                  <a:pt x="565" y="173"/>
                  <a:pt x="565" y="172"/>
                  <a:pt x="565" y="172"/>
                </a:cubicBezTo>
                <a:cubicBezTo>
                  <a:pt x="564" y="172"/>
                  <a:pt x="564" y="171"/>
                  <a:pt x="566" y="170"/>
                </a:cubicBezTo>
                <a:cubicBezTo>
                  <a:pt x="566" y="170"/>
                  <a:pt x="566" y="170"/>
                  <a:pt x="566" y="170"/>
                </a:cubicBezTo>
                <a:cubicBezTo>
                  <a:pt x="566" y="170"/>
                  <a:pt x="565" y="170"/>
                  <a:pt x="565" y="170"/>
                </a:cubicBezTo>
                <a:cubicBezTo>
                  <a:pt x="564" y="170"/>
                  <a:pt x="563" y="170"/>
                  <a:pt x="563" y="169"/>
                </a:cubicBezTo>
                <a:cubicBezTo>
                  <a:pt x="562" y="169"/>
                  <a:pt x="562" y="169"/>
                  <a:pt x="562" y="169"/>
                </a:cubicBezTo>
                <a:cubicBezTo>
                  <a:pt x="562" y="169"/>
                  <a:pt x="562" y="168"/>
                  <a:pt x="563" y="167"/>
                </a:cubicBezTo>
                <a:cubicBezTo>
                  <a:pt x="563" y="167"/>
                  <a:pt x="563" y="166"/>
                  <a:pt x="562" y="166"/>
                </a:cubicBezTo>
                <a:cubicBezTo>
                  <a:pt x="563" y="165"/>
                  <a:pt x="566" y="165"/>
                  <a:pt x="568" y="164"/>
                </a:cubicBezTo>
                <a:cubicBezTo>
                  <a:pt x="567" y="165"/>
                  <a:pt x="568" y="167"/>
                  <a:pt x="569" y="165"/>
                </a:cubicBezTo>
                <a:cubicBezTo>
                  <a:pt x="571" y="164"/>
                  <a:pt x="569" y="164"/>
                  <a:pt x="569" y="164"/>
                </a:cubicBezTo>
                <a:cubicBezTo>
                  <a:pt x="569" y="164"/>
                  <a:pt x="570" y="163"/>
                  <a:pt x="569" y="162"/>
                </a:cubicBezTo>
                <a:cubicBezTo>
                  <a:pt x="569" y="162"/>
                  <a:pt x="569" y="162"/>
                  <a:pt x="569" y="162"/>
                </a:cubicBezTo>
                <a:cubicBezTo>
                  <a:pt x="567" y="163"/>
                  <a:pt x="565" y="164"/>
                  <a:pt x="563" y="163"/>
                </a:cubicBezTo>
                <a:cubicBezTo>
                  <a:pt x="563" y="163"/>
                  <a:pt x="563" y="163"/>
                  <a:pt x="563" y="164"/>
                </a:cubicBezTo>
                <a:cubicBezTo>
                  <a:pt x="563" y="164"/>
                  <a:pt x="564" y="164"/>
                  <a:pt x="564" y="164"/>
                </a:cubicBezTo>
                <a:cubicBezTo>
                  <a:pt x="563" y="165"/>
                  <a:pt x="563" y="164"/>
                  <a:pt x="563" y="163"/>
                </a:cubicBezTo>
                <a:cubicBezTo>
                  <a:pt x="562" y="163"/>
                  <a:pt x="562" y="162"/>
                  <a:pt x="562" y="161"/>
                </a:cubicBezTo>
                <a:cubicBezTo>
                  <a:pt x="562" y="160"/>
                  <a:pt x="564" y="158"/>
                  <a:pt x="567" y="158"/>
                </a:cubicBezTo>
                <a:cubicBezTo>
                  <a:pt x="566" y="157"/>
                  <a:pt x="565" y="156"/>
                  <a:pt x="566" y="155"/>
                </a:cubicBezTo>
                <a:cubicBezTo>
                  <a:pt x="566" y="153"/>
                  <a:pt x="570" y="153"/>
                  <a:pt x="569" y="152"/>
                </a:cubicBezTo>
                <a:cubicBezTo>
                  <a:pt x="570" y="152"/>
                  <a:pt x="572" y="151"/>
                  <a:pt x="574" y="151"/>
                </a:cubicBezTo>
                <a:cubicBezTo>
                  <a:pt x="576" y="153"/>
                  <a:pt x="575" y="153"/>
                  <a:pt x="579" y="152"/>
                </a:cubicBezTo>
                <a:cubicBezTo>
                  <a:pt x="579" y="152"/>
                  <a:pt x="580" y="151"/>
                  <a:pt x="581" y="151"/>
                </a:cubicBezTo>
                <a:cubicBezTo>
                  <a:pt x="584" y="150"/>
                  <a:pt x="583" y="150"/>
                  <a:pt x="582" y="148"/>
                </a:cubicBezTo>
                <a:cubicBezTo>
                  <a:pt x="584" y="150"/>
                  <a:pt x="583" y="148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0" y="147"/>
                  <a:pt x="580" y="147"/>
                </a:cubicBezTo>
                <a:cubicBezTo>
                  <a:pt x="580" y="147"/>
                  <a:pt x="579" y="149"/>
                  <a:pt x="578" y="148"/>
                </a:cubicBezTo>
                <a:cubicBezTo>
                  <a:pt x="577" y="147"/>
                  <a:pt x="581" y="144"/>
                  <a:pt x="577" y="144"/>
                </a:cubicBezTo>
                <a:cubicBezTo>
                  <a:pt x="583" y="142"/>
                  <a:pt x="575" y="140"/>
                  <a:pt x="573" y="139"/>
                </a:cubicBezTo>
                <a:cubicBezTo>
                  <a:pt x="572" y="138"/>
                  <a:pt x="571" y="137"/>
                  <a:pt x="570" y="135"/>
                </a:cubicBezTo>
                <a:cubicBezTo>
                  <a:pt x="570" y="135"/>
                  <a:pt x="569" y="134"/>
                  <a:pt x="569" y="134"/>
                </a:cubicBezTo>
                <a:cubicBezTo>
                  <a:pt x="569" y="134"/>
                  <a:pt x="569" y="134"/>
                  <a:pt x="569" y="133"/>
                </a:cubicBezTo>
                <a:cubicBezTo>
                  <a:pt x="569" y="133"/>
                  <a:pt x="568" y="132"/>
                  <a:pt x="568" y="132"/>
                </a:cubicBezTo>
                <a:cubicBezTo>
                  <a:pt x="567" y="132"/>
                  <a:pt x="567" y="132"/>
                  <a:pt x="567" y="132"/>
                </a:cubicBezTo>
                <a:cubicBezTo>
                  <a:pt x="567" y="132"/>
                  <a:pt x="566" y="133"/>
                  <a:pt x="566" y="133"/>
                </a:cubicBezTo>
                <a:cubicBezTo>
                  <a:pt x="566" y="134"/>
                  <a:pt x="564" y="135"/>
                  <a:pt x="563" y="135"/>
                </a:cubicBezTo>
                <a:cubicBezTo>
                  <a:pt x="562" y="135"/>
                  <a:pt x="561" y="134"/>
                  <a:pt x="561" y="133"/>
                </a:cubicBezTo>
                <a:cubicBezTo>
                  <a:pt x="560" y="134"/>
                  <a:pt x="559" y="134"/>
                  <a:pt x="558" y="134"/>
                </a:cubicBezTo>
                <a:cubicBezTo>
                  <a:pt x="557" y="134"/>
                  <a:pt x="559" y="133"/>
                  <a:pt x="560" y="133"/>
                </a:cubicBezTo>
                <a:cubicBezTo>
                  <a:pt x="560" y="132"/>
                  <a:pt x="560" y="131"/>
                  <a:pt x="561" y="131"/>
                </a:cubicBezTo>
                <a:cubicBezTo>
                  <a:pt x="560" y="131"/>
                  <a:pt x="558" y="131"/>
                  <a:pt x="557" y="131"/>
                </a:cubicBezTo>
                <a:cubicBezTo>
                  <a:pt x="557" y="131"/>
                  <a:pt x="557" y="131"/>
                  <a:pt x="557" y="131"/>
                </a:cubicBezTo>
                <a:cubicBezTo>
                  <a:pt x="558" y="131"/>
                  <a:pt x="559" y="131"/>
                  <a:pt x="559" y="132"/>
                </a:cubicBezTo>
                <a:cubicBezTo>
                  <a:pt x="558" y="132"/>
                  <a:pt x="557" y="132"/>
                  <a:pt x="556" y="132"/>
                </a:cubicBezTo>
                <a:cubicBezTo>
                  <a:pt x="555" y="132"/>
                  <a:pt x="555" y="132"/>
                  <a:pt x="555" y="133"/>
                </a:cubicBezTo>
                <a:cubicBezTo>
                  <a:pt x="556" y="133"/>
                  <a:pt x="555" y="135"/>
                  <a:pt x="554" y="134"/>
                </a:cubicBezTo>
                <a:cubicBezTo>
                  <a:pt x="553" y="135"/>
                  <a:pt x="552" y="135"/>
                  <a:pt x="552" y="135"/>
                </a:cubicBezTo>
                <a:cubicBezTo>
                  <a:pt x="552" y="134"/>
                  <a:pt x="552" y="134"/>
                  <a:pt x="553" y="133"/>
                </a:cubicBezTo>
                <a:cubicBezTo>
                  <a:pt x="552" y="133"/>
                  <a:pt x="551" y="131"/>
                  <a:pt x="553" y="132"/>
                </a:cubicBezTo>
                <a:cubicBezTo>
                  <a:pt x="553" y="132"/>
                  <a:pt x="553" y="132"/>
                  <a:pt x="553" y="132"/>
                </a:cubicBezTo>
                <a:cubicBezTo>
                  <a:pt x="553" y="133"/>
                  <a:pt x="553" y="133"/>
                  <a:pt x="553" y="133"/>
                </a:cubicBezTo>
                <a:cubicBezTo>
                  <a:pt x="554" y="133"/>
                  <a:pt x="554" y="132"/>
                  <a:pt x="554" y="132"/>
                </a:cubicBezTo>
                <a:cubicBezTo>
                  <a:pt x="553" y="132"/>
                  <a:pt x="552" y="131"/>
                  <a:pt x="552" y="131"/>
                </a:cubicBezTo>
                <a:cubicBezTo>
                  <a:pt x="552" y="131"/>
                  <a:pt x="553" y="131"/>
                  <a:pt x="555" y="131"/>
                </a:cubicBezTo>
                <a:cubicBezTo>
                  <a:pt x="554" y="130"/>
                  <a:pt x="554" y="130"/>
                  <a:pt x="554" y="130"/>
                </a:cubicBezTo>
                <a:cubicBezTo>
                  <a:pt x="553" y="130"/>
                  <a:pt x="552" y="131"/>
                  <a:pt x="552" y="131"/>
                </a:cubicBezTo>
                <a:cubicBezTo>
                  <a:pt x="551" y="130"/>
                  <a:pt x="550" y="127"/>
                  <a:pt x="548" y="129"/>
                </a:cubicBezTo>
                <a:cubicBezTo>
                  <a:pt x="548" y="130"/>
                  <a:pt x="549" y="131"/>
                  <a:pt x="549" y="130"/>
                </a:cubicBezTo>
                <a:cubicBezTo>
                  <a:pt x="549" y="131"/>
                  <a:pt x="549" y="131"/>
                  <a:pt x="549" y="131"/>
                </a:cubicBezTo>
                <a:cubicBezTo>
                  <a:pt x="549" y="131"/>
                  <a:pt x="549" y="131"/>
                  <a:pt x="550" y="131"/>
                </a:cubicBezTo>
                <a:cubicBezTo>
                  <a:pt x="551" y="131"/>
                  <a:pt x="549" y="133"/>
                  <a:pt x="549" y="132"/>
                </a:cubicBezTo>
                <a:cubicBezTo>
                  <a:pt x="549" y="132"/>
                  <a:pt x="549" y="132"/>
                  <a:pt x="549" y="132"/>
                </a:cubicBezTo>
                <a:cubicBezTo>
                  <a:pt x="548" y="133"/>
                  <a:pt x="544" y="131"/>
                  <a:pt x="543" y="131"/>
                </a:cubicBezTo>
                <a:cubicBezTo>
                  <a:pt x="545" y="130"/>
                  <a:pt x="543" y="130"/>
                  <a:pt x="542" y="129"/>
                </a:cubicBezTo>
                <a:cubicBezTo>
                  <a:pt x="540" y="130"/>
                  <a:pt x="539" y="131"/>
                  <a:pt x="537" y="132"/>
                </a:cubicBezTo>
                <a:cubicBezTo>
                  <a:pt x="538" y="130"/>
                  <a:pt x="540" y="129"/>
                  <a:pt x="542" y="129"/>
                </a:cubicBezTo>
                <a:cubicBezTo>
                  <a:pt x="541" y="128"/>
                  <a:pt x="541" y="127"/>
                  <a:pt x="541" y="127"/>
                </a:cubicBezTo>
                <a:cubicBezTo>
                  <a:pt x="542" y="125"/>
                  <a:pt x="546" y="126"/>
                  <a:pt x="546" y="124"/>
                </a:cubicBezTo>
                <a:cubicBezTo>
                  <a:pt x="547" y="123"/>
                  <a:pt x="545" y="124"/>
                  <a:pt x="545" y="124"/>
                </a:cubicBezTo>
                <a:cubicBezTo>
                  <a:pt x="546" y="122"/>
                  <a:pt x="547" y="121"/>
                  <a:pt x="545" y="120"/>
                </a:cubicBezTo>
                <a:cubicBezTo>
                  <a:pt x="545" y="120"/>
                  <a:pt x="540" y="120"/>
                  <a:pt x="538" y="120"/>
                </a:cubicBezTo>
                <a:cubicBezTo>
                  <a:pt x="536" y="120"/>
                  <a:pt x="534" y="121"/>
                  <a:pt x="531" y="119"/>
                </a:cubicBezTo>
                <a:cubicBezTo>
                  <a:pt x="534" y="119"/>
                  <a:pt x="535" y="117"/>
                  <a:pt x="537" y="117"/>
                </a:cubicBezTo>
                <a:cubicBezTo>
                  <a:pt x="537" y="117"/>
                  <a:pt x="537" y="116"/>
                  <a:pt x="537" y="116"/>
                </a:cubicBezTo>
                <a:cubicBezTo>
                  <a:pt x="537" y="116"/>
                  <a:pt x="537" y="117"/>
                  <a:pt x="537" y="117"/>
                </a:cubicBezTo>
                <a:cubicBezTo>
                  <a:pt x="538" y="116"/>
                  <a:pt x="538" y="116"/>
                  <a:pt x="539" y="116"/>
                </a:cubicBezTo>
                <a:cubicBezTo>
                  <a:pt x="542" y="115"/>
                  <a:pt x="545" y="118"/>
                  <a:pt x="548" y="117"/>
                </a:cubicBezTo>
                <a:cubicBezTo>
                  <a:pt x="548" y="117"/>
                  <a:pt x="551" y="114"/>
                  <a:pt x="552" y="114"/>
                </a:cubicBezTo>
                <a:cubicBezTo>
                  <a:pt x="553" y="114"/>
                  <a:pt x="554" y="115"/>
                  <a:pt x="554" y="114"/>
                </a:cubicBezTo>
                <a:cubicBezTo>
                  <a:pt x="553" y="114"/>
                  <a:pt x="553" y="113"/>
                  <a:pt x="553" y="113"/>
                </a:cubicBezTo>
                <a:cubicBezTo>
                  <a:pt x="553" y="113"/>
                  <a:pt x="552" y="113"/>
                  <a:pt x="552" y="113"/>
                </a:cubicBezTo>
                <a:cubicBezTo>
                  <a:pt x="552" y="114"/>
                  <a:pt x="551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8" y="114"/>
                  <a:pt x="547" y="114"/>
                  <a:pt x="547" y="114"/>
                </a:cubicBezTo>
                <a:cubicBezTo>
                  <a:pt x="547" y="114"/>
                  <a:pt x="547" y="113"/>
                  <a:pt x="547" y="113"/>
                </a:cubicBezTo>
                <a:cubicBezTo>
                  <a:pt x="547" y="112"/>
                  <a:pt x="548" y="111"/>
                  <a:pt x="549" y="110"/>
                </a:cubicBezTo>
                <a:cubicBezTo>
                  <a:pt x="550" y="110"/>
                  <a:pt x="552" y="111"/>
                  <a:pt x="552" y="112"/>
                </a:cubicBezTo>
                <a:cubicBezTo>
                  <a:pt x="552" y="112"/>
                  <a:pt x="552" y="112"/>
                  <a:pt x="553" y="112"/>
                </a:cubicBezTo>
                <a:cubicBezTo>
                  <a:pt x="552" y="111"/>
                  <a:pt x="554" y="110"/>
                  <a:pt x="555" y="111"/>
                </a:cubicBezTo>
                <a:cubicBezTo>
                  <a:pt x="555" y="110"/>
                  <a:pt x="555" y="110"/>
                  <a:pt x="554" y="109"/>
                </a:cubicBezTo>
                <a:cubicBezTo>
                  <a:pt x="554" y="110"/>
                  <a:pt x="554" y="110"/>
                  <a:pt x="554" y="110"/>
                </a:cubicBezTo>
                <a:cubicBezTo>
                  <a:pt x="554" y="110"/>
                  <a:pt x="554" y="109"/>
                  <a:pt x="554" y="109"/>
                </a:cubicBezTo>
                <a:cubicBezTo>
                  <a:pt x="553" y="108"/>
                  <a:pt x="550" y="108"/>
                  <a:pt x="549" y="107"/>
                </a:cubicBezTo>
                <a:cubicBezTo>
                  <a:pt x="550" y="106"/>
                  <a:pt x="551" y="106"/>
                  <a:pt x="550" y="105"/>
                </a:cubicBezTo>
                <a:cubicBezTo>
                  <a:pt x="549" y="106"/>
                  <a:pt x="546" y="106"/>
                  <a:pt x="548" y="104"/>
                </a:cubicBezTo>
                <a:cubicBezTo>
                  <a:pt x="548" y="104"/>
                  <a:pt x="548" y="104"/>
                  <a:pt x="548" y="104"/>
                </a:cubicBezTo>
                <a:cubicBezTo>
                  <a:pt x="548" y="104"/>
                  <a:pt x="547" y="103"/>
                  <a:pt x="547" y="103"/>
                </a:cubicBezTo>
                <a:cubicBezTo>
                  <a:pt x="545" y="104"/>
                  <a:pt x="543" y="105"/>
                  <a:pt x="541" y="106"/>
                </a:cubicBezTo>
                <a:cubicBezTo>
                  <a:pt x="537" y="107"/>
                  <a:pt x="541" y="104"/>
                  <a:pt x="543" y="103"/>
                </a:cubicBezTo>
                <a:cubicBezTo>
                  <a:pt x="544" y="103"/>
                  <a:pt x="546" y="102"/>
                  <a:pt x="548" y="101"/>
                </a:cubicBezTo>
                <a:cubicBezTo>
                  <a:pt x="548" y="101"/>
                  <a:pt x="548" y="101"/>
                  <a:pt x="548" y="100"/>
                </a:cubicBezTo>
                <a:cubicBezTo>
                  <a:pt x="549" y="100"/>
                  <a:pt x="549" y="100"/>
                  <a:pt x="550" y="100"/>
                </a:cubicBezTo>
                <a:cubicBezTo>
                  <a:pt x="552" y="99"/>
                  <a:pt x="553" y="99"/>
                  <a:pt x="554" y="98"/>
                </a:cubicBezTo>
                <a:cubicBezTo>
                  <a:pt x="555" y="97"/>
                  <a:pt x="555" y="95"/>
                  <a:pt x="555" y="94"/>
                </a:cubicBezTo>
                <a:cubicBezTo>
                  <a:pt x="554" y="95"/>
                  <a:pt x="554" y="94"/>
                  <a:pt x="553" y="94"/>
                </a:cubicBezTo>
                <a:cubicBezTo>
                  <a:pt x="553" y="94"/>
                  <a:pt x="553" y="94"/>
                  <a:pt x="553" y="94"/>
                </a:cubicBezTo>
                <a:cubicBezTo>
                  <a:pt x="553" y="94"/>
                  <a:pt x="553" y="94"/>
                  <a:pt x="552" y="94"/>
                </a:cubicBezTo>
                <a:cubicBezTo>
                  <a:pt x="552" y="94"/>
                  <a:pt x="550" y="93"/>
                  <a:pt x="550" y="93"/>
                </a:cubicBezTo>
                <a:cubicBezTo>
                  <a:pt x="550" y="93"/>
                  <a:pt x="550" y="93"/>
                  <a:pt x="550" y="92"/>
                </a:cubicBezTo>
                <a:cubicBezTo>
                  <a:pt x="549" y="91"/>
                  <a:pt x="551" y="90"/>
                  <a:pt x="552" y="90"/>
                </a:cubicBezTo>
                <a:cubicBezTo>
                  <a:pt x="552" y="89"/>
                  <a:pt x="552" y="89"/>
                  <a:pt x="553" y="88"/>
                </a:cubicBezTo>
                <a:cubicBezTo>
                  <a:pt x="553" y="88"/>
                  <a:pt x="553" y="88"/>
                  <a:pt x="553" y="88"/>
                </a:cubicBezTo>
                <a:cubicBezTo>
                  <a:pt x="552" y="87"/>
                  <a:pt x="550" y="87"/>
                  <a:pt x="549" y="87"/>
                </a:cubicBezTo>
                <a:cubicBezTo>
                  <a:pt x="548" y="87"/>
                  <a:pt x="546" y="87"/>
                  <a:pt x="546" y="86"/>
                </a:cubicBezTo>
                <a:cubicBezTo>
                  <a:pt x="545" y="86"/>
                  <a:pt x="544" y="85"/>
                  <a:pt x="544" y="84"/>
                </a:cubicBezTo>
                <a:cubicBezTo>
                  <a:pt x="543" y="85"/>
                  <a:pt x="542" y="85"/>
                  <a:pt x="542" y="84"/>
                </a:cubicBezTo>
                <a:cubicBezTo>
                  <a:pt x="541" y="84"/>
                  <a:pt x="540" y="82"/>
                  <a:pt x="542" y="81"/>
                </a:cubicBezTo>
                <a:cubicBezTo>
                  <a:pt x="542" y="81"/>
                  <a:pt x="542" y="81"/>
                  <a:pt x="542" y="81"/>
                </a:cubicBezTo>
                <a:cubicBezTo>
                  <a:pt x="541" y="80"/>
                  <a:pt x="542" y="80"/>
                  <a:pt x="542" y="79"/>
                </a:cubicBezTo>
                <a:cubicBezTo>
                  <a:pt x="541" y="80"/>
                  <a:pt x="540" y="80"/>
                  <a:pt x="539" y="80"/>
                </a:cubicBezTo>
                <a:cubicBezTo>
                  <a:pt x="539" y="80"/>
                  <a:pt x="538" y="81"/>
                  <a:pt x="539" y="82"/>
                </a:cubicBezTo>
                <a:cubicBezTo>
                  <a:pt x="538" y="82"/>
                  <a:pt x="536" y="83"/>
                  <a:pt x="535" y="84"/>
                </a:cubicBezTo>
                <a:cubicBezTo>
                  <a:pt x="534" y="85"/>
                  <a:pt x="533" y="85"/>
                  <a:pt x="532" y="86"/>
                </a:cubicBezTo>
                <a:cubicBezTo>
                  <a:pt x="532" y="86"/>
                  <a:pt x="532" y="87"/>
                  <a:pt x="532" y="87"/>
                </a:cubicBezTo>
                <a:cubicBezTo>
                  <a:pt x="531" y="87"/>
                  <a:pt x="530" y="86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8" y="87"/>
                </a:cubicBezTo>
                <a:cubicBezTo>
                  <a:pt x="527" y="87"/>
                  <a:pt x="527" y="88"/>
                  <a:pt x="526" y="88"/>
                </a:cubicBezTo>
                <a:cubicBezTo>
                  <a:pt x="526" y="88"/>
                  <a:pt x="526" y="87"/>
                  <a:pt x="526" y="87"/>
                </a:cubicBezTo>
                <a:cubicBezTo>
                  <a:pt x="525" y="85"/>
                  <a:pt x="521" y="83"/>
                  <a:pt x="520" y="81"/>
                </a:cubicBezTo>
                <a:cubicBezTo>
                  <a:pt x="520" y="79"/>
                  <a:pt x="524" y="78"/>
                  <a:pt x="525" y="76"/>
                </a:cubicBezTo>
                <a:cubicBezTo>
                  <a:pt x="526" y="76"/>
                  <a:pt x="524" y="74"/>
                  <a:pt x="525" y="74"/>
                </a:cubicBezTo>
                <a:cubicBezTo>
                  <a:pt x="526" y="73"/>
                  <a:pt x="526" y="75"/>
                  <a:pt x="527" y="75"/>
                </a:cubicBezTo>
                <a:cubicBezTo>
                  <a:pt x="528" y="76"/>
                  <a:pt x="533" y="76"/>
                  <a:pt x="535" y="76"/>
                </a:cubicBezTo>
                <a:cubicBezTo>
                  <a:pt x="536" y="76"/>
                  <a:pt x="537" y="76"/>
                  <a:pt x="538" y="77"/>
                </a:cubicBezTo>
                <a:cubicBezTo>
                  <a:pt x="539" y="75"/>
                  <a:pt x="543" y="75"/>
                  <a:pt x="543" y="74"/>
                </a:cubicBezTo>
                <a:cubicBezTo>
                  <a:pt x="544" y="74"/>
                  <a:pt x="542" y="74"/>
                  <a:pt x="542" y="73"/>
                </a:cubicBezTo>
                <a:cubicBezTo>
                  <a:pt x="543" y="73"/>
                  <a:pt x="544" y="73"/>
                  <a:pt x="545" y="74"/>
                </a:cubicBezTo>
                <a:cubicBezTo>
                  <a:pt x="547" y="73"/>
                  <a:pt x="550" y="72"/>
                  <a:pt x="553" y="72"/>
                </a:cubicBezTo>
                <a:cubicBezTo>
                  <a:pt x="552" y="71"/>
                  <a:pt x="552" y="70"/>
                  <a:pt x="551" y="70"/>
                </a:cubicBezTo>
                <a:cubicBezTo>
                  <a:pt x="551" y="70"/>
                  <a:pt x="550" y="71"/>
                  <a:pt x="550" y="71"/>
                </a:cubicBezTo>
                <a:cubicBezTo>
                  <a:pt x="550" y="71"/>
                  <a:pt x="547" y="70"/>
                  <a:pt x="545" y="69"/>
                </a:cubicBezTo>
                <a:cubicBezTo>
                  <a:pt x="544" y="69"/>
                  <a:pt x="543" y="69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2" y="67"/>
                  <a:pt x="543" y="66"/>
                  <a:pt x="542" y="66"/>
                </a:cubicBezTo>
                <a:cubicBezTo>
                  <a:pt x="540" y="64"/>
                  <a:pt x="537" y="66"/>
                  <a:pt x="535" y="66"/>
                </a:cubicBezTo>
                <a:cubicBezTo>
                  <a:pt x="535" y="66"/>
                  <a:pt x="534" y="65"/>
                  <a:pt x="534" y="65"/>
                </a:cubicBezTo>
                <a:cubicBezTo>
                  <a:pt x="534" y="65"/>
                  <a:pt x="534" y="65"/>
                  <a:pt x="534" y="65"/>
                </a:cubicBezTo>
                <a:cubicBezTo>
                  <a:pt x="534" y="67"/>
                  <a:pt x="529" y="69"/>
                  <a:pt x="528" y="68"/>
                </a:cubicBezTo>
                <a:cubicBezTo>
                  <a:pt x="527" y="66"/>
                  <a:pt x="528" y="64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2"/>
                  <a:pt x="529" y="62"/>
                </a:cubicBezTo>
                <a:cubicBezTo>
                  <a:pt x="529" y="62"/>
                  <a:pt x="529" y="62"/>
                  <a:pt x="529" y="62"/>
                </a:cubicBezTo>
                <a:cubicBezTo>
                  <a:pt x="528" y="62"/>
                  <a:pt x="527" y="63"/>
                  <a:pt x="526" y="63"/>
                </a:cubicBezTo>
                <a:cubicBezTo>
                  <a:pt x="526" y="63"/>
                  <a:pt x="526" y="63"/>
                  <a:pt x="526" y="63"/>
                </a:cubicBezTo>
                <a:cubicBezTo>
                  <a:pt x="526" y="64"/>
                  <a:pt x="526" y="64"/>
                  <a:pt x="526" y="65"/>
                </a:cubicBezTo>
                <a:cubicBezTo>
                  <a:pt x="525" y="66"/>
                  <a:pt x="522" y="66"/>
                  <a:pt x="520" y="68"/>
                </a:cubicBezTo>
                <a:cubicBezTo>
                  <a:pt x="519" y="69"/>
                  <a:pt x="517" y="72"/>
                  <a:pt x="515" y="72"/>
                </a:cubicBezTo>
                <a:cubicBezTo>
                  <a:pt x="514" y="71"/>
                  <a:pt x="514" y="70"/>
                  <a:pt x="513" y="70"/>
                </a:cubicBezTo>
                <a:cubicBezTo>
                  <a:pt x="513" y="69"/>
                  <a:pt x="513" y="70"/>
                  <a:pt x="512" y="70"/>
                </a:cubicBezTo>
                <a:cubicBezTo>
                  <a:pt x="511" y="71"/>
                  <a:pt x="510" y="70"/>
                  <a:pt x="510" y="69"/>
                </a:cubicBezTo>
                <a:cubicBezTo>
                  <a:pt x="509" y="69"/>
                  <a:pt x="508" y="69"/>
                  <a:pt x="508" y="68"/>
                </a:cubicBezTo>
                <a:cubicBezTo>
                  <a:pt x="508" y="68"/>
                  <a:pt x="509" y="67"/>
                  <a:pt x="510" y="66"/>
                </a:cubicBezTo>
                <a:cubicBezTo>
                  <a:pt x="510" y="65"/>
                  <a:pt x="511" y="65"/>
                  <a:pt x="512" y="66"/>
                </a:cubicBezTo>
                <a:cubicBezTo>
                  <a:pt x="513" y="67"/>
                  <a:pt x="513" y="66"/>
                  <a:pt x="513" y="65"/>
                </a:cubicBezTo>
                <a:cubicBezTo>
                  <a:pt x="512" y="64"/>
                  <a:pt x="511" y="64"/>
                  <a:pt x="511" y="63"/>
                </a:cubicBezTo>
                <a:cubicBezTo>
                  <a:pt x="511" y="63"/>
                  <a:pt x="511" y="62"/>
                  <a:pt x="513" y="61"/>
                </a:cubicBezTo>
                <a:cubicBezTo>
                  <a:pt x="511" y="61"/>
                  <a:pt x="510" y="60"/>
                  <a:pt x="509" y="59"/>
                </a:cubicBezTo>
                <a:cubicBezTo>
                  <a:pt x="509" y="59"/>
                  <a:pt x="510" y="56"/>
                  <a:pt x="511" y="55"/>
                </a:cubicBezTo>
                <a:cubicBezTo>
                  <a:pt x="512" y="54"/>
                  <a:pt x="515" y="54"/>
                  <a:pt x="515" y="53"/>
                </a:cubicBezTo>
                <a:cubicBezTo>
                  <a:pt x="515" y="53"/>
                  <a:pt x="514" y="53"/>
                  <a:pt x="514" y="53"/>
                </a:cubicBezTo>
                <a:cubicBezTo>
                  <a:pt x="514" y="53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2" y="54"/>
                  <a:pt x="511" y="55"/>
                  <a:pt x="510" y="54"/>
                </a:cubicBezTo>
                <a:cubicBezTo>
                  <a:pt x="510" y="54"/>
                  <a:pt x="510" y="53"/>
                  <a:pt x="510" y="53"/>
                </a:cubicBezTo>
                <a:cubicBezTo>
                  <a:pt x="510" y="53"/>
                  <a:pt x="510" y="53"/>
                  <a:pt x="510" y="53"/>
                </a:cubicBezTo>
                <a:cubicBezTo>
                  <a:pt x="510" y="53"/>
                  <a:pt x="510" y="52"/>
                  <a:pt x="510" y="52"/>
                </a:cubicBezTo>
                <a:cubicBezTo>
                  <a:pt x="510" y="52"/>
                  <a:pt x="510" y="52"/>
                  <a:pt x="510" y="52"/>
                </a:cubicBezTo>
                <a:cubicBezTo>
                  <a:pt x="511" y="51"/>
                  <a:pt x="513" y="51"/>
                  <a:pt x="513" y="52"/>
                </a:cubicBezTo>
                <a:cubicBezTo>
                  <a:pt x="515" y="52"/>
                  <a:pt x="517" y="52"/>
                  <a:pt x="516" y="53"/>
                </a:cubicBezTo>
                <a:cubicBezTo>
                  <a:pt x="516" y="53"/>
                  <a:pt x="515" y="54"/>
                  <a:pt x="515" y="54"/>
                </a:cubicBezTo>
                <a:cubicBezTo>
                  <a:pt x="516" y="54"/>
                  <a:pt x="517" y="54"/>
                  <a:pt x="517" y="54"/>
                </a:cubicBezTo>
                <a:cubicBezTo>
                  <a:pt x="518" y="54"/>
                  <a:pt x="519" y="55"/>
                  <a:pt x="520" y="55"/>
                </a:cubicBezTo>
                <a:cubicBezTo>
                  <a:pt x="521" y="55"/>
                  <a:pt x="522" y="55"/>
                  <a:pt x="522" y="56"/>
                </a:cubicBezTo>
                <a:cubicBezTo>
                  <a:pt x="522" y="57"/>
                  <a:pt x="522" y="57"/>
                  <a:pt x="521" y="57"/>
                </a:cubicBezTo>
                <a:cubicBezTo>
                  <a:pt x="521" y="57"/>
                  <a:pt x="521" y="58"/>
                  <a:pt x="521" y="58"/>
                </a:cubicBezTo>
                <a:cubicBezTo>
                  <a:pt x="522" y="57"/>
                  <a:pt x="523" y="57"/>
                  <a:pt x="525" y="58"/>
                </a:cubicBezTo>
                <a:cubicBezTo>
                  <a:pt x="525" y="59"/>
                  <a:pt x="524" y="59"/>
                  <a:pt x="524" y="59"/>
                </a:cubicBezTo>
                <a:cubicBezTo>
                  <a:pt x="525" y="59"/>
                  <a:pt x="526" y="58"/>
                  <a:pt x="528" y="58"/>
                </a:cubicBezTo>
                <a:cubicBezTo>
                  <a:pt x="528" y="58"/>
                  <a:pt x="528" y="57"/>
                  <a:pt x="528" y="57"/>
                </a:cubicBezTo>
                <a:cubicBezTo>
                  <a:pt x="528" y="57"/>
                  <a:pt x="527" y="57"/>
                  <a:pt x="527" y="56"/>
                </a:cubicBezTo>
                <a:cubicBezTo>
                  <a:pt x="527" y="54"/>
                  <a:pt x="532" y="55"/>
                  <a:pt x="530" y="57"/>
                </a:cubicBezTo>
                <a:cubicBezTo>
                  <a:pt x="530" y="57"/>
                  <a:pt x="530" y="57"/>
                  <a:pt x="530" y="57"/>
                </a:cubicBezTo>
                <a:cubicBezTo>
                  <a:pt x="531" y="56"/>
                  <a:pt x="533" y="55"/>
                  <a:pt x="533" y="55"/>
                </a:cubicBezTo>
                <a:cubicBezTo>
                  <a:pt x="532" y="54"/>
                  <a:pt x="530" y="55"/>
                  <a:pt x="529" y="54"/>
                </a:cubicBezTo>
                <a:cubicBezTo>
                  <a:pt x="529" y="53"/>
                  <a:pt x="532" y="51"/>
                  <a:pt x="532" y="51"/>
                </a:cubicBezTo>
                <a:cubicBezTo>
                  <a:pt x="532" y="51"/>
                  <a:pt x="532" y="50"/>
                  <a:pt x="532" y="50"/>
                </a:cubicBezTo>
                <a:cubicBezTo>
                  <a:pt x="530" y="52"/>
                  <a:pt x="527" y="52"/>
                  <a:pt x="525" y="52"/>
                </a:cubicBezTo>
                <a:cubicBezTo>
                  <a:pt x="523" y="51"/>
                  <a:pt x="522" y="48"/>
                  <a:pt x="521" y="48"/>
                </a:cubicBezTo>
                <a:cubicBezTo>
                  <a:pt x="520" y="48"/>
                  <a:pt x="518" y="48"/>
                  <a:pt x="516" y="49"/>
                </a:cubicBezTo>
                <a:cubicBezTo>
                  <a:pt x="517" y="48"/>
                  <a:pt x="518" y="48"/>
                  <a:pt x="519" y="47"/>
                </a:cubicBezTo>
                <a:cubicBezTo>
                  <a:pt x="519" y="47"/>
                  <a:pt x="520" y="47"/>
                  <a:pt x="520" y="47"/>
                </a:cubicBezTo>
                <a:cubicBezTo>
                  <a:pt x="521" y="46"/>
                  <a:pt x="521" y="46"/>
                  <a:pt x="521" y="45"/>
                </a:cubicBezTo>
                <a:cubicBezTo>
                  <a:pt x="520" y="45"/>
                  <a:pt x="520" y="45"/>
                  <a:pt x="519" y="45"/>
                </a:cubicBezTo>
                <a:cubicBezTo>
                  <a:pt x="519" y="44"/>
                  <a:pt x="520" y="44"/>
                  <a:pt x="521" y="44"/>
                </a:cubicBezTo>
                <a:cubicBezTo>
                  <a:pt x="521" y="44"/>
                  <a:pt x="521" y="44"/>
                  <a:pt x="521" y="44"/>
                </a:cubicBezTo>
                <a:cubicBezTo>
                  <a:pt x="521" y="43"/>
                  <a:pt x="521" y="41"/>
                  <a:pt x="521" y="40"/>
                </a:cubicBezTo>
                <a:cubicBezTo>
                  <a:pt x="521" y="40"/>
                  <a:pt x="520" y="40"/>
                  <a:pt x="520" y="40"/>
                </a:cubicBezTo>
                <a:cubicBezTo>
                  <a:pt x="520" y="40"/>
                  <a:pt x="520" y="40"/>
                  <a:pt x="520" y="40"/>
                </a:cubicBezTo>
                <a:cubicBezTo>
                  <a:pt x="520" y="40"/>
                  <a:pt x="520" y="40"/>
                  <a:pt x="520" y="39"/>
                </a:cubicBezTo>
                <a:cubicBezTo>
                  <a:pt x="520" y="39"/>
                  <a:pt x="520" y="39"/>
                  <a:pt x="520" y="39"/>
                </a:cubicBezTo>
                <a:cubicBezTo>
                  <a:pt x="510" y="34"/>
                  <a:pt x="501" y="30"/>
                  <a:pt x="491" y="26"/>
                </a:cubicBezTo>
                <a:cubicBezTo>
                  <a:pt x="491" y="26"/>
                  <a:pt x="489" y="27"/>
                  <a:pt x="489" y="27"/>
                </a:cubicBezTo>
                <a:cubicBezTo>
                  <a:pt x="489" y="26"/>
                  <a:pt x="489" y="26"/>
                  <a:pt x="490" y="26"/>
                </a:cubicBezTo>
                <a:cubicBezTo>
                  <a:pt x="487" y="24"/>
                  <a:pt x="483" y="23"/>
                  <a:pt x="480" y="22"/>
                </a:cubicBezTo>
                <a:cubicBezTo>
                  <a:pt x="480" y="22"/>
                  <a:pt x="480" y="22"/>
                  <a:pt x="480" y="22"/>
                </a:cubicBezTo>
                <a:cubicBezTo>
                  <a:pt x="478" y="22"/>
                  <a:pt x="476" y="25"/>
                  <a:pt x="474" y="25"/>
                </a:cubicBezTo>
                <a:cubicBezTo>
                  <a:pt x="472" y="25"/>
                  <a:pt x="473" y="25"/>
                  <a:pt x="471" y="25"/>
                </a:cubicBezTo>
                <a:cubicBezTo>
                  <a:pt x="471" y="25"/>
                  <a:pt x="469" y="26"/>
                  <a:pt x="468" y="27"/>
                </a:cubicBezTo>
                <a:cubicBezTo>
                  <a:pt x="467" y="27"/>
                  <a:pt x="464" y="29"/>
                  <a:pt x="464" y="29"/>
                </a:cubicBezTo>
                <a:cubicBezTo>
                  <a:pt x="462" y="30"/>
                  <a:pt x="464" y="30"/>
                  <a:pt x="462" y="30"/>
                </a:cubicBezTo>
                <a:cubicBezTo>
                  <a:pt x="461" y="30"/>
                  <a:pt x="461" y="30"/>
                  <a:pt x="460" y="30"/>
                </a:cubicBezTo>
                <a:cubicBezTo>
                  <a:pt x="461" y="30"/>
                  <a:pt x="461" y="30"/>
                  <a:pt x="461" y="30"/>
                </a:cubicBezTo>
                <a:cubicBezTo>
                  <a:pt x="462" y="31"/>
                  <a:pt x="459" y="32"/>
                  <a:pt x="459" y="31"/>
                </a:cubicBezTo>
                <a:cubicBezTo>
                  <a:pt x="459" y="31"/>
                  <a:pt x="458" y="32"/>
                  <a:pt x="458" y="32"/>
                </a:cubicBezTo>
                <a:cubicBezTo>
                  <a:pt x="458" y="32"/>
                  <a:pt x="458" y="33"/>
                  <a:pt x="458" y="33"/>
                </a:cubicBezTo>
                <a:cubicBezTo>
                  <a:pt x="461" y="34"/>
                  <a:pt x="463" y="32"/>
                  <a:pt x="461" y="36"/>
                </a:cubicBezTo>
                <a:cubicBezTo>
                  <a:pt x="461" y="37"/>
                  <a:pt x="462" y="37"/>
                  <a:pt x="461" y="37"/>
                </a:cubicBezTo>
                <a:cubicBezTo>
                  <a:pt x="460" y="39"/>
                  <a:pt x="459" y="37"/>
                  <a:pt x="459" y="36"/>
                </a:cubicBezTo>
                <a:cubicBezTo>
                  <a:pt x="458" y="37"/>
                  <a:pt x="458" y="38"/>
                  <a:pt x="460" y="39"/>
                </a:cubicBezTo>
                <a:cubicBezTo>
                  <a:pt x="460" y="39"/>
                  <a:pt x="457" y="39"/>
                  <a:pt x="456" y="39"/>
                </a:cubicBezTo>
                <a:cubicBezTo>
                  <a:pt x="456" y="39"/>
                  <a:pt x="454" y="36"/>
                  <a:pt x="453" y="35"/>
                </a:cubicBezTo>
                <a:cubicBezTo>
                  <a:pt x="452" y="35"/>
                  <a:pt x="451" y="36"/>
                  <a:pt x="451" y="36"/>
                </a:cubicBezTo>
                <a:cubicBezTo>
                  <a:pt x="449" y="37"/>
                  <a:pt x="446" y="38"/>
                  <a:pt x="444" y="39"/>
                </a:cubicBezTo>
                <a:cubicBezTo>
                  <a:pt x="443" y="40"/>
                  <a:pt x="443" y="40"/>
                  <a:pt x="442" y="40"/>
                </a:cubicBezTo>
                <a:cubicBezTo>
                  <a:pt x="441" y="40"/>
                  <a:pt x="440" y="41"/>
                  <a:pt x="439" y="41"/>
                </a:cubicBezTo>
                <a:cubicBezTo>
                  <a:pt x="437" y="42"/>
                  <a:pt x="435" y="43"/>
                  <a:pt x="432" y="44"/>
                </a:cubicBezTo>
                <a:cubicBezTo>
                  <a:pt x="433" y="44"/>
                  <a:pt x="433" y="44"/>
                  <a:pt x="433" y="44"/>
                </a:cubicBezTo>
                <a:cubicBezTo>
                  <a:pt x="433" y="44"/>
                  <a:pt x="433" y="44"/>
                  <a:pt x="432" y="44"/>
                </a:cubicBezTo>
                <a:cubicBezTo>
                  <a:pt x="432" y="44"/>
                  <a:pt x="431" y="44"/>
                  <a:pt x="431" y="44"/>
                </a:cubicBezTo>
                <a:cubicBezTo>
                  <a:pt x="430" y="44"/>
                  <a:pt x="427" y="45"/>
                  <a:pt x="427" y="46"/>
                </a:cubicBezTo>
                <a:cubicBezTo>
                  <a:pt x="427" y="46"/>
                  <a:pt x="433" y="44"/>
                  <a:pt x="432" y="48"/>
                </a:cubicBezTo>
                <a:cubicBezTo>
                  <a:pt x="432" y="49"/>
                  <a:pt x="431" y="49"/>
                  <a:pt x="431" y="49"/>
                </a:cubicBezTo>
                <a:cubicBezTo>
                  <a:pt x="435" y="49"/>
                  <a:pt x="440" y="49"/>
                  <a:pt x="444" y="50"/>
                </a:cubicBezTo>
                <a:cubicBezTo>
                  <a:pt x="444" y="47"/>
                  <a:pt x="436" y="48"/>
                  <a:pt x="436" y="45"/>
                </a:cubicBezTo>
                <a:cubicBezTo>
                  <a:pt x="436" y="42"/>
                  <a:pt x="442" y="45"/>
                  <a:pt x="444" y="43"/>
                </a:cubicBezTo>
                <a:cubicBezTo>
                  <a:pt x="445" y="43"/>
                  <a:pt x="444" y="42"/>
                  <a:pt x="445" y="42"/>
                </a:cubicBezTo>
                <a:cubicBezTo>
                  <a:pt x="446" y="42"/>
                  <a:pt x="449" y="43"/>
                  <a:pt x="448" y="41"/>
                </a:cubicBezTo>
                <a:cubicBezTo>
                  <a:pt x="448" y="38"/>
                  <a:pt x="459" y="43"/>
                  <a:pt x="460" y="46"/>
                </a:cubicBezTo>
                <a:cubicBezTo>
                  <a:pt x="460" y="48"/>
                  <a:pt x="459" y="52"/>
                  <a:pt x="458" y="52"/>
                </a:cubicBezTo>
                <a:cubicBezTo>
                  <a:pt x="458" y="53"/>
                  <a:pt x="452" y="54"/>
                  <a:pt x="452" y="54"/>
                </a:cubicBezTo>
                <a:cubicBezTo>
                  <a:pt x="451" y="53"/>
                  <a:pt x="449" y="53"/>
                  <a:pt x="448" y="53"/>
                </a:cubicBezTo>
                <a:cubicBezTo>
                  <a:pt x="449" y="53"/>
                  <a:pt x="449" y="53"/>
                  <a:pt x="449" y="54"/>
                </a:cubicBezTo>
                <a:cubicBezTo>
                  <a:pt x="450" y="55"/>
                  <a:pt x="450" y="57"/>
                  <a:pt x="450" y="58"/>
                </a:cubicBezTo>
                <a:cubicBezTo>
                  <a:pt x="447" y="62"/>
                  <a:pt x="436" y="61"/>
                  <a:pt x="432" y="59"/>
                </a:cubicBezTo>
                <a:cubicBezTo>
                  <a:pt x="432" y="60"/>
                  <a:pt x="432" y="61"/>
                  <a:pt x="432" y="62"/>
                </a:cubicBezTo>
                <a:cubicBezTo>
                  <a:pt x="431" y="65"/>
                  <a:pt x="423" y="63"/>
                  <a:pt x="423" y="60"/>
                </a:cubicBezTo>
                <a:cubicBezTo>
                  <a:pt x="423" y="61"/>
                  <a:pt x="421" y="60"/>
                  <a:pt x="421" y="60"/>
                </a:cubicBezTo>
                <a:cubicBezTo>
                  <a:pt x="421" y="59"/>
                  <a:pt x="423" y="59"/>
                  <a:pt x="423" y="60"/>
                </a:cubicBezTo>
                <a:cubicBezTo>
                  <a:pt x="424" y="58"/>
                  <a:pt x="427" y="58"/>
                  <a:pt x="429" y="58"/>
                </a:cubicBezTo>
                <a:cubicBezTo>
                  <a:pt x="430" y="58"/>
                  <a:pt x="431" y="57"/>
                  <a:pt x="432" y="55"/>
                </a:cubicBezTo>
                <a:cubicBezTo>
                  <a:pt x="432" y="55"/>
                  <a:pt x="432" y="53"/>
                  <a:pt x="432" y="54"/>
                </a:cubicBezTo>
                <a:cubicBezTo>
                  <a:pt x="432" y="53"/>
                  <a:pt x="434" y="52"/>
                  <a:pt x="435" y="52"/>
                </a:cubicBezTo>
                <a:cubicBezTo>
                  <a:pt x="435" y="50"/>
                  <a:pt x="431" y="50"/>
                  <a:pt x="429" y="50"/>
                </a:cubicBezTo>
                <a:cubicBezTo>
                  <a:pt x="427" y="50"/>
                  <a:pt x="423" y="49"/>
                  <a:pt x="422" y="48"/>
                </a:cubicBezTo>
                <a:cubicBezTo>
                  <a:pt x="422" y="48"/>
                  <a:pt x="422" y="47"/>
                  <a:pt x="422" y="47"/>
                </a:cubicBezTo>
                <a:cubicBezTo>
                  <a:pt x="422" y="47"/>
                  <a:pt x="421" y="47"/>
                  <a:pt x="421" y="48"/>
                </a:cubicBezTo>
                <a:cubicBezTo>
                  <a:pt x="420" y="48"/>
                  <a:pt x="419" y="49"/>
                  <a:pt x="417" y="50"/>
                </a:cubicBezTo>
                <a:cubicBezTo>
                  <a:pt x="417" y="50"/>
                  <a:pt x="416" y="50"/>
                  <a:pt x="416" y="51"/>
                </a:cubicBezTo>
                <a:cubicBezTo>
                  <a:pt x="418" y="53"/>
                  <a:pt x="416" y="54"/>
                  <a:pt x="414" y="54"/>
                </a:cubicBezTo>
                <a:cubicBezTo>
                  <a:pt x="413" y="54"/>
                  <a:pt x="412" y="54"/>
                  <a:pt x="412" y="54"/>
                </a:cubicBezTo>
                <a:cubicBezTo>
                  <a:pt x="412" y="54"/>
                  <a:pt x="412" y="54"/>
                  <a:pt x="412" y="53"/>
                </a:cubicBezTo>
                <a:cubicBezTo>
                  <a:pt x="411" y="53"/>
                  <a:pt x="411" y="53"/>
                  <a:pt x="411" y="53"/>
                </a:cubicBezTo>
                <a:cubicBezTo>
                  <a:pt x="410" y="53"/>
                  <a:pt x="410" y="53"/>
                  <a:pt x="410" y="53"/>
                </a:cubicBezTo>
                <a:cubicBezTo>
                  <a:pt x="409" y="53"/>
                  <a:pt x="409" y="54"/>
                  <a:pt x="409" y="54"/>
                </a:cubicBezTo>
                <a:cubicBezTo>
                  <a:pt x="408" y="55"/>
                  <a:pt x="407" y="54"/>
                  <a:pt x="407" y="55"/>
                </a:cubicBezTo>
                <a:cubicBezTo>
                  <a:pt x="406" y="55"/>
                  <a:pt x="405" y="56"/>
                  <a:pt x="404" y="57"/>
                </a:cubicBezTo>
                <a:cubicBezTo>
                  <a:pt x="404" y="57"/>
                  <a:pt x="404" y="58"/>
                  <a:pt x="402" y="58"/>
                </a:cubicBezTo>
                <a:cubicBezTo>
                  <a:pt x="401" y="59"/>
                  <a:pt x="401" y="59"/>
                  <a:pt x="400" y="60"/>
                </a:cubicBezTo>
                <a:cubicBezTo>
                  <a:pt x="396" y="62"/>
                  <a:pt x="392" y="63"/>
                  <a:pt x="388" y="64"/>
                </a:cubicBezTo>
                <a:cubicBezTo>
                  <a:pt x="387" y="65"/>
                  <a:pt x="387" y="65"/>
                  <a:pt x="387" y="65"/>
                </a:cubicBezTo>
                <a:cubicBezTo>
                  <a:pt x="387" y="65"/>
                  <a:pt x="388" y="65"/>
                  <a:pt x="388" y="65"/>
                </a:cubicBezTo>
                <a:cubicBezTo>
                  <a:pt x="389" y="65"/>
                  <a:pt x="391" y="66"/>
                  <a:pt x="392" y="67"/>
                </a:cubicBezTo>
                <a:cubicBezTo>
                  <a:pt x="392" y="67"/>
                  <a:pt x="393" y="68"/>
                  <a:pt x="392" y="68"/>
                </a:cubicBezTo>
                <a:cubicBezTo>
                  <a:pt x="393" y="69"/>
                  <a:pt x="394" y="70"/>
                  <a:pt x="393" y="71"/>
                </a:cubicBezTo>
                <a:cubicBezTo>
                  <a:pt x="393" y="78"/>
                  <a:pt x="380" y="78"/>
                  <a:pt x="374" y="76"/>
                </a:cubicBezTo>
                <a:cubicBezTo>
                  <a:pt x="373" y="75"/>
                  <a:pt x="371" y="73"/>
                  <a:pt x="370" y="72"/>
                </a:cubicBezTo>
                <a:cubicBezTo>
                  <a:pt x="368" y="73"/>
                  <a:pt x="366" y="74"/>
                  <a:pt x="366" y="73"/>
                </a:cubicBezTo>
                <a:cubicBezTo>
                  <a:pt x="365" y="72"/>
                  <a:pt x="367" y="71"/>
                  <a:pt x="369" y="70"/>
                </a:cubicBezTo>
                <a:cubicBezTo>
                  <a:pt x="369" y="70"/>
                  <a:pt x="369" y="70"/>
                  <a:pt x="369" y="70"/>
                </a:cubicBezTo>
                <a:cubicBezTo>
                  <a:pt x="368" y="69"/>
                  <a:pt x="366" y="69"/>
                  <a:pt x="366" y="69"/>
                </a:cubicBezTo>
                <a:cubicBezTo>
                  <a:pt x="366" y="67"/>
                  <a:pt x="370" y="65"/>
                  <a:pt x="374" y="64"/>
                </a:cubicBezTo>
                <a:cubicBezTo>
                  <a:pt x="369" y="65"/>
                  <a:pt x="362" y="65"/>
                  <a:pt x="358" y="66"/>
                </a:cubicBezTo>
                <a:cubicBezTo>
                  <a:pt x="358" y="66"/>
                  <a:pt x="351" y="68"/>
                  <a:pt x="351" y="67"/>
                </a:cubicBezTo>
                <a:cubicBezTo>
                  <a:pt x="350" y="66"/>
                  <a:pt x="356" y="66"/>
                  <a:pt x="357" y="65"/>
                </a:cubicBezTo>
                <a:cubicBezTo>
                  <a:pt x="363" y="65"/>
                  <a:pt x="372" y="62"/>
                  <a:pt x="379" y="62"/>
                </a:cubicBezTo>
                <a:cubicBezTo>
                  <a:pt x="379" y="62"/>
                  <a:pt x="379" y="62"/>
                  <a:pt x="379" y="62"/>
                </a:cubicBezTo>
                <a:cubicBezTo>
                  <a:pt x="379" y="62"/>
                  <a:pt x="380" y="62"/>
                  <a:pt x="379" y="62"/>
                </a:cubicBezTo>
                <a:cubicBezTo>
                  <a:pt x="379" y="63"/>
                  <a:pt x="379" y="63"/>
                  <a:pt x="378" y="63"/>
                </a:cubicBezTo>
                <a:cubicBezTo>
                  <a:pt x="379" y="63"/>
                  <a:pt x="381" y="63"/>
                  <a:pt x="382" y="63"/>
                </a:cubicBezTo>
                <a:cubicBezTo>
                  <a:pt x="382" y="62"/>
                  <a:pt x="383" y="61"/>
                  <a:pt x="383" y="61"/>
                </a:cubicBezTo>
                <a:cubicBezTo>
                  <a:pt x="384" y="61"/>
                  <a:pt x="384" y="62"/>
                  <a:pt x="384" y="62"/>
                </a:cubicBezTo>
                <a:cubicBezTo>
                  <a:pt x="385" y="61"/>
                  <a:pt x="385" y="60"/>
                  <a:pt x="386" y="60"/>
                </a:cubicBezTo>
                <a:cubicBezTo>
                  <a:pt x="387" y="59"/>
                  <a:pt x="389" y="59"/>
                  <a:pt x="390" y="59"/>
                </a:cubicBezTo>
                <a:cubicBezTo>
                  <a:pt x="392" y="58"/>
                  <a:pt x="393" y="57"/>
                  <a:pt x="395" y="56"/>
                </a:cubicBezTo>
                <a:cubicBezTo>
                  <a:pt x="396" y="56"/>
                  <a:pt x="396" y="56"/>
                  <a:pt x="396" y="56"/>
                </a:cubicBezTo>
                <a:cubicBezTo>
                  <a:pt x="398" y="55"/>
                  <a:pt x="399" y="53"/>
                  <a:pt x="400" y="52"/>
                </a:cubicBezTo>
                <a:cubicBezTo>
                  <a:pt x="401" y="52"/>
                  <a:pt x="402" y="53"/>
                  <a:pt x="402" y="52"/>
                </a:cubicBezTo>
                <a:cubicBezTo>
                  <a:pt x="404" y="52"/>
                  <a:pt x="405" y="51"/>
                  <a:pt x="407" y="50"/>
                </a:cubicBezTo>
                <a:cubicBezTo>
                  <a:pt x="409" y="50"/>
                  <a:pt x="411" y="48"/>
                  <a:pt x="411" y="48"/>
                </a:cubicBezTo>
                <a:cubicBezTo>
                  <a:pt x="412" y="48"/>
                  <a:pt x="412" y="49"/>
                  <a:pt x="412" y="49"/>
                </a:cubicBezTo>
                <a:cubicBezTo>
                  <a:pt x="413" y="48"/>
                  <a:pt x="413" y="48"/>
                  <a:pt x="413" y="47"/>
                </a:cubicBezTo>
                <a:cubicBezTo>
                  <a:pt x="414" y="47"/>
                  <a:pt x="414" y="48"/>
                  <a:pt x="415" y="48"/>
                </a:cubicBezTo>
                <a:cubicBezTo>
                  <a:pt x="415" y="47"/>
                  <a:pt x="415" y="47"/>
                  <a:pt x="416" y="46"/>
                </a:cubicBezTo>
                <a:cubicBezTo>
                  <a:pt x="416" y="46"/>
                  <a:pt x="416" y="47"/>
                  <a:pt x="417" y="47"/>
                </a:cubicBezTo>
                <a:cubicBezTo>
                  <a:pt x="417" y="47"/>
                  <a:pt x="417" y="46"/>
                  <a:pt x="418" y="45"/>
                </a:cubicBezTo>
                <a:cubicBezTo>
                  <a:pt x="419" y="45"/>
                  <a:pt x="419" y="46"/>
                  <a:pt x="420" y="45"/>
                </a:cubicBezTo>
                <a:cubicBezTo>
                  <a:pt x="420" y="45"/>
                  <a:pt x="420" y="44"/>
                  <a:pt x="421" y="44"/>
                </a:cubicBezTo>
                <a:cubicBezTo>
                  <a:pt x="422" y="43"/>
                  <a:pt x="424" y="43"/>
                  <a:pt x="425" y="42"/>
                </a:cubicBezTo>
                <a:cubicBezTo>
                  <a:pt x="427" y="40"/>
                  <a:pt x="432" y="39"/>
                  <a:pt x="435" y="36"/>
                </a:cubicBezTo>
                <a:cubicBezTo>
                  <a:pt x="438" y="35"/>
                  <a:pt x="441" y="33"/>
                  <a:pt x="444" y="32"/>
                </a:cubicBezTo>
                <a:cubicBezTo>
                  <a:pt x="444" y="32"/>
                  <a:pt x="443" y="32"/>
                  <a:pt x="443" y="32"/>
                </a:cubicBezTo>
                <a:cubicBezTo>
                  <a:pt x="440" y="31"/>
                  <a:pt x="439" y="28"/>
                  <a:pt x="438" y="28"/>
                </a:cubicBezTo>
                <a:cubicBezTo>
                  <a:pt x="437" y="28"/>
                  <a:pt x="437" y="28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5" y="30"/>
                  <a:pt x="434" y="30"/>
                  <a:pt x="433" y="31"/>
                </a:cubicBezTo>
                <a:cubicBezTo>
                  <a:pt x="432" y="31"/>
                  <a:pt x="431" y="31"/>
                  <a:pt x="431" y="30"/>
                </a:cubicBezTo>
                <a:cubicBezTo>
                  <a:pt x="431" y="30"/>
                  <a:pt x="431" y="30"/>
                  <a:pt x="431" y="30"/>
                </a:cubicBezTo>
                <a:cubicBezTo>
                  <a:pt x="430" y="30"/>
                  <a:pt x="430" y="31"/>
                  <a:pt x="429" y="31"/>
                </a:cubicBezTo>
                <a:cubicBezTo>
                  <a:pt x="428" y="32"/>
                  <a:pt x="425" y="32"/>
                  <a:pt x="424" y="31"/>
                </a:cubicBezTo>
                <a:cubicBezTo>
                  <a:pt x="424" y="31"/>
                  <a:pt x="425" y="30"/>
                  <a:pt x="426" y="30"/>
                </a:cubicBezTo>
                <a:cubicBezTo>
                  <a:pt x="426" y="30"/>
                  <a:pt x="425" y="29"/>
                  <a:pt x="425" y="29"/>
                </a:cubicBezTo>
                <a:cubicBezTo>
                  <a:pt x="424" y="30"/>
                  <a:pt x="423" y="30"/>
                  <a:pt x="423" y="30"/>
                </a:cubicBezTo>
                <a:cubicBezTo>
                  <a:pt x="418" y="29"/>
                  <a:pt x="416" y="25"/>
                  <a:pt x="419" y="23"/>
                </a:cubicBezTo>
                <a:cubicBezTo>
                  <a:pt x="421" y="21"/>
                  <a:pt x="429" y="22"/>
                  <a:pt x="429" y="26"/>
                </a:cubicBezTo>
                <a:cubicBezTo>
                  <a:pt x="429" y="29"/>
                  <a:pt x="428" y="27"/>
                  <a:pt x="431" y="27"/>
                </a:cubicBezTo>
                <a:cubicBezTo>
                  <a:pt x="434" y="26"/>
                  <a:pt x="435" y="27"/>
                  <a:pt x="436" y="25"/>
                </a:cubicBezTo>
                <a:cubicBezTo>
                  <a:pt x="439" y="21"/>
                  <a:pt x="442" y="21"/>
                  <a:pt x="446" y="22"/>
                </a:cubicBezTo>
                <a:cubicBezTo>
                  <a:pt x="446" y="21"/>
                  <a:pt x="448" y="21"/>
                  <a:pt x="449" y="22"/>
                </a:cubicBezTo>
                <a:cubicBezTo>
                  <a:pt x="450" y="22"/>
                  <a:pt x="450" y="21"/>
                  <a:pt x="451" y="21"/>
                </a:cubicBezTo>
                <a:cubicBezTo>
                  <a:pt x="452" y="22"/>
                  <a:pt x="451" y="23"/>
                  <a:pt x="450" y="24"/>
                </a:cubicBezTo>
                <a:cubicBezTo>
                  <a:pt x="451" y="25"/>
                  <a:pt x="452" y="26"/>
                  <a:pt x="452" y="28"/>
                </a:cubicBezTo>
                <a:cubicBezTo>
                  <a:pt x="451" y="28"/>
                  <a:pt x="451" y="29"/>
                  <a:pt x="451" y="30"/>
                </a:cubicBezTo>
                <a:cubicBezTo>
                  <a:pt x="451" y="29"/>
                  <a:pt x="451" y="29"/>
                  <a:pt x="452" y="29"/>
                </a:cubicBezTo>
                <a:cubicBezTo>
                  <a:pt x="453" y="29"/>
                  <a:pt x="455" y="29"/>
                  <a:pt x="457" y="29"/>
                </a:cubicBezTo>
                <a:cubicBezTo>
                  <a:pt x="458" y="28"/>
                  <a:pt x="458" y="27"/>
                  <a:pt x="460" y="27"/>
                </a:cubicBezTo>
                <a:cubicBezTo>
                  <a:pt x="461" y="26"/>
                  <a:pt x="463" y="26"/>
                  <a:pt x="465" y="26"/>
                </a:cubicBezTo>
                <a:cubicBezTo>
                  <a:pt x="463" y="25"/>
                  <a:pt x="462" y="25"/>
                  <a:pt x="460" y="25"/>
                </a:cubicBezTo>
                <a:cubicBezTo>
                  <a:pt x="462" y="25"/>
                  <a:pt x="462" y="23"/>
                  <a:pt x="461" y="23"/>
                </a:cubicBezTo>
                <a:cubicBezTo>
                  <a:pt x="461" y="23"/>
                  <a:pt x="462" y="21"/>
                  <a:pt x="463" y="20"/>
                </a:cubicBezTo>
                <a:cubicBezTo>
                  <a:pt x="464" y="20"/>
                  <a:pt x="465" y="20"/>
                  <a:pt x="466" y="20"/>
                </a:cubicBezTo>
                <a:cubicBezTo>
                  <a:pt x="466" y="20"/>
                  <a:pt x="467" y="20"/>
                  <a:pt x="468" y="20"/>
                </a:cubicBezTo>
                <a:cubicBezTo>
                  <a:pt x="468" y="21"/>
                  <a:pt x="467" y="21"/>
                  <a:pt x="466" y="21"/>
                </a:cubicBezTo>
                <a:cubicBezTo>
                  <a:pt x="468" y="22"/>
                  <a:pt x="468" y="23"/>
                  <a:pt x="468" y="24"/>
                </a:cubicBezTo>
                <a:cubicBezTo>
                  <a:pt x="469" y="23"/>
                  <a:pt x="470" y="23"/>
                  <a:pt x="471" y="22"/>
                </a:cubicBezTo>
                <a:cubicBezTo>
                  <a:pt x="471" y="22"/>
                  <a:pt x="470" y="22"/>
                  <a:pt x="470" y="21"/>
                </a:cubicBezTo>
                <a:cubicBezTo>
                  <a:pt x="469" y="20"/>
                  <a:pt x="471" y="19"/>
                  <a:pt x="473" y="19"/>
                </a:cubicBezTo>
                <a:cubicBezTo>
                  <a:pt x="473" y="19"/>
                  <a:pt x="473" y="19"/>
                  <a:pt x="473" y="19"/>
                </a:cubicBezTo>
                <a:cubicBezTo>
                  <a:pt x="456" y="13"/>
                  <a:pt x="438" y="9"/>
                  <a:pt x="419" y="5"/>
                </a:cubicBezTo>
                <a:cubicBezTo>
                  <a:pt x="427" y="10"/>
                  <a:pt x="416" y="16"/>
                  <a:pt x="410" y="12"/>
                </a:cubicBezTo>
                <a:cubicBezTo>
                  <a:pt x="408" y="10"/>
                  <a:pt x="409" y="9"/>
                  <a:pt x="407" y="7"/>
                </a:cubicBezTo>
                <a:cubicBezTo>
                  <a:pt x="408" y="6"/>
                  <a:pt x="410" y="5"/>
                  <a:pt x="412" y="4"/>
                </a:cubicBezTo>
                <a:cubicBezTo>
                  <a:pt x="408" y="4"/>
                  <a:pt x="405" y="3"/>
                  <a:pt x="401" y="3"/>
                </a:cubicBezTo>
                <a:cubicBezTo>
                  <a:pt x="401" y="3"/>
                  <a:pt x="401" y="3"/>
                  <a:pt x="401" y="3"/>
                </a:cubicBezTo>
                <a:cubicBezTo>
                  <a:pt x="398" y="2"/>
                  <a:pt x="396" y="2"/>
                  <a:pt x="393" y="2"/>
                </a:cubicBezTo>
                <a:cubicBezTo>
                  <a:pt x="392" y="6"/>
                  <a:pt x="385" y="4"/>
                  <a:pt x="382" y="1"/>
                </a:cubicBezTo>
                <a:cubicBezTo>
                  <a:pt x="374" y="0"/>
                  <a:pt x="366" y="0"/>
                  <a:pt x="357" y="0"/>
                </a:cubicBezTo>
                <a:cubicBezTo>
                  <a:pt x="343" y="0"/>
                  <a:pt x="328" y="1"/>
                  <a:pt x="314" y="3"/>
                </a:cubicBezTo>
                <a:cubicBezTo>
                  <a:pt x="314" y="3"/>
                  <a:pt x="314" y="3"/>
                  <a:pt x="315" y="3"/>
                </a:cubicBezTo>
                <a:cubicBezTo>
                  <a:pt x="315" y="3"/>
                  <a:pt x="315" y="3"/>
                  <a:pt x="315" y="3"/>
                </a:cubicBezTo>
                <a:cubicBezTo>
                  <a:pt x="315" y="4"/>
                  <a:pt x="314" y="3"/>
                  <a:pt x="314" y="3"/>
                </a:cubicBezTo>
                <a:cubicBezTo>
                  <a:pt x="138" y="24"/>
                  <a:pt x="1" y="173"/>
                  <a:pt x="0" y="354"/>
                </a:cubicBezTo>
                <a:cubicBezTo>
                  <a:pt x="0" y="354"/>
                  <a:pt x="0" y="353"/>
                  <a:pt x="1" y="353"/>
                </a:cubicBezTo>
                <a:cubicBezTo>
                  <a:pt x="1" y="353"/>
                  <a:pt x="2" y="356"/>
                  <a:pt x="1" y="356"/>
                </a:cubicBezTo>
                <a:cubicBezTo>
                  <a:pt x="0" y="357"/>
                  <a:pt x="0" y="356"/>
                  <a:pt x="0" y="356"/>
                </a:cubicBezTo>
                <a:cubicBezTo>
                  <a:pt x="0" y="356"/>
                  <a:pt x="0" y="357"/>
                  <a:pt x="0" y="357"/>
                </a:cubicBezTo>
                <a:cubicBezTo>
                  <a:pt x="0" y="375"/>
                  <a:pt x="1" y="392"/>
                  <a:pt x="4" y="409"/>
                </a:cubicBezTo>
                <a:cubicBezTo>
                  <a:pt x="4" y="409"/>
                  <a:pt x="4" y="409"/>
                  <a:pt x="4" y="409"/>
                </a:cubicBezTo>
                <a:cubicBezTo>
                  <a:pt x="5" y="409"/>
                  <a:pt x="5" y="412"/>
                  <a:pt x="5" y="412"/>
                </a:cubicBezTo>
                <a:cubicBezTo>
                  <a:pt x="4" y="413"/>
                  <a:pt x="4" y="413"/>
                  <a:pt x="4" y="413"/>
                </a:cubicBezTo>
                <a:cubicBezTo>
                  <a:pt x="5" y="418"/>
                  <a:pt x="6" y="424"/>
                  <a:pt x="7" y="429"/>
                </a:cubicBezTo>
                <a:cubicBezTo>
                  <a:pt x="8" y="429"/>
                  <a:pt x="8" y="429"/>
                  <a:pt x="8" y="429"/>
                </a:cubicBezTo>
                <a:cubicBezTo>
                  <a:pt x="9" y="430"/>
                  <a:pt x="8" y="430"/>
                  <a:pt x="7" y="431"/>
                </a:cubicBezTo>
                <a:cubicBezTo>
                  <a:pt x="8" y="433"/>
                  <a:pt x="8" y="435"/>
                  <a:pt x="9" y="438"/>
                </a:cubicBezTo>
                <a:cubicBezTo>
                  <a:pt x="9" y="438"/>
                  <a:pt x="9" y="438"/>
                  <a:pt x="9" y="438"/>
                </a:cubicBezTo>
                <a:cubicBezTo>
                  <a:pt x="9" y="440"/>
                  <a:pt x="10" y="441"/>
                  <a:pt x="10" y="443"/>
                </a:cubicBezTo>
                <a:cubicBezTo>
                  <a:pt x="10" y="443"/>
                  <a:pt x="10" y="443"/>
                  <a:pt x="10" y="442"/>
                </a:cubicBezTo>
                <a:cubicBezTo>
                  <a:pt x="10" y="442"/>
                  <a:pt x="10" y="442"/>
                  <a:pt x="10" y="441"/>
                </a:cubicBezTo>
                <a:cubicBezTo>
                  <a:pt x="10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2" y="441"/>
                  <a:pt x="13" y="440"/>
                  <a:pt x="14" y="440"/>
                </a:cubicBezTo>
                <a:cubicBezTo>
                  <a:pt x="14" y="439"/>
                  <a:pt x="15" y="438"/>
                  <a:pt x="16" y="439"/>
                </a:cubicBezTo>
                <a:cubicBezTo>
                  <a:pt x="17" y="439"/>
                  <a:pt x="17" y="439"/>
                  <a:pt x="18" y="440"/>
                </a:cubicBezTo>
                <a:cubicBezTo>
                  <a:pt x="20" y="443"/>
                  <a:pt x="19" y="438"/>
                  <a:pt x="18" y="438"/>
                </a:cubicBezTo>
                <a:cubicBezTo>
                  <a:pt x="18" y="438"/>
                  <a:pt x="18" y="438"/>
                  <a:pt x="17" y="437"/>
                </a:cubicBezTo>
                <a:cubicBezTo>
                  <a:pt x="17" y="437"/>
                  <a:pt x="17" y="437"/>
                  <a:pt x="17" y="436"/>
                </a:cubicBezTo>
                <a:cubicBezTo>
                  <a:pt x="17" y="435"/>
                  <a:pt x="17" y="432"/>
                  <a:pt x="17" y="431"/>
                </a:cubicBezTo>
                <a:cubicBezTo>
                  <a:pt x="17" y="433"/>
                  <a:pt x="18" y="434"/>
                  <a:pt x="19" y="435"/>
                </a:cubicBezTo>
                <a:cubicBezTo>
                  <a:pt x="19" y="435"/>
                  <a:pt x="19" y="435"/>
                  <a:pt x="19" y="435"/>
                </a:cubicBezTo>
                <a:cubicBezTo>
                  <a:pt x="20" y="435"/>
                  <a:pt x="19" y="436"/>
                  <a:pt x="19" y="436"/>
                </a:cubicBezTo>
                <a:cubicBezTo>
                  <a:pt x="19" y="437"/>
                  <a:pt x="19" y="437"/>
                  <a:pt x="19" y="438"/>
                </a:cubicBezTo>
                <a:cubicBezTo>
                  <a:pt x="20" y="437"/>
                  <a:pt x="19" y="435"/>
                  <a:pt x="21" y="434"/>
                </a:cubicBezTo>
                <a:cubicBezTo>
                  <a:pt x="20" y="436"/>
                  <a:pt x="20" y="437"/>
                  <a:pt x="21" y="438"/>
                </a:cubicBezTo>
                <a:cubicBezTo>
                  <a:pt x="21" y="438"/>
                  <a:pt x="22" y="438"/>
                  <a:pt x="22" y="438"/>
                </a:cubicBezTo>
                <a:cubicBezTo>
                  <a:pt x="22" y="438"/>
                  <a:pt x="22" y="438"/>
                  <a:pt x="22" y="438"/>
                </a:cubicBezTo>
                <a:cubicBezTo>
                  <a:pt x="23" y="438"/>
                  <a:pt x="23" y="438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3" y="435"/>
                  <a:pt x="23" y="434"/>
                  <a:pt x="23" y="434"/>
                </a:cubicBezTo>
                <a:cubicBezTo>
                  <a:pt x="23" y="433"/>
                  <a:pt x="22" y="433"/>
                  <a:pt x="21" y="434"/>
                </a:cubicBezTo>
                <a:cubicBezTo>
                  <a:pt x="20" y="434"/>
                  <a:pt x="20" y="435"/>
                  <a:pt x="19" y="434"/>
                </a:cubicBezTo>
                <a:cubicBezTo>
                  <a:pt x="19" y="434"/>
                  <a:pt x="19" y="434"/>
                  <a:pt x="19" y="433"/>
                </a:cubicBezTo>
                <a:cubicBezTo>
                  <a:pt x="19" y="433"/>
                  <a:pt x="19" y="433"/>
                  <a:pt x="19" y="433"/>
                </a:cubicBezTo>
                <a:cubicBezTo>
                  <a:pt x="18" y="433"/>
                  <a:pt x="19" y="431"/>
                  <a:pt x="18" y="429"/>
                </a:cubicBezTo>
                <a:cubicBezTo>
                  <a:pt x="17" y="430"/>
                  <a:pt x="16" y="429"/>
                  <a:pt x="16" y="426"/>
                </a:cubicBezTo>
                <a:cubicBezTo>
                  <a:pt x="16" y="426"/>
                  <a:pt x="16" y="426"/>
                  <a:pt x="16" y="426"/>
                </a:cubicBezTo>
                <a:cubicBezTo>
                  <a:pt x="16" y="427"/>
                  <a:pt x="14" y="432"/>
                  <a:pt x="15" y="433"/>
                </a:cubicBezTo>
                <a:cubicBezTo>
                  <a:pt x="15" y="433"/>
                  <a:pt x="16" y="437"/>
                  <a:pt x="14" y="435"/>
                </a:cubicBezTo>
                <a:cubicBezTo>
                  <a:pt x="12" y="434"/>
                  <a:pt x="15" y="429"/>
                  <a:pt x="15" y="426"/>
                </a:cubicBezTo>
                <a:cubicBezTo>
                  <a:pt x="14" y="426"/>
                  <a:pt x="14" y="426"/>
                  <a:pt x="14" y="425"/>
                </a:cubicBezTo>
                <a:cubicBezTo>
                  <a:pt x="13" y="424"/>
                  <a:pt x="14" y="424"/>
                  <a:pt x="14" y="423"/>
                </a:cubicBezTo>
                <a:cubicBezTo>
                  <a:pt x="14" y="423"/>
                  <a:pt x="14" y="422"/>
                  <a:pt x="15" y="422"/>
                </a:cubicBezTo>
                <a:cubicBezTo>
                  <a:pt x="14" y="421"/>
                  <a:pt x="13" y="422"/>
                  <a:pt x="12" y="421"/>
                </a:cubicBezTo>
                <a:cubicBezTo>
                  <a:pt x="13" y="421"/>
                  <a:pt x="11" y="419"/>
                  <a:pt x="11" y="420"/>
                </a:cubicBezTo>
                <a:cubicBezTo>
                  <a:pt x="11" y="417"/>
                  <a:pt x="14" y="417"/>
                  <a:pt x="15" y="419"/>
                </a:cubicBezTo>
                <a:cubicBezTo>
                  <a:pt x="14" y="418"/>
                  <a:pt x="16" y="419"/>
                  <a:pt x="17" y="418"/>
                </a:cubicBezTo>
                <a:cubicBezTo>
                  <a:pt x="16" y="418"/>
                  <a:pt x="17" y="413"/>
                  <a:pt x="19" y="413"/>
                </a:cubicBezTo>
                <a:cubicBezTo>
                  <a:pt x="19" y="413"/>
                  <a:pt x="18" y="416"/>
                  <a:pt x="19" y="417"/>
                </a:cubicBezTo>
                <a:cubicBezTo>
                  <a:pt x="19" y="417"/>
                  <a:pt x="19" y="417"/>
                  <a:pt x="19" y="417"/>
                </a:cubicBezTo>
                <a:cubicBezTo>
                  <a:pt x="19" y="417"/>
                  <a:pt x="19" y="416"/>
                  <a:pt x="20" y="417"/>
                </a:cubicBezTo>
                <a:cubicBezTo>
                  <a:pt x="20" y="417"/>
                  <a:pt x="21" y="418"/>
                  <a:pt x="20" y="419"/>
                </a:cubicBezTo>
                <a:cubicBezTo>
                  <a:pt x="20" y="419"/>
                  <a:pt x="20" y="419"/>
                  <a:pt x="20" y="419"/>
                </a:cubicBezTo>
                <a:cubicBezTo>
                  <a:pt x="21" y="419"/>
                  <a:pt x="20" y="420"/>
                  <a:pt x="19" y="420"/>
                </a:cubicBezTo>
                <a:cubicBezTo>
                  <a:pt x="17" y="421"/>
                  <a:pt x="19" y="421"/>
                  <a:pt x="20" y="422"/>
                </a:cubicBezTo>
                <a:cubicBezTo>
                  <a:pt x="20" y="422"/>
                  <a:pt x="20" y="422"/>
                  <a:pt x="21" y="422"/>
                </a:cubicBezTo>
                <a:cubicBezTo>
                  <a:pt x="21" y="422"/>
                  <a:pt x="21" y="422"/>
                  <a:pt x="21" y="422"/>
                </a:cubicBezTo>
                <a:cubicBezTo>
                  <a:pt x="22" y="423"/>
                  <a:pt x="22" y="423"/>
                  <a:pt x="22" y="424"/>
                </a:cubicBezTo>
                <a:cubicBezTo>
                  <a:pt x="22" y="424"/>
                  <a:pt x="23" y="423"/>
                  <a:pt x="24" y="423"/>
                </a:cubicBezTo>
                <a:cubicBezTo>
                  <a:pt x="25" y="423"/>
                  <a:pt x="24" y="425"/>
                  <a:pt x="26" y="425"/>
                </a:cubicBezTo>
                <a:cubicBezTo>
                  <a:pt x="26" y="425"/>
                  <a:pt x="26" y="425"/>
                  <a:pt x="26" y="425"/>
                </a:cubicBezTo>
                <a:cubicBezTo>
                  <a:pt x="27" y="422"/>
                  <a:pt x="30" y="417"/>
                  <a:pt x="26" y="418"/>
                </a:cubicBezTo>
                <a:cubicBezTo>
                  <a:pt x="29" y="416"/>
                  <a:pt x="25" y="414"/>
                  <a:pt x="24" y="414"/>
                </a:cubicBezTo>
                <a:cubicBezTo>
                  <a:pt x="23" y="412"/>
                  <a:pt x="25" y="415"/>
                  <a:pt x="25" y="414"/>
                </a:cubicBezTo>
                <a:cubicBezTo>
                  <a:pt x="27" y="413"/>
                  <a:pt x="24" y="411"/>
                  <a:pt x="24" y="408"/>
                </a:cubicBezTo>
                <a:cubicBezTo>
                  <a:pt x="24" y="408"/>
                  <a:pt x="26" y="406"/>
                  <a:pt x="26" y="406"/>
                </a:cubicBezTo>
                <a:cubicBezTo>
                  <a:pt x="27" y="404"/>
                  <a:pt x="24" y="405"/>
                  <a:pt x="27" y="404"/>
                </a:cubicBezTo>
                <a:cubicBezTo>
                  <a:pt x="29" y="404"/>
                  <a:pt x="29" y="400"/>
                  <a:pt x="30" y="399"/>
                </a:cubicBezTo>
                <a:cubicBezTo>
                  <a:pt x="30" y="399"/>
                  <a:pt x="34" y="398"/>
                  <a:pt x="34" y="396"/>
                </a:cubicBezTo>
                <a:cubicBezTo>
                  <a:pt x="30" y="400"/>
                  <a:pt x="28" y="395"/>
                  <a:pt x="29" y="394"/>
                </a:cubicBezTo>
                <a:cubicBezTo>
                  <a:pt x="29" y="394"/>
                  <a:pt x="28" y="391"/>
                  <a:pt x="31" y="391"/>
                </a:cubicBezTo>
                <a:cubicBezTo>
                  <a:pt x="33" y="390"/>
                  <a:pt x="32" y="391"/>
                  <a:pt x="34" y="389"/>
                </a:cubicBezTo>
                <a:cubicBezTo>
                  <a:pt x="35" y="388"/>
                  <a:pt x="34" y="396"/>
                  <a:pt x="35" y="396"/>
                </a:cubicBezTo>
                <a:cubicBezTo>
                  <a:pt x="36" y="398"/>
                  <a:pt x="36" y="395"/>
                  <a:pt x="37" y="398"/>
                </a:cubicBezTo>
                <a:cubicBezTo>
                  <a:pt x="38" y="404"/>
                  <a:pt x="42" y="414"/>
                  <a:pt x="34" y="417"/>
                </a:cubicBezTo>
                <a:cubicBezTo>
                  <a:pt x="32" y="418"/>
                  <a:pt x="31" y="417"/>
                  <a:pt x="30" y="418"/>
                </a:cubicBezTo>
                <a:cubicBezTo>
                  <a:pt x="28" y="420"/>
                  <a:pt x="28" y="422"/>
                  <a:pt x="27" y="425"/>
                </a:cubicBezTo>
                <a:cubicBezTo>
                  <a:pt x="27" y="425"/>
                  <a:pt x="27" y="425"/>
                  <a:pt x="27" y="425"/>
                </a:cubicBezTo>
                <a:cubicBezTo>
                  <a:pt x="28" y="425"/>
                  <a:pt x="27" y="426"/>
                  <a:pt x="28" y="427"/>
                </a:cubicBezTo>
                <a:cubicBezTo>
                  <a:pt x="28" y="427"/>
                  <a:pt x="29" y="427"/>
                  <a:pt x="30" y="427"/>
                </a:cubicBezTo>
                <a:cubicBezTo>
                  <a:pt x="30" y="426"/>
                  <a:pt x="30" y="426"/>
                  <a:pt x="31" y="426"/>
                </a:cubicBezTo>
                <a:cubicBezTo>
                  <a:pt x="31" y="426"/>
                  <a:pt x="31" y="426"/>
                  <a:pt x="31" y="427"/>
                </a:cubicBezTo>
                <a:cubicBezTo>
                  <a:pt x="31" y="427"/>
                  <a:pt x="32" y="427"/>
                  <a:pt x="32" y="427"/>
                </a:cubicBezTo>
                <a:cubicBezTo>
                  <a:pt x="32" y="428"/>
                  <a:pt x="31" y="430"/>
                  <a:pt x="33" y="429"/>
                </a:cubicBezTo>
                <a:cubicBezTo>
                  <a:pt x="33" y="430"/>
                  <a:pt x="33" y="432"/>
                  <a:pt x="33" y="433"/>
                </a:cubicBezTo>
                <a:cubicBezTo>
                  <a:pt x="33" y="433"/>
                  <a:pt x="33" y="433"/>
                  <a:pt x="33" y="433"/>
                </a:cubicBezTo>
                <a:cubicBezTo>
                  <a:pt x="34" y="433"/>
                  <a:pt x="36" y="432"/>
                  <a:pt x="35" y="432"/>
                </a:cubicBezTo>
                <a:cubicBezTo>
                  <a:pt x="36" y="432"/>
                  <a:pt x="35" y="435"/>
                  <a:pt x="34" y="436"/>
                </a:cubicBezTo>
                <a:cubicBezTo>
                  <a:pt x="34" y="437"/>
                  <a:pt x="34" y="437"/>
                  <a:pt x="35" y="437"/>
                </a:cubicBezTo>
                <a:cubicBezTo>
                  <a:pt x="34" y="437"/>
                  <a:pt x="38" y="431"/>
                  <a:pt x="39" y="435"/>
                </a:cubicBezTo>
                <a:cubicBezTo>
                  <a:pt x="39" y="434"/>
                  <a:pt x="39" y="434"/>
                  <a:pt x="39" y="434"/>
                </a:cubicBezTo>
                <a:cubicBezTo>
                  <a:pt x="39" y="434"/>
                  <a:pt x="41" y="432"/>
                  <a:pt x="41" y="432"/>
                </a:cubicBezTo>
                <a:cubicBezTo>
                  <a:pt x="43" y="433"/>
                  <a:pt x="41" y="437"/>
                  <a:pt x="40" y="439"/>
                </a:cubicBezTo>
                <a:cubicBezTo>
                  <a:pt x="42" y="439"/>
                  <a:pt x="43" y="440"/>
                  <a:pt x="42" y="441"/>
                </a:cubicBezTo>
                <a:cubicBezTo>
                  <a:pt x="42" y="441"/>
                  <a:pt x="42" y="442"/>
                  <a:pt x="42" y="442"/>
                </a:cubicBezTo>
                <a:cubicBezTo>
                  <a:pt x="42" y="442"/>
                  <a:pt x="42" y="443"/>
                  <a:pt x="41" y="443"/>
                </a:cubicBezTo>
                <a:cubicBezTo>
                  <a:pt x="41" y="443"/>
                  <a:pt x="40" y="444"/>
                  <a:pt x="40" y="444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5"/>
                  <a:pt x="39" y="447"/>
                  <a:pt x="38" y="448"/>
                </a:cubicBezTo>
                <a:cubicBezTo>
                  <a:pt x="38" y="449"/>
                  <a:pt x="38" y="449"/>
                  <a:pt x="38" y="450"/>
                </a:cubicBezTo>
                <a:cubicBezTo>
                  <a:pt x="38" y="450"/>
                  <a:pt x="38" y="450"/>
                  <a:pt x="39" y="450"/>
                </a:cubicBezTo>
                <a:cubicBezTo>
                  <a:pt x="39" y="449"/>
                  <a:pt x="40" y="448"/>
                  <a:pt x="41" y="447"/>
                </a:cubicBezTo>
                <a:cubicBezTo>
                  <a:pt x="41" y="448"/>
                  <a:pt x="40" y="450"/>
                  <a:pt x="39" y="451"/>
                </a:cubicBezTo>
                <a:cubicBezTo>
                  <a:pt x="39" y="451"/>
                  <a:pt x="39" y="451"/>
                  <a:pt x="39" y="451"/>
                </a:cubicBezTo>
                <a:cubicBezTo>
                  <a:pt x="39" y="451"/>
                  <a:pt x="40" y="451"/>
                  <a:pt x="40" y="451"/>
                </a:cubicBezTo>
                <a:cubicBezTo>
                  <a:pt x="40" y="451"/>
                  <a:pt x="39" y="452"/>
                  <a:pt x="39" y="451"/>
                </a:cubicBezTo>
                <a:cubicBezTo>
                  <a:pt x="38" y="453"/>
                  <a:pt x="35" y="455"/>
                  <a:pt x="35" y="457"/>
                </a:cubicBezTo>
                <a:cubicBezTo>
                  <a:pt x="35" y="456"/>
                  <a:pt x="35" y="456"/>
                  <a:pt x="35" y="456"/>
                </a:cubicBezTo>
                <a:cubicBezTo>
                  <a:pt x="36" y="456"/>
                  <a:pt x="36" y="458"/>
                  <a:pt x="36" y="459"/>
                </a:cubicBezTo>
                <a:cubicBezTo>
                  <a:pt x="36" y="459"/>
                  <a:pt x="37" y="459"/>
                  <a:pt x="37" y="460"/>
                </a:cubicBezTo>
                <a:cubicBezTo>
                  <a:pt x="37" y="461"/>
                  <a:pt x="35" y="463"/>
                  <a:pt x="34" y="463"/>
                </a:cubicBezTo>
                <a:cubicBezTo>
                  <a:pt x="34" y="463"/>
                  <a:pt x="34" y="462"/>
                  <a:pt x="34" y="462"/>
                </a:cubicBezTo>
                <a:cubicBezTo>
                  <a:pt x="34" y="462"/>
                  <a:pt x="34" y="462"/>
                  <a:pt x="34" y="462"/>
                </a:cubicBezTo>
                <a:cubicBezTo>
                  <a:pt x="34" y="462"/>
                  <a:pt x="33" y="463"/>
                  <a:pt x="33" y="463"/>
                </a:cubicBezTo>
                <a:cubicBezTo>
                  <a:pt x="31" y="462"/>
                  <a:pt x="33" y="461"/>
                  <a:pt x="34" y="461"/>
                </a:cubicBezTo>
                <a:cubicBezTo>
                  <a:pt x="34" y="461"/>
                  <a:pt x="34" y="460"/>
                  <a:pt x="33" y="460"/>
                </a:cubicBezTo>
                <a:cubicBezTo>
                  <a:pt x="33" y="460"/>
                  <a:pt x="33" y="460"/>
                  <a:pt x="33" y="461"/>
                </a:cubicBezTo>
                <a:cubicBezTo>
                  <a:pt x="32" y="462"/>
                  <a:pt x="31" y="461"/>
                  <a:pt x="32" y="460"/>
                </a:cubicBezTo>
                <a:cubicBezTo>
                  <a:pt x="29" y="460"/>
                  <a:pt x="23" y="461"/>
                  <a:pt x="24" y="461"/>
                </a:cubicBezTo>
                <a:cubicBezTo>
                  <a:pt x="23" y="461"/>
                  <a:pt x="21" y="469"/>
                  <a:pt x="21" y="464"/>
                </a:cubicBezTo>
                <a:cubicBezTo>
                  <a:pt x="21" y="464"/>
                  <a:pt x="21" y="465"/>
                  <a:pt x="20" y="465"/>
                </a:cubicBezTo>
                <a:cubicBezTo>
                  <a:pt x="20" y="465"/>
                  <a:pt x="20" y="465"/>
                  <a:pt x="20" y="465"/>
                </a:cubicBezTo>
                <a:cubicBezTo>
                  <a:pt x="20" y="465"/>
                  <a:pt x="20" y="466"/>
                  <a:pt x="19" y="465"/>
                </a:cubicBezTo>
                <a:cubicBezTo>
                  <a:pt x="19" y="465"/>
                  <a:pt x="19" y="466"/>
                  <a:pt x="19" y="466"/>
                </a:cubicBezTo>
                <a:cubicBezTo>
                  <a:pt x="19" y="467"/>
                  <a:pt x="18" y="465"/>
                  <a:pt x="18" y="465"/>
                </a:cubicBezTo>
                <a:cubicBezTo>
                  <a:pt x="17" y="464"/>
                  <a:pt x="17" y="464"/>
                  <a:pt x="16" y="464"/>
                </a:cubicBezTo>
                <a:cubicBezTo>
                  <a:pt x="16" y="464"/>
                  <a:pt x="16" y="463"/>
                  <a:pt x="16" y="463"/>
                </a:cubicBezTo>
                <a:cubicBezTo>
                  <a:pt x="17" y="466"/>
                  <a:pt x="17" y="468"/>
                  <a:pt x="18" y="470"/>
                </a:cubicBezTo>
                <a:cubicBezTo>
                  <a:pt x="18" y="471"/>
                  <a:pt x="19" y="471"/>
                  <a:pt x="18" y="471"/>
                </a:cubicBezTo>
                <a:cubicBezTo>
                  <a:pt x="18" y="472"/>
                  <a:pt x="19" y="472"/>
                  <a:pt x="19" y="472"/>
                </a:cubicBezTo>
                <a:cubicBezTo>
                  <a:pt x="19" y="472"/>
                  <a:pt x="19" y="472"/>
                  <a:pt x="19" y="471"/>
                </a:cubicBezTo>
                <a:cubicBezTo>
                  <a:pt x="20" y="470"/>
                  <a:pt x="21" y="470"/>
                  <a:pt x="22" y="469"/>
                </a:cubicBezTo>
                <a:cubicBezTo>
                  <a:pt x="21" y="468"/>
                  <a:pt x="22" y="466"/>
                  <a:pt x="23" y="467"/>
                </a:cubicBezTo>
                <a:cubicBezTo>
                  <a:pt x="24" y="467"/>
                  <a:pt x="24" y="468"/>
                  <a:pt x="23" y="469"/>
                </a:cubicBezTo>
                <a:cubicBezTo>
                  <a:pt x="23" y="469"/>
                  <a:pt x="23" y="469"/>
                  <a:pt x="24" y="469"/>
                </a:cubicBezTo>
                <a:cubicBezTo>
                  <a:pt x="24" y="469"/>
                  <a:pt x="24" y="469"/>
                  <a:pt x="24" y="469"/>
                </a:cubicBezTo>
                <a:cubicBezTo>
                  <a:pt x="26" y="468"/>
                  <a:pt x="28" y="469"/>
                  <a:pt x="29" y="470"/>
                </a:cubicBezTo>
                <a:cubicBezTo>
                  <a:pt x="29" y="470"/>
                  <a:pt x="30" y="470"/>
                  <a:pt x="30" y="470"/>
                </a:cubicBezTo>
                <a:cubicBezTo>
                  <a:pt x="30" y="470"/>
                  <a:pt x="30" y="470"/>
                  <a:pt x="30" y="470"/>
                </a:cubicBezTo>
                <a:cubicBezTo>
                  <a:pt x="30" y="470"/>
                  <a:pt x="31" y="471"/>
                  <a:pt x="30" y="471"/>
                </a:cubicBezTo>
                <a:cubicBezTo>
                  <a:pt x="32" y="472"/>
                  <a:pt x="33" y="475"/>
                  <a:pt x="33" y="477"/>
                </a:cubicBezTo>
                <a:cubicBezTo>
                  <a:pt x="33" y="477"/>
                  <a:pt x="32" y="480"/>
                  <a:pt x="31" y="480"/>
                </a:cubicBezTo>
                <a:cubicBezTo>
                  <a:pt x="31" y="480"/>
                  <a:pt x="30" y="479"/>
                  <a:pt x="30" y="480"/>
                </a:cubicBezTo>
                <a:cubicBezTo>
                  <a:pt x="30" y="480"/>
                  <a:pt x="30" y="480"/>
                  <a:pt x="30" y="480"/>
                </a:cubicBezTo>
                <a:cubicBezTo>
                  <a:pt x="29" y="480"/>
                  <a:pt x="29" y="481"/>
                  <a:pt x="29" y="481"/>
                </a:cubicBezTo>
                <a:cubicBezTo>
                  <a:pt x="29" y="481"/>
                  <a:pt x="30" y="481"/>
                  <a:pt x="30" y="482"/>
                </a:cubicBezTo>
                <a:cubicBezTo>
                  <a:pt x="30" y="482"/>
                  <a:pt x="29" y="483"/>
                  <a:pt x="28" y="482"/>
                </a:cubicBezTo>
                <a:cubicBezTo>
                  <a:pt x="28" y="482"/>
                  <a:pt x="28" y="482"/>
                  <a:pt x="28" y="482"/>
                </a:cubicBezTo>
                <a:cubicBezTo>
                  <a:pt x="28" y="483"/>
                  <a:pt x="28" y="484"/>
                  <a:pt x="28" y="485"/>
                </a:cubicBezTo>
                <a:cubicBezTo>
                  <a:pt x="29" y="485"/>
                  <a:pt x="31" y="483"/>
                  <a:pt x="32" y="485"/>
                </a:cubicBezTo>
                <a:cubicBezTo>
                  <a:pt x="29" y="485"/>
                  <a:pt x="31" y="486"/>
                  <a:pt x="31" y="489"/>
                </a:cubicBezTo>
                <a:cubicBezTo>
                  <a:pt x="31" y="493"/>
                  <a:pt x="30" y="491"/>
                  <a:pt x="32" y="488"/>
                </a:cubicBezTo>
                <a:cubicBezTo>
                  <a:pt x="33" y="487"/>
                  <a:pt x="33" y="489"/>
                  <a:pt x="35" y="487"/>
                </a:cubicBezTo>
                <a:cubicBezTo>
                  <a:pt x="35" y="486"/>
                  <a:pt x="35" y="484"/>
                  <a:pt x="35" y="482"/>
                </a:cubicBezTo>
                <a:cubicBezTo>
                  <a:pt x="35" y="482"/>
                  <a:pt x="35" y="482"/>
                  <a:pt x="35" y="482"/>
                </a:cubicBezTo>
                <a:cubicBezTo>
                  <a:pt x="35" y="481"/>
                  <a:pt x="35" y="481"/>
                  <a:pt x="35" y="480"/>
                </a:cubicBezTo>
                <a:cubicBezTo>
                  <a:pt x="35" y="482"/>
                  <a:pt x="31" y="480"/>
                  <a:pt x="33" y="479"/>
                </a:cubicBezTo>
                <a:cubicBezTo>
                  <a:pt x="33" y="479"/>
                  <a:pt x="33" y="479"/>
                  <a:pt x="34" y="478"/>
                </a:cubicBezTo>
                <a:cubicBezTo>
                  <a:pt x="34" y="477"/>
                  <a:pt x="35" y="474"/>
                  <a:pt x="36" y="473"/>
                </a:cubicBezTo>
                <a:cubicBezTo>
                  <a:pt x="36" y="470"/>
                  <a:pt x="37" y="470"/>
                  <a:pt x="36" y="473"/>
                </a:cubicBezTo>
                <a:cubicBezTo>
                  <a:pt x="36" y="475"/>
                  <a:pt x="36" y="477"/>
                  <a:pt x="35" y="478"/>
                </a:cubicBezTo>
                <a:cubicBezTo>
                  <a:pt x="37" y="477"/>
                  <a:pt x="35" y="476"/>
                  <a:pt x="36" y="475"/>
                </a:cubicBezTo>
                <a:cubicBezTo>
                  <a:pt x="36" y="474"/>
                  <a:pt x="38" y="473"/>
                  <a:pt x="39" y="472"/>
                </a:cubicBezTo>
                <a:cubicBezTo>
                  <a:pt x="39" y="472"/>
                  <a:pt x="39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39" y="469"/>
                  <a:pt x="43" y="469"/>
                  <a:pt x="42" y="470"/>
                </a:cubicBezTo>
                <a:cubicBezTo>
                  <a:pt x="43" y="470"/>
                  <a:pt x="43" y="470"/>
                  <a:pt x="43" y="470"/>
                </a:cubicBezTo>
                <a:cubicBezTo>
                  <a:pt x="43" y="470"/>
                  <a:pt x="44" y="470"/>
                  <a:pt x="44" y="471"/>
                </a:cubicBezTo>
                <a:cubicBezTo>
                  <a:pt x="44" y="471"/>
                  <a:pt x="44" y="471"/>
                  <a:pt x="44" y="471"/>
                </a:cubicBezTo>
                <a:cubicBezTo>
                  <a:pt x="44" y="471"/>
                  <a:pt x="45" y="473"/>
                  <a:pt x="46" y="474"/>
                </a:cubicBezTo>
                <a:cubicBezTo>
                  <a:pt x="46" y="474"/>
                  <a:pt x="47" y="474"/>
                  <a:pt x="47" y="474"/>
                </a:cubicBezTo>
                <a:cubicBezTo>
                  <a:pt x="47" y="474"/>
                  <a:pt x="47" y="475"/>
                  <a:pt x="47" y="475"/>
                </a:cubicBezTo>
                <a:cubicBezTo>
                  <a:pt x="47" y="475"/>
                  <a:pt x="48" y="475"/>
                  <a:pt x="48" y="474"/>
                </a:cubicBezTo>
                <a:cubicBezTo>
                  <a:pt x="48" y="474"/>
                  <a:pt x="48" y="473"/>
                  <a:pt x="48" y="473"/>
                </a:cubicBezTo>
                <a:cubicBezTo>
                  <a:pt x="49" y="473"/>
                  <a:pt x="56" y="472"/>
                  <a:pt x="53" y="470"/>
                </a:cubicBezTo>
                <a:cubicBezTo>
                  <a:pt x="52" y="470"/>
                  <a:pt x="52" y="471"/>
                  <a:pt x="52" y="471"/>
                </a:cubicBezTo>
                <a:cubicBezTo>
                  <a:pt x="52" y="471"/>
                  <a:pt x="52" y="470"/>
                  <a:pt x="51" y="470"/>
                </a:cubicBezTo>
                <a:cubicBezTo>
                  <a:pt x="50" y="470"/>
                  <a:pt x="49" y="472"/>
                  <a:pt x="48" y="472"/>
                </a:cubicBezTo>
                <a:cubicBezTo>
                  <a:pt x="50" y="471"/>
                  <a:pt x="48" y="468"/>
                  <a:pt x="49" y="467"/>
                </a:cubicBezTo>
                <a:cubicBezTo>
                  <a:pt x="51" y="467"/>
                  <a:pt x="53" y="470"/>
                  <a:pt x="55" y="470"/>
                </a:cubicBezTo>
                <a:cubicBezTo>
                  <a:pt x="58" y="469"/>
                  <a:pt x="59" y="467"/>
                  <a:pt x="60" y="465"/>
                </a:cubicBezTo>
                <a:cubicBezTo>
                  <a:pt x="59" y="466"/>
                  <a:pt x="57" y="466"/>
                  <a:pt x="56" y="465"/>
                </a:cubicBezTo>
                <a:cubicBezTo>
                  <a:pt x="55" y="466"/>
                  <a:pt x="54" y="467"/>
                  <a:pt x="53" y="465"/>
                </a:cubicBezTo>
                <a:cubicBezTo>
                  <a:pt x="52" y="463"/>
                  <a:pt x="48" y="460"/>
                  <a:pt x="50" y="458"/>
                </a:cubicBezTo>
                <a:cubicBezTo>
                  <a:pt x="53" y="455"/>
                  <a:pt x="58" y="451"/>
                  <a:pt x="59" y="445"/>
                </a:cubicBezTo>
                <a:cubicBezTo>
                  <a:pt x="55" y="450"/>
                  <a:pt x="54" y="444"/>
                  <a:pt x="59" y="443"/>
                </a:cubicBezTo>
                <a:cubicBezTo>
                  <a:pt x="58" y="445"/>
                  <a:pt x="60" y="444"/>
                  <a:pt x="61" y="445"/>
                </a:cubicBezTo>
                <a:cubicBezTo>
                  <a:pt x="61" y="445"/>
                  <a:pt x="61" y="446"/>
                  <a:pt x="61" y="446"/>
                </a:cubicBezTo>
                <a:cubicBezTo>
                  <a:pt x="61" y="446"/>
                  <a:pt x="61" y="446"/>
                  <a:pt x="61" y="446"/>
                </a:cubicBezTo>
                <a:cubicBezTo>
                  <a:pt x="63" y="446"/>
                  <a:pt x="60" y="450"/>
                  <a:pt x="60" y="447"/>
                </a:cubicBezTo>
                <a:cubicBezTo>
                  <a:pt x="60" y="447"/>
                  <a:pt x="60" y="447"/>
                  <a:pt x="60" y="447"/>
                </a:cubicBezTo>
                <a:cubicBezTo>
                  <a:pt x="60" y="448"/>
                  <a:pt x="59" y="448"/>
                  <a:pt x="59" y="449"/>
                </a:cubicBezTo>
                <a:cubicBezTo>
                  <a:pt x="59" y="452"/>
                  <a:pt x="59" y="456"/>
                  <a:pt x="60" y="459"/>
                </a:cubicBezTo>
                <a:cubicBezTo>
                  <a:pt x="61" y="459"/>
                  <a:pt x="61" y="459"/>
                  <a:pt x="62" y="460"/>
                </a:cubicBezTo>
                <a:cubicBezTo>
                  <a:pt x="62" y="460"/>
                  <a:pt x="62" y="460"/>
                  <a:pt x="62" y="461"/>
                </a:cubicBezTo>
                <a:cubicBezTo>
                  <a:pt x="63" y="462"/>
                  <a:pt x="64" y="461"/>
                  <a:pt x="66" y="457"/>
                </a:cubicBezTo>
                <a:cubicBezTo>
                  <a:pt x="67" y="464"/>
                  <a:pt x="71" y="455"/>
                  <a:pt x="70" y="453"/>
                </a:cubicBezTo>
                <a:cubicBezTo>
                  <a:pt x="70" y="453"/>
                  <a:pt x="68" y="453"/>
                  <a:pt x="68" y="452"/>
                </a:cubicBezTo>
                <a:cubicBezTo>
                  <a:pt x="67" y="452"/>
                  <a:pt x="68" y="449"/>
                  <a:pt x="68" y="447"/>
                </a:cubicBezTo>
                <a:cubicBezTo>
                  <a:pt x="69" y="446"/>
                  <a:pt x="73" y="440"/>
                  <a:pt x="72" y="445"/>
                </a:cubicBezTo>
                <a:cubicBezTo>
                  <a:pt x="71" y="446"/>
                  <a:pt x="71" y="448"/>
                  <a:pt x="71" y="449"/>
                </a:cubicBezTo>
                <a:cubicBezTo>
                  <a:pt x="72" y="449"/>
                  <a:pt x="72" y="449"/>
                  <a:pt x="71" y="449"/>
                </a:cubicBezTo>
                <a:cubicBezTo>
                  <a:pt x="71" y="449"/>
                  <a:pt x="71" y="449"/>
                  <a:pt x="71" y="449"/>
                </a:cubicBezTo>
                <a:cubicBezTo>
                  <a:pt x="71" y="450"/>
                  <a:pt x="71" y="452"/>
                  <a:pt x="71" y="453"/>
                </a:cubicBezTo>
                <a:cubicBezTo>
                  <a:pt x="71" y="455"/>
                  <a:pt x="70" y="457"/>
                  <a:pt x="70" y="458"/>
                </a:cubicBezTo>
                <a:cubicBezTo>
                  <a:pt x="70" y="458"/>
                  <a:pt x="70" y="458"/>
                  <a:pt x="71" y="459"/>
                </a:cubicBezTo>
                <a:cubicBezTo>
                  <a:pt x="71" y="459"/>
                  <a:pt x="72" y="459"/>
                  <a:pt x="72" y="460"/>
                </a:cubicBezTo>
                <a:cubicBezTo>
                  <a:pt x="71" y="460"/>
                  <a:pt x="71" y="460"/>
                  <a:pt x="71" y="460"/>
                </a:cubicBezTo>
                <a:cubicBezTo>
                  <a:pt x="71" y="461"/>
                  <a:pt x="72" y="461"/>
                  <a:pt x="72" y="461"/>
                </a:cubicBezTo>
                <a:cubicBezTo>
                  <a:pt x="74" y="461"/>
                  <a:pt x="74" y="453"/>
                  <a:pt x="73" y="450"/>
                </a:cubicBezTo>
                <a:cubicBezTo>
                  <a:pt x="73" y="450"/>
                  <a:pt x="73" y="451"/>
                  <a:pt x="73" y="450"/>
                </a:cubicBezTo>
                <a:cubicBezTo>
                  <a:pt x="72" y="450"/>
                  <a:pt x="73" y="449"/>
                  <a:pt x="73" y="449"/>
                </a:cubicBezTo>
                <a:cubicBezTo>
                  <a:pt x="73" y="449"/>
                  <a:pt x="73" y="449"/>
                  <a:pt x="73" y="449"/>
                </a:cubicBezTo>
                <a:cubicBezTo>
                  <a:pt x="73" y="449"/>
                  <a:pt x="74" y="448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5"/>
                  <a:pt x="74" y="442"/>
                  <a:pt x="75" y="442"/>
                </a:cubicBezTo>
                <a:cubicBezTo>
                  <a:pt x="78" y="440"/>
                  <a:pt x="73" y="455"/>
                  <a:pt x="78" y="450"/>
                </a:cubicBezTo>
                <a:cubicBezTo>
                  <a:pt x="79" y="450"/>
                  <a:pt x="83" y="445"/>
                  <a:pt x="83" y="445"/>
                </a:cubicBezTo>
                <a:cubicBezTo>
                  <a:pt x="82" y="444"/>
                  <a:pt x="81" y="445"/>
                  <a:pt x="80" y="445"/>
                </a:cubicBezTo>
                <a:cubicBezTo>
                  <a:pt x="78" y="444"/>
                  <a:pt x="79" y="441"/>
                  <a:pt x="80" y="441"/>
                </a:cubicBezTo>
                <a:cubicBezTo>
                  <a:pt x="82" y="440"/>
                  <a:pt x="82" y="442"/>
                  <a:pt x="83" y="442"/>
                </a:cubicBezTo>
                <a:cubicBezTo>
                  <a:pt x="85" y="441"/>
                  <a:pt x="85" y="439"/>
                  <a:pt x="86" y="437"/>
                </a:cubicBezTo>
                <a:cubicBezTo>
                  <a:pt x="86" y="438"/>
                  <a:pt x="85" y="438"/>
                  <a:pt x="85" y="438"/>
                </a:cubicBezTo>
                <a:cubicBezTo>
                  <a:pt x="85" y="437"/>
                  <a:pt x="86" y="437"/>
                  <a:pt x="86" y="437"/>
                </a:cubicBezTo>
                <a:cubicBezTo>
                  <a:pt x="86" y="435"/>
                  <a:pt x="87" y="434"/>
                  <a:pt x="88" y="432"/>
                </a:cubicBezTo>
                <a:cubicBezTo>
                  <a:pt x="90" y="430"/>
                  <a:pt x="91" y="426"/>
                  <a:pt x="91" y="426"/>
                </a:cubicBezTo>
                <a:cubicBezTo>
                  <a:pt x="91" y="426"/>
                  <a:pt x="93" y="428"/>
                  <a:pt x="95" y="428"/>
                </a:cubicBezTo>
                <a:cubicBezTo>
                  <a:pt x="97" y="428"/>
                  <a:pt x="96" y="426"/>
                  <a:pt x="97" y="428"/>
                </a:cubicBezTo>
                <a:cubicBezTo>
                  <a:pt x="97" y="430"/>
                  <a:pt x="98" y="428"/>
                  <a:pt x="98" y="430"/>
                </a:cubicBezTo>
                <a:cubicBezTo>
                  <a:pt x="98" y="432"/>
                  <a:pt x="95" y="437"/>
                  <a:pt x="92" y="435"/>
                </a:cubicBezTo>
                <a:cubicBezTo>
                  <a:pt x="91" y="435"/>
                  <a:pt x="91" y="433"/>
                  <a:pt x="89" y="435"/>
                </a:cubicBezTo>
                <a:cubicBezTo>
                  <a:pt x="89" y="436"/>
                  <a:pt x="90" y="437"/>
                  <a:pt x="89" y="439"/>
                </a:cubicBezTo>
                <a:cubicBezTo>
                  <a:pt x="88" y="441"/>
                  <a:pt x="84" y="445"/>
                  <a:pt x="83" y="448"/>
                </a:cubicBezTo>
                <a:cubicBezTo>
                  <a:pt x="82" y="450"/>
                  <a:pt x="83" y="453"/>
                  <a:pt x="81" y="456"/>
                </a:cubicBezTo>
                <a:cubicBezTo>
                  <a:pt x="80" y="458"/>
                  <a:pt x="75" y="461"/>
                  <a:pt x="75" y="463"/>
                </a:cubicBezTo>
                <a:cubicBezTo>
                  <a:pt x="75" y="463"/>
                  <a:pt x="76" y="464"/>
                  <a:pt x="76" y="464"/>
                </a:cubicBezTo>
                <a:cubicBezTo>
                  <a:pt x="77" y="464"/>
                  <a:pt x="77" y="464"/>
                  <a:pt x="77" y="464"/>
                </a:cubicBezTo>
                <a:cubicBezTo>
                  <a:pt x="77" y="465"/>
                  <a:pt x="77" y="465"/>
                  <a:pt x="77" y="465"/>
                </a:cubicBezTo>
                <a:cubicBezTo>
                  <a:pt x="79" y="466"/>
                  <a:pt x="83" y="467"/>
                  <a:pt x="86" y="467"/>
                </a:cubicBezTo>
                <a:cubicBezTo>
                  <a:pt x="86" y="467"/>
                  <a:pt x="86" y="466"/>
                  <a:pt x="86" y="466"/>
                </a:cubicBezTo>
                <a:cubicBezTo>
                  <a:pt x="86" y="465"/>
                  <a:pt x="86" y="465"/>
                  <a:pt x="86" y="464"/>
                </a:cubicBezTo>
                <a:cubicBezTo>
                  <a:pt x="87" y="460"/>
                  <a:pt x="94" y="456"/>
                  <a:pt x="98" y="458"/>
                </a:cubicBezTo>
                <a:cubicBezTo>
                  <a:pt x="98" y="458"/>
                  <a:pt x="98" y="459"/>
                  <a:pt x="99" y="459"/>
                </a:cubicBezTo>
                <a:cubicBezTo>
                  <a:pt x="99" y="459"/>
                  <a:pt x="99" y="459"/>
                  <a:pt x="99" y="459"/>
                </a:cubicBezTo>
                <a:cubicBezTo>
                  <a:pt x="100" y="458"/>
                  <a:pt x="99" y="459"/>
                  <a:pt x="99" y="459"/>
                </a:cubicBezTo>
                <a:cubicBezTo>
                  <a:pt x="99" y="459"/>
                  <a:pt x="99" y="459"/>
                  <a:pt x="99" y="460"/>
                </a:cubicBezTo>
                <a:cubicBezTo>
                  <a:pt x="100" y="459"/>
                  <a:pt x="101" y="459"/>
                  <a:pt x="101" y="458"/>
                </a:cubicBezTo>
                <a:cubicBezTo>
                  <a:pt x="103" y="459"/>
                  <a:pt x="103" y="456"/>
                  <a:pt x="105" y="456"/>
                </a:cubicBezTo>
                <a:cubicBezTo>
                  <a:pt x="106" y="455"/>
                  <a:pt x="108" y="458"/>
                  <a:pt x="108" y="455"/>
                </a:cubicBezTo>
                <a:cubicBezTo>
                  <a:pt x="108" y="460"/>
                  <a:pt x="116" y="452"/>
                  <a:pt x="116" y="451"/>
                </a:cubicBezTo>
                <a:cubicBezTo>
                  <a:pt x="116" y="451"/>
                  <a:pt x="110" y="450"/>
                  <a:pt x="110" y="450"/>
                </a:cubicBezTo>
                <a:cubicBezTo>
                  <a:pt x="110" y="450"/>
                  <a:pt x="110" y="450"/>
                  <a:pt x="110" y="450"/>
                </a:cubicBezTo>
                <a:cubicBezTo>
                  <a:pt x="110" y="451"/>
                  <a:pt x="110" y="451"/>
                  <a:pt x="110" y="451"/>
                </a:cubicBezTo>
                <a:cubicBezTo>
                  <a:pt x="109" y="451"/>
                  <a:pt x="109" y="452"/>
                  <a:pt x="108" y="451"/>
                </a:cubicBezTo>
                <a:cubicBezTo>
                  <a:pt x="107" y="450"/>
                  <a:pt x="109" y="450"/>
                  <a:pt x="110" y="449"/>
                </a:cubicBezTo>
                <a:cubicBezTo>
                  <a:pt x="110" y="449"/>
                  <a:pt x="110" y="449"/>
                  <a:pt x="109" y="449"/>
                </a:cubicBezTo>
                <a:cubicBezTo>
                  <a:pt x="109" y="449"/>
                  <a:pt x="108" y="448"/>
                  <a:pt x="108" y="447"/>
                </a:cubicBezTo>
                <a:cubicBezTo>
                  <a:pt x="108" y="447"/>
                  <a:pt x="108" y="446"/>
                  <a:pt x="108" y="446"/>
                </a:cubicBezTo>
                <a:cubicBezTo>
                  <a:pt x="108" y="446"/>
                  <a:pt x="108" y="445"/>
                  <a:pt x="108" y="444"/>
                </a:cubicBezTo>
                <a:cubicBezTo>
                  <a:pt x="108" y="444"/>
                  <a:pt x="110" y="441"/>
                  <a:pt x="111" y="441"/>
                </a:cubicBezTo>
                <a:cubicBezTo>
                  <a:pt x="112" y="440"/>
                  <a:pt x="114" y="435"/>
                  <a:pt x="115" y="436"/>
                </a:cubicBezTo>
                <a:cubicBezTo>
                  <a:pt x="116" y="436"/>
                  <a:pt x="114" y="438"/>
                  <a:pt x="115" y="439"/>
                </a:cubicBezTo>
                <a:cubicBezTo>
                  <a:pt x="115" y="440"/>
                  <a:pt x="117" y="439"/>
                  <a:pt x="118" y="439"/>
                </a:cubicBezTo>
                <a:cubicBezTo>
                  <a:pt x="119" y="439"/>
                  <a:pt x="118" y="441"/>
                  <a:pt x="119" y="442"/>
                </a:cubicBezTo>
                <a:cubicBezTo>
                  <a:pt x="119" y="441"/>
                  <a:pt x="121" y="440"/>
                  <a:pt x="122" y="442"/>
                </a:cubicBezTo>
                <a:cubicBezTo>
                  <a:pt x="122" y="444"/>
                  <a:pt x="120" y="443"/>
                  <a:pt x="120" y="444"/>
                </a:cubicBezTo>
                <a:cubicBezTo>
                  <a:pt x="119" y="444"/>
                  <a:pt x="120" y="445"/>
                  <a:pt x="120" y="445"/>
                </a:cubicBezTo>
                <a:cubicBezTo>
                  <a:pt x="121" y="446"/>
                  <a:pt x="119" y="447"/>
                  <a:pt x="118" y="448"/>
                </a:cubicBezTo>
                <a:cubicBezTo>
                  <a:pt x="118" y="449"/>
                  <a:pt x="119" y="450"/>
                  <a:pt x="119" y="450"/>
                </a:cubicBezTo>
                <a:cubicBezTo>
                  <a:pt x="117" y="453"/>
                  <a:pt x="112" y="455"/>
                  <a:pt x="113" y="460"/>
                </a:cubicBezTo>
                <a:cubicBezTo>
                  <a:pt x="113" y="461"/>
                  <a:pt x="114" y="460"/>
                  <a:pt x="115" y="460"/>
                </a:cubicBezTo>
                <a:cubicBezTo>
                  <a:pt x="114" y="463"/>
                  <a:pt x="112" y="471"/>
                  <a:pt x="107" y="472"/>
                </a:cubicBezTo>
                <a:cubicBezTo>
                  <a:pt x="106" y="472"/>
                  <a:pt x="104" y="471"/>
                  <a:pt x="103" y="471"/>
                </a:cubicBezTo>
                <a:cubicBezTo>
                  <a:pt x="102" y="471"/>
                  <a:pt x="102" y="470"/>
                  <a:pt x="101" y="469"/>
                </a:cubicBezTo>
                <a:cubicBezTo>
                  <a:pt x="101" y="469"/>
                  <a:pt x="100" y="469"/>
                  <a:pt x="100" y="468"/>
                </a:cubicBezTo>
                <a:cubicBezTo>
                  <a:pt x="100" y="468"/>
                  <a:pt x="100" y="468"/>
                  <a:pt x="100" y="468"/>
                </a:cubicBezTo>
                <a:cubicBezTo>
                  <a:pt x="100" y="468"/>
                  <a:pt x="100" y="467"/>
                  <a:pt x="99" y="467"/>
                </a:cubicBezTo>
                <a:cubicBezTo>
                  <a:pt x="98" y="468"/>
                  <a:pt x="96" y="470"/>
                  <a:pt x="95" y="470"/>
                </a:cubicBezTo>
                <a:cubicBezTo>
                  <a:pt x="96" y="472"/>
                  <a:pt x="98" y="470"/>
                  <a:pt x="99" y="470"/>
                </a:cubicBezTo>
                <a:cubicBezTo>
                  <a:pt x="98" y="471"/>
                  <a:pt x="98" y="471"/>
                  <a:pt x="98" y="472"/>
                </a:cubicBezTo>
                <a:cubicBezTo>
                  <a:pt x="99" y="472"/>
                  <a:pt x="100" y="472"/>
                  <a:pt x="100" y="472"/>
                </a:cubicBezTo>
                <a:cubicBezTo>
                  <a:pt x="101" y="473"/>
                  <a:pt x="99" y="473"/>
                  <a:pt x="99" y="473"/>
                </a:cubicBezTo>
                <a:cubicBezTo>
                  <a:pt x="98" y="475"/>
                  <a:pt x="100" y="474"/>
                  <a:pt x="99" y="476"/>
                </a:cubicBezTo>
                <a:cubicBezTo>
                  <a:pt x="98" y="478"/>
                  <a:pt x="95" y="477"/>
                  <a:pt x="94" y="478"/>
                </a:cubicBezTo>
                <a:cubicBezTo>
                  <a:pt x="94" y="478"/>
                  <a:pt x="94" y="478"/>
                  <a:pt x="94" y="479"/>
                </a:cubicBezTo>
                <a:cubicBezTo>
                  <a:pt x="95" y="479"/>
                  <a:pt x="95" y="479"/>
                  <a:pt x="96" y="479"/>
                </a:cubicBezTo>
                <a:cubicBezTo>
                  <a:pt x="96" y="480"/>
                  <a:pt x="94" y="481"/>
                  <a:pt x="95" y="483"/>
                </a:cubicBezTo>
                <a:cubicBezTo>
                  <a:pt x="95" y="483"/>
                  <a:pt x="96" y="483"/>
                  <a:pt x="96" y="483"/>
                </a:cubicBezTo>
                <a:cubicBezTo>
                  <a:pt x="96" y="483"/>
                  <a:pt x="97" y="487"/>
                  <a:pt x="97" y="487"/>
                </a:cubicBezTo>
                <a:cubicBezTo>
                  <a:pt x="96" y="489"/>
                  <a:pt x="94" y="487"/>
                  <a:pt x="92" y="488"/>
                </a:cubicBezTo>
                <a:cubicBezTo>
                  <a:pt x="93" y="488"/>
                  <a:pt x="90" y="490"/>
                  <a:pt x="90" y="490"/>
                </a:cubicBezTo>
                <a:cubicBezTo>
                  <a:pt x="90" y="491"/>
                  <a:pt x="91" y="491"/>
                  <a:pt x="91" y="492"/>
                </a:cubicBezTo>
                <a:cubicBezTo>
                  <a:pt x="90" y="495"/>
                  <a:pt x="89" y="494"/>
                  <a:pt x="89" y="497"/>
                </a:cubicBezTo>
                <a:cubicBezTo>
                  <a:pt x="89" y="498"/>
                  <a:pt x="86" y="502"/>
                  <a:pt x="84" y="502"/>
                </a:cubicBezTo>
                <a:cubicBezTo>
                  <a:pt x="80" y="502"/>
                  <a:pt x="82" y="494"/>
                  <a:pt x="76" y="496"/>
                </a:cubicBezTo>
                <a:cubicBezTo>
                  <a:pt x="75" y="491"/>
                  <a:pt x="70" y="501"/>
                  <a:pt x="69" y="501"/>
                </a:cubicBezTo>
                <a:cubicBezTo>
                  <a:pt x="69" y="501"/>
                  <a:pt x="69" y="501"/>
                  <a:pt x="69" y="501"/>
                </a:cubicBezTo>
                <a:cubicBezTo>
                  <a:pt x="69" y="501"/>
                  <a:pt x="69" y="502"/>
                  <a:pt x="68" y="501"/>
                </a:cubicBezTo>
                <a:cubicBezTo>
                  <a:pt x="68" y="501"/>
                  <a:pt x="68" y="501"/>
                  <a:pt x="68" y="501"/>
                </a:cubicBezTo>
                <a:cubicBezTo>
                  <a:pt x="68" y="500"/>
                  <a:pt x="69" y="500"/>
                  <a:pt x="69" y="501"/>
                </a:cubicBezTo>
                <a:cubicBezTo>
                  <a:pt x="69" y="499"/>
                  <a:pt x="73" y="494"/>
                  <a:pt x="68" y="496"/>
                </a:cubicBezTo>
                <a:cubicBezTo>
                  <a:pt x="67" y="497"/>
                  <a:pt x="69" y="499"/>
                  <a:pt x="68" y="500"/>
                </a:cubicBezTo>
                <a:cubicBezTo>
                  <a:pt x="67" y="501"/>
                  <a:pt x="64" y="500"/>
                  <a:pt x="62" y="500"/>
                </a:cubicBezTo>
                <a:cubicBezTo>
                  <a:pt x="62" y="500"/>
                  <a:pt x="61" y="504"/>
                  <a:pt x="61" y="505"/>
                </a:cubicBezTo>
                <a:cubicBezTo>
                  <a:pt x="62" y="506"/>
                  <a:pt x="63" y="506"/>
                  <a:pt x="62" y="508"/>
                </a:cubicBezTo>
                <a:cubicBezTo>
                  <a:pt x="62" y="508"/>
                  <a:pt x="62" y="507"/>
                  <a:pt x="63" y="507"/>
                </a:cubicBezTo>
                <a:cubicBezTo>
                  <a:pt x="62" y="508"/>
                  <a:pt x="62" y="509"/>
                  <a:pt x="65" y="508"/>
                </a:cubicBezTo>
                <a:cubicBezTo>
                  <a:pt x="63" y="511"/>
                  <a:pt x="60" y="511"/>
                  <a:pt x="61" y="514"/>
                </a:cubicBezTo>
                <a:cubicBezTo>
                  <a:pt x="61" y="514"/>
                  <a:pt x="67" y="516"/>
                  <a:pt x="66" y="517"/>
                </a:cubicBezTo>
                <a:cubicBezTo>
                  <a:pt x="70" y="515"/>
                  <a:pt x="64" y="513"/>
                  <a:pt x="65" y="510"/>
                </a:cubicBezTo>
                <a:cubicBezTo>
                  <a:pt x="66" y="507"/>
                  <a:pt x="68" y="514"/>
                  <a:pt x="69" y="514"/>
                </a:cubicBezTo>
                <a:cubicBezTo>
                  <a:pt x="70" y="515"/>
                  <a:pt x="69" y="514"/>
                  <a:pt x="70" y="514"/>
                </a:cubicBezTo>
                <a:cubicBezTo>
                  <a:pt x="72" y="513"/>
                  <a:pt x="73" y="516"/>
                  <a:pt x="74" y="514"/>
                </a:cubicBezTo>
                <a:cubicBezTo>
                  <a:pt x="74" y="514"/>
                  <a:pt x="71" y="514"/>
                  <a:pt x="72" y="512"/>
                </a:cubicBezTo>
                <a:cubicBezTo>
                  <a:pt x="73" y="511"/>
                  <a:pt x="75" y="513"/>
                  <a:pt x="75" y="513"/>
                </a:cubicBezTo>
                <a:cubicBezTo>
                  <a:pt x="76" y="513"/>
                  <a:pt x="77" y="513"/>
                  <a:pt x="78" y="514"/>
                </a:cubicBezTo>
                <a:cubicBezTo>
                  <a:pt x="78" y="513"/>
                  <a:pt x="78" y="513"/>
                  <a:pt x="78" y="513"/>
                </a:cubicBezTo>
                <a:cubicBezTo>
                  <a:pt x="78" y="513"/>
                  <a:pt x="78" y="514"/>
                  <a:pt x="78" y="515"/>
                </a:cubicBezTo>
                <a:cubicBezTo>
                  <a:pt x="78" y="517"/>
                  <a:pt x="78" y="519"/>
                  <a:pt x="78" y="520"/>
                </a:cubicBezTo>
                <a:cubicBezTo>
                  <a:pt x="78" y="520"/>
                  <a:pt x="78" y="520"/>
                  <a:pt x="78" y="520"/>
                </a:cubicBezTo>
                <a:cubicBezTo>
                  <a:pt x="79" y="520"/>
                  <a:pt x="78" y="519"/>
                  <a:pt x="79" y="519"/>
                </a:cubicBezTo>
                <a:cubicBezTo>
                  <a:pt x="80" y="520"/>
                  <a:pt x="80" y="520"/>
                  <a:pt x="81" y="520"/>
                </a:cubicBezTo>
                <a:cubicBezTo>
                  <a:pt x="81" y="518"/>
                  <a:pt x="82" y="515"/>
                  <a:pt x="82" y="515"/>
                </a:cubicBezTo>
                <a:cubicBezTo>
                  <a:pt x="84" y="514"/>
                  <a:pt x="85" y="516"/>
                  <a:pt x="86" y="514"/>
                </a:cubicBezTo>
                <a:cubicBezTo>
                  <a:pt x="86" y="513"/>
                  <a:pt x="84" y="512"/>
                  <a:pt x="84" y="511"/>
                </a:cubicBezTo>
                <a:cubicBezTo>
                  <a:pt x="84" y="511"/>
                  <a:pt x="83" y="509"/>
                  <a:pt x="84" y="509"/>
                </a:cubicBezTo>
                <a:cubicBezTo>
                  <a:pt x="82" y="509"/>
                  <a:pt x="80" y="511"/>
                  <a:pt x="80" y="510"/>
                </a:cubicBezTo>
                <a:cubicBezTo>
                  <a:pt x="79" y="510"/>
                  <a:pt x="80" y="508"/>
                  <a:pt x="81" y="507"/>
                </a:cubicBezTo>
                <a:cubicBezTo>
                  <a:pt x="82" y="510"/>
                  <a:pt x="84" y="506"/>
                  <a:pt x="85" y="505"/>
                </a:cubicBezTo>
                <a:cubicBezTo>
                  <a:pt x="86" y="504"/>
                  <a:pt x="89" y="504"/>
                  <a:pt x="89" y="504"/>
                </a:cubicBezTo>
                <a:cubicBezTo>
                  <a:pt x="90" y="503"/>
                  <a:pt x="88" y="501"/>
                  <a:pt x="90" y="501"/>
                </a:cubicBezTo>
                <a:cubicBezTo>
                  <a:pt x="91" y="501"/>
                  <a:pt x="90" y="502"/>
                  <a:pt x="90" y="502"/>
                </a:cubicBezTo>
                <a:cubicBezTo>
                  <a:pt x="91" y="503"/>
                  <a:pt x="93" y="501"/>
                  <a:pt x="94" y="502"/>
                </a:cubicBezTo>
                <a:cubicBezTo>
                  <a:pt x="95" y="502"/>
                  <a:pt x="94" y="504"/>
                  <a:pt x="94" y="505"/>
                </a:cubicBezTo>
                <a:cubicBezTo>
                  <a:pt x="94" y="506"/>
                  <a:pt x="94" y="507"/>
                  <a:pt x="94" y="508"/>
                </a:cubicBezTo>
                <a:cubicBezTo>
                  <a:pt x="97" y="507"/>
                  <a:pt x="101" y="507"/>
                  <a:pt x="102" y="508"/>
                </a:cubicBezTo>
                <a:cubicBezTo>
                  <a:pt x="103" y="509"/>
                  <a:pt x="101" y="511"/>
                  <a:pt x="104" y="510"/>
                </a:cubicBezTo>
                <a:cubicBezTo>
                  <a:pt x="102" y="512"/>
                  <a:pt x="106" y="513"/>
                  <a:pt x="106" y="514"/>
                </a:cubicBezTo>
                <a:cubicBezTo>
                  <a:pt x="106" y="515"/>
                  <a:pt x="104" y="516"/>
                  <a:pt x="104" y="516"/>
                </a:cubicBezTo>
                <a:cubicBezTo>
                  <a:pt x="104" y="516"/>
                  <a:pt x="105" y="517"/>
                  <a:pt x="104" y="518"/>
                </a:cubicBezTo>
                <a:cubicBezTo>
                  <a:pt x="104" y="518"/>
                  <a:pt x="104" y="518"/>
                  <a:pt x="104" y="518"/>
                </a:cubicBezTo>
                <a:cubicBezTo>
                  <a:pt x="105" y="519"/>
                  <a:pt x="106" y="520"/>
                  <a:pt x="106" y="522"/>
                </a:cubicBezTo>
                <a:cubicBezTo>
                  <a:pt x="106" y="522"/>
                  <a:pt x="107" y="522"/>
                  <a:pt x="107" y="522"/>
                </a:cubicBezTo>
                <a:cubicBezTo>
                  <a:pt x="107" y="521"/>
                  <a:pt x="106" y="521"/>
                  <a:pt x="106" y="520"/>
                </a:cubicBezTo>
                <a:cubicBezTo>
                  <a:pt x="106" y="519"/>
                  <a:pt x="107" y="518"/>
                  <a:pt x="108" y="518"/>
                </a:cubicBezTo>
                <a:cubicBezTo>
                  <a:pt x="108" y="517"/>
                  <a:pt x="108" y="517"/>
                  <a:pt x="109" y="516"/>
                </a:cubicBezTo>
                <a:cubicBezTo>
                  <a:pt x="109" y="516"/>
                  <a:pt x="108" y="516"/>
                  <a:pt x="108" y="516"/>
                </a:cubicBezTo>
                <a:cubicBezTo>
                  <a:pt x="108" y="515"/>
                  <a:pt x="109" y="515"/>
                  <a:pt x="109" y="515"/>
                </a:cubicBezTo>
                <a:cubicBezTo>
                  <a:pt x="111" y="514"/>
                  <a:pt x="112" y="513"/>
                  <a:pt x="113" y="512"/>
                </a:cubicBezTo>
                <a:cubicBezTo>
                  <a:pt x="112" y="514"/>
                  <a:pt x="115" y="514"/>
                  <a:pt x="115" y="514"/>
                </a:cubicBezTo>
                <a:cubicBezTo>
                  <a:pt x="115" y="514"/>
                  <a:pt x="116" y="514"/>
                  <a:pt x="116" y="514"/>
                </a:cubicBezTo>
                <a:cubicBezTo>
                  <a:pt x="116" y="514"/>
                  <a:pt x="116" y="514"/>
                  <a:pt x="116" y="514"/>
                </a:cubicBezTo>
                <a:cubicBezTo>
                  <a:pt x="115" y="514"/>
                  <a:pt x="115" y="513"/>
                  <a:pt x="115" y="513"/>
                </a:cubicBezTo>
                <a:cubicBezTo>
                  <a:pt x="114" y="512"/>
                  <a:pt x="115" y="508"/>
                  <a:pt x="115" y="507"/>
                </a:cubicBezTo>
                <a:cubicBezTo>
                  <a:pt x="116" y="507"/>
                  <a:pt x="116" y="508"/>
                  <a:pt x="117" y="508"/>
                </a:cubicBezTo>
                <a:cubicBezTo>
                  <a:pt x="118" y="507"/>
                  <a:pt x="120" y="504"/>
                  <a:pt x="123" y="505"/>
                </a:cubicBezTo>
                <a:cubicBezTo>
                  <a:pt x="122" y="507"/>
                  <a:pt x="120" y="506"/>
                  <a:pt x="120" y="507"/>
                </a:cubicBezTo>
                <a:cubicBezTo>
                  <a:pt x="119" y="508"/>
                  <a:pt x="121" y="508"/>
                  <a:pt x="121" y="508"/>
                </a:cubicBezTo>
                <a:cubicBezTo>
                  <a:pt x="122" y="510"/>
                  <a:pt x="120" y="514"/>
                  <a:pt x="117" y="514"/>
                </a:cubicBezTo>
                <a:cubicBezTo>
                  <a:pt x="117" y="515"/>
                  <a:pt x="117" y="516"/>
                  <a:pt x="116" y="517"/>
                </a:cubicBezTo>
                <a:cubicBezTo>
                  <a:pt x="117" y="517"/>
                  <a:pt x="117" y="517"/>
                  <a:pt x="117" y="517"/>
                </a:cubicBezTo>
                <a:cubicBezTo>
                  <a:pt x="118" y="515"/>
                  <a:pt x="121" y="515"/>
                  <a:pt x="122" y="513"/>
                </a:cubicBezTo>
                <a:cubicBezTo>
                  <a:pt x="122" y="512"/>
                  <a:pt x="122" y="511"/>
                  <a:pt x="122" y="510"/>
                </a:cubicBezTo>
                <a:cubicBezTo>
                  <a:pt x="122" y="510"/>
                  <a:pt x="123" y="509"/>
                  <a:pt x="123" y="508"/>
                </a:cubicBezTo>
                <a:cubicBezTo>
                  <a:pt x="123" y="507"/>
                  <a:pt x="122" y="508"/>
                  <a:pt x="122" y="507"/>
                </a:cubicBezTo>
                <a:cubicBezTo>
                  <a:pt x="123" y="506"/>
                  <a:pt x="124" y="505"/>
                  <a:pt x="124" y="506"/>
                </a:cubicBezTo>
                <a:cubicBezTo>
                  <a:pt x="125" y="506"/>
                  <a:pt x="124" y="508"/>
                  <a:pt x="125" y="510"/>
                </a:cubicBezTo>
                <a:cubicBezTo>
                  <a:pt x="125" y="510"/>
                  <a:pt x="127" y="510"/>
                  <a:pt x="128" y="510"/>
                </a:cubicBezTo>
                <a:cubicBezTo>
                  <a:pt x="129" y="511"/>
                  <a:pt x="129" y="513"/>
                  <a:pt x="132" y="511"/>
                </a:cubicBezTo>
                <a:cubicBezTo>
                  <a:pt x="129" y="514"/>
                  <a:pt x="133" y="512"/>
                  <a:pt x="134" y="513"/>
                </a:cubicBezTo>
                <a:cubicBezTo>
                  <a:pt x="133" y="513"/>
                  <a:pt x="134" y="519"/>
                  <a:pt x="134" y="520"/>
                </a:cubicBezTo>
                <a:cubicBezTo>
                  <a:pt x="134" y="521"/>
                  <a:pt x="132" y="523"/>
                  <a:pt x="132" y="525"/>
                </a:cubicBezTo>
                <a:cubicBezTo>
                  <a:pt x="132" y="525"/>
                  <a:pt x="133" y="524"/>
                  <a:pt x="133" y="524"/>
                </a:cubicBezTo>
                <a:cubicBezTo>
                  <a:pt x="133" y="525"/>
                  <a:pt x="133" y="525"/>
                  <a:pt x="132" y="526"/>
                </a:cubicBezTo>
                <a:cubicBezTo>
                  <a:pt x="132" y="526"/>
                  <a:pt x="132" y="526"/>
                  <a:pt x="132" y="527"/>
                </a:cubicBezTo>
                <a:cubicBezTo>
                  <a:pt x="133" y="526"/>
                  <a:pt x="133" y="526"/>
                  <a:pt x="133" y="526"/>
                </a:cubicBezTo>
                <a:cubicBezTo>
                  <a:pt x="133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6" y="524"/>
                  <a:pt x="142" y="524"/>
                  <a:pt x="145" y="524"/>
                </a:cubicBezTo>
                <a:cubicBezTo>
                  <a:pt x="145" y="523"/>
                  <a:pt x="146" y="522"/>
                  <a:pt x="146" y="522"/>
                </a:cubicBezTo>
                <a:cubicBezTo>
                  <a:pt x="147" y="522"/>
                  <a:pt x="147" y="523"/>
                  <a:pt x="147" y="524"/>
                </a:cubicBezTo>
                <a:cubicBezTo>
                  <a:pt x="147" y="524"/>
                  <a:pt x="148" y="524"/>
                  <a:pt x="148" y="525"/>
                </a:cubicBezTo>
                <a:cubicBezTo>
                  <a:pt x="148" y="526"/>
                  <a:pt x="147" y="526"/>
                  <a:pt x="145" y="527"/>
                </a:cubicBezTo>
                <a:cubicBezTo>
                  <a:pt x="146" y="527"/>
                  <a:pt x="146" y="527"/>
                  <a:pt x="146" y="527"/>
                </a:cubicBezTo>
                <a:cubicBezTo>
                  <a:pt x="146" y="529"/>
                  <a:pt x="146" y="530"/>
                  <a:pt x="145" y="530"/>
                </a:cubicBezTo>
                <a:cubicBezTo>
                  <a:pt x="145" y="531"/>
                  <a:pt x="145" y="532"/>
                  <a:pt x="144" y="533"/>
                </a:cubicBezTo>
                <a:cubicBezTo>
                  <a:pt x="144" y="533"/>
                  <a:pt x="143" y="533"/>
                  <a:pt x="142" y="533"/>
                </a:cubicBezTo>
                <a:cubicBezTo>
                  <a:pt x="142" y="534"/>
                  <a:pt x="143" y="534"/>
                  <a:pt x="144" y="533"/>
                </a:cubicBezTo>
                <a:cubicBezTo>
                  <a:pt x="145" y="533"/>
                  <a:pt x="147" y="530"/>
                  <a:pt x="147" y="530"/>
                </a:cubicBezTo>
                <a:cubicBezTo>
                  <a:pt x="148" y="530"/>
                  <a:pt x="148" y="529"/>
                  <a:pt x="147" y="529"/>
                </a:cubicBezTo>
                <a:cubicBezTo>
                  <a:pt x="151" y="528"/>
                  <a:pt x="150" y="537"/>
                  <a:pt x="148" y="535"/>
                </a:cubicBezTo>
                <a:cubicBezTo>
                  <a:pt x="148" y="535"/>
                  <a:pt x="147" y="533"/>
                  <a:pt x="147" y="533"/>
                </a:cubicBezTo>
                <a:cubicBezTo>
                  <a:pt x="146" y="533"/>
                  <a:pt x="143" y="537"/>
                  <a:pt x="141" y="538"/>
                </a:cubicBezTo>
                <a:cubicBezTo>
                  <a:pt x="140" y="538"/>
                  <a:pt x="140" y="538"/>
                  <a:pt x="139" y="539"/>
                </a:cubicBezTo>
                <a:cubicBezTo>
                  <a:pt x="140" y="540"/>
                  <a:pt x="141" y="541"/>
                  <a:pt x="140" y="542"/>
                </a:cubicBezTo>
                <a:cubicBezTo>
                  <a:pt x="140" y="542"/>
                  <a:pt x="139" y="543"/>
                  <a:pt x="139" y="543"/>
                </a:cubicBezTo>
                <a:cubicBezTo>
                  <a:pt x="139" y="543"/>
                  <a:pt x="138" y="546"/>
                  <a:pt x="138" y="547"/>
                </a:cubicBezTo>
                <a:cubicBezTo>
                  <a:pt x="138" y="547"/>
                  <a:pt x="140" y="546"/>
                  <a:pt x="139" y="546"/>
                </a:cubicBezTo>
                <a:cubicBezTo>
                  <a:pt x="139" y="546"/>
                  <a:pt x="141" y="548"/>
                  <a:pt x="140" y="549"/>
                </a:cubicBezTo>
                <a:cubicBezTo>
                  <a:pt x="140" y="549"/>
                  <a:pt x="140" y="549"/>
                  <a:pt x="139" y="549"/>
                </a:cubicBezTo>
                <a:cubicBezTo>
                  <a:pt x="140" y="549"/>
                  <a:pt x="140" y="550"/>
                  <a:pt x="141" y="550"/>
                </a:cubicBezTo>
                <a:cubicBezTo>
                  <a:pt x="141" y="549"/>
                  <a:pt x="141" y="548"/>
                  <a:pt x="142" y="548"/>
                </a:cubicBezTo>
                <a:cubicBezTo>
                  <a:pt x="141" y="548"/>
                  <a:pt x="141" y="548"/>
                  <a:pt x="140" y="548"/>
                </a:cubicBezTo>
                <a:cubicBezTo>
                  <a:pt x="140" y="547"/>
                  <a:pt x="140" y="547"/>
                  <a:pt x="141" y="547"/>
                </a:cubicBezTo>
                <a:cubicBezTo>
                  <a:pt x="141" y="546"/>
                  <a:pt x="142" y="544"/>
                  <a:pt x="142" y="546"/>
                </a:cubicBezTo>
                <a:cubicBezTo>
                  <a:pt x="143" y="546"/>
                  <a:pt x="142" y="546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3" y="546"/>
                  <a:pt x="144" y="546"/>
                  <a:pt x="145" y="548"/>
                </a:cubicBezTo>
                <a:cubicBezTo>
                  <a:pt x="146" y="549"/>
                  <a:pt x="145" y="550"/>
                  <a:pt x="145" y="551"/>
                </a:cubicBezTo>
                <a:cubicBezTo>
                  <a:pt x="145" y="551"/>
                  <a:pt x="145" y="551"/>
                  <a:pt x="145" y="551"/>
                </a:cubicBezTo>
                <a:cubicBezTo>
                  <a:pt x="147" y="551"/>
                  <a:pt x="145" y="551"/>
                  <a:pt x="146" y="552"/>
                </a:cubicBezTo>
                <a:cubicBezTo>
                  <a:pt x="146" y="552"/>
                  <a:pt x="146" y="552"/>
                  <a:pt x="147" y="552"/>
                </a:cubicBezTo>
                <a:cubicBezTo>
                  <a:pt x="147" y="552"/>
                  <a:pt x="147" y="552"/>
                  <a:pt x="147" y="552"/>
                </a:cubicBezTo>
                <a:cubicBezTo>
                  <a:pt x="147" y="551"/>
                  <a:pt x="148" y="551"/>
                  <a:pt x="148" y="551"/>
                </a:cubicBezTo>
                <a:cubicBezTo>
                  <a:pt x="151" y="552"/>
                  <a:pt x="148" y="556"/>
                  <a:pt x="149" y="558"/>
                </a:cubicBezTo>
                <a:cubicBezTo>
                  <a:pt x="150" y="558"/>
                  <a:pt x="152" y="558"/>
                  <a:pt x="152" y="557"/>
                </a:cubicBezTo>
                <a:cubicBezTo>
                  <a:pt x="153" y="557"/>
                  <a:pt x="153" y="556"/>
                  <a:pt x="154" y="555"/>
                </a:cubicBezTo>
                <a:cubicBezTo>
                  <a:pt x="152" y="554"/>
                  <a:pt x="152" y="553"/>
                  <a:pt x="152" y="551"/>
                </a:cubicBezTo>
                <a:cubicBezTo>
                  <a:pt x="154" y="547"/>
                  <a:pt x="159" y="548"/>
                  <a:pt x="160" y="551"/>
                </a:cubicBezTo>
                <a:cubicBezTo>
                  <a:pt x="161" y="551"/>
                  <a:pt x="161" y="551"/>
                  <a:pt x="162" y="550"/>
                </a:cubicBezTo>
                <a:cubicBezTo>
                  <a:pt x="161" y="550"/>
                  <a:pt x="161" y="551"/>
                  <a:pt x="161" y="551"/>
                </a:cubicBezTo>
                <a:cubicBezTo>
                  <a:pt x="163" y="550"/>
                  <a:pt x="165" y="549"/>
                  <a:pt x="167" y="550"/>
                </a:cubicBezTo>
                <a:cubicBezTo>
                  <a:pt x="169" y="549"/>
                  <a:pt x="170" y="549"/>
                  <a:pt x="170" y="549"/>
                </a:cubicBezTo>
                <a:cubicBezTo>
                  <a:pt x="171" y="550"/>
                  <a:pt x="170" y="550"/>
                  <a:pt x="168" y="551"/>
                </a:cubicBezTo>
                <a:cubicBezTo>
                  <a:pt x="168" y="551"/>
                  <a:pt x="169" y="551"/>
                  <a:pt x="169" y="551"/>
                </a:cubicBezTo>
                <a:cubicBezTo>
                  <a:pt x="169" y="552"/>
                  <a:pt x="169" y="553"/>
                  <a:pt x="169" y="554"/>
                </a:cubicBezTo>
                <a:cubicBezTo>
                  <a:pt x="171" y="554"/>
                  <a:pt x="172" y="555"/>
                  <a:pt x="171" y="557"/>
                </a:cubicBezTo>
                <a:cubicBezTo>
                  <a:pt x="170" y="559"/>
                  <a:pt x="171" y="560"/>
                  <a:pt x="171" y="561"/>
                </a:cubicBezTo>
                <a:cubicBezTo>
                  <a:pt x="171" y="561"/>
                  <a:pt x="170" y="562"/>
                  <a:pt x="170" y="563"/>
                </a:cubicBezTo>
                <a:cubicBezTo>
                  <a:pt x="172" y="561"/>
                  <a:pt x="173" y="559"/>
                  <a:pt x="175" y="558"/>
                </a:cubicBezTo>
                <a:cubicBezTo>
                  <a:pt x="173" y="556"/>
                  <a:pt x="171" y="554"/>
                  <a:pt x="175" y="552"/>
                </a:cubicBezTo>
                <a:cubicBezTo>
                  <a:pt x="175" y="551"/>
                  <a:pt x="176" y="551"/>
                  <a:pt x="177" y="551"/>
                </a:cubicBezTo>
                <a:cubicBezTo>
                  <a:pt x="175" y="551"/>
                  <a:pt x="176" y="547"/>
                  <a:pt x="178" y="548"/>
                </a:cubicBezTo>
                <a:cubicBezTo>
                  <a:pt x="179" y="549"/>
                  <a:pt x="178" y="550"/>
                  <a:pt x="178" y="550"/>
                </a:cubicBezTo>
                <a:cubicBezTo>
                  <a:pt x="177" y="551"/>
                  <a:pt x="177" y="551"/>
                  <a:pt x="177" y="551"/>
                </a:cubicBezTo>
                <a:cubicBezTo>
                  <a:pt x="179" y="551"/>
                  <a:pt x="181" y="550"/>
                  <a:pt x="182" y="550"/>
                </a:cubicBezTo>
                <a:cubicBezTo>
                  <a:pt x="184" y="548"/>
                  <a:pt x="183" y="547"/>
                  <a:pt x="185" y="549"/>
                </a:cubicBezTo>
                <a:cubicBezTo>
                  <a:pt x="186" y="549"/>
                  <a:pt x="186" y="550"/>
                  <a:pt x="188" y="549"/>
                </a:cubicBezTo>
                <a:cubicBezTo>
                  <a:pt x="188" y="549"/>
                  <a:pt x="191" y="545"/>
                  <a:pt x="191" y="548"/>
                </a:cubicBezTo>
                <a:cubicBezTo>
                  <a:pt x="191" y="549"/>
                  <a:pt x="189" y="549"/>
                  <a:pt x="189" y="549"/>
                </a:cubicBezTo>
                <a:cubicBezTo>
                  <a:pt x="190" y="550"/>
                  <a:pt x="194" y="550"/>
                  <a:pt x="194" y="550"/>
                </a:cubicBezTo>
                <a:cubicBezTo>
                  <a:pt x="194" y="551"/>
                  <a:pt x="190" y="553"/>
                  <a:pt x="192" y="555"/>
                </a:cubicBezTo>
                <a:cubicBezTo>
                  <a:pt x="193" y="555"/>
                  <a:pt x="194" y="555"/>
                  <a:pt x="194" y="555"/>
                </a:cubicBezTo>
                <a:cubicBezTo>
                  <a:pt x="194" y="555"/>
                  <a:pt x="193" y="556"/>
                  <a:pt x="193" y="556"/>
                </a:cubicBezTo>
                <a:cubicBezTo>
                  <a:pt x="192" y="558"/>
                  <a:pt x="192" y="558"/>
                  <a:pt x="193" y="558"/>
                </a:cubicBezTo>
                <a:cubicBezTo>
                  <a:pt x="194" y="558"/>
                  <a:pt x="195" y="558"/>
                  <a:pt x="196" y="559"/>
                </a:cubicBezTo>
                <a:cubicBezTo>
                  <a:pt x="196" y="560"/>
                  <a:pt x="195" y="560"/>
                  <a:pt x="194" y="560"/>
                </a:cubicBezTo>
                <a:cubicBezTo>
                  <a:pt x="194" y="561"/>
                  <a:pt x="194" y="561"/>
                  <a:pt x="194" y="561"/>
                </a:cubicBezTo>
                <a:cubicBezTo>
                  <a:pt x="194" y="562"/>
                  <a:pt x="196" y="561"/>
                  <a:pt x="196" y="562"/>
                </a:cubicBezTo>
                <a:cubicBezTo>
                  <a:pt x="197" y="563"/>
                  <a:pt x="195" y="565"/>
                  <a:pt x="195" y="566"/>
                </a:cubicBezTo>
                <a:cubicBezTo>
                  <a:pt x="197" y="568"/>
                  <a:pt x="199" y="565"/>
                  <a:pt x="201" y="566"/>
                </a:cubicBezTo>
                <a:cubicBezTo>
                  <a:pt x="201" y="566"/>
                  <a:pt x="203" y="568"/>
                  <a:pt x="205" y="566"/>
                </a:cubicBezTo>
                <a:cubicBezTo>
                  <a:pt x="206" y="565"/>
                  <a:pt x="204" y="563"/>
                  <a:pt x="208" y="562"/>
                </a:cubicBezTo>
                <a:cubicBezTo>
                  <a:pt x="209" y="561"/>
                  <a:pt x="214" y="560"/>
                  <a:pt x="214" y="562"/>
                </a:cubicBezTo>
                <a:cubicBezTo>
                  <a:pt x="214" y="563"/>
                  <a:pt x="213" y="562"/>
                  <a:pt x="212" y="563"/>
                </a:cubicBezTo>
                <a:cubicBezTo>
                  <a:pt x="211" y="563"/>
                  <a:pt x="213" y="566"/>
                  <a:pt x="213" y="566"/>
                </a:cubicBezTo>
                <a:cubicBezTo>
                  <a:pt x="212" y="567"/>
                  <a:pt x="210" y="567"/>
                  <a:pt x="210" y="568"/>
                </a:cubicBezTo>
                <a:cubicBezTo>
                  <a:pt x="210" y="568"/>
                  <a:pt x="210" y="568"/>
                  <a:pt x="210" y="568"/>
                </a:cubicBezTo>
                <a:cubicBezTo>
                  <a:pt x="210" y="569"/>
                  <a:pt x="210" y="569"/>
                  <a:pt x="210" y="569"/>
                </a:cubicBezTo>
                <a:cubicBezTo>
                  <a:pt x="210" y="570"/>
                  <a:pt x="211" y="572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10" y="574"/>
                  <a:pt x="210" y="575"/>
                  <a:pt x="208" y="576"/>
                </a:cubicBezTo>
                <a:cubicBezTo>
                  <a:pt x="208" y="576"/>
                  <a:pt x="208" y="576"/>
                  <a:pt x="208" y="576"/>
                </a:cubicBezTo>
                <a:cubicBezTo>
                  <a:pt x="208" y="576"/>
                  <a:pt x="209" y="576"/>
                  <a:pt x="209" y="576"/>
                </a:cubicBezTo>
                <a:cubicBezTo>
                  <a:pt x="210" y="576"/>
                  <a:pt x="210" y="576"/>
                  <a:pt x="211" y="577"/>
                </a:cubicBezTo>
                <a:cubicBezTo>
                  <a:pt x="211" y="577"/>
                  <a:pt x="212" y="577"/>
                  <a:pt x="212" y="577"/>
                </a:cubicBezTo>
                <a:cubicBezTo>
                  <a:pt x="212" y="578"/>
                  <a:pt x="211" y="578"/>
                  <a:pt x="211" y="579"/>
                </a:cubicBezTo>
                <a:cubicBezTo>
                  <a:pt x="211" y="579"/>
                  <a:pt x="211" y="580"/>
                  <a:pt x="211" y="580"/>
                </a:cubicBezTo>
                <a:cubicBezTo>
                  <a:pt x="210" y="581"/>
                  <a:pt x="207" y="580"/>
                  <a:pt x="205" y="581"/>
                </a:cubicBezTo>
                <a:cubicBezTo>
                  <a:pt x="206" y="580"/>
                  <a:pt x="206" y="578"/>
                  <a:pt x="204" y="580"/>
                </a:cubicBezTo>
                <a:cubicBezTo>
                  <a:pt x="202" y="581"/>
                  <a:pt x="204" y="581"/>
                  <a:pt x="204" y="582"/>
                </a:cubicBezTo>
                <a:cubicBezTo>
                  <a:pt x="204" y="582"/>
                  <a:pt x="203" y="582"/>
                  <a:pt x="204" y="583"/>
                </a:cubicBezTo>
                <a:cubicBezTo>
                  <a:pt x="204" y="583"/>
                  <a:pt x="204" y="583"/>
                  <a:pt x="204" y="583"/>
                </a:cubicBezTo>
                <a:cubicBezTo>
                  <a:pt x="206" y="582"/>
                  <a:pt x="208" y="582"/>
                  <a:pt x="210" y="583"/>
                </a:cubicBezTo>
                <a:cubicBezTo>
                  <a:pt x="209" y="583"/>
                  <a:pt x="209" y="582"/>
                  <a:pt x="209" y="582"/>
                </a:cubicBezTo>
                <a:cubicBezTo>
                  <a:pt x="209" y="582"/>
                  <a:pt x="209" y="582"/>
                  <a:pt x="209" y="582"/>
                </a:cubicBezTo>
                <a:cubicBezTo>
                  <a:pt x="210" y="581"/>
                  <a:pt x="210" y="582"/>
                  <a:pt x="210" y="583"/>
                </a:cubicBezTo>
                <a:cubicBezTo>
                  <a:pt x="210" y="583"/>
                  <a:pt x="211" y="584"/>
                  <a:pt x="210" y="585"/>
                </a:cubicBezTo>
                <a:cubicBezTo>
                  <a:pt x="210" y="586"/>
                  <a:pt x="208" y="588"/>
                  <a:pt x="205" y="588"/>
                </a:cubicBezTo>
                <a:cubicBezTo>
                  <a:pt x="206" y="588"/>
                  <a:pt x="206" y="590"/>
                  <a:pt x="206" y="591"/>
                </a:cubicBezTo>
                <a:cubicBezTo>
                  <a:pt x="205" y="592"/>
                  <a:pt x="201" y="592"/>
                  <a:pt x="202" y="593"/>
                </a:cubicBezTo>
                <a:cubicBezTo>
                  <a:pt x="201" y="593"/>
                  <a:pt x="199" y="594"/>
                  <a:pt x="198" y="593"/>
                </a:cubicBezTo>
                <a:cubicBezTo>
                  <a:pt x="195" y="591"/>
                  <a:pt x="196" y="591"/>
                  <a:pt x="192" y="592"/>
                </a:cubicBezTo>
                <a:cubicBezTo>
                  <a:pt x="192" y="592"/>
                  <a:pt x="191" y="592"/>
                  <a:pt x="190" y="592"/>
                </a:cubicBezTo>
                <a:cubicBezTo>
                  <a:pt x="188" y="592"/>
                  <a:pt x="189" y="593"/>
                  <a:pt x="189" y="595"/>
                </a:cubicBezTo>
                <a:cubicBezTo>
                  <a:pt x="187" y="593"/>
                  <a:pt x="188" y="595"/>
                  <a:pt x="189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1" y="597"/>
                  <a:pt x="191" y="596"/>
                </a:cubicBezTo>
                <a:cubicBezTo>
                  <a:pt x="190" y="597"/>
                  <a:pt x="192" y="594"/>
                  <a:pt x="193" y="596"/>
                </a:cubicBezTo>
                <a:cubicBezTo>
                  <a:pt x="193" y="596"/>
                  <a:pt x="190" y="600"/>
                  <a:pt x="193" y="600"/>
                </a:cubicBezTo>
                <a:cubicBezTo>
                  <a:pt x="187" y="601"/>
                  <a:pt x="195" y="604"/>
                  <a:pt x="197" y="605"/>
                </a:cubicBezTo>
                <a:cubicBezTo>
                  <a:pt x="198" y="606"/>
                  <a:pt x="198" y="608"/>
                  <a:pt x="198" y="609"/>
                </a:cubicBezTo>
                <a:cubicBezTo>
                  <a:pt x="199" y="610"/>
                  <a:pt x="200" y="610"/>
                  <a:pt x="199" y="611"/>
                </a:cubicBezTo>
                <a:cubicBezTo>
                  <a:pt x="199" y="611"/>
                  <a:pt x="199" y="611"/>
                  <a:pt x="199" y="611"/>
                </a:cubicBezTo>
                <a:cubicBezTo>
                  <a:pt x="200" y="612"/>
                  <a:pt x="200" y="613"/>
                  <a:pt x="201" y="613"/>
                </a:cubicBezTo>
                <a:cubicBezTo>
                  <a:pt x="201" y="613"/>
                  <a:pt x="201" y="613"/>
                  <a:pt x="202" y="613"/>
                </a:cubicBezTo>
                <a:cubicBezTo>
                  <a:pt x="202" y="613"/>
                  <a:pt x="202" y="613"/>
                  <a:pt x="202" y="612"/>
                </a:cubicBezTo>
                <a:cubicBezTo>
                  <a:pt x="203" y="611"/>
                  <a:pt x="204" y="611"/>
                  <a:pt x="206" y="611"/>
                </a:cubicBezTo>
                <a:cubicBezTo>
                  <a:pt x="207" y="611"/>
                  <a:pt x="208" y="612"/>
                  <a:pt x="208" y="613"/>
                </a:cubicBezTo>
                <a:cubicBezTo>
                  <a:pt x="209" y="613"/>
                  <a:pt x="209" y="612"/>
                  <a:pt x="211" y="612"/>
                </a:cubicBezTo>
                <a:cubicBezTo>
                  <a:pt x="211" y="613"/>
                  <a:pt x="210" y="613"/>
                  <a:pt x="208" y="613"/>
                </a:cubicBezTo>
                <a:cubicBezTo>
                  <a:pt x="208" y="614"/>
                  <a:pt x="208" y="615"/>
                  <a:pt x="207" y="615"/>
                </a:cubicBezTo>
                <a:cubicBezTo>
                  <a:pt x="209" y="616"/>
                  <a:pt x="211" y="616"/>
                  <a:pt x="211" y="616"/>
                </a:cubicBezTo>
                <a:cubicBezTo>
                  <a:pt x="211" y="616"/>
                  <a:pt x="211" y="616"/>
                  <a:pt x="212" y="616"/>
                </a:cubicBezTo>
                <a:cubicBezTo>
                  <a:pt x="211" y="615"/>
                  <a:pt x="210" y="615"/>
                  <a:pt x="209" y="615"/>
                </a:cubicBezTo>
                <a:cubicBezTo>
                  <a:pt x="210" y="614"/>
                  <a:pt x="211" y="614"/>
                  <a:pt x="213" y="615"/>
                </a:cubicBezTo>
                <a:cubicBezTo>
                  <a:pt x="213" y="614"/>
                  <a:pt x="213" y="614"/>
                  <a:pt x="213" y="614"/>
                </a:cubicBezTo>
                <a:cubicBezTo>
                  <a:pt x="213" y="614"/>
                  <a:pt x="214" y="612"/>
                  <a:pt x="215" y="613"/>
                </a:cubicBezTo>
                <a:cubicBezTo>
                  <a:pt x="216" y="612"/>
                  <a:pt x="216" y="612"/>
                  <a:pt x="217" y="613"/>
                </a:cubicBezTo>
                <a:cubicBezTo>
                  <a:pt x="217" y="613"/>
                  <a:pt x="216" y="613"/>
                  <a:pt x="216" y="614"/>
                </a:cubicBezTo>
                <a:cubicBezTo>
                  <a:pt x="216" y="614"/>
                  <a:pt x="217" y="616"/>
                  <a:pt x="216" y="615"/>
                </a:cubicBezTo>
                <a:cubicBezTo>
                  <a:pt x="216" y="615"/>
                  <a:pt x="215" y="615"/>
                  <a:pt x="215" y="615"/>
                </a:cubicBezTo>
                <a:cubicBezTo>
                  <a:pt x="215" y="614"/>
                  <a:pt x="215" y="614"/>
                  <a:pt x="215" y="614"/>
                </a:cubicBezTo>
                <a:cubicBezTo>
                  <a:pt x="215" y="614"/>
                  <a:pt x="214" y="615"/>
                  <a:pt x="214" y="615"/>
                </a:cubicBezTo>
                <a:cubicBezTo>
                  <a:pt x="215" y="615"/>
                  <a:pt x="216" y="616"/>
                  <a:pt x="216" y="616"/>
                </a:cubicBezTo>
                <a:cubicBezTo>
                  <a:pt x="216" y="617"/>
                  <a:pt x="215" y="616"/>
                  <a:pt x="214" y="616"/>
                </a:cubicBezTo>
                <a:cubicBezTo>
                  <a:pt x="214" y="616"/>
                  <a:pt x="214" y="617"/>
                  <a:pt x="214" y="617"/>
                </a:cubicBezTo>
                <a:cubicBezTo>
                  <a:pt x="215" y="617"/>
                  <a:pt x="216" y="616"/>
                  <a:pt x="216" y="616"/>
                </a:cubicBezTo>
                <a:cubicBezTo>
                  <a:pt x="217" y="617"/>
                  <a:pt x="218" y="620"/>
                  <a:pt x="220" y="618"/>
                </a:cubicBezTo>
                <a:cubicBezTo>
                  <a:pt x="220" y="618"/>
                  <a:pt x="219" y="617"/>
                  <a:pt x="219" y="617"/>
                </a:cubicBezTo>
                <a:cubicBezTo>
                  <a:pt x="219" y="617"/>
                  <a:pt x="219" y="617"/>
                  <a:pt x="219" y="617"/>
                </a:cubicBezTo>
                <a:cubicBezTo>
                  <a:pt x="219" y="617"/>
                  <a:pt x="219" y="617"/>
                  <a:pt x="218" y="617"/>
                </a:cubicBezTo>
                <a:cubicBezTo>
                  <a:pt x="218" y="616"/>
                  <a:pt x="219" y="615"/>
                  <a:pt x="220" y="616"/>
                </a:cubicBezTo>
                <a:cubicBezTo>
                  <a:pt x="220" y="616"/>
                  <a:pt x="220" y="616"/>
                  <a:pt x="220" y="616"/>
                </a:cubicBezTo>
                <a:cubicBezTo>
                  <a:pt x="221" y="615"/>
                  <a:pt x="224" y="617"/>
                  <a:pt x="225" y="617"/>
                </a:cubicBezTo>
                <a:cubicBezTo>
                  <a:pt x="223" y="618"/>
                  <a:pt x="225" y="619"/>
                  <a:pt x="226" y="620"/>
                </a:cubicBezTo>
                <a:cubicBezTo>
                  <a:pt x="227" y="619"/>
                  <a:pt x="229" y="618"/>
                  <a:pt x="231" y="618"/>
                </a:cubicBezTo>
                <a:cubicBezTo>
                  <a:pt x="230" y="619"/>
                  <a:pt x="228" y="620"/>
                  <a:pt x="226" y="620"/>
                </a:cubicBezTo>
                <a:cubicBezTo>
                  <a:pt x="227" y="621"/>
                  <a:pt x="227" y="621"/>
                  <a:pt x="226" y="622"/>
                </a:cubicBezTo>
                <a:cubicBezTo>
                  <a:pt x="225" y="624"/>
                  <a:pt x="222" y="622"/>
                  <a:pt x="221" y="624"/>
                </a:cubicBezTo>
                <a:cubicBezTo>
                  <a:pt x="220" y="624"/>
                  <a:pt x="222" y="624"/>
                  <a:pt x="222" y="624"/>
                </a:cubicBezTo>
                <a:cubicBezTo>
                  <a:pt x="221" y="626"/>
                  <a:pt x="219" y="627"/>
                  <a:pt x="222" y="628"/>
                </a:cubicBezTo>
                <a:cubicBezTo>
                  <a:pt x="222" y="628"/>
                  <a:pt x="227" y="629"/>
                  <a:pt x="228" y="629"/>
                </a:cubicBezTo>
                <a:cubicBezTo>
                  <a:pt x="231" y="629"/>
                  <a:pt x="233" y="629"/>
                  <a:pt x="235" y="631"/>
                </a:cubicBezTo>
                <a:cubicBezTo>
                  <a:pt x="232" y="631"/>
                  <a:pt x="231" y="632"/>
                  <a:pt x="228" y="633"/>
                </a:cubicBezTo>
                <a:cubicBezTo>
                  <a:pt x="228" y="633"/>
                  <a:pt x="229" y="633"/>
                  <a:pt x="229" y="633"/>
                </a:cubicBezTo>
                <a:cubicBezTo>
                  <a:pt x="229" y="633"/>
                  <a:pt x="228" y="633"/>
                  <a:pt x="228" y="633"/>
                </a:cubicBezTo>
                <a:cubicBezTo>
                  <a:pt x="228" y="633"/>
                  <a:pt x="228" y="633"/>
                  <a:pt x="227" y="633"/>
                </a:cubicBezTo>
                <a:cubicBezTo>
                  <a:pt x="224" y="633"/>
                  <a:pt x="221" y="630"/>
                  <a:pt x="218" y="630"/>
                </a:cubicBezTo>
                <a:cubicBezTo>
                  <a:pt x="218" y="630"/>
                  <a:pt x="215" y="633"/>
                  <a:pt x="214" y="633"/>
                </a:cubicBezTo>
                <a:cubicBezTo>
                  <a:pt x="213" y="633"/>
                  <a:pt x="212" y="632"/>
                  <a:pt x="212" y="633"/>
                </a:cubicBezTo>
                <a:cubicBezTo>
                  <a:pt x="212" y="633"/>
                  <a:pt x="213" y="633"/>
                  <a:pt x="213" y="634"/>
                </a:cubicBezTo>
                <a:cubicBezTo>
                  <a:pt x="213" y="634"/>
                  <a:pt x="213" y="634"/>
                  <a:pt x="214" y="634"/>
                </a:cubicBezTo>
                <a:cubicBezTo>
                  <a:pt x="214" y="633"/>
                  <a:pt x="215" y="633"/>
                  <a:pt x="216" y="633"/>
                </a:cubicBezTo>
                <a:cubicBezTo>
                  <a:pt x="216" y="633"/>
                  <a:pt x="217" y="633"/>
                  <a:pt x="217" y="633"/>
                </a:cubicBezTo>
                <a:cubicBezTo>
                  <a:pt x="217" y="633"/>
                  <a:pt x="217" y="633"/>
                  <a:pt x="217" y="633"/>
                </a:cubicBezTo>
                <a:cubicBezTo>
                  <a:pt x="218" y="633"/>
                  <a:pt x="219" y="633"/>
                  <a:pt x="219" y="634"/>
                </a:cubicBezTo>
                <a:cubicBezTo>
                  <a:pt x="219" y="634"/>
                  <a:pt x="219" y="635"/>
                  <a:pt x="218" y="635"/>
                </a:cubicBezTo>
                <a:cubicBezTo>
                  <a:pt x="218" y="636"/>
                  <a:pt x="217" y="637"/>
                  <a:pt x="216" y="637"/>
                </a:cubicBezTo>
                <a:cubicBezTo>
                  <a:pt x="215" y="637"/>
                  <a:pt x="213" y="636"/>
                  <a:pt x="213" y="635"/>
                </a:cubicBezTo>
                <a:cubicBezTo>
                  <a:pt x="213" y="635"/>
                  <a:pt x="213" y="635"/>
                  <a:pt x="213" y="635"/>
                </a:cubicBezTo>
                <a:cubicBezTo>
                  <a:pt x="213" y="636"/>
                  <a:pt x="211" y="636"/>
                  <a:pt x="210" y="636"/>
                </a:cubicBezTo>
                <a:cubicBezTo>
                  <a:pt x="210" y="636"/>
                  <a:pt x="210" y="637"/>
                  <a:pt x="211" y="637"/>
                </a:cubicBezTo>
                <a:cubicBezTo>
                  <a:pt x="211" y="637"/>
                  <a:pt x="211" y="637"/>
                  <a:pt x="211" y="637"/>
                </a:cubicBezTo>
                <a:cubicBezTo>
                  <a:pt x="212" y="637"/>
                  <a:pt x="211" y="637"/>
                  <a:pt x="211" y="637"/>
                </a:cubicBezTo>
                <a:cubicBezTo>
                  <a:pt x="212" y="639"/>
                  <a:pt x="215" y="640"/>
                  <a:pt x="216" y="641"/>
                </a:cubicBezTo>
                <a:cubicBezTo>
                  <a:pt x="214" y="641"/>
                  <a:pt x="214" y="642"/>
                  <a:pt x="214" y="642"/>
                </a:cubicBezTo>
                <a:cubicBezTo>
                  <a:pt x="216" y="641"/>
                  <a:pt x="219" y="642"/>
                  <a:pt x="216" y="643"/>
                </a:cubicBezTo>
                <a:cubicBezTo>
                  <a:pt x="216" y="643"/>
                  <a:pt x="216" y="644"/>
                  <a:pt x="216" y="644"/>
                </a:cubicBezTo>
                <a:cubicBezTo>
                  <a:pt x="216" y="644"/>
                  <a:pt x="217" y="644"/>
                  <a:pt x="217" y="645"/>
                </a:cubicBezTo>
                <a:cubicBezTo>
                  <a:pt x="219" y="644"/>
                  <a:pt x="222" y="643"/>
                  <a:pt x="224" y="643"/>
                </a:cubicBezTo>
                <a:cubicBezTo>
                  <a:pt x="228" y="642"/>
                  <a:pt x="223" y="645"/>
                  <a:pt x="221" y="645"/>
                </a:cubicBezTo>
                <a:cubicBezTo>
                  <a:pt x="220" y="645"/>
                  <a:pt x="218" y="646"/>
                  <a:pt x="216" y="646"/>
                </a:cubicBezTo>
                <a:cubicBezTo>
                  <a:pt x="216" y="647"/>
                  <a:pt x="216" y="647"/>
                  <a:pt x="215" y="647"/>
                </a:cubicBezTo>
                <a:cubicBezTo>
                  <a:pt x="215" y="647"/>
                  <a:pt x="214" y="647"/>
                  <a:pt x="214" y="647"/>
                </a:cubicBezTo>
                <a:cubicBezTo>
                  <a:pt x="212" y="648"/>
                  <a:pt x="211" y="648"/>
                  <a:pt x="210" y="649"/>
                </a:cubicBezTo>
                <a:cubicBezTo>
                  <a:pt x="209" y="650"/>
                  <a:pt x="208" y="651"/>
                  <a:pt x="208" y="652"/>
                </a:cubicBezTo>
                <a:cubicBezTo>
                  <a:pt x="209" y="652"/>
                  <a:pt x="209" y="652"/>
                  <a:pt x="210" y="653"/>
                </a:cubicBezTo>
                <a:cubicBezTo>
                  <a:pt x="210" y="653"/>
                  <a:pt x="210" y="653"/>
                  <a:pt x="210" y="653"/>
                </a:cubicBezTo>
                <a:cubicBezTo>
                  <a:pt x="210" y="653"/>
                  <a:pt x="210" y="653"/>
                  <a:pt x="211" y="653"/>
                </a:cubicBezTo>
                <a:cubicBezTo>
                  <a:pt x="211" y="653"/>
                  <a:pt x="213" y="654"/>
                  <a:pt x="213" y="654"/>
                </a:cubicBezTo>
                <a:cubicBezTo>
                  <a:pt x="213" y="654"/>
                  <a:pt x="213" y="655"/>
                  <a:pt x="213" y="655"/>
                </a:cubicBezTo>
                <a:cubicBezTo>
                  <a:pt x="213" y="656"/>
                  <a:pt x="212" y="657"/>
                  <a:pt x="210" y="657"/>
                </a:cubicBezTo>
                <a:cubicBezTo>
                  <a:pt x="210" y="658"/>
                  <a:pt x="210" y="658"/>
                  <a:pt x="209" y="659"/>
                </a:cubicBezTo>
                <a:cubicBezTo>
                  <a:pt x="209" y="659"/>
                  <a:pt x="209" y="659"/>
                  <a:pt x="209" y="659"/>
                </a:cubicBezTo>
                <a:cubicBezTo>
                  <a:pt x="210" y="660"/>
                  <a:pt x="212" y="660"/>
                  <a:pt x="213" y="660"/>
                </a:cubicBezTo>
                <a:cubicBezTo>
                  <a:pt x="214" y="660"/>
                  <a:pt x="216" y="660"/>
                  <a:pt x="216" y="661"/>
                </a:cubicBezTo>
                <a:cubicBezTo>
                  <a:pt x="217" y="662"/>
                  <a:pt x="218" y="663"/>
                  <a:pt x="218" y="663"/>
                </a:cubicBezTo>
                <a:cubicBezTo>
                  <a:pt x="218" y="663"/>
                  <a:pt x="219" y="663"/>
                  <a:pt x="220" y="664"/>
                </a:cubicBezTo>
                <a:cubicBezTo>
                  <a:pt x="221" y="665"/>
                  <a:pt x="221" y="667"/>
                  <a:pt x="219" y="667"/>
                </a:cubicBezTo>
                <a:cubicBezTo>
                  <a:pt x="219" y="667"/>
                  <a:pt x="219" y="667"/>
                  <a:pt x="219" y="667"/>
                </a:cubicBezTo>
                <a:cubicBezTo>
                  <a:pt x="219" y="668"/>
                  <a:pt x="219" y="668"/>
                  <a:pt x="219" y="669"/>
                </a:cubicBezTo>
                <a:cubicBezTo>
                  <a:pt x="220" y="669"/>
                  <a:pt x="221" y="668"/>
                  <a:pt x="222" y="669"/>
                </a:cubicBezTo>
                <a:cubicBezTo>
                  <a:pt x="222" y="668"/>
                  <a:pt x="223" y="667"/>
                  <a:pt x="223" y="667"/>
                </a:cubicBezTo>
                <a:cubicBezTo>
                  <a:pt x="223" y="667"/>
                  <a:pt x="225" y="666"/>
                  <a:pt x="226" y="666"/>
                </a:cubicBezTo>
                <a:cubicBezTo>
                  <a:pt x="227" y="664"/>
                  <a:pt x="228" y="664"/>
                  <a:pt x="229" y="664"/>
                </a:cubicBezTo>
                <a:cubicBezTo>
                  <a:pt x="230" y="664"/>
                  <a:pt x="229" y="663"/>
                  <a:pt x="230" y="663"/>
                </a:cubicBezTo>
                <a:cubicBezTo>
                  <a:pt x="231" y="662"/>
                  <a:pt x="232" y="664"/>
                  <a:pt x="232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4" y="663"/>
                </a:cubicBezTo>
                <a:cubicBezTo>
                  <a:pt x="235" y="664"/>
                  <a:pt x="235" y="662"/>
                  <a:pt x="236" y="663"/>
                </a:cubicBezTo>
                <a:cubicBezTo>
                  <a:pt x="236" y="663"/>
                  <a:pt x="235" y="664"/>
                  <a:pt x="235" y="664"/>
                </a:cubicBezTo>
                <a:cubicBezTo>
                  <a:pt x="236" y="665"/>
                  <a:pt x="241" y="668"/>
                  <a:pt x="241" y="670"/>
                </a:cubicBezTo>
                <a:cubicBezTo>
                  <a:pt x="241" y="672"/>
                  <a:pt x="236" y="672"/>
                  <a:pt x="235" y="674"/>
                </a:cubicBezTo>
                <a:cubicBezTo>
                  <a:pt x="235" y="675"/>
                  <a:pt x="236" y="676"/>
                  <a:pt x="235" y="677"/>
                </a:cubicBezTo>
                <a:cubicBezTo>
                  <a:pt x="233" y="677"/>
                  <a:pt x="234" y="675"/>
                  <a:pt x="233" y="675"/>
                </a:cubicBezTo>
                <a:cubicBezTo>
                  <a:pt x="232" y="674"/>
                  <a:pt x="227" y="674"/>
                  <a:pt x="225" y="673"/>
                </a:cubicBezTo>
                <a:cubicBezTo>
                  <a:pt x="225" y="673"/>
                  <a:pt x="224" y="672"/>
                  <a:pt x="223" y="672"/>
                </a:cubicBezTo>
                <a:cubicBezTo>
                  <a:pt x="221" y="673"/>
                  <a:pt x="217" y="673"/>
                  <a:pt x="217" y="674"/>
                </a:cubicBezTo>
                <a:cubicBezTo>
                  <a:pt x="216" y="674"/>
                  <a:pt x="218" y="674"/>
                  <a:pt x="218" y="675"/>
                </a:cubicBezTo>
                <a:cubicBezTo>
                  <a:pt x="217" y="675"/>
                  <a:pt x="216" y="674"/>
                  <a:pt x="215" y="674"/>
                </a:cubicBezTo>
                <a:cubicBezTo>
                  <a:pt x="213" y="674"/>
                  <a:pt x="210" y="675"/>
                  <a:pt x="207" y="675"/>
                </a:cubicBezTo>
                <a:cubicBezTo>
                  <a:pt x="208" y="676"/>
                  <a:pt x="208" y="677"/>
                  <a:pt x="208" y="677"/>
                </a:cubicBezTo>
                <a:cubicBezTo>
                  <a:pt x="209" y="677"/>
                  <a:pt x="209" y="676"/>
                  <a:pt x="209" y="676"/>
                </a:cubicBezTo>
                <a:cubicBezTo>
                  <a:pt x="210" y="676"/>
                  <a:pt x="212" y="677"/>
                  <a:pt x="214" y="679"/>
                </a:cubicBezTo>
                <a:cubicBezTo>
                  <a:pt x="215" y="679"/>
                  <a:pt x="216" y="679"/>
                  <a:pt x="216" y="679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7" y="681"/>
                  <a:pt x="216" y="682"/>
                  <a:pt x="216" y="682"/>
                </a:cubicBezTo>
                <a:cubicBezTo>
                  <a:pt x="218" y="684"/>
                  <a:pt x="222" y="683"/>
                  <a:pt x="224" y="683"/>
                </a:cubicBezTo>
                <a:cubicBezTo>
                  <a:pt x="224" y="683"/>
                  <a:pt x="224" y="684"/>
                  <a:pt x="225" y="684"/>
                </a:cubicBezTo>
                <a:cubicBezTo>
                  <a:pt x="225" y="684"/>
                  <a:pt x="225" y="684"/>
                  <a:pt x="225" y="684"/>
                </a:cubicBezTo>
                <a:cubicBezTo>
                  <a:pt x="225" y="683"/>
                  <a:pt x="230" y="681"/>
                  <a:pt x="231" y="682"/>
                </a:cubicBezTo>
                <a:cubicBezTo>
                  <a:pt x="232" y="684"/>
                  <a:pt x="231" y="686"/>
                  <a:pt x="229" y="686"/>
                </a:cubicBezTo>
                <a:cubicBezTo>
                  <a:pt x="229" y="686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30" y="688"/>
                  <a:pt x="231" y="688"/>
                  <a:pt x="232" y="687"/>
                </a:cubicBezTo>
                <a:cubicBezTo>
                  <a:pt x="232" y="687"/>
                  <a:pt x="232" y="687"/>
                  <a:pt x="232" y="687"/>
                </a:cubicBezTo>
                <a:cubicBezTo>
                  <a:pt x="232" y="687"/>
                  <a:pt x="233" y="686"/>
                  <a:pt x="233" y="686"/>
                </a:cubicBezTo>
                <a:cubicBezTo>
                  <a:pt x="234" y="685"/>
                  <a:pt x="237" y="685"/>
                  <a:pt x="239" y="683"/>
                </a:cubicBezTo>
                <a:cubicBezTo>
                  <a:pt x="240" y="682"/>
                  <a:pt x="243" y="680"/>
                  <a:pt x="244" y="680"/>
                </a:cubicBezTo>
                <a:cubicBezTo>
                  <a:pt x="245" y="681"/>
                  <a:pt x="245" y="682"/>
                  <a:pt x="246" y="683"/>
                </a:cubicBezTo>
                <a:cubicBezTo>
                  <a:pt x="246" y="683"/>
                  <a:pt x="246" y="682"/>
                  <a:pt x="247" y="682"/>
                </a:cubicBezTo>
                <a:cubicBezTo>
                  <a:pt x="248" y="682"/>
                  <a:pt x="249" y="683"/>
                  <a:pt x="249" y="684"/>
                </a:cubicBezTo>
                <a:cubicBezTo>
                  <a:pt x="250" y="684"/>
                  <a:pt x="251" y="684"/>
                  <a:pt x="251" y="685"/>
                </a:cubicBezTo>
                <a:cubicBezTo>
                  <a:pt x="251" y="685"/>
                  <a:pt x="250" y="686"/>
                  <a:pt x="249" y="686"/>
                </a:cubicBezTo>
                <a:cubicBezTo>
                  <a:pt x="248" y="687"/>
                  <a:pt x="247" y="688"/>
                  <a:pt x="246" y="686"/>
                </a:cubicBezTo>
                <a:cubicBezTo>
                  <a:pt x="246" y="685"/>
                  <a:pt x="246" y="686"/>
                  <a:pt x="246" y="687"/>
                </a:cubicBezTo>
                <a:cubicBezTo>
                  <a:pt x="247" y="688"/>
                  <a:pt x="248" y="688"/>
                  <a:pt x="248" y="689"/>
                </a:cubicBezTo>
                <a:cubicBezTo>
                  <a:pt x="248" y="690"/>
                  <a:pt x="247" y="690"/>
                  <a:pt x="245" y="691"/>
                </a:cubicBezTo>
                <a:cubicBezTo>
                  <a:pt x="247" y="692"/>
                  <a:pt x="248" y="693"/>
                  <a:pt x="248" y="694"/>
                </a:cubicBezTo>
                <a:cubicBezTo>
                  <a:pt x="248" y="694"/>
                  <a:pt x="247" y="696"/>
                  <a:pt x="246" y="697"/>
                </a:cubicBezTo>
                <a:cubicBezTo>
                  <a:pt x="252" y="699"/>
                  <a:pt x="257" y="700"/>
                  <a:pt x="263" y="702"/>
                </a:cubicBezTo>
                <a:cubicBezTo>
                  <a:pt x="263" y="702"/>
                  <a:pt x="263" y="702"/>
                  <a:pt x="264" y="701"/>
                </a:cubicBezTo>
                <a:cubicBezTo>
                  <a:pt x="264" y="701"/>
                  <a:pt x="265" y="702"/>
                  <a:pt x="266" y="702"/>
                </a:cubicBezTo>
                <a:cubicBezTo>
                  <a:pt x="267" y="702"/>
                  <a:pt x="267" y="701"/>
                  <a:pt x="268" y="701"/>
                </a:cubicBezTo>
                <a:cubicBezTo>
                  <a:pt x="269" y="701"/>
                  <a:pt x="271" y="702"/>
                  <a:pt x="273" y="702"/>
                </a:cubicBezTo>
                <a:cubicBezTo>
                  <a:pt x="274" y="703"/>
                  <a:pt x="274" y="702"/>
                  <a:pt x="274" y="703"/>
                </a:cubicBezTo>
                <a:cubicBezTo>
                  <a:pt x="275" y="703"/>
                  <a:pt x="274" y="704"/>
                  <a:pt x="274" y="705"/>
                </a:cubicBezTo>
                <a:cubicBezTo>
                  <a:pt x="281" y="707"/>
                  <a:pt x="289" y="708"/>
                  <a:pt x="296" y="709"/>
                </a:cubicBezTo>
                <a:cubicBezTo>
                  <a:pt x="297" y="708"/>
                  <a:pt x="297" y="708"/>
                  <a:pt x="298" y="707"/>
                </a:cubicBezTo>
                <a:cubicBezTo>
                  <a:pt x="298" y="707"/>
                  <a:pt x="304" y="707"/>
                  <a:pt x="305" y="707"/>
                </a:cubicBezTo>
                <a:cubicBezTo>
                  <a:pt x="306" y="707"/>
                  <a:pt x="307" y="708"/>
                  <a:pt x="308" y="708"/>
                </a:cubicBezTo>
                <a:cubicBezTo>
                  <a:pt x="307" y="708"/>
                  <a:pt x="307" y="708"/>
                  <a:pt x="307" y="707"/>
                </a:cubicBezTo>
                <a:cubicBezTo>
                  <a:pt x="306" y="706"/>
                  <a:pt x="306" y="704"/>
                  <a:pt x="307" y="703"/>
                </a:cubicBezTo>
                <a:cubicBezTo>
                  <a:pt x="311" y="699"/>
                  <a:pt x="321" y="702"/>
                  <a:pt x="325" y="704"/>
                </a:cubicBezTo>
                <a:cubicBezTo>
                  <a:pt x="325" y="703"/>
                  <a:pt x="325" y="703"/>
                  <a:pt x="325" y="702"/>
                </a:cubicBezTo>
                <a:cubicBezTo>
                  <a:pt x="326" y="699"/>
                  <a:pt x="334" y="701"/>
                  <a:pt x="334" y="704"/>
                </a:cubicBezTo>
                <a:cubicBezTo>
                  <a:pt x="334" y="704"/>
                  <a:pt x="336" y="705"/>
                  <a:pt x="336" y="705"/>
                </a:cubicBezTo>
                <a:cubicBezTo>
                  <a:pt x="336" y="706"/>
                  <a:pt x="334" y="706"/>
                  <a:pt x="334" y="705"/>
                </a:cubicBezTo>
                <a:cubicBezTo>
                  <a:pt x="333" y="706"/>
                  <a:pt x="330" y="707"/>
                  <a:pt x="328" y="706"/>
                </a:cubicBezTo>
                <a:cubicBezTo>
                  <a:pt x="327" y="706"/>
                  <a:pt x="325" y="706"/>
                  <a:pt x="324" y="708"/>
                </a:cubicBezTo>
                <a:cubicBezTo>
                  <a:pt x="324" y="708"/>
                  <a:pt x="324" y="710"/>
                  <a:pt x="324" y="710"/>
                </a:cubicBezTo>
                <a:cubicBezTo>
                  <a:pt x="323" y="711"/>
                  <a:pt x="321" y="711"/>
                  <a:pt x="321" y="711"/>
                </a:cubicBezTo>
                <a:cubicBezTo>
                  <a:pt x="321" y="712"/>
                  <a:pt x="322" y="713"/>
                  <a:pt x="323" y="713"/>
                </a:cubicBezTo>
                <a:cubicBezTo>
                  <a:pt x="328" y="713"/>
                  <a:pt x="334" y="714"/>
                  <a:pt x="339" y="714"/>
                </a:cubicBezTo>
                <a:cubicBezTo>
                  <a:pt x="338" y="712"/>
                  <a:pt x="340" y="712"/>
                  <a:pt x="342" y="712"/>
                </a:cubicBezTo>
                <a:cubicBezTo>
                  <a:pt x="342" y="712"/>
                  <a:pt x="343" y="712"/>
                  <a:pt x="344" y="712"/>
                </a:cubicBezTo>
                <a:cubicBezTo>
                  <a:pt x="344" y="712"/>
                  <a:pt x="344" y="713"/>
                  <a:pt x="344" y="713"/>
                </a:cubicBezTo>
                <a:cubicBezTo>
                  <a:pt x="344" y="713"/>
                  <a:pt x="345" y="713"/>
                  <a:pt x="345" y="714"/>
                </a:cubicBezTo>
                <a:cubicBezTo>
                  <a:pt x="345" y="714"/>
                  <a:pt x="346" y="714"/>
                  <a:pt x="346" y="714"/>
                </a:cubicBezTo>
                <a:cubicBezTo>
                  <a:pt x="346" y="713"/>
                  <a:pt x="347" y="712"/>
                  <a:pt x="347" y="712"/>
                </a:cubicBezTo>
                <a:cubicBezTo>
                  <a:pt x="348" y="712"/>
                  <a:pt x="349" y="712"/>
                  <a:pt x="349" y="712"/>
                </a:cubicBezTo>
                <a:cubicBezTo>
                  <a:pt x="350" y="712"/>
                  <a:pt x="351" y="711"/>
                  <a:pt x="352" y="711"/>
                </a:cubicBezTo>
                <a:cubicBezTo>
                  <a:pt x="352" y="710"/>
                  <a:pt x="352" y="710"/>
                  <a:pt x="354" y="709"/>
                </a:cubicBezTo>
                <a:cubicBezTo>
                  <a:pt x="355" y="709"/>
                  <a:pt x="355" y="708"/>
                  <a:pt x="357" y="708"/>
                </a:cubicBezTo>
                <a:cubicBezTo>
                  <a:pt x="360" y="707"/>
                  <a:pt x="365" y="706"/>
                  <a:pt x="369" y="705"/>
                </a:cubicBezTo>
                <a:cubicBezTo>
                  <a:pt x="370" y="705"/>
                  <a:pt x="370" y="705"/>
                  <a:pt x="370" y="705"/>
                </a:cubicBezTo>
                <a:cubicBezTo>
                  <a:pt x="370" y="705"/>
                  <a:pt x="369" y="705"/>
                  <a:pt x="369" y="705"/>
                </a:cubicBezTo>
                <a:cubicBezTo>
                  <a:pt x="368" y="705"/>
                  <a:pt x="367" y="704"/>
                  <a:pt x="366" y="702"/>
                </a:cubicBezTo>
                <a:cubicBezTo>
                  <a:pt x="365" y="702"/>
                  <a:pt x="365" y="702"/>
                  <a:pt x="365" y="701"/>
                </a:cubicBezTo>
                <a:cubicBezTo>
                  <a:pt x="365" y="700"/>
                  <a:pt x="364" y="699"/>
                  <a:pt x="365" y="698"/>
                </a:cubicBezTo>
                <a:cubicBezTo>
                  <a:pt x="366" y="692"/>
                  <a:pt x="379" y="693"/>
                  <a:pt x="384" y="696"/>
                </a:cubicBezTo>
                <a:cubicBezTo>
                  <a:pt x="386" y="697"/>
                  <a:pt x="387" y="699"/>
                  <a:pt x="388" y="701"/>
                </a:cubicBezTo>
                <a:cubicBezTo>
                  <a:pt x="390" y="700"/>
                  <a:pt x="392" y="699"/>
                  <a:pt x="392" y="700"/>
                </a:cubicBezTo>
                <a:cubicBezTo>
                  <a:pt x="393" y="701"/>
                  <a:pt x="391" y="702"/>
                  <a:pt x="389" y="702"/>
                </a:cubicBezTo>
                <a:cubicBezTo>
                  <a:pt x="389" y="702"/>
                  <a:pt x="389" y="702"/>
                  <a:pt x="389" y="702"/>
                </a:cubicBezTo>
                <a:cubicBezTo>
                  <a:pt x="390" y="703"/>
                  <a:pt x="391" y="704"/>
                  <a:pt x="391" y="704"/>
                </a:cubicBezTo>
                <a:cubicBezTo>
                  <a:pt x="391" y="706"/>
                  <a:pt x="387" y="707"/>
                  <a:pt x="383" y="708"/>
                </a:cubicBezTo>
                <a:cubicBezTo>
                  <a:pt x="388" y="708"/>
                  <a:pt x="395" y="708"/>
                  <a:pt x="399" y="708"/>
                </a:cubicBezTo>
                <a:cubicBezTo>
                  <a:pt x="399" y="708"/>
                  <a:pt x="406" y="707"/>
                  <a:pt x="406" y="708"/>
                </a:cubicBezTo>
                <a:cubicBezTo>
                  <a:pt x="407" y="710"/>
                  <a:pt x="401" y="709"/>
                  <a:pt x="400" y="709"/>
                </a:cubicBezTo>
                <a:cubicBezTo>
                  <a:pt x="394" y="709"/>
                  <a:pt x="384" y="709"/>
                  <a:pt x="378" y="709"/>
                </a:cubicBezTo>
                <a:cubicBezTo>
                  <a:pt x="378" y="709"/>
                  <a:pt x="377" y="709"/>
                  <a:pt x="377" y="709"/>
                </a:cubicBezTo>
                <a:cubicBezTo>
                  <a:pt x="377" y="709"/>
                  <a:pt x="377" y="709"/>
                  <a:pt x="377" y="708"/>
                </a:cubicBezTo>
                <a:cubicBezTo>
                  <a:pt x="378" y="708"/>
                  <a:pt x="378" y="708"/>
                  <a:pt x="379" y="708"/>
                </a:cubicBezTo>
                <a:cubicBezTo>
                  <a:pt x="377" y="708"/>
                  <a:pt x="376" y="708"/>
                  <a:pt x="375" y="708"/>
                </a:cubicBezTo>
                <a:cubicBezTo>
                  <a:pt x="374" y="708"/>
                  <a:pt x="374" y="709"/>
                  <a:pt x="373" y="709"/>
                </a:cubicBezTo>
                <a:cubicBezTo>
                  <a:pt x="373" y="709"/>
                  <a:pt x="372" y="709"/>
                  <a:pt x="372" y="709"/>
                </a:cubicBezTo>
                <a:cubicBezTo>
                  <a:pt x="372" y="709"/>
                  <a:pt x="371" y="710"/>
                  <a:pt x="370" y="710"/>
                </a:cubicBezTo>
                <a:cubicBezTo>
                  <a:pt x="369" y="710"/>
                  <a:pt x="367" y="710"/>
                  <a:pt x="366" y="711"/>
                </a:cubicBezTo>
                <a:cubicBezTo>
                  <a:pt x="364" y="711"/>
                  <a:pt x="363" y="712"/>
                  <a:pt x="361" y="713"/>
                </a:cubicBezTo>
                <a:cubicBezTo>
                  <a:pt x="360" y="713"/>
                  <a:pt x="360" y="713"/>
                  <a:pt x="360" y="713"/>
                </a:cubicBezTo>
                <a:cubicBezTo>
                  <a:pt x="359" y="713"/>
                  <a:pt x="358" y="714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554" y="715"/>
                  <a:pt x="714" y="555"/>
                  <a:pt x="714" y="357"/>
                </a:cubicBezTo>
                <a:cubicBezTo>
                  <a:pt x="714" y="339"/>
                  <a:pt x="713" y="322"/>
                  <a:pt x="710" y="304"/>
                </a:cubicBezTo>
                <a:close/>
                <a:moveTo>
                  <a:pt x="703" y="277"/>
                </a:moveTo>
                <a:cubicBezTo>
                  <a:pt x="704" y="277"/>
                  <a:pt x="703" y="279"/>
                  <a:pt x="702" y="279"/>
                </a:cubicBezTo>
                <a:cubicBezTo>
                  <a:pt x="702" y="278"/>
                  <a:pt x="703" y="278"/>
                  <a:pt x="703" y="277"/>
                </a:cubicBezTo>
                <a:close/>
                <a:moveTo>
                  <a:pt x="702" y="292"/>
                </a:moveTo>
                <a:cubicBezTo>
                  <a:pt x="702" y="292"/>
                  <a:pt x="702" y="292"/>
                  <a:pt x="702" y="292"/>
                </a:cubicBezTo>
                <a:cubicBezTo>
                  <a:pt x="702" y="292"/>
                  <a:pt x="701" y="293"/>
                  <a:pt x="701" y="293"/>
                </a:cubicBezTo>
                <a:cubicBezTo>
                  <a:pt x="701" y="293"/>
                  <a:pt x="701" y="292"/>
                  <a:pt x="702" y="292"/>
                </a:cubicBezTo>
                <a:close/>
                <a:moveTo>
                  <a:pt x="699" y="271"/>
                </a:moveTo>
                <a:cubicBezTo>
                  <a:pt x="697" y="274"/>
                  <a:pt x="700" y="270"/>
                  <a:pt x="699" y="271"/>
                </a:cubicBezTo>
                <a:close/>
                <a:moveTo>
                  <a:pt x="681" y="279"/>
                </a:moveTo>
                <a:cubicBezTo>
                  <a:pt x="681" y="277"/>
                  <a:pt x="683" y="278"/>
                  <a:pt x="681" y="279"/>
                </a:cubicBezTo>
                <a:close/>
                <a:moveTo>
                  <a:pt x="682" y="275"/>
                </a:moveTo>
                <a:cubicBezTo>
                  <a:pt x="683" y="276"/>
                  <a:pt x="681" y="277"/>
                  <a:pt x="682" y="275"/>
                </a:cubicBezTo>
                <a:close/>
                <a:moveTo>
                  <a:pt x="686" y="247"/>
                </a:moveTo>
                <a:cubicBezTo>
                  <a:pt x="687" y="248"/>
                  <a:pt x="687" y="250"/>
                  <a:pt x="687" y="252"/>
                </a:cubicBezTo>
                <a:cubicBezTo>
                  <a:pt x="686" y="251"/>
                  <a:pt x="686" y="249"/>
                  <a:pt x="686" y="247"/>
                </a:cubicBezTo>
                <a:close/>
                <a:moveTo>
                  <a:pt x="680" y="254"/>
                </a:moveTo>
                <a:cubicBezTo>
                  <a:pt x="680" y="255"/>
                  <a:pt x="681" y="252"/>
                  <a:pt x="680" y="254"/>
                </a:cubicBezTo>
                <a:close/>
                <a:moveTo>
                  <a:pt x="684" y="227"/>
                </a:moveTo>
                <a:cubicBezTo>
                  <a:pt x="687" y="230"/>
                  <a:pt x="682" y="233"/>
                  <a:pt x="680" y="234"/>
                </a:cubicBezTo>
                <a:cubicBezTo>
                  <a:pt x="678" y="231"/>
                  <a:pt x="681" y="225"/>
                  <a:pt x="684" y="227"/>
                </a:cubicBezTo>
                <a:close/>
                <a:moveTo>
                  <a:pt x="634" y="190"/>
                </a:moveTo>
                <a:cubicBezTo>
                  <a:pt x="634" y="190"/>
                  <a:pt x="634" y="191"/>
                  <a:pt x="634" y="191"/>
                </a:cubicBezTo>
                <a:cubicBezTo>
                  <a:pt x="635" y="194"/>
                  <a:pt x="630" y="192"/>
                  <a:pt x="634" y="190"/>
                </a:cubicBezTo>
                <a:close/>
                <a:moveTo>
                  <a:pt x="574" y="146"/>
                </a:moveTo>
                <a:cubicBezTo>
                  <a:pt x="575" y="147"/>
                  <a:pt x="573" y="147"/>
                  <a:pt x="573" y="146"/>
                </a:cubicBezTo>
                <a:cubicBezTo>
                  <a:pt x="572" y="146"/>
                  <a:pt x="574" y="145"/>
                  <a:pt x="574" y="146"/>
                </a:cubicBezTo>
                <a:close/>
                <a:moveTo>
                  <a:pt x="571" y="138"/>
                </a:moveTo>
                <a:cubicBezTo>
                  <a:pt x="571" y="138"/>
                  <a:pt x="571" y="138"/>
                  <a:pt x="571" y="138"/>
                </a:cubicBezTo>
                <a:cubicBezTo>
                  <a:pt x="572" y="140"/>
                  <a:pt x="569" y="137"/>
                  <a:pt x="571" y="138"/>
                </a:cubicBezTo>
                <a:close/>
                <a:moveTo>
                  <a:pt x="566" y="136"/>
                </a:moveTo>
                <a:cubicBezTo>
                  <a:pt x="566" y="137"/>
                  <a:pt x="564" y="137"/>
                  <a:pt x="564" y="137"/>
                </a:cubicBezTo>
                <a:cubicBezTo>
                  <a:pt x="564" y="136"/>
                  <a:pt x="566" y="135"/>
                  <a:pt x="566" y="136"/>
                </a:cubicBezTo>
                <a:close/>
                <a:moveTo>
                  <a:pt x="562" y="145"/>
                </a:moveTo>
                <a:cubicBezTo>
                  <a:pt x="563" y="146"/>
                  <a:pt x="562" y="146"/>
                  <a:pt x="562" y="146"/>
                </a:cubicBezTo>
                <a:cubicBezTo>
                  <a:pt x="561" y="145"/>
                  <a:pt x="562" y="145"/>
                  <a:pt x="562" y="145"/>
                </a:cubicBezTo>
                <a:close/>
                <a:moveTo>
                  <a:pt x="549" y="88"/>
                </a:moveTo>
                <a:cubicBezTo>
                  <a:pt x="549" y="88"/>
                  <a:pt x="549" y="88"/>
                  <a:pt x="549" y="88"/>
                </a:cubicBezTo>
                <a:cubicBezTo>
                  <a:pt x="549" y="88"/>
                  <a:pt x="549" y="88"/>
                  <a:pt x="549" y="88"/>
                </a:cubicBezTo>
                <a:close/>
                <a:moveTo>
                  <a:pt x="549" y="88"/>
                </a:moveTo>
                <a:cubicBezTo>
                  <a:pt x="549" y="88"/>
                  <a:pt x="548" y="88"/>
                  <a:pt x="549" y="88"/>
                </a:cubicBezTo>
                <a:close/>
                <a:moveTo>
                  <a:pt x="549" y="90"/>
                </a:moveTo>
                <a:cubicBezTo>
                  <a:pt x="549" y="91"/>
                  <a:pt x="548" y="91"/>
                  <a:pt x="548" y="91"/>
                </a:cubicBezTo>
                <a:cubicBezTo>
                  <a:pt x="548" y="91"/>
                  <a:pt x="549" y="90"/>
                  <a:pt x="549" y="90"/>
                </a:cubicBezTo>
                <a:close/>
                <a:moveTo>
                  <a:pt x="547" y="89"/>
                </a:moveTo>
                <a:cubicBezTo>
                  <a:pt x="546" y="89"/>
                  <a:pt x="546" y="90"/>
                  <a:pt x="545" y="90"/>
                </a:cubicBezTo>
                <a:cubicBezTo>
                  <a:pt x="546" y="90"/>
                  <a:pt x="544" y="88"/>
                  <a:pt x="544" y="88"/>
                </a:cubicBezTo>
                <a:cubicBezTo>
                  <a:pt x="545" y="87"/>
                  <a:pt x="547" y="87"/>
                  <a:pt x="547" y="89"/>
                </a:cubicBezTo>
                <a:close/>
                <a:moveTo>
                  <a:pt x="540" y="94"/>
                </a:moveTo>
                <a:cubicBezTo>
                  <a:pt x="541" y="94"/>
                  <a:pt x="539" y="94"/>
                  <a:pt x="539" y="94"/>
                </a:cubicBezTo>
                <a:cubicBezTo>
                  <a:pt x="539" y="93"/>
                  <a:pt x="540" y="93"/>
                  <a:pt x="540" y="94"/>
                </a:cubicBezTo>
                <a:close/>
                <a:moveTo>
                  <a:pt x="540" y="97"/>
                </a:moveTo>
                <a:cubicBezTo>
                  <a:pt x="540" y="96"/>
                  <a:pt x="538" y="98"/>
                  <a:pt x="539" y="97"/>
                </a:cubicBezTo>
                <a:cubicBezTo>
                  <a:pt x="539" y="96"/>
                  <a:pt x="542" y="93"/>
                  <a:pt x="544" y="93"/>
                </a:cubicBezTo>
                <a:cubicBezTo>
                  <a:pt x="546" y="93"/>
                  <a:pt x="549" y="94"/>
                  <a:pt x="548" y="96"/>
                </a:cubicBezTo>
                <a:cubicBezTo>
                  <a:pt x="548" y="98"/>
                  <a:pt x="544" y="100"/>
                  <a:pt x="542" y="100"/>
                </a:cubicBezTo>
                <a:cubicBezTo>
                  <a:pt x="541" y="100"/>
                  <a:pt x="540" y="99"/>
                  <a:pt x="540" y="99"/>
                </a:cubicBezTo>
                <a:cubicBezTo>
                  <a:pt x="539" y="99"/>
                  <a:pt x="538" y="101"/>
                  <a:pt x="538" y="99"/>
                </a:cubicBezTo>
                <a:cubicBezTo>
                  <a:pt x="538" y="99"/>
                  <a:pt x="540" y="97"/>
                  <a:pt x="540" y="97"/>
                </a:cubicBezTo>
                <a:close/>
                <a:moveTo>
                  <a:pt x="535" y="95"/>
                </a:moveTo>
                <a:cubicBezTo>
                  <a:pt x="536" y="96"/>
                  <a:pt x="533" y="95"/>
                  <a:pt x="535" y="95"/>
                </a:cubicBezTo>
                <a:close/>
                <a:moveTo>
                  <a:pt x="535" y="97"/>
                </a:moveTo>
                <a:cubicBezTo>
                  <a:pt x="535" y="97"/>
                  <a:pt x="535" y="96"/>
                  <a:pt x="535" y="96"/>
                </a:cubicBezTo>
                <a:cubicBezTo>
                  <a:pt x="535" y="97"/>
                  <a:pt x="536" y="97"/>
                  <a:pt x="535" y="97"/>
                </a:cubicBezTo>
                <a:close/>
                <a:moveTo>
                  <a:pt x="534" y="111"/>
                </a:moveTo>
                <a:cubicBezTo>
                  <a:pt x="534" y="110"/>
                  <a:pt x="535" y="109"/>
                  <a:pt x="536" y="110"/>
                </a:cubicBezTo>
                <a:cubicBezTo>
                  <a:pt x="537" y="111"/>
                  <a:pt x="535" y="111"/>
                  <a:pt x="534" y="111"/>
                </a:cubicBezTo>
                <a:close/>
                <a:moveTo>
                  <a:pt x="535" y="84"/>
                </a:moveTo>
                <a:cubicBezTo>
                  <a:pt x="538" y="83"/>
                  <a:pt x="536" y="88"/>
                  <a:pt x="534" y="87"/>
                </a:cubicBezTo>
                <a:cubicBezTo>
                  <a:pt x="532" y="86"/>
                  <a:pt x="534" y="85"/>
                  <a:pt x="535" y="84"/>
                </a:cubicBezTo>
                <a:close/>
                <a:moveTo>
                  <a:pt x="545" y="73"/>
                </a:moveTo>
                <a:cubicBezTo>
                  <a:pt x="544" y="74"/>
                  <a:pt x="544" y="72"/>
                  <a:pt x="545" y="73"/>
                </a:cubicBezTo>
                <a:close/>
                <a:moveTo>
                  <a:pt x="541" y="72"/>
                </a:moveTo>
                <a:cubicBezTo>
                  <a:pt x="540" y="73"/>
                  <a:pt x="539" y="73"/>
                  <a:pt x="537" y="73"/>
                </a:cubicBezTo>
                <a:cubicBezTo>
                  <a:pt x="539" y="73"/>
                  <a:pt x="539" y="71"/>
                  <a:pt x="541" y="72"/>
                </a:cubicBezTo>
                <a:close/>
                <a:moveTo>
                  <a:pt x="534" y="73"/>
                </a:moveTo>
                <a:cubicBezTo>
                  <a:pt x="534" y="74"/>
                  <a:pt x="532" y="75"/>
                  <a:pt x="532" y="74"/>
                </a:cubicBezTo>
                <a:cubicBezTo>
                  <a:pt x="531" y="74"/>
                  <a:pt x="534" y="73"/>
                  <a:pt x="534" y="73"/>
                </a:cubicBezTo>
                <a:close/>
                <a:moveTo>
                  <a:pt x="531" y="74"/>
                </a:moveTo>
                <a:cubicBezTo>
                  <a:pt x="532" y="75"/>
                  <a:pt x="530" y="74"/>
                  <a:pt x="530" y="74"/>
                </a:cubicBezTo>
                <a:cubicBezTo>
                  <a:pt x="529" y="73"/>
                  <a:pt x="531" y="73"/>
                  <a:pt x="531" y="74"/>
                </a:cubicBezTo>
                <a:close/>
                <a:moveTo>
                  <a:pt x="458" y="41"/>
                </a:moveTo>
                <a:cubicBezTo>
                  <a:pt x="458" y="42"/>
                  <a:pt x="458" y="42"/>
                  <a:pt x="458" y="42"/>
                </a:cubicBezTo>
                <a:cubicBezTo>
                  <a:pt x="458" y="41"/>
                  <a:pt x="457" y="40"/>
                  <a:pt x="458" y="41"/>
                </a:cubicBezTo>
                <a:close/>
                <a:moveTo>
                  <a:pt x="421" y="34"/>
                </a:moveTo>
                <a:cubicBezTo>
                  <a:pt x="420" y="34"/>
                  <a:pt x="420" y="33"/>
                  <a:pt x="421" y="34"/>
                </a:cubicBezTo>
                <a:close/>
                <a:moveTo>
                  <a:pt x="421" y="29"/>
                </a:moveTo>
                <a:cubicBezTo>
                  <a:pt x="422" y="30"/>
                  <a:pt x="420" y="30"/>
                  <a:pt x="420" y="30"/>
                </a:cubicBezTo>
                <a:cubicBezTo>
                  <a:pt x="419" y="29"/>
                  <a:pt x="421" y="29"/>
                  <a:pt x="421" y="29"/>
                </a:cubicBezTo>
                <a:close/>
                <a:moveTo>
                  <a:pt x="461" y="19"/>
                </a:moveTo>
                <a:cubicBezTo>
                  <a:pt x="461" y="20"/>
                  <a:pt x="458" y="20"/>
                  <a:pt x="458" y="19"/>
                </a:cubicBezTo>
                <a:cubicBezTo>
                  <a:pt x="457" y="18"/>
                  <a:pt x="461" y="17"/>
                  <a:pt x="461" y="19"/>
                </a:cubicBezTo>
                <a:close/>
                <a:moveTo>
                  <a:pt x="456" y="20"/>
                </a:moveTo>
                <a:cubicBezTo>
                  <a:pt x="457" y="21"/>
                  <a:pt x="454" y="22"/>
                  <a:pt x="454" y="20"/>
                </a:cubicBezTo>
                <a:cubicBezTo>
                  <a:pt x="454" y="20"/>
                  <a:pt x="456" y="20"/>
                  <a:pt x="456" y="20"/>
                </a:cubicBezTo>
                <a:close/>
                <a:moveTo>
                  <a:pt x="455" y="23"/>
                </a:moveTo>
                <a:cubicBezTo>
                  <a:pt x="456" y="24"/>
                  <a:pt x="453" y="23"/>
                  <a:pt x="453" y="23"/>
                </a:cubicBezTo>
                <a:cubicBezTo>
                  <a:pt x="453" y="22"/>
                  <a:pt x="455" y="22"/>
                  <a:pt x="455" y="23"/>
                </a:cubicBezTo>
                <a:close/>
                <a:moveTo>
                  <a:pt x="434" y="24"/>
                </a:moveTo>
                <a:cubicBezTo>
                  <a:pt x="434" y="25"/>
                  <a:pt x="430" y="24"/>
                  <a:pt x="430" y="23"/>
                </a:cubicBezTo>
                <a:cubicBezTo>
                  <a:pt x="430" y="22"/>
                  <a:pt x="433" y="22"/>
                  <a:pt x="434" y="24"/>
                </a:cubicBezTo>
                <a:close/>
                <a:moveTo>
                  <a:pt x="427" y="20"/>
                </a:moveTo>
                <a:cubicBezTo>
                  <a:pt x="427" y="21"/>
                  <a:pt x="425" y="20"/>
                  <a:pt x="425" y="20"/>
                </a:cubicBezTo>
                <a:cubicBezTo>
                  <a:pt x="425" y="20"/>
                  <a:pt x="427" y="19"/>
                  <a:pt x="427" y="20"/>
                </a:cubicBezTo>
                <a:close/>
                <a:moveTo>
                  <a:pt x="418" y="41"/>
                </a:moveTo>
                <a:cubicBezTo>
                  <a:pt x="418" y="41"/>
                  <a:pt x="418" y="40"/>
                  <a:pt x="418" y="40"/>
                </a:cubicBezTo>
                <a:cubicBezTo>
                  <a:pt x="416" y="39"/>
                  <a:pt x="420" y="40"/>
                  <a:pt x="418" y="41"/>
                </a:cubicBezTo>
                <a:close/>
                <a:moveTo>
                  <a:pt x="415" y="43"/>
                </a:moveTo>
                <a:cubicBezTo>
                  <a:pt x="416" y="44"/>
                  <a:pt x="414" y="44"/>
                  <a:pt x="414" y="44"/>
                </a:cubicBezTo>
                <a:cubicBezTo>
                  <a:pt x="414" y="44"/>
                  <a:pt x="414" y="43"/>
                  <a:pt x="415" y="43"/>
                </a:cubicBezTo>
                <a:close/>
                <a:moveTo>
                  <a:pt x="388" y="45"/>
                </a:moveTo>
                <a:cubicBezTo>
                  <a:pt x="388" y="43"/>
                  <a:pt x="393" y="43"/>
                  <a:pt x="393" y="45"/>
                </a:cubicBezTo>
                <a:cubicBezTo>
                  <a:pt x="393" y="48"/>
                  <a:pt x="388" y="46"/>
                  <a:pt x="388" y="45"/>
                </a:cubicBezTo>
                <a:close/>
                <a:moveTo>
                  <a:pt x="394" y="10"/>
                </a:moveTo>
                <a:cubicBezTo>
                  <a:pt x="394" y="11"/>
                  <a:pt x="393" y="11"/>
                  <a:pt x="392" y="11"/>
                </a:cubicBezTo>
                <a:cubicBezTo>
                  <a:pt x="393" y="10"/>
                  <a:pt x="394" y="10"/>
                  <a:pt x="394" y="10"/>
                </a:cubicBezTo>
                <a:close/>
                <a:moveTo>
                  <a:pt x="389" y="10"/>
                </a:moveTo>
                <a:cubicBezTo>
                  <a:pt x="391" y="9"/>
                  <a:pt x="391" y="12"/>
                  <a:pt x="389" y="10"/>
                </a:cubicBezTo>
                <a:close/>
                <a:moveTo>
                  <a:pt x="387" y="32"/>
                </a:moveTo>
                <a:cubicBezTo>
                  <a:pt x="393" y="30"/>
                  <a:pt x="399" y="30"/>
                  <a:pt x="404" y="30"/>
                </a:cubicBezTo>
                <a:cubicBezTo>
                  <a:pt x="399" y="31"/>
                  <a:pt x="391" y="32"/>
                  <a:pt x="384" y="33"/>
                </a:cubicBezTo>
                <a:cubicBezTo>
                  <a:pt x="379" y="35"/>
                  <a:pt x="386" y="32"/>
                  <a:pt x="387" y="32"/>
                </a:cubicBezTo>
                <a:close/>
                <a:moveTo>
                  <a:pt x="380" y="25"/>
                </a:moveTo>
                <a:cubicBezTo>
                  <a:pt x="381" y="24"/>
                  <a:pt x="382" y="26"/>
                  <a:pt x="380" y="25"/>
                </a:cubicBezTo>
                <a:close/>
                <a:moveTo>
                  <a:pt x="355" y="52"/>
                </a:moveTo>
                <a:cubicBezTo>
                  <a:pt x="355" y="51"/>
                  <a:pt x="357" y="50"/>
                  <a:pt x="357" y="51"/>
                </a:cubicBezTo>
                <a:cubicBezTo>
                  <a:pt x="358" y="53"/>
                  <a:pt x="356" y="52"/>
                  <a:pt x="355" y="52"/>
                </a:cubicBezTo>
                <a:close/>
                <a:moveTo>
                  <a:pt x="375" y="42"/>
                </a:move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lose/>
                <a:moveTo>
                  <a:pt x="371" y="6"/>
                </a:moveTo>
                <a:cubicBezTo>
                  <a:pt x="372" y="5"/>
                  <a:pt x="373" y="7"/>
                  <a:pt x="371" y="6"/>
                </a:cubicBezTo>
                <a:close/>
                <a:moveTo>
                  <a:pt x="367" y="52"/>
                </a:moveTo>
                <a:cubicBezTo>
                  <a:pt x="366" y="53"/>
                  <a:pt x="365" y="53"/>
                  <a:pt x="364" y="53"/>
                </a:cubicBezTo>
                <a:cubicBezTo>
                  <a:pt x="365" y="52"/>
                  <a:pt x="366" y="52"/>
                  <a:pt x="367" y="52"/>
                </a:cubicBezTo>
                <a:close/>
                <a:moveTo>
                  <a:pt x="360" y="41"/>
                </a:moveTo>
                <a:cubicBezTo>
                  <a:pt x="358" y="42"/>
                  <a:pt x="354" y="43"/>
                  <a:pt x="351" y="41"/>
                </a:cubicBezTo>
                <a:cubicBezTo>
                  <a:pt x="351" y="40"/>
                  <a:pt x="360" y="41"/>
                  <a:pt x="360" y="41"/>
                </a:cubicBezTo>
                <a:close/>
                <a:moveTo>
                  <a:pt x="2" y="391"/>
                </a:moveTo>
                <a:cubicBezTo>
                  <a:pt x="2" y="392"/>
                  <a:pt x="2" y="389"/>
                  <a:pt x="2" y="391"/>
                </a:cubicBezTo>
                <a:close/>
                <a:moveTo>
                  <a:pt x="2" y="338"/>
                </a:moveTo>
                <a:cubicBezTo>
                  <a:pt x="1" y="339"/>
                  <a:pt x="1" y="336"/>
                  <a:pt x="2" y="337"/>
                </a:cubicBezTo>
                <a:cubicBezTo>
                  <a:pt x="2" y="337"/>
                  <a:pt x="2" y="337"/>
                  <a:pt x="2" y="338"/>
                </a:cubicBezTo>
                <a:close/>
                <a:moveTo>
                  <a:pt x="6" y="411"/>
                </a:moveTo>
                <a:cubicBezTo>
                  <a:pt x="7" y="410"/>
                  <a:pt x="8" y="410"/>
                  <a:pt x="6" y="411"/>
                </a:cubicBezTo>
                <a:close/>
                <a:moveTo>
                  <a:pt x="7" y="377"/>
                </a:moveTo>
                <a:cubicBezTo>
                  <a:pt x="8" y="377"/>
                  <a:pt x="8" y="378"/>
                  <a:pt x="7" y="379"/>
                </a:cubicBezTo>
                <a:cubicBezTo>
                  <a:pt x="6" y="380"/>
                  <a:pt x="7" y="377"/>
                  <a:pt x="7" y="377"/>
                </a:cubicBezTo>
                <a:close/>
                <a:moveTo>
                  <a:pt x="7" y="415"/>
                </a:moveTo>
                <a:cubicBezTo>
                  <a:pt x="7" y="416"/>
                  <a:pt x="7" y="413"/>
                  <a:pt x="8" y="414"/>
                </a:cubicBezTo>
                <a:cubicBezTo>
                  <a:pt x="9" y="414"/>
                  <a:pt x="8" y="415"/>
                  <a:pt x="7" y="415"/>
                </a:cubicBezTo>
                <a:close/>
                <a:moveTo>
                  <a:pt x="7" y="368"/>
                </a:moveTo>
                <a:cubicBezTo>
                  <a:pt x="6" y="367"/>
                  <a:pt x="7" y="364"/>
                  <a:pt x="8" y="363"/>
                </a:cubicBezTo>
                <a:cubicBezTo>
                  <a:pt x="8" y="365"/>
                  <a:pt x="7" y="366"/>
                  <a:pt x="7" y="368"/>
                </a:cubicBezTo>
                <a:close/>
                <a:moveTo>
                  <a:pt x="13" y="438"/>
                </a:moveTo>
                <a:cubicBezTo>
                  <a:pt x="13" y="438"/>
                  <a:pt x="13" y="439"/>
                  <a:pt x="13" y="439"/>
                </a:cubicBezTo>
                <a:cubicBezTo>
                  <a:pt x="13" y="441"/>
                  <a:pt x="12" y="437"/>
                  <a:pt x="13" y="438"/>
                </a:cubicBezTo>
                <a:close/>
                <a:moveTo>
                  <a:pt x="12" y="423"/>
                </a:moveTo>
                <a:cubicBezTo>
                  <a:pt x="13" y="423"/>
                  <a:pt x="11" y="425"/>
                  <a:pt x="12" y="423"/>
                </a:cubicBezTo>
                <a:close/>
                <a:moveTo>
                  <a:pt x="15" y="295"/>
                </a:moveTo>
                <a:cubicBezTo>
                  <a:pt x="15" y="298"/>
                  <a:pt x="13" y="296"/>
                  <a:pt x="15" y="295"/>
                </a:cubicBezTo>
                <a:close/>
                <a:moveTo>
                  <a:pt x="13" y="368"/>
                </a:moveTo>
                <a:cubicBezTo>
                  <a:pt x="14" y="368"/>
                  <a:pt x="13" y="369"/>
                  <a:pt x="13" y="369"/>
                </a:cubicBezTo>
                <a:cubicBezTo>
                  <a:pt x="12" y="370"/>
                  <a:pt x="12" y="367"/>
                  <a:pt x="13" y="368"/>
                </a:cubicBezTo>
                <a:close/>
                <a:moveTo>
                  <a:pt x="12" y="352"/>
                </a:moveTo>
                <a:cubicBezTo>
                  <a:pt x="11" y="353"/>
                  <a:pt x="11" y="350"/>
                  <a:pt x="12" y="351"/>
                </a:cubicBezTo>
                <a:cubicBezTo>
                  <a:pt x="13" y="351"/>
                  <a:pt x="12" y="352"/>
                  <a:pt x="12" y="352"/>
                </a:cubicBezTo>
                <a:close/>
                <a:moveTo>
                  <a:pt x="10" y="333"/>
                </a:moveTo>
                <a:cubicBezTo>
                  <a:pt x="12" y="332"/>
                  <a:pt x="14" y="337"/>
                  <a:pt x="12" y="338"/>
                </a:cubicBezTo>
                <a:cubicBezTo>
                  <a:pt x="9" y="339"/>
                  <a:pt x="9" y="334"/>
                  <a:pt x="10" y="333"/>
                </a:cubicBezTo>
                <a:close/>
                <a:moveTo>
                  <a:pt x="10" y="355"/>
                </a:moveTo>
                <a:cubicBezTo>
                  <a:pt x="9" y="356"/>
                  <a:pt x="10" y="353"/>
                  <a:pt x="10" y="353"/>
                </a:cubicBezTo>
                <a:cubicBezTo>
                  <a:pt x="11" y="354"/>
                  <a:pt x="10" y="355"/>
                  <a:pt x="10" y="355"/>
                </a:cubicBezTo>
                <a:close/>
                <a:moveTo>
                  <a:pt x="9" y="371"/>
                </a:moveTo>
                <a:cubicBezTo>
                  <a:pt x="8" y="372"/>
                  <a:pt x="8" y="369"/>
                  <a:pt x="9" y="370"/>
                </a:cubicBezTo>
                <a:cubicBezTo>
                  <a:pt x="9" y="370"/>
                  <a:pt x="9" y="371"/>
                  <a:pt x="9" y="371"/>
                </a:cubicBezTo>
                <a:close/>
                <a:moveTo>
                  <a:pt x="9" y="359"/>
                </a:moveTo>
                <a:cubicBezTo>
                  <a:pt x="8" y="359"/>
                  <a:pt x="9" y="357"/>
                  <a:pt x="10" y="357"/>
                </a:cubicBezTo>
                <a:cubicBezTo>
                  <a:pt x="9" y="358"/>
                  <a:pt x="9" y="358"/>
                  <a:pt x="9" y="359"/>
                </a:cubicBezTo>
                <a:close/>
                <a:moveTo>
                  <a:pt x="10" y="438"/>
                </a:moveTo>
                <a:cubicBezTo>
                  <a:pt x="9" y="439"/>
                  <a:pt x="10" y="436"/>
                  <a:pt x="11" y="436"/>
                </a:cubicBezTo>
                <a:cubicBezTo>
                  <a:pt x="12" y="437"/>
                  <a:pt x="11" y="437"/>
                  <a:pt x="10" y="438"/>
                </a:cubicBezTo>
                <a:close/>
                <a:moveTo>
                  <a:pt x="10" y="424"/>
                </a:moveTo>
                <a:cubicBezTo>
                  <a:pt x="9" y="425"/>
                  <a:pt x="10" y="422"/>
                  <a:pt x="11" y="423"/>
                </a:cubicBezTo>
                <a:cubicBezTo>
                  <a:pt x="12" y="424"/>
                  <a:pt x="11" y="424"/>
                  <a:pt x="10" y="424"/>
                </a:cubicBezTo>
                <a:close/>
                <a:moveTo>
                  <a:pt x="11" y="386"/>
                </a:moveTo>
                <a:cubicBezTo>
                  <a:pt x="10" y="386"/>
                  <a:pt x="10" y="387"/>
                  <a:pt x="10" y="385"/>
                </a:cubicBezTo>
                <a:cubicBezTo>
                  <a:pt x="10" y="383"/>
                  <a:pt x="14" y="374"/>
                  <a:pt x="14" y="374"/>
                </a:cubicBezTo>
                <a:cubicBezTo>
                  <a:pt x="16" y="374"/>
                  <a:pt x="13" y="377"/>
                  <a:pt x="13" y="378"/>
                </a:cubicBezTo>
                <a:cubicBezTo>
                  <a:pt x="12" y="381"/>
                  <a:pt x="14" y="385"/>
                  <a:pt x="11" y="386"/>
                </a:cubicBezTo>
                <a:close/>
                <a:moveTo>
                  <a:pt x="14" y="394"/>
                </a:moveTo>
                <a:cubicBezTo>
                  <a:pt x="13" y="396"/>
                  <a:pt x="14" y="393"/>
                  <a:pt x="14" y="393"/>
                </a:cubicBezTo>
                <a:cubicBezTo>
                  <a:pt x="15" y="393"/>
                  <a:pt x="15" y="394"/>
                  <a:pt x="14" y="394"/>
                </a:cubicBezTo>
                <a:close/>
                <a:moveTo>
                  <a:pt x="15" y="388"/>
                </a:moveTo>
                <a:cubicBezTo>
                  <a:pt x="14" y="388"/>
                  <a:pt x="15" y="387"/>
                  <a:pt x="15" y="387"/>
                </a:cubicBezTo>
                <a:cubicBezTo>
                  <a:pt x="15" y="387"/>
                  <a:pt x="15" y="388"/>
                  <a:pt x="15" y="388"/>
                </a:cubicBezTo>
                <a:close/>
                <a:moveTo>
                  <a:pt x="15" y="300"/>
                </a:moveTo>
                <a:cubicBezTo>
                  <a:pt x="16" y="302"/>
                  <a:pt x="14" y="301"/>
                  <a:pt x="15" y="300"/>
                </a:cubicBezTo>
                <a:close/>
                <a:moveTo>
                  <a:pt x="16" y="366"/>
                </a:moveTo>
                <a:cubicBezTo>
                  <a:pt x="15" y="367"/>
                  <a:pt x="17" y="364"/>
                  <a:pt x="16" y="366"/>
                </a:cubicBezTo>
                <a:close/>
                <a:moveTo>
                  <a:pt x="17" y="380"/>
                </a:moveTo>
                <a:cubicBezTo>
                  <a:pt x="16" y="381"/>
                  <a:pt x="16" y="379"/>
                  <a:pt x="17" y="379"/>
                </a:cubicBezTo>
                <a:cubicBezTo>
                  <a:pt x="17" y="378"/>
                  <a:pt x="17" y="380"/>
                  <a:pt x="17" y="380"/>
                </a:cubicBezTo>
                <a:close/>
                <a:moveTo>
                  <a:pt x="27" y="420"/>
                </a:move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lose/>
                <a:moveTo>
                  <a:pt x="23" y="346"/>
                </a:moveTo>
                <a:cubicBezTo>
                  <a:pt x="23" y="346"/>
                  <a:pt x="23" y="347"/>
                  <a:pt x="23" y="347"/>
                </a:cubicBezTo>
                <a:cubicBezTo>
                  <a:pt x="22" y="347"/>
                  <a:pt x="22" y="346"/>
                  <a:pt x="23" y="346"/>
                </a:cubicBezTo>
                <a:close/>
                <a:moveTo>
                  <a:pt x="19" y="405"/>
                </a:moveTo>
                <a:cubicBezTo>
                  <a:pt x="19" y="405"/>
                  <a:pt x="18" y="404"/>
                  <a:pt x="18" y="404"/>
                </a:cubicBezTo>
                <a:cubicBezTo>
                  <a:pt x="18" y="404"/>
                  <a:pt x="20" y="404"/>
                  <a:pt x="19" y="405"/>
                </a:cubicBezTo>
                <a:close/>
                <a:moveTo>
                  <a:pt x="20" y="406"/>
                </a:moveTo>
                <a:cubicBezTo>
                  <a:pt x="19" y="406"/>
                  <a:pt x="20" y="405"/>
                  <a:pt x="20" y="404"/>
                </a:cubicBezTo>
                <a:cubicBezTo>
                  <a:pt x="21" y="404"/>
                  <a:pt x="20" y="405"/>
                  <a:pt x="20" y="406"/>
                </a:cubicBezTo>
                <a:close/>
                <a:moveTo>
                  <a:pt x="20" y="360"/>
                </a:moveTo>
                <a:cubicBezTo>
                  <a:pt x="19" y="359"/>
                  <a:pt x="21" y="359"/>
                  <a:pt x="20" y="360"/>
                </a:cubicBezTo>
                <a:close/>
                <a:moveTo>
                  <a:pt x="22" y="268"/>
                </a:moveTo>
                <a:cubicBezTo>
                  <a:pt x="23" y="268"/>
                  <a:pt x="22" y="270"/>
                  <a:pt x="22" y="271"/>
                </a:cubicBezTo>
                <a:cubicBezTo>
                  <a:pt x="19" y="273"/>
                  <a:pt x="19" y="267"/>
                  <a:pt x="22" y="268"/>
                </a:cubicBezTo>
                <a:close/>
                <a:moveTo>
                  <a:pt x="21" y="397"/>
                </a:moveTo>
                <a:cubicBezTo>
                  <a:pt x="21" y="396"/>
                  <a:pt x="22" y="397"/>
                  <a:pt x="22" y="398"/>
                </a:cubicBezTo>
                <a:cubicBezTo>
                  <a:pt x="21" y="399"/>
                  <a:pt x="20" y="397"/>
                  <a:pt x="21" y="397"/>
                </a:cubicBezTo>
                <a:close/>
                <a:moveTo>
                  <a:pt x="21" y="415"/>
                </a:moveTo>
                <a:cubicBezTo>
                  <a:pt x="22" y="416"/>
                  <a:pt x="21" y="417"/>
                  <a:pt x="21" y="415"/>
                </a:cubicBezTo>
                <a:close/>
                <a:moveTo>
                  <a:pt x="21" y="413"/>
                </a:moveTo>
                <a:cubicBezTo>
                  <a:pt x="21" y="413"/>
                  <a:pt x="23" y="413"/>
                  <a:pt x="23" y="413"/>
                </a:cubicBezTo>
                <a:cubicBezTo>
                  <a:pt x="23" y="414"/>
                  <a:pt x="20" y="414"/>
                  <a:pt x="21" y="413"/>
                </a:cubicBezTo>
                <a:close/>
                <a:moveTo>
                  <a:pt x="24" y="367"/>
                </a:moveTo>
                <a:cubicBezTo>
                  <a:pt x="25" y="368"/>
                  <a:pt x="23" y="369"/>
                  <a:pt x="24" y="367"/>
                </a:cubicBezTo>
                <a:close/>
                <a:moveTo>
                  <a:pt x="24" y="412"/>
                </a:moveTo>
                <a:cubicBezTo>
                  <a:pt x="24" y="413"/>
                  <a:pt x="24" y="410"/>
                  <a:pt x="24" y="412"/>
                </a:cubicBezTo>
                <a:close/>
                <a:moveTo>
                  <a:pt x="25" y="401"/>
                </a:moveTo>
                <a:cubicBezTo>
                  <a:pt x="24" y="402"/>
                  <a:pt x="24" y="400"/>
                  <a:pt x="24" y="399"/>
                </a:cubicBezTo>
                <a:cubicBezTo>
                  <a:pt x="25" y="399"/>
                  <a:pt x="25" y="401"/>
                  <a:pt x="25" y="401"/>
                </a:cubicBezTo>
                <a:close/>
                <a:moveTo>
                  <a:pt x="27" y="397"/>
                </a:moveTo>
                <a:cubicBezTo>
                  <a:pt x="27" y="398"/>
                  <a:pt x="28" y="396"/>
                  <a:pt x="27" y="397"/>
                </a:cubicBezTo>
                <a:close/>
                <a:moveTo>
                  <a:pt x="25" y="343"/>
                </a:moveTo>
                <a:cubicBezTo>
                  <a:pt x="23" y="342"/>
                  <a:pt x="25" y="340"/>
                  <a:pt x="25" y="338"/>
                </a:cubicBezTo>
                <a:cubicBezTo>
                  <a:pt x="25" y="340"/>
                  <a:pt x="26" y="339"/>
                  <a:pt x="27" y="340"/>
                </a:cubicBezTo>
                <a:cubicBezTo>
                  <a:pt x="29" y="342"/>
                  <a:pt x="26" y="345"/>
                  <a:pt x="25" y="343"/>
                </a:cubicBezTo>
                <a:close/>
                <a:moveTo>
                  <a:pt x="31" y="233"/>
                </a:moveTo>
                <a:cubicBezTo>
                  <a:pt x="30" y="234"/>
                  <a:pt x="30" y="231"/>
                  <a:pt x="30" y="231"/>
                </a:cubicBezTo>
                <a:cubicBezTo>
                  <a:pt x="32" y="231"/>
                  <a:pt x="31" y="233"/>
                  <a:pt x="31" y="233"/>
                </a:cubicBezTo>
                <a:close/>
                <a:moveTo>
                  <a:pt x="33" y="290"/>
                </a:moveTo>
                <a:cubicBezTo>
                  <a:pt x="32" y="291"/>
                  <a:pt x="32" y="288"/>
                  <a:pt x="33" y="289"/>
                </a:cubicBezTo>
                <a:cubicBezTo>
                  <a:pt x="34" y="289"/>
                  <a:pt x="33" y="290"/>
                  <a:pt x="33" y="290"/>
                </a:cubicBezTo>
                <a:close/>
                <a:moveTo>
                  <a:pt x="34" y="385"/>
                </a:moveTo>
                <a:cubicBezTo>
                  <a:pt x="33" y="386"/>
                  <a:pt x="34" y="383"/>
                  <a:pt x="35" y="383"/>
                </a:cubicBezTo>
                <a:cubicBezTo>
                  <a:pt x="35" y="384"/>
                  <a:pt x="34" y="385"/>
                  <a:pt x="34" y="385"/>
                </a:cubicBezTo>
                <a:close/>
                <a:moveTo>
                  <a:pt x="36" y="305"/>
                </a:moveTo>
                <a:cubicBezTo>
                  <a:pt x="35" y="307"/>
                  <a:pt x="37" y="303"/>
                  <a:pt x="36" y="305"/>
                </a:cubicBezTo>
                <a:close/>
                <a:moveTo>
                  <a:pt x="37" y="344"/>
                </a:moveTo>
                <a:cubicBezTo>
                  <a:pt x="37" y="344"/>
                  <a:pt x="38" y="344"/>
                  <a:pt x="38" y="344"/>
                </a:cubicBezTo>
                <a:cubicBezTo>
                  <a:pt x="38" y="345"/>
                  <a:pt x="37" y="345"/>
                  <a:pt x="37" y="344"/>
                </a:cubicBezTo>
                <a:close/>
                <a:moveTo>
                  <a:pt x="29" y="469"/>
                </a:moveTo>
                <a:cubicBezTo>
                  <a:pt x="25" y="471"/>
                  <a:pt x="25" y="463"/>
                  <a:pt x="29" y="464"/>
                </a:cubicBezTo>
                <a:cubicBezTo>
                  <a:pt x="31" y="464"/>
                  <a:pt x="31" y="468"/>
                  <a:pt x="29" y="469"/>
                </a:cubicBezTo>
                <a:close/>
                <a:moveTo>
                  <a:pt x="34" y="484"/>
                </a:moveTo>
                <a:cubicBezTo>
                  <a:pt x="34" y="485"/>
                  <a:pt x="34" y="485"/>
                  <a:pt x="33" y="485"/>
                </a:cubicBezTo>
                <a:cubicBezTo>
                  <a:pt x="32" y="486"/>
                  <a:pt x="33" y="483"/>
                  <a:pt x="34" y="484"/>
                </a:cubicBezTo>
                <a:close/>
                <a:moveTo>
                  <a:pt x="36" y="466"/>
                </a:moveTo>
                <a:cubicBezTo>
                  <a:pt x="34" y="467"/>
                  <a:pt x="34" y="464"/>
                  <a:pt x="35" y="463"/>
                </a:cubicBezTo>
                <a:cubicBezTo>
                  <a:pt x="36" y="463"/>
                  <a:pt x="37" y="465"/>
                  <a:pt x="36" y="466"/>
                </a:cubicBezTo>
                <a:close/>
                <a:moveTo>
                  <a:pt x="38" y="455"/>
                </a:moveTo>
                <a:cubicBezTo>
                  <a:pt x="38" y="455"/>
                  <a:pt x="38" y="456"/>
                  <a:pt x="38" y="456"/>
                </a:cubicBezTo>
                <a:cubicBezTo>
                  <a:pt x="37" y="458"/>
                  <a:pt x="36" y="454"/>
                  <a:pt x="38" y="455"/>
                </a:cubicBezTo>
                <a:close/>
                <a:moveTo>
                  <a:pt x="38" y="461"/>
                </a:moveTo>
                <a:cubicBezTo>
                  <a:pt x="36" y="462"/>
                  <a:pt x="38" y="459"/>
                  <a:pt x="39" y="459"/>
                </a:cubicBezTo>
                <a:cubicBezTo>
                  <a:pt x="39" y="460"/>
                  <a:pt x="38" y="461"/>
                  <a:pt x="38" y="461"/>
                </a:cubicBezTo>
                <a:close/>
                <a:moveTo>
                  <a:pt x="66" y="337"/>
                </a:moveTo>
                <a:cubicBezTo>
                  <a:pt x="66" y="337"/>
                  <a:pt x="66" y="338"/>
                  <a:pt x="66" y="338"/>
                </a:cubicBezTo>
                <a:cubicBezTo>
                  <a:pt x="65" y="339"/>
                  <a:pt x="65" y="336"/>
                  <a:pt x="66" y="337"/>
                </a:cubicBezTo>
                <a:close/>
                <a:moveTo>
                  <a:pt x="66" y="380"/>
                </a:moveTo>
                <a:cubicBezTo>
                  <a:pt x="67" y="380"/>
                  <a:pt x="67" y="382"/>
                  <a:pt x="66" y="382"/>
                </a:cubicBezTo>
                <a:cubicBezTo>
                  <a:pt x="65" y="384"/>
                  <a:pt x="65" y="379"/>
                  <a:pt x="66" y="380"/>
                </a:cubicBezTo>
                <a:close/>
                <a:moveTo>
                  <a:pt x="63" y="330"/>
                </a:moveTo>
                <a:cubicBezTo>
                  <a:pt x="62" y="331"/>
                  <a:pt x="64" y="329"/>
                  <a:pt x="63" y="330"/>
                </a:cubicBezTo>
                <a:close/>
                <a:moveTo>
                  <a:pt x="64" y="346"/>
                </a:moveTo>
                <a:cubicBezTo>
                  <a:pt x="66" y="346"/>
                  <a:pt x="65" y="351"/>
                  <a:pt x="62" y="351"/>
                </a:cubicBezTo>
                <a:cubicBezTo>
                  <a:pt x="62" y="351"/>
                  <a:pt x="62" y="345"/>
                  <a:pt x="64" y="346"/>
                </a:cubicBezTo>
                <a:close/>
                <a:moveTo>
                  <a:pt x="64" y="393"/>
                </a:moveTo>
                <a:cubicBezTo>
                  <a:pt x="64" y="392"/>
                  <a:pt x="65" y="394"/>
                  <a:pt x="64" y="393"/>
                </a:cubicBezTo>
                <a:close/>
                <a:moveTo>
                  <a:pt x="61" y="364"/>
                </a:moveTo>
                <a:cubicBezTo>
                  <a:pt x="61" y="362"/>
                  <a:pt x="62" y="363"/>
                  <a:pt x="61" y="364"/>
                </a:cubicBezTo>
                <a:close/>
                <a:moveTo>
                  <a:pt x="61" y="403"/>
                </a:moveTo>
                <a:cubicBezTo>
                  <a:pt x="61" y="403"/>
                  <a:pt x="61" y="403"/>
                  <a:pt x="62" y="403"/>
                </a:cubicBezTo>
                <a:cubicBezTo>
                  <a:pt x="63" y="402"/>
                  <a:pt x="61" y="403"/>
                  <a:pt x="61" y="403"/>
                </a:cubicBezTo>
                <a:close/>
                <a:moveTo>
                  <a:pt x="61" y="365"/>
                </a:moveTo>
                <a:cubicBezTo>
                  <a:pt x="61" y="366"/>
                  <a:pt x="59" y="365"/>
                  <a:pt x="61" y="365"/>
                </a:cubicBezTo>
                <a:close/>
                <a:moveTo>
                  <a:pt x="58" y="357"/>
                </a:moveTo>
                <a:cubicBezTo>
                  <a:pt x="59" y="357"/>
                  <a:pt x="58" y="359"/>
                  <a:pt x="58" y="359"/>
                </a:cubicBezTo>
                <a:cubicBezTo>
                  <a:pt x="56" y="361"/>
                  <a:pt x="55" y="356"/>
                  <a:pt x="58" y="357"/>
                </a:cubicBezTo>
                <a:close/>
                <a:moveTo>
                  <a:pt x="56" y="405"/>
                </a:moveTo>
                <a:cubicBezTo>
                  <a:pt x="56" y="405"/>
                  <a:pt x="56" y="406"/>
                  <a:pt x="56" y="406"/>
                </a:cubicBezTo>
                <a:cubicBezTo>
                  <a:pt x="55" y="407"/>
                  <a:pt x="55" y="405"/>
                  <a:pt x="56" y="405"/>
                </a:cubicBezTo>
                <a:close/>
                <a:moveTo>
                  <a:pt x="54" y="374"/>
                </a:moveTo>
                <a:cubicBezTo>
                  <a:pt x="55" y="374"/>
                  <a:pt x="55" y="375"/>
                  <a:pt x="54" y="375"/>
                </a:cubicBezTo>
                <a:cubicBezTo>
                  <a:pt x="53" y="376"/>
                  <a:pt x="53" y="374"/>
                  <a:pt x="54" y="374"/>
                </a:cubicBezTo>
                <a:close/>
                <a:moveTo>
                  <a:pt x="49" y="398"/>
                </a:moveTo>
                <a:cubicBezTo>
                  <a:pt x="51" y="396"/>
                  <a:pt x="52" y="393"/>
                  <a:pt x="54" y="390"/>
                </a:cubicBezTo>
                <a:cubicBezTo>
                  <a:pt x="53" y="393"/>
                  <a:pt x="51" y="396"/>
                  <a:pt x="49" y="398"/>
                </a:cubicBezTo>
                <a:close/>
                <a:moveTo>
                  <a:pt x="51" y="408"/>
                </a:moveTo>
                <a:cubicBezTo>
                  <a:pt x="50" y="407"/>
                  <a:pt x="52" y="406"/>
                  <a:pt x="52" y="407"/>
                </a:cubicBezTo>
                <a:cubicBezTo>
                  <a:pt x="54" y="408"/>
                  <a:pt x="52" y="410"/>
                  <a:pt x="51" y="408"/>
                </a:cubicBezTo>
                <a:close/>
                <a:moveTo>
                  <a:pt x="46" y="404"/>
                </a:moveTo>
                <a:cubicBezTo>
                  <a:pt x="46" y="404"/>
                  <a:pt x="47" y="400"/>
                  <a:pt x="48" y="399"/>
                </a:cubicBezTo>
                <a:cubicBezTo>
                  <a:pt x="48" y="400"/>
                  <a:pt x="47" y="404"/>
                  <a:pt x="46" y="404"/>
                </a:cubicBezTo>
                <a:close/>
                <a:moveTo>
                  <a:pt x="47" y="409"/>
                </a:moveTo>
                <a:cubicBezTo>
                  <a:pt x="48" y="408"/>
                  <a:pt x="47" y="410"/>
                  <a:pt x="47" y="409"/>
                </a:cubicBezTo>
                <a:close/>
                <a:moveTo>
                  <a:pt x="48" y="392"/>
                </a:moveTo>
                <a:cubicBezTo>
                  <a:pt x="46" y="393"/>
                  <a:pt x="46" y="388"/>
                  <a:pt x="49" y="389"/>
                </a:cubicBezTo>
                <a:cubicBezTo>
                  <a:pt x="50" y="389"/>
                  <a:pt x="49" y="392"/>
                  <a:pt x="48" y="392"/>
                </a:cubicBezTo>
                <a:close/>
                <a:moveTo>
                  <a:pt x="53" y="323"/>
                </a:moveTo>
                <a:cubicBezTo>
                  <a:pt x="54" y="323"/>
                  <a:pt x="54" y="325"/>
                  <a:pt x="53" y="325"/>
                </a:cubicBezTo>
                <a:cubicBezTo>
                  <a:pt x="52" y="326"/>
                  <a:pt x="52" y="323"/>
                  <a:pt x="53" y="323"/>
                </a:cubicBezTo>
                <a:close/>
                <a:moveTo>
                  <a:pt x="50" y="354"/>
                </a:moveTo>
                <a:cubicBezTo>
                  <a:pt x="53" y="355"/>
                  <a:pt x="51" y="360"/>
                  <a:pt x="50" y="360"/>
                </a:cubicBezTo>
                <a:cubicBezTo>
                  <a:pt x="45" y="362"/>
                  <a:pt x="47" y="352"/>
                  <a:pt x="50" y="354"/>
                </a:cubicBezTo>
                <a:close/>
                <a:moveTo>
                  <a:pt x="47" y="328"/>
                </a:moveTo>
                <a:cubicBezTo>
                  <a:pt x="47" y="328"/>
                  <a:pt x="48" y="328"/>
                  <a:pt x="48" y="327"/>
                </a:cubicBezTo>
                <a:cubicBezTo>
                  <a:pt x="49" y="327"/>
                  <a:pt x="49" y="328"/>
                  <a:pt x="47" y="328"/>
                </a:cubicBezTo>
                <a:close/>
                <a:moveTo>
                  <a:pt x="48" y="267"/>
                </a:moveTo>
                <a:cubicBezTo>
                  <a:pt x="47" y="267"/>
                  <a:pt x="47" y="267"/>
                  <a:pt x="47" y="266"/>
                </a:cubicBezTo>
                <a:cubicBezTo>
                  <a:pt x="47" y="266"/>
                  <a:pt x="49" y="266"/>
                  <a:pt x="48" y="267"/>
                </a:cubicBezTo>
                <a:close/>
                <a:moveTo>
                  <a:pt x="46" y="377"/>
                </a:moveTo>
                <a:cubicBezTo>
                  <a:pt x="45" y="378"/>
                  <a:pt x="45" y="376"/>
                  <a:pt x="46" y="376"/>
                </a:cubicBezTo>
                <a:cubicBezTo>
                  <a:pt x="47" y="376"/>
                  <a:pt x="46" y="377"/>
                  <a:pt x="46" y="377"/>
                </a:cubicBezTo>
                <a:close/>
                <a:moveTo>
                  <a:pt x="45" y="192"/>
                </a:moveTo>
                <a:cubicBezTo>
                  <a:pt x="46" y="192"/>
                  <a:pt x="46" y="193"/>
                  <a:pt x="46" y="193"/>
                </a:cubicBezTo>
                <a:cubicBezTo>
                  <a:pt x="44" y="195"/>
                  <a:pt x="44" y="191"/>
                  <a:pt x="45" y="192"/>
                </a:cubicBezTo>
                <a:close/>
                <a:moveTo>
                  <a:pt x="45" y="207"/>
                </a:moveTo>
                <a:cubicBezTo>
                  <a:pt x="46" y="207"/>
                  <a:pt x="45" y="208"/>
                  <a:pt x="45" y="209"/>
                </a:cubicBezTo>
                <a:cubicBezTo>
                  <a:pt x="44" y="210"/>
                  <a:pt x="44" y="207"/>
                  <a:pt x="45" y="207"/>
                </a:cubicBezTo>
                <a:close/>
                <a:moveTo>
                  <a:pt x="44" y="360"/>
                </a:moveTo>
                <a:cubicBezTo>
                  <a:pt x="45" y="361"/>
                  <a:pt x="44" y="363"/>
                  <a:pt x="44" y="363"/>
                </a:cubicBezTo>
                <a:cubicBezTo>
                  <a:pt x="42" y="364"/>
                  <a:pt x="43" y="360"/>
                  <a:pt x="44" y="360"/>
                </a:cubicBezTo>
                <a:close/>
                <a:moveTo>
                  <a:pt x="43" y="227"/>
                </a:moveTo>
                <a:cubicBezTo>
                  <a:pt x="43" y="227"/>
                  <a:pt x="43" y="228"/>
                  <a:pt x="43" y="228"/>
                </a:cubicBezTo>
                <a:cubicBezTo>
                  <a:pt x="42" y="229"/>
                  <a:pt x="43" y="226"/>
                  <a:pt x="43" y="227"/>
                </a:cubicBezTo>
                <a:close/>
                <a:moveTo>
                  <a:pt x="40" y="322"/>
                </a:moveTo>
                <a:cubicBezTo>
                  <a:pt x="41" y="320"/>
                  <a:pt x="39" y="322"/>
                  <a:pt x="40" y="322"/>
                </a:cubicBezTo>
                <a:close/>
                <a:moveTo>
                  <a:pt x="36" y="429"/>
                </a:moveTo>
                <a:cubicBezTo>
                  <a:pt x="35" y="431"/>
                  <a:pt x="35" y="428"/>
                  <a:pt x="36" y="428"/>
                </a:cubicBezTo>
                <a:cubicBezTo>
                  <a:pt x="36" y="429"/>
                  <a:pt x="36" y="429"/>
                  <a:pt x="36" y="429"/>
                </a:cubicBezTo>
                <a:close/>
                <a:moveTo>
                  <a:pt x="35" y="428"/>
                </a:moveTo>
                <a:cubicBezTo>
                  <a:pt x="34" y="427"/>
                  <a:pt x="36" y="425"/>
                  <a:pt x="36" y="426"/>
                </a:cubicBezTo>
                <a:cubicBezTo>
                  <a:pt x="37" y="428"/>
                  <a:pt x="35" y="429"/>
                  <a:pt x="35" y="428"/>
                </a:cubicBezTo>
                <a:close/>
                <a:moveTo>
                  <a:pt x="38" y="424"/>
                </a:moveTo>
                <a:cubicBezTo>
                  <a:pt x="35" y="427"/>
                  <a:pt x="33" y="418"/>
                  <a:pt x="37" y="417"/>
                </a:cubicBezTo>
                <a:cubicBezTo>
                  <a:pt x="35" y="420"/>
                  <a:pt x="39" y="419"/>
                  <a:pt x="39" y="420"/>
                </a:cubicBezTo>
                <a:cubicBezTo>
                  <a:pt x="39" y="421"/>
                  <a:pt x="39" y="423"/>
                  <a:pt x="38" y="424"/>
                </a:cubicBezTo>
                <a:close/>
                <a:moveTo>
                  <a:pt x="40" y="358"/>
                </a:moveTo>
                <a:cubicBezTo>
                  <a:pt x="38" y="358"/>
                  <a:pt x="41" y="356"/>
                  <a:pt x="40" y="357"/>
                </a:cubicBezTo>
                <a:cubicBezTo>
                  <a:pt x="40" y="357"/>
                  <a:pt x="40" y="358"/>
                  <a:pt x="40" y="358"/>
                </a:cubicBezTo>
                <a:close/>
                <a:moveTo>
                  <a:pt x="41" y="431"/>
                </a:moveTo>
                <a:cubicBezTo>
                  <a:pt x="42" y="430"/>
                  <a:pt x="43" y="432"/>
                  <a:pt x="41" y="431"/>
                </a:cubicBezTo>
                <a:close/>
                <a:moveTo>
                  <a:pt x="42" y="382"/>
                </a:moveTo>
                <a:cubicBezTo>
                  <a:pt x="42" y="380"/>
                  <a:pt x="43" y="381"/>
                  <a:pt x="44" y="380"/>
                </a:cubicBezTo>
                <a:cubicBezTo>
                  <a:pt x="44" y="379"/>
                  <a:pt x="44" y="378"/>
                  <a:pt x="46" y="378"/>
                </a:cubicBezTo>
                <a:cubicBezTo>
                  <a:pt x="50" y="378"/>
                  <a:pt x="48" y="384"/>
                  <a:pt x="45" y="385"/>
                </a:cubicBezTo>
                <a:cubicBezTo>
                  <a:pt x="43" y="385"/>
                  <a:pt x="41" y="385"/>
                  <a:pt x="42" y="382"/>
                </a:cubicBezTo>
                <a:close/>
                <a:moveTo>
                  <a:pt x="44" y="391"/>
                </a:moveTo>
                <a:cubicBezTo>
                  <a:pt x="43" y="392"/>
                  <a:pt x="45" y="389"/>
                  <a:pt x="44" y="391"/>
                </a:cubicBezTo>
                <a:close/>
                <a:moveTo>
                  <a:pt x="42" y="449"/>
                </a:moveTo>
                <a:cubicBezTo>
                  <a:pt x="42" y="450"/>
                  <a:pt x="43" y="447"/>
                  <a:pt x="42" y="449"/>
                </a:cubicBezTo>
                <a:close/>
                <a:moveTo>
                  <a:pt x="44" y="465"/>
                </a:moveTo>
                <a:cubicBezTo>
                  <a:pt x="45" y="464"/>
                  <a:pt x="43" y="466"/>
                  <a:pt x="44" y="465"/>
                </a:cubicBezTo>
                <a:close/>
                <a:moveTo>
                  <a:pt x="45" y="462"/>
                </a:moveTo>
                <a:cubicBezTo>
                  <a:pt x="45" y="462"/>
                  <a:pt x="45" y="462"/>
                  <a:pt x="46" y="462"/>
                </a:cubicBezTo>
                <a:cubicBezTo>
                  <a:pt x="46" y="462"/>
                  <a:pt x="46" y="462"/>
                  <a:pt x="46" y="462"/>
                </a:cubicBezTo>
                <a:cubicBezTo>
                  <a:pt x="46" y="462"/>
                  <a:pt x="45" y="462"/>
                  <a:pt x="45" y="462"/>
                </a:cubicBezTo>
                <a:close/>
                <a:moveTo>
                  <a:pt x="43" y="445"/>
                </a:moveTo>
                <a:cubicBezTo>
                  <a:pt x="43" y="443"/>
                  <a:pt x="45" y="441"/>
                  <a:pt x="47" y="439"/>
                </a:cubicBezTo>
                <a:cubicBezTo>
                  <a:pt x="47" y="442"/>
                  <a:pt x="44" y="443"/>
                  <a:pt x="43" y="445"/>
                </a:cubicBezTo>
                <a:close/>
                <a:moveTo>
                  <a:pt x="46" y="434"/>
                </a:moveTo>
                <a:cubicBezTo>
                  <a:pt x="46" y="434"/>
                  <a:pt x="47" y="433"/>
                  <a:pt x="46" y="434"/>
                </a:cubicBezTo>
                <a:cubicBezTo>
                  <a:pt x="46" y="434"/>
                  <a:pt x="46" y="434"/>
                  <a:pt x="46" y="434"/>
                </a:cubicBezTo>
                <a:close/>
                <a:moveTo>
                  <a:pt x="47" y="432"/>
                </a:moveTo>
                <a:cubicBezTo>
                  <a:pt x="48" y="430"/>
                  <a:pt x="50" y="431"/>
                  <a:pt x="47" y="432"/>
                </a:cubicBezTo>
                <a:close/>
                <a:moveTo>
                  <a:pt x="50" y="418"/>
                </a:moveTo>
                <a:cubicBezTo>
                  <a:pt x="50" y="419"/>
                  <a:pt x="52" y="419"/>
                  <a:pt x="51" y="420"/>
                </a:cubicBezTo>
                <a:cubicBezTo>
                  <a:pt x="52" y="419"/>
                  <a:pt x="48" y="420"/>
                  <a:pt x="49" y="421"/>
                </a:cubicBezTo>
                <a:cubicBezTo>
                  <a:pt x="48" y="420"/>
                  <a:pt x="48" y="419"/>
                  <a:pt x="49" y="418"/>
                </a:cubicBezTo>
                <a:cubicBezTo>
                  <a:pt x="47" y="418"/>
                  <a:pt x="45" y="417"/>
                  <a:pt x="45" y="416"/>
                </a:cubicBezTo>
                <a:cubicBezTo>
                  <a:pt x="44" y="413"/>
                  <a:pt x="47" y="411"/>
                  <a:pt x="49" y="410"/>
                </a:cubicBezTo>
                <a:cubicBezTo>
                  <a:pt x="49" y="410"/>
                  <a:pt x="49" y="409"/>
                  <a:pt x="49" y="409"/>
                </a:cubicBezTo>
                <a:cubicBezTo>
                  <a:pt x="50" y="409"/>
                  <a:pt x="51" y="411"/>
                  <a:pt x="51" y="411"/>
                </a:cubicBezTo>
                <a:cubicBezTo>
                  <a:pt x="53" y="412"/>
                  <a:pt x="52" y="407"/>
                  <a:pt x="54" y="407"/>
                </a:cubicBezTo>
                <a:cubicBezTo>
                  <a:pt x="56" y="408"/>
                  <a:pt x="54" y="410"/>
                  <a:pt x="54" y="411"/>
                </a:cubicBezTo>
                <a:cubicBezTo>
                  <a:pt x="54" y="413"/>
                  <a:pt x="55" y="413"/>
                  <a:pt x="53" y="414"/>
                </a:cubicBezTo>
                <a:cubicBezTo>
                  <a:pt x="52" y="415"/>
                  <a:pt x="51" y="418"/>
                  <a:pt x="50" y="418"/>
                </a:cubicBezTo>
                <a:close/>
                <a:moveTo>
                  <a:pt x="58" y="443"/>
                </a:moveTo>
                <a:cubicBezTo>
                  <a:pt x="57" y="444"/>
                  <a:pt x="57" y="442"/>
                  <a:pt x="58" y="441"/>
                </a:cubicBezTo>
                <a:cubicBezTo>
                  <a:pt x="59" y="441"/>
                  <a:pt x="58" y="442"/>
                  <a:pt x="58" y="443"/>
                </a:cubicBezTo>
                <a:close/>
                <a:moveTo>
                  <a:pt x="59" y="440"/>
                </a:moveTo>
                <a:cubicBezTo>
                  <a:pt x="57" y="441"/>
                  <a:pt x="59" y="437"/>
                  <a:pt x="60" y="439"/>
                </a:cubicBezTo>
                <a:cubicBezTo>
                  <a:pt x="60" y="439"/>
                  <a:pt x="59" y="440"/>
                  <a:pt x="59" y="440"/>
                </a:cubicBezTo>
                <a:close/>
                <a:moveTo>
                  <a:pt x="63" y="454"/>
                </a:moveTo>
                <a:cubicBezTo>
                  <a:pt x="64" y="455"/>
                  <a:pt x="62" y="456"/>
                  <a:pt x="63" y="454"/>
                </a:cubicBezTo>
                <a:close/>
                <a:moveTo>
                  <a:pt x="60" y="436"/>
                </a:moveTo>
                <a:cubicBezTo>
                  <a:pt x="60" y="435"/>
                  <a:pt x="64" y="434"/>
                  <a:pt x="64" y="437"/>
                </a:cubicBezTo>
                <a:cubicBezTo>
                  <a:pt x="64" y="439"/>
                  <a:pt x="58" y="440"/>
                  <a:pt x="60" y="436"/>
                </a:cubicBezTo>
                <a:close/>
                <a:moveTo>
                  <a:pt x="63" y="432"/>
                </a:moveTo>
                <a:cubicBezTo>
                  <a:pt x="62" y="431"/>
                  <a:pt x="64" y="430"/>
                  <a:pt x="63" y="432"/>
                </a:cubicBezTo>
                <a:close/>
                <a:moveTo>
                  <a:pt x="64" y="427"/>
                </a:moveTo>
                <a:cubicBezTo>
                  <a:pt x="64" y="427"/>
                  <a:pt x="64" y="428"/>
                  <a:pt x="64" y="428"/>
                </a:cubicBezTo>
                <a:cubicBezTo>
                  <a:pt x="63" y="429"/>
                  <a:pt x="63" y="426"/>
                  <a:pt x="64" y="427"/>
                </a:cubicBezTo>
                <a:close/>
                <a:moveTo>
                  <a:pt x="64" y="419"/>
                </a:moveTo>
                <a:cubicBezTo>
                  <a:pt x="62" y="420"/>
                  <a:pt x="59" y="423"/>
                  <a:pt x="58" y="424"/>
                </a:cubicBezTo>
                <a:cubicBezTo>
                  <a:pt x="57" y="426"/>
                  <a:pt x="56" y="428"/>
                  <a:pt x="54" y="429"/>
                </a:cubicBezTo>
                <a:cubicBezTo>
                  <a:pt x="57" y="423"/>
                  <a:pt x="63" y="418"/>
                  <a:pt x="66" y="413"/>
                </a:cubicBezTo>
                <a:cubicBezTo>
                  <a:pt x="69" y="409"/>
                  <a:pt x="65" y="417"/>
                  <a:pt x="64" y="419"/>
                </a:cubicBezTo>
                <a:close/>
                <a:moveTo>
                  <a:pt x="66" y="423"/>
                </a:moveTo>
                <a:cubicBezTo>
                  <a:pt x="66" y="423"/>
                  <a:pt x="65" y="423"/>
                  <a:pt x="65" y="423"/>
                </a:cubicBezTo>
                <a:cubicBezTo>
                  <a:pt x="64" y="423"/>
                  <a:pt x="66" y="422"/>
                  <a:pt x="66" y="423"/>
                </a:cubicBezTo>
                <a:close/>
                <a:moveTo>
                  <a:pt x="67" y="443"/>
                </a:moveTo>
                <a:cubicBezTo>
                  <a:pt x="67" y="443"/>
                  <a:pt x="67" y="443"/>
                  <a:pt x="67" y="443"/>
                </a:cubicBezTo>
                <a:cubicBezTo>
                  <a:pt x="67" y="441"/>
                  <a:pt x="69" y="445"/>
                  <a:pt x="67" y="443"/>
                </a:cubicBezTo>
                <a:close/>
                <a:moveTo>
                  <a:pt x="67" y="430"/>
                </a:moveTo>
                <a:cubicBezTo>
                  <a:pt x="67" y="431"/>
                  <a:pt x="66" y="432"/>
                  <a:pt x="66" y="431"/>
                </a:cubicBezTo>
                <a:cubicBezTo>
                  <a:pt x="62" y="428"/>
                  <a:pt x="71" y="428"/>
                  <a:pt x="67" y="430"/>
                </a:cubicBezTo>
                <a:close/>
                <a:moveTo>
                  <a:pt x="68" y="358"/>
                </a:moveTo>
                <a:cubicBezTo>
                  <a:pt x="65" y="360"/>
                  <a:pt x="65" y="354"/>
                  <a:pt x="67" y="355"/>
                </a:cubicBezTo>
                <a:cubicBezTo>
                  <a:pt x="69" y="355"/>
                  <a:pt x="68" y="357"/>
                  <a:pt x="68" y="358"/>
                </a:cubicBezTo>
                <a:close/>
                <a:moveTo>
                  <a:pt x="80" y="396"/>
                </a:moveTo>
                <a:cubicBezTo>
                  <a:pt x="79" y="397"/>
                  <a:pt x="80" y="395"/>
                  <a:pt x="80" y="396"/>
                </a:cubicBezTo>
                <a:close/>
                <a:moveTo>
                  <a:pt x="76" y="428"/>
                </a:moveTo>
                <a:cubicBezTo>
                  <a:pt x="76" y="428"/>
                  <a:pt x="76" y="428"/>
                  <a:pt x="76" y="428"/>
                </a:cubicBezTo>
                <a:cubicBezTo>
                  <a:pt x="77" y="427"/>
                  <a:pt x="76" y="428"/>
                  <a:pt x="76" y="428"/>
                </a:cubicBezTo>
                <a:close/>
                <a:moveTo>
                  <a:pt x="76" y="353"/>
                </a:moveTo>
                <a:cubicBezTo>
                  <a:pt x="76" y="355"/>
                  <a:pt x="75" y="355"/>
                  <a:pt x="75" y="356"/>
                </a:cubicBezTo>
                <a:cubicBezTo>
                  <a:pt x="74" y="355"/>
                  <a:pt x="76" y="354"/>
                  <a:pt x="76" y="353"/>
                </a:cubicBezTo>
                <a:close/>
                <a:moveTo>
                  <a:pt x="75" y="387"/>
                </a:moveTo>
                <a:cubicBezTo>
                  <a:pt x="74" y="387"/>
                  <a:pt x="77" y="386"/>
                  <a:pt x="75" y="387"/>
                </a:cubicBezTo>
                <a:close/>
                <a:moveTo>
                  <a:pt x="73" y="290"/>
                </a:moveTo>
                <a:cubicBezTo>
                  <a:pt x="73" y="291"/>
                  <a:pt x="73" y="292"/>
                  <a:pt x="72" y="293"/>
                </a:cubicBezTo>
                <a:cubicBezTo>
                  <a:pt x="72" y="292"/>
                  <a:pt x="73" y="290"/>
                  <a:pt x="73" y="290"/>
                </a:cubicBezTo>
                <a:close/>
                <a:moveTo>
                  <a:pt x="69" y="327"/>
                </a:moveTo>
                <a:cubicBezTo>
                  <a:pt x="69" y="326"/>
                  <a:pt x="71" y="325"/>
                  <a:pt x="72" y="324"/>
                </a:cubicBezTo>
                <a:cubicBezTo>
                  <a:pt x="72" y="326"/>
                  <a:pt x="70" y="326"/>
                  <a:pt x="69" y="327"/>
                </a:cubicBezTo>
                <a:close/>
                <a:moveTo>
                  <a:pt x="72" y="428"/>
                </a:moveTo>
                <a:cubicBezTo>
                  <a:pt x="70" y="430"/>
                  <a:pt x="71" y="426"/>
                  <a:pt x="72" y="427"/>
                </a:cubicBezTo>
                <a:cubicBezTo>
                  <a:pt x="73" y="427"/>
                  <a:pt x="73" y="428"/>
                  <a:pt x="72" y="428"/>
                </a:cubicBezTo>
                <a:close/>
                <a:moveTo>
                  <a:pt x="72" y="367"/>
                </a:moveTo>
                <a:cubicBezTo>
                  <a:pt x="72" y="367"/>
                  <a:pt x="72" y="368"/>
                  <a:pt x="72" y="368"/>
                </a:cubicBezTo>
                <a:cubicBezTo>
                  <a:pt x="71" y="369"/>
                  <a:pt x="71" y="366"/>
                  <a:pt x="72" y="367"/>
                </a:cubicBezTo>
                <a:close/>
                <a:moveTo>
                  <a:pt x="73" y="356"/>
                </a:moveTo>
                <a:cubicBezTo>
                  <a:pt x="70" y="358"/>
                  <a:pt x="71" y="351"/>
                  <a:pt x="73" y="352"/>
                </a:cubicBezTo>
                <a:cubicBezTo>
                  <a:pt x="75" y="353"/>
                  <a:pt x="73" y="356"/>
                  <a:pt x="73" y="356"/>
                </a:cubicBezTo>
                <a:close/>
                <a:moveTo>
                  <a:pt x="75" y="401"/>
                </a:moveTo>
                <a:cubicBezTo>
                  <a:pt x="73" y="402"/>
                  <a:pt x="73" y="397"/>
                  <a:pt x="75" y="398"/>
                </a:cubicBezTo>
                <a:cubicBezTo>
                  <a:pt x="76" y="399"/>
                  <a:pt x="76" y="400"/>
                  <a:pt x="75" y="401"/>
                </a:cubicBezTo>
                <a:close/>
                <a:moveTo>
                  <a:pt x="76" y="434"/>
                </a:moveTo>
                <a:cubicBezTo>
                  <a:pt x="77" y="432"/>
                  <a:pt x="79" y="430"/>
                  <a:pt x="80" y="429"/>
                </a:cubicBezTo>
                <a:cubicBezTo>
                  <a:pt x="79" y="431"/>
                  <a:pt x="78" y="432"/>
                  <a:pt x="76" y="434"/>
                </a:cubicBezTo>
                <a:close/>
                <a:moveTo>
                  <a:pt x="81" y="418"/>
                </a:moveTo>
                <a:cubicBezTo>
                  <a:pt x="80" y="418"/>
                  <a:pt x="82" y="417"/>
                  <a:pt x="81" y="418"/>
                </a:cubicBezTo>
                <a:close/>
                <a:moveTo>
                  <a:pt x="81" y="339"/>
                </a:moveTo>
                <a:cubicBezTo>
                  <a:pt x="80" y="339"/>
                  <a:pt x="81" y="337"/>
                  <a:pt x="82" y="337"/>
                </a:cubicBezTo>
                <a:cubicBezTo>
                  <a:pt x="82" y="338"/>
                  <a:pt x="81" y="338"/>
                  <a:pt x="81" y="339"/>
                </a:cubicBezTo>
                <a:close/>
                <a:moveTo>
                  <a:pt x="87" y="450"/>
                </a:moveTo>
                <a:cubicBezTo>
                  <a:pt x="87" y="450"/>
                  <a:pt x="88" y="449"/>
                  <a:pt x="89" y="449"/>
                </a:cubicBezTo>
                <a:cubicBezTo>
                  <a:pt x="89" y="449"/>
                  <a:pt x="88" y="450"/>
                  <a:pt x="87" y="450"/>
                </a:cubicBezTo>
                <a:close/>
                <a:moveTo>
                  <a:pt x="90" y="457"/>
                </a:moveTo>
                <a:cubicBezTo>
                  <a:pt x="90" y="457"/>
                  <a:pt x="90" y="457"/>
                  <a:pt x="90" y="456"/>
                </a:cubicBezTo>
                <a:cubicBezTo>
                  <a:pt x="92" y="455"/>
                  <a:pt x="91" y="456"/>
                  <a:pt x="90" y="457"/>
                </a:cubicBezTo>
                <a:close/>
                <a:moveTo>
                  <a:pt x="91" y="435"/>
                </a:moveTo>
                <a:cubicBezTo>
                  <a:pt x="89" y="437"/>
                  <a:pt x="92" y="434"/>
                  <a:pt x="91" y="435"/>
                </a:cubicBezTo>
                <a:close/>
                <a:moveTo>
                  <a:pt x="109" y="452"/>
                </a:moveTo>
                <a:cubicBezTo>
                  <a:pt x="109" y="453"/>
                  <a:pt x="108" y="452"/>
                  <a:pt x="109" y="452"/>
                </a:cubicBezTo>
                <a:close/>
                <a:moveTo>
                  <a:pt x="104" y="235"/>
                </a:moveTo>
                <a:cubicBezTo>
                  <a:pt x="103" y="236"/>
                  <a:pt x="105" y="234"/>
                  <a:pt x="104" y="235"/>
                </a:cubicBezTo>
                <a:close/>
                <a:moveTo>
                  <a:pt x="100" y="336"/>
                </a:moveTo>
                <a:cubicBezTo>
                  <a:pt x="101" y="335"/>
                  <a:pt x="101" y="335"/>
                  <a:pt x="100" y="336"/>
                </a:cubicBezTo>
                <a:close/>
                <a:moveTo>
                  <a:pt x="98" y="332"/>
                </a:moveTo>
                <a:cubicBezTo>
                  <a:pt x="97" y="331"/>
                  <a:pt x="100" y="331"/>
                  <a:pt x="98" y="332"/>
                </a:cubicBezTo>
                <a:close/>
                <a:moveTo>
                  <a:pt x="96" y="215"/>
                </a:moveTo>
                <a:cubicBezTo>
                  <a:pt x="97" y="215"/>
                  <a:pt x="97" y="216"/>
                  <a:pt x="96" y="217"/>
                </a:cubicBezTo>
                <a:cubicBezTo>
                  <a:pt x="95" y="219"/>
                  <a:pt x="95" y="214"/>
                  <a:pt x="96" y="215"/>
                </a:cubicBezTo>
                <a:close/>
                <a:moveTo>
                  <a:pt x="87" y="329"/>
                </a:moveTo>
                <a:cubicBezTo>
                  <a:pt x="87" y="330"/>
                  <a:pt x="86" y="330"/>
                  <a:pt x="86" y="331"/>
                </a:cubicBezTo>
                <a:cubicBezTo>
                  <a:pt x="85" y="331"/>
                  <a:pt x="86" y="329"/>
                  <a:pt x="87" y="329"/>
                </a:cubicBezTo>
                <a:close/>
                <a:moveTo>
                  <a:pt x="85" y="293"/>
                </a:moveTo>
                <a:cubicBezTo>
                  <a:pt x="85" y="293"/>
                  <a:pt x="85" y="294"/>
                  <a:pt x="85" y="294"/>
                </a:cubicBezTo>
                <a:cubicBezTo>
                  <a:pt x="83" y="296"/>
                  <a:pt x="83" y="291"/>
                  <a:pt x="85" y="293"/>
                </a:cubicBezTo>
                <a:close/>
                <a:moveTo>
                  <a:pt x="84" y="332"/>
                </a:moveTo>
                <a:cubicBezTo>
                  <a:pt x="86" y="333"/>
                  <a:pt x="84" y="335"/>
                  <a:pt x="82" y="336"/>
                </a:cubicBezTo>
                <a:cubicBezTo>
                  <a:pt x="83" y="334"/>
                  <a:pt x="85" y="333"/>
                  <a:pt x="84" y="332"/>
                </a:cubicBezTo>
                <a:close/>
                <a:moveTo>
                  <a:pt x="83" y="441"/>
                </a:moveTo>
                <a:cubicBezTo>
                  <a:pt x="82" y="442"/>
                  <a:pt x="84" y="440"/>
                  <a:pt x="83" y="441"/>
                </a:cubicBezTo>
                <a:close/>
                <a:moveTo>
                  <a:pt x="84" y="423"/>
                </a:moveTo>
                <a:cubicBezTo>
                  <a:pt x="83" y="424"/>
                  <a:pt x="84" y="421"/>
                  <a:pt x="85" y="422"/>
                </a:cubicBezTo>
                <a:cubicBezTo>
                  <a:pt x="86" y="422"/>
                  <a:pt x="85" y="423"/>
                  <a:pt x="84" y="423"/>
                </a:cubicBezTo>
                <a:close/>
                <a:moveTo>
                  <a:pt x="88" y="356"/>
                </a:moveTo>
                <a:cubicBezTo>
                  <a:pt x="86" y="358"/>
                  <a:pt x="87" y="353"/>
                  <a:pt x="88" y="354"/>
                </a:cubicBezTo>
                <a:cubicBezTo>
                  <a:pt x="89" y="355"/>
                  <a:pt x="88" y="356"/>
                  <a:pt x="88" y="356"/>
                </a:cubicBezTo>
                <a:close/>
                <a:moveTo>
                  <a:pt x="96" y="325"/>
                </a:moveTo>
                <a:cubicBezTo>
                  <a:pt x="96" y="326"/>
                  <a:pt x="95" y="326"/>
                  <a:pt x="94" y="328"/>
                </a:cubicBezTo>
                <a:cubicBezTo>
                  <a:pt x="92" y="330"/>
                  <a:pt x="89" y="335"/>
                  <a:pt x="87" y="340"/>
                </a:cubicBezTo>
                <a:cubicBezTo>
                  <a:pt x="85" y="344"/>
                  <a:pt x="85" y="347"/>
                  <a:pt x="83" y="350"/>
                </a:cubicBezTo>
                <a:cubicBezTo>
                  <a:pt x="83" y="350"/>
                  <a:pt x="82" y="350"/>
                  <a:pt x="82" y="350"/>
                </a:cubicBezTo>
                <a:cubicBezTo>
                  <a:pt x="81" y="350"/>
                  <a:pt x="84" y="344"/>
                  <a:pt x="85" y="342"/>
                </a:cubicBezTo>
                <a:cubicBezTo>
                  <a:pt x="86" y="339"/>
                  <a:pt x="87" y="337"/>
                  <a:pt x="89" y="334"/>
                </a:cubicBezTo>
                <a:cubicBezTo>
                  <a:pt x="90" y="332"/>
                  <a:pt x="93" y="329"/>
                  <a:pt x="93" y="326"/>
                </a:cubicBezTo>
                <a:cubicBezTo>
                  <a:pt x="93" y="326"/>
                  <a:pt x="92" y="325"/>
                  <a:pt x="92" y="324"/>
                </a:cubicBezTo>
                <a:cubicBezTo>
                  <a:pt x="92" y="320"/>
                  <a:pt x="99" y="320"/>
                  <a:pt x="96" y="325"/>
                </a:cubicBezTo>
                <a:close/>
                <a:moveTo>
                  <a:pt x="96" y="227"/>
                </a:moveTo>
                <a:cubicBezTo>
                  <a:pt x="97" y="227"/>
                  <a:pt x="97" y="228"/>
                  <a:pt x="97" y="229"/>
                </a:cubicBezTo>
                <a:cubicBezTo>
                  <a:pt x="96" y="230"/>
                  <a:pt x="96" y="227"/>
                  <a:pt x="96" y="227"/>
                </a:cubicBezTo>
                <a:close/>
                <a:moveTo>
                  <a:pt x="98" y="402"/>
                </a:moveTo>
                <a:cubicBezTo>
                  <a:pt x="98" y="402"/>
                  <a:pt x="98" y="402"/>
                  <a:pt x="97" y="402"/>
                </a:cubicBezTo>
                <a:cubicBezTo>
                  <a:pt x="95" y="401"/>
                  <a:pt x="100" y="400"/>
                  <a:pt x="98" y="402"/>
                </a:cubicBezTo>
                <a:close/>
                <a:moveTo>
                  <a:pt x="99" y="416"/>
                </a:moveTo>
                <a:cubicBezTo>
                  <a:pt x="101" y="416"/>
                  <a:pt x="100" y="421"/>
                  <a:pt x="99" y="422"/>
                </a:cubicBezTo>
                <a:cubicBezTo>
                  <a:pt x="94" y="424"/>
                  <a:pt x="98" y="416"/>
                  <a:pt x="99" y="416"/>
                </a:cubicBezTo>
                <a:close/>
                <a:moveTo>
                  <a:pt x="101" y="433"/>
                </a:moveTo>
                <a:cubicBezTo>
                  <a:pt x="103" y="434"/>
                  <a:pt x="100" y="438"/>
                  <a:pt x="100" y="439"/>
                </a:cubicBezTo>
                <a:cubicBezTo>
                  <a:pt x="94" y="441"/>
                  <a:pt x="98" y="431"/>
                  <a:pt x="101" y="433"/>
                </a:cubicBezTo>
                <a:close/>
                <a:moveTo>
                  <a:pt x="100" y="444"/>
                </a:moveTo>
                <a:cubicBezTo>
                  <a:pt x="101" y="443"/>
                  <a:pt x="99" y="445"/>
                  <a:pt x="100" y="444"/>
                </a:cubicBezTo>
                <a:close/>
                <a:moveTo>
                  <a:pt x="102" y="444"/>
                </a:moveTo>
                <a:cubicBezTo>
                  <a:pt x="102" y="445"/>
                  <a:pt x="101" y="445"/>
                  <a:pt x="101" y="445"/>
                </a:cubicBezTo>
                <a:cubicBezTo>
                  <a:pt x="99" y="443"/>
                  <a:pt x="104" y="442"/>
                  <a:pt x="102" y="444"/>
                </a:cubicBezTo>
                <a:close/>
                <a:moveTo>
                  <a:pt x="102" y="431"/>
                </a:moveTo>
                <a:cubicBezTo>
                  <a:pt x="100" y="432"/>
                  <a:pt x="100" y="428"/>
                  <a:pt x="102" y="429"/>
                </a:cubicBezTo>
                <a:cubicBezTo>
                  <a:pt x="103" y="429"/>
                  <a:pt x="103" y="430"/>
                  <a:pt x="102" y="431"/>
                </a:cubicBezTo>
                <a:close/>
                <a:moveTo>
                  <a:pt x="103" y="445"/>
                </a:moveTo>
                <a:cubicBezTo>
                  <a:pt x="102" y="447"/>
                  <a:pt x="105" y="444"/>
                  <a:pt x="103" y="445"/>
                </a:cubicBezTo>
                <a:close/>
                <a:moveTo>
                  <a:pt x="104" y="399"/>
                </a:moveTo>
                <a:cubicBezTo>
                  <a:pt x="103" y="399"/>
                  <a:pt x="103" y="397"/>
                  <a:pt x="104" y="398"/>
                </a:cubicBezTo>
                <a:cubicBezTo>
                  <a:pt x="104" y="398"/>
                  <a:pt x="104" y="399"/>
                  <a:pt x="104" y="399"/>
                </a:cubicBezTo>
                <a:close/>
                <a:moveTo>
                  <a:pt x="104" y="288"/>
                </a:moveTo>
                <a:cubicBezTo>
                  <a:pt x="103" y="290"/>
                  <a:pt x="105" y="287"/>
                  <a:pt x="104" y="288"/>
                </a:cubicBezTo>
                <a:close/>
                <a:moveTo>
                  <a:pt x="105" y="307"/>
                </a:moveTo>
                <a:cubicBezTo>
                  <a:pt x="104" y="306"/>
                  <a:pt x="106" y="303"/>
                  <a:pt x="107" y="302"/>
                </a:cubicBezTo>
                <a:cubicBezTo>
                  <a:pt x="107" y="304"/>
                  <a:pt x="106" y="306"/>
                  <a:pt x="105" y="307"/>
                </a:cubicBezTo>
                <a:close/>
                <a:moveTo>
                  <a:pt x="106" y="414"/>
                </a:moveTo>
                <a:cubicBezTo>
                  <a:pt x="106" y="413"/>
                  <a:pt x="108" y="413"/>
                  <a:pt x="106" y="414"/>
                </a:cubicBezTo>
                <a:close/>
                <a:moveTo>
                  <a:pt x="108" y="455"/>
                </a:moveTo>
                <a:cubicBezTo>
                  <a:pt x="107" y="454"/>
                  <a:pt x="109" y="454"/>
                  <a:pt x="108" y="455"/>
                </a:cubicBezTo>
                <a:close/>
                <a:moveTo>
                  <a:pt x="107" y="441"/>
                </a:moveTo>
                <a:cubicBezTo>
                  <a:pt x="106" y="441"/>
                  <a:pt x="108" y="440"/>
                  <a:pt x="108" y="440"/>
                </a:cubicBezTo>
                <a:cubicBezTo>
                  <a:pt x="108" y="440"/>
                  <a:pt x="107" y="440"/>
                  <a:pt x="107" y="441"/>
                </a:cubicBezTo>
                <a:close/>
                <a:moveTo>
                  <a:pt x="108" y="388"/>
                </a:moveTo>
                <a:cubicBezTo>
                  <a:pt x="107" y="390"/>
                  <a:pt x="107" y="386"/>
                  <a:pt x="108" y="387"/>
                </a:cubicBezTo>
                <a:cubicBezTo>
                  <a:pt x="109" y="387"/>
                  <a:pt x="108" y="388"/>
                  <a:pt x="108" y="388"/>
                </a:cubicBezTo>
                <a:close/>
                <a:moveTo>
                  <a:pt x="109" y="420"/>
                </a:moveTo>
                <a:cubicBezTo>
                  <a:pt x="109" y="421"/>
                  <a:pt x="109" y="418"/>
                  <a:pt x="109" y="420"/>
                </a:cubicBezTo>
                <a:close/>
                <a:moveTo>
                  <a:pt x="108" y="301"/>
                </a:moveTo>
                <a:cubicBezTo>
                  <a:pt x="107" y="300"/>
                  <a:pt x="108" y="298"/>
                  <a:pt x="110" y="298"/>
                </a:cubicBezTo>
                <a:cubicBezTo>
                  <a:pt x="110" y="299"/>
                  <a:pt x="108" y="300"/>
                  <a:pt x="108" y="301"/>
                </a:cubicBezTo>
                <a:close/>
                <a:moveTo>
                  <a:pt x="110" y="401"/>
                </a:moveTo>
                <a:cubicBezTo>
                  <a:pt x="110" y="401"/>
                  <a:pt x="110" y="401"/>
                  <a:pt x="110" y="401"/>
                </a:cubicBezTo>
                <a:cubicBezTo>
                  <a:pt x="110" y="401"/>
                  <a:pt x="110" y="400"/>
                  <a:pt x="110" y="401"/>
                </a:cubicBezTo>
                <a:close/>
                <a:moveTo>
                  <a:pt x="69" y="513"/>
                </a:moveTo>
                <a:cubicBezTo>
                  <a:pt x="69" y="513"/>
                  <a:pt x="70" y="512"/>
                  <a:pt x="70" y="512"/>
                </a:cubicBezTo>
                <a:cubicBezTo>
                  <a:pt x="70" y="513"/>
                  <a:pt x="69" y="513"/>
                  <a:pt x="69" y="513"/>
                </a:cubicBezTo>
                <a:close/>
                <a:moveTo>
                  <a:pt x="73" y="498"/>
                </a:moveTo>
                <a:cubicBezTo>
                  <a:pt x="73" y="497"/>
                  <a:pt x="74" y="496"/>
                  <a:pt x="75" y="496"/>
                </a:cubicBezTo>
                <a:cubicBezTo>
                  <a:pt x="75" y="497"/>
                  <a:pt x="74" y="498"/>
                  <a:pt x="73" y="498"/>
                </a:cubicBezTo>
                <a:close/>
                <a:moveTo>
                  <a:pt x="76" y="499"/>
                </a:moveTo>
                <a:cubicBezTo>
                  <a:pt x="76" y="500"/>
                  <a:pt x="77" y="498"/>
                  <a:pt x="76" y="499"/>
                </a:cubicBezTo>
                <a:close/>
                <a:moveTo>
                  <a:pt x="87" y="502"/>
                </a:moveTo>
                <a:cubicBezTo>
                  <a:pt x="86" y="500"/>
                  <a:pt x="89" y="499"/>
                  <a:pt x="87" y="502"/>
                </a:cubicBezTo>
                <a:close/>
                <a:moveTo>
                  <a:pt x="100" y="477"/>
                </a:moveTo>
                <a:cubicBezTo>
                  <a:pt x="101" y="479"/>
                  <a:pt x="100" y="481"/>
                  <a:pt x="100" y="483"/>
                </a:cubicBezTo>
                <a:cubicBezTo>
                  <a:pt x="99" y="481"/>
                  <a:pt x="99" y="479"/>
                  <a:pt x="100" y="477"/>
                </a:cubicBezTo>
                <a:close/>
                <a:moveTo>
                  <a:pt x="100" y="502"/>
                </a:moveTo>
                <a:cubicBezTo>
                  <a:pt x="97" y="499"/>
                  <a:pt x="102" y="497"/>
                  <a:pt x="104" y="496"/>
                </a:cubicBezTo>
                <a:cubicBezTo>
                  <a:pt x="105" y="499"/>
                  <a:pt x="102" y="505"/>
                  <a:pt x="100" y="502"/>
                </a:cubicBezTo>
                <a:close/>
                <a:moveTo>
                  <a:pt x="144" y="546"/>
                </a:moveTo>
                <a:cubicBezTo>
                  <a:pt x="143" y="546"/>
                  <a:pt x="144" y="546"/>
                  <a:pt x="144" y="545"/>
                </a:cubicBezTo>
                <a:cubicBezTo>
                  <a:pt x="143" y="542"/>
                  <a:pt x="147" y="545"/>
                  <a:pt x="144" y="546"/>
                </a:cubicBezTo>
                <a:close/>
                <a:moveTo>
                  <a:pt x="196" y="598"/>
                </a:moveTo>
                <a:cubicBezTo>
                  <a:pt x="196" y="598"/>
                  <a:pt x="198" y="597"/>
                  <a:pt x="198" y="598"/>
                </a:cubicBezTo>
                <a:cubicBezTo>
                  <a:pt x="198" y="599"/>
                  <a:pt x="197" y="599"/>
                  <a:pt x="196" y="598"/>
                </a:cubicBezTo>
                <a:close/>
                <a:moveTo>
                  <a:pt x="199" y="607"/>
                </a:moveTo>
                <a:cubicBezTo>
                  <a:pt x="198" y="607"/>
                  <a:pt x="198" y="607"/>
                  <a:pt x="198" y="607"/>
                </a:cubicBezTo>
                <a:cubicBezTo>
                  <a:pt x="198" y="605"/>
                  <a:pt x="200" y="608"/>
                  <a:pt x="199" y="607"/>
                </a:cubicBezTo>
                <a:close/>
                <a:moveTo>
                  <a:pt x="203" y="609"/>
                </a:moveTo>
                <a:cubicBezTo>
                  <a:pt x="203" y="608"/>
                  <a:pt x="205" y="608"/>
                  <a:pt x="205" y="609"/>
                </a:cubicBezTo>
                <a:cubicBezTo>
                  <a:pt x="205" y="609"/>
                  <a:pt x="203" y="610"/>
                  <a:pt x="203" y="609"/>
                </a:cubicBezTo>
                <a:close/>
                <a:moveTo>
                  <a:pt x="208" y="600"/>
                </a:moveTo>
                <a:cubicBezTo>
                  <a:pt x="207" y="600"/>
                  <a:pt x="209" y="600"/>
                  <a:pt x="209" y="600"/>
                </a:cubicBezTo>
                <a:cubicBezTo>
                  <a:pt x="209" y="601"/>
                  <a:pt x="208" y="601"/>
                  <a:pt x="208" y="600"/>
                </a:cubicBezTo>
                <a:close/>
                <a:moveTo>
                  <a:pt x="226" y="627"/>
                </a:moveTo>
                <a:cubicBezTo>
                  <a:pt x="225" y="627"/>
                  <a:pt x="223" y="627"/>
                  <a:pt x="224" y="625"/>
                </a:cubicBezTo>
                <a:cubicBezTo>
                  <a:pt x="225" y="624"/>
                  <a:pt x="229" y="624"/>
                  <a:pt x="229" y="625"/>
                </a:cubicBezTo>
                <a:cubicBezTo>
                  <a:pt x="229" y="626"/>
                  <a:pt x="229" y="626"/>
                  <a:pt x="228" y="627"/>
                </a:cubicBezTo>
                <a:cubicBezTo>
                  <a:pt x="229" y="627"/>
                  <a:pt x="229" y="627"/>
                  <a:pt x="229" y="627"/>
                </a:cubicBezTo>
                <a:cubicBezTo>
                  <a:pt x="228" y="628"/>
                  <a:pt x="227" y="628"/>
                  <a:pt x="226" y="627"/>
                </a:cubicBezTo>
                <a:close/>
                <a:moveTo>
                  <a:pt x="229" y="628"/>
                </a:moveTo>
                <a:cubicBezTo>
                  <a:pt x="229" y="628"/>
                  <a:pt x="231" y="628"/>
                  <a:pt x="231" y="628"/>
                </a:cubicBezTo>
                <a:cubicBezTo>
                  <a:pt x="231" y="629"/>
                  <a:pt x="229" y="628"/>
                  <a:pt x="229" y="628"/>
                </a:cubicBezTo>
                <a:close/>
                <a:moveTo>
                  <a:pt x="228" y="653"/>
                </a:moveTo>
                <a:cubicBezTo>
                  <a:pt x="228" y="653"/>
                  <a:pt x="228" y="653"/>
                  <a:pt x="228" y="653"/>
                </a:cubicBezTo>
                <a:cubicBezTo>
                  <a:pt x="228" y="653"/>
                  <a:pt x="228" y="652"/>
                  <a:pt x="228" y="653"/>
                </a:cubicBezTo>
                <a:close/>
                <a:moveTo>
                  <a:pt x="213" y="659"/>
                </a:moveTo>
                <a:cubicBezTo>
                  <a:pt x="213" y="659"/>
                  <a:pt x="213" y="659"/>
                  <a:pt x="213" y="659"/>
                </a:cubicBezTo>
                <a:cubicBezTo>
                  <a:pt x="213" y="659"/>
                  <a:pt x="213" y="659"/>
                  <a:pt x="213" y="659"/>
                </a:cubicBezTo>
                <a:close/>
                <a:moveTo>
                  <a:pt x="213" y="659"/>
                </a:moveTo>
                <a:cubicBezTo>
                  <a:pt x="214" y="659"/>
                  <a:pt x="213" y="659"/>
                  <a:pt x="213" y="659"/>
                </a:cubicBezTo>
                <a:close/>
                <a:moveTo>
                  <a:pt x="213" y="657"/>
                </a:moveTo>
                <a:cubicBezTo>
                  <a:pt x="213" y="656"/>
                  <a:pt x="214" y="656"/>
                  <a:pt x="214" y="656"/>
                </a:cubicBezTo>
                <a:cubicBezTo>
                  <a:pt x="215" y="657"/>
                  <a:pt x="214" y="657"/>
                  <a:pt x="213" y="657"/>
                </a:cubicBezTo>
                <a:close/>
                <a:moveTo>
                  <a:pt x="216" y="659"/>
                </a:moveTo>
                <a:cubicBezTo>
                  <a:pt x="216" y="658"/>
                  <a:pt x="216" y="657"/>
                  <a:pt x="217" y="658"/>
                </a:cubicBezTo>
                <a:cubicBezTo>
                  <a:pt x="216" y="658"/>
                  <a:pt x="218" y="660"/>
                  <a:pt x="218" y="660"/>
                </a:cubicBezTo>
                <a:cubicBezTo>
                  <a:pt x="217" y="661"/>
                  <a:pt x="215" y="661"/>
                  <a:pt x="216" y="659"/>
                </a:cubicBezTo>
                <a:close/>
                <a:moveTo>
                  <a:pt x="223" y="655"/>
                </a:moveTo>
                <a:cubicBezTo>
                  <a:pt x="222" y="654"/>
                  <a:pt x="224" y="654"/>
                  <a:pt x="224" y="655"/>
                </a:cubicBezTo>
                <a:cubicBezTo>
                  <a:pt x="224" y="655"/>
                  <a:pt x="223" y="655"/>
                  <a:pt x="223" y="655"/>
                </a:cubicBezTo>
                <a:close/>
                <a:moveTo>
                  <a:pt x="218" y="655"/>
                </a:moveTo>
                <a:cubicBezTo>
                  <a:pt x="217" y="655"/>
                  <a:pt x="214" y="653"/>
                  <a:pt x="215" y="651"/>
                </a:cubicBezTo>
                <a:cubicBezTo>
                  <a:pt x="216" y="650"/>
                  <a:pt x="220" y="648"/>
                  <a:pt x="222" y="648"/>
                </a:cubicBezTo>
                <a:cubicBezTo>
                  <a:pt x="223" y="649"/>
                  <a:pt x="224" y="649"/>
                  <a:pt x="224" y="650"/>
                </a:cubicBezTo>
                <a:cubicBezTo>
                  <a:pt x="224" y="650"/>
                  <a:pt x="226" y="648"/>
                  <a:pt x="225" y="650"/>
                </a:cubicBezTo>
                <a:cubicBezTo>
                  <a:pt x="225" y="650"/>
                  <a:pt x="223" y="651"/>
                  <a:pt x="223" y="652"/>
                </a:cubicBezTo>
                <a:cubicBezTo>
                  <a:pt x="224" y="652"/>
                  <a:pt x="225" y="651"/>
                  <a:pt x="225" y="652"/>
                </a:cubicBezTo>
                <a:cubicBezTo>
                  <a:pt x="224" y="652"/>
                  <a:pt x="221" y="655"/>
                  <a:pt x="218" y="655"/>
                </a:cubicBezTo>
                <a:close/>
                <a:moveTo>
                  <a:pt x="227" y="665"/>
                </a:moveTo>
                <a:cubicBezTo>
                  <a:pt x="223" y="666"/>
                  <a:pt x="226" y="661"/>
                  <a:pt x="228" y="662"/>
                </a:cubicBezTo>
                <a:cubicBezTo>
                  <a:pt x="229" y="664"/>
                  <a:pt x="228" y="664"/>
                  <a:pt x="227" y="665"/>
                </a:cubicBezTo>
                <a:close/>
                <a:moveTo>
                  <a:pt x="228" y="654"/>
                </a:moveTo>
                <a:cubicBezTo>
                  <a:pt x="227" y="653"/>
                  <a:pt x="230" y="655"/>
                  <a:pt x="228" y="654"/>
                </a:cubicBezTo>
                <a:close/>
                <a:moveTo>
                  <a:pt x="229" y="639"/>
                </a:moveTo>
                <a:cubicBezTo>
                  <a:pt x="228" y="638"/>
                  <a:pt x="231" y="638"/>
                  <a:pt x="231" y="639"/>
                </a:cubicBezTo>
                <a:cubicBezTo>
                  <a:pt x="231" y="639"/>
                  <a:pt x="230" y="640"/>
                  <a:pt x="229" y="639"/>
                </a:cubicBezTo>
                <a:close/>
                <a:moveTo>
                  <a:pt x="215" y="675"/>
                </a:moveTo>
                <a:cubicBezTo>
                  <a:pt x="216" y="673"/>
                  <a:pt x="216" y="675"/>
                  <a:pt x="215" y="675"/>
                </a:cubicBezTo>
                <a:close/>
                <a:moveTo>
                  <a:pt x="219" y="676"/>
                </a:moveTo>
                <a:cubicBezTo>
                  <a:pt x="220" y="675"/>
                  <a:pt x="221" y="676"/>
                  <a:pt x="223" y="676"/>
                </a:cubicBezTo>
                <a:cubicBezTo>
                  <a:pt x="221" y="676"/>
                  <a:pt x="220" y="677"/>
                  <a:pt x="219" y="676"/>
                </a:cubicBezTo>
                <a:close/>
                <a:moveTo>
                  <a:pt x="226" y="676"/>
                </a:moveTo>
                <a:cubicBezTo>
                  <a:pt x="226" y="675"/>
                  <a:pt x="228" y="675"/>
                  <a:pt x="228" y="675"/>
                </a:cubicBezTo>
                <a:cubicBezTo>
                  <a:pt x="228" y="676"/>
                  <a:pt x="226" y="676"/>
                  <a:pt x="226" y="676"/>
                </a:cubicBezTo>
                <a:close/>
                <a:moveTo>
                  <a:pt x="229" y="676"/>
                </a:moveTo>
                <a:cubicBezTo>
                  <a:pt x="229" y="675"/>
                  <a:pt x="230" y="676"/>
                  <a:pt x="230" y="676"/>
                </a:cubicBezTo>
                <a:cubicBezTo>
                  <a:pt x="230" y="676"/>
                  <a:pt x="229" y="677"/>
                  <a:pt x="229" y="676"/>
                </a:cubicBezTo>
                <a:close/>
                <a:moveTo>
                  <a:pt x="234" y="679"/>
                </a:moveTo>
                <a:cubicBezTo>
                  <a:pt x="234" y="678"/>
                  <a:pt x="235" y="678"/>
                  <a:pt x="235" y="678"/>
                </a:cubicBezTo>
                <a:cubicBezTo>
                  <a:pt x="236" y="679"/>
                  <a:pt x="234" y="679"/>
                  <a:pt x="234" y="679"/>
                </a:cubicBezTo>
                <a:close/>
                <a:moveTo>
                  <a:pt x="248" y="692"/>
                </a:moveTo>
                <a:cubicBezTo>
                  <a:pt x="248" y="691"/>
                  <a:pt x="250" y="691"/>
                  <a:pt x="250" y="691"/>
                </a:cubicBezTo>
                <a:cubicBezTo>
                  <a:pt x="251" y="692"/>
                  <a:pt x="249" y="692"/>
                  <a:pt x="248" y="692"/>
                </a:cubicBezTo>
                <a:close/>
                <a:moveTo>
                  <a:pt x="349" y="41"/>
                </a:moveTo>
                <a:cubicBezTo>
                  <a:pt x="348" y="41"/>
                  <a:pt x="345" y="42"/>
                  <a:pt x="344" y="41"/>
                </a:cubicBezTo>
                <a:cubicBezTo>
                  <a:pt x="344" y="40"/>
                  <a:pt x="348" y="40"/>
                  <a:pt x="349" y="41"/>
                </a:cubicBezTo>
                <a:close/>
                <a:moveTo>
                  <a:pt x="343" y="7"/>
                </a:moveTo>
                <a:cubicBezTo>
                  <a:pt x="344" y="6"/>
                  <a:pt x="345" y="8"/>
                  <a:pt x="343" y="7"/>
                </a:cubicBezTo>
                <a:close/>
                <a:moveTo>
                  <a:pt x="342" y="38"/>
                </a:moveTo>
                <a:cubicBezTo>
                  <a:pt x="341" y="38"/>
                  <a:pt x="340" y="37"/>
                  <a:pt x="339" y="38"/>
                </a:cubicBezTo>
                <a:cubicBezTo>
                  <a:pt x="339" y="37"/>
                  <a:pt x="341" y="37"/>
                  <a:pt x="342" y="38"/>
                </a:cubicBezTo>
                <a:close/>
                <a:moveTo>
                  <a:pt x="335" y="37"/>
                </a:moveTo>
                <a:cubicBezTo>
                  <a:pt x="336" y="36"/>
                  <a:pt x="337" y="39"/>
                  <a:pt x="335" y="37"/>
                </a:cubicBezTo>
                <a:close/>
                <a:moveTo>
                  <a:pt x="336" y="97"/>
                </a:move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5" y="96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lose/>
                <a:moveTo>
                  <a:pt x="316" y="49"/>
                </a:moveTo>
                <a:cubicBezTo>
                  <a:pt x="316" y="49"/>
                  <a:pt x="313" y="50"/>
                  <a:pt x="313" y="49"/>
                </a:cubicBezTo>
                <a:cubicBezTo>
                  <a:pt x="312" y="49"/>
                  <a:pt x="315" y="48"/>
                  <a:pt x="316" y="49"/>
                </a:cubicBezTo>
                <a:close/>
                <a:moveTo>
                  <a:pt x="321" y="108"/>
                </a:moveTo>
                <a:cubicBezTo>
                  <a:pt x="319" y="109"/>
                  <a:pt x="315" y="112"/>
                  <a:pt x="311" y="111"/>
                </a:cubicBezTo>
                <a:cubicBezTo>
                  <a:pt x="314" y="109"/>
                  <a:pt x="317" y="109"/>
                  <a:pt x="321" y="108"/>
                </a:cubicBezTo>
                <a:close/>
                <a:moveTo>
                  <a:pt x="320" y="636"/>
                </a:moveTo>
                <a:cubicBezTo>
                  <a:pt x="319" y="636"/>
                  <a:pt x="320" y="635"/>
                  <a:pt x="320" y="635"/>
                </a:cubicBezTo>
                <a:cubicBezTo>
                  <a:pt x="321" y="635"/>
                  <a:pt x="320" y="636"/>
                  <a:pt x="320" y="636"/>
                </a:cubicBezTo>
                <a:close/>
                <a:moveTo>
                  <a:pt x="319" y="620"/>
                </a:moveTo>
                <a:cubicBezTo>
                  <a:pt x="319" y="620"/>
                  <a:pt x="318" y="620"/>
                  <a:pt x="317" y="620"/>
                </a:cubicBezTo>
                <a:cubicBezTo>
                  <a:pt x="318" y="620"/>
                  <a:pt x="319" y="619"/>
                  <a:pt x="319" y="620"/>
                </a:cubicBezTo>
                <a:close/>
                <a:moveTo>
                  <a:pt x="318" y="614"/>
                </a:moveTo>
                <a:cubicBezTo>
                  <a:pt x="317" y="613"/>
                  <a:pt x="319" y="615"/>
                  <a:pt x="318" y="614"/>
                </a:cubicBezTo>
                <a:close/>
                <a:moveTo>
                  <a:pt x="313" y="137"/>
                </a:moveTo>
                <a:cubicBezTo>
                  <a:pt x="312" y="140"/>
                  <a:pt x="312" y="135"/>
                  <a:pt x="312" y="137"/>
                </a:cubicBezTo>
                <a:cubicBezTo>
                  <a:pt x="312" y="137"/>
                  <a:pt x="313" y="137"/>
                  <a:pt x="313" y="137"/>
                </a:cubicBezTo>
                <a:close/>
                <a:moveTo>
                  <a:pt x="311" y="41"/>
                </a:moveTo>
                <a:cubicBezTo>
                  <a:pt x="310" y="42"/>
                  <a:pt x="309" y="40"/>
                  <a:pt x="311" y="41"/>
                </a:cubicBezTo>
                <a:close/>
                <a:moveTo>
                  <a:pt x="309" y="527"/>
                </a:moveTo>
                <a:cubicBezTo>
                  <a:pt x="309" y="528"/>
                  <a:pt x="306" y="529"/>
                  <a:pt x="306" y="527"/>
                </a:cubicBezTo>
                <a:cubicBezTo>
                  <a:pt x="306" y="525"/>
                  <a:pt x="309" y="526"/>
                  <a:pt x="309" y="527"/>
                </a:cubicBezTo>
                <a:close/>
                <a:moveTo>
                  <a:pt x="307" y="61"/>
                </a:moveTo>
                <a:cubicBezTo>
                  <a:pt x="306" y="60"/>
                  <a:pt x="308" y="61"/>
                  <a:pt x="307" y="61"/>
                </a:cubicBezTo>
                <a:close/>
                <a:moveTo>
                  <a:pt x="293" y="53"/>
                </a:moveTo>
                <a:cubicBezTo>
                  <a:pt x="298" y="52"/>
                  <a:pt x="304" y="52"/>
                  <a:pt x="309" y="51"/>
                </a:cubicBezTo>
                <a:cubicBezTo>
                  <a:pt x="304" y="53"/>
                  <a:pt x="299" y="53"/>
                  <a:pt x="293" y="53"/>
                </a:cubicBezTo>
                <a:close/>
                <a:moveTo>
                  <a:pt x="282" y="662"/>
                </a:moveTo>
                <a:cubicBezTo>
                  <a:pt x="281" y="662"/>
                  <a:pt x="279" y="663"/>
                  <a:pt x="277" y="663"/>
                </a:cubicBezTo>
                <a:cubicBezTo>
                  <a:pt x="279" y="662"/>
                  <a:pt x="281" y="661"/>
                  <a:pt x="282" y="662"/>
                </a:cubicBezTo>
                <a:close/>
                <a:moveTo>
                  <a:pt x="278" y="582"/>
                </a:moveTo>
                <a:cubicBezTo>
                  <a:pt x="278" y="581"/>
                  <a:pt x="280" y="581"/>
                  <a:pt x="279" y="582"/>
                </a:cubicBezTo>
                <a:cubicBezTo>
                  <a:pt x="279" y="582"/>
                  <a:pt x="279" y="582"/>
                  <a:pt x="278" y="582"/>
                </a:cubicBezTo>
                <a:close/>
                <a:moveTo>
                  <a:pt x="282" y="582"/>
                </a:moveTo>
                <a:cubicBezTo>
                  <a:pt x="282" y="582"/>
                  <a:pt x="280" y="583"/>
                  <a:pt x="280" y="581"/>
                </a:cubicBezTo>
                <a:cubicBezTo>
                  <a:pt x="280" y="580"/>
                  <a:pt x="282" y="581"/>
                  <a:pt x="282" y="582"/>
                </a:cubicBezTo>
                <a:close/>
                <a:moveTo>
                  <a:pt x="281" y="574"/>
                </a:moveTo>
                <a:cubicBezTo>
                  <a:pt x="281" y="575"/>
                  <a:pt x="280" y="575"/>
                  <a:pt x="280" y="574"/>
                </a:cubicBezTo>
                <a:cubicBezTo>
                  <a:pt x="279" y="574"/>
                  <a:pt x="281" y="573"/>
                  <a:pt x="281" y="574"/>
                </a:cubicBezTo>
                <a:close/>
                <a:moveTo>
                  <a:pt x="294" y="551"/>
                </a:moveTo>
                <a:cubicBezTo>
                  <a:pt x="291" y="553"/>
                  <a:pt x="287" y="555"/>
                  <a:pt x="285" y="556"/>
                </a:cubicBezTo>
                <a:cubicBezTo>
                  <a:pt x="285" y="556"/>
                  <a:pt x="283" y="557"/>
                  <a:pt x="284" y="556"/>
                </a:cubicBezTo>
                <a:cubicBezTo>
                  <a:pt x="286" y="553"/>
                  <a:pt x="291" y="553"/>
                  <a:pt x="294" y="551"/>
                </a:cubicBezTo>
                <a:close/>
                <a:moveTo>
                  <a:pt x="286" y="536"/>
                </a:moveTo>
                <a:cubicBezTo>
                  <a:pt x="286" y="535"/>
                  <a:pt x="286" y="536"/>
                  <a:pt x="286" y="536"/>
                </a:cubicBezTo>
                <a:cubicBezTo>
                  <a:pt x="285" y="536"/>
                  <a:pt x="286" y="535"/>
                  <a:pt x="286" y="536"/>
                </a:cubicBezTo>
                <a:close/>
                <a:moveTo>
                  <a:pt x="287" y="536"/>
                </a:moveTo>
                <a:cubicBezTo>
                  <a:pt x="287" y="534"/>
                  <a:pt x="289" y="534"/>
                  <a:pt x="289" y="536"/>
                </a:cubicBezTo>
                <a:cubicBezTo>
                  <a:pt x="289" y="537"/>
                  <a:pt x="287" y="536"/>
                  <a:pt x="287" y="536"/>
                </a:cubicBezTo>
                <a:close/>
                <a:moveTo>
                  <a:pt x="290" y="512"/>
                </a:moveTo>
                <a:cubicBezTo>
                  <a:pt x="291" y="510"/>
                  <a:pt x="293" y="509"/>
                  <a:pt x="294" y="508"/>
                </a:cubicBezTo>
                <a:cubicBezTo>
                  <a:pt x="294" y="509"/>
                  <a:pt x="292" y="510"/>
                  <a:pt x="290" y="512"/>
                </a:cubicBezTo>
                <a:close/>
                <a:moveTo>
                  <a:pt x="290" y="550"/>
                </a:moveTo>
                <a:cubicBezTo>
                  <a:pt x="290" y="549"/>
                  <a:pt x="291" y="548"/>
                  <a:pt x="292" y="549"/>
                </a:cubicBezTo>
                <a:cubicBezTo>
                  <a:pt x="292" y="550"/>
                  <a:pt x="290" y="551"/>
                  <a:pt x="290" y="550"/>
                </a:cubicBezTo>
                <a:close/>
                <a:moveTo>
                  <a:pt x="287" y="638"/>
                </a:moveTo>
                <a:cubicBezTo>
                  <a:pt x="288" y="637"/>
                  <a:pt x="289" y="637"/>
                  <a:pt x="290" y="637"/>
                </a:cubicBezTo>
                <a:cubicBezTo>
                  <a:pt x="289" y="637"/>
                  <a:pt x="288" y="638"/>
                  <a:pt x="287" y="638"/>
                </a:cubicBezTo>
                <a:close/>
                <a:moveTo>
                  <a:pt x="290" y="640"/>
                </a:moveTo>
                <a:cubicBezTo>
                  <a:pt x="289" y="641"/>
                  <a:pt x="288" y="640"/>
                  <a:pt x="287" y="641"/>
                </a:cubicBezTo>
                <a:cubicBezTo>
                  <a:pt x="287" y="640"/>
                  <a:pt x="289" y="639"/>
                  <a:pt x="290" y="640"/>
                </a:cubicBezTo>
                <a:close/>
                <a:moveTo>
                  <a:pt x="292" y="594"/>
                </a:moveTo>
                <a:cubicBezTo>
                  <a:pt x="292" y="595"/>
                  <a:pt x="288" y="596"/>
                  <a:pt x="288" y="593"/>
                </a:cubicBezTo>
                <a:cubicBezTo>
                  <a:pt x="288" y="591"/>
                  <a:pt x="292" y="592"/>
                  <a:pt x="292" y="594"/>
                </a:cubicBezTo>
                <a:close/>
                <a:moveTo>
                  <a:pt x="288" y="573"/>
                </a:moveTo>
                <a:cubicBezTo>
                  <a:pt x="288" y="572"/>
                  <a:pt x="290" y="571"/>
                  <a:pt x="291" y="571"/>
                </a:cubicBezTo>
                <a:cubicBezTo>
                  <a:pt x="290" y="572"/>
                  <a:pt x="289" y="572"/>
                  <a:pt x="288" y="573"/>
                </a:cubicBezTo>
                <a:close/>
                <a:moveTo>
                  <a:pt x="292" y="571"/>
                </a:moveTo>
                <a:cubicBezTo>
                  <a:pt x="292" y="570"/>
                  <a:pt x="293" y="569"/>
                  <a:pt x="294" y="570"/>
                </a:cubicBezTo>
                <a:cubicBezTo>
                  <a:pt x="294" y="571"/>
                  <a:pt x="292" y="571"/>
                  <a:pt x="292" y="571"/>
                </a:cubicBezTo>
                <a:close/>
                <a:moveTo>
                  <a:pt x="293" y="594"/>
                </a:moveTo>
                <a:cubicBezTo>
                  <a:pt x="293" y="596"/>
                  <a:pt x="291" y="595"/>
                  <a:pt x="293" y="594"/>
                </a:cubicBezTo>
                <a:close/>
                <a:moveTo>
                  <a:pt x="291" y="595"/>
                </a:moveTo>
                <a:cubicBezTo>
                  <a:pt x="290" y="597"/>
                  <a:pt x="288" y="596"/>
                  <a:pt x="291" y="595"/>
                </a:cubicBezTo>
                <a:close/>
                <a:moveTo>
                  <a:pt x="290" y="625"/>
                </a:moveTo>
                <a:cubicBezTo>
                  <a:pt x="291" y="626"/>
                  <a:pt x="290" y="625"/>
                  <a:pt x="290" y="625"/>
                </a:cubicBezTo>
                <a:cubicBezTo>
                  <a:pt x="290" y="625"/>
                  <a:pt x="290" y="625"/>
                  <a:pt x="290" y="625"/>
                </a:cubicBezTo>
                <a:close/>
                <a:moveTo>
                  <a:pt x="289" y="602"/>
                </a:moveTo>
                <a:cubicBezTo>
                  <a:pt x="289" y="601"/>
                  <a:pt x="292" y="601"/>
                  <a:pt x="293" y="601"/>
                </a:cubicBezTo>
                <a:cubicBezTo>
                  <a:pt x="292" y="602"/>
                  <a:pt x="290" y="602"/>
                  <a:pt x="289" y="602"/>
                </a:cubicBezTo>
                <a:close/>
                <a:moveTo>
                  <a:pt x="291" y="634"/>
                </a:moveTo>
                <a:cubicBezTo>
                  <a:pt x="292" y="634"/>
                  <a:pt x="293" y="634"/>
                  <a:pt x="292" y="635"/>
                </a:cubicBezTo>
                <a:cubicBezTo>
                  <a:pt x="292" y="636"/>
                  <a:pt x="291" y="635"/>
                  <a:pt x="291" y="634"/>
                </a:cubicBezTo>
                <a:close/>
                <a:moveTo>
                  <a:pt x="295" y="635"/>
                </a:moveTo>
                <a:cubicBezTo>
                  <a:pt x="294" y="636"/>
                  <a:pt x="293" y="637"/>
                  <a:pt x="291" y="636"/>
                </a:cubicBezTo>
                <a:cubicBezTo>
                  <a:pt x="292" y="636"/>
                  <a:pt x="294" y="636"/>
                  <a:pt x="295" y="635"/>
                </a:cubicBezTo>
                <a:close/>
                <a:moveTo>
                  <a:pt x="293" y="583"/>
                </a:moveTo>
                <a:cubicBezTo>
                  <a:pt x="293" y="583"/>
                  <a:pt x="294" y="583"/>
                  <a:pt x="294" y="583"/>
                </a:cubicBezTo>
                <a:cubicBezTo>
                  <a:pt x="295" y="584"/>
                  <a:pt x="293" y="585"/>
                  <a:pt x="293" y="583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538"/>
                </a:moveTo>
                <a:cubicBezTo>
                  <a:pt x="283" y="538"/>
                  <a:pt x="284" y="537"/>
                  <a:pt x="284" y="537"/>
                </a:cubicBezTo>
                <a:cubicBezTo>
                  <a:pt x="285" y="537"/>
                  <a:pt x="284" y="538"/>
                  <a:pt x="284" y="538"/>
                </a:cubicBezTo>
                <a:close/>
                <a:moveTo>
                  <a:pt x="285" y="588"/>
                </a:moveTo>
                <a:cubicBezTo>
                  <a:pt x="284" y="589"/>
                  <a:pt x="283" y="589"/>
                  <a:pt x="282" y="590"/>
                </a:cubicBezTo>
                <a:cubicBezTo>
                  <a:pt x="282" y="590"/>
                  <a:pt x="284" y="588"/>
                  <a:pt x="285" y="588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612"/>
                </a:moveTo>
                <a:cubicBezTo>
                  <a:pt x="281" y="614"/>
                  <a:pt x="281" y="612"/>
                  <a:pt x="284" y="612"/>
                </a:cubicBezTo>
                <a:close/>
                <a:moveTo>
                  <a:pt x="283" y="648"/>
                </a:moveTo>
                <a:cubicBezTo>
                  <a:pt x="284" y="645"/>
                  <a:pt x="286" y="647"/>
                  <a:pt x="283" y="648"/>
                </a:cubicBezTo>
                <a:close/>
                <a:moveTo>
                  <a:pt x="287" y="661"/>
                </a:moveTo>
                <a:cubicBezTo>
                  <a:pt x="287" y="661"/>
                  <a:pt x="285" y="662"/>
                  <a:pt x="284" y="662"/>
                </a:cubicBezTo>
                <a:cubicBezTo>
                  <a:pt x="284" y="661"/>
                  <a:pt x="287" y="660"/>
                  <a:pt x="287" y="661"/>
                </a:cubicBezTo>
                <a:close/>
                <a:moveTo>
                  <a:pt x="288" y="667"/>
                </a:moveTo>
                <a:cubicBezTo>
                  <a:pt x="288" y="668"/>
                  <a:pt x="286" y="668"/>
                  <a:pt x="286" y="667"/>
                </a:cubicBezTo>
                <a:cubicBezTo>
                  <a:pt x="285" y="666"/>
                  <a:pt x="288" y="666"/>
                  <a:pt x="288" y="667"/>
                </a:cubicBezTo>
                <a:close/>
                <a:moveTo>
                  <a:pt x="287" y="650"/>
                </a:moveTo>
                <a:cubicBezTo>
                  <a:pt x="287" y="648"/>
                  <a:pt x="290" y="647"/>
                  <a:pt x="291" y="649"/>
                </a:cubicBezTo>
                <a:cubicBezTo>
                  <a:pt x="295" y="653"/>
                  <a:pt x="286" y="654"/>
                  <a:pt x="287" y="650"/>
                </a:cubicBezTo>
                <a:close/>
                <a:moveTo>
                  <a:pt x="292" y="691"/>
                </a:moveTo>
                <a:cubicBezTo>
                  <a:pt x="292" y="691"/>
                  <a:pt x="292" y="691"/>
                  <a:pt x="292" y="691"/>
                </a:cubicBezTo>
                <a:cubicBezTo>
                  <a:pt x="292" y="689"/>
                  <a:pt x="294" y="692"/>
                  <a:pt x="292" y="691"/>
                </a:cubicBezTo>
                <a:close/>
                <a:moveTo>
                  <a:pt x="292" y="646"/>
                </a:moveTo>
                <a:cubicBezTo>
                  <a:pt x="290" y="644"/>
                  <a:pt x="297" y="643"/>
                  <a:pt x="294" y="646"/>
                </a:cubicBezTo>
                <a:cubicBezTo>
                  <a:pt x="294" y="646"/>
                  <a:pt x="293" y="646"/>
                  <a:pt x="292" y="646"/>
                </a:cubicBezTo>
                <a:close/>
                <a:moveTo>
                  <a:pt x="294" y="600"/>
                </a:moveTo>
                <a:cubicBezTo>
                  <a:pt x="294" y="600"/>
                  <a:pt x="296" y="599"/>
                  <a:pt x="297" y="599"/>
                </a:cubicBezTo>
                <a:cubicBezTo>
                  <a:pt x="296" y="600"/>
                  <a:pt x="295" y="600"/>
                  <a:pt x="294" y="600"/>
                </a:cubicBezTo>
                <a:close/>
                <a:moveTo>
                  <a:pt x="293" y="530"/>
                </a:moveTo>
                <a:cubicBezTo>
                  <a:pt x="294" y="529"/>
                  <a:pt x="296" y="528"/>
                  <a:pt x="297" y="530"/>
                </a:cubicBezTo>
                <a:cubicBezTo>
                  <a:pt x="298" y="532"/>
                  <a:pt x="293" y="534"/>
                  <a:pt x="293" y="530"/>
                </a:cubicBezTo>
                <a:close/>
                <a:moveTo>
                  <a:pt x="303" y="581"/>
                </a:moveTo>
                <a:cubicBezTo>
                  <a:pt x="303" y="584"/>
                  <a:pt x="298" y="584"/>
                  <a:pt x="297" y="581"/>
                </a:cubicBezTo>
                <a:cubicBezTo>
                  <a:pt x="297" y="578"/>
                  <a:pt x="303" y="579"/>
                  <a:pt x="303" y="581"/>
                </a:cubicBezTo>
                <a:close/>
                <a:moveTo>
                  <a:pt x="298" y="504"/>
                </a:moveTo>
                <a:cubicBezTo>
                  <a:pt x="298" y="503"/>
                  <a:pt x="300" y="504"/>
                  <a:pt x="298" y="504"/>
                </a:cubicBezTo>
                <a:close/>
                <a:moveTo>
                  <a:pt x="300" y="102"/>
                </a:moveTo>
                <a:cubicBezTo>
                  <a:pt x="298" y="103"/>
                  <a:pt x="297" y="101"/>
                  <a:pt x="300" y="102"/>
                </a:cubicBezTo>
                <a:close/>
                <a:moveTo>
                  <a:pt x="299" y="578"/>
                </a:moveTo>
                <a:cubicBezTo>
                  <a:pt x="299" y="578"/>
                  <a:pt x="298" y="579"/>
                  <a:pt x="298" y="578"/>
                </a:cubicBezTo>
                <a:cubicBezTo>
                  <a:pt x="297" y="577"/>
                  <a:pt x="300" y="577"/>
                  <a:pt x="299" y="578"/>
                </a:cubicBezTo>
                <a:close/>
                <a:moveTo>
                  <a:pt x="303" y="67"/>
                </a:moveTo>
                <a:cubicBezTo>
                  <a:pt x="302" y="69"/>
                  <a:pt x="302" y="67"/>
                  <a:pt x="303" y="67"/>
                </a:cubicBezTo>
                <a:close/>
                <a:moveTo>
                  <a:pt x="304" y="592"/>
                </a:moveTo>
                <a:cubicBezTo>
                  <a:pt x="304" y="593"/>
                  <a:pt x="301" y="593"/>
                  <a:pt x="300" y="594"/>
                </a:cubicBezTo>
                <a:cubicBezTo>
                  <a:pt x="301" y="593"/>
                  <a:pt x="303" y="592"/>
                  <a:pt x="304" y="592"/>
                </a:cubicBezTo>
                <a:close/>
                <a:moveTo>
                  <a:pt x="304" y="660"/>
                </a:moveTo>
                <a:cubicBezTo>
                  <a:pt x="304" y="661"/>
                  <a:pt x="304" y="662"/>
                  <a:pt x="304" y="662"/>
                </a:cubicBezTo>
                <a:cubicBezTo>
                  <a:pt x="302" y="664"/>
                  <a:pt x="301" y="659"/>
                  <a:pt x="304" y="660"/>
                </a:cubicBezTo>
                <a:close/>
                <a:moveTo>
                  <a:pt x="308" y="41"/>
                </a:moveTo>
                <a:cubicBezTo>
                  <a:pt x="308" y="41"/>
                  <a:pt x="307" y="42"/>
                  <a:pt x="307" y="42"/>
                </a:cubicBezTo>
                <a:cubicBezTo>
                  <a:pt x="306" y="42"/>
                  <a:pt x="307" y="41"/>
                  <a:pt x="308" y="41"/>
                </a:cubicBezTo>
                <a:close/>
                <a:moveTo>
                  <a:pt x="298" y="26"/>
                </a:moveTo>
                <a:cubicBezTo>
                  <a:pt x="300" y="25"/>
                  <a:pt x="300" y="27"/>
                  <a:pt x="298" y="26"/>
                </a:cubicBezTo>
                <a:close/>
                <a:moveTo>
                  <a:pt x="299" y="30"/>
                </a:moveTo>
                <a:cubicBezTo>
                  <a:pt x="297" y="31"/>
                  <a:pt x="295" y="30"/>
                  <a:pt x="293" y="30"/>
                </a:cubicBezTo>
                <a:cubicBezTo>
                  <a:pt x="295" y="29"/>
                  <a:pt x="297" y="29"/>
                  <a:pt x="299" y="30"/>
                </a:cubicBezTo>
                <a:close/>
                <a:moveTo>
                  <a:pt x="291" y="53"/>
                </a:moveTo>
                <a:cubicBezTo>
                  <a:pt x="287" y="54"/>
                  <a:pt x="283" y="55"/>
                  <a:pt x="279" y="55"/>
                </a:cubicBezTo>
                <a:cubicBezTo>
                  <a:pt x="283" y="54"/>
                  <a:pt x="287" y="53"/>
                  <a:pt x="291" y="53"/>
                </a:cubicBezTo>
                <a:close/>
                <a:moveTo>
                  <a:pt x="288" y="513"/>
                </a:moveTo>
                <a:cubicBezTo>
                  <a:pt x="287" y="513"/>
                  <a:pt x="290" y="512"/>
                  <a:pt x="289" y="512"/>
                </a:cubicBezTo>
                <a:cubicBezTo>
                  <a:pt x="290" y="512"/>
                  <a:pt x="289" y="514"/>
                  <a:pt x="288" y="513"/>
                </a:cubicBezTo>
                <a:close/>
                <a:moveTo>
                  <a:pt x="282" y="526"/>
                </a:moveTo>
                <a:cubicBezTo>
                  <a:pt x="282" y="526"/>
                  <a:pt x="281" y="527"/>
                  <a:pt x="280" y="526"/>
                </a:cubicBezTo>
                <a:cubicBezTo>
                  <a:pt x="280" y="526"/>
                  <a:pt x="282" y="525"/>
                  <a:pt x="282" y="526"/>
                </a:cubicBezTo>
                <a:close/>
                <a:moveTo>
                  <a:pt x="286" y="526"/>
                </a:moveTo>
                <a:cubicBezTo>
                  <a:pt x="286" y="526"/>
                  <a:pt x="291" y="524"/>
                  <a:pt x="290" y="526"/>
                </a:cubicBezTo>
                <a:cubicBezTo>
                  <a:pt x="290" y="527"/>
                  <a:pt x="285" y="527"/>
                  <a:pt x="284" y="527"/>
                </a:cubicBezTo>
                <a:cubicBezTo>
                  <a:pt x="281" y="527"/>
                  <a:pt x="278" y="530"/>
                  <a:pt x="275" y="529"/>
                </a:cubicBezTo>
                <a:cubicBezTo>
                  <a:pt x="276" y="527"/>
                  <a:pt x="284" y="527"/>
                  <a:pt x="286" y="526"/>
                </a:cubicBezTo>
                <a:close/>
                <a:moveTo>
                  <a:pt x="277" y="694"/>
                </a:moveTo>
                <a:cubicBezTo>
                  <a:pt x="277" y="695"/>
                  <a:pt x="275" y="695"/>
                  <a:pt x="275" y="694"/>
                </a:cubicBezTo>
                <a:cubicBezTo>
                  <a:pt x="275" y="693"/>
                  <a:pt x="277" y="694"/>
                  <a:pt x="277" y="694"/>
                </a:cubicBezTo>
                <a:close/>
                <a:moveTo>
                  <a:pt x="266" y="653"/>
                </a:moveTo>
                <a:cubicBezTo>
                  <a:pt x="266" y="653"/>
                  <a:pt x="266" y="652"/>
                  <a:pt x="266" y="651"/>
                </a:cubicBezTo>
                <a:cubicBezTo>
                  <a:pt x="267" y="648"/>
                  <a:pt x="270" y="649"/>
                  <a:pt x="271" y="650"/>
                </a:cubicBezTo>
                <a:cubicBezTo>
                  <a:pt x="271" y="650"/>
                  <a:pt x="271" y="650"/>
                  <a:pt x="271" y="650"/>
                </a:cubicBezTo>
                <a:cubicBezTo>
                  <a:pt x="271" y="650"/>
                  <a:pt x="271" y="650"/>
                  <a:pt x="272" y="650"/>
                </a:cubicBezTo>
                <a:cubicBezTo>
                  <a:pt x="275" y="651"/>
                  <a:pt x="270" y="659"/>
                  <a:pt x="266" y="653"/>
                </a:cubicBezTo>
                <a:close/>
                <a:moveTo>
                  <a:pt x="268" y="657"/>
                </a:moveTo>
                <a:cubicBezTo>
                  <a:pt x="267" y="656"/>
                  <a:pt x="269" y="657"/>
                  <a:pt x="268" y="657"/>
                </a:cubicBezTo>
                <a:close/>
                <a:moveTo>
                  <a:pt x="264" y="633"/>
                </a:moveTo>
                <a:cubicBezTo>
                  <a:pt x="263" y="633"/>
                  <a:pt x="264" y="632"/>
                  <a:pt x="265" y="632"/>
                </a:cubicBezTo>
                <a:cubicBezTo>
                  <a:pt x="265" y="633"/>
                  <a:pt x="264" y="632"/>
                  <a:pt x="264" y="633"/>
                </a:cubicBezTo>
                <a:close/>
                <a:moveTo>
                  <a:pt x="263" y="663"/>
                </a:moveTo>
                <a:cubicBezTo>
                  <a:pt x="265" y="662"/>
                  <a:pt x="265" y="664"/>
                  <a:pt x="263" y="663"/>
                </a:cubicBezTo>
                <a:close/>
                <a:moveTo>
                  <a:pt x="265" y="623"/>
                </a:moveTo>
                <a:cubicBezTo>
                  <a:pt x="267" y="623"/>
                  <a:pt x="269" y="624"/>
                  <a:pt x="269" y="627"/>
                </a:cubicBezTo>
                <a:cubicBezTo>
                  <a:pt x="268" y="625"/>
                  <a:pt x="267" y="628"/>
                  <a:pt x="265" y="629"/>
                </a:cubicBezTo>
                <a:cubicBezTo>
                  <a:pt x="258" y="631"/>
                  <a:pt x="258" y="621"/>
                  <a:pt x="265" y="623"/>
                </a:cubicBezTo>
                <a:close/>
                <a:moveTo>
                  <a:pt x="271" y="560"/>
                </a:moveTo>
                <a:cubicBezTo>
                  <a:pt x="272" y="561"/>
                  <a:pt x="269" y="562"/>
                  <a:pt x="269" y="561"/>
                </a:cubicBezTo>
                <a:cubicBezTo>
                  <a:pt x="269" y="560"/>
                  <a:pt x="271" y="559"/>
                  <a:pt x="271" y="560"/>
                </a:cubicBezTo>
                <a:close/>
                <a:moveTo>
                  <a:pt x="271" y="507"/>
                </a:moveTo>
                <a:cubicBezTo>
                  <a:pt x="271" y="505"/>
                  <a:pt x="271" y="509"/>
                  <a:pt x="271" y="507"/>
                </a:cubicBezTo>
                <a:close/>
                <a:moveTo>
                  <a:pt x="273" y="532"/>
                </a:moveTo>
                <a:cubicBezTo>
                  <a:pt x="273" y="532"/>
                  <a:pt x="273" y="533"/>
                  <a:pt x="273" y="533"/>
                </a:cubicBezTo>
                <a:cubicBezTo>
                  <a:pt x="270" y="531"/>
                  <a:pt x="277" y="530"/>
                  <a:pt x="273" y="532"/>
                </a:cubicBezTo>
                <a:close/>
                <a:moveTo>
                  <a:pt x="273" y="556"/>
                </a:moveTo>
                <a:cubicBezTo>
                  <a:pt x="273" y="555"/>
                  <a:pt x="274" y="555"/>
                  <a:pt x="274" y="555"/>
                </a:cubicBezTo>
                <a:cubicBezTo>
                  <a:pt x="277" y="555"/>
                  <a:pt x="274" y="558"/>
                  <a:pt x="273" y="556"/>
                </a:cubicBezTo>
                <a:close/>
                <a:moveTo>
                  <a:pt x="270" y="624"/>
                </a:moveTo>
                <a:cubicBezTo>
                  <a:pt x="270" y="624"/>
                  <a:pt x="269" y="624"/>
                  <a:pt x="269" y="624"/>
                </a:cubicBezTo>
                <a:cubicBezTo>
                  <a:pt x="269" y="623"/>
                  <a:pt x="271" y="623"/>
                  <a:pt x="270" y="624"/>
                </a:cubicBezTo>
                <a:close/>
                <a:moveTo>
                  <a:pt x="266" y="617"/>
                </a:moveTo>
                <a:cubicBezTo>
                  <a:pt x="266" y="615"/>
                  <a:pt x="269" y="616"/>
                  <a:pt x="269" y="617"/>
                </a:cubicBezTo>
                <a:cubicBezTo>
                  <a:pt x="269" y="618"/>
                  <a:pt x="267" y="618"/>
                  <a:pt x="266" y="617"/>
                </a:cubicBezTo>
                <a:close/>
                <a:moveTo>
                  <a:pt x="271" y="647"/>
                </a:moveTo>
                <a:cubicBezTo>
                  <a:pt x="271" y="648"/>
                  <a:pt x="269" y="648"/>
                  <a:pt x="269" y="647"/>
                </a:cubicBezTo>
                <a:cubicBezTo>
                  <a:pt x="269" y="647"/>
                  <a:pt x="270" y="646"/>
                  <a:pt x="271" y="647"/>
                </a:cubicBezTo>
                <a:close/>
                <a:moveTo>
                  <a:pt x="270" y="628"/>
                </a:moveTo>
                <a:cubicBezTo>
                  <a:pt x="270" y="627"/>
                  <a:pt x="273" y="626"/>
                  <a:pt x="273" y="628"/>
                </a:cubicBezTo>
                <a:cubicBezTo>
                  <a:pt x="273" y="628"/>
                  <a:pt x="270" y="630"/>
                  <a:pt x="270" y="628"/>
                </a:cubicBezTo>
                <a:close/>
                <a:moveTo>
                  <a:pt x="273" y="613"/>
                </a:moveTo>
                <a:cubicBezTo>
                  <a:pt x="273" y="614"/>
                  <a:pt x="271" y="614"/>
                  <a:pt x="271" y="614"/>
                </a:cubicBezTo>
                <a:cubicBezTo>
                  <a:pt x="270" y="613"/>
                  <a:pt x="272" y="613"/>
                  <a:pt x="273" y="613"/>
                </a:cubicBezTo>
                <a:close/>
                <a:moveTo>
                  <a:pt x="270" y="571"/>
                </a:moveTo>
                <a:cubicBezTo>
                  <a:pt x="270" y="571"/>
                  <a:pt x="270" y="571"/>
                  <a:pt x="270" y="571"/>
                </a:cubicBezTo>
                <a:cubicBezTo>
                  <a:pt x="270" y="569"/>
                  <a:pt x="272" y="572"/>
                  <a:pt x="270" y="571"/>
                </a:cubicBezTo>
                <a:close/>
                <a:moveTo>
                  <a:pt x="271" y="564"/>
                </a:moveTo>
                <a:cubicBezTo>
                  <a:pt x="269" y="565"/>
                  <a:pt x="268" y="566"/>
                  <a:pt x="267" y="566"/>
                </a:cubicBezTo>
                <a:cubicBezTo>
                  <a:pt x="268" y="565"/>
                  <a:pt x="269" y="564"/>
                  <a:pt x="271" y="564"/>
                </a:cubicBezTo>
                <a:close/>
                <a:moveTo>
                  <a:pt x="271" y="572"/>
                </a:moveTo>
                <a:cubicBezTo>
                  <a:pt x="269" y="573"/>
                  <a:pt x="269" y="574"/>
                  <a:pt x="271" y="574"/>
                </a:cubicBezTo>
                <a:cubicBezTo>
                  <a:pt x="270" y="576"/>
                  <a:pt x="266" y="579"/>
                  <a:pt x="263" y="577"/>
                </a:cubicBezTo>
                <a:cubicBezTo>
                  <a:pt x="258" y="573"/>
                  <a:pt x="266" y="568"/>
                  <a:pt x="271" y="572"/>
                </a:cubicBezTo>
                <a:close/>
                <a:moveTo>
                  <a:pt x="264" y="612"/>
                </a:moveTo>
                <a:cubicBezTo>
                  <a:pt x="265" y="612"/>
                  <a:pt x="263" y="612"/>
                  <a:pt x="263" y="612"/>
                </a:cubicBezTo>
                <a:cubicBezTo>
                  <a:pt x="263" y="611"/>
                  <a:pt x="264" y="611"/>
                  <a:pt x="264" y="612"/>
                </a:cubicBezTo>
                <a:close/>
                <a:moveTo>
                  <a:pt x="266" y="632"/>
                </a:moveTo>
                <a:cubicBezTo>
                  <a:pt x="266" y="632"/>
                  <a:pt x="266" y="632"/>
                  <a:pt x="266" y="632"/>
                </a:cubicBezTo>
                <a:cubicBezTo>
                  <a:pt x="265" y="630"/>
                  <a:pt x="268" y="633"/>
                  <a:pt x="266" y="632"/>
                </a:cubicBezTo>
                <a:close/>
                <a:moveTo>
                  <a:pt x="276" y="663"/>
                </a:moveTo>
                <a:cubicBezTo>
                  <a:pt x="274" y="664"/>
                  <a:pt x="273" y="665"/>
                  <a:pt x="271" y="665"/>
                </a:cubicBezTo>
                <a:cubicBezTo>
                  <a:pt x="272" y="663"/>
                  <a:pt x="274" y="663"/>
                  <a:pt x="276" y="663"/>
                </a:cubicBezTo>
                <a:close/>
                <a:moveTo>
                  <a:pt x="270" y="486"/>
                </a:moveTo>
                <a:cubicBezTo>
                  <a:pt x="270" y="486"/>
                  <a:pt x="270" y="486"/>
                  <a:pt x="270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0" y="485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lose/>
                <a:moveTo>
                  <a:pt x="274" y="496"/>
                </a:moveTo>
                <a:cubicBezTo>
                  <a:pt x="274" y="499"/>
                  <a:pt x="269" y="498"/>
                  <a:pt x="269" y="496"/>
                </a:cubicBezTo>
                <a:cubicBezTo>
                  <a:pt x="269" y="496"/>
                  <a:pt x="274" y="494"/>
                  <a:pt x="274" y="496"/>
                </a:cubicBezTo>
                <a:close/>
                <a:moveTo>
                  <a:pt x="276" y="504"/>
                </a:moveTo>
                <a:cubicBezTo>
                  <a:pt x="274" y="506"/>
                  <a:pt x="271" y="506"/>
                  <a:pt x="269" y="507"/>
                </a:cubicBezTo>
                <a:cubicBezTo>
                  <a:pt x="270" y="506"/>
                  <a:pt x="274" y="504"/>
                  <a:pt x="276" y="504"/>
                </a:cubicBezTo>
                <a:close/>
                <a:moveTo>
                  <a:pt x="268" y="467"/>
                </a:moveTo>
                <a:cubicBezTo>
                  <a:pt x="268" y="468"/>
                  <a:pt x="268" y="468"/>
                  <a:pt x="267" y="468"/>
                </a:cubicBezTo>
                <a:cubicBezTo>
                  <a:pt x="267" y="468"/>
                  <a:pt x="268" y="467"/>
                  <a:pt x="268" y="467"/>
                </a:cubicBezTo>
                <a:close/>
                <a:moveTo>
                  <a:pt x="267" y="506"/>
                </a:moveTo>
                <a:cubicBezTo>
                  <a:pt x="268" y="506"/>
                  <a:pt x="267" y="507"/>
                  <a:pt x="267" y="507"/>
                </a:cubicBezTo>
                <a:cubicBezTo>
                  <a:pt x="266" y="506"/>
                  <a:pt x="267" y="506"/>
                  <a:pt x="267" y="506"/>
                </a:cubicBezTo>
                <a:close/>
                <a:moveTo>
                  <a:pt x="264" y="562"/>
                </a:moveTo>
                <a:cubicBezTo>
                  <a:pt x="265" y="562"/>
                  <a:pt x="262" y="562"/>
                  <a:pt x="262" y="562"/>
                </a:cubicBezTo>
                <a:cubicBezTo>
                  <a:pt x="262" y="562"/>
                  <a:pt x="264" y="561"/>
                  <a:pt x="264" y="562"/>
                </a:cubicBezTo>
                <a:close/>
                <a:moveTo>
                  <a:pt x="262" y="562"/>
                </a:moveTo>
                <a:cubicBezTo>
                  <a:pt x="261" y="563"/>
                  <a:pt x="260" y="561"/>
                  <a:pt x="262" y="562"/>
                </a:cubicBezTo>
                <a:close/>
                <a:moveTo>
                  <a:pt x="260" y="440"/>
                </a:moveTo>
                <a:cubicBezTo>
                  <a:pt x="261" y="440"/>
                  <a:pt x="260" y="441"/>
                  <a:pt x="260" y="441"/>
                </a:cubicBezTo>
                <a:cubicBezTo>
                  <a:pt x="257" y="443"/>
                  <a:pt x="259" y="439"/>
                  <a:pt x="260" y="440"/>
                </a:cubicBezTo>
                <a:close/>
                <a:moveTo>
                  <a:pt x="257" y="484"/>
                </a:moveTo>
                <a:cubicBezTo>
                  <a:pt x="257" y="484"/>
                  <a:pt x="257" y="483"/>
                  <a:pt x="257" y="483"/>
                </a:cubicBezTo>
                <a:cubicBezTo>
                  <a:pt x="257" y="484"/>
                  <a:pt x="257" y="484"/>
                  <a:pt x="257" y="484"/>
                </a:cubicBezTo>
                <a:cubicBezTo>
                  <a:pt x="257" y="484"/>
                  <a:pt x="257" y="484"/>
                  <a:pt x="257" y="484"/>
                </a:cubicBezTo>
                <a:close/>
                <a:moveTo>
                  <a:pt x="256" y="495"/>
                </a:moveTo>
                <a:cubicBezTo>
                  <a:pt x="255" y="496"/>
                  <a:pt x="255" y="496"/>
                  <a:pt x="254" y="495"/>
                </a:cubicBezTo>
                <a:cubicBezTo>
                  <a:pt x="254" y="494"/>
                  <a:pt x="257" y="494"/>
                  <a:pt x="256" y="495"/>
                </a:cubicBezTo>
                <a:close/>
                <a:moveTo>
                  <a:pt x="252" y="519"/>
                </a:moveTo>
                <a:cubicBezTo>
                  <a:pt x="252" y="519"/>
                  <a:pt x="252" y="520"/>
                  <a:pt x="252" y="520"/>
                </a:cubicBezTo>
                <a:cubicBezTo>
                  <a:pt x="251" y="519"/>
                  <a:pt x="252" y="518"/>
                  <a:pt x="252" y="519"/>
                </a:cubicBezTo>
                <a:close/>
                <a:moveTo>
                  <a:pt x="250" y="460"/>
                </a:moveTo>
                <a:cubicBezTo>
                  <a:pt x="251" y="459"/>
                  <a:pt x="251" y="460"/>
                  <a:pt x="251" y="461"/>
                </a:cubicBezTo>
                <a:cubicBezTo>
                  <a:pt x="250" y="462"/>
                  <a:pt x="249" y="460"/>
                  <a:pt x="250" y="460"/>
                </a:cubicBezTo>
                <a:close/>
                <a:moveTo>
                  <a:pt x="253" y="530"/>
                </a:moveTo>
                <a:cubicBezTo>
                  <a:pt x="254" y="528"/>
                  <a:pt x="259" y="522"/>
                  <a:pt x="261" y="522"/>
                </a:cubicBezTo>
                <a:cubicBezTo>
                  <a:pt x="264" y="521"/>
                  <a:pt x="260" y="524"/>
                  <a:pt x="259" y="524"/>
                </a:cubicBezTo>
                <a:cubicBezTo>
                  <a:pt x="257" y="526"/>
                  <a:pt x="255" y="529"/>
                  <a:pt x="253" y="531"/>
                </a:cubicBezTo>
                <a:cubicBezTo>
                  <a:pt x="253" y="531"/>
                  <a:pt x="253" y="531"/>
                  <a:pt x="253" y="531"/>
                </a:cubicBezTo>
                <a:cubicBezTo>
                  <a:pt x="253" y="531"/>
                  <a:pt x="253" y="532"/>
                  <a:pt x="252" y="532"/>
                </a:cubicBezTo>
                <a:cubicBezTo>
                  <a:pt x="252" y="532"/>
                  <a:pt x="252" y="532"/>
                  <a:pt x="252" y="532"/>
                </a:cubicBezTo>
                <a:cubicBezTo>
                  <a:pt x="251" y="533"/>
                  <a:pt x="251" y="533"/>
                  <a:pt x="250" y="534"/>
                </a:cubicBezTo>
                <a:cubicBezTo>
                  <a:pt x="250" y="534"/>
                  <a:pt x="249" y="533"/>
                  <a:pt x="249" y="533"/>
                </a:cubicBezTo>
                <a:cubicBezTo>
                  <a:pt x="249" y="533"/>
                  <a:pt x="251" y="531"/>
                  <a:pt x="253" y="530"/>
                </a:cubicBezTo>
                <a:close/>
                <a:moveTo>
                  <a:pt x="253" y="640"/>
                </a:moveTo>
                <a:cubicBezTo>
                  <a:pt x="253" y="638"/>
                  <a:pt x="257" y="638"/>
                  <a:pt x="258" y="639"/>
                </a:cubicBezTo>
                <a:cubicBezTo>
                  <a:pt x="259" y="641"/>
                  <a:pt x="254" y="642"/>
                  <a:pt x="253" y="640"/>
                </a:cubicBezTo>
                <a:close/>
                <a:moveTo>
                  <a:pt x="255" y="652"/>
                </a:moveTo>
                <a:cubicBezTo>
                  <a:pt x="256" y="653"/>
                  <a:pt x="254" y="653"/>
                  <a:pt x="254" y="652"/>
                </a:cubicBezTo>
                <a:cubicBezTo>
                  <a:pt x="253" y="651"/>
                  <a:pt x="255" y="651"/>
                  <a:pt x="255" y="652"/>
                </a:cubicBezTo>
                <a:close/>
                <a:moveTo>
                  <a:pt x="240" y="645"/>
                </a:moveTo>
                <a:cubicBezTo>
                  <a:pt x="238" y="644"/>
                  <a:pt x="237" y="642"/>
                  <a:pt x="239" y="640"/>
                </a:cubicBezTo>
                <a:cubicBezTo>
                  <a:pt x="240" y="639"/>
                  <a:pt x="242" y="639"/>
                  <a:pt x="244" y="639"/>
                </a:cubicBezTo>
                <a:cubicBezTo>
                  <a:pt x="245" y="639"/>
                  <a:pt x="247" y="639"/>
                  <a:pt x="247" y="640"/>
                </a:cubicBezTo>
                <a:cubicBezTo>
                  <a:pt x="247" y="640"/>
                  <a:pt x="247" y="640"/>
                  <a:pt x="246" y="640"/>
                </a:cubicBezTo>
                <a:cubicBezTo>
                  <a:pt x="246" y="640"/>
                  <a:pt x="247" y="640"/>
                  <a:pt x="247" y="640"/>
                </a:cubicBezTo>
                <a:cubicBezTo>
                  <a:pt x="247" y="640"/>
                  <a:pt x="247" y="641"/>
                  <a:pt x="247" y="641"/>
                </a:cubicBezTo>
                <a:cubicBezTo>
                  <a:pt x="248" y="642"/>
                  <a:pt x="242" y="646"/>
                  <a:pt x="240" y="645"/>
                </a:cubicBezTo>
                <a:close/>
                <a:moveTo>
                  <a:pt x="241" y="660"/>
                </a:moveTo>
                <a:cubicBezTo>
                  <a:pt x="240" y="661"/>
                  <a:pt x="239" y="660"/>
                  <a:pt x="240" y="659"/>
                </a:cubicBezTo>
                <a:cubicBezTo>
                  <a:pt x="240" y="659"/>
                  <a:pt x="242" y="659"/>
                  <a:pt x="241" y="660"/>
                </a:cubicBezTo>
                <a:close/>
                <a:moveTo>
                  <a:pt x="250" y="593"/>
                </a:moveTo>
                <a:cubicBezTo>
                  <a:pt x="247" y="595"/>
                  <a:pt x="244" y="594"/>
                  <a:pt x="240" y="596"/>
                </a:cubicBezTo>
                <a:cubicBezTo>
                  <a:pt x="243" y="594"/>
                  <a:pt x="247" y="594"/>
                  <a:pt x="250" y="593"/>
                </a:cubicBezTo>
                <a:close/>
                <a:moveTo>
                  <a:pt x="245" y="578"/>
                </a:moveTo>
                <a:cubicBezTo>
                  <a:pt x="246" y="579"/>
                  <a:pt x="245" y="579"/>
                  <a:pt x="245" y="579"/>
                </a:cubicBezTo>
                <a:cubicBezTo>
                  <a:pt x="243" y="581"/>
                  <a:pt x="244" y="577"/>
                  <a:pt x="245" y="578"/>
                </a:cubicBezTo>
                <a:close/>
                <a:moveTo>
                  <a:pt x="253" y="551"/>
                </a:moveTo>
                <a:cubicBezTo>
                  <a:pt x="254" y="550"/>
                  <a:pt x="255" y="549"/>
                  <a:pt x="257" y="549"/>
                </a:cubicBezTo>
                <a:cubicBezTo>
                  <a:pt x="256" y="550"/>
                  <a:pt x="254" y="551"/>
                  <a:pt x="253" y="551"/>
                </a:cubicBezTo>
                <a:close/>
                <a:moveTo>
                  <a:pt x="255" y="555"/>
                </a:moveTo>
                <a:cubicBezTo>
                  <a:pt x="253" y="557"/>
                  <a:pt x="254" y="552"/>
                  <a:pt x="256" y="554"/>
                </a:cubicBezTo>
                <a:cubicBezTo>
                  <a:pt x="257" y="554"/>
                  <a:pt x="256" y="555"/>
                  <a:pt x="255" y="555"/>
                </a:cubicBezTo>
                <a:close/>
                <a:moveTo>
                  <a:pt x="258" y="564"/>
                </a:moveTo>
                <a:cubicBezTo>
                  <a:pt x="258" y="566"/>
                  <a:pt x="252" y="567"/>
                  <a:pt x="252" y="564"/>
                </a:cubicBezTo>
                <a:cubicBezTo>
                  <a:pt x="252" y="561"/>
                  <a:pt x="258" y="562"/>
                  <a:pt x="258" y="564"/>
                </a:cubicBezTo>
                <a:close/>
                <a:moveTo>
                  <a:pt x="257" y="589"/>
                </a:moveTo>
                <a:cubicBezTo>
                  <a:pt x="256" y="590"/>
                  <a:pt x="258" y="588"/>
                  <a:pt x="257" y="589"/>
                </a:cubicBezTo>
                <a:close/>
                <a:moveTo>
                  <a:pt x="254" y="619"/>
                </a:moveTo>
                <a:cubicBezTo>
                  <a:pt x="254" y="619"/>
                  <a:pt x="253" y="619"/>
                  <a:pt x="254" y="619"/>
                </a:cubicBezTo>
                <a:close/>
                <a:moveTo>
                  <a:pt x="254" y="612"/>
                </a:moveTo>
                <a:cubicBezTo>
                  <a:pt x="254" y="612"/>
                  <a:pt x="254" y="613"/>
                  <a:pt x="254" y="613"/>
                </a:cubicBezTo>
                <a:cubicBezTo>
                  <a:pt x="253" y="613"/>
                  <a:pt x="254" y="612"/>
                  <a:pt x="254" y="612"/>
                </a:cubicBezTo>
                <a:close/>
                <a:moveTo>
                  <a:pt x="254" y="619"/>
                </a:moveTo>
                <a:cubicBezTo>
                  <a:pt x="257" y="616"/>
                  <a:pt x="255" y="621"/>
                  <a:pt x="254" y="620"/>
                </a:cubicBezTo>
                <a:cubicBezTo>
                  <a:pt x="254" y="620"/>
                  <a:pt x="254" y="619"/>
                  <a:pt x="254" y="619"/>
                </a:cubicBezTo>
                <a:close/>
                <a:moveTo>
                  <a:pt x="253" y="608"/>
                </a:moveTo>
                <a:cubicBezTo>
                  <a:pt x="250" y="609"/>
                  <a:pt x="255" y="604"/>
                  <a:pt x="257" y="605"/>
                </a:cubicBezTo>
                <a:cubicBezTo>
                  <a:pt x="256" y="605"/>
                  <a:pt x="254" y="607"/>
                  <a:pt x="253" y="608"/>
                </a:cubicBezTo>
                <a:close/>
                <a:moveTo>
                  <a:pt x="255" y="600"/>
                </a:moveTo>
                <a:cubicBezTo>
                  <a:pt x="254" y="602"/>
                  <a:pt x="252" y="601"/>
                  <a:pt x="255" y="600"/>
                </a:cubicBezTo>
                <a:close/>
                <a:moveTo>
                  <a:pt x="256" y="599"/>
                </a:moveTo>
                <a:cubicBezTo>
                  <a:pt x="255" y="599"/>
                  <a:pt x="256" y="598"/>
                  <a:pt x="256" y="599"/>
                </a:cubicBezTo>
                <a:cubicBezTo>
                  <a:pt x="256" y="599"/>
                  <a:pt x="256" y="599"/>
                  <a:pt x="256" y="599"/>
                </a:cubicBezTo>
                <a:close/>
                <a:moveTo>
                  <a:pt x="253" y="571"/>
                </a:moveTo>
                <a:cubicBezTo>
                  <a:pt x="253" y="571"/>
                  <a:pt x="252" y="572"/>
                  <a:pt x="252" y="571"/>
                </a:cubicBezTo>
                <a:cubicBezTo>
                  <a:pt x="251" y="570"/>
                  <a:pt x="253" y="570"/>
                  <a:pt x="253" y="571"/>
                </a:cubicBezTo>
                <a:close/>
                <a:moveTo>
                  <a:pt x="251" y="558"/>
                </a:moveTo>
                <a:cubicBezTo>
                  <a:pt x="251" y="557"/>
                  <a:pt x="253" y="556"/>
                  <a:pt x="253" y="557"/>
                </a:cubicBezTo>
                <a:cubicBezTo>
                  <a:pt x="253" y="558"/>
                  <a:pt x="252" y="558"/>
                  <a:pt x="251" y="558"/>
                </a:cubicBezTo>
                <a:close/>
                <a:moveTo>
                  <a:pt x="246" y="555"/>
                </a:moveTo>
                <a:cubicBezTo>
                  <a:pt x="247" y="553"/>
                  <a:pt x="251" y="552"/>
                  <a:pt x="253" y="551"/>
                </a:cubicBezTo>
                <a:cubicBezTo>
                  <a:pt x="251" y="553"/>
                  <a:pt x="248" y="554"/>
                  <a:pt x="246" y="555"/>
                </a:cubicBezTo>
                <a:close/>
                <a:moveTo>
                  <a:pt x="245" y="613"/>
                </a:moveTo>
                <a:cubicBezTo>
                  <a:pt x="244" y="615"/>
                  <a:pt x="242" y="615"/>
                  <a:pt x="240" y="615"/>
                </a:cubicBezTo>
                <a:cubicBezTo>
                  <a:pt x="241" y="614"/>
                  <a:pt x="243" y="613"/>
                  <a:pt x="244" y="613"/>
                </a:cubicBezTo>
                <a:cubicBezTo>
                  <a:pt x="244" y="613"/>
                  <a:pt x="243" y="613"/>
                  <a:pt x="244" y="612"/>
                </a:cubicBezTo>
                <a:cubicBezTo>
                  <a:pt x="244" y="611"/>
                  <a:pt x="247" y="612"/>
                  <a:pt x="247" y="612"/>
                </a:cubicBezTo>
                <a:cubicBezTo>
                  <a:pt x="247" y="613"/>
                  <a:pt x="246" y="613"/>
                  <a:pt x="245" y="613"/>
                </a:cubicBezTo>
                <a:cubicBezTo>
                  <a:pt x="245" y="613"/>
                  <a:pt x="245" y="613"/>
                  <a:pt x="245" y="613"/>
                </a:cubicBezTo>
                <a:close/>
                <a:moveTo>
                  <a:pt x="241" y="634"/>
                </a:moveTo>
                <a:cubicBezTo>
                  <a:pt x="241" y="634"/>
                  <a:pt x="241" y="634"/>
                  <a:pt x="242" y="634"/>
                </a:cubicBezTo>
                <a:cubicBezTo>
                  <a:pt x="242" y="634"/>
                  <a:pt x="242" y="635"/>
                  <a:pt x="241" y="634"/>
                </a:cubicBezTo>
                <a:close/>
                <a:moveTo>
                  <a:pt x="240" y="485"/>
                </a:moveTo>
                <a:cubicBezTo>
                  <a:pt x="240" y="485"/>
                  <a:pt x="241" y="484"/>
                  <a:pt x="241" y="484"/>
                </a:cubicBezTo>
                <a:cubicBezTo>
                  <a:pt x="241" y="485"/>
                  <a:pt x="240" y="485"/>
                  <a:pt x="240" y="485"/>
                </a:cubicBezTo>
                <a:close/>
                <a:moveTo>
                  <a:pt x="240" y="535"/>
                </a:moveTo>
                <a:cubicBezTo>
                  <a:pt x="240" y="535"/>
                  <a:pt x="240" y="535"/>
                  <a:pt x="239" y="535"/>
                </a:cubicBezTo>
                <a:cubicBezTo>
                  <a:pt x="239" y="535"/>
                  <a:pt x="240" y="534"/>
                  <a:pt x="240" y="535"/>
                </a:cubicBezTo>
                <a:close/>
                <a:moveTo>
                  <a:pt x="243" y="647"/>
                </a:moveTo>
                <a:cubicBezTo>
                  <a:pt x="243" y="646"/>
                  <a:pt x="244" y="647"/>
                  <a:pt x="243" y="647"/>
                </a:cubicBezTo>
                <a:close/>
                <a:moveTo>
                  <a:pt x="243" y="664"/>
                </a:moveTo>
                <a:cubicBezTo>
                  <a:pt x="242" y="665"/>
                  <a:pt x="242" y="663"/>
                  <a:pt x="243" y="664"/>
                </a:cubicBezTo>
                <a:close/>
                <a:moveTo>
                  <a:pt x="244" y="665"/>
                </a:moveTo>
                <a:cubicBezTo>
                  <a:pt x="244" y="666"/>
                  <a:pt x="243" y="666"/>
                  <a:pt x="243" y="666"/>
                </a:cubicBezTo>
                <a:cubicBezTo>
                  <a:pt x="242" y="665"/>
                  <a:pt x="244" y="665"/>
                  <a:pt x="244" y="665"/>
                </a:cubicBezTo>
                <a:close/>
                <a:moveTo>
                  <a:pt x="244" y="658"/>
                </a:moveTo>
                <a:cubicBezTo>
                  <a:pt x="244" y="656"/>
                  <a:pt x="249" y="657"/>
                  <a:pt x="247" y="659"/>
                </a:cubicBezTo>
                <a:cubicBezTo>
                  <a:pt x="247" y="660"/>
                  <a:pt x="244" y="659"/>
                  <a:pt x="244" y="658"/>
                </a:cubicBezTo>
                <a:close/>
                <a:moveTo>
                  <a:pt x="248" y="619"/>
                </a:moveTo>
                <a:cubicBezTo>
                  <a:pt x="246" y="620"/>
                  <a:pt x="246" y="618"/>
                  <a:pt x="248" y="619"/>
                </a:cubicBezTo>
                <a:close/>
                <a:moveTo>
                  <a:pt x="249" y="639"/>
                </a:moveTo>
                <a:cubicBezTo>
                  <a:pt x="250" y="640"/>
                  <a:pt x="249" y="640"/>
                  <a:pt x="249" y="640"/>
                </a:cubicBezTo>
                <a:cubicBezTo>
                  <a:pt x="247" y="642"/>
                  <a:pt x="248" y="638"/>
                  <a:pt x="249" y="639"/>
                </a:cubicBezTo>
                <a:close/>
                <a:moveTo>
                  <a:pt x="249" y="606"/>
                </a:moveTo>
                <a:cubicBezTo>
                  <a:pt x="248" y="605"/>
                  <a:pt x="251" y="605"/>
                  <a:pt x="251" y="605"/>
                </a:cubicBezTo>
                <a:cubicBezTo>
                  <a:pt x="251" y="606"/>
                  <a:pt x="249" y="606"/>
                  <a:pt x="249" y="606"/>
                </a:cubicBezTo>
                <a:close/>
                <a:moveTo>
                  <a:pt x="247" y="598"/>
                </a:moveTo>
                <a:cubicBezTo>
                  <a:pt x="247" y="598"/>
                  <a:pt x="248" y="596"/>
                  <a:pt x="248" y="596"/>
                </a:cubicBezTo>
                <a:cubicBezTo>
                  <a:pt x="249" y="595"/>
                  <a:pt x="250" y="594"/>
                  <a:pt x="251" y="596"/>
                </a:cubicBezTo>
                <a:cubicBezTo>
                  <a:pt x="251" y="596"/>
                  <a:pt x="251" y="596"/>
                  <a:pt x="250" y="597"/>
                </a:cubicBezTo>
                <a:cubicBezTo>
                  <a:pt x="251" y="597"/>
                  <a:pt x="253" y="598"/>
                  <a:pt x="253" y="598"/>
                </a:cubicBezTo>
                <a:cubicBezTo>
                  <a:pt x="254" y="602"/>
                  <a:pt x="247" y="599"/>
                  <a:pt x="247" y="598"/>
                </a:cubicBezTo>
                <a:close/>
                <a:moveTo>
                  <a:pt x="253" y="601"/>
                </a:moveTo>
                <a:cubicBezTo>
                  <a:pt x="253" y="602"/>
                  <a:pt x="252" y="602"/>
                  <a:pt x="251" y="602"/>
                </a:cubicBezTo>
                <a:cubicBezTo>
                  <a:pt x="251" y="602"/>
                  <a:pt x="252" y="601"/>
                  <a:pt x="253" y="601"/>
                </a:cubicBezTo>
                <a:close/>
                <a:moveTo>
                  <a:pt x="253" y="609"/>
                </a:moveTo>
                <a:cubicBezTo>
                  <a:pt x="254" y="609"/>
                  <a:pt x="252" y="610"/>
                  <a:pt x="252" y="610"/>
                </a:cubicBezTo>
                <a:cubicBezTo>
                  <a:pt x="251" y="609"/>
                  <a:pt x="253" y="608"/>
                  <a:pt x="253" y="609"/>
                </a:cubicBezTo>
                <a:close/>
                <a:moveTo>
                  <a:pt x="254" y="650"/>
                </a:moveTo>
                <a:cubicBezTo>
                  <a:pt x="253" y="652"/>
                  <a:pt x="252" y="649"/>
                  <a:pt x="254" y="650"/>
                </a:cubicBezTo>
                <a:close/>
                <a:moveTo>
                  <a:pt x="256" y="592"/>
                </a:moveTo>
                <a:cubicBezTo>
                  <a:pt x="255" y="590"/>
                  <a:pt x="259" y="590"/>
                  <a:pt x="260" y="591"/>
                </a:cubicBezTo>
                <a:cubicBezTo>
                  <a:pt x="260" y="592"/>
                  <a:pt x="256" y="594"/>
                  <a:pt x="256" y="592"/>
                </a:cubicBezTo>
                <a:close/>
                <a:moveTo>
                  <a:pt x="249" y="520"/>
                </a:moveTo>
                <a:cubicBezTo>
                  <a:pt x="249" y="520"/>
                  <a:pt x="249" y="521"/>
                  <a:pt x="249" y="521"/>
                </a:cubicBezTo>
                <a:cubicBezTo>
                  <a:pt x="248" y="522"/>
                  <a:pt x="248" y="519"/>
                  <a:pt x="249" y="520"/>
                </a:cubicBezTo>
                <a:close/>
                <a:moveTo>
                  <a:pt x="249" y="536"/>
                </a:moveTo>
                <a:cubicBezTo>
                  <a:pt x="249" y="538"/>
                  <a:pt x="244" y="540"/>
                  <a:pt x="244" y="536"/>
                </a:cubicBezTo>
                <a:cubicBezTo>
                  <a:pt x="244" y="535"/>
                  <a:pt x="249" y="534"/>
                  <a:pt x="249" y="536"/>
                </a:cubicBezTo>
                <a:close/>
                <a:moveTo>
                  <a:pt x="244" y="450"/>
                </a:moveTo>
                <a:cubicBezTo>
                  <a:pt x="244" y="450"/>
                  <a:pt x="244" y="450"/>
                  <a:pt x="244" y="450"/>
                </a:cubicBezTo>
                <a:cubicBezTo>
                  <a:pt x="243" y="450"/>
                  <a:pt x="244" y="449"/>
                  <a:pt x="244" y="450"/>
                </a:cubicBezTo>
                <a:close/>
                <a:moveTo>
                  <a:pt x="243" y="420"/>
                </a:moveTo>
                <a:cubicBezTo>
                  <a:pt x="243" y="420"/>
                  <a:pt x="243" y="420"/>
                  <a:pt x="243" y="420"/>
                </a:cubicBezTo>
                <a:cubicBezTo>
                  <a:pt x="244" y="420"/>
                  <a:pt x="244" y="420"/>
                  <a:pt x="243" y="420"/>
                </a:cubicBezTo>
                <a:close/>
                <a:moveTo>
                  <a:pt x="241" y="504"/>
                </a:moveTo>
                <a:cubicBezTo>
                  <a:pt x="240" y="502"/>
                  <a:pt x="243" y="504"/>
                  <a:pt x="241" y="504"/>
                </a:cubicBezTo>
                <a:close/>
                <a:moveTo>
                  <a:pt x="235" y="479"/>
                </a:moveTo>
                <a:cubicBezTo>
                  <a:pt x="236" y="477"/>
                  <a:pt x="240" y="471"/>
                  <a:pt x="242" y="470"/>
                </a:cubicBezTo>
                <a:cubicBezTo>
                  <a:pt x="240" y="473"/>
                  <a:pt x="238" y="476"/>
                  <a:pt x="235" y="479"/>
                </a:cubicBezTo>
                <a:close/>
                <a:moveTo>
                  <a:pt x="236" y="507"/>
                </a:moveTo>
                <a:cubicBezTo>
                  <a:pt x="236" y="508"/>
                  <a:pt x="235" y="508"/>
                  <a:pt x="235" y="507"/>
                </a:cubicBezTo>
                <a:cubicBezTo>
                  <a:pt x="235" y="506"/>
                  <a:pt x="236" y="507"/>
                  <a:pt x="236" y="507"/>
                </a:cubicBezTo>
                <a:close/>
                <a:moveTo>
                  <a:pt x="242" y="337"/>
                </a:moveTo>
                <a:cubicBezTo>
                  <a:pt x="240" y="339"/>
                  <a:pt x="238" y="341"/>
                  <a:pt x="235" y="343"/>
                </a:cubicBezTo>
                <a:cubicBezTo>
                  <a:pt x="237" y="341"/>
                  <a:pt x="240" y="338"/>
                  <a:pt x="242" y="337"/>
                </a:cubicBezTo>
                <a:close/>
                <a:moveTo>
                  <a:pt x="235" y="428"/>
                </a:moveTo>
                <a:cubicBezTo>
                  <a:pt x="235" y="427"/>
                  <a:pt x="234" y="429"/>
                  <a:pt x="235" y="428"/>
                </a:cubicBezTo>
                <a:close/>
                <a:moveTo>
                  <a:pt x="236" y="488"/>
                </a:moveTo>
                <a:cubicBezTo>
                  <a:pt x="233" y="491"/>
                  <a:pt x="233" y="494"/>
                  <a:pt x="230" y="496"/>
                </a:cubicBezTo>
                <a:cubicBezTo>
                  <a:pt x="231" y="494"/>
                  <a:pt x="233" y="489"/>
                  <a:pt x="236" y="488"/>
                </a:cubicBezTo>
                <a:close/>
                <a:moveTo>
                  <a:pt x="235" y="529"/>
                </a:moveTo>
                <a:cubicBezTo>
                  <a:pt x="235" y="529"/>
                  <a:pt x="234" y="529"/>
                  <a:pt x="234" y="529"/>
                </a:cubicBezTo>
                <a:cubicBezTo>
                  <a:pt x="234" y="528"/>
                  <a:pt x="235" y="529"/>
                  <a:pt x="235" y="529"/>
                </a:cubicBezTo>
                <a:close/>
                <a:moveTo>
                  <a:pt x="232" y="503"/>
                </a:moveTo>
                <a:cubicBezTo>
                  <a:pt x="232" y="504"/>
                  <a:pt x="231" y="504"/>
                  <a:pt x="231" y="504"/>
                </a:cubicBezTo>
                <a:cubicBezTo>
                  <a:pt x="231" y="503"/>
                  <a:pt x="232" y="502"/>
                  <a:pt x="232" y="503"/>
                </a:cubicBezTo>
                <a:close/>
                <a:moveTo>
                  <a:pt x="233" y="322"/>
                </a:moveTo>
                <a:cubicBezTo>
                  <a:pt x="234" y="320"/>
                  <a:pt x="232" y="323"/>
                  <a:pt x="233" y="322"/>
                </a:cubicBezTo>
                <a:close/>
                <a:moveTo>
                  <a:pt x="233" y="463"/>
                </a:moveTo>
                <a:cubicBezTo>
                  <a:pt x="232" y="465"/>
                  <a:pt x="234" y="462"/>
                  <a:pt x="233" y="463"/>
                </a:cubicBezTo>
                <a:close/>
                <a:moveTo>
                  <a:pt x="232" y="465"/>
                </a:moveTo>
                <a:cubicBezTo>
                  <a:pt x="233" y="467"/>
                  <a:pt x="229" y="469"/>
                  <a:pt x="228" y="466"/>
                </a:cubicBezTo>
                <a:cubicBezTo>
                  <a:pt x="228" y="464"/>
                  <a:pt x="231" y="463"/>
                  <a:pt x="232" y="465"/>
                </a:cubicBezTo>
                <a:close/>
                <a:moveTo>
                  <a:pt x="231" y="364"/>
                </a:moveTo>
                <a:cubicBezTo>
                  <a:pt x="232" y="365"/>
                  <a:pt x="230" y="367"/>
                  <a:pt x="230" y="367"/>
                </a:cubicBezTo>
                <a:cubicBezTo>
                  <a:pt x="226" y="369"/>
                  <a:pt x="229" y="363"/>
                  <a:pt x="231" y="364"/>
                </a:cubicBezTo>
                <a:close/>
                <a:moveTo>
                  <a:pt x="227" y="421"/>
                </a:moveTo>
                <a:cubicBezTo>
                  <a:pt x="228" y="421"/>
                  <a:pt x="227" y="422"/>
                  <a:pt x="227" y="422"/>
                </a:cubicBezTo>
                <a:cubicBezTo>
                  <a:pt x="225" y="423"/>
                  <a:pt x="226" y="420"/>
                  <a:pt x="227" y="421"/>
                </a:cubicBezTo>
                <a:close/>
                <a:moveTo>
                  <a:pt x="227" y="484"/>
                </a:moveTo>
                <a:cubicBezTo>
                  <a:pt x="225" y="484"/>
                  <a:pt x="228" y="482"/>
                  <a:pt x="227" y="483"/>
                </a:cubicBezTo>
                <a:cubicBezTo>
                  <a:pt x="227" y="483"/>
                  <a:pt x="227" y="484"/>
                  <a:pt x="227" y="484"/>
                </a:cubicBezTo>
                <a:close/>
                <a:moveTo>
                  <a:pt x="227" y="436"/>
                </a:moveTo>
                <a:cubicBezTo>
                  <a:pt x="226" y="435"/>
                  <a:pt x="228" y="435"/>
                  <a:pt x="227" y="436"/>
                </a:cubicBezTo>
                <a:close/>
                <a:moveTo>
                  <a:pt x="227" y="526"/>
                </a:moveTo>
                <a:cubicBezTo>
                  <a:pt x="226" y="527"/>
                  <a:pt x="225" y="526"/>
                  <a:pt x="227" y="526"/>
                </a:cubicBezTo>
                <a:close/>
                <a:moveTo>
                  <a:pt x="227" y="527"/>
                </a:moveTo>
                <a:cubicBezTo>
                  <a:pt x="228" y="528"/>
                  <a:pt x="226" y="529"/>
                  <a:pt x="226" y="529"/>
                </a:cubicBezTo>
                <a:cubicBezTo>
                  <a:pt x="225" y="529"/>
                  <a:pt x="227" y="527"/>
                  <a:pt x="227" y="527"/>
                </a:cubicBezTo>
                <a:close/>
                <a:moveTo>
                  <a:pt x="225" y="375"/>
                </a:moveTo>
                <a:cubicBezTo>
                  <a:pt x="227" y="376"/>
                  <a:pt x="225" y="376"/>
                  <a:pt x="225" y="375"/>
                </a:cubicBezTo>
                <a:close/>
                <a:moveTo>
                  <a:pt x="224" y="359"/>
                </a:moveTo>
                <a:cubicBezTo>
                  <a:pt x="224" y="360"/>
                  <a:pt x="223" y="360"/>
                  <a:pt x="223" y="361"/>
                </a:cubicBezTo>
                <a:cubicBezTo>
                  <a:pt x="222" y="360"/>
                  <a:pt x="224" y="360"/>
                  <a:pt x="224" y="359"/>
                </a:cubicBezTo>
                <a:close/>
                <a:moveTo>
                  <a:pt x="222" y="500"/>
                </a:moveTo>
                <a:cubicBezTo>
                  <a:pt x="222" y="499"/>
                  <a:pt x="223" y="499"/>
                  <a:pt x="224" y="499"/>
                </a:cubicBezTo>
                <a:cubicBezTo>
                  <a:pt x="224" y="500"/>
                  <a:pt x="222" y="501"/>
                  <a:pt x="222" y="500"/>
                </a:cubicBezTo>
                <a:close/>
                <a:moveTo>
                  <a:pt x="222" y="564"/>
                </a:moveTo>
                <a:cubicBezTo>
                  <a:pt x="222" y="565"/>
                  <a:pt x="219" y="565"/>
                  <a:pt x="219" y="564"/>
                </a:cubicBezTo>
                <a:cubicBezTo>
                  <a:pt x="219" y="562"/>
                  <a:pt x="222" y="563"/>
                  <a:pt x="222" y="564"/>
                </a:cubicBezTo>
                <a:close/>
                <a:moveTo>
                  <a:pt x="224" y="489"/>
                </a:moveTo>
                <a:cubicBezTo>
                  <a:pt x="224" y="489"/>
                  <a:pt x="223" y="490"/>
                  <a:pt x="223" y="490"/>
                </a:cubicBezTo>
                <a:cubicBezTo>
                  <a:pt x="222" y="489"/>
                  <a:pt x="225" y="488"/>
                  <a:pt x="224" y="489"/>
                </a:cubicBezTo>
                <a:close/>
                <a:moveTo>
                  <a:pt x="224" y="467"/>
                </a:moveTo>
                <a:cubicBezTo>
                  <a:pt x="224" y="470"/>
                  <a:pt x="222" y="469"/>
                  <a:pt x="224" y="467"/>
                </a:cubicBezTo>
                <a:close/>
                <a:moveTo>
                  <a:pt x="223" y="272"/>
                </a:moveTo>
                <a:cubicBezTo>
                  <a:pt x="223" y="273"/>
                  <a:pt x="222" y="274"/>
                  <a:pt x="221" y="275"/>
                </a:cubicBezTo>
                <a:cubicBezTo>
                  <a:pt x="221" y="273"/>
                  <a:pt x="222" y="273"/>
                  <a:pt x="223" y="272"/>
                </a:cubicBezTo>
                <a:close/>
                <a:moveTo>
                  <a:pt x="222" y="308"/>
                </a:moveTo>
                <a:cubicBezTo>
                  <a:pt x="222" y="310"/>
                  <a:pt x="220" y="312"/>
                  <a:pt x="218" y="313"/>
                </a:cubicBezTo>
                <a:cubicBezTo>
                  <a:pt x="220" y="312"/>
                  <a:pt x="220" y="310"/>
                  <a:pt x="222" y="308"/>
                </a:cubicBezTo>
                <a:close/>
                <a:moveTo>
                  <a:pt x="218" y="378"/>
                </a:moveTo>
                <a:cubicBezTo>
                  <a:pt x="218" y="376"/>
                  <a:pt x="220" y="378"/>
                  <a:pt x="218" y="378"/>
                </a:cubicBezTo>
                <a:close/>
                <a:moveTo>
                  <a:pt x="218" y="467"/>
                </a:moveTo>
                <a:cubicBezTo>
                  <a:pt x="218" y="467"/>
                  <a:pt x="217" y="467"/>
                  <a:pt x="217" y="466"/>
                </a:cubicBezTo>
                <a:cubicBezTo>
                  <a:pt x="217" y="466"/>
                  <a:pt x="218" y="466"/>
                  <a:pt x="218" y="467"/>
                </a:cubicBezTo>
                <a:close/>
                <a:moveTo>
                  <a:pt x="217" y="315"/>
                </a:move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lose/>
                <a:moveTo>
                  <a:pt x="218" y="382"/>
                </a:moveTo>
                <a:cubicBezTo>
                  <a:pt x="217" y="382"/>
                  <a:pt x="217" y="382"/>
                  <a:pt x="217" y="382"/>
                </a:cubicBezTo>
                <a:cubicBezTo>
                  <a:pt x="216" y="381"/>
                  <a:pt x="219" y="380"/>
                  <a:pt x="218" y="382"/>
                </a:cubicBezTo>
                <a:close/>
                <a:moveTo>
                  <a:pt x="212" y="322"/>
                </a:moveTo>
                <a:cubicBezTo>
                  <a:pt x="212" y="321"/>
                  <a:pt x="215" y="318"/>
                  <a:pt x="216" y="316"/>
                </a:cubicBezTo>
                <a:cubicBezTo>
                  <a:pt x="216" y="319"/>
                  <a:pt x="210" y="325"/>
                  <a:pt x="212" y="322"/>
                </a:cubicBezTo>
                <a:close/>
                <a:moveTo>
                  <a:pt x="215" y="450"/>
                </a:moveTo>
                <a:cubicBezTo>
                  <a:pt x="215" y="450"/>
                  <a:pt x="215" y="450"/>
                  <a:pt x="215" y="450"/>
                </a:cubicBezTo>
                <a:cubicBezTo>
                  <a:pt x="215" y="450"/>
                  <a:pt x="215" y="450"/>
                  <a:pt x="215" y="450"/>
                </a:cubicBezTo>
                <a:close/>
                <a:moveTo>
                  <a:pt x="214" y="449"/>
                </a:moveTo>
                <a:cubicBezTo>
                  <a:pt x="214" y="449"/>
                  <a:pt x="214" y="448"/>
                  <a:pt x="214" y="448"/>
                </a:cubicBezTo>
                <a:cubicBezTo>
                  <a:pt x="214" y="446"/>
                  <a:pt x="216" y="448"/>
                  <a:pt x="214" y="449"/>
                </a:cubicBezTo>
                <a:close/>
                <a:moveTo>
                  <a:pt x="214" y="524"/>
                </a:moveTo>
                <a:cubicBezTo>
                  <a:pt x="213" y="523"/>
                  <a:pt x="214" y="523"/>
                  <a:pt x="215" y="522"/>
                </a:cubicBezTo>
                <a:cubicBezTo>
                  <a:pt x="215" y="523"/>
                  <a:pt x="214" y="523"/>
                  <a:pt x="214" y="524"/>
                </a:cubicBezTo>
                <a:close/>
                <a:moveTo>
                  <a:pt x="212" y="508"/>
                </a:moveTo>
                <a:cubicBezTo>
                  <a:pt x="210" y="509"/>
                  <a:pt x="214" y="507"/>
                  <a:pt x="212" y="508"/>
                </a:cubicBezTo>
                <a:close/>
                <a:moveTo>
                  <a:pt x="202" y="518"/>
                </a:moveTo>
                <a:cubicBezTo>
                  <a:pt x="210" y="516"/>
                  <a:pt x="209" y="525"/>
                  <a:pt x="203" y="526"/>
                </a:cubicBezTo>
                <a:cubicBezTo>
                  <a:pt x="198" y="527"/>
                  <a:pt x="197" y="520"/>
                  <a:pt x="202" y="518"/>
                </a:cubicBezTo>
                <a:close/>
                <a:moveTo>
                  <a:pt x="201" y="548"/>
                </a:moveTo>
                <a:cubicBezTo>
                  <a:pt x="201" y="548"/>
                  <a:pt x="201" y="548"/>
                  <a:pt x="201" y="548"/>
                </a:cubicBezTo>
                <a:cubicBezTo>
                  <a:pt x="201" y="546"/>
                  <a:pt x="203" y="550"/>
                  <a:pt x="201" y="548"/>
                </a:cubicBezTo>
                <a:close/>
                <a:moveTo>
                  <a:pt x="199" y="549"/>
                </a:moveTo>
                <a:cubicBezTo>
                  <a:pt x="199" y="551"/>
                  <a:pt x="197" y="549"/>
                  <a:pt x="199" y="549"/>
                </a:cubicBezTo>
                <a:close/>
                <a:moveTo>
                  <a:pt x="200" y="494"/>
                </a:moveTo>
                <a:cubicBezTo>
                  <a:pt x="199" y="495"/>
                  <a:pt x="198" y="496"/>
                  <a:pt x="196" y="496"/>
                </a:cubicBezTo>
                <a:cubicBezTo>
                  <a:pt x="197" y="495"/>
                  <a:pt x="199" y="495"/>
                  <a:pt x="200" y="494"/>
                </a:cubicBezTo>
                <a:close/>
                <a:moveTo>
                  <a:pt x="202" y="420"/>
                </a:moveTo>
                <a:cubicBezTo>
                  <a:pt x="201" y="421"/>
                  <a:pt x="201" y="421"/>
                  <a:pt x="200" y="421"/>
                </a:cubicBezTo>
                <a:cubicBezTo>
                  <a:pt x="199" y="420"/>
                  <a:pt x="203" y="418"/>
                  <a:pt x="202" y="420"/>
                </a:cubicBezTo>
                <a:close/>
                <a:moveTo>
                  <a:pt x="203" y="493"/>
                </a:moveTo>
                <a:cubicBezTo>
                  <a:pt x="204" y="493"/>
                  <a:pt x="204" y="493"/>
                  <a:pt x="204" y="493"/>
                </a:cubicBezTo>
                <a:cubicBezTo>
                  <a:pt x="204" y="493"/>
                  <a:pt x="200" y="494"/>
                  <a:pt x="203" y="493"/>
                </a:cubicBezTo>
                <a:close/>
                <a:moveTo>
                  <a:pt x="206" y="456"/>
                </a:moveTo>
                <a:cubicBezTo>
                  <a:pt x="206" y="456"/>
                  <a:pt x="205" y="456"/>
                  <a:pt x="205" y="456"/>
                </a:cubicBezTo>
                <a:cubicBezTo>
                  <a:pt x="204" y="456"/>
                  <a:pt x="206" y="455"/>
                  <a:pt x="206" y="456"/>
                </a:cubicBezTo>
                <a:close/>
                <a:moveTo>
                  <a:pt x="206" y="475"/>
                </a:moveTo>
                <a:cubicBezTo>
                  <a:pt x="206" y="473"/>
                  <a:pt x="210" y="475"/>
                  <a:pt x="210" y="477"/>
                </a:cubicBezTo>
                <a:cubicBezTo>
                  <a:pt x="209" y="479"/>
                  <a:pt x="204" y="479"/>
                  <a:pt x="206" y="475"/>
                </a:cubicBezTo>
                <a:close/>
                <a:moveTo>
                  <a:pt x="208" y="439"/>
                </a:moveTo>
                <a:cubicBezTo>
                  <a:pt x="208" y="440"/>
                  <a:pt x="207" y="440"/>
                  <a:pt x="207" y="440"/>
                </a:cubicBezTo>
                <a:cubicBezTo>
                  <a:pt x="207" y="439"/>
                  <a:pt x="208" y="439"/>
                  <a:pt x="208" y="439"/>
                </a:cubicBezTo>
                <a:close/>
                <a:moveTo>
                  <a:pt x="208" y="405"/>
                </a:moveTo>
                <a:cubicBezTo>
                  <a:pt x="207" y="406"/>
                  <a:pt x="208" y="404"/>
                  <a:pt x="208" y="405"/>
                </a:cubicBezTo>
                <a:close/>
                <a:moveTo>
                  <a:pt x="209" y="467"/>
                </a:moveTo>
                <a:cubicBezTo>
                  <a:pt x="209" y="467"/>
                  <a:pt x="209" y="468"/>
                  <a:pt x="209" y="468"/>
                </a:cubicBezTo>
                <a:cubicBezTo>
                  <a:pt x="208" y="467"/>
                  <a:pt x="210" y="466"/>
                  <a:pt x="209" y="467"/>
                </a:cubicBezTo>
                <a:close/>
                <a:moveTo>
                  <a:pt x="210" y="509"/>
                </a:moveTo>
                <a:cubicBezTo>
                  <a:pt x="208" y="511"/>
                  <a:pt x="211" y="508"/>
                  <a:pt x="210" y="509"/>
                </a:cubicBezTo>
                <a:close/>
                <a:moveTo>
                  <a:pt x="210" y="444"/>
                </a:moveTo>
                <a:cubicBezTo>
                  <a:pt x="207" y="445"/>
                  <a:pt x="209" y="441"/>
                  <a:pt x="210" y="443"/>
                </a:cubicBezTo>
                <a:cubicBezTo>
                  <a:pt x="211" y="443"/>
                  <a:pt x="210" y="443"/>
                  <a:pt x="210" y="444"/>
                </a:cubicBezTo>
                <a:close/>
                <a:moveTo>
                  <a:pt x="210" y="185"/>
                </a:moveTo>
                <a:cubicBezTo>
                  <a:pt x="210" y="185"/>
                  <a:pt x="210" y="185"/>
                  <a:pt x="210" y="185"/>
                </a:cubicBezTo>
                <a:cubicBezTo>
                  <a:pt x="209" y="185"/>
                  <a:pt x="211" y="184"/>
                  <a:pt x="210" y="185"/>
                </a:cubicBezTo>
                <a:close/>
                <a:moveTo>
                  <a:pt x="210" y="203"/>
                </a:moveTo>
                <a:cubicBezTo>
                  <a:pt x="211" y="203"/>
                  <a:pt x="209" y="205"/>
                  <a:pt x="209" y="205"/>
                </a:cubicBezTo>
                <a:cubicBezTo>
                  <a:pt x="209" y="204"/>
                  <a:pt x="209" y="204"/>
                  <a:pt x="210" y="203"/>
                </a:cubicBezTo>
                <a:close/>
                <a:moveTo>
                  <a:pt x="210" y="371"/>
                </a:moveTo>
                <a:cubicBezTo>
                  <a:pt x="209" y="372"/>
                  <a:pt x="209" y="372"/>
                  <a:pt x="208" y="372"/>
                </a:cubicBezTo>
                <a:cubicBezTo>
                  <a:pt x="208" y="372"/>
                  <a:pt x="208" y="371"/>
                  <a:pt x="210" y="371"/>
                </a:cubicBezTo>
                <a:close/>
                <a:moveTo>
                  <a:pt x="208" y="181"/>
                </a:moveTo>
                <a:cubicBezTo>
                  <a:pt x="209" y="181"/>
                  <a:pt x="207" y="184"/>
                  <a:pt x="207" y="184"/>
                </a:cubicBezTo>
                <a:cubicBezTo>
                  <a:pt x="204" y="186"/>
                  <a:pt x="206" y="180"/>
                  <a:pt x="208" y="181"/>
                </a:cubicBezTo>
                <a:close/>
                <a:moveTo>
                  <a:pt x="207" y="374"/>
                </a:moveTo>
                <a:cubicBezTo>
                  <a:pt x="206" y="373"/>
                  <a:pt x="208" y="373"/>
                  <a:pt x="207" y="374"/>
                </a:cubicBezTo>
                <a:close/>
                <a:moveTo>
                  <a:pt x="207" y="387"/>
                </a:moveTo>
                <a:cubicBezTo>
                  <a:pt x="206" y="387"/>
                  <a:pt x="206" y="388"/>
                  <a:pt x="206" y="387"/>
                </a:cubicBezTo>
                <a:cubicBezTo>
                  <a:pt x="205" y="386"/>
                  <a:pt x="209" y="385"/>
                  <a:pt x="207" y="387"/>
                </a:cubicBezTo>
                <a:close/>
                <a:moveTo>
                  <a:pt x="204" y="211"/>
                </a:moveTo>
                <a:cubicBezTo>
                  <a:pt x="204" y="213"/>
                  <a:pt x="202" y="214"/>
                  <a:pt x="201" y="216"/>
                </a:cubicBezTo>
                <a:cubicBezTo>
                  <a:pt x="201" y="214"/>
                  <a:pt x="203" y="213"/>
                  <a:pt x="204" y="211"/>
                </a:cubicBezTo>
                <a:close/>
                <a:moveTo>
                  <a:pt x="202" y="326"/>
                </a:moveTo>
                <a:cubicBezTo>
                  <a:pt x="202" y="327"/>
                  <a:pt x="202" y="328"/>
                  <a:pt x="201" y="328"/>
                </a:cubicBezTo>
                <a:cubicBezTo>
                  <a:pt x="201" y="327"/>
                  <a:pt x="202" y="327"/>
                  <a:pt x="202" y="326"/>
                </a:cubicBezTo>
                <a:close/>
                <a:moveTo>
                  <a:pt x="205" y="387"/>
                </a:moveTo>
                <a:cubicBezTo>
                  <a:pt x="205" y="388"/>
                  <a:pt x="203" y="389"/>
                  <a:pt x="201" y="390"/>
                </a:cubicBezTo>
                <a:cubicBezTo>
                  <a:pt x="202" y="388"/>
                  <a:pt x="204" y="388"/>
                  <a:pt x="205" y="387"/>
                </a:cubicBezTo>
                <a:close/>
                <a:moveTo>
                  <a:pt x="196" y="218"/>
                </a:moveTo>
                <a:cubicBezTo>
                  <a:pt x="198" y="219"/>
                  <a:pt x="196" y="220"/>
                  <a:pt x="196" y="218"/>
                </a:cubicBezTo>
                <a:close/>
                <a:moveTo>
                  <a:pt x="196" y="249"/>
                </a:moveTo>
                <a:cubicBezTo>
                  <a:pt x="195" y="251"/>
                  <a:pt x="197" y="248"/>
                  <a:pt x="196" y="249"/>
                </a:cubicBezTo>
                <a:close/>
                <a:moveTo>
                  <a:pt x="198" y="349"/>
                </a:moveTo>
                <a:cubicBezTo>
                  <a:pt x="198" y="350"/>
                  <a:pt x="196" y="351"/>
                  <a:pt x="196" y="352"/>
                </a:cubicBezTo>
                <a:cubicBezTo>
                  <a:pt x="195" y="351"/>
                  <a:pt x="197" y="350"/>
                  <a:pt x="198" y="349"/>
                </a:cubicBezTo>
                <a:close/>
                <a:moveTo>
                  <a:pt x="196" y="296"/>
                </a:moveTo>
                <a:cubicBezTo>
                  <a:pt x="196" y="296"/>
                  <a:pt x="195" y="298"/>
                  <a:pt x="195" y="298"/>
                </a:cubicBezTo>
                <a:cubicBezTo>
                  <a:pt x="193" y="300"/>
                  <a:pt x="194" y="295"/>
                  <a:pt x="196" y="296"/>
                </a:cubicBezTo>
                <a:close/>
                <a:moveTo>
                  <a:pt x="194" y="353"/>
                </a:moveTo>
                <a:cubicBezTo>
                  <a:pt x="195" y="354"/>
                  <a:pt x="193" y="354"/>
                  <a:pt x="194" y="353"/>
                </a:cubicBezTo>
                <a:close/>
                <a:moveTo>
                  <a:pt x="192" y="213"/>
                </a:moveTo>
                <a:cubicBezTo>
                  <a:pt x="192" y="212"/>
                  <a:pt x="194" y="211"/>
                  <a:pt x="192" y="213"/>
                </a:cubicBezTo>
                <a:close/>
                <a:moveTo>
                  <a:pt x="193" y="252"/>
                </a:moveTo>
                <a:cubicBezTo>
                  <a:pt x="194" y="253"/>
                  <a:pt x="193" y="254"/>
                  <a:pt x="192" y="254"/>
                </a:cubicBezTo>
                <a:cubicBezTo>
                  <a:pt x="192" y="253"/>
                  <a:pt x="193" y="253"/>
                  <a:pt x="193" y="252"/>
                </a:cubicBezTo>
                <a:close/>
                <a:moveTo>
                  <a:pt x="193" y="354"/>
                </a:moveTo>
                <a:cubicBezTo>
                  <a:pt x="193" y="355"/>
                  <a:pt x="193" y="356"/>
                  <a:pt x="192" y="356"/>
                </a:cubicBezTo>
                <a:cubicBezTo>
                  <a:pt x="192" y="355"/>
                  <a:pt x="193" y="355"/>
                  <a:pt x="193" y="354"/>
                </a:cubicBezTo>
                <a:close/>
                <a:moveTo>
                  <a:pt x="192" y="305"/>
                </a:moveTo>
                <a:cubicBezTo>
                  <a:pt x="190" y="307"/>
                  <a:pt x="193" y="304"/>
                  <a:pt x="192" y="305"/>
                </a:cubicBezTo>
                <a:close/>
                <a:moveTo>
                  <a:pt x="188" y="397"/>
                </a:moveTo>
                <a:cubicBezTo>
                  <a:pt x="187" y="398"/>
                  <a:pt x="185" y="400"/>
                  <a:pt x="183" y="401"/>
                </a:cubicBezTo>
                <a:cubicBezTo>
                  <a:pt x="184" y="399"/>
                  <a:pt x="186" y="398"/>
                  <a:pt x="188" y="397"/>
                </a:cubicBezTo>
                <a:close/>
                <a:moveTo>
                  <a:pt x="184" y="384"/>
                </a:moveTo>
                <a:cubicBezTo>
                  <a:pt x="185" y="384"/>
                  <a:pt x="185" y="383"/>
                  <a:pt x="186" y="383"/>
                </a:cubicBezTo>
                <a:cubicBezTo>
                  <a:pt x="185" y="384"/>
                  <a:pt x="185" y="384"/>
                  <a:pt x="184" y="384"/>
                </a:cubicBezTo>
                <a:close/>
                <a:moveTo>
                  <a:pt x="184" y="243"/>
                </a:moveTo>
                <a:cubicBezTo>
                  <a:pt x="185" y="242"/>
                  <a:pt x="183" y="244"/>
                  <a:pt x="184" y="243"/>
                </a:cubicBezTo>
                <a:close/>
                <a:moveTo>
                  <a:pt x="182" y="186"/>
                </a:moveTo>
                <a:cubicBezTo>
                  <a:pt x="182" y="185"/>
                  <a:pt x="181" y="187"/>
                  <a:pt x="182" y="186"/>
                </a:cubicBezTo>
                <a:close/>
                <a:moveTo>
                  <a:pt x="184" y="243"/>
                </a:moveTo>
                <a:cubicBezTo>
                  <a:pt x="185" y="244"/>
                  <a:pt x="183" y="249"/>
                  <a:pt x="182" y="249"/>
                </a:cubicBezTo>
                <a:cubicBezTo>
                  <a:pt x="180" y="249"/>
                  <a:pt x="182" y="243"/>
                  <a:pt x="184" y="243"/>
                </a:cubicBezTo>
                <a:close/>
                <a:moveTo>
                  <a:pt x="177" y="208"/>
                </a:moveTo>
                <a:cubicBezTo>
                  <a:pt x="178" y="209"/>
                  <a:pt x="177" y="209"/>
                  <a:pt x="177" y="210"/>
                </a:cubicBezTo>
                <a:cubicBezTo>
                  <a:pt x="176" y="210"/>
                  <a:pt x="177" y="209"/>
                  <a:pt x="177" y="208"/>
                </a:cubicBezTo>
                <a:close/>
                <a:moveTo>
                  <a:pt x="182" y="322"/>
                </a:moveTo>
                <a:cubicBezTo>
                  <a:pt x="179" y="324"/>
                  <a:pt x="177" y="329"/>
                  <a:pt x="175" y="329"/>
                </a:cubicBezTo>
                <a:cubicBezTo>
                  <a:pt x="175" y="329"/>
                  <a:pt x="179" y="322"/>
                  <a:pt x="182" y="322"/>
                </a:cubicBezTo>
                <a:close/>
                <a:moveTo>
                  <a:pt x="180" y="403"/>
                </a:moveTo>
                <a:cubicBezTo>
                  <a:pt x="179" y="404"/>
                  <a:pt x="178" y="406"/>
                  <a:pt x="176" y="406"/>
                </a:cubicBezTo>
                <a:cubicBezTo>
                  <a:pt x="177" y="405"/>
                  <a:pt x="179" y="404"/>
                  <a:pt x="180" y="403"/>
                </a:cubicBezTo>
                <a:close/>
                <a:moveTo>
                  <a:pt x="178" y="383"/>
                </a:move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2"/>
                  <a:pt x="178" y="382"/>
                </a:cubicBezTo>
                <a:cubicBezTo>
                  <a:pt x="178" y="382"/>
                  <a:pt x="178" y="382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lose/>
                <a:moveTo>
                  <a:pt x="181" y="393"/>
                </a:moveTo>
                <a:cubicBezTo>
                  <a:pt x="181" y="393"/>
                  <a:pt x="180" y="395"/>
                  <a:pt x="180" y="395"/>
                </a:cubicBezTo>
                <a:cubicBezTo>
                  <a:pt x="178" y="397"/>
                  <a:pt x="179" y="392"/>
                  <a:pt x="181" y="393"/>
                </a:cubicBezTo>
                <a:close/>
                <a:moveTo>
                  <a:pt x="179" y="358"/>
                </a:moveTo>
                <a:cubicBezTo>
                  <a:pt x="179" y="358"/>
                  <a:pt x="180" y="359"/>
                  <a:pt x="180" y="359"/>
                </a:cubicBezTo>
                <a:cubicBezTo>
                  <a:pt x="180" y="360"/>
                  <a:pt x="178" y="359"/>
                  <a:pt x="179" y="358"/>
                </a:cubicBezTo>
                <a:close/>
                <a:moveTo>
                  <a:pt x="182" y="418"/>
                </a:moveTo>
                <a:cubicBezTo>
                  <a:pt x="183" y="416"/>
                  <a:pt x="187" y="412"/>
                  <a:pt x="190" y="410"/>
                </a:cubicBezTo>
                <a:cubicBezTo>
                  <a:pt x="190" y="410"/>
                  <a:pt x="190" y="408"/>
                  <a:pt x="191" y="409"/>
                </a:cubicBezTo>
                <a:cubicBezTo>
                  <a:pt x="192" y="410"/>
                  <a:pt x="189" y="414"/>
                  <a:pt x="189" y="414"/>
                </a:cubicBezTo>
                <a:cubicBezTo>
                  <a:pt x="188" y="415"/>
                  <a:pt x="186" y="415"/>
                  <a:pt x="184" y="417"/>
                </a:cubicBezTo>
                <a:cubicBezTo>
                  <a:pt x="180" y="419"/>
                  <a:pt x="178" y="424"/>
                  <a:pt x="174" y="426"/>
                </a:cubicBezTo>
                <a:cubicBezTo>
                  <a:pt x="174" y="422"/>
                  <a:pt x="180" y="421"/>
                  <a:pt x="182" y="418"/>
                </a:cubicBezTo>
                <a:close/>
                <a:moveTo>
                  <a:pt x="193" y="479"/>
                </a:moveTo>
                <a:cubicBezTo>
                  <a:pt x="192" y="481"/>
                  <a:pt x="192" y="479"/>
                  <a:pt x="193" y="479"/>
                </a:cubicBezTo>
                <a:close/>
                <a:moveTo>
                  <a:pt x="193" y="432"/>
                </a:moveTo>
                <a:cubicBezTo>
                  <a:pt x="194" y="432"/>
                  <a:pt x="193" y="433"/>
                  <a:pt x="193" y="432"/>
                </a:cubicBezTo>
                <a:cubicBezTo>
                  <a:pt x="192" y="432"/>
                  <a:pt x="193" y="432"/>
                  <a:pt x="193" y="432"/>
                </a:cubicBezTo>
                <a:close/>
                <a:moveTo>
                  <a:pt x="191" y="460"/>
                </a:moveTo>
                <a:cubicBezTo>
                  <a:pt x="192" y="458"/>
                  <a:pt x="193" y="460"/>
                  <a:pt x="191" y="460"/>
                </a:cubicBezTo>
                <a:close/>
                <a:moveTo>
                  <a:pt x="193" y="489"/>
                </a:moveTo>
                <a:cubicBezTo>
                  <a:pt x="193" y="490"/>
                  <a:pt x="192" y="491"/>
                  <a:pt x="191" y="491"/>
                </a:cubicBezTo>
                <a:cubicBezTo>
                  <a:pt x="189" y="492"/>
                  <a:pt x="191" y="487"/>
                  <a:pt x="193" y="489"/>
                </a:cubicBezTo>
                <a:close/>
                <a:moveTo>
                  <a:pt x="190" y="440"/>
                </a:moveTo>
                <a:cubicBezTo>
                  <a:pt x="189" y="439"/>
                  <a:pt x="191" y="438"/>
                  <a:pt x="191" y="439"/>
                </a:cubicBezTo>
                <a:cubicBezTo>
                  <a:pt x="191" y="439"/>
                  <a:pt x="190" y="440"/>
                  <a:pt x="190" y="440"/>
                </a:cubicBezTo>
                <a:close/>
                <a:moveTo>
                  <a:pt x="189" y="511"/>
                </a:moveTo>
                <a:cubicBezTo>
                  <a:pt x="189" y="511"/>
                  <a:pt x="189" y="512"/>
                  <a:pt x="188" y="511"/>
                </a:cubicBezTo>
                <a:cubicBezTo>
                  <a:pt x="188" y="511"/>
                  <a:pt x="189" y="510"/>
                  <a:pt x="189" y="511"/>
                </a:cubicBezTo>
                <a:close/>
                <a:moveTo>
                  <a:pt x="186" y="470"/>
                </a:moveTo>
                <a:cubicBezTo>
                  <a:pt x="185" y="469"/>
                  <a:pt x="188" y="469"/>
                  <a:pt x="188" y="470"/>
                </a:cubicBezTo>
                <a:cubicBezTo>
                  <a:pt x="189" y="471"/>
                  <a:pt x="186" y="472"/>
                  <a:pt x="186" y="470"/>
                </a:cubicBezTo>
                <a:close/>
                <a:moveTo>
                  <a:pt x="184" y="470"/>
                </a:moveTo>
                <a:cubicBezTo>
                  <a:pt x="185" y="471"/>
                  <a:pt x="184" y="472"/>
                  <a:pt x="183" y="472"/>
                </a:cubicBezTo>
                <a:cubicBezTo>
                  <a:pt x="180" y="474"/>
                  <a:pt x="182" y="469"/>
                  <a:pt x="184" y="470"/>
                </a:cubicBezTo>
                <a:close/>
                <a:moveTo>
                  <a:pt x="183" y="435"/>
                </a:moveTo>
                <a:cubicBezTo>
                  <a:pt x="183" y="434"/>
                  <a:pt x="182" y="436"/>
                  <a:pt x="183" y="435"/>
                </a:cubicBezTo>
                <a:close/>
                <a:moveTo>
                  <a:pt x="180" y="443"/>
                </a:moveTo>
                <a:cubicBezTo>
                  <a:pt x="180" y="443"/>
                  <a:pt x="179" y="443"/>
                  <a:pt x="179" y="443"/>
                </a:cubicBezTo>
                <a:cubicBezTo>
                  <a:pt x="178" y="445"/>
                  <a:pt x="180" y="440"/>
                  <a:pt x="180" y="443"/>
                </a:cubicBezTo>
                <a:close/>
                <a:moveTo>
                  <a:pt x="174" y="445"/>
                </a:moveTo>
                <a:cubicBezTo>
                  <a:pt x="173" y="446"/>
                  <a:pt x="174" y="444"/>
                  <a:pt x="174" y="445"/>
                </a:cubicBezTo>
                <a:close/>
                <a:moveTo>
                  <a:pt x="173" y="182"/>
                </a:moveTo>
                <a:cubicBezTo>
                  <a:pt x="172" y="182"/>
                  <a:pt x="174" y="180"/>
                  <a:pt x="173" y="182"/>
                </a:cubicBezTo>
                <a:close/>
                <a:moveTo>
                  <a:pt x="173" y="438"/>
                </a:moveTo>
                <a:cubicBezTo>
                  <a:pt x="174" y="437"/>
                  <a:pt x="172" y="440"/>
                  <a:pt x="173" y="438"/>
                </a:cubicBezTo>
                <a:close/>
                <a:moveTo>
                  <a:pt x="173" y="477"/>
                </a:moveTo>
                <a:cubicBezTo>
                  <a:pt x="172" y="478"/>
                  <a:pt x="172" y="478"/>
                  <a:pt x="170" y="478"/>
                </a:cubicBezTo>
                <a:cubicBezTo>
                  <a:pt x="171" y="478"/>
                  <a:pt x="171" y="477"/>
                  <a:pt x="173" y="477"/>
                </a:cubicBezTo>
                <a:close/>
                <a:moveTo>
                  <a:pt x="173" y="314"/>
                </a:move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lose/>
                <a:moveTo>
                  <a:pt x="171" y="307"/>
                </a:moveTo>
                <a:cubicBezTo>
                  <a:pt x="171" y="308"/>
                  <a:pt x="171" y="309"/>
                  <a:pt x="169" y="310"/>
                </a:cubicBezTo>
                <a:cubicBezTo>
                  <a:pt x="168" y="310"/>
                  <a:pt x="167" y="310"/>
                  <a:pt x="166" y="309"/>
                </a:cubicBezTo>
                <a:cubicBezTo>
                  <a:pt x="164" y="305"/>
                  <a:pt x="171" y="303"/>
                  <a:pt x="171" y="307"/>
                </a:cubicBezTo>
                <a:close/>
                <a:moveTo>
                  <a:pt x="168" y="501"/>
                </a:moveTo>
                <a:cubicBezTo>
                  <a:pt x="168" y="501"/>
                  <a:pt x="168" y="501"/>
                  <a:pt x="169" y="501"/>
                </a:cubicBezTo>
                <a:cubicBezTo>
                  <a:pt x="169" y="501"/>
                  <a:pt x="168" y="502"/>
                  <a:pt x="168" y="501"/>
                </a:cubicBezTo>
                <a:close/>
                <a:moveTo>
                  <a:pt x="166" y="342"/>
                </a:moveTo>
                <a:cubicBezTo>
                  <a:pt x="166" y="342"/>
                  <a:pt x="166" y="342"/>
                  <a:pt x="166" y="342"/>
                </a:cubicBezTo>
                <a:cubicBezTo>
                  <a:pt x="166" y="342"/>
                  <a:pt x="166" y="343"/>
                  <a:pt x="165" y="343"/>
                </a:cubicBezTo>
                <a:cubicBezTo>
                  <a:pt x="165" y="343"/>
                  <a:pt x="165" y="343"/>
                  <a:pt x="165" y="343"/>
                </a:cubicBezTo>
                <a:cubicBezTo>
                  <a:pt x="165" y="343"/>
                  <a:pt x="166" y="342"/>
                  <a:pt x="166" y="342"/>
                </a:cubicBezTo>
                <a:close/>
                <a:moveTo>
                  <a:pt x="165" y="307"/>
                </a:moveTo>
                <a:cubicBezTo>
                  <a:pt x="163" y="308"/>
                  <a:pt x="167" y="306"/>
                  <a:pt x="165" y="307"/>
                </a:cubicBezTo>
                <a:close/>
                <a:moveTo>
                  <a:pt x="164" y="344"/>
                </a:moveTo>
                <a:cubicBezTo>
                  <a:pt x="163" y="344"/>
                  <a:pt x="166" y="342"/>
                  <a:pt x="164" y="344"/>
                </a:cubicBezTo>
                <a:close/>
                <a:moveTo>
                  <a:pt x="165" y="345"/>
                </a:moveTo>
                <a:cubicBezTo>
                  <a:pt x="164" y="346"/>
                  <a:pt x="164" y="347"/>
                  <a:pt x="162" y="347"/>
                </a:cubicBezTo>
                <a:cubicBezTo>
                  <a:pt x="163" y="347"/>
                  <a:pt x="163" y="346"/>
                  <a:pt x="165" y="345"/>
                </a:cubicBezTo>
                <a:close/>
                <a:moveTo>
                  <a:pt x="161" y="347"/>
                </a:moveTo>
                <a:cubicBezTo>
                  <a:pt x="160" y="348"/>
                  <a:pt x="162" y="346"/>
                  <a:pt x="161" y="347"/>
                </a:cubicBezTo>
                <a:close/>
                <a:moveTo>
                  <a:pt x="160" y="350"/>
                </a:moveTo>
                <a:cubicBezTo>
                  <a:pt x="161" y="348"/>
                  <a:pt x="162" y="349"/>
                  <a:pt x="160" y="350"/>
                </a:cubicBezTo>
                <a:close/>
                <a:moveTo>
                  <a:pt x="168" y="370"/>
                </a:moveTo>
                <a:cubicBezTo>
                  <a:pt x="165" y="373"/>
                  <a:pt x="163" y="376"/>
                  <a:pt x="158" y="378"/>
                </a:cubicBezTo>
                <a:cubicBezTo>
                  <a:pt x="161" y="375"/>
                  <a:pt x="164" y="372"/>
                  <a:pt x="168" y="370"/>
                </a:cubicBezTo>
                <a:close/>
                <a:moveTo>
                  <a:pt x="167" y="392"/>
                </a:moveTo>
                <a:cubicBezTo>
                  <a:pt x="166" y="393"/>
                  <a:pt x="168" y="390"/>
                  <a:pt x="167" y="391"/>
                </a:cubicBezTo>
                <a:cubicBezTo>
                  <a:pt x="167" y="391"/>
                  <a:pt x="167" y="392"/>
                  <a:pt x="167" y="392"/>
                </a:cubicBezTo>
                <a:close/>
                <a:moveTo>
                  <a:pt x="168" y="424"/>
                </a:moveTo>
                <a:cubicBezTo>
                  <a:pt x="168" y="424"/>
                  <a:pt x="167" y="424"/>
                  <a:pt x="167" y="424"/>
                </a:cubicBezTo>
                <a:cubicBezTo>
                  <a:pt x="166" y="423"/>
                  <a:pt x="168" y="423"/>
                  <a:pt x="168" y="424"/>
                </a:cubicBezTo>
                <a:close/>
                <a:moveTo>
                  <a:pt x="161" y="457"/>
                </a:moveTo>
                <a:cubicBezTo>
                  <a:pt x="161" y="458"/>
                  <a:pt x="158" y="461"/>
                  <a:pt x="157" y="460"/>
                </a:cubicBezTo>
                <a:cubicBezTo>
                  <a:pt x="156" y="458"/>
                  <a:pt x="159" y="456"/>
                  <a:pt x="161" y="457"/>
                </a:cubicBezTo>
                <a:close/>
                <a:moveTo>
                  <a:pt x="157" y="477"/>
                </a:move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lose/>
                <a:moveTo>
                  <a:pt x="161" y="502"/>
                </a:moveTo>
                <a:cubicBezTo>
                  <a:pt x="161" y="503"/>
                  <a:pt x="159" y="504"/>
                  <a:pt x="159" y="503"/>
                </a:cubicBezTo>
                <a:cubicBezTo>
                  <a:pt x="159" y="502"/>
                  <a:pt x="160" y="501"/>
                  <a:pt x="161" y="502"/>
                </a:cubicBezTo>
                <a:close/>
                <a:moveTo>
                  <a:pt x="159" y="482"/>
                </a:moveTo>
                <a:cubicBezTo>
                  <a:pt x="158" y="483"/>
                  <a:pt x="160" y="481"/>
                  <a:pt x="159" y="482"/>
                </a:cubicBezTo>
                <a:close/>
                <a:moveTo>
                  <a:pt x="162" y="484"/>
                </a:moveTo>
                <a:cubicBezTo>
                  <a:pt x="163" y="484"/>
                  <a:pt x="162" y="485"/>
                  <a:pt x="161" y="485"/>
                </a:cubicBezTo>
                <a:cubicBezTo>
                  <a:pt x="160" y="486"/>
                  <a:pt x="161" y="483"/>
                  <a:pt x="162" y="484"/>
                </a:cubicBezTo>
                <a:close/>
                <a:moveTo>
                  <a:pt x="161" y="428"/>
                </a:moveTo>
                <a:cubicBezTo>
                  <a:pt x="162" y="429"/>
                  <a:pt x="160" y="432"/>
                  <a:pt x="160" y="432"/>
                </a:cubicBezTo>
                <a:cubicBezTo>
                  <a:pt x="155" y="435"/>
                  <a:pt x="158" y="426"/>
                  <a:pt x="161" y="428"/>
                </a:cubicBezTo>
                <a:close/>
                <a:moveTo>
                  <a:pt x="164" y="506"/>
                </a:moveTo>
                <a:cubicBezTo>
                  <a:pt x="165" y="507"/>
                  <a:pt x="160" y="510"/>
                  <a:pt x="159" y="510"/>
                </a:cubicBezTo>
                <a:cubicBezTo>
                  <a:pt x="154" y="511"/>
                  <a:pt x="163" y="505"/>
                  <a:pt x="164" y="506"/>
                </a:cubicBezTo>
                <a:close/>
                <a:moveTo>
                  <a:pt x="163" y="443"/>
                </a:moveTo>
                <a:cubicBezTo>
                  <a:pt x="163" y="443"/>
                  <a:pt x="163" y="444"/>
                  <a:pt x="162" y="444"/>
                </a:cubicBezTo>
                <a:cubicBezTo>
                  <a:pt x="162" y="443"/>
                  <a:pt x="163" y="443"/>
                  <a:pt x="163" y="443"/>
                </a:cubicBezTo>
                <a:close/>
                <a:moveTo>
                  <a:pt x="159" y="351"/>
                </a:moveTo>
                <a:cubicBezTo>
                  <a:pt x="159" y="351"/>
                  <a:pt x="159" y="350"/>
                  <a:pt x="160" y="350"/>
                </a:cubicBezTo>
                <a:cubicBezTo>
                  <a:pt x="160" y="350"/>
                  <a:pt x="160" y="351"/>
                  <a:pt x="159" y="351"/>
                </a:cubicBezTo>
                <a:close/>
                <a:moveTo>
                  <a:pt x="160" y="259"/>
                </a:moveTo>
                <a:cubicBezTo>
                  <a:pt x="160" y="259"/>
                  <a:pt x="160" y="260"/>
                  <a:pt x="160" y="260"/>
                </a:cubicBezTo>
                <a:cubicBezTo>
                  <a:pt x="159" y="261"/>
                  <a:pt x="158" y="258"/>
                  <a:pt x="160" y="259"/>
                </a:cubicBezTo>
                <a:close/>
                <a:moveTo>
                  <a:pt x="160" y="349"/>
                </a:moveTo>
                <a:cubicBezTo>
                  <a:pt x="159" y="350"/>
                  <a:pt x="159" y="350"/>
                  <a:pt x="158" y="351"/>
                </a:cubicBezTo>
                <a:cubicBezTo>
                  <a:pt x="158" y="350"/>
                  <a:pt x="159" y="349"/>
                  <a:pt x="160" y="349"/>
                </a:cubicBezTo>
                <a:close/>
                <a:moveTo>
                  <a:pt x="159" y="352"/>
                </a:moveTo>
                <a:cubicBezTo>
                  <a:pt x="158" y="352"/>
                  <a:pt x="158" y="353"/>
                  <a:pt x="157" y="353"/>
                </a:cubicBezTo>
                <a:cubicBezTo>
                  <a:pt x="157" y="352"/>
                  <a:pt x="158" y="352"/>
                  <a:pt x="159" y="352"/>
                </a:cubicBezTo>
                <a:close/>
                <a:moveTo>
                  <a:pt x="156" y="354"/>
                </a:moveTo>
                <a:cubicBezTo>
                  <a:pt x="155" y="355"/>
                  <a:pt x="158" y="353"/>
                  <a:pt x="156" y="354"/>
                </a:cubicBezTo>
                <a:close/>
                <a:moveTo>
                  <a:pt x="157" y="415"/>
                </a:moveTo>
                <a:cubicBezTo>
                  <a:pt x="158" y="416"/>
                  <a:pt x="157" y="417"/>
                  <a:pt x="156" y="417"/>
                </a:cubicBezTo>
                <a:cubicBezTo>
                  <a:pt x="156" y="416"/>
                  <a:pt x="157" y="416"/>
                  <a:pt x="157" y="415"/>
                </a:cubicBezTo>
                <a:close/>
                <a:moveTo>
                  <a:pt x="133" y="461"/>
                </a:moveTo>
                <a:cubicBezTo>
                  <a:pt x="137" y="457"/>
                  <a:pt x="142" y="453"/>
                  <a:pt x="148" y="450"/>
                </a:cubicBezTo>
                <a:cubicBezTo>
                  <a:pt x="143" y="454"/>
                  <a:pt x="138" y="457"/>
                  <a:pt x="133" y="461"/>
                </a:cubicBezTo>
                <a:close/>
                <a:moveTo>
                  <a:pt x="138" y="463"/>
                </a:moveTo>
                <a:cubicBezTo>
                  <a:pt x="138" y="464"/>
                  <a:pt x="137" y="464"/>
                  <a:pt x="137" y="463"/>
                </a:cubicBezTo>
                <a:cubicBezTo>
                  <a:pt x="136" y="462"/>
                  <a:pt x="138" y="463"/>
                  <a:pt x="138" y="463"/>
                </a:cubicBezTo>
                <a:close/>
                <a:moveTo>
                  <a:pt x="147" y="446"/>
                </a:moveTo>
                <a:cubicBezTo>
                  <a:pt x="146" y="446"/>
                  <a:pt x="145" y="447"/>
                  <a:pt x="145" y="447"/>
                </a:cubicBezTo>
                <a:cubicBezTo>
                  <a:pt x="144" y="446"/>
                  <a:pt x="152" y="439"/>
                  <a:pt x="153" y="440"/>
                </a:cubicBezTo>
                <a:cubicBezTo>
                  <a:pt x="154" y="440"/>
                  <a:pt x="147" y="446"/>
                  <a:pt x="147" y="446"/>
                </a:cubicBezTo>
                <a:close/>
                <a:moveTo>
                  <a:pt x="148" y="401"/>
                </a:moveTo>
                <a:cubicBezTo>
                  <a:pt x="151" y="399"/>
                  <a:pt x="146" y="402"/>
                  <a:pt x="148" y="401"/>
                </a:cubicBezTo>
                <a:close/>
                <a:moveTo>
                  <a:pt x="150" y="439"/>
                </a:moveTo>
                <a:cubicBezTo>
                  <a:pt x="150" y="440"/>
                  <a:pt x="149" y="440"/>
                  <a:pt x="148" y="440"/>
                </a:cubicBezTo>
                <a:cubicBezTo>
                  <a:pt x="148" y="439"/>
                  <a:pt x="149" y="439"/>
                  <a:pt x="150" y="439"/>
                </a:cubicBezTo>
                <a:close/>
                <a:moveTo>
                  <a:pt x="151" y="379"/>
                </a:moveTo>
                <a:cubicBezTo>
                  <a:pt x="150" y="380"/>
                  <a:pt x="151" y="378"/>
                  <a:pt x="151" y="379"/>
                </a:cubicBezTo>
                <a:close/>
                <a:moveTo>
                  <a:pt x="153" y="447"/>
                </a:moveTo>
                <a:cubicBezTo>
                  <a:pt x="153" y="449"/>
                  <a:pt x="150" y="449"/>
                  <a:pt x="149" y="450"/>
                </a:cubicBezTo>
                <a:cubicBezTo>
                  <a:pt x="149" y="449"/>
                  <a:pt x="152" y="448"/>
                  <a:pt x="153" y="447"/>
                </a:cubicBezTo>
                <a:close/>
                <a:moveTo>
                  <a:pt x="156" y="472"/>
                </a:moveTo>
                <a:cubicBezTo>
                  <a:pt x="155" y="473"/>
                  <a:pt x="152" y="475"/>
                  <a:pt x="151" y="475"/>
                </a:cubicBezTo>
                <a:cubicBezTo>
                  <a:pt x="151" y="475"/>
                  <a:pt x="154" y="471"/>
                  <a:pt x="156" y="472"/>
                </a:cubicBezTo>
                <a:close/>
                <a:moveTo>
                  <a:pt x="156" y="435"/>
                </a:moveTo>
                <a:cubicBezTo>
                  <a:pt x="156" y="435"/>
                  <a:pt x="156" y="435"/>
                  <a:pt x="157" y="435"/>
                </a:cubicBezTo>
                <a:cubicBezTo>
                  <a:pt x="156" y="435"/>
                  <a:pt x="156" y="435"/>
                  <a:pt x="156" y="435"/>
                </a:cubicBezTo>
                <a:cubicBezTo>
                  <a:pt x="156" y="435"/>
                  <a:pt x="156" y="435"/>
                  <a:pt x="156" y="435"/>
                </a:cubicBezTo>
                <a:close/>
                <a:moveTo>
                  <a:pt x="155" y="447"/>
                </a:moveTo>
                <a:cubicBezTo>
                  <a:pt x="155" y="447"/>
                  <a:pt x="154" y="448"/>
                  <a:pt x="154" y="447"/>
                </a:cubicBezTo>
                <a:cubicBezTo>
                  <a:pt x="153" y="446"/>
                  <a:pt x="156" y="445"/>
                  <a:pt x="155" y="447"/>
                </a:cubicBezTo>
                <a:close/>
                <a:moveTo>
                  <a:pt x="155" y="434"/>
                </a:moveTo>
                <a:cubicBezTo>
                  <a:pt x="155" y="434"/>
                  <a:pt x="154" y="435"/>
                  <a:pt x="154" y="435"/>
                </a:cubicBezTo>
                <a:cubicBezTo>
                  <a:pt x="152" y="437"/>
                  <a:pt x="153" y="432"/>
                  <a:pt x="155" y="434"/>
                </a:cubicBezTo>
                <a:close/>
                <a:moveTo>
                  <a:pt x="152" y="391"/>
                </a:moveTo>
                <a:cubicBezTo>
                  <a:pt x="153" y="391"/>
                  <a:pt x="152" y="392"/>
                  <a:pt x="152" y="392"/>
                </a:cubicBezTo>
                <a:cubicBezTo>
                  <a:pt x="151" y="393"/>
                  <a:pt x="151" y="390"/>
                  <a:pt x="152" y="391"/>
                </a:cubicBezTo>
                <a:close/>
                <a:moveTo>
                  <a:pt x="151" y="438"/>
                </a:moveTo>
                <a:cubicBezTo>
                  <a:pt x="152" y="436"/>
                  <a:pt x="154" y="438"/>
                  <a:pt x="151" y="438"/>
                </a:cubicBezTo>
                <a:close/>
                <a:moveTo>
                  <a:pt x="151" y="253"/>
                </a:moveTo>
                <a:cubicBezTo>
                  <a:pt x="151" y="253"/>
                  <a:pt x="151" y="254"/>
                  <a:pt x="150" y="254"/>
                </a:cubicBezTo>
                <a:cubicBezTo>
                  <a:pt x="150" y="253"/>
                  <a:pt x="151" y="252"/>
                  <a:pt x="151" y="253"/>
                </a:cubicBezTo>
                <a:close/>
                <a:moveTo>
                  <a:pt x="150" y="436"/>
                </a:moveTo>
                <a:cubicBezTo>
                  <a:pt x="151" y="436"/>
                  <a:pt x="150" y="437"/>
                  <a:pt x="150" y="437"/>
                </a:cubicBezTo>
                <a:cubicBezTo>
                  <a:pt x="149" y="439"/>
                  <a:pt x="149" y="435"/>
                  <a:pt x="150" y="436"/>
                </a:cubicBezTo>
                <a:close/>
                <a:moveTo>
                  <a:pt x="149" y="322"/>
                </a:moveTo>
                <a:cubicBezTo>
                  <a:pt x="149" y="323"/>
                  <a:pt x="148" y="322"/>
                  <a:pt x="149" y="322"/>
                </a:cubicBezTo>
                <a:close/>
                <a:moveTo>
                  <a:pt x="149" y="365"/>
                </a:moveTo>
                <a:cubicBezTo>
                  <a:pt x="149" y="366"/>
                  <a:pt x="147" y="366"/>
                  <a:pt x="148" y="365"/>
                </a:cubicBezTo>
                <a:cubicBezTo>
                  <a:pt x="148" y="365"/>
                  <a:pt x="149" y="365"/>
                  <a:pt x="149" y="365"/>
                </a:cubicBezTo>
                <a:close/>
                <a:moveTo>
                  <a:pt x="147" y="197"/>
                </a:moveTo>
                <a:cubicBezTo>
                  <a:pt x="146" y="198"/>
                  <a:pt x="146" y="198"/>
                  <a:pt x="145" y="197"/>
                </a:cubicBezTo>
                <a:cubicBezTo>
                  <a:pt x="142" y="194"/>
                  <a:pt x="150" y="194"/>
                  <a:pt x="147" y="197"/>
                </a:cubicBezTo>
                <a:close/>
                <a:moveTo>
                  <a:pt x="145" y="359"/>
                </a:moveTo>
                <a:cubicBezTo>
                  <a:pt x="147" y="359"/>
                  <a:pt x="145" y="362"/>
                  <a:pt x="145" y="362"/>
                </a:cubicBezTo>
                <a:cubicBezTo>
                  <a:pt x="143" y="363"/>
                  <a:pt x="143" y="358"/>
                  <a:pt x="145" y="359"/>
                </a:cubicBezTo>
                <a:close/>
                <a:moveTo>
                  <a:pt x="145" y="402"/>
                </a:moveTo>
                <a:cubicBezTo>
                  <a:pt x="145" y="404"/>
                  <a:pt x="144" y="404"/>
                  <a:pt x="143" y="405"/>
                </a:cubicBezTo>
                <a:cubicBezTo>
                  <a:pt x="143" y="404"/>
                  <a:pt x="144" y="403"/>
                  <a:pt x="145" y="402"/>
                </a:cubicBezTo>
                <a:close/>
                <a:moveTo>
                  <a:pt x="132" y="456"/>
                </a:moveTo>
                <a:cubicBezTo>
                  <a:pt x="134" y="453"/>
                  <a:pt x="139" y="450"/>
                  <a:pt x="143" y="448"/>
                </a:cubicBezTo>
                <a:cubicBezTo>
                  <a:pt x="139" y="451"/>
                  <a:pt x="137" y="455"/>
                  <a:pt x="132" y="456"/>
                </a:cubicBezTo>
                <a:close/>
                <a:moveTo>
                  <a:pt x="131" y="395"/>
                </a:moveTo>
                <a:cubicBezTo>
                  <a:pt x="132" y="394"/>
                  <a:pt x="132" y="393"/>
                  <a:pt x="134" y="393"/>
                </a:cubicBezTo>
                <a:cubicBezTo>
                  <a:pt x="134" y="393"/>
                  <a:pt x="132" y="395"/>
                  <a:pt x="131" y="395"/>
                </a:cubicBezTo>
                <a:close/>
                <a:moveTo>
                  <a:pt x="134" y="448"/>
                </a:moveTo>
                <a:cubicBezTo>
                  <a:pt x="134" y="448"/>
                  <a:pt x="133" y="449"/>
                  <a:pt x="133" y="448"/>
                </a:cubicBezTo>
                <a:cubicBezTo>
                  <a:pt x="132" y="447"/>
                  <a:pt x="135" y="447"/>
                  <a:pt x="134" y="448"/>
                </a:cubicBezTo>
                <a:close/>
                <a:moveTo>
                  <a:pt x="132" y="422"/>
                </a:moveTo>
                <a:cubicBezTo>
                  <a:pt x="131" y="421"/>
                  <a:pt x="131" y="420"/>
                  <a:pt x="132" y="420"/>
                </a:cubicBezTo>
                <a:cubicBezTo>
                  <a:pt x="133" y="420"/>
                  <a:pt x="134" y="421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5" y="424"/>
                  <a:pt x="130" y="426"/>
                  <a:pt x="130" y="423"/>
                </a:cubicBezTo>
                <a:cubicBezTo>
                  <a:pt x="130" y="422"/>
                  <a:pt x="131" y="422"/>
                  <a:pt x="132" y="422"/>
                </a:cubicBezTo>
                <a:close/>
                <a:moveTo>
                  <a:pt x="138" y="416"/>
                </a:moveTo>
                <a:cubicBezTo>
                  <a:pt x="137" y="417"/>
                  <a:pt x="139" y="415"/>
                  <a:pt x="138" y="416"/>
                </a:cubicBezTo>
                <a:close/>
                <a:moveTo>
                  <a:pt x="139" y="433"/>
                </a:moveTo>
                <a:cubicBezTo>
                  <a:pt x="139" y="432"/>
                  <a:pt x="139" y="432"/>
                  <a:pt x="139" y="432"/>
                </a:cubicBezTo>
                <a:cubicBezTo>
                  <a:pt x="139" y="430"/>
                  <a:pt x="141" y="433"/>
                  <a:pt x="139" y="433"/>
                </a:cubicBezTo>
                <a:close/>
                <a:moveTo>
                  <a:pt x="140" y="443"/>
                </a:moveTo>
                <a:cubicBezTo>
                  <a:pt x="140" y="443"/>
                  <a:pt x="141" y="443"/>
                  <a:pt x="141" y="444"/>
                </a:cubicBezTo>
                <a:cubicBezTo>
                  <a:pt x="141" y="444"/>
                  <a:pt x="140" y="444"/>
                  <a:pt x="140" y="443"/>
                </a:cubicBezTo>
                <a:close/>
                <a:moveTo>
                  <a:pt x="142" y="387"/>
                </a:moveTo>
                <a:cubicBezTo>
                  <a:pt x="141" y="387"/>
                  <a:pt x="144" y="386"/>
                  <a:pt x="142" y="387"/>
                </a:cubicBezTo>
                <a:close/>
                <a:moveTo>
                  <a:pt x="142" y="436"/>
                </a:moveTo>
                <a:cubicBezTo>
                  <a:pt x="143" y="436"/>
                  <a:pt x="142" y="439"/>
                  <a:pt x="141" y="437"/>
                </a:cubicBezTo>
                <a:cubicBezTo>
                  <a:pt x="141" y="436"/>
                  <a:pt x="142" y="436"/>
                  <a:pt x="142" y="436"/>
                </a:cubicBezTo>
                <a:close/>
                <a:moveTo>
                  <a:pt x="142" y="387"/>
                </a:moveTo>
                <a:cubicBezTo>
                  <a:pt x="141" y="389"/>
                  <a:pt x="139" y="391"/>
                  <a:pt x="137" y="392"/>
                </a:cubicBezTo>
                <a:cubicBezTo>
                  <a:pt x="137" y="392"/>
                  <a:pt x="139" y="388"/>
                  <a:pt x="142" y="387"/>
                </a:cubicBezTo>
                <a:close/>
                <a:moveTo>
                  <a:pt x="136" y="246"/>
                </a:moveTo>
                <a:cubicBezTo>
                  <a:pt x="135" y="246"/>
                  <a:pt x="137" y="245"/>
                  <a:pt x="136" y="246"/>
                </a:cubicBezTo>
                <a:close/>
                <a:moveTo>
                  <a:pt x="134" y="301"/>
                </a:moveTo>
                <a:cubicBezTo>
                  <a:pt x="134" y="298"/>
                  <a:pt x="136" y="300"/>
                  <a:pt x="134" y="301"/>
                </a:cubicBezTo>
                <a:close/>
                <a:moveTo>
                  <a:pt x="135" y="342"/>
                </a:moveTo>
                <a:cubicBezTo>
                  <a:pt x="135" y="343"/>
                  <a:pt x="134" y="344"/>
                  <a:pt x="134" y="345"/>
                </a:cubicBezTo>
                <a:cubicBezTo>
                  <a:pt x="133" y="344"/>
                  <a:pt x="134" y="342"/>
                  <a:pt x="135" y="342"/>
                </a:cubicBezTo>
                <a:close/>
                <a:moveTo>
                  <a:pt x="129" y="351"/>
                </a:moveTo>
                <a:cubicBezTo>
                  <a:pt x="129" y="350"/>
                  <a:pt x="132" y="348"/>
                  <a:pt x="132" y="346"/>
                </a:cubicBezTo>
                <a:cubicBezTo>
                  <a:pt x="133" y="347"/>
                  <a:pt x="130" y="349"/>
                  <a:pt x="129" y="351"/>
                </a:cubicBezTo>
                <a:close/>
                <a:moveTo>
                  <a:pt x="132" y="280"/>
                </a:moveTo>
                <a:cubicBezTo>
                  <a:pt x="132" y="282"/>
                  <a:pt x="130" y="281"/>
                  <a:pt x="132" y="280"/>
                </a:cubicBezTo>
                <a:close/>
                <a:moveTo>
                  <a:pt x="129" y="305"/>
                </a:moveTo>
                <a:cubicBezTo>
                  <a:pt x="131" y="306"/>
                  <a:pt x="130" y="307"/>
                  <a:pt x="129" y="307"/>
                </a:cubicBezTo>
                <a:cubicBezTo>
                  <a:pt x="127" y="309"/>
                  <a:pt x="128" y="305"/>
                  <a:pt x="129" y="305"/>
                </a:cubicBezTo>
                <a:close/>
                <a:moveTo>
                  <a:pt x="118" y="327"/>
                </a:moveTo>
                <a:cubicBezTo>
                  <a:pt x="118" y="327"/>
                  <a:pt x="117" y="327"/>
                  <a:pt x="117" y="326"/>
                </a:cubicBezTo>
                <a:cubicBezTo>
                  <a:pt x="117" y="326"/>
                  <a:pt x="119" y="326"/>
                  <a:pt x="118" y="327"/>
                </a:cubicBezTo>
                <a:close/>
                <a:moveTo>
                  <a:pt x="118" y="336"/>
                </a:moveTo>
                <a:cubicBezTo>
                  <a:pt x="118" y="336"/>
                  <a:pt x="118" y="337"/>
                  <a:pt x="117" y="336"/>
                </a:cubicBezTo>
                <a:cubicBezTo>
                  <a:pt x="117" y="336"/>
                  <a:pt x="119" y="334"/>
                  <a:pt x="118" y="336"/>
                </a:cubicBezTo>
                <a:close/>
                <a:moveTo>
                  <a:pt x="115" y="336"/>
                </a:moveTo>
                <a:cubicBezTo>
                  <a:pt x="116" y="335"/>
                  <a:pt x="114" y="337"/>
                  <a:pt x="115" y="336"/>
                </a:cubicBezTo>
                <a:close/>
                <a:moveTo>
                  <a:pt x="115" y="386"/>
                </a:moveTo>
                <a:cubicBezTo>
                  <a:pt x="116" y="387"/>
                  <a:pt x="115" y="387"/>
                  <a:pt x="114" y="387"/>
                </a:cubicBezTo>
                <a:cubicBezTo>
                  <a:pt x="114" y="388"/>
                  <a:pt x="115" y="386"/>
                  <a:pt x="115" y="386"/>
                </a:cubicBezTo>
                <a:close/>
                <a:moveTo>
                  <a:pt x="114" y="388"/>
                </a:moveTo>
                <a:cubicBezTo>
                  <a:pt x="114" y="389"/>
                  <a:pt x="113" y="389"/>
                  <a:pt x="113" y="390"/>
                </a:cubicBezTo>
                <a:cubicBezTo>
                  <a:pt x="112" y="390"/>
                  <a:pt x="113" y="388"/>
                  <a:pt x="114" y="388"/>
                </a:cubicBezTo>
                <a:close/>
                <a:moveTo>
                  <a:pt x="111" y="394"/>
                </a:moveTo>
                <a:cubicBezTo>
                  <a:pt x="110" y="393"/>
                  <a:pt x="112" y="392"/>
                  <a:pt x="112" y="391"/>
                </a:cubicBezTo>
                <a:cubicBezTo>
                  <a:pt x="113" y="392"/>
                  <a:pt x="111" y="393"/>
                  <a:pt x="111" y="394"/>
                </a:cubicBezTo>
                <a:close/>
                <a:moveTo>
                  <a:pt x="112" y="243"/>
                </a:moveTo>
                <a:cubicBezTo>
                  <a:pt x="111" y="245"/>
                  <a:pt x="111" y="241"/>
                  <a:pt x="112" y="242"/>
                </a:cubicBezTo>
                <a:cubicBezTo>
                  <a:pt x="113" y="242"/>
                  <a:pt x="112" y="243"/>
                  <a:pt x="112" y="243"/>
                </a:cubicBezTo>
                <a:close/>
                <a:moveTo>
                  <a:pt x="115" y="433"/>
                </a:moveTo>
                <a:cubicBezTo>
                  <a:pt x="111" y="434"/>
                  <a:pt x="116" y="429"/>
                  <a:pt x="116" y="432"/>
                </a:cubicBezTo>
                <a:cubicBezTo>
                  <a:pt x="116" y="432"/>
                  <a:pt x="115" y="433"/>
                  <a:pt x="115" y="433"/>
                </a:cubicBezTo>
                <a:close/>
                <a:moveTo>
                  <a:pt x="116" y="435"/>
                </a:moveTo>
                <a:cubicBezTo>
                  <a:pt x="115" y="436"/>
                  <a:pt x="117" y="434"/>
                  <a:pt x="116" y="435"/>
                </a:cubicBezTo>
                <a:close/>
                <a:moveTo>
                  <a:pt x="113" y="417"/>
                </a:moveTo>
                <a:cubicBezTo>
                  <a:pt x="115" y="413"/>
                  <a:pt x="118" y="409"/>
                  <a:pt x="121" y="406"/>
                </a:cubicBezTo>
                <a:cubicBezTo>
                  <a:pt x="119" y="410"/>
                  <a:pt x="117" y="414"/>
                  <a:pt x="113" y="417"/>
                </a:cubicBezTo>
                <a:close/>
                <a:moveTo>
                  <a:pt x="121" y="276"/>
                </a:moveTo>
                <a:cubicBezTo>
                  <a:pt x="121" y="276"/>
                  <a:pt x="121" y="277"/>
                  <a:pt x="121" y="277"/>
                </a:cubicBezTo>
                <a:cubicBezTo>
                  <a:pt x="120" y="276"/>
                  <a:pt x="122" y="275"/>
                  <a:pt x="121" y="276"/>
                </a:cubicBezTo>
                <a:close/>
                <a:moveTo>
                  <a:pt x="122" y="193"/>
                </a:moveTo>
                <a:cubicBezTo>
                  <a:pt x="123" y="193"/>
                  <a:pt x="123" y="195"/>
                  <a:pt x="122" y="195"/>
                </a:cubicBezTo>
                <a:cubicBezTo>
                  <a:pt x="121" y="197"/>
                  <a:pt x="121" y="192"/>
                  <a:pt x="122" y="193"/>
                </a:cubicBezTo>
                <a:close/>
                <a:moveTo>
                  <a:pt x="122" y="472"/>
                </a:moveTo>
                <a:cubicBezTo>
                  <a:pt x="122" y="473"/>
                  <a:pt x="121" y="474"/>
                  <a:pt x="120" y="475"/>
                </a:cubicBezTo>
                <a:cubicBezTo>
                  <a:pt x="120" y="474"/>
                  <a:pt x="121" y="472"/>
                  <a:pt x="122" y="472"/>
                </a:cubicBezTo>
                <a:close/>
                <a:moveTo>
                  <a:pt x="120" y="461"/>
                </a:moveTo>
                <a:cubicBezTo>
                  <a:pt x="121" y="463"/>
                  <a:pt x="118" y="467"/>
                  <a:pt x="116" y="466"/>
                </a:cubicBezTo>
                <a:cubicBezTo>
                  <a:pt x="115" y="464"/>
                  <a:pt x="119" y="462"/>
                  <a:pt x="120" y="461"/>
                </a:cubicBezTo>
                <a:close/>
                <a:moveTo>
                  <a:pt x="111" y="479"/>
                </a:moveTo>
                <a:cubicBezTo>
                  <a:pt x="110" y="481"/>
                  <a:pt x="109" y="480"/>
                  <a:pt x="111" y="479"/>
                </a:cubicBezTo>
                <a:close/>
                <a:moveTo>
                  <a:pt x="110" y="496"/>
                </a:moveTo>
                <a:cubicBezTo>
                  <a:pt x="111" y="495"/>
                  <a:pt x="109" y="497"/>
                  <a:pt x="110" y="496"/>
                </a:cubicBezTo>
                <a:close/>
                <a:moveTo>
                  <a:pt x="107" y="477"/>
                </a:moveTo>
                <a:cubicBezTo>
                  <a:pt x="107" y="476"/>
                  <a:pt x="106" y="478"/>
                  <a:pt x="107" y="477"/>
                </a:cubicBezTo>
                <a:close/>
                <a:moveTo>
                  <a:pt x="109" y="509"/>
                </a:moveTo>
                <a:cubicBezTo>
                  <a:pt x="108" y="510"/>
                  <a:pt x="107" y="509"/>
                  <a:pt x="106" y="508"/>
                </a:cubicBezTo>
                <a:cubicBezTo>
                  <a:pt x="104" y="505"/>
                  <a:pt x="110" y="501"/>
                  <a:pt x="111" y="503"/>
                </a:cubicBezTo>
                <a:cubicBezTo>
                  <a:pt x="114" y="504"/>
                  <a:pt x="111" y="509"/>
                  <a:pt x="109" y="509"/>
                </a:cubicBezTo>
                <a:close/>
                <a:moveTo>
                  <a:pt x="115" y="501"/>
                </a:moveTo>
                <a:cubicBezTo>
                  <a:pt x="115" y="499"/>
                  <a:pt x="117" y="501"/>
                  <a:pt x="115" y="501"/>
                </a:cubicBezTo>
                <a:close/>
                <a:moveTo>
                  <a:pt x="115" y="498"/>
                </a:moveTo>
                <a:cubicBezTo>
                  <a:pt x="115" y="498"/>
                  <a:pt x="115" y="498"/>
                  <a:pt x="115" y="498"/>
                </a:cubicBezTo>
                <a:cubicBezTo>
                  <a:pt x="115" y="499"/>
                  <a:pt x="115" y="499"/>
                  <a:pt x="115" y="499"/>
                </a:cubicBezTo>
                <a:cubicBezTo>
                  <a:pt x="114" y="500"/>
                  <a:pt x="114" y="500"/>
                  <a:pt x="114" y="501"/>
                </a:cubicBezTo>
                <a:cubicBezTo>
                  <a:pt x="114" y="501"/>
                  <a:pt x="114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1"/>
                  <a:pt x="113" y="501"/>
                </a:cubicBezTo>
                <a:cubicBezTo>
                  <a:pt x="114" y="499"/>
                  <a:pt x="115" y="496"/>
                  <a:pt x="116" y="494"/>
                </a:cubicBezTo>
                <a:cubicBezTo>
                  <a:pt x="116" y="495"/>
                  <a:pt x="116" y="497"/>
                  <a:pt x="115" y="498"/>
                </a:cubicBezTo>
                <a:close/>
                <a:moveTo>
                  <a:pt x="115" y="482"/>
                </a:moveTo>
                <a:cubicBezTo>
                  <a:pt x="116" y="481"/>
                  <a:pt x="118" y="481"/>
                  <a:pt x="120" y="480"/>
                </a:cubicBezTo>
                <a:cubicBezTo>
                  <a:pt x="119" y="482"/>
                  <a:pt x="117" y="482"/>
                  <a:pt x="115" y="482"/>
                </a:cubicBezTo>
                <a:close/>
                <a:moveTo>
                  <a:pt x="121" y="500"/>
                </a:moveTo>
                <a:cubicBezTo>
                  <a:pt x="122" y="501"/>
                  <a:pt x="121" y="503"/>
                  <a:pt x="119" y="503"/>
                </a:cubicBezTo>
                <a:cubicBezTo>
                  <a:pt x="117" y="502"/>
                  <a:pt x="119" y="499"/>
                  <a:pt x="121" y="500"/>
                </a:cubicBezTo>
                <a:cubicBezTo>
                  <a:pt x="119" y="498"/>
                  <a:pt x="121" y="493"/>
                  <a:pt x="124" y="494"/>
                </a:cubicBezTo>
                <a:cubicBezTo>
                  <a:pt x="128" y="495"/>
                  <a:pt x="124" y="503"/>
                  <a:pt x="121" y="500"/>
                </a:cubicBezTo>
                <a:close/>
                <a:moveTo>
                  <a:pt x="123" y="425"/>
                </a:moveTo>
                <a:cubicBezTo>
                  <a:pt x="123" y="425"/>
                  <a:pt x="123" y="424"/>
                  <a:pt x="124" y="424"/>
                </a:cubicBezTo>
                <a:cubicBezTo>
                  <a:pt x="124" y="424"/>
                  <a:pt x="123" y="425"/>
                  <a:pt x="123" y="425"/>
                </a:cubicBezTo>
                <a:close/>
                <a:moveTo>
                  <a:pt x="123" y="474"/>
                </a:moveTo>
                <a:cubicBezTo>
                  <a:pt x="123" y="472"/>
                  <a:pt x="125" y="474"/>
                  <a:pt x="123" y="474"/>
                </a:cubicBezTo>
                <a:close/>
                <a:moveTo>
                  <a:pt x="123" y="471"/>
                </a:moveTo>
                <a:cubicBezTo>
                  <a:pt x="125" y="469"/>
                  <a:pt x="122" y="472"/>
                  <a:pt x="123" y="471"/>
                </a:cubicBezTo>
                <a:close/>
                <a:moveTo>
                  <a:pt x="126" y="472"/>
                </a:moveTo>
                <a:cubicBezTo>
                  <a:pt x="126" y="472"/>
                  <a:pt x="126" y="472"/>
                  <a:pt x="126" y="472"/>
                </a:cubicBezTo>
                <a:cubicBezTo>
                  <a:pt x="125" y="472"/>
                  <a:pt x="125" y="473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lose/>
                <a:moveTo>
                  <a:pt x="127" y="431"/>
                </a:moveTo>
                <a:cubicBezTo>
                  <a:pt x="127" y="431"/>
                  <a:pt x="128" y="431"/>
                  <a:pt x="127" y="432"/>
                </a:cubicBezTo>
                <a:cubicBezTo>
                  <a:pt x="127" y="433"/>
                  <a:pt x="126" y="431"/>
                  <a:pt x="127" y="431"/>
                </a:cubicBezTo>
                <a:close/>
                <a:moveTo>
                  <a:pt x="127" y="501"/>
                </a:moveTo>
                <a:cubicBezTo>
                  <a:pt x="127" y="500"/>
                  <a:pt x="127" y="500"/>
                  <a:pt x="127" y="500"/>
                </a:cubicBezTo>
                <a:cubicBezTo>
                  <a:pt x="127" y="498"/>
                  <a:pt x="129" y="501"/>
                  <a:pt x="127" y="501"/>
                </a:cubicBezTo>
                <a:close/>
                <a:moveTo>
                  <a:pt x="128" y="501"/>
                </a:moveTo>
                <a:cubicBezTo>
                  <a:pt x="127" y="502"/>
                  <a:pt x="128" y="499"/>
                  <a:pt x="129" y="500"/>
                </a:cubicBezTo>
                <a:cubicBezTo>
                  <a:pt x="130" y="501"/>
                  <a:pt x="129" y="501"/>
                  <a:pt x="128" y="501"/>
                </a:cubicBezTo>
                <a:close/>
                <a:moveTo>
                  <a:pt x="128" y="456"/>
                </a:moveTo>
                <a:cubicBezTo>
                  <a:pt x="129" y="455"/>
                  <a:pt x="127" y="457"/>
                  <a:pt x="128" y="456"/>
                </a:cubicBezTo>
                <a:close/>
                <a:moveTo>
                  <a:pt x="125" y="401"/>
                </a:moveTo>
                <a:cubicBezTo>
                  <a:pt x="125" y="401"/>
                  <a:pt x="122" y="406"/>
                  <a:pt x="123" y="403"/>
                </a:cubicBezTo>
                <a:cubicBezTo>
                  <a:pt x="123" y="401"/>
                  <a:pt x="128" y="398"/>
                  <a:pt x="130" y="396"/>
                </a:cubicBezTo>
                <a:cubicBezTo>
                  <a:pt x="129" y="398"/>
                  <a:pt x="127" y="399"/>
                  <a:pt x="125" y="401"/>
                </a:cubicBezTo>
                <a:close/>
                <a:moveTo>
                  <a:pt x="131" y="424"/>
                </a:moveTo>
                <a:cubicBezTo>
                  <a:pt x="131" y="424"/>
                  <a:pt x="131" y="425"/>
                  <a:pt x="130" y="426"/>
                </a:cubicBezTo>
                <a:cubicBezTo>
                  <a:pt x="130" y="426"/>
                  <a:pt x="130" y="424"/>
                  <a:pt x="131" y="424"/>
                </a:cubicBezTo>
                <a:close/>
                <a:moveTo>
                  <a:pt x="131" y="503"/>
                </a:moveTo>
                <a:cubicBezTo>
                  <a:pt x="129" y="502"/>
                  <a:pt x="134" y="500"/>
                  <a:pt x="132" y="503"/>
                </a:cubicBezTo>
                <a:cubicBezTo>
                  <a:pt x="132" y="503"/>
                  <a:pt x="131" y="504"/>
                  <a:pt x="131" y="503"/>
                </a:cubicBezTo>
                <a:close/>
                <a:moveTo>
                  <a:pt x="132" y="505"/>
                </a:moveTo>
                <a:cubicBezTo>
                  <a:pt x="132" y="506"/>
                  <a:pt x="133" y="504"/>
                  <a:pt x="132" y="505"/>
                </a:cubicBezTo>
                <a:close/>
                <a:moveTo>
                  <a:pt x="132" y="478"/>
                </a:moveTo>
                <a:cubicBezTo>
                  <a:pt x="130" y="480"/>
                  <a:pt x="130" y="474"/>
                  <a:pt x="132" y="475"/>
                </a:cubicBezTo>
                <a:cubicBezTo>
                  <a:pt x="134" y="476"/>
                  <a:pt x="133" y="478"/>
                  <a:pt x="132" y="478"/>
                </a:cubicBezTo>
                <a:close/>
                <a:moveTo>
                  <a:pt x="138" y="496"/>
                </a:moveTo>
                <a:cubicBezTo>
                  <a:pt x="136" y="498"/>
                  <a:pt x="135" y="493"/>
                  <a:pt x="137" y="494"/>
                </a:cubicBezTo>
                <a:cubicBezTo>
                  <a:pt x="138" y="494"/>
                  <a:pt x="138" y="496"/>
                  <a:pt x="138" y="496"/>
                </a:cubicBezTo>
                <a:close/>
                <a:moveTo>
                  <a:pt x="140" y="501"/>
                </a:moveTo>
                <a:cubicBezTo>
                  <a:pt x="141" y="500"/>
                  <a:pt x="141" y="502"/>
                  <a:pt x="140" y="501"/>
                </a:cubicBezTo>
                <a:close/>
                <a:moveTo>
                  <a:pt x="139" y="469"/>
                </a:moveTo>
                <a:cubicBezTo>
                  <a:pt x="138" y="471"/>
                  <a:pt x="136" y="474"/>
                  <a:pt x="135" y="475"/>
                </a:cubicBezTo>
                <a:cubicBezTo>
                  <a:pt x="130" y="476"/>
                  <a:pt x="139" y="468"/>
                  <a:pt x="141" y="467"/>
                </a:cubicBezTo>
                <a:cubicBezTo>
                  <a:pt x="138" y="469"/>
                  <a:pt x="141" y="465"/>
                  <a:pt x="142" y="466"/>
                </a:cubicBezTo>
                <a:cubicBezTo>
                  <a:pt x="143" y="467"/>
                  <a:pt x="140" y="469"/>
                  <a:pt x="139" y="469"/>
                </a:cubicBezTo>
                <a:close/>
                <a:moveTo>
                  <a:pt x="143" y="510"/>
                </a:moveTo>
                <a:cubicBezTo>
                  <a:pt x="142" y="510"/>
                  <a:pt x="142" y="511"/>
                  <a:pt x="142" y="511"/>
                </a:cubicBezTo>
                <a:cubicBezTo>
                  <a:pt x="143" y="510"/>
                  <a:pt x="143" y="509"/>
                  <a:pt x="143" y="510"/>
                </a:cubicBezTo>
                <a:close/>
                <a:moveTo>
                  <a:pt x="143" y="484"/>
                </a:moveTo>
                <a:cubicBezTo>
                  <a:pt x="143" y="484"/>
                  <a:pt x="144" y="483"/>
                  <a:pt x="144" y="483"/>
                </a:cubicBezTo>
                <a:cubicBezTo>
                  <a:pt x="144" y="483"/>
                  <a:pt x="144" y="484"/>
                  <a:pt x="143" y="484"/>
                </a:cubicBezTo>
                <a:close/>
                <a:moveTo>
                  <a:pt x="144" y="494"/>
                </a:moveTo>
                <a:cubicBezTo>
                  <a:pt x="144" y="493"/>
                  <a:pt x="147" y="493"/>
                  <a:pt x="147" y="494"/>
                </a:cubicBezTo>
                <a:cubicBezTo>
                  <a:pt x="147" y="495"/>
                  <a:pt x="144" y="497"/>
                  <a:pt x="144" y="494"/>
                </a:cubicBezTo>
                <a:close/>
                <a:moveTo>
                  <a:pt x="145" y="517"/>
                </a:moveTo>
                <a:cubicBezTo>
                  <a:pt x="144" y="515"/>
                  <a:pt x="148" y="516"/>
                  <a:pt x="148" y="517"/>
                </a:cubicBezTo>
                <a:cubicBezTo>
                  <a:pt x="147" y="518"/>
                  <a:pt x="145" y="519"/>
                  <a:pt x="145" y="517"/>
                </a:cubicBezTo>
                <a:close/>
                <a:moveTo>
                  <a:pt x="142" y="481"/>
                </a:moveTo>
                <a:cubicBezTo>
                  <a:pt x="144" y="479"/>
                  <a:pt x="146" y="477"/>
                  <a:pt x="149" y="476"/>
                </a:cubicBezTo>
                <a:cubicBezTo>
                  <a:pt x="147" y="478"/>
                  <a:pt x="145" y="480"/>
                  <a:pt x="142" y="481"/>
                </a:cubicBezTo>
                <a:close/>
                <a:moveTo>
                  <a:pt x="149" y="515"/>
                </a:moveTo>
                <a:cubicBezTo>
                  <a:pt x="149" y="515"/>
                  <a:pt x="147" y="515"/>
                  <a:pt x="148" y="514"/>
                </a:cubicBezTo>
                <a:cubicBezTo>
                  <a:pt x="148" y="514"/>
                  <a:pt x="150" y="515"/>
                  <a:pt x="149" y="515"/>
                </a:cubicBezTo>
                <a:close/>
                <a:moveTo>
                  <a:pt x="150" y="472"/>
                </a:moveTo>
                <a:cubicBezTo>
                  <a:pt x="149" y="472"/>
                  <a:pt x="150" y="470"/>
                  <a:pt x="150" y="470"/>
                </a:cubicBezTo>
                <a:cubicBezTo>
                  <a:pt x="151" y="471"/>
                  <a:pt x="149" y="472"/>
                  <a:pt x="150" y="472"/>
                </a:cubicBezTo>
                <a:close/>
                <a:moveTo>
                  <a:pt x="150" y="468"/>
                </a:moveTo>
                <a:cubicBezTo>
                  <a:pt x="150" y="468"/>
                  <a:pt x="150" y="468"/>
                  <a:pt x="151" y="468"/>
                </a:cubicBezTo>
                <a:cubicBezTo>
                  <a:pt x="151" y="468"/>
                  <a:pt x="151" y="467"/>
                  <a:pt x="151" y="467"/>
                </a:cubicBezTo>
                <a:cubicBezTo>
                  <a:pt x="151" y="467"/>
                  <a:pt x="151" y="467"/>
                  <a:pt x="151" y="467"/>
                </a:cubicBezTo>
                <a:cubicBezTo>
                  <a:pt x="151" y="468"/>
                  <a:pt x="151" y="468"/>
                  <a:pt x="151" y="468"/>
                </a:cubicBezTo>
                <a:cubicBezTo>
                  <a:pt x="150" y="468"/>
                  <a:pt x="150" y="468"/>
                  <a:pt x="150" y="468"/>
                </a:cubicBezTo>
                <a:close/>
                <a:moveTo>
                  <a:pt x="152" y="551"/>
                </a:moveTo>
                <a:cubicBezTo>
                  <a:pt x="151" y="551"/>
                  <a:pt x="151" y="551"/>
                  <a:pt x="151" y="551"/>
                </a:cubicBezTo>
                <a:cubicBezTo>
                  <a:pt x="150" y="550"/>
                  <a:pt x="153" y="549"/>
                  <a:pt x="152" y="551"/>
                </a:cubicBezTo>
                <a:close/>
                <a:moveTo>
                  <a:pt x="152" y="540"/>
                </a:moveTo>
                <a:cubicBezTo>
                  <a:pt x="150" y="541"/>
                  <a:pt x="150" y="536"/>
                  <a:pt x="153" y="537"/>
                </a:cubicBezTo>
                <a:cubicBezTo>
                  <a:pt x="154" y="537"/>
                  <a:pt x="153" y="539"/>
                  <a:pt x="152" y="540"/>
                </a:cubicBezTo>
                <a:close/>
                <a:moveTo>
                  <a:pt x="154" y="484"/>
                </a:moveTo>
                <a:cubicBezTo>
                  <a:pt x="153" y="483"/>
                  <a:pt x="155" y="483"/>
                  <a:pt x="155" y="484"/>
                </a:cubicBezTo>
                <a:cubicBezTo>
                  <a:pt x="155" y="484"/>
                  <a:pt x="154" y="485"/>
                  <a:pt x="154" y="484"/>
                </a:cubicBezTo>
                <a:close/>
                <a:moveTo>
                  <a:pt x="158" y="546"/>
                </a:moveTo>
                <a:cubicBezTo>
                  <a:pt x="158" y="546"/>
                  <a:pt x="158" y="547"/>
                  <a:pt x="158" y="547"/>
                </a:cubicBezTo>
                <a:cubicBezTo>
                  <a:pt x="158" y="547"/>
                  <a:pt x="158" y="547"/>
                  <a:pt x="158" y="547"/>
                </a:cubicBezTo>
                <a:cubicBezTo>
                  <a:pt x="157" y="547"/>
                  <a:pt x="155" y="548"/>
                  <a:pt x="154" y="548"/>
                </a:cubicBezTo>
                <a:cubicBezTo>
                  <a:pt x="155" y="546"/>
                  <a:pt x="158" y="546"/>
                  <a:pt x="160" y="545"/>
                </a:cubicBezTo>
                <a:cubicBezTo>
                  <a:pt x="160" y="545"/>
                  <a:pt x="159" y="546"/>
                  <a:pt x="158" y="546"/>
                </a:cubicBezTo>
                <a:close/>
                <a:moveTo>
                  <a:pt x="155" y="544"/>
                </a:moveTo>
                <a:cubicBezTo>
                  <a:pt x="155" y="544"/>
                  <a:pt x="156" y="543"/>
                  <a:pt x="156" y="544"/>
                </a:cubicBezTo>
                <a:cubicBezTo>
                  <a:pt x="156" y="544"/>
                  <a:pt x="155" y="546"/>
                  <a:pt x="155" y="544"/>
                </a:cubicBezTo>
                <a:close/>
                <a:moveTo>
                  <a:pt x="160" y="521"/>
                </a:moveTo>
                <a:cubicBezTo>
                  <a:pt x="151" y="525"/>
                  <a:pt x="154" y="511"/>
                  <a:pt x="161" y="512"/>
                </a:cubicBezTo>
                <a:cubicBezTo>
                  <a:pt x="165" y="513"/>
                  <a:pt x="162" y="520"/>
                  <a:pt x="160" y="521"/>
                </a:cubicBezTo>
                <a:close/>
                <a:moveTo>
                  <a:pt x="162" y="544"/>
                </a:moveTo>
                <a:cubicBezTo>
                  <a:pt x="162" y="545"/>
                  <a:pt x="161" y="545"/>
                  <a:pt x="161" y="545"/>
                </a:cubicBezTo>
                <a:cubicBezTo>
                  <a:pt x="160" y="544"/>
                  <a:pt x="165" y="543"/>
                  <a:pt x="162" y="544"/>
                </a:cubicBezTo>
                <a:close/>
                <a:moveTo>
                  <a:pt x="168" y="525"/>
                </a:moveTo>
                <a:cubicBezTo>
                  <a:pt x="168" y="525"/>
                  <a:pt x="169" y="525"/>
                  <a:pt x="169" y="525"/>
                </a:cubicBezTo>
                <a:cubicBezTo>
                  <a:pt x="169" y="526"/>
                  <a:pt x="168" y="526"/>
                  <a:pt x="168" y="525"/>
                </a:cubicBezTo>
                <a:close/>
                <a:moveTo>
                  <a:pt x="170" y="537"/>
                </a:moveTo>
                <a:cubicBezTo>
                  <a:pt x="168" y="538"/>
                  <a:pt x="168" y="535"/>
                  <a:pt x="170" y="535"/>
                </a:cubicBezTo>
                <a:cubicBezTo>
                  <a:pt x="171" y="536"/>
                  <a:pt x="170" y="536"/>
                  <a:pt x="170" y="537"/>
                </a:cubicBezTo>
                <a:close/>
                <a:moveTo>
                  <a:pt x="172" y="521"/>
                </a:moveTo>
                <a:cubicBezTo>
                  <a:pt x="170" y="522"/>
                  <a:pt x="165" y="524"/>
                  <a:pt x="161" y="525"/>
                </a:cubicBezTo>
                <a:cubicBezTo>
                  <a:pt x="164" y="523"/>
                  <a:pt x="170" y="520"/>
                  <a:pt x="173" y="519"/>
                </a:cubicBezTo>
                <a:cubicBezTo>
                  <a:pt x="172" y="519"/>
                  <a:pt x="175" y="519"/>
                  <a:pt x="175" y="519"/>
                </a:cubicBezTo>
                <a:cubicBezTo>
                  <a:pt x="175" y="520"/>
                  <a:pt x="173" y="520"/>
                  <a:pt x="172" y="521"/>
                </a:cubicBezTo>
                <a:close/>
                <a:moveTo>
                  <a:pt x="176" y="546"/>
                </a:moveTo>
                <a:cubicBezTo>
                  <a:pt x="175" y="547"/>
                  <a:pt x="175" y="547"/>
                  <a:pt x="175" y="546"/>
                </a:cubicBezTo>
                <a:cubicBezTo>
                  <a:pt x="174" y="545"/>
                  <a:pt x="177" y="545"/>
                  <a:pt x="176" y="546"/>
                </a:cubicBezTo>
                <a:close/>
                <a:moveTo>
                  <a:pt x="174" y="497"/>
                </a:moveTo>
                <a:cubicBezTo>
                  <a:pt x="174" y="496"/>
                  <a:pt x="176" y="497"/>
                  <a:pt x="176" y="497"/>
                </a:cubicBezTo>
                <a:cubicBezTo>
                  <a:pt x="176" y="498"/>
                  <a:pt x="174" y="499"/>
                  <a:pt x="174" y="497"/>
                </a:cubicBezTo>
                <a:close/>
                <a:moveTo>
                  <a:pt x="176" y="431"/>
                </a:moveTo>
                <a:cubicBezTo>
                  <a:pt x="176" y="431"/>
                  <a:pt x="176" y="431"/>
                  <a:pt x="176" y="431"/>
                </a:cubicBezTo>
                <a:cubicBezTo>
                  <a:pt x="175" y="433"/>
                  <a:pt x="176" y="429"/>
                  <a:pt x="176" y="431"/>
                </a:cubicBezTo>
                <a:close/>
                <a:moveTo>
                  <a:pt x="176" y="487"/>
                </a:moveTo>
                <a:cubicBezTo>
                  <a:pt x="176" y="485"/>
                  <a:pt x="181" y="484"/>
                  <a:pt x="181" y="486"/>
                </a:cubicBezTo>
                <a:cubicBezTo>
                  <a:pt x="182" y="489"/>
                  <a:pt x="176" y="491"/>
                  <a:pt x="176" y="487"/>
                </a:cubicBezTo>
                <a:close/>
                <a:moveTo>
                  <a:pt x="180" y="543"/>
                </a:moveTo>
                <a:cubicBezTo>
                  <a:pt x="180" y="543"/>
                  <a:pt x="181" y="542"/>
                  <a:pt x="182" y="543"/>
                </a:cubicBezTo>
                <a:cubicBezTo>
                  <a:pt x="182" y="544"/>
                  <a:pt x="180" y="544"/>
                  <a:pt x="180" y="543"/>
                </a:cubicBezTo>
                <a:close/>
                <a:moveTo>
                  <a:pt x="182" y="538"/>
                </a:moveTo>
                <a:cubicBezTo>
                  <a:pt x="181" y="539"/>
                  <a:pt x="182" y="536"/>
                  <a:pt x="183" y="537"/>
                </a:cubicBezTo>
                <a:cubicBezTo>
                  <a:pt x="183" y="537"/>
                  <a:pt x="183" y="538"/>
                  <a:pt x="182" y="538"/>
                </a:cubicBezTo>
                <a:close/>
                <a:moveTo>
                  <a:pt x="183" y="485"/>
                </a:moveTo>
                <a:cubicBezTo>
                  <a:pt x="183" y="484"/>
                  <a:pt x="181" y="483"/>
                  <a:pt x="181" y="482"/>
                </a:cubicBezTo>
                <a:cubicBezTo>
                  <a:pt x="182" y="480"/>
                  <a:pt x="183" y="482"/>
                  <a:pt x="184" y="481"/>
                </a:cubicBezTo>
                <a:cubicBezTo>
                  <a:pt x="186" y="479"/>
                  <a:pt x="186" y="475"/>
                  <a:pt x="189" y="472"/>
                </a:cubicBezTo>
                <a:cubicBezTo>
                  <a:pt x="188" y="476"/>
                  <a:pt x="185" y="481"/>
                  <a:pt x="183" y="485"/>
                </a:cubicBezTo>
                <a:close/>
                <a:moveTo>
                  <a:pt x="186" y="544"/>
                </a:moveTo>
                <a:cubicBezTo>
                  <a:pt x="184" y="546"/>
                  <a:pt x="184" y="543"/>
                  <a:pt x="186" y="544"/>
                </a:cubicBezTo>
                <a:close/>
                <a:moveTo>
                  <a:pt x="185" y="507"/>
                </a:moveTo>
                <a:cubicBezTo>
                  <a:pt x="183" y="504"/>
                  <a:pt x="190" y="504"/>
                  <a:pt x="187" y="507"/>
                </a:cubicBezTo>
                <a:cubicBezTo>
                  <a:pt x="187" y="507"/>
                  <a:pt x="186" y="507"/>
                  <a:pt x="185" y="507"/>
                </a:cubicBezTo>
                <a:close/>
                <a:moveTo>
                  <a:pt x="189" y="542"/>
                </a:moveTo>
                <a:cubicBezTo>
                  <a:pt x="189" y="542"/>
                  <a:pt x="190" y="541"/>
                  <a:pt x="190" y="541"/>
                </a:cubicBezTo>
                <a:cubicBezTo>
                  <a:pt x="191" y="541"/>
                  <a:pt x="190" y="541"/>
                  <a:pt x="189" y="542"/>
                </a:cubicBezTo>
                <a:close/>
                <a:moveTo>
                  <a:pt x="193" y="537"/>
                </a:moveTo>
                <a:cubicBezTo>
                  <a:pt x="193" y="537"/>
                  <a:pt x="193" y="538"/>
                  <a:pt x="193" y="538"/>
                </a:cubicBezTo>
                <a:cubicBezTo>
                  <a:pt x="191" y="539"/>
                  <a:pt x="193" y="535"/>
                  <a:pt x="193" y="537"/>
                </a:cubicBezTo>
                <a:close/>
                <a:moveTo>
                  <a:pt x="188" y="542"/>
                </a:moveTo>
                <a:cubicBezTo>
                  <a:pt x="188" y="540"/>
                  <a:pt x="191" y="536"/>
                  <a:pt x="193" y="535"/>
                </a:cubicBezTo>
                <a:cubicBezTo>
                  <a:pt x="191" y="537"/>
                  <a:pt x="190" y="540"/>
                  <a:pt x="188" y="542"/>
                </a:cubicBezTo>
                <a:close/>
                <a:moveTo>
                  <a:pt x="190" y="499"/>
                </a:moveTo>
                <a:cubicBezTo>
                  <a:pt x="191" y="498"/>
                  <a:pt x="192" y="497"/>
                  <a:pt x="194" y="497"/>
                </a:cubicBezTo>
                <a:cubicBezTo>
                  <a:pt x="193" y="498"/>
                  <a:pt x="192" y="499"/>
                  <a:pt x="190" y="499"/>
                </a:cubicBezTo>
                <a:close/>
                <a:moveTo>
                  <a:pt x="194" y="533"/>
                </a:moveTo>
                <a:cubicBezTo>
                  <a:pt x="193" y="533"/>
                  <a:pt x="195" y="531"/>
                  <a:pt x="195" y="531"/>
                </a:cubicBezTo>
                <a:cubicBezTo>
                  <a:pt x="196" y="531"/>
                  <a:pt x="194" y="533"/>
                  <a:pt x="194" y="533"/>
                </a:cubicBezTo>
                <a:close/>
                <a:moveTo>
                  <a:pt x="194" y="497"/>
                </a:moveTo>
                <a:cubicBezTo>
                  <a:pt x="194" y="497"/>
                  <a:pt x="194" y="497"/>
                  <a:pt x="194" y="497"/>
                </a:cubicBezTo>
                <a:close/>
                <a:moveTo>
                  <a:pt x="195" y="497"/>
                </a:move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7"/>
                </a:cubicBezTo>
                <a:close/>
                <a:moveTo>
                  <a:pt x="189" y="398"/>
                </a:moveTo>
                <a:cubicBezTo>
                  <a:pt x="192" y="394"/>
                  <a:pt x="196" y="392"/>
                  <a:pt x="201" y="389"/>
                </a:cubicBezTo>
                <a:cubicBezTo>
                  <a:pt x="198" y="392"/>
                  <a:pt x="192" y="395"/>
                  <a:pt x="189" y="398"/>
                </a:cubicBezTo>
                <a:close/>
                <a:moveTo>
                  <a:pt x="196" y="530"/>
                </a:moveTo>
                <a:cubicBezTo>
                  <a:pt x="196" y="531"/>
                  <a:pt x="195" y="529"/>
                  <a:pt x="196" y="530"/>
                </a:cubicBezTo>
                <a:close/>
                <a:moveTo>
                  <a:pt x="198" y="514"/>
                </a:moveTo>
                <a:cubicBezTo>
                  <a:pt x="198" y="514"/>
                  <a:pt x="198" y="515"/>
                  <a:pt x="197" y="515"/>
                </a:cubicBezTo>
                <a:cubicBezTo>
                  <a:pt x="196" y="516"/>
                  <a:pt x="197" y="513"/>
                  <a:pt x="198" y="514"/>
                </a:cubicBezTo>
                <a:close/>
                <a:moveTo>
                  <a:pt x="198" y="558"/>
                </a:moveTo>
                <a:cubicBezTo>
                  <a:pt x="198" y="556"/>
                  <a:pt x="204" y="555"/>
                  <a:pt x="204" y="558"/>
                </a:cubicBezTo>
                <a:cubicBezTo>
                  <a:pt x="205" y="561"/>
                  <a:pt x="197" y="562"/>
                  <a:pt x="198" y="558"/>
                </a:cubicBezTo>
                <a:close/>
                <a:moveTo>
                  <a:pt x="204" y="554"/>
                </a:moveTo>
                <a:cubicBezTo>
                  <a:pt x="205" y="554"/>
                  <a:pt x="206" y="553"/>
                  <a:pt x="207" y="553"/>
                </a:cubicBezTo>
                <a:cubicBezTo>
                  <a:pt x="207" y="554"/>
                  <a:pt x="204" y="555"/>
                  <a:pt x="204" y="554"/>
                </a:cubicBezTo>
                <a:close/>
                <a:moveTo>
                  <a:pt x="203" y="542"/>
                </a:moveTo>
                <a:cubicBezTo>
                  <a:pt x="200" y="539"/>
                  <a:pt x="203" y="534"/>
                  <a:pt x="205" y="533"/>
                </a:cubicBezTo>
                <a:cubicBezTo>
                  <a:pt x="207" y="532"/>
                  <a:pt x="210" y="533"/>
                  <a:pt x="211" y="532"/>
                </a:cubicBezTo>
                <a:cubicBezTo>
                  <a:pt x="215" y="532"/>
                  <a:pt x="213" y="532"/>
                  <a:pt x="215" y="534"/>
                </a:cubicBezTo>
                <a:cubicBezTo>
                  <a:pt x="217" y="537"/>
                  <a:pt x="216" y="541"/>
                  <a:pt x="213" y="540"/>
                </a:cubicBezTo>
                <a:cubicBezTo>
                  <a:pt x="214" y="535"/>
                  <a:pt x="211" y="542"/>
                  <a:pt x="210" y="543"/>
                </a:cubicBezTo>
                <a:cubicBezTo>
                  <a:pt x="209" y="543"/>
                  <a:pt x="204" y="543"/>
                  <a:pt x="203" y="542"/>
                </a:cubicBezTo>
                <a:close/>
                <a:moveTo>
                  <a:pt x="213" y="545"/>
                </a:moveTo>
                <a:cubicBezTo>
                  <a:pt x="213" y="544"/>
                  <a:pt x="216" y="545"/>
                  <a:pt x="215" y="546"/>
                </a:cubicBezTo>
                <a:cubicBezTo>
                  <a:pt x="215" y="546"/>
                  <a:pt x="214" y="546"/>
                  <a:pt x="213" y="545"/>
                </a:cubicBezTo>
                <a:close/>
                <a:moveTo>
                  <a:pt x="215" y="609"/>
                </a:moveTo>
                <a:cubicBezTo>
                  <a:pt x="215" y="609"/>
                  <a:pt x="215" y="609"/>
                  <a:pt x="215" y="609"/>
                </a:cubicBezTo>
                <a:cubicBezTo>
                  <a:pt x="214" y="607"/>
                  <a:pt x="217" y="611"/>
                  <a:pt x="215" y="609"/>
                </a:cubicBezTo>
                <a:close/>
                <a:moveTo>
                  <a:pt x="214" y="557"/>
                </a:moveTo>
                <a:cubicBezTo>
                  <a:pt x="214" y="556"/>
                  <a:pt x="216" y="555"/>
                  <a:pt x="217" y="556"/>
                </a:cubicBezTo>
                <a:cubicBezTo>
                  <a:pt x="217" y="558"/>
                  <a:pt x="214" y="557"/>
                  <a:pt x="214" y="557"/>
                </a:cubicBezTo>
                <a:close/>
                <a:moveTo>
                  <a:pt x="209" y="544"/>
                </a:moveTo>
                <a:cubicBezTo>
                  <a:pt x="210" y="544"/>
                  <a:pt x="217" y="540"/>
                  <a:pt x="217" y="542"/>
                </a:cubicBezTo>
                <a:cubicBezTo>
                  <a:pt x="217" y="543"/>
                  <a:pt x="211" y="545"/>
                  <a:pt x="209" y="544"/>
                </a:cubicBezTo>
                <a:close/>
                <a:moveTo>
                  <a:pt x="216" y="527"/>
                </a:moveTo>
                <a:cubicBezTo>
                  <a:pt x="216" y="526"/>
                  <a:pt x="216" y="526"/>
                  <a:pt x="216" y="526"/>
                </a:cubicBezTo>
                <a:cubicBezTo>
                  <a:pt x="217" y="525"/>
                  <a:pt x="217" y="527"/>
                  <a:pt x="216" y="527"/>
                </a:cubicBezTo>
                <a:close/>
                <a:moveTo>
                  <a:pt x="217" y="615"/>
                </a:moveTo>
                <a:cubicBezTo>
                  <a:pt x="216" y="614"/>
                  <a:pt x="218" y="613"/>
                  <a:pt x="218" y="614"/>
                </a:cubicBezTo>
                <a:cubicBezTo>
                  <a:pt x="218" y="614"/>
                  <a:pt x="217" y="614"/>
                  <a:pt x="217" y="615"/>
                </a:cubicBezTo>
                <a:close/>
                <a:moveTo>
                  <a:pt x="219" y="542"/>
                </a:moveTo>
                <a:cubicBezTo>
                  <a:pt x="216" y="544"/>
                  <a:pt x="217" y="538"/>
                  <a:pt x="219" y="539"/>
                </a:cubicBezTo>
                <a:cubicBezTo>
                  <a:pt x="221" y="540"/>
                  <a:pt x="219" y="542"/>
                  <a:pt x="219" y="542"/>
                </a:cubicBezTo>
                <a:close/>
                <a:moveTo>
                  <a:pt x="219" y="567"/>
                </a:moveTo>
                <a:cubicBezTo>
                  <a:pt x="219" y="566"/>
                  <a:pt x="220" y="566"/>
                  <a:pt x="221" y="566"/>
                </a:cubicBezTo>
                <a:cubicBezTo>
                  <a:pt x="220" y="567"/>
                  <a:pt x="220" y="567"/>
                  <a:pt x="219" y="567"/>
                </a:cubicBezTo>
                <a:close/>
                <a:moveTo>
                  <a:pt x="222" y="589"/>
                </a:moveTo>
                <a:cubicBezTo>
                  <a:pt x="222" y="589"/>
                  <a:pt x="221" y="589"/>
                  <a:pt x="220" y="589"/>
                </a:cubicBezTo>
                <a:cubicBezTo>
                  <a:pt x="220" y="589"/>
                  <a:pt x="222" y="588"/>
                  <a:pt x="222" y="589"/>
                </a:cubicBezTo>
                <a:close/>
                <a:moveTo>
                  <a:pt x="221" y="615"/>
                </a:moveTo>
                <a:cubicBezTo>
                  <a:pt x="221" y="614"/>
                  <a:pt x="222" y="614"/>
                  <a:pt x="223" y="614"/>
                </a:cubicBezTo>
                <a:cubicBezTo>
                  <a:pt x="222" y="615"/>
                  <a:pt x="221" y="614"/>
                  <a:pt x="221" y="615"/>
                </a:cubicBezTo>
                <a:close/>
                <a:moveTo>
                  <a:pt x="223" y="565"/>
                </a:moveTo>
                <a:cubicBezTo>
                  <a:pt x="223" y="565"/>
                  <a:pt x="223" y="565"/>
                  <a:pt x="223" y="566"/>
                </a:cubicBezTo>
                <a:cubicBezTo>
                  <a:pt x="223" y="566"/>
                  <a:pt x="223" y="566"/>
                  <a:pt x="223" y="566"/>
                </a:cubicBezTo>
                <a:cubicBezTo>
                  <a:pt x="223" y="567"/>
                  <a:pt x="223" y="566"/>
                  <a:pt x="223" y="566"/>
                </a:cubicBezTo>
                <a:cubicBezTo>
                  <a:pt x="223" y="565"/>
                  <a:pt x="223" y="565"/>
                  <a:pt x="223" y="565"/>
                </a:cubicBezTo>
                <a:close/>
                <a:moveTo>
                  <a:pt x="223" y="571"/>
                </a:moveTo>
                <a:cubicBezTo>
                  <a:pt x="223" y="569"/>
                  <a:pt x="227" y="570"/>
                  <a:pt x="226" y="571"/>
                </a:cubicBezTo>
                <a:cubicBezTo>
                  <a:pt x="226" y="572"/>
                  <a:pt x="223" y="572"/>
                  <a:pt x="223" y="571"/>
                </a:cubicBezTo>
                <a:close/>
                <a:moveTo>
                  <a:pt x="226" y="582"/>
                </a:moveTo>
                <a:cubicBezTo>
                  <a:pt x="226" y="581"/>
                  <a:pt x="226" y="583"/>
                  <a:pt x="226" y="582"/>
                </a:cubicBezTo>
                <a:close/>
                <a:moveTo>
                  <a:pt x="227" y="608"/>
                </a:moveTo>
                <a:cubicBezTo>
                  <a:pt x="227" y="608"/>
                  <a:pt x="225" y="608"/>
                  <a:pt x="224" y="607"/>
                </a:cubicBezTo>
                <a:cubicBezTo>
                  <a:pt x="224" y="606"/>
                  <a:pt x="228" y="607"/>
                  <a:pt x="227" y="608"/>
                </a:cubicBezTo>
                <a:close/>
                <a:moveTo>
                  <a:pt x="226" y="578"/>
                </a:moveTo>
                <a:cubicBezTo>
                  <a:pt x="226" y="578"/>
                  <a:pt x="227" y="577"/>
                  <a:pt x="227" y="578"/>
                </a:cubicBezTo>
                <a:cubicBezTo>
                  <a:pt x="227" y="578"/>
                  <a:pt x="226" y="578"/>
                  <a:pt x="226" y="578"/>
                </a:cubicBezTo>
                <a:close/>
                <a:moveTo>
                  <a:pt x="236" y="538"/>
                </a:moveTo>
                <a:cubicBezTo>
                  <a:pt x="237" y="537"/>
                  <a:pt x="238" y="536"/>
                  <a:pt x="239" y="537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40" y="538"/>
                  <a:pt x="239" y="539"/>
                  <a:pt x="239" y="539"/>
                </a:cubicBezTo>
                <a:cubicBezTo>
                  <a:pt x="238" y="540"/>
                  <a:pt x="237" y="539"/>
                  <a:pt x="237" y="539"/>
                </a:cubicBezTo>
                <a:cubicBezTo>
                  <a:pt x="236" y="539"/>
                  <a:pt x="236" y="538"/>
                  <a:pt x="235" y="539"/>
                </a:cubicBezTo>
                <a:cubicBezTo>
                  <a:pt x="234" y="539"/>
                  <a:pt x="228" y="544"/>
                  <a:pt x="227" y="543"/>
                </a:cubicBezTo>
                <a:cubicBezTo>
                  <a:pt x="226" y="541"/>
                  <a:pt x="235" y="538"/>
                  <a:pt x="236" y="538"/>
                </a:cubicBezTo>
                <a:close/>
                <a:moveTo>
                  <a:pt x="235" y="592"/>
                </a:moveTo>
                <a:cubicBezTo>
                  <a:pt x="235" y="592"/>
                  <a:pt x="234" y="593"/>
                  <a:pt x="234" y="592"/>
                </a:cubicBezTo>
                <a:cubicBezTo>
                  <a:pt x="233" y="592"/>
                  <a:pt x="235" y="591"/>
                  <a:pt x="235" y="592"/>
                </a:cubicBezTo>
                <a:close/>
                <a:moveTo>
                  <a:pt x="233" y="585"/>
                </a:moveTo>
                <a:cubicBezTo>
                  <a:pt x="233" y="585"/>
                  <a:pt x="234" y="583"/>
                  <a:pt x="235" y="584"/>
                </a:cubicBezTo>
                <a:cubicBezTo>
                  <a:pt x="235" y="585"/>
                  <a:pt x="233" y="586"/>
                  <a:pt x="233" y="585"/>
                </a:cubicBezTo>
                <a:close/>
                <a:moveTo>
                  <a:pt x="228" y="573"/>
                </a:moveTo>
                <a:cubicBezTo>
                  <a:pt x="228" y="571"/>
                  <a:pt x="230" y="572"/>
                  <a:pt x="228" y="573"/>
                </a:cubicBezTo>
                <a:close/>
                <a:moveTo>
                  <a:pt x="229" y="580"/>
                </a:moveTo>
                <a:cubicBezTo>
                  <a:pt x="229" y="581"/>
                  <a:pt x="228" y="581"/>
                  <a:pt x="228" y="581"/>
                </a:cubicBezTo>
                <a:cubicBezTo>
                  <a:pt x="227" y="579"/>
                  <a:pt x="230" y="579"/>
                  <a:pt x="229" y="580"/>
                </a:cubicBezTo>
                <a:close/>
                <a:moveTo>
                  <a:pt x="231" y="599"/>
                </a:moveTo>
                <a:cubicBezTo>
                  <a:pt x="231" y="599"/>
                  <a:pt x="233" y="598"/>
                  <a:pt x="233" y="599"/>
                </a:cubicBezTo>
                <a:cubicBezTo>
                  <a:pt x="233" y="600"/>
                  <a:pt x="231" y="601"/>
                  <a:pt x="231" y="599"/>
                </a:cubicBezTo>
                <a:close/>
                <a:moveTo>
                  <a:pt x="236" y="624"/>
                </a:moveTo>
                <a:cubicBezTo>
                  <a:pt x="236" y="624"/>
                  <a:pt x="237" y="623"/>
                  <a:pt x="237" y="623"/>
                </a:cubicBezTo>
                <a:cubicBezTo>
                  <a:pt x="237" y="623"/>
                  <a:pt x="237" y="624"/>
                  <a:pt x="236" y="624"/>
                </a:cubicBezTo>
                <a:close/>
                <a:moveTo>
                  <a:pt x="232" y="618"/>
                </a:moveTo>
                <a:cubicBezTo>
                  <a:pt x="233" y="616"/>
                  <a:pt x="237" y="616"/>
                  <a:pt x="239" y="615"/>
                </a:cubicBezTo>
                <a:cubicBezTo>
                  <a:pt x="237" y="617"/>
                  <a:pt x="234" y="617"/>
                  <a:pt x="232" y="618"/>
                </a:cubicBezTo>
                <a:close/>
                <a:moveTo>
                  <a:pt x="238" y="665"/>
                </a:moveTo>
                <a:cubicBezTo>
                  <a:pt x="238" y="664"/>
                  <a:pt x="239" y="665"/>
                  <a:pt x="240" y="665"/>
                </a:cubicBezTo>
                <a:cubicBezTo>
                  <a:pt x="240" y="666"/>
                  <a:pt x="239" y="665"/>
                  <a:pt x="238" y="665"/>
                </a:cubicBezTo>
                <a:close/>
                <a:moveTo>
                  <a:pt x="240" y="664"/>
                </a:moveTo>
                <a:cubicBezTo>
                  <a:pt x="240" y="664"/>
                  <a:pt x="239" y="663"/>
                  <a:pt x="239" y="663"/>
                </a:cubicBezTo>
                <a:cubicBezTo>
                  <a:pt x="239" y="662"/>
                  <a:pt x="241" y="663"/>
                  <a:pt x="240" y="664"/>
                </a:cubicBezTo>
                <a:close/>
                <a:moveTo>
                  <a:pt x="251" y="679"/>
                </a:moveTo>
                <a:cubicBezTo>
                  <a:pt x="249" y="681"/>
                  <a:pt x="247" y="678"/>
                  <a:pt x="244" y="678"/>
                </a:cubicBezTo>
                <a:cubicBezTo>
                  <a:pt x="242" y="678"/>
                  <a:pt x="238" y="679"/>
                  <a:pt x="237" y="677"/>
                </a:cubicBezTo>
                <a:cubicBezTo>
                  <a:pt x="237" y="676"/>
                  <a:pt x="243" y="677"/>
                  <a:pt x="243" y="677"/>
                </a:cubicBezTo>
                <a:cubicBezTo>
                  <a:pt x="243" y="676"/>
                  <a:pt x="241" y="672"/>
                  <a:pt x="241" y="672"/>
                </a:cubicBezTo>
                <a:cubicBezTo>
                  <a:pt x="240" y="664"/>
                  <a:pt x="252" y="669"/>
                  <a:pt x="255" y="671"/>
                </a:cubicBezTo>
                <a:cubicBezTo>
                  <a:pt x="259" y="674"/>
                  <a:pt x="250" y="671"/>
                  <a:pt x="253" y="676"/>
                </a:cubicBezTo>
                <a:cubicBezTo>
                  <a:pt x="250" y="674"/>
                  <a:pt x="251" y="679"/>
                  <a:pt x="251" y="679"/>
                </a:cubicBezTo>
                <a:close/>
                <a:moveTo>
                  <a:pt x="254" y="687"/>
                </a:moveTo>
                <a:cubicBezTo>
                  <a:pt x="254" y="686"/>
                  <a:pt x="254" y="685"/>
                  <a:pt x="255" y="686"/>
                </a:cubicBezTo>
                <a:cubicBezTo>
                  <a:pt x="257" y="686"/>
                  <a:pt x="254" y="689"/>
                  <a:pt x="254" y="687"/>
                </a:cubicBezTo>
                <a:close/>
                <a:moveTo>
                  <a:pt x="254" y="690"/>
                </a:moveTo>
                <a:cubicBezTo>
                  <a:pt x="255" y="689"/>
                  <a:pt x="256" y="689"/>
                  <a:pt x="258" y="689"/>
                </a:cubicBezTo>
                <a:cubicBezTo>
                  <a:pt x="257" y="690"/>
                  <a:pt x="255" y="690"/>
                  <a:pt x="254" y="690"/>
                </a:cubicBezTo>
                <a:close/>
                <a:moveTo>
                  <a:pt x="257" y="690"/>
                </a:moveTo>
                <a:cubicBezTo>
                  <a:pt x="257" y="689"/>
                  <a:pt x="258" y="689"/>
                  <a:pt x="258" y="690"/>
                </a:cubicBezTo>
                <a:cubicBezTo>
                  <a:pt x="258" y="689"/>
                  <a:pt x="258" y="691"/>
                  <a:pt x="257" y="690"/>
                </a:cubicBezTo>
                <a:close/>
                <a:moveTo>
                  <a:pt x="259" y="689"/>
                </a:moveTo>
                <a:cubicBezTo>
                  <a:pt x="258" y="689"/>
                  <a:pt x="261" y="689"/>
                  <a:pt x="259" y="689"/>
                </a:cubicBezTo>
                <a:close/>
                <a:moveTo>
                  <a:pt x="260" y="660"/>
                </a:moveTo>
                <a:cubicBezTo>
                  <a:pt x="259" y="660"/>
                  <a:pt x="259" y="659"/>
                  <a:pt x="260" y="660"/>
                </a:cubicBezTo>
                <a:close/>
                <a:moveTo>
                  <a:pt x="261" y="631"/>
                </a:moveTo>
                <a:cubicBezTo>
                  <a:pt x="260" y="631"/>
                  <a:pt x="261" y="630"/>
                  <a:pt x="261" y="630"/>
                </a:cubicBezTo>
                <a:cubicBezTo>
                  <a:pt x="262" y="630"/>
                  <a:pt x="261" y="631"/>
                  <a:pt x="261" y="631"/>
                </a:cubicBezTo>
                <a:close/>
                <a:moveTo>
                  <a:pt x="263" y="682"/>
                </a:moveTo>
                <a:cubicBezTo>
                  <a:pt x="263" y="681"/>
                  <a:pt x="265" y="681"/>
                  <a:pt x="265" y="682"/>
                </a:cubicBezTo>
                <a:cubicBezTo>
                  <a:pt x="266" y="682"/>
                  <a:pt x="263" y="683"/>
                  <a:pt x="263" y="682"/>
                </a:cubicBezTo>
                <a:close/>
                <a:moveTo>
                  <a:pt x="264" y="690"/>
                </a:moveTo>
                <a:cubicBezTo>
                  <a:pt x="263" y="689"/>
                  <a:pt x="265" y="690"/>
                  <a:pt x="265" y="690"/>
                </a:cubicBezTo>
                <a:cubicBezTo>
                  <a:pt x="265" y="691"/>
                  <a:pt x="264" y="691"/>
                  <a:pt x="264" y="690"/>
                </a:cubicBezTo>
                <a:close/>
                <a:moveTo>
                  <a:pt x="265" y="694"/>
                </a:moveTo>
                <a:cubicBezTo>
                  <a:pt x="266" y="694"/>
                  <a:pt x="266" y="694"/>
                  <a:pt x="267" y="694"/>
                </a:cubicBezTo>
                <a:cubicBezTo>
                  <a:pt x="266" y="695"/>
                  <a:pt x="266" y="695"/>
                  <a:pt x="265" y="694"/>
                </a:cubicBezTo>
                <a:close/>
                <a:moveTo>
                  <a:pt x="263" y="667"/>
                </a:moveTo>
                <a:cubicBezTo>
                  <a:pt x="264" y="666"/>
                  <a:pt x="273" y="668"/>
                  <a:pt x="273" y="668"/>
                </a:cubicBezTo>
                <a:cubicBezTo>
                  <a:pt x="272" y="669"/>
                  <a:pt x="265" y="667"/>
                  <a:pt x="263" y="667"/>
                </a:cubicBezTo>
                <a:close/>
                <a:moveTo>
                  <a:pt x="270" y="681"/>
                </a:moveTo>
                <a:cubicBezTo>
                  <a:pt x="269" y="683"/>
                  <a:pt x="268" y="680"/>
                  <a:pt x="270" y="681"/>
                </a:cubicBezTo>
                <a:close/>
                <a:moveTo>
                  <a:pt x="268" y="696"/>
                </a:moveTo>
                <a:cubicBezTo>
                  <a:pt x="268" y="695"/>
                  <a:pt x="269" y="695"/>
                  <a:pt x="269" y="695"/>
                </a:cubicBezTo>
                <a:cubicBezTo>
                  <a:pt x="270" y="695"/>
                  <a:pt x="269" y="696"/>
                  <a:pt x="268" y="696"/>
                </a:cubicBezTo>
                <a:close/>
                <a:moveTo>
                  <a:pt x="269" y="689"/>
                </a:moveTo>
                <a:cubicBezTo>
                  <a:pt x="268" y="688"/>
                  <a:pt x="270" y="688"/>
                  <a:pt x="270" y="688"/>
                </a:cubicBezTo>
                <a:cubicBezTo>
                  <a:pt x="270" y="689"/>
                  <a:pt x="269" y="689"/>
                  <a:pt x="269" y="689"/>
                </a:cubicBezTo>
                <a:close/>
                <a:moveTo>
                  <a:pt x="269" y="673"/>
                </a:moveTo>
                <a:cubicBezTo>
                  <a:pt x="269" y="671"/>
                  <a:pt x="274" y="673"/>
                  <a:pt x="273" y="674"/>
                </a:cubicBezTo>
                <a:cubicBezTo>
                  <a:pt x="273" y="676"/>
                  <a:pt x="268" y="676"/>
                  <a:pt x="269" y="673"/>
                </a:cubicBezTo>
                <a:close/>
                <a:moveTo>
                  <a:pt x="272" y="683"/>
                </a:moveTo>
                <a:cubicBezTo>
                  <a:pt x="271" y="681"/>
                  <a:pt x="276" y="682"/>
                  <a:pt x="276" y="683"/>
                </a:cubicBezTo>
                <a:cubicBezTo>
                  <a:pt x="277" y="685"/>
                  <a:pt x="272" y="686"/>
                  <a:pt x="272" y="683"/>
                </a:cubicBezTo>
                <a:close/>
                <a:moveTo>
                  <a:pt x="275" y="696"/>
                </a:moveTo>
                <a:cubicBezTo>
                  <a:pt x="275" y="696"/>
                  <a:pt x="274" y="696"/>
                  <a:pt x="274" y="696"/>
                </a:cubicBezTo>
                <a:cubicBezTo>
                  <a:pt x="274" y="694"/>
                  <a:pt x="277" y="698"/>
                  <a:pt x="275" y="696"/>
                </a:cubicBezTo>
                <a:close/>
                <a:moveTo>
                  <a:pt x="274" y="701"/>
                </a:moveTo>
                <a:cubicBezTo>
                  <a:pt x="274" y="699"/>
                  <a:pt x="277" y="699"/>
                  <a:pt x="277" y="700"/>
                </a:cubicBezTo>
                <a:cubicBezTo>
                  <a:pt x="278" y="701"/>
                  <a:pt x="274" y="701"/>
                  <a:pt x="274" y="701"/>
                </a:cubicBezTo>
                <a:close/>
                <a:moveTo>
                  <a:pt x="282" y="681"/>
                </a:moveTo>
                <a:cubicBezTo>
                  <a:pt x="284" y="680"/>
                  <a:pt x="289" y="680"/>
                  <a:pt x="291" y="681"/>
                </a:cubicBezTo>
                <a:cubicBezTo>
                  <a:pt x="292" y="682"/>
                  <a:pt x="291" y="684"/>
                  <a:pt x="290" y="683"/>
                </a:cubicBezTo>
                <a:cubicBezTo>
                  <a:pt x="289" y="683"/>
                  <a:pt x="289" y="682"/>
                  <a:pt x="289" y="682"/>
                </a:cubicBezTo>
                <a:cubicBezTo>
                  <a:pt x="288" y="681"/>
                  <a:pt x="287" y="683"/>
                  <a:pt x="287" y="683"/>
                </a:cubicBezTo>
                <a:cubicBezTo>
                  <a:pt x="287" y="684"/>
                  <a:pt x="288" y="684"/>
                  <a:pt x="288" y="685"/>
                </a:cubicBezTo>
                <a:cubicBezTo>
                  <a:pt x="289" y="684"/>
                  <a:pt x="289" y="685"/>
                  <a:pt x="288" y="685"/>
                </a:cubicBezTo>
                <a:cubicBezTo>
                  <a:pt x="287" y="686"/>
                  <a:pt x="286" y="685"/>
                  <a:pt x="286" y="685"/>
                </a:cubicBezTo>
                <a:cubicBezTo>
                  <a:pt x="285" y="685"/>
                  <a:pt x="284" y="686"/>
                  <a:pt x="283" y="685"/>
                </a:cubicBezTo>
                <a:cubicBezTo>
                  <a:pt x="282" y="685"/>
                  <a:pt x="278" y="682"/>
                  <a:pt x="282" y="681"/>
                </a:cubicBezTo>
                <a:close/>
                <a:moveTo>
                  <a:pt x="291" y="693"/>
                </a:moveTo>
                <a:cubicBezTo>
                  <a:pt x="290" y="694"/>
                  <a:pt x="288" y="696"/>
                  <a:pt x="287" y="694"/>
                </a:cubicBezTo>
                <a:cubicBezTo>
                  <a:pt x="285" y="693"/>
                  <a:pt x="290" y="692"/>
                  <a:pt x="291" y="693"/>
                </a:cubicBezTo>
                <a:close/>
                <a:moveTo>
                  <a:pt x="289" y="706"/>
                </a:moveTo>
                <a:cubicBezTo>
                  <a:pt x="290" y="707"/>
                  <a:pt x="288" y="706"/>
                  <a:pt x="289" y="706"/>
                </a:cubicBezTo>
                <a:close/>
                <a:moveTo>
                  <a:pt x="292" y="708"/>
                </a:moveTo>
                <a:cubicBezTo>
                  <a:pt x="291" y="707"/>
                  <a:pt x="292" y="708"/>
                  <a:pt x="293" y="708"/>
                </a:cubicBezTo>
                <a:cubicBezTo>
                  <a:pt x="293" y="708"/>
                  <a:pt x="292" y="708"/>
                  <a:pt x="292" y="708"/>
                </a:cubicBezTo>
                <a:close/>
                <a:moveTo>
                  <a:pt x="304" y="701"/>
                </a:moveTo>
                <a:cubicBezTo>
                  <a:pt x="299" y="701"/>
                  <a:pt x="295" y="701"/>
                  <a:pt x="290" y="702"/>
                </a:cubicBezTo>
                <a:cubicBezTo>
                  <a:pt x="289" y="702"/>
                  <a:pt x="282" y="702"/>
                  <a:pt x="282" y="700"/>
                </a:cubicBezTo>
                <a:cubicBezTo>
                  <a:pt x="281" y="699"/>
                  <a:pt x="290" y="699"/>
                  <a:pt x="292" y="700"/>
                </a:cubicBezTo>
                <a:cubicBezTo>
                  <a:pt x="296" y="700"/>
                  <a:pt x="299" y="700"/>
                  <a:pt x="301" y="699"/>
                </a:cubicBezTo>
                <a:cubicBezTo>
                  <a:pt x="299" y="699"/>
                  <a:pt x="297" y="697"/>
                  <a:pt x="297" y="695"/>
                </a:cubicBezTo>
                <a:cubicBezTo>
                  <a:pt x="299" y="690"/>
                  <a:pt x="306" y="693"/>
                  <a:pt x="309" y="695"/>
                </a:cubicBezTo>
                <a:cubicBezTo>
                  <a:pt x="309" y="695"/>
                  <a:pt x="309" y="696"/>
                  <a:pt x="310" y="696"/>
                </a:cubicBezTo>
                <a:cubicBezTo>
                  <a:pt x="310" y="697"/>
                  <a:pt x="307" y="699"/>
                  <a:pt x="305" y="699"/>
                </a:cubicBezTo>
                <a:cubicBezTo>
                  <a:pt x="306" y="699"/>
                  <a:pt x="307" y="699"/>
                  <a:pt x="309" y="700"/>
                </a:cubicBezTo>
                <a:cubicBezTo>
                  <a:pt x="313" y="700"/>
                  <a:pt x="305" y="701"/>
                  <a:pt x="304" y="701"/>
                </a:cubicBezTo>
                <a:close/>
                <a:moveTo>
                  <a:pt x="308" y="684"/>
                </a:moveTo>
                <a:cubicBezTo>
                  <a:pt x="309" y="683"/>
                  <a:pt x="312" y="683"/>
                  <a:pt x="314" y="683"/>
                </a:cubicBezTo>
                <a:cubicBezTo>
                  <a:pt x="312" y="684"/>
                  <a:pt x="310" y="684"/>
                  <a:pt x="308" y="684"/>
                </a:cubicBezTo>
                <a:close/>
                <a:moveTo>
                  <a:pt x="313" y="612"/>
                </a:moveTo>
                <a:cubicBezTo>
                  <a:pt x="314" y="612"/>
                  <a:pt x="309" y="616"/>
                  <a:pt x="308" y="614"/>
                </a:cubicBezTo>
                <a:cubicBezTo>
                  <a:pt x="307" y="612"/>
                  <a:pt x="313" y="611"/>
                  <a:pt x="313" y="612"/>
                </a:cubicBezTo>
                <a:close/>
                <a:moveTo>
                  <a:pt x="313" y="683"/>
                </a:moveTo>
                <a:cubicBezTo>
                  <a:pt x="312" y="682"/>
                  <a:pt x="314" y="681"/>
                  <a:pt x="314" y="682"/>
                </a:cubicBezTo>
                <a:cubicBezTo>
                  <a:pt x="314" y="682"/>
                  <a:pt x="313" y="683"/>
                  <a:pt x="313" y="683"/>
                </a:cubicBezTo>
                <a:close/>
                <a:moveTo>
                  <a:pt x="313" y="589"/>
                </a:moveTo>
                <a:cubicBezTo>
                  <a:pt x="311" y="590"/>
                  <a:pt x="308" y="592"/>
                  <a:pt x="307" y="592"/>
                </a:cubicBezTo>
                <a:cubicBezTo>
                  <a:pt x="304" y="593"/>
                  <a:pt x="309" y="590"/>
                  <a:pt x="309" y="590"/>
                </a:cubicBezTo>
                <a:cubicBezTo>
                  <a:pt x="310" y="590"/>
                  <a:pt x="312" y="589"/>
                  <a:pt x="313" y="589"/>
                </a:cubicBezTo>
                <a:cubicBezTo>
                  <a:pt x="314" y="589"/>
                  <a:pt x="314" y="589"/>
                  <a:pt x="315" y="589"/>
                </a:cubicBezTo>
                <a:cubicBezTo>
                  <a:pt x="314" y="589"/>
                  <a:pt x="314" y="589"/>
                  <a:pt x="313" y="589"/>
                </a:cubicBezTo>
                <a:close/>
                <a:moveTo>
                  <a:pt x="315" y="519"/>
                </a:moveTo>
                <a:cubicBezTo>
                  <a:pt x="315" y="517"/>
                  <a:pt x="318" y="518"/>
                  <a:pt x="315" y="519"/>
                </a:cubicBezTo>
                <a:close/>
                <a:moveTo>
                  <a:pt x="317" y="683"/>
                </a:moveTo>
                <a:cubicBezTo>
                  <a:pt x="315" y="684"/>
                  <a:pt x="315" y="682"/>
                  <a:pt x="317" y="683"/>
                </a:cubicBezTo>
                <a:close/>
                <a:moveTo>
                  <a:pt x="317" y="683"/>
                </a:moveTo>
                <a:cubicBezTo>
                  <a:pt x="318" y="682"/>
                  <a:pt x="319" y="682"/>
                  <a:pt x="321" y="682"/>
                </a:cubicBezTo>
                <a:cubicBezTo>
                  <a:pt x="321" y="683"/>
                  <a:pt x="318" y="683"/>
                  <a:pt x="317" y="683"/>
                </a:cubicBezTo>
                <a:close/>
                <a:moveTo>
                  <a:pt x="333" y="104"/>
                </a:moveTo>
                <a:cubicBezTo>
                  <a:pt x="333" y="104"/>
                  <a:pt x="336" y="103"/>
                  <a:pt x="334" y="104"/>
                </a:cubicBezTo>
                <a:cubicBezTo>
                  <a:pt x="331" y="106"/>
                  <a:pt x="326" y="107"/>
                  <a:pt x="322" y="108"/>
                </a:cubicBezTo>
                <a:cubicBezTo>
                  <a:pt x="325" y="106"/>
                  <a:pt x="329" y="104"/>
                  <a:pt x="333" y="104"/>
                </a:cubicBezTo>
                <a:close/>
                <a:moveTo>
                  <a:pt x="323" y="170"/>
                </a:moveTo>
                <a:cubicBezTo>
                  <a:pt x="324" y="170"/>
                  <a:pt x="324" y="170"/>
                  <a:pt x="325" y="170"/>
                </a:cubicBezTo>
                <a:cubicBezTo>
                  <a:pt x="325" y="171"/>
                  <a:pt x="324" y="171"/>
                  <a:pt x="323" y="170"/>
                </a:cubicBezTo>
                <a:close/>
                <a:moveTo>
                  <a:pt x="322" y="617"/>
                </a:moveTo>
                <a:cubicBezTo>
                  <a:pt x="323" y="616"/>
                  <a:pt x="324" y="618"/>
                  <a:pt x="322" y="617"/>
                </a:cubicBezTo>
                <a:close/>
                <a:moveTo>
                  <a:pt x="322" y="627"/>
                </a:moveTo>
                <a:cubicBezTo>
                  <a:pt x="323" y="627"/>
                  <a:pt x="327" y="626"/>
                  <a:pt x="327" y="627"/>
                </a:cubicBezTo>
                <a:cubicBezTo>
                  <a:pt x="326" y="626"/>
                  <a:pt x="324" y="628"/>
                  <a:pt x="322" y="627"/>
                </a:cubicBezTo>
                <a:close/>
                <a:moveTo>
                  <a:pt x="327" y="574"/>
                </a:moveTo>
                <a:cubicBezTo>
                  <a:pt x="327" y="572"/>
                  <a:pt x="330" y="573"/>
                  <a:pt x="329" y="574"/>
                </a:cubicBezTo>
                <a:cubicBezTo>
                  <a:pt x="329" y="575"/>
                  <a:pt x="328" y="574"/>
                  <a:pt x="327" y="574"/>
                </a:cubicBezTo>
                <a:close/>
                <a:moveTo>
                  <a:pt x="329" y="627"/>
                </a:moveTo>
                <a:cubicBezTo>
                  <a:pt x="329" y="626"/>
                  <a:pt x="331" y="626"/>
                  <a:pt x="331" y="626"/>
                </a:cubicBezTo>
                <a:cubicBezTo>
                  <a:pt x="331" y="626"/>
                  <a:pt x="330" y="627"/>
                  <a:pt x="329" y="627"/>
                </a:cubicBezTo>
                <a:close/>
                <a:moveTo>
                  <a:pt x="329" y="589"/>
                </a:moveTo>
                <a:cubicBezTo>
                  <a:pt x="328" y="587"/>
                  <a:pt x="332" y="588"/>
                  <a:pt x="332" y="589"/>
                </a:cubicBezTo>
                <a:cubicBezTo>
                  <a:pt x="332" y="590"/>
                  <a:pt x="329" y="590"/>
                  <a:pt x="329" y="589"/>
                </a:cubicBezTo>
                <a:close/>
                <a:moveTo>
                  <a:pt x="328" y="583"/>
                </a:moveTo>
                <a:cubicBezTo>
                  <a:pt x="329" y="579"/>
                  <a:pt x="336" y="581"/>
                  <a:pt x="336" y="583"/>
                </a:cubicBezTo>
                <a:cubicBezTo>
                  <a:pt x="335" y="586"/>
                  <a:pt x="328" y="587"/>
                  <a:pt x="328" y="583"/>
                </a:cubicBezTo>
                <a:close/>
                <a:moveTo>
                  <a:pt x="335" y="131"/>
                </a:moveTo>
                <a:cubicBezTo>
                  <a:pt x="334" y="130"/>
                  <a:pt x="336" y="131"/>
                  <a:pt x="335" y="131"/>
                </a:cubicBezTo>
                <a:close/>
                <a:moveTo>
                  <a:pt x="336" y="659"/>
                </a:moveTo>
                <a:cubicBezTo>
                  <a:pt x="337" y="661"/>
                  <a:pt x="335" y="659"/>
                  <a:pt x="336" y="659"/>
                </a:cubicBezTo>
                <a:close/>
                <a:moveTo>
                  <a:pt x="336" y="131"/>
                </a:moveTo>
                <a:cubicBezTo>
                  <a:pt x="336" y="130"/>
                  <a:pt x="338" y="130"/>
                  <a:pt x="338" y="130"/>
                </a:cubicBezTo>
                <a:cubicBezTo>
                  <a:pt x="338" y="131"/>
                  <a:pt x="337" y="130"/>
                  <a:pt x="336" y="131"/>
                </a:cubicBezTo>
                <a:close/>
                <a:moveTo>
                  <a:pt x="337" y="711"/>
                </a:moveTo>
                <a:cubicBezTo>
                  <a:pt x="336" y="711"/>
                  <a:pt x="337" y="710"/>
                  <a:pt x="337" y="710"/>
                </a:cubicBezTo>
                <a:cubicBezTo>
                  <a:pt x="338" y="711"/>
                  <a:pt x="338" y="712"/>
                  <a:pt x="337" y="711"/>
                </a:cubicBezTo>
                <a:close/>
                <a:moveTo>
                  <a:pt x="337" y="685"/>
                </a:moveTo>
                <a:cubicBezTo>
                  <a:pt x="337" y="684"/>
                  <a:pt x="339" y="684"/>
                  <a:pt x="339" y="685"/>
                </a:cubicBezTo>
                <a:cubicBezTo>
                  <a:pt x="340" y="685"/>
                  <a:pt x="338" y="686"/>
                  <a:pt x="337" y="685"/>
                </a:cubicBezTo>
                <a:close/>
                <a:moveTo>
                  <a:pt x="338" y="705"/>
                </a:moveTo>
                <a:cubicBezTo>
                  <a:pt x="338" y="704"/>
                  <a:pt x="340" y="704"/>
                  <a:pt x="340" y="705"/>
                </a:cubicBezTo>
                <a:cubicBezTo>
                  <a:pt x="340" y="705"/>
                  <a:pt x="339" y="706"/>
                  <a:pt x="338" y="705"/>
                </a:cubicBezTo>
                <a:close/>
                <a:moveTo>
                  <a:pt x="338" y="680"/>
                </a:moveTo>
                <a:cubicBezTo>
                  <a:pt x="338" y="680"/>
                  <a:pt x="341" y="680"/>
                  <a:pt x="341" y="680"/>
                </a:cubicBezTo>
                <a:cubicBezTo>
                  <a:pt x="341" y="681"/>
                  <a:pt x="337" y="682"/>
                  <a:pt x="338" y="680"/>
                </a:cubicBezTo>
                <a:close/>
                <a:moveTo>
                  <a:pt x="342" y="110"/>
                </a:moveTo>
                <a:cubicBezTo>
                  <a:pt x="341" y="111"/>
                  <a:pt x="341" y="109"/>
                  <a:pt x="342" y="110"/>
                </a:cubicBezTo>
                <a:close/>
                <a:moveTo>
                  <a:pt x="328" y="108"/>
                </a:moveTo>
                <a:cubicBezTo>
                  <a:pt x="326" y="108"/>
                  <a:pt x="329" y="107"/>
                  <a:pt x="331" y="106"/>
                </a:cubicBezTo>
                <a:cubicBezTo>
                  <a:pt x="334" y="106"/>
                  <a:pt x="339" y="104"/>
                  <a:pt x="342" y="104"/>
                </a:cubicBezTo>
                <a:cubicBezTo>
                  <a:pt x="343" y="104"/>
                  <a:pt x="344" y="105"/>
                  <a:pt x="344" y="105"/>
                </a:cubicBezTo>
                <a:cubicBezTo>
                  <a:pt x="344" y="105"/>
                  <a:pt x="330" y="108"/>
                  <a:pt x="328" y="108"/>
                </a:cubicBezTo>
                <a:close/>
                <a:moveTo>
                  <a:pt x="345" y="576"/>
                </a:moveTo>
                <a:cubicBezTo>
                  <a:pt x="345" y="576"/>
                  <a:pt x="345" y="576"/>
                  <a:pt x="345" y="576"/>
                </a:cubicBezTo>
                <a:cubicBezTo>
                  <a:pt x="346" y="576"/>
                  <a:pt x="346" y="576"/>
                  <a:pt x="346" y="576"/>
                </a:cubicBezTo>
                <a:cubicBezTo>
                  <a:pt x="346" y="576"/>
                  <a:pt x="345" y="576"/>
                  <a:pt x="345" y="576"/>
                </a:cubicBezTo>
                <a:close/>
                <a:moveTo>
                  <a:pt x="346" y="704"/>
                </a:moveTo>
                <a:cubicBezTo>
                  <a:pt x="346" y="703"/>
                  <a:pt x="347" y="703"/>
                  <a:pt x="347" y="703"/>
                </a:cubicBezTo>
                <a:cubicBezTo>
                  <a:pt x="348" y="704"/>
                  <a:pt x="346" y="704"/>
                  <a:pt x="346" y="704"/>
                </a:cubicBezTo>
                <a:close/>
                <a:moveTo>
                  <a:pt x="344" y="537"/>
                </a:moveTo>
                <a:cubicBezTo>
                  <a:pt x="345" y="535"/>
                  <a:pt x="348" y="535"/>
                  <a:pt x="349" y="534"/>
                </a:cubicBezTo>
                <a:cubicBezTo>
                  <a:pt x="348" y="535"/>
                  <a:pt x="345" y="536"/>
                  <a:pt x="344" y="537"/>
                </a:cubicBezTo>
                <a:close/>
                <a:moveTo>
                  <a:pt x="348" y="89"/>
                </a:moveTo>
                <a:cubicBezTo>
                  <a:pt x="347" y="90"/>
                  <a:pt x="346" y="89"/>
                  <a:pt x="348" y="89"/>
                </a:cubicBezTo>
                <a:close/>
                <a:moveTo>
                  <a:pt x="347" y="71"/>
                </a:moveTo>
                <a:cubicBezTo>
                  <a:pt x="347" y="72"/>
                  <a:pt x="348" y="72"/>
                  <a:pt x="347" y="72"/>
                </a:cubicBezTo>
                <a:cubicBezTo>
                  <a:pt x="347" y="72"/>
                  <a:pt x="347" y="72"/>
                  <a:pt x="347" y="71"/>
                </a:cubicBezTo>
                <a:close/>
                <a:moveTo>
                  <a:pt x="345" y="44"/>
                </a:moveTo>
                <a:cubicBezTo>
                  <a:pt x="346" y="42"/>
                  <a:pt x="350" y="42"/>
                  <a:pt x="350" y="45"/>
                </a:cubicBezTo>
                <a:cubicBezTo>
                  <a:pt x="349" y="47"/>
                  <a:pt x="345" y="46"/>
                  <a:pt x="345" y="44"/>
                </a:cubicBezTo>
                <a:close/>
                <a:moveTo>
                  <a:pt x="350" y="626"/>
                </a:moveTo>
                <a:cubicBezTo>
                  <a:pt x="350" y="627"/>
                  <a:pt x="349" y="625"/>
                  <a:pt x="350" y="626"/>
                </a:cubicBezTo>
                <a:close/>
                <a:moveTo>
                  <a:pt x="350" y="205"/>
                </a:moveTo>
                <a:cubicBezTo>
                  <a:pt x="349" y="205"/>
                  <a:pt x="350" y="203"/>
                  <a:pt x="350" y="204"/>
                </a:cubicBezTo>
                <a:cubicBezTo>
                  <a:pt x="351" y="204"/>
                  <a:pt x="351" y="205"/>
                  <a:pt x="350" y="205"/>
                </a:cubicBezTo>
                <a:close/>
                <a:moveTo>
                  <a:pt x="538" y="122"/>
                </a:moveTo>
                <a:cubicBezTo>
                  <a:pt x="538" y="121"/>
                  <a:pt x="540" y="121"/>
                  <a:pt x="540" y="122"/>
                </a:cubicBezTo>
                <a:cubicBezTo>
                  <a:pt x="542" y="121"/>
                  <a:pt x="543" y="121"/>
                  <a:pt x="543" y="123"/>
                </a:cubicBezTo>
                <a:cubicBezTo>
                  <a:pt x="543" y="124"/>
                  <a:pt x="539" y="125"/>
                  <a:pt x="538" y="124"/>
                </a:cubicBezTo>
                <a:cubicBezTo>
                  <a:pt x="538" y="123"/>
                  <a:pt x="538" y="123"/>
                  <a:pt x="538" y="122"/>
                </a:cubicBezTo>
                <a:cubicBezTo>
                  <a:pt x="538" y="122"/>
                  <a:pt x="538" y="122"/>
                  <a:pt x="538" y="122"/>
                </a:cubicBezTo>
                <a:close/>
                <a:moveTo>
                  <a:pt x="538" y="121"/>
                </a:moveTo>
                <a:cubicBezTo>
                  <a:pt x="538" y="121"/>
                  <a:pt x="536" y="122"/>
                  <a:pt x="536" y="121"/>
                </a:cubicBezTo>
                <a:cubicBezTo>
                  <a:pt x="536" y="121"/>
                  <a:pt x="537" y="121"/>
                  <a:pt x="538" y="121"/>
                </a:cubicBezTo>
                <a:close/>
                <a:moveTo>
                  <a:pt x="531" y="126"/>
                </a:moveTo>
                <a:cubicBezTo>
                  <a:pt x="531" y="126"/>
                  <a:pt x="531" y="127"/>
                  <a:pt x="530" y="127"/>
                </a:cubicBezTo>
                <a:cubicBezTo>
                  <a:pt x="530" y="127"/>
                  <a:pt x="531" y="126"/>
                  <a:pt x="531" y="126"/>
                </a:cubicBezTo>
                <a:close/>
                <a:moveTo>
                  <a:pt x="531" y="154"/>
                </a:moveTo>
                <a:cubicBezTo>
                  <a:pt x="529" y="157"/>
                  <a:pt x="525" y="158"/>
                  <a:pt x="522" y="159"/>
                </a:cubicBezTo>
                <a:cubicBezTo>
                  <a:pt x="524" y="156"/>
                  <a:pt x="528" y="156"/>
                  <a:pt x="531" y="154"/>
                </a:cubicBezTo>
                <a:close/>
                <a:moveTo>
                  <a:pt x="525" y="201"/>
                </a:moveTo>
                <a:cubicBezTo>
                  <a:pt x="524" y="202"/>
                  <a:pt x="523" y="203"/>
                  <a:pt x="521" y="203"/>
                </a:cubicBezTo>
                <a:cubicBezTo>
                  <a:pt x="522" y="202"/>
                  <a:pt x="523" y="201"/>
                  <a:pt x="525" y="201"/>
                </a:cubicBezTo>
                <a:close/>
                <a:moveTo>
                  <a:pt x="521" y="198"/>
                </a:moveTo>
                <a:cubicBezTo>
                  <a:pt x="521" y="198"/>
                  <a:pt x="521" y="197"/>
                  <a:pt x="522" y="197"/>
                </a:cubicBezTo>
                <a:cubicBezTo>
                  <a:pt x="524" y="195"/>
                  <a:pt x="523" y="200"/>
                  <a:pt x="521" y="198"/>
                </a:cubicBezTo>
                <a:close/>
                <a:moveTo>
                  <a:pt x="524" y="195"/>
                </a:moveTo>
                <a:cubicBezTo>
                  <a:pt x="524" y="194"/>
                  <a:pt x="525" y="194"/>
                  <a:pt x="525" y="194"/>
                </a:cubicBezTo>
                <a:cubicBezTo>
                  <a:pt x="526" y="195"/>
                  <a:pt x="524" y="195"/>
                  <a:pt x="524" y="195"/>
                </a:cubicBezTo>
                <a:close/>
                <a:moveTo>
                  <a:pt x="531" y="196"/>
                </a:moveTo>
                <a:cubicBezTo>
                  <a:pt x="530" y="198"/>
                  <a:pt x="527" y="199"/>
                  <a:pt x="525" y="201"/>
                </a:cubicBezTo>
                <a:cubicBezTo>
                  <a:pt x="526" y="199"/>
                  <a:pt x="529" y="197"/>
                  <a:pt x="531" y="196"/>
                </a:cubicBezTo>
                <a:close/>
                <a:moveTo>
                  <a:pt x="529" y="172"/>
                </a:moveTo>
                <a:cubicBezTo>
                  <a:pt x="531" y="170"/>
                  <a:pt x="530" y="174"/>
                  <a:pt x="528" y="173"/>
                </a:cubicBezTo>
                <a:cubicBezTo>
                  <a:pt x="528" y="173"/>
                  <a:pt x="529" y="172"/>
                  <a:pt x="529" y="172"/>
                </a:cubicBezTo>
                <a:close/>
                <a:moveTo>
                  <a:pt x="522" y="181"/>
                </a:moveTo>
                <a:cubicBezTo>
                  <a:pt x="521" y="181"/>
                  <a:pt x="523" y="180"/>
                  <a:pt x="523" y="181"/>
                </a:cubicBezTo>
                <a:cubicBezTo>
                  <a:pt x="524" y="181"/>
                  <a:pt x="522" y="182"/>
                  <a:pt x="522" y="181"/>
                </a:cubicBezTo>
                <a:close/>
                <a:moveTo>
                  <a:pt x="529" y="135"/>
                </a:moveTo>
                <a:cubicBezTo>
                  <a:pt x="528" y="136"/>
                  <a:pt x="526" y="138"/>
                  <a:pt x="524" y="138"/>
                </a:cubicBezTo>
                <a:cubicBezTo>
                  <a:pt x="525" y="138"/>
                  <a:pt x="526" y="138"/>
                  <a:pt x="525" y="139"/>
                </a:cubicBezTo>
                <a:cubicBezTo>
                  <a:pt x="525" y="140"/>
                  <a:pt x="522" y="140"/>
                  <a:pt x="522" y="139"/>
                </a:cubicBezTo>
                <a:cubicBezTo>
                  <a:pt x="522" y="139"/>
                  <a:pt x="523" y="138"/>
                  <a:pt x="524" y="138"/>
                </a:cubicBezTo>
                <a:cubicBezTo>
                  <a:pt x="524" y="138"/>
                  <a:pt x="524" y="138"/>
                  <a:pt x="524" y="138"/>
                </a:cubicBezTo>
                <a:cubicBezTo>
                  <a:pt x="525" y="136"/>
                  <a:pt x="527" y="136"/>
                  <a:pt x="529" y="135"/>
                </a:cubicBezTo>
                <a:close/>
                <a:moveTo>
                  <a:pt x="525" y="117"/>
                </a:moveTo>
                <a:cubicBezTo>
                  <a:pt x="525" y="117"/>
                  <a:pt x="525" y="117"/>
                  <a:pt x="524" y="117"/>
                </a:cubicBezTo>
                <a:cubicBezTo>
                  <a:pt x="524" y="117"/>
                  <a:pt x="524" y="116"/>
                  <a:pt x="525" y="117"/>
                </a:cubicBezTo>
                <a:close/>
                <a:moveTo>
                  <a:pt x="524" y="86"/>
                </a:moveTo>
                <a:cubicBezTo>
                  <a:pt x="523" y="86"/>
                  <a:pt x="522" y="86"/>
                  <a:pt x="521" y="86"/>
                </a:cubicBezTo>
                <a:cubicBezTo>
                  <a:pt x="522" y="85"/>
                  <a:pt x="523" y="85"/>
                  <a:pt x="524" y="86"/>
                </a:cubicBezTo>
                <a:close/>
                <a:moveTo>
                  <a:pt x="521" y="87"/>
                </a:moveTo>
                <a:cubicBezTo>
                  <a:pt x="521" y="87"/>
                  <a:pt x="523" y="88"/>
                  <a:pt x="523" y="88"/>
                </a:cubicBezTo>
                <a:cubicBezTo>
                  <a:pt x="523" y="88"/>
                  <a:pt x="520" y="88"/>
                  <a:pt x="521" y="87"/>
                </a:cubicBezTo>
                <a:close/>
                <a:moveTo>
                  <a:pt x="523" y="92"/>
                </a:moveTo>
                <a:cubicBezTo>
                  <a:pt x="523" y="92"/>
                  <a:pt x="521" y="92"/>
                  <a:pt x="521" y="91"/>
                </a:cubicBezTo>
                <a:cubicBezTo>
                  <a:pt x="522" y="90"/>
                  <a:pt x="523" y="91"/>
                  <a:pt x="523" y="92"/>
                </a:cubicBezTo>
                <a:close/>
                <a:moveTo>
                  <a:pt x="521" y="105"/>
                </a:moveTo>
                <a:cubicBezTo>
                  <a:pt x="521" y="106"/>
                  <a:pt x="520" y="104"/>
                  <a:pt x="521" y="105"/>
                </a:cubicBezTo>
                <a:close/>
                <a:moveTo>
                  <a:pt x="525" y="106"/>
                </a:moveTo>
                <a:cubicBezTo>
                  <a:pt x="527" y="106"/>
                  <a:pt x="528" y="108"/>
                  <a:pt x="526" y="111"/>
                </a:cubicBezTo>
                <a:cubicBezTo>
                  <a:pt x="525" y="112"/>
                  <a:pt x="523" y="112"/>
                  <a:pt x="522" y="112"/>
                </a:cubicBezTo>
                <a:cubicBezTo>
                  <a:pt x="520" y="112"/>
                  <a:pt x="518" y="112"/>
                  <a:pt x="518" y="112"/>
                </a:cubicBezTo>
                <a:cubicBezTo>
                  <a:pt x="518" y="112"/>
                  <a:pt x="519" y="112"/>
                  <a:pt x="519" y="112"/>
                </a:cubicBezTo>
                <a:cubicBezTo>
                  <a:pt x="519" y="112"/>
                  <a:pt x="518" y="112"/>
                  <a:pt x="518" y="112"/>
                </a:cubicBezTo>
                <a:cubicBezTo>
                  <a:pt x="518" y="112"/>
                  <a:pt x="518" y="111"/>
                  <a:pt x="518" y="111"/>
                </a:cubicBezTo>
                <a:cubicBezTo>
                  <a:pt x="517" y="110"/>
                  <a:pt x="522" y="106"/>
                  <a:pt x="525" y="106"/>
                </a:cubicBezTo>
                <a:close/>
                <a:moveTo>
                  <a:pt x="520" y="133"/>
                </a:moveTo>
                <a:cubicBezTo>
                  <a:pt x="522" y="131"/>
                  <a:pt x="522" y="133"/>
                  <a:pt x="520" y="133"/>
                </a:cubicBezTo>
                <a:close/>
                <a:moveTo>
                  <a:pt x="519" y="147"/>
                </a:moveTo>
                <a:cubicBezTo>
                  <a:pt x="519" y="146"/>
                  <a:pt x="521" y="145"/>
                  <a:pt x="521" y="146"/>
                </a:cubicBezTo>
                <a:cubicBezTo>
                  <a:pt x="522" y="147"/>
                  <a:pt x="520" y="147"/>
                  <a:pt x="519" y="147"/>
                </a:cubicBezTo>
                <a:close/>
                <a:moveTo>
                  <a:pt x="513" y="162"/>
                </a:moveTo>
                <a:cubicBezTo>
                  <a:pt x="512" y="161"/>
                  <a:pt x="516" y="159"/>
                  <a:pt x="516" y="161"/>
                </a:cubicBezTo>
                <a:cubicBezTo>
                  <a:pt x="517" y="162"/>
                  <a:pt x="513" y="163"/>
                  <a:pt x="513" y="162"/>
                </a:cubicBezTo>
                <a:close/>
                <a:moveTo>
                  <a:pt x="516" y="163"/>
                </a:moveTo>
                <a:cubicBezTo>
                  <a:pt x="516" y="164"/>
                  <a:pt x="515" y="165"/>
                  <a:pt x="516" y="164"/>
                </a:cubicBezTo>
                <a:cubicBezTo>
                  <a:pt x="516" y="164"/>
                  <a:pt x="516" y="164"/>
                  <a:pt x="516" y="163"/>
                </a:cubicBezTo>
                <a:close/>
                <a:moveTo>
                  <a:pt x="514" y="191"/>
                </a:moveTo>
                <a:cubicBezTo>
                  <a:pt x="515" y="190"/>
                  <a:pt x="516" y="192"/>
                  <a:pt x="514" y="191"/>
                </a:cubicBezTo>
                <a:close/>
                <a:moveTo>
                  <a:pt x="512" y="192"/>
                </a:moveTo>
                <a:cubicBezTo>
                  <a:pt x="512" y="191"/>
                  <a:pt x="514" y="191"/>
                  <a:pt x="514" y="191"/>
                </a:cubicBezTo>
                <a:cubicBezTo>
                  <a:pt x="514" y="192"/>
                  <a:pt x="512" y="192"/>
                  <a:pt x="512" y="192"/>
                </a:cubicBezTo>
                <a:close/>
                <a:moveTo>
                  <a:pt x="514" y="247"/>
                </a:moveTo>
                <a:cubicBezTo>
                  <a:pt x="514" y="248"/>
                  <a:pt x="513" y="245"/>
                  <a:pt x="514" y="247"/>
                </a:cubicBezTo>
                <a:close/>
                <a:moveTo>
                  <a:pt x="504" y="183"/>
                </a:moveTo>
                <a:cubicBezTo>
                  <a:pt x="506" y="182"/>
                  <a:pt x="506" y="181"/>
                  <a:pt x="504" y="181"/>
                </a:cubicBezTo>
                <a:cubicBezTo>
                  <a:pt x="505" y="178"/>
                  <a:pt x="508" y="175"/>
                  <a:pt x="511" y="176"/>
                </a:cubicBezTo>
                <a:cubicBezTo>
                  <a:pt x="517" y="179"/>
                  <a:pt x="509" y="186"/>
                  <a:pt x="504" y="183"/>
                </a:cubicBezTo>
                <a:close/>
                <a:moveTo>
                  <a:pt x="505" y="184"/>
                </a:moveTo>
                <a:cubicBezTo>
                  <a:pt x="505" y="184"/>
                  <a:pt x="505" y="184"/>
                  <a:pt x="505" y="184"/>
                </a:cubicBezTo>
                <a:cubicBezTo>
                  <a:pt x="506" y="186"/>
                  <a:pt x="503" y="183"/>
                  <a:pt x="505" y="184"/>
                </a:cubicBezTo>
                <a:close/>
                <a:moveTo>
                  <a:pt x="494" y="127"/>
                </a:moveTo>
                <a:cubicBezTo>
                  <a:pt x="494" y="127"/>
                  <a:pt x="497" y="125"/>
                  <a:pt x="498" y="127"/>
                </a:cubicBezTo>
                <a:cubicBezTo>
                  <a:pt x="498" y="128"/>
                  <a:pt x="494" y="129"/>
                  <a:pt x="494" y="127"/>
                </a:cubicBezTo>
                <a:close/>
                <a:moveTo>
                  <a:pt x="496" y="219"/>
                </a:moveTo>
                <a:cubicBezTo>
                  <a:pt x="495" y="219"/>
                  <a:pt x="496" y="218"/>
                  <a:pt x="496" y="218"/>
                </a:cubicBezTo>
                <a:cubicBezTo>
                  <a:pt x="497" y="218"/>
                  <a:pt x="496" y="219"/>
                  <a:pt x="496" y="219"/>
                </a:cubicBezTo>
                <a:close/>
                <a:moveTo>
                  <a:pt x="493" y="182"/>
                </a:moveTo>
                <a:cubicBezTo>
                  <a:pt x="493" y="181"/>
                  <a:pt x="495" y="181"/>
                  <a:pt x="495" y="181"/>
                </a:cubicBezTo>
                <a:cubicBezTo>
                  <a:pt x="496" y="182"/>
                  <a:pt x="494" y="183"/>
                  <a:pt x="493" y="182"/>
                </a:cubicBezTo>
                <a:close/>
                <a:moveTo>
                  <a:pt x="494" y="221"/>
                </a:moveTo>
                <a:cubicBezTo>
                  <a:pt x="494" y="221"/>
                  <a:pt x="495" y="220"/>
                  <a:pt x="495" y="220"/>
                </a:cubicBezTo>
                <a:cubicBezTo>
                  <a:pt x="495" y="220"/>
                  <a:pt x="494" y="222"/>
                  <a:pt x="494" y="221"/>
                </a:cubicBezTo>
                <a:close/>
                <a:moveTo>
                  <a:pt x="484" y="206"/>
                </a:moveTo>
                <a:cubicBezTo>
                  <a:pt x="487" y="204"/>
                  <a:pt x="490" y="201"/>
                  <a:pt x="492" y="200"/>
                </a:cubicBezTo>
                <a:cubicBezTo>
                  <a:pt x="492" y="200"/>
                  <a:pt x="494" y="199"/>
                  <a:pt x="493" y="200"/>
                </a:cubicBezTo>
                <a:cubicBezTo>
                  <a:pt x="492" y="203"/>
                  <a:pt x="487" y="205"/>
                  <a:pt x="484" y="206"/>
                </a:cubicBezTo>
                <a:close/>
                <a:moveTo>
                  <a:pt x="491" y="221"/>
                </a:moveTo>
                <a:cubicBezTo>
                  <a:pt x="491" y="220"/>
                  <a:pt x="493" y="220"/>
                  <a:pt x="493" y="221"/>
                </a:cubicBezTo>
                <a:cubicBezTo>
                  <a:pt x="493" y="222"/>
                  <a:pt x="491" y="222"/>
                  <a:pt x="491" y="221"/>
                </a:cubicBezTo>
                <a:close/>
                <a:moveTo>
                  <a:pt x="480" y="95"/>
                </a:moveTo>
                <a:cubicBezTo>
                  <a:pt x="482" y="94"/>
                  <a:pt x="483" y="93"/>
                  <a:pt x="485" y="93"/>
                </a:cubicBezTo>
                <a:cubicBezTo>
                  <a:pt x="483" y="94"/>
                  <a:pt x="482" y="95"/>
                  <a:pt x="480" y="95"/>
                </a:cubicBezTo>
                <a:close/>
                <a:moveTo>
                  <a:pt x="481" y="162"/>
                </a:moveTo>
                <a:cubicBezTo>
                  <a:pt x="481" y="160"/>
                  <a:pt x="484" y="161"/>
                  <a:pt x="481" y="162"/>
                </a:cubicBezTo>
                <a:close/>
                <a:moveTo>
                  <a:pt x="482" y="109"/>
                </a:moveTo>
                <a:cubicBezTo>
                  <a:pt x="481" y="112"/>
                  <a:pt x="478" y="110"/>
                  <a:pt x="482" y="109"/>
                </a:cubicBezTo>
                <a:close/>
                <a:moveTo>
                  <a:pt x="496" y="72"/>
                </a:moveTo>
                <a:cubicBezTo>
                  <a:pt x="496" y="73"/>
                  <a:pt x="495" y="73"/>
                  <a:pt x="494" y="73"/>
                </a:cubicBezTo>
                <a:cubicBezTo>
                  <a:pt x="494" y="73"/>
                  <a:pt x="496" y="71"/>
                  <a:pt x="496" y="72"/>
                </a:cubicBezTo>
                <a:close/>
                <a:moveTo>
                  <a:pt x="494" y="43"/>
                </a:moveTo>
                <a:cubicBezTo>
                  <a:pt x="494" y="43"/>
                  <a:pt x="496" y="43"/>
                  <a:pt x="496" y="43"/>
                </a:cubicBezTo>
                <a:cubicBezTo>
                  <a:pt x="497" y="45"/>
                  <a:pt x="494" y="44"/>
                  <a:pt x="494" y="43"/>
                </a:cubicBezTo>
                <a:close/>
                <a:moveTo>
                  <a:pt x="493" y="64"/>
                </a:moveTo>
                <a:cubicBezTo>
                  <a:pt x="493" y="64"/>
                  <a:pt x="494" y="64"/>
                  <a:pt x="495" y="65"/>
                </a:cubicBezTo>
                <a:cubicBezTo>
                  <a:pt x="495" y="66"/>
                  <a:pt x="493" y="65"/>
                  <a:pt x="493" y="64"/>
                </a:cubicBezTo>
                <a:close/>
                <a:moveTo>
                  <a:pt x="499" y="87"/>
                </a:moveTo>
                <a:cubicBezTo>
                  <a:pt x="498" y="89"/>
                  <a:pt x="488" y="88"/>
                  <a:pt x="488" y="87"/>
                </a:cubicBezTo>
                <a:cubicBezTo>
                  <a:pt x="489" y="86"/>
                  <a:pt x="496" y="88"/>
                  <a:pt x="499" y="87"/>
                </a:cubicBezTo>
                <a:close/>
                <a:moveTo>
                  <a:pt x="493" y="105"/>
                </a:moveTo>
                <a:cubicBezTo>
                  <a:pt x="493" y="105"/>
                  <a:pt x="493" y="105"/>
                  <a:pt x="493" y="105"/>
                </a:cubicBezTo>
                <a:cubicBezTo>
                  <a:pt x="493" y="105"/>
                  <a:pt x="493" y="105"/>
                  <a:pt x="492" y="105"/>
                </a:cubicBezTo>
                <a:cubicBezTo>
                  <a:pt x="489" y="105"/>
                  <a:pt x="493" y="97"/>
                  <a:pt x="497" y="101"/>
                </a:cubicBezTo>
                <a:cubicBezTo>
                  <a:pt x="498" y="102"/>
                  <a:pt x="498" y="102"/>
                  <a:pt x="498" y="103"/>
                </a:cubicBezTo>
                <a:cubicBezTo>
                  <a:pt x="498" y="106"/>
                  <a:pt x="494" y="107"/>
                  <a:pt x="493" y="105"/>
                </a:cubicBezTo>
                <a:close/>
                <a:moveTo>
                  <a:pt x="495" y="108"/>
                </a:moveTo>
                <a:cubicBezTo>
                  <a:pt x="495" y="108"/>
                  <a:pt x="494" y="109"/>
                  <a:pt x="494" y="108"/>
                </a:cubicBezTo>
                <a:cubicBezTo>
                  <a:pt x="493" y="108"/>
                  <a:pt x="495" y="107"/>
                  <a:pt x="495" y="108"/>
                </a:cubicBezTo>
                <a:close/>
                <a:moveTo>
                  <a:pt x="494" y="174"/>
                </a:moveTo>
                <a:cubicBezTo>
                  <a:pt x="494" y="175"/>
                  <a:pt x="492" y="176"/>
                  <a:pt x="492" y="175"/>
                </a:cubicBezTo>
                <a:cubicBezTo>
                  <a:pt x="492" y="174"/>
                  <a:pt x="494" y="173"/>
                  <a:pt x="494" y="174"/>
                </a:cubicBezTo>
                <a:close/>
                <a:moveTo>
                  <a:pt x="495" y="98"/>
                </a:moveTo>
                <a:cubicBezTo>
                  <a:pt x="496" y="99"/>
                  <a:pt x="494" y="98"/>
                  <a:pt x="495" y="98"/>
                </a:cubicBezTo>
                <a:close/>
                <a:moveTo>
                  <a:pt x="499" y="91"/>
                </a:moveTo>
                <a:cubicBezTo>
                  <a:pt x="498" y="92"/>
                  <a:pt x="497" y="91"/>
                  <a:pt x="499" y="91"/>
                </a:cubicBezTo>
                <a:close/>
                <a:moveTo>
                  <a:pt x="491" y="166"/>
                </a:moveTo>
                <a:cubicBezTo>
                  <a:pt x="491" y="167"/>
                  <a:pt x="489" y="169"/>
                  <a:pt x="488" y="169"/>
                </a:cubicBezTo>
                <a:cubicBezTo>
                  <a:pt x="488" y="167"/>
                  <a:pt x="490" y="167"/>
                  <a:pt x="491" y="166"/>
                </a:cubicBezTo>
                <a:close/>
                <a:moveTo>
                  <a:pt x="485" y="144"/>
                </a:moveTo>
                <a:cubicBezTo>
                  <a:pt x="488" y="143"/>
                  <a:pt x="489" y="145"/>
                  <a:pt x="485" y="144"/>
                </a:cubicBezTo>
                <a:close/>
                <a:moveTo>
                  <a:pt x="486" y="93"/>
                </a:moveTo>
                <a:cubicBezTo>
                  <a:pt x="488" y="92"/>
                  <a:pt x="489" y="91"/>
                  <a:pt x="491" y="90"/>
                </a:cubicBezTo>
                <a:cubicBezTo>
                  <a:pt x="490" y="92"/>
                  <a:pt x="488" y="92"/>
                  <a:pt x="486" y="93"/>
                </a:cubicBezTo>
                <a:close/>
                <a:moveTo>
                  <a:pt x="491" y="61"/>
                </a:moveTo>
                <a:cubicBezTo>
                  <a:pt x="491" y="60"/>
                  <a:pt x="492" y="60"/>
                  <a:pt x="493" y="61"/>
                </a:cubicBezTo>
                <a:cubicBezTo>
                  <a:pt x="492" y="61"/>
                  <a:pt x="492" y="61"/>
                  <a:pt x="491" y="61"/>
                </a:cubicBezTo>
                <a:close/>
                <a:moveTo>
                  <a:pt x="490" y="74"/>
                </a:moveTo>
                <a:cubicBezTo>
                  <a:pt x="491" y="73"/>
                  <a:pt x="491" y="75"/>
                  <a:pt x="490" y="74"/>
                </a:cubicBezTo>
                <a:close/>
                <a:moveTo>
                  <a:pt x="489" y="67"/>
                </a:moveTo>
                <a:cubicBezTo>
                  <a:pt x="488" y="66"/>
                  <a:pt x="490" y="66"/>
                  <a:pt x="490" y="66"/>
                </a:cubicBezTo>
                <a:cubicBezTo>
                  <a:pt x="491" y="67"/>
                  <a:pt x="489" y="68"/>
                  <a:pt x="489" y="67"/>
                </a:cubicBezTo>
                <a:close/>
                <a:moveTo>
                  <a:pt x="488" y="60"/>
                </a:moveTo>
                <a:cubicBezTo>
                  <a:pt x="488" y="60"/>
                  <a:pt x="489" y="60"/>
                  <a:pt x="489" y="60"/>
                </a:cubicBezTo>
                <a:cubicBezTo>
                  <a:pt x="489" y="60"/>
                  <a:pt x="489" y="61"/>
                  <a:pt x="488" y="60"/>
                </a:cubicBezTo>
                <a:close/>
                <a:moveTo>
                  <a:pt x="492" y="82"/>
                </a:moveTo>
                <a:cubicBezTo>
                  <a:pt x="492" y="84"/>
                  <a:pt x="487" y="83"/>
                  <a:pt x="487" y="81"/>
                </a:cubicBezTo>
                <a:cubicBezTo>
                  <a:pt x="487" y="79"/>
                  <a:pt x="492" y="79"/>
                  <a:pt x="492" y="82"/>
                </a:cubicBezTo>
                <a:close/>
                <a:moveTo>
                  <a:pt x="483" y="73"/>
                </a:moveTo>
                <a:cubicBezTo>
                  <a:pt x="482" y="71"/>
                  <a:pt x="487" y="70"/>
                  <a:pt x="487" y="72"/>
                </a:cubicBezTo>
                <a:cubicBezTo>
                  <a:pt x="488" y="75"/>
                  <a:pt x="483" y="74"/>
                  <a:pt x="483" y="73"/>
                </a:cubicBezTo>
                <a:close/>
                <a:moveTo>
                  <a:pt x="483" y="60"/>
                </a:moveTo>
                <a:cubicBezTo>
                  <a:pt x="483" y="60"/>
                  <a:pt x="483" y="60"/>
                  <a:pt x="483" y="60"/>
                </a:cubicBezTo>
                <a:cubicBezTo>
                  <a:pt x="484" y="62"/>
                  <a:pt x="481" y="59"/>
                  <a:pt x="483" y="60"/>
                </a:cubicBezTo>
                <a:close/>
                <a:moveTo>
                  <a:pt x="482" y="62"/>
                </a:moveTo>
                <a:cubicBezTo>
                  <a:pt x="483" y="63"/>
                  <a:pt x="481" y="63"/>
                  <a:pt x="481" y="62"/>
                </a:cubicBezTo>
                <a:cubicBezTo>
                  <a:pt x="481" y="62"/>
                  <a:pt x="482" y="62"/>
                  <a:pt x="482" y="62"/>
                </a:cubicBezTo>
                <a:close/>
                <a:moveTo>
                  <a:pt x="487" y="184"/>
                </a:moveTo>
                <a:cubicBezTo>
                  <a:pt x="487" y="185"/>
                  <a:pt x="485" y="186"/>
                  <a:pt x="484" y="186"/>
                </a:cubicBezTo>
                <a:cubicBezTo>
                  <a:pt x="485" y="185"/>
                  <a:pt x="486" y="185"/>
                  <a:pt x="487" y="184"/>
                </a:cubicBezTo>
                <a:close/>
                <a:moveTo>
                  <a:pt x="495" y="174"/>
                </a:moveTo>
                <a:cubicBezTo>
                  <a:pt x="495" y="174"/>
                  <a:pt x="495" y="174"/>
                  <a:pt x="495" y="174"/>
                </a:cubicBezTo>
                <a:cubicBezTo>
                  <a:pt x="495" y="175"/>
                  <a:pt x="494" y="175"/>
                  <a:pt x="495" y="174"/>
                </a:cubicBezTo>
                <a:close/>
                <a:moveTo>
                  <a:pt x="498" y="141"/>
                </a:moveTo>
                <a:cubicBezTo>
                  <a:pt x="499" y="142"/>
                  <a:pt x="497" y="143"/>
                  <a:pt x="497" y="142"/>
                </a:cubicBezTo>
                <a:cubicBezTo>
                  <a:pt x="496" y="141"/>
                  <a:pt x="498" y="141"/>
                  <a:pt x="498" y="141"/>
                </a:cubicBezTo>
                <a:close/>
                <a:moveTo>
                  <a:pt x="497" y="131"/>
                </a:moveTo>
                <a:cubicBezTo>
                  <a:pt x="497" y="131"/>
                  <a:pt x="498" y="131"/>
                  <a:pt x="498" y="131"/>
                </a:cubicBezTo>
                <a:cubicBezTo>
                  <a:pt x="499" y="132"/>
                  <a:pt x="497" y="132"/>
                  <a:pt x="497" y="131"/>
                </a:cubicBezTo>
                <a:close/>
                <a:moveTo>
                  <a:pt x="498" y="128"/>
                </a:moveTo>
                <a:cubicBezTo>
                  <a:pt x="499" y="129"/>
                  <a:pt x="500" y="126"/>
                  <a:pt x="501" y="126"/>
                </a:cubicBezTo>
                <a:cubicBezTo>
                  <a:pt x="508" y="122"/>
                  <a:pt x="510" y="132"/>
                  <a:pt x="502" y="132"/>
                </a:cubicBezTo>
                <a:cubicBezTo>
                  <a:pt x="501" y="132"/>
                  <a:pt x="498" y="131"/>
                  <a:pt x="498" y="128"/>
                </a:cubicBezTo>
                <a:close/>
                <a:moveTo>
                  <a:pt x="502" y="94"/>
                </a:moveTo>
                <a:cubicBezTo>
                  <a:pt x="503" y="93"/>
                  <a:pt x="504" y="95"/>
                  <a:pt x="502" y="94"/>
                </a:cubicBezTo>
                <a:close/>
                <a:moveTo>
                  <a:pt x="505" y="67"/>
                </a:moveTo>
                <a:cubicBezTo>
                  <a:pt x="505" y="67"/>
                  <a:pt x="505" y="68"/>
                  <a:pt x="504" y="68"/>
                </a:cubicBezTo>
                <a:cubicBezTo>
                  <a:pt x="502" y="68"/>
                  <a:pt x="504" y="64"/>
                  <a:pt x="505" y="67"/>
                </a:cubicBezTo>
                <a:close/>
                <a:moveTo>
                  <a:pt x="503" y="121"/>
                </a:moveTo>
                <a:cubicBezTo>
                  <a:pt x="504" y="121"/>
                  <a:pt x="502" y="123"/>
                  <a:pt x="501" y="122"/>
                </a:cubicBezTo>
                <a:cubicBezTo>
                  <a:pt x="502" y="122"/>
                  <a:pt x="502" y="122"/>
                  <a:pt x="503" y="121"/>
                </a:cubicBezTo>
                <a:close/>
                <a:moveTo>
                  <a:pt x="506" y="123"/>
                </a:moveTo>
                <a:cubicBezTo>
                  <a:pt x="507" y="123"/>
                  <a:pt x="505" y="124"/>
                  <a:pt x="505" y="124"/>
                </a:cubicBezTo>
                <a:cubicBezTo>
                  <a:pt x="505" y="123"/>
                  <a:pt x="505" y="122"/>
                  <a:pt x="506" y="123"/>
                </a:cubicBezTo>
                <a:close/>
                <a:moveTo>
                  <a:pt x="506" y="142"/>
                </a:moveTo>
                <a:cubicBezTo>
                  <a:pt x="507" y="142"/>
                  <a:pt x="505" y="143"/>
                  <a:pt x="505" y="142"/>
                </a:cubicBezTo>
                <a:cubicBezTo>
                  <a:pt x="505" y="142"/>
                  <a:pt x="506" y="142"/>
                  <a:pt x="506" y="142"/>
                </a:cubicBezTo>
                <a:close/>
                <a:moveTo>
                  <a:pt x="502" y="137"/>
                </a:moveTo>
                <a:cubicBezTo>
                  <a:pt x="503" y="139"/>
                  <a:pt x="499" y="139"/>
                  <a:pt x="499" y="138"/>
                </a:cubicBezTo>
                <a:cubicBezTo>
                  <a:pt x="499" y="136"/>
                  <a:pt x="502" y="136"/>
                  <a:pt x="502" y="137"/>
                </a:cubicBezTo>
                <a:close/>
                <a:moveTo>
                  <a:pt x="504" y="199"/>
                </a:moveTo>
                <a:cubicBezTo>
                  <a:pt x="504" y="199"/>
                  <a:pt x="503" y="200"/>
                  <a:pt x="503" y="200"/>
                </a:cubicBezTo>
                <a:cubicBezTo>
                  <a:pt x="501" y="200"/>
                  <a:pt x="503" y="197"/>
                  <a:pt x="504" y="199"/>
                </a:cubicBezTo>
                <a:close/>
                <a:moveTo>
                  <a:pt x="512" y="113"/>
                </a:moveTo>
                <a:cubicBezTo>
                  <a:pt x="512" y="114"/>
                  <a:pt x="509" y="116"/>
                  <a:pt x="507" y="114"/>
                </a:cubicBezTo>
                <a:cubicBezTo>
                  <a:pt x="506" y="113"/>
                  <a:pt x="511" y="111"/>
                  <a:pt x="512" y="113"/>
                </a:cubicBezTo>
                <a:close/>
                <a:moveTo>
                  <a:pt x="508" y="101"/>
                </a:moveTo>
                <a:cubicBezTo>
                  <a:pt x="508" y="100"/>
                  <a:pt x="509" y="100"/>
                  <a:pt x="510" y="101"/>
                </a:cubicBezTo>
                <a:cubicBezTo>
                  <a:pt x="511" y="102"/>
                  <a:pt x="508" y="102"/>
                  <a:pt x="508" y="101"/>
                </a:cubicBezTo>
                <a:close/>
                <a:moveTo>
                  <a:pt x="510" y="102"/>
                </a:moveTo>
                <a:cubicBezTo>
                  <a:pt x="511" y="101"/>
                  <a:pt x="512" y="103"/>
                  <a:pt x="510" y="102"/>
                </a:cubicBezTo>
                <a:close/>
                <a:moveTo>
                  <a:pt x="514" y="132"/>
                </a:moveTo>
                <a:cubicBezTo>
                  <a:pt x="514" y="132"/>
                  <a:pt x="514" y="133"/>
                  <a:pt x="514" y="134"/>
                </a:cubicBezTo>
                <a:cubicBezTo>
                  <a:pt x="512" y="137"/>
                  <a:pt x="512" y="131"/>
                  <a:pt x="514" y="132"/>
                </a:cubicBezTo>
                <a:close/>
                <a:moveTo>
                  <a:pt x="515" y="154"/>
                </a:moveTo>
                <a:cubicBezTo>
                  <a:pt x="515" y="154"/>
                  <a:pt x="515" y="153"/>
                  <a:pt x="515" y="153"/>
                </a:cubicBezTo>
                <a:cubicBezTo>
                  <a:pt x="516" y="154"/>
                  <a:pt x="515" y="155"/>
                  <a:pt x="515" y="154"/>
                </a:cubicBezTo>
                <a:close/>
                <a:moveTo>
                  <a:pt x="516" y="153"/>
                </a:moveTo>
                <a:cubicBezTo>
                  <a:pt x="516" y="151"/>
                  <a:pt x="519" y="152"/>
                  <a:pt x="516" y="153"/>
                </a:cubicBezTo>
                <a:close/>
                <a:moveTo>
                  <a:pt x="513" y="148"/>
                </a:moveTo>
                <a:cubicBezTo>
                  <a:pt x="514" y="147"/>
                  <a:pt x="516" y="145"/>
                  <a:pt x="517" y="145"/>
                </a:cubicBezTo>
                <a:cubicBezTo>
                  <a:pt x="520" y="143"/>
                  <a:pt x="516" y="149"/>
                  <a:pt x="513" y="148"/>
                </a:cubicBezTo>
                <a:close/>
                <a:moveTo>
                  <a:pt x="515" y="134"/>
                </a:moveTo>
                <a:cubicBezTo>
                  <a:pt x="514" y="133"/>
                  <a:pt x="515" y="133"/>
                  <a:pt x="515" y="134"/>
                </a:cubicBezTo>
                <a:close/>
                <a:moveTo>
                  <a:pt x="518" y="86"/>
                </a:moveTo>
                <a:cubicBezTo>
                  <a:pt x="517" y="86"/>
                  <a:pt x="519" y="86"/>
                  <a:pt x="519" y="86"/>
                </a:cubicBezTo>
                <a:cubicBezTo>
                  <a:pt x="520" y="86"/>
                  <a:pt x="518" y="87"/>
                  <a:pt x="518" y="86"/>
                </a:cubicBezTo>
                <a:close/>
                <a:moveTo>
                  <a:pt x="518" y="88"/>
                </a:moveTo>
                <a:cubicBezTo>
                  <a:pt x="519" y="87"/>
                  <a:pt x="520" y="88"/>
                  <a:pt x="518" y="88"/>
                </a:cubicBezTo>
                <a:close/>
                <a:moveTo>
                  <a:pt x="519" y="94"/>
                </a:moveTo>
                <a:cubicBezTo>
                  <a:pt x="519" y="96"/>
                  <a:pt x="514" y="96"/>
                  <a:pt x="515" y="93"/>
                </a:cubicBezTo>
                <a:cubicBezTo>
                  <a:pt x="515" y="92"/>
                  <a:pt x="519" y="92"/>
                  <a:pt x="519" y="94"/>
                </a:cubicBezTo>
                <a:close/>
                <a:moveTo>
                  <a:pt x="516" y="113"/>
                </a:moveTo>
                <a:cubicBezTo>
                  <a:pt x="516" y="112"/>
                  <a:pt x="516" y="112"/>
                  <a:pt x="516" y="112"/>
                </a:cubicBezTo>
                <a:cubicBezTo>
                  <a:pt x="518" y="110"/>
                  <a:pt x="517" y="114"/>
                  <a:pt x="516" y="113"/>
                </a:cubicBezTo>
                <a:close/>
                <a:moveTo>
                  <a:pt x="518" y="143"/>
                </a:moveTo>
                <a:cubicBezTo>
                  <a:pt x="518" y="143"/>
                  <a:pt x="516" y="144"/>
                  <a:pt x="516" y="144"/>
                </a:cubicBezTo>
                <a:cubicBezTo>
                  <a:pt x="516" y="143"/>
                  <a:pt x="517" y="142"/>
                  <a:pt x="518" y="143"/>
                </a:cubicBezTo>
                <a:close/>
                <a:moveTo>
                  <a:pt x="515" y="139"/>
                </a:moveTo>
                <a:cubicBezTo>
                  <a:pt x="516" y="140"/>
                  <a:pt x="515" y="140"/>
                  <a:pt x="515" y="140"/>
                </a:cubicBezTo>
                <a:cubicBezTo>
                  <a:pt x="515" y="140"/>
                  <a:pt x="515" y="139"/>
                  <a:pt x="515" y="139"/>
                </a:cubicBezTo>
                <a:close/>
                <a:moveTo>
                  <a:pt x="519" y="150"/>
                </a:moveTo>
                <a:cubicBezTo>
                  <a:pt x="520" y="150"/>
                  <a:pt x="518" y="151"/>
                  <a:pt x="518" y="151"/>
                </a:cubicBezTo>
                <a:cubicBezTo>
                  <a:pt x="517" y="150"/>
                  <a:pt x="519" y="150"/>
                  <a:pt x="519" y="150"/>
                </a:cubicBezTo>
                <a:close/>
                <a:moveTo>
                  <a:pt x="525" y="72"/>
                </a:moveTo>
                <a:cubicBezTo>
                  <a:pt x="525" y="72"/>
                  <a:pt x="525" y="72"/>
                  <a:pt x="524" y="72"/>
                </a:cubicBezTo>
                <a:cubicBezTo>
                  <a:pt x="524" y="72"/>
                  <a:pt x="525" y="71"/>
                  <a:pt x="525" y="72"/>
                </a:cubicBezTo>
                <a:close/>
                <a:moveTo>
                  <a:pt x="509" y="73"/>
                </a:moveTo>
                <a:cubicBezTo>
                  <a:pt x="510" y="72"/>
                  <a:pt x="513" y="74"/>
                  <a:pt x="516" y="74"/>
                </a:cubicBezTo>
                <a:cubicBezTo>
                  <a:pt x="517" y="73"/>
                  <a:pt x="522" y="72"/>
                  <a:pt x="523" y="73"/>
                </a:cubicBezTo>
                <a:cubicBezTo>
                  <a:pt x="523" y="75"/>
                  <a:pt x="517" y="75"/>
                  <a:pt x="517" y="75"/>
                </a:cubicBezTo>
                <a:cubicBezTo>
                  <a:pt x="517" y="76"/>
                  <a:pt x="520" y="79"/>
                  <a:pt x="520" y="79"/>
                </a:cubicBezTo>
                <a:cubicBezTo>
                  <a:pt x="522" y="87"/>
                  <a:pt x="509" y="84"/>
                  <a:pt x="506" y="82"/>
                </a:cubicBezTo>
                <a:cubicBezTo>
                  <a:pt x="501" y="80"/>
                  <a:pt x="510" y="81"/>
                  <a:pt x="507" y="77"/>
                </a:cubicBezTo>
                <a:cubicBezTo>
                  <a:pt x="511" y="79"/>
                  <a:pt x="508" y="74"/>
                  <a:pt x="509" y="73"/>
                </a:cubicBezTo>
                <a:close/>
                <a:moveTo>
                  <a:pt x="509" y="61"/>
                </a:moveTo>
                <a:cubicBezTo>
                  <a:pt x="510" y="61"/>
                  <a:pt x="508" y="62"/>
                  <a:pt x="507" y="61"/>
                </a:cubicBezTo>
                <a:cubicBezTo>
                  <a:pt x="507" y="61"/>
                  <a:pt x="509" y="60"/>
                  <a:pt x="509" y="61"/>
                </a:cubicBezTo>
                <a:close/>
                <a:moveTo>
                  <a:pt x="511" y="36"/>
                </a:moveTo>
                <a:cubicBezTo>
                  <a:pt x="511" y="37"/>
                  <a:pt x="509" y="37"/>
                  <a:pt x="509" y="36"/>
                </a:cubicBezTo>
                <a:cubicBezTo>
                  <a:pt x="509" y="35"/>
                  <a:pt x="510" y="35"/>
                  <a:pt x="511" y="36"/>
                </a:cubicBezTo>
                <a:close/>
                <a:moveTo>
                  <a:pt x="509" y="38"/>
                </a:moveTo>
                <a:cubicBezTo>
                  <a:pt x="509" y="40"/>
                  <a:pt x="506" y="39"/>
                  <a:pt x="506" y="38"/>
                </a:cubicBezTo>
                <a:cubicBezTo>
                  <a:pt x="506" y="37"/>
                  <a:pt x="509" y="36"/>
                  <a:pt x="509" y="38"/>
                </a:cubicBezTo>
                <a:close/>
                <a:moveTo>
                  <a:pt x="509" y="50"/>
                </a:moveTo>
                <a:cubicBezTo>
                  <a:pt x="504" y="53"/>
                  <a:pt x="503" y="50"/>
                  <a:pt x="509" y="50"/>
                </a:cubicBezTo>
                <a:close/>
                <a:moveTo>
                  <a:pt x="506" y="53"/>
                </a:moveTo>
                <a:cubicBezTo>
                  <a:pt x="505" y="54"/>
                  <a:pt x="504" y="53"/>
                  <a:pt x="504" y="53"/>
                </a:cubicBezTo>
                <a:cubicBezTo>
                  <a:pt x="504" y="53"/>
                  <a:pt x="506" y="53"/>
                  <a:pt x="506" y="53"/>
                </a:cubicBezTo>
                <a:close/>
                <a:moveTo>
                  <a:pt x="504" y="64"/>
                </a:moveTo>
                <a:cubicBezTo>
                  <a:pt x="503" y="65"/>
                  <a:pt x="502" y="65"/>
                  <a:pt x="501" y="65"/>
                </a:cubicBezTo>
                <a:cubicBezTo>
                  <a:pt x="501" y="64"/>
                  <a:pt x="503" y="63"/>
                  <a:pt x="504" y="64"/>
                </a:cubicBezTo>
                <a:close/>
                <a:moveTo>
                  <a:pt x="501" y="64"/>
                </a:moveTo>
                <a:cubicBezTo>
                  <a:pt x="501" y="64"/>
                  <a:pt x="500" y="65"/>
                  <a:pt x="500" y="64"/>
                </a:cubicBezTo>
                <a:cubicBezTo>
                  <a:pt x="500" y="64"/>
                  <a:pt x="501" y="63"/>
                  <a:pt x="501" y="64"/>
                </a:cubicBezTo>
                <a:close/>
                <a:moveTo>
                  <a:pt x="501" y="123"/>
                </a:moveTo>
                <a:cubicBezTo>
                  <a:pt x="501" y="123"/>
                  <a:pt x="501" y="123"/>
                  <a:pt x="501" y="123"/>
                </a:cubicBezTo>
                <a:cubicBezTo>
                  <a:pt x="502" y="125"/>
                  <a:pt x="499" y="121"/>
                  <a:pt x="501" y="123"/>
                </a:cubicBezTo>
                <a:close/>
                <a:moveTo>
                  <a:pt x="499" y="65"/>
                </a:moveTo>
                <a:cubicBezTo>
                  <a:pt x="501" y="65"/>
                  <a:pt x="497" y="65"/>
                  <a:pt x="499" y="65"/>
                </a:cubicBezTo>
                <a:close/>
                <a:moveTo>
                  <a:pt x="498" y="38"/>
                </a:moveTo>
                <a:cubicBezTo>
                  <a:pt x="498" y="38"/>
                  <a:pt x="497" y="39"/>
                  <a:pt x="497" y="38"/>
                </a:cubicBezTo>
                <a:cubicBezTo>
                  <a:pt x="497" y="38"/>
                  <a:pt x="497" y="37"/>
                  <a:pt x="498" y="38"/>
                </a:cubicBezTo>
                <a:close/>
                <a:moveTo>
                  <a:pt x="497" y="31"/>
                </a:moveTo>
                <a:cubicBezTo>
                  <a:pt x="497" y="32"/>
                  <a:pt x="495" y="32"/>
                  <a:pt x="495" y="31"/>
                </a:cubicBezTo>
                <a:cubicBezTo>
                  <a:pt x="495" y="31"/>
                  <a:pt x="496" y="31"/>
                  <a:pt x="497" y="31"/>
                </a:cubicBezTo>
                <a:close/>
                <a:moveTo>
                  <a:pt x="496" y="40"/>
                </a:moveTo>
                <a:cubicBezTo>
                  <a:pt x="496" y="41"/>
                  <a:pt x="493" y="42"/>
                  <a:pt x="493" y="41"/>
                </a:cubicBezTo>
                <a:cubicBezTo>
                  <a:pt x="492" y="40"/>
                  <a:pt x="495" y="39"/>
                  <a:pt x="496" y="40"/>
                </a:cubicBezTo>
                <a:close/>
                <a:moveTo>
                  <a:pt x="492" y="44"/>
                </a:moveTo>
                <a:cubicBezTo>
                  <a:pt x="493" y="43"/>
                  <a:pt x="494" y="45"/>
                  <a:pt x="492" y="44"/>
                </a:cubicBezTo>
                <a:close/>
                <a:moveTo>
                  <a:pt x="488" y="29"/>
                </a:moveTo>
                <a:cubicBezTo>
                  <a:pt x="489" y="30"/>
                  <a:pt x="486" y="30"/>
                  <a:pt x="486" y="29"/>
                </a:cubicBezTo>
                <a:cubicBezTo>
                  <a:pt x="486" y="28"/>
                  <a:pt x="488" y="28"/>
                  <a:pt x="488" y="29"/>
                </a:cubicBezTo>
                <a:close/>
                <a:moveTo>
                  <a:pt x="487" y="31"/>
                </a:moveTo>
                <a:cubicBezTo>
                  <a:pt x="487" y="31"/>
                  <a:pt x="488" y="31"/>
                  <a:pt x="488" y="31"/>
                </a:cubicBezTo>
                <a:cubicBezTo>
                  <a:pt x="489" y="32"/>
                  <a:pt x="487" y="32"/>
                  <a:pt x="487" y="31"/>
                </a:cubicBezTo>
                <a:close/>
                <a:moveTo>
                  <a:pt x="488" y="40"/>
                </a:moveTo>
                <a:cubicBezTo>
                  <a:pt x="488" y="41"/>
                  <a:pt x="487" y="41"/>
                  <a:pt x="486" y="41"/>
                </a:cubicBezTo>
                <a:cubicBezTo>
                  <a:pt x="486" y="40"/>
                  <a:pt x="487" y="40"/>
                  <a:pt x="488" y="40"/>
                </a:cubicBezTo>
                <a:close/>
                <a:moveTo>
                  <a:pt x="484" y="41"/>
                </a:moveTo>
                <a:cubicBezTo>
                  <a:pt x="485" y="42"/>
                  <a:pt x="483" y="42"/>
                  <a:pt x="483" y="42"/>
                </a:cubicBezTo>
                <a:cubicBezTo>
                  <a:pt x="483" y="41"/>
                  <a:pt x="484" y="41"/>
                  <a:pt x="484" y="41"/>
                </a:cubicBezTo>
                <a:close/>
                <a:moveTo>
                  <a:pt x="483" y="38"/>
                </a:moveTo>
                <a:cubicBezTo>
                  <a:pt x="482" y="37"/>
                  <a:pt x="484" y="38"/>
                  <a:pt x="483" y="38"/>
                </a:cubicBezTo>
                <a:close/>
                <a:moveTo>
                  <a:pt x="483" y="51"/>
                </a:moveTo>
                <a:cubicBezTo>
                  <a:pt x="485" y="47"/>
                  <a:pt x="492" y="43"/>
                  <a:pt x="496" y="48"/>
                </a:cubicBezTo>
                <a:cubicBezTo>
                  <a:pt x="496" y="49"/>
                  <a:pt x="494" y="53"/>
                  <a:pt x="493" y="53"/>
                </a:cubicBezTo>
                <a:cubicBezTo>
                  <a:pt x="493" y="53"/>
                  <a:pt x="491" y="53"/>
                  <a:pt x="490" y="53"/>
                </a:cubicBezTo>
                <a:cubicBezTo>
                  <a:pt x="490" y="53"/>
                  <a:pt x="490" y="54"/>
                  <a:pt x="489" y="54"/>
                </a:cubicBezTo>
                <a:cubicBezTo>
                  <a:pt x="488" y="54"/>
                  <a:pt x="485" y="54"/>
                  <a:pt x="483" y="54"/>
                </a:cubicBezTo>
                <a:cubicBezTo>
                  <a:pt x="483" y="54"/>
                  <a:pt x="483" y="54"/>
                  <a:pt x="482" y="54"/>
                </a:cubicBezTo>
                <a:cubicBezTo>
                  <a:pt x="482" y="53"/>
                  <a:pt x="483" y="52"/>
                  <a:pt x="483" y="51"/>
                </a:cubicBezTo>
                <a:close/>
                <a:moveTo>
                  <a:pt x="482" y="56"/>
                </a:moveTo>
                <a:cubicBezTo>
                  <a:pt x="483" y="57"/>
                  <a:pt x="480" y="57"/>
                  <a:pt x="480" y="57"/>
                </a:cubicBezTo>
                <a:cubicBezTo>
                  <a:pt x="479" y="55"/>
                  <a:pt x="482" y="55"/>
                  <a:pt x="482" y="56"/>
                </a:cubicBezTo>
                <a:close/>
                <a:moveTo>
                  <a:pt x="479" y="43"/>
                </a:moveTo>
                <a:cubicBezTo>
                  <a:pt x="479" y="45"/>
                  <a:pt x="475" y="45"/>
                  <a:pt x="474" y="44"/>
                </a:cubicBezTo>
                <a:cubicBezTo>
                  <a:pt x="474" y="43"/>
                  <a:pt x="478" y="42"/>
                  <a:pt x="479" y="43"/>
                </a:cubicBezTo>
                <a:close/>
                <a:moveTo>
                  <a:pt x="473" y="28"/>
                </a:moveTo>
                <a:cubicBezTo>
                  <a:pt x="472" y="28"/>
                  <a:pt x="474" y="28"/>
                  <a:pt x="473" y="28"/>
                </a:cubicBezTo>
                <a:close/>
                <a:moveTo>
                  <a:pt x="471" y="33"/>
                </a:moveTo>
                <a:cubicBezTo>
                  <a:pt x="471" y="34"/>
                  <a:pt x="470" y="34"/>
                  <a:pt x="469" y="34"/>
                </a:cubicBezTo>
                <a:cubicBezTo>
                  <a:pt x="469" y="33"/>
                  <a:pt x="471" y="32"/>
                  <a:pt x="471" y="33"/>
                </a:cubicBezTo>
                <a:close/>
                <a:moveTo>
                  <a:pt x="467" y="32"/>
                </a:moveTo>
                <a:cubicBezTo>
                  <a:pt x="469" y="31"/>
                  <a:pt x="470" y="33"/>
                  <a:pt x="467" y="32"/>
                </a:cubicBezTo>
                <a:close/>
                <a:moveTo>
                  <a:pt x="467" y="46"/>
                </a:moveTo>
                <a:cubicBezTo>
                  <a:pt x="468" y="44"/>
                  <a:pt x="469" y="47"/>
                  <a:pt x="467" y="46"/>
                </a:cubicBezTo>
                <a:close/>
                <a:moveTo>
                  <a:pt x="467" y="52"/>
                </a:moveTo>
                <a:cubicBezTo>
                  <a:pt x="466" y="52"/>
                  <a:pt x="468" y="53"/>
                  <a:pt x="467" y="52"/>
                </a:cubicBezTo>
                <a:close/>
                <a:moveTo>
                  <a:pt x="467" y="30"/>
                </a:moveTo>
                <a:cubicBezTo>
                  <a:pt x="467" y="30"/>
                  <a:pt x="468" y="31"/>
                  <a:pt x="467" y="31"/>
                </a:cubicBezTo>
                <a:cubicBezTo>
                  <a:pt x="465" y="31"/>
                  <a:pt x="467" y="28"/>
                  <a:pt x="467" y="30"/>
                </a:cubicBezTo>
                <a:close/>
                <a:moveTo>
                  <a:pt x="468" y="38"/>
                </a:moveTo>
                <a:cubicBezTo>
                  <a:pt x="468" y="39"/>
                  <a:pt x="466" y="40"/>
                  <a:pt x="465" y="39"/>
                </a:cubicBezTo>
                <a:cubicBezTo>
                  <a:pt x="465" y="38"/>
                  <a:pt x="467" y="37"/>
                  <a:pt x="468" y="38"/>
                </a:cubicBezTo>
                <a:close/>
                <a:moveTo>
                  <a:pt x="464" y="49"/>
                </a:moveTo>
                <a:cubicBezTo>
                  <a:pt x="463" y="50"/>
                  <a:pt x="462" y="48"/>
                  <a:pt x="462" y="49"/>
                </a:cubicBezTo>
                <a:cubicBezTo>
                  <a:pt x="460" y="46"/>
                  <a:pt x="468" y="49"/>
                  <a:pt x="464" y="49"/>
                </a:cubicBezTo>
                <a:close/>
                <a:moveTo>
                  <a:pt x="463" y="51"/>
                </a:moveTo>
                <a:cubicBezTo>
                  <a:pt x="463" y="51"/>
                  <a:pt x="464" y="51"/>
                  <a:pt x="464" y="51"/>
                </a:cubicBezTo>
                <a:cubicBezTo>
                  <a:pt x="465" y="52"/>
                  <a:pt x="464" y="51"/>
                  <a:pt x="463" y="51"/>
                </a:cubicBezTo>
                <a:close/>
                <a:moveTo>
                  <a:pt x="447" y="79"/>
                </a:moveTo>
                <a:cubicBezTo>
                  <a:pt x="448" y="79"/>
                  <a:pt x="446" y="80"/>
                  <a:pt x="446" y="80"/>
                </a:cubicBezTo>
                <a:cubicBezTo>
                  <a:pt x="446" y="79"/>
                  <a:pt x="446" y="79"/>
                  <a:pt x="447" y="79"/>
                </a:cubicBezTo>
                <a:close/>
                <a:moveTo>
                  <a:pt x="446" y="189"/>
                </a:moveTo>
                <a:cubicBezTo>
                  <a:pt x="446" y="188"/>
                  <a:pt x="448" y="188"/>
                  <a:pt x="448" y="189"/>
                </a:cubicBezTo>
                <a:cubicBezTo>
                  <a:pt x="448" y="190"/>
                  <a:pt x="446" y="190"/>
                  <a:pt x="446" y="189"/>
                </a:cubicBezTo>
                <a:close/>
                <a:moveTo>
                  <a:pt x="449" y="610"/>
                </a:moveTo>
                <a:cubicBezTo>
                  <a:pt x="448" y="610"/>
                  <a:pt x="447" y="610"/>
                  <a:pt x="446" y="610"/>
                </a:cubicBezTo>
                <a:cubicBezTo>
                  <a:pt x="447" y="609"/>
                  <a:pt x="448" y="609"/>
                  <a:pt x="449" y="610"/>
                </a:cubicBezTo>
                <a:close/>
                <a:moveTo>
                  <a:pt x="447" y="145"/>
                </a:moveTo>
                <a:cubicBezTo>
                  <a:pt x="446" y="146"/>
                  <a:pt x="445" y="145"/>
                  <a:pt x="447" y="145"/>
                </a:cubicBezTo>
                <a:close/>
                <a:moveTo>
                  <a:pt x="447" y="126"/>
                </a:moveTo>
                <a:cubicBezTo>
                  <a:pt x="447" y="126"/>
                  <a:pt x="446" y="127"/>
                  <a:pt x="446" y="127"/>
                </a:cubicBezTo>
                <a:cubicBezTo>
                  <a:pt x="446" y="127"/>
                  <a:pt x="446" y="126"/>
                  <a:pt x="447" y="126"/>
                </a:cubicBezTo>
                <a:close/>
                <a:moveTo>
                  <a:pt x="446" y="180"/>
                </a:moveTo>
                <a:cubicBezTo>
                  <a:pt x="446" y="184"/>
                  <a:pt x="439" y="183"/>
                  <a:pt x="438" y="180"/>
                </a:cubicBezTo>
                <a:cubicBezTo>
                  <a:pt x="438" y="178"/>
                  <a:pt x="446" y="176"/>
                  <a:pt x="446" y="180"/>
                </a:cubicBezTo>
                <a:close/>
                <a:moveTo>
                  <a:pt x="441" y="175"/>
                </a:moveTo>
                <a:cubicBezTo>
                  <a:pt x="441" y="173"/>
                  <a:pt x="444" y="173"/>
                  <a:pt x="444" y="174"/>
                </a:cubicBezTo>
                <a:cubicBezTo>
                  <a:pt x="445" y="176"/>
                  <a:pt x="442" y="176"/>
                  <a:pt x="441" y="175"/>
                </a:cubicBezTo>
                <a:close/>
                <a:moveTo>
                  <a:pt x="446" y="135"/>
                </a:moveTo>
                <a:cubicBezTo>
                  <a:pt x="444" y="136"/>
                  <a:pt x="441" y="137"/>
                  <a:pt x="440" y="136"/>
                </a:cubicBezTo>
                <a:cubicBezTo>
                  <a:pt x="442" y="136"/>
                  <a:pt x="444" y="134"/>
                  <a:pt x="446" y="135"/>
                </a:cubicBezTo>
                <a:close/>
                <a:moveTo>
                  <a:pt x="443" y="79"/>
                </a:moveTo>
                <a:cubicBezTo>
                  <a:pt x="444" y="78"/>
                  <a:pt x="445" y="80"/>
                  <a:pt x="443" y="79"/>
                </a:cubicBezTo>
                <a:close/>
                <a:moveTo>
                  <a:pt x="443" y="79"/>
                </a:moveTo>
                <a:cubicBezTo>
                  <a:pt x="442" y="80"/>
                  <a:pt x="440" y="81"/>
                  <a:pt x="439" y="81"/>
                </a:cubicBezTo>
                <a:cubicBezTo>
                  <a:pt x="439" y="79"/>
                  <a:pt x="441" y="80"/>
                  <a:pt x="443" y="79"/>
                </a:cubicBezTo>
                <a:close/>
                <a:moveTo>
                  <a:pt x="438" y="137"/>
                </a:moveTo>
                <a:cubicBezTo>
                  <a:pt x="439" y="137"/>
                  <a:pt x="437" y="138"/>
                  <a:pt x="437" y="138"/>
                </a:cubicBezTo>
                <a:cubicBezTo>
                  <a:pt x="437" y="138"/>
                  <a:pt x="438" y="137"/>
                  <a:pt x="438" y="137"/>
                </a:cubicBezTo>
                <a:close/>
                <a:moveTo>
                  <a:pt x="437" y="228"/>
                </a:moveTo>
                <a:cubicBezTo>
                  <a:pt x="436" y="229"/>
                  <a:pt x="433" y="230"/>
                  <a:pt x="432" y="232"/>
                </a:cubicBezTo>
                <a:cubicBezTo>
                  <a:pt x="433" y="230"/>
                  <a:pt x="435" y="229"/>
                  <a:pt x="437" y="228"/>
                </a:cubicBezTo>
                <a:close/>
                <a:moveTo>
                  <a:pt x="431" y="647"/>
                </a:moveTo>
                <a:cubicBezTo>
                  <a:pt x="432" y="648"/>
                  <a:pt x="430" y="646"/>
                  <a:pt x="431" y="647"/>
                </a:cubicBezTo>
                <a:close/>
                <a:moveTo>
                  <a:pt x="430" y="190"/>
                </a:move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lose/>
                <a:moveTo>
                  <a:pt x="430" y="233"/>
                </a:moveTo>
                <a:cubicBezTo>
                  <a:pt x="428" y="236"/>
                  <a:pt x="427" y="233"/>
                  <a:pt x="430" y="233"/>
                </a:cubicBezTo>
                <a:close/>
                <a:moveTo>
                  <a:pt x="430" y="647"/>
                </a:moveTo>
                <a:cubicBezTo>
                  <a:pt x="430" y="648"/>
                  <a:pt x="428" y="648"/>
                  <a:pt x="428" y="648"/>
                </a:cubicBezTo>
                <a:cubicBezTo>
                  <a:pt x="428" y="647"/>
                  <a:pt x="429" y="647"/>
                  <a:pt x="430" y="647"/>
                </a:cubicBezTo>
                <a:close/>
                <a:moveTo>
                  <a:pt x="427" y="105"/>
                </a:moveTo>
                <a:cubicBezTo>
                  <a:pt x="426" y="104"/>
                  <a:pt x="428" y="106"/>
                  <a:pt x="427" y="105"/>
                </a:cubicBezTo>
                <a:close/>
                <a:moveTo>
                  <a:pt x="426" y="572"/>
                </a:moveTo>
                <a:cubicBezTo>
                  <a:pt x="427" y="571"/>
                  <a:pt x="427" y="574"/>
                  <a:pt x="426" y="573"/>
                </a:cubicBezTo>
                <a:cubicBezTo>
                  <a:pt x="426" y="573"/>
                  <a:pt x="426" y="572"/>
                  <a:pt x="426" y="572"/>
                </a:cubicBezTo>
                <a:close/>
                <a:moveTo>
                  <a:pt x="424" y="210"/>
                </a:moveTo>
                <a:cubicBezTo>
                  <a:pt x="425" y="209"/>
                  <a:pt x="426" y="211"/>
                  <a:pt x="424" y="210"/>
                </a:cubicBezTo>
                <a:close/>
                <a:moveTo>
                  <a:pt x="422" y="80"/>
                </a:moveTo>
                <a:cubicBezTo>
                  <a:pt x="423" y="81"/>
                  <a:pt x="421" y="81"/>
                  <a:pt x="420" y="81"/>
                </a:cubicBezTo>
                <a:cubicBezTo>
                  <a:pt x="420" y="80"/>
                  <a:pt x="422" y="80"/>
                  <a:pt x="422" y="80"/>
                </a:cubicBezTo>
                <a:close/>
                <a:moveTo>
                  <a:pt x="423" y="85"/>
                </a:moveTo>
                <a:cubicBezTo>
                  <a:pt x="423" y="85"/>
                  <a:pt x="420" y="86"/>
                  <a:pt x="420" y="85"/>
                </a:cubicBezTo>
                <a:cubicBezTo>
                  <a:pt x="419" y="85"/>
                  <a:pt x="424" y="83"/>
                  <a:pt x="423" y="85"/>
                </a:cubicBezTo>
                <a:close/>
                <a:moveTo>
                  <a:pt x="421" y="667"/>
                </a:moveTo>
                <a:cubicBezTo>
                  <a:pt x="423" y="666"/>
                  <a:pt x="422" y="668"/>
                  <a:pt x="421" y="667"/>
                </a:cubicBezTo>
                <a:close/>
                <a:moveTo>
                  <a:pt x="419" y="54"/>
                </a:moveTo>
                <a:cubicBezTo>
                  <a:pt x="420" y="54"/>
                  <a:pt x="419" y="55"/>
                  <a:pt x="419" y="55"/>
                </a:cubicBezTo>
                <a:cubicBezTo>
                  <a:pt x="418" y="55"/>
                  <a:pt x="418" y="54"/>
                  <a:pt x="419" y="54"/>
                </a:cubicBezTo>
                <a:close/>
                <a:moveTo>
                  <a:pt x="419" y="61"/>
                </a:moveTo>
                <a:cubicBezTo>
                  <a:pt x="419" y="61"/>
                  <a:pt x="417" y="61"/>
                  <a:pt x="417" y="60"/>
                </a:cubicBezTo>
                <a:cubicBezTo>
                  <a:pt x="417" y="60"/>
                  <a:pt x="418" y="60"/>
                  <a:pt x="419" y="61"/>
                </a:cubicBezTo>
                <a:close/>
                <a:moveTo>
                  <a:pt x="411" y="63"/>
                </a:moveTo>
                <a:cubicBezTo>
                  <a:pt x="411" y="63"/>
                  <a:pt x="410" y="64"/>
                  <a:pt x="410" y="63"/>
                </a:cubicBezTo>
                <a:cubicBezTo>
                  <a:pt x="409" y="63"/>
                  <a:pt x="411" y="62"/>
                  <a:pt x="411" y="63"/>
                </a:cubicBezTo>
                <a:close/>
                <a:moveTo>
                  <a:pt x="408" y="93"/>
                </a:moveTo>
                <a:cubicBezTo>
                  <a:pt x="408" y="94"/>
                  <a:pt x="407" y="94"/>
                  <a:pt x="407" y="94"/>
                </a:cubicBezTo>
                <a:cubicBezTo>
                  <a:pt x="406" y="93"/>
                  <a:pt x="408" y="93"/>
                  <a:pt x="408" y="93"/>
                </a:cubicBezTo>
                <a:close/>
                <a:moveTo>
                  <a:pt x="406" y="125"/>
                </a:moveTo>
                <a:cubicBezTo>
                  <a:pt x="406" y="126"/>
                  <a:pt x="404" y="125"/>
                  <a:pt x="406" y="125"/>
                </a:cubicBezTo>
                <a:close/>
                <a:moveTo>
                  <a:pt x="405" y="97"/>
                </a:moveTo>
                <a:cubicBezTo>
                  <a:pt x="404" y="97"/>
                  <a:pt x="404" y="97"/>
                  <a:pt x="404" y="96"/>
                </a:cubicBezTo>
                <a:cubicBezTo>
                  <a:pt x="403" y="95"/>
                  <a:pt x="406" y="97"/>
                  <a:pt x="405" y="97"/>
                </a:cubicBezTo>
                <a:close/>
                <a:moveTo>
                  <a:pt x="408" y="154"/>
                </a:moveTo>
                <a:cubicBezTo>
                  <a:pt x="406" y="156"/>
                  <a:pt x="402" y="158"/>
                  <a:pt x="399" y="158"/>
                </a:cubicBezTo>
                <a:cubicBezTo>
                  <a:pt x="402" y="157"/>
                  <a:pt x="405" y="156"/>
                  <a:pt x="408" y="154"/>
                </a:cubicBezTo>
                <a:close/>
                <a:moveTo>
                  <a:pt x="399" y="122"/>
                </a:moveTo>
                <a:cubicBezTo>
                  <a:pt x="399" y="122"/>
                  <a:pt x="400" y="121"/>
                  <a:pt x="400" y="122"/>
                </a:cubicBezTo>
                <a:cubicBezTo>
                  <a:pt x="400" y="122"/>
                  <a:pt x="400" y="123"/>
                  <a:pt x="399" y="122"/>
                </a:cubicBezTo>
                <a:close/>
                <a:moveTo>
                  <a:pt x="401" y="71"/>
                </a:moveTo>
                <a:cubicBezTo>
                  <a:pt x="402" y="72"/>
                  <a:pt x="400" y="73"/>
                  <a:pt x="399" y="72"/>
                </a:cubicBezTo>
                <a:cubicBezTo>
                  <a:pt x="399" y="71"/>
                  <a:pt x="401" y="70"/>
                  <a:pt x="401" y="71"/>
                </a:cubicBezTo>
                <a:close/>
                <a:moveTo>
                  <a:pt x="399" y="97"/>
                </a:moveTo>
                <a:cubicBezTo>
                  <a:pt x="399" y="97"/>
                  <a:pt x="398" y="98"/>
                  <a:pt x="397" y="97"/>
                </a:cubicBezTo>
                <a:cubicBezTo>
                  <a:pt x="398" y="97"/>
                  <a:pt x="398" y="97"/>
                  <a:pt x="399" y="97"/>
                </a:cubicBezTo>
                <a:close/>
                <a:moveTo>
                  <a:pt x="398" y="160"/>
                </a:moveTo>
                <a:cubicBezTo>
                  <a:pt x="398" y="160"/>
                  <a:pt x="398" y="159"/>
                  <a:pt x="399" y="159"/>
                </a:cubicBezTo>
                <a:cubicBezTo>
                  <a:pt x="399" y="159"/>
                  <a:pt x="398" y="160"/>
                  <a:pt x="398" y="160"/>
                </a:cubicBezTo>
                <a:close/>
                <a:moveTo>
                  <a:pt x="398" y="169"/>
                </a:moveTo>
                <a:cubicBezTo>
                  <a:pt x="399" y="170"/>
                  <a:pt x="397" y="171"/>
                  <a:pt x="397" y="170"/>
                </a:cubicBezTo>
                <a:cubicBezTo>
                  <a:pt x="397" y="169"/>
                  <a:pt x="398" y="169"/>
                  <a:pt x="398" y="169"/>
                </a:cubicBezTo>
                <a:close/>
                <a:moveTo>
                  <a:pt x="397" y="159"/>
                </a:moveTo>
                <a:cubicBezTo>
                  <a:pt x="397" y="160"/>
                  <a:pt x="395" y="162"/>
                  <a:pt x="395" y="161"/>
                </a:cubicBezTo>
                <a:cubicBezTo>
                  <a:pt x="395" y="160"/>
                  <a:pt x="397" y="160"/>
                  <a:pt x="397" y="159"/>
                </a:cubicBezTo>
                <a:close/>
                <a:moveTo>
                  <a:pt x="395" y="78"/>
                </a:moveTo>
                <a:cubicBezTo>
                  <a:pt x="395" y="78"/>
                  <a:pt x="394" y="78"/>
                  <a:pt x="394" y="78"/>
                </a:cubicBezTo>
                <a:cubicBezTo>
                  <a:pt x="393" y="78"/>
                  <a:pt x="395" y="78"/>
                  <a:pt x="395" y="78"/>
                </a:cubicBezTo>
                <a:close/>
                <a:moveTo>
                  <a:pt x="392" y="104"/>
                </a:moveTo>
                <a:cubicBezTo>
                  <a:pt x="393" y="106"/>
                  <a:pt x="390" y="105"/>
                  <a:pt x="390" y="104"/>
                </a:cubicBezTo>
                <a:cubicBezTo>
                  <a:pt x="390" y="102"/>
                  <a:pt x="392" y="103"/>
                  <a:pt x="392" y="104"/>
                </a:cubicBezTo>
                <a:close/>
                <a:moveTo>
                  <a:pt x="388" y="79"/>
                </a:moveTo>
                <a:cubicBezTo>
                  <a:pt x="387" y="80"/>
                  <a:pt x="386" y="79"/>
                  <a:pt x="385" y="80"/>
                </a:cubicBezTo>
                <a:cubicBezTo>
                  <a:pt x="385" y="79"/>
                  <a:pt x="387" y="79"/>
                  <a:pt x="388" y="79"/>
                </a:cubicBezTo>
                <a:close/>
                <a:moveTo>
                  <a:pt x="385" y="112"/>
                </a:moveTo>
                <a:cubicBezTo>
                  <a:pt x="385" y="112"/>
                  <a:pt x="387" y="111"/>
                  <a:pt x="387" y="112"/>
                </a:cubicBezTo>
                <a:cubicBezTo>
                  <a:pt x="388" y="114"/>
                  <a:pt x="384" y="114"/>
                  <a:pt x="385" y="112"/>
                </a:cubicBezTo>
                <a:close/>
                <a:moveTo>
                  <a:pt x="382" y="113"/>
                </a:moveTo>
                <a:cubicBezTo>
                  <a:pt x="384" y="111"/>
                  <a:pt x="385" y="114"/>
                  <a:pt x="382" y="113"/>
                </a:cubicBezTo>
                <a:close/>
                <a:moveTo>
                  <a:pt x="379" y="110"/>
                </a:moveTo>
                <a:cubicBezTo>
                  <a:pt x="380" y="111"/>
                  <a:pt x="376" y="111"/>
                  <a:pt x="376" y="110"/>
                </a:cubicBezTo>
                <a:cubicBezTo>
                  <a:pt x="375" y="109"/>
                  <a:pt x="378" y="108"/>
                  <a:pt x="379" y="110"/>
                </a:cubicBezTo>
                <a:close/>
                <a:moveTo>
                  <a:pt x="379" y="80"/>
                </a:moveTo>
                <a:cubicBezTo>
                  <a:pt x="379" y="80"/>
                  <a:pt x="377" y="81"/>
                  <a:pt x="377" y="81"/>
                </a:cubicBezTo>
                <a:cubicBezTo>
                  <a:pt x="377" y="80"/>
                  <a:pt x="378" y="80"/>
                  <a:pt x="379" y="80"/>
                </a:cubicBezTo>
                <a:close/>
                <a:moveTo>
                  <a:pt x="376" y="81"/>
                </a:moveTo>
                <a:cubicBezTo>
                  <a:pt x="375" y="81"/>
                  <a:pt x="374" y="81"/>
                  <a:pt x="374" y="81"/>
                </a:cubicBezTo>
                <a:cubicBezTo>
                  <a:pt x="373" y="81"/>
                  <a:pt x="375" y="81"/>
                  <a:pt x="376" y="81"/>
                </a:cubicBezTo>
                <a:close/>
                <a:moveTo>
                  <a:pt x="372" y="76"/>
                </a:moveTo>
                <a:cubicBezTo>
                  <a:pt x="372" y="76"/>
                  <a:pt x="372" y="76"/>
                  <a:pt x="372" y="76"/>
                </a:cubicBezTo>
                <a:cubicBezTo>
                  <a:pt x="372" y="76"/>
                  <a:pt x="371" y="76"/>
                  <a:pt x="371" y="76"/>
                </a:cubicBezTo>
                <a:cubicBezTo>
                  <a:pt x="371" y="76"/>
                  <a:pt x="371" y="76"/>
                  <a:pt x="372" y="76"/>
                </a:cubicBezTo>
                <a:close/>
                <a:moveTo>
                  <a:pt x="363" y="95"/>
                </a:moveTo>
                <a:cubicBezTo>
                  <a:pt x="362" y="96"/>
                  <a:pt x="361" y="94"/>
                  <a:pt x="363" y="95"/>
                </a:cubicBezTo>
                <a:close/>
                <a:moveTo>
                  <a:pt x="362" y="110"/>
                </a:moveTo>
                <a:cubicBezTo>
                  <a:pt x="362" y="112"/>
                  <a:pt x="358" y="112"/>
                  <a:pt x="357" y="111"/>
                </a:cubicBezTo>
                <a:cubicBezTo>
                  <a:pt x="357" y="111"/>
                  <a:pt x="357" y="111"/>
                  <a:pt x="356" y="110"/>
                </a:cubicBezTo>
                <a:cubicBezTo>
                  <a:pt x="357" y="111"/>
                  <a:pt x="355" y="112"/>
                  <a:pt x="355" y="111"/>
                </a:cubicBezTo>
                <a:cubicBezTo>
                  <a:pt x="354" y="110"/>
                  <a:pt x="363" y="106"/>
                  <a:pt x="362" y="110"/>
                </a:cubicBezTo>
                <a:close/>
                <a:moveTo>
                  <a:pt x="357" y="127"/>
                </a:moveTo>
                <a:cubicBezTo>
                  <a:pt x="362" y="124"/>
                  <a:pt x="368" y="124"/>
                  <a:pt x="374" y="121"/>
                </a:cubicBezTo>
                <a:cubicBezTo>
                  <a:pt x="379" y="119"/>
                  <a:pt x="384" y="116"/>
                  <a:pt x="389" y="116"/>
                </a:cubicBezTo>
                <a:cubicBezTo>
                  <a:pt x="389" y="116"/>
                  <a:pt x="390" y="117"/>
                  <a:pt x="390" y="117"/>
                </a:cubicBezTo>
                <a:cubicBezTo>
                  <a:pt x="390" y="118"/>
                  <a:pt x="381" y="121"/>
                  <a:pt x="378" y="122"/>
                </a:cubicBezTo>
                <a:cubicBezTo>
                  <a:pt x="373" y="123"/>
                  <a:pt x="369" y="124"/>
                  <a:pt x="364" y="125"/>
                </a:cubicBezTo>
                <a:cubicBezTo>
                  <a:pt x="363" y="126"/>
                  <a:pt x="357" y="129"/>
                  <a:pt x="355" y="129"/>
                </a:cubicBezTo>
                <a:cubicBezTo>
                  <a:pt x="352" y="129"/>
                  <a:pt x="356" y="127"/>
                  <a:pt x="357" y="127"/>
                </a:cubicBezTo>
                <a:close/>
                <a:moveTo>
                  <a:pt x="357" y="587"/>
                </a:moveTo>
                <a:cubicBezTo>
                  <a:pt x="365" y="583"/>
                  <a:pt x="375" y="580"/>
                  <a:pt x="384" y="576"/>
                </a:cubicBezTo>
                <a:cubicBezTo>
                  <a:pt x="385" y="576"/>
                  <a:pt x="387" y="575"/>
                  <a:pt x="387" y="576"/>
                </a:cubicBezTo>
                <a:cubicBezTo>
                  <a:pt x="388" y="577"/>
                  <a:pt x="384" y="578"/>
                  <a:pt x="386" y="577"/>
                </a:cubicBezTo>
                <a:cubicBezTo>
                  <a:pt x="377" y="581"/>
                  <a:pt x="366" y="585"/>
                  <a:pt x="357" y="587"/>
                </a:cubicBezTo>
                <a:close/>
                <a:moveTo>
                  <a:pt x="376" y="609"/>
                </a:moveTo>
                <a:cubicBezTo>
                  <a:pt x="376" y="610"/>
                  <a:pt x="374" y="610"/>
                  <a:pt x="374" y="610"/>
                </a:cubicBezTo>
                <a:cubicBezTo>
                  <a:pt x="373" y="609"/>
                  <a:pt x="376" y="608"/>
                  <a:pt x="376" y="609"/>
                </a:cubicBezTo>
                <a:close/>
                <a:moveTo>
                  <a:pt x="374" y="600"/>
                </a:moveTo>
                <a:cubicBezTo>
                  <a:pt x="373" y="599"/>
                  <a:pt x="375" y="599"/>
                  <a:pt x="375" y="600"/>
                </a:cubicBezTo>
                <a:cubicBezTo>
                  <a:pt x="375" y="601"/>
                  <a:pt x="374" y="600"/>
                  <a:pt x="374" y="600"/>
                </a:cubicBezTo>
                <a:close/>
                <a:moveTo>
                  <a:pt x="372" y="610"/>
                </a:moveTo>
                <a:cubicBezTo>
                  <a:pt x="371" y="610"/>
                  <a:pt x="373" y="609"/>
                  <a:pt x="373" y="610"/>
                </a:cubicBezTo>
                <a:cubicBezTo>
                  <a:pt x="373" y="610"/>
                  <a:pt x="373" y="611"/>
                  <a:pt x="372" y="610"/>
                </a:cubicBezTo>
                <a:close/>
                <a:moveTo>
                  <a:pt x="364" y="137"/>
                </a:moveTo>
                <a:cubicBezTo>
                  <a:pt x="364" y="138"/>
                  <a:pt x="364" y="137"/>
                  <a:pt x="363" y="138"/>
                </a:cubicBezTo>
                <a:cubicBezTo>
                  <a:pt x="363" y="137"/>
                  <a:pt x="364" y="137"/>
                  <a:pt x="364" y="137"/>
                </a:cubicBezTo>
                <a:close/>
                <a:moveTo>
                  <a:pt x="376" y="167"/>
                </a:moveTo>
                <a:cubicBezTo>
                  <a:pt x="377" y="168"/>
                  <a:pt x="373" y="170"/>
                  <a:pt x="371" y="170"/>
                </a:cubicBezTo>
                <a:cubicBezTo>
                  <a:pt x="371" y="170"/>
                  <a:pt x="368" y="169"/>
                  <a:pt x="367" y="169"/>
                </a:cubicBezTo>
                <a:cubicBezTo>
                  <a:pt x="367" y="168"/>
                  <a:pt x="371" y="165"/>
                  <a:pt x="373" y="168"/>
                </a:cubicBezTo>
                <a:cubicBezTo>
                  <a:pt x="373" y="168"/>
                  <a:pt x="373" y="169"/>
                  <a:pt x="373" y="169"/>
                </a:cubicBezTo>
                <a:cubicBezTo>
                  <a:pt x="374" y="169"/>
                  <a:pt x="375" y="168"/>
                  <a:pt x="376" y="167"/>
                </a:cubicBezTo>
                <a:close/>
                <a:moveTo>
                  <a:pt x="369" y="576"/>
                </a:moveTo>
                <a:cubicBezTo>
                  <a:pt x="369" y="574"/>
                  <a:pt x="371" y="574"/>
                  <a:pt x="369" y="576"/>
                </a:cubicBezTo>
                <a:close/>
                <a:moveTo>
                  <a:pt x="368" y="211"/>
                </a:moveTo>
                <a:cubicBezTo>
                  <a:pt x="367" y="211"/>
                  <a:pt x="368" y="209"/>
                  <a:pt x="369" y="210"/>
                </a:cubicBezTo>
                <a:cubicBezTo>
                  <a:pt x="369" y="210"/>
                  <a:pt x="368" y="211"/>
                  <a:pt x="368" y="211"/>
                </a:cubicBezTo>
                <a:close/>
                <a:moveTo>
                  <a:pt x="368" y="576"/>
                </a:moveTo>
                <a:cubicBezTo>
                  <a:pt x="370" y="575"/>
                  <a:pt x="366" y="578"/>
                  <a:pt x="368" y="576"/>
                </a:cubicBezTo>
                <a:close/>
                <a:moveTo>
                  <a:pt x="379" y="184"/>
                </a:moveTo>
                <a:cubicBezTo>
                  <a:pt x="379" y="183"/>
                  <a:pt x="380" y="182"/>
                  <a:pt x="380" y="183"/>
                </a:cubicBezTo>
                <a:cubicBezTo>
                  <a:pt x="380" y="184"/>
                  <a:pt x="379" y="184"/>
                  <a:pt x="379" y="184"/>
                </a:cubicBezTo>
                <a:close/>
                <a:moveTo>
                  <a:pt x="356" y="609"/>
                </a:moveTo>
                <a:cubicBezTo>
                  <a:pt x="355" y="611"/>
                  <a:pt x="353" y="609"/>
                  <a:pt x="356" y="609"/>
                </a:cubicBezTo>
                <a:close/>
                <a:moveTo>
                  <a:pt x="354" y="556"/>
                </a:moveTo>
                <a:cubicBezTo>
                  <a:pt x="353" y="557"/>
                  <a:pt x="352" y="555"/>
                  <a:pt x="354" y="556"/>
                </a:cubicBezTo>
                <a:close/>
                <a:moveTo>
                  <a:pt x="352" y="532"/>
                </a:moveTo>
                <a:cubicBezTo>
                  <a:pt x="354" y="530"/>
                  <a:pt x="354" y="533"/>
                  <a:pt x="352" y="532"/>
                </a:cubicBezTo>
                <a:close/>
                <a:moveTo>
                  <a:pt x="354" y="674"/>
                </a:moveTo>
                <a:cubicBezTo>
                  <a:pt x="354" y="673"/>
                  <a:pt x="355" y="673"/>
                  <a:pt x="355" y="673"/>
                </a:cubicBezTo>
                <a:cubicBezTo>
                  <a:pt x="355" y="674"/>
                  <a:pt x="354" y="674"/>
                  <a:pt x="354" y="674"/>
                </a:cubicBezTo>
                <a:close/>
                <a:moveTo>
                  <a:pt x="357" y="697"/>
                </a:moveTo>
                <a:cubicBezTo>
                  <a:pt x="357" y="696"/>
                  <a:pt x="359" y="695"/>
                  <a:pt x="359" y="696"/>
                </a:cubicBezTo>
                <a:cubicBezTo>
                  <a:pt x="359" y="697"/>
                  <a:pt x="357" y="698"/>
                  <a:pt x="357" y="697"/>
                </a:cubicBezTo>
                <a:close/>
                <a:moveTo>
                  <a:pt x="357" y="671"/>
                </a:moveTo>
                <a:cubicBezTo>
                  <a:pt x="358" y="671"/>
                  <a:pt x="358" y="671"/>
                  <a:pt x="358" y="672"/>
                </a:cubicBezTo>
                <a:cubicBezTo>
                  <a:pt x="358" y="673"/>
                  <a:pt x="356" y="671"/>
                  <a:pt x="357" y="671"/>
                </a:cubicBezTo>
                <a:close/>
                <a:moveTo>
                  <a:pt x="360" y="643"/>
                </a:moveTo>
                <a:cubicBezTo>
                  <a:pt x="360" y="642"/>
                  <a:pt x="362" y="643"/>
                  <a:pt x="360" y="643"/>
                </a:cubicBezTo>
                <a:close/>
                <a:moveTo>
                  <a:pt x="360" y="630"/>
                </a:moveTo>
                <a:cubicBezTo>
                  <a:pt x="358" y="633"/>
                  <a:pt x="350" y="631"/>
                  <a:pt x="351" y="627"/>
                </a:cubicBezTo>
                <a:cubicBezTo>
                  <a:pt x="352" y="621"/>
                  <a:pt x="365" y="624"/>
                  <a:pt x="360" y="630"/>
                </a:cubicBezTo>
                <a:close/>
                <a:moveTo>
                  <a:pt x="371" y="611"/>
                </a:moveTo>
                <a:cubicBezTo>
                  <a:pt x="368" y="612"/>
                  <a:pt x="365" y="612"/>
                  <a:pt x="362" y="613"/>
                </a:cubicBezTo>
                <a:cubicBezTo>
                  <a:pt x="364" y="612"/>
                  <a:pt x="368" y="611"/>
                  <a:pt x="371" y="611"/>
                </a:cubicBezTo>
                <a:close/>
                <a:moveTo>
                  <a:pt x="363" y="671"/>
                </a:moveTo>
                <a:cubicBezTo>
                  <a:pt x="363" y="671"/>
                  <a:pt x="364" y="671"/>
                  <a:pt x="365" y="671"/>
                </a:cubicBezTo>
                <a:cubicBezTo>
                  <a:pt x="364" y="672"/>
                  <a:pt x="363" y="672"/>
                  <a:pt x="363" y="671"/>
                </a:cubicBezTo>
                <a:close/>
                <a:moveTo>
                  <a:pt x="364" y="691"/>
                </a:moveTo>
                <a:cubicBezTo>
                  <a:pt x="364" y="690"/>
                  <a:pt x="365" y="691"/>
                  <a:pt x="365" y="691"/>
                </a:cubicBezTo>
                <a:cubicBezTo>
                  <a:pt x="366" y="691"/>
                  <a:pt x="364" y="691"/>
                  <a:pt x="364" y="691"/>
                </a:cubicBezTo>
                <a:close/>
                <a:moveTo>
                  <a:pt x="365" y="647"/>
                </a:moveTo>
                <a:cubicBezTo>
                  <a:pt x="365" y="646"/>
                  <a:pt x="366" y="646"/>
                  <a:pt x="366" y="646"/>
                </a:cubicBezTo>
                <a:cubicBezTo>
                  <a:pt x="367" y="647"/>
                  <a:pt x="365" y="647"/>
                  <a:pt x="365" y="647"/>
                </a:cubicBezTo>
                <a:close/>
                <a:moveTo>
                  <a:pt x="370" y="666"/>
                </a:moveTo>
                <a:cubicBezTo>
                  <a:pt x="370" y="664"/>
                  <a:pt x="373" y="665"/>
                  <a:pt x="372" y="666"/>
                </a:cubicBezTo>
                <a:cubicBezTo>
                  <a:pt x="372" y="667"/>
                  <a:pt x="370" y="667"/>
                  <a:pt x="370" y="666"/>
                </a:cubicBezTo>
                <a:close/>
                <a:moveTo>
                  <a:pt x="371" y="691"/>
                </a:moveTo>
                <a:cubicBezTo>
                  <a:pt x="372" y="690"/>
                  <a:pt x="373" y="691"/>
                  <a:pt x="374" y="691"/>
                </a:cubicBezTo>
                <a:cubicBezTo>
                  <a:pt x="374" y="692"/>
                  <a:pt x="372" y="691"/>
                  <a:pt x="371" y="691"/>
                </a:cubicBezTo>
                <a:close/>
                <a:moveTo>
                  <a:pt x="379" y="659"/>
                </a:moveTo>
                <a:cubicBezTo>
                  <a:pt x="379" y="658"/>
                  <a:pt x="377" y="660"/>
                  <a:pt x="377" y="658"/>
                </a:cubicBezTo>
                <a:cubicBezTo>
                  <a:pt x="376" y="657"/>
                  <a:pt x="380" y="657"/>
                  <a:pt x="379" y="659"/>
                </a:cubicBezTo>
                <a:close/>
                <a:moveTo>
                  <a:pt x="381" y="691"/>
                </a:moveTo>
                <a:cubicBezTo>
                  <a:pt x="380" y="691"/>
                  <a:pt x="382" y="690"/>
                  <a:pt x="383" y="691"/>
                </a:cubicBezTo>
                <a:cubicBezTo>
                  <a:pt x="382" y="691"/>
                  <a:pt x="381" y="691"/>
                  <a:pt x="381" y="691"/>
                </a:cubicBezTo>
                <a:close/>
                <a:moveTo>
                  <a:pt x="382" y="658"/>
                </a:moveTo>
                <a:cubicBezTo>
                  <a:pt x="380" y="659"/>
                  <a:pt x="379" y="657"/>
                  <a:pt x="382" y="658"/>
                </a:cubicBezTo>
                <a:close/>
                <a:moveTo>
                  <a:pt x="383" y="691"/>
                </a:moveTo>
                <a:cubicBezTo>
                  <a:pt x="384" y="691"/>
                  <a:pt x="385" y="691"/>
                  <a:pt x="386" y="691"/>
                </a:cubicBezTo>
                <a:cubicBezTo>
                  <a:pt x="386" y="691"/>
                  <a:pt x="384" y="691"/>
                  <a:pt x="383" y="691"/>
                </a:cubicBezTo>
                <a:close/>
                <a:moveTo>
                  <a:pt x="387" y="696"/>
                </a:move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lose/>
                <a:moveTo>
                  <a:pt x="384" y="662"/>
                </a:moveTo>
                <a:cubicBezTo>
                  <a:pt x="384" y="660"/>
                  <a:pt x="388" y="661"/>
                  <a:pt x="388" y="662"/>
                </a:cubicBezTo>
                <a:cubicBezTo>
                  <a:pt x="388" y="663"/>
                  <a:pt x="385" y="664"/>
                  <a:pt x="384" y="662"/>
                </a:cubicBezTo>
                <a:close/>
                <a:moveTo>
                  <a:pt x="398" y="679"/>
                </a:moveTo>
                <a:cubicBezTo>
                  <a:pt x="400" y="678"/>
                  <a:pt x="400" y="680"/>
                  <a:pt x="398" y="679"/>
                </a:cubicBezTo>
                <a:close/>
                <a:moveTo>
                  <a:pt x="401" y="664"/>
                </a:moveTo>
                <a:cubicBezTo>
                  <a:pt x="402" y="662"/>
                  <a:pt x="405" y="663"/>
                  <a:pt x="406" y="663"/>
                </a:cubicBezTo>
                <a:cubicBezTo>
                  <a:pt x="406" y="663"/>
                  <a:pt x="407" y="664"/>
                  <a:pt x="407" y="664"/>
                </a:cubicBezTo>
                <a:cubicBezTo>
                  <a:pt x="406" y="664"/>
                  <a:pt x="408" y="663"/>
                  <a:pt x="409" y="664"/>
                </a:cubicBezTo>
                <a:cubicBezTo>
                  <a:pt x="409" y="665"/>
                  <a:pt x="400" y="667"/>
                  <a:pt x="401" y="664"/>
                </a:cubicBezTo>
                <a:close/>
                <a:moveTo>
                  <a:pt x="411" y="704"/>
                </a:moveTo>
                <a:cubicBezTo>
                  <a:pt x="410" y="704"/>
                  <a:pt x="411" y="704"/>
                  <a:pt x="411" y="704"/>
                </a:cubicBezTo>
                <a:cubicBezTo>
                  <a:pt x="411" y="704"/>
                  <a:pt x="411" y="704"/>
                  <a:pt x="411" y="704"/>
                </a:cubicBezTo>
                <a:close/>
                <a:moveTo>
                  <a:pt x="409" y="648"/>
                </a:moveTo>
                <a:cubicBezTo>
                  <a:pt x="403" y="650"/>
                  <a:pt x="397" y="649"/>
                  <a:pt x="391" y="651"/>
                </a:cubicBezTo>
                <a:cubicBezTo>
                  <a:pt x="386" y="652"/>
                  <a:pt x="381" y="655"/>
                  <a:pt x="376" y="654"/>
                </a:cubicBezTo>
                <a:cubicBezTo>
                  <a:pt x="375" y="654"/>
                  <a:pt x="375" y="653"/>
                  <a:pt x="375" y="653"/>
                </a:cubicBezTo>
                <a:cubicBezTo>
                  <a:pt x="374" y="652"/>
                  <a:pt x="384" y="650"/>
                  <a:pt x="387" y="650"/>
                </a:cubicBezTo>
                <a:cubicBezTo>
                  <a:pt x="393" y="649"/>
                  <a:pt x="396" y="649"/>
                  <a:pt x="401" y="648"/>
                </a:cubicBezTo>
                <a:cubicBezTo>
                  <a:pt x="403" y="648"/>
                  <a:pt x="408" y="646"/>
                  <a:pt x="410" y="646"/>
                </a:cubicBezTo>
                <a:cubicBezTo>
                  <a:pt x="413" y="647"/>
                  <a:pt x="409" y="648"/>
                  <a:pt x="409" y="648"/>
                </a:cubicBezTo>
                <a:close/>
                <a:moveTo>
                  <a:pt x="394" y="589"/>
                </a:moveTo>
                <a:cubicBezTo>
                  <a:pt x="394" y="588"/>
                  <a:pt x="395" y="588"/>
                  <a:pt x="395" y="589"/>
                </a:cubicBezTo>
                <a:cubicBezTo>
                  <a:pt x="395" y="589"/>
                  <a:pt x="394" y="590"/>
                  <a:pt x="394" y="589"/>
                </a:cubicBezTo>
                <a:close/>
                <a:moveTo>
                  <a:pt x="398" y="605"/>
                </a:moveTo>
                <a:cubicBezTo>
                  <a:pt x="398" y="605"/>
                  <a:pt x="399" y="604"/>
                  <a:pt x="399" y="604"/>
                </a:cubicBezTo>
                <a:cubicBezTo>
                  <a:pt x="398" y="604"/>
                  <a:pt x="396" y="605"/>
                  <a:pt x="395" y="605"/>
                </a:cubicBezTo>
                <a:cubicBezTo>
                  <a:pt x="395" y="605"/>
                  <a:pt x="399" y="603"/>
                  <a:pt x="400" y="603"/>
                </a:cubicBezTo>
                <a:cubicBezTo>
                  <a:pt x="401" y="603"/>
                  <a:pt x="404" y="605"/>
                  <a:pt x="404" y="605"/>
                </a:cubicBezTo>
                <a:cubicBezTo>
                  <a:pt x="404" y="606"/>
                  <a:pt x="400" y="608"/>
                  <a:pt x="398" y="605"/>
                </a:cubicBezTo>
                <a:close/>
                <a:moveTo>
                  <a:pt x="403" y="636"/>
                </a:moveTo>
                <a:cubicBezTo>
                  <a:pt x="403" y="636"/>
                  <a:pt x="404" y="637"/>
                  <a:pt x="404" y="636"/>
                </a:cubicBezTo>
                <a:cubicBezTo>
                  <a:pt x="404" y="637"/>
                  <a:pt x="403" y="637"/>
                  <a:pt x="403" y="636"/>
                </a:cubicBezTo>
                <a:close/>
                <a:moveTo>
                  <a:pt x="406" y="193"/>
                </a:moveTo>
                <a:cubicBezTo>
                  <a:pt x="406" y="195"/>
                  <a:pt x="404" y="195"/>
                  <a:pt x="406" y="193"/>
                </a:cubicBezTo>
                <a:close/>
                <a:moveTo>
                  <a:pt x="407" y="192"/>
                </a:moveTo>
                <a:cubicBezTo>
                  <a:pt x="406" y="194"/>
                  <a:pt x="409" y="190"/>
                  <a:pt x="407" y="192"/>
                </a:cubicBezTo>
                <a:close/>
                <a:moveTo>
                  <a:pt x="410" y="563"/>
                </a:moveTo>
                <a:cubicBezTo>
                  <a:pt x="410" y="564"/>
                  <a:pt x="410" y="565"/>
                  <a:pt x="409" y="564"/>
                </a:cubicBezTo>
                <a:cubicBezTo>
                  <a:pt x="408" y="564"/>
                  <a:pt x="409" y="563"/>
                  <a:pt x="410" y="563"/>
                </a:cubicBezTo>
                <a:close/>
                <a:moveTo>
                  <a:pt x="412" y="687"/>
                </a:moveTo>
                <a:cubicBezTo>
                  <a:pt x="414" y="686"/>
                  <a:pt x="414" y="687"/>
                  <a:pt x="412" y="687"/>
                </a:cubicBezTo>
                <a:close/>
                <a:moveTo>
                  <a:pt x="391" y="194"/>
                </a:moveTo>
                <a:cubicBezTo>
                  <a:pt x="391" y="194"/>
                  <a:pt x="389" y="196"/>
                  <a:pt x="388" y="195"/>
                </a:cubicBezTo>
                <a:cubicBezTo>
                  <a:pt x="388" y="194"/>
                  <a:pt x="391" y="193"/>
                  <a:pt x="390" y="194"/>
                </a:cubicBezTo>
                <a:cubicBezTo>
                  <a:pt x="398" y="189"/>
                  <a:pt x="408" y="183"/>
                  <a:pt x="417" y="179"/>
                </a:cubicBezTo>
                <a:cubicBezTo>
                  <a:pt x="409" y="185"/>
                  <a:pt x="400" y="189"/>
                  <a:pt x="391" y="194"/>
                </a:cubicBezTo>
                <a:close/>
                <a:moveTo>
                  <a:pt x="414" y="158"/>
                </a:moveTo>
                <a:cubicBezTo>
                  <a:pt x="415" y="156"/>
                  <a:pt x="417" y="157"/>
                  <a:pt x="414" y="158"/>
                </a:cubicBezTo>
                <a:close/>
                <a:moveTo>
                  <a:pt x="407" y="137"/>
                </a:moveTo>
                <a:cubicBezTo>
                  <a:pt x="409" y="134"/>
                  <a:pt x="417" y="135"/>
                  <a:pt x="417" y="139"/>
                </a:cubicBezTo>
                <a:cubicBezTo>
                  <a:pt x="417" y="145"/>
                  <a:pt x="403" y="144"/>
                  <a:pt x="407" y="137"/>
                </a:cubicBezTo>
                <a:close/>
                <a:moveTo>
                  <a:pt x="418" y="140"/>
                </a:moveTo>
                <a:cubicBezTo>
                  <a:pt x="418" y="139"/>
                  <a:pt x="419" y="142"/>
                  <a:pt x="418" y="140"/>
                </a:cubicBezTo>
                <a:close/>
                <a:moveTo>
                  <a:pt x="420" y="672"/>
                </a:moveTo>
                <a:cubicBezTo>
                  <a:pt x="419" y="672"/>
                  <a:pt x="418" y="672"/>
                  <a:pt x="418" y="672"/>
                </a:cubicBezTo>
                <a:cubicBezTo>
                  <a:pt x="418" y="671"/>
                  <a:pt x="432" y="670"/>
                  <a:pt x="435" y="670"/>
                </a:cubicBezTo>
                <a:cubicBezTo>
                  <a:pt x="437" y="671"/>
                  <a:pt x="433" y="672"/>
                  <a:pt x="432" y="672"/>
                </a:cubicBezTo>
                <a:cubicBezTo>
                  <a:pt x="428" y="672"/>
                  <a:pt x="423" y="673"/>
                  <a:pt x="420" y="672"/>
                </a:cubicBezTo>
                <a:close/>
                <a:moveTo>
                  <a:pt x="425" y="681"/>
                </a:moveTo>
                <a:cubicBezTo>
                  <a:pt x="425" y="681"/>
                  <a:pt x="425" y="680"/>
                  <a:pt x="425" y="680"/>
                </a:cubicBezTo>
                <a:cubicBezTo>
                  <a:pt x="425" y="680"/>
                  <a:pt x="425" y="680"/>
                  <a:pt x="425" y="681"/>
                </a:cubicBezTo>
                <a:cubicBezTo>
                  <a:pt x="425" y="681"/>
                  <a:pt x="425" y="681"/>
                  <a:pt x="425" y="681"/>
                </a:cubicBezTo>
                <a:cubicBezTo>
                  <a:pt x="426" y="681"/>
                  <a:pt x="426" y="681"/>
                  <a:pt x="425" y="681"/>
                </a:cubicBezTo>
                <a:close/>
                <a:moveTo>
                  <a:pt x="429" y="674"/>
                </a:moveTo>
                <a:cubicBezTo>
                  <a:pt x="429" y="674"/>
                  <a:pt x="426" y="674"/>
                  <a:pt x="428" y="673"/>
                </a:cubicBezTo>
                <a:cubicBezTo>
                  <a:pt x="431" y="672"/>
                  <a:pt x="437" y="672"/>
                  <a:pt x="441" y="672"/>
                </a:cubicBezTo>
                <a:cubicBezTo>
                  <a:pt x="438" y="673"/>
                  <a:pt x="433" y="674"/>
                  <a:pt x="429" y="674"/>
                </a:cubicBezTo>
                <a:close/>
                <a:moveTo>
                  <a:pt x="442" y="672"/>
                </a:moveTo>
                <a:cubicBezTo>
                  <a:pt x="444" y="671"/>
                  <a:pt x="448" y="669"/>
                  <a:pt x="452" y="670"/>
                </a:cubicBezTo>
                <a:cubicBezTo>
                  <a:pt x="449" y="671"/>
                  <a:pt x="445" y="671"/>
                  <a:pt x="442" y="672"/>
                </a:cubicBezTo>
                <a:close/>
                <a:moveTo>
                  <a:pt x="449" y="142"/>
                </a:moveTo>
                <a:cubicBezTo>
                  <a:pt x="450" y="141"/>
                  <a:pt x="450" y="141"/>
                  <a:pt x="451" y="142"/>
                </a:cubicBezTo>
                <a:cubicBezTo>
                  <a:pt x="451" y="142"/>
                  <a:pt x="450" y="142"/>
                  <a:pt x="449" y="142"/>
                </a:cubicBezTo>
                <a:close/>
                <a:moveTo>
                  <a:pt x="451" y="148"/>
                </a:moveTo>
                <a:cubicBezTo>
                  <a:pt x="452" y="149"/>
                  <a:pt x="450" y="147"/>
                  <a:pt x="451" y="148"/>
                </a:cubicBezTo>
                <a:close/>
                <a:moveTo>
                  <a:pt x="446" y="79"/>
                </a:moveTo>
                <a:cubicBezTo>
                  <a:pt x="448" y="77"/>
                  <a:pt x="450" y="78"/>
                  <a:pt x="452" y="77"/>
                </a:cubicBezTo>
                <a:cubicBezTo>
                  <a:pt x="451" y="78"/>
                  <a:pt x="448" y="79"/>
                  <a:pt x="446" y="79"/>
                </a:cubicBezTo>
                <a:close/>
                <a:moveTo>
                  <a:pt x="454" y="644"/>
                </a:moveTo>
                <a:cubicBezTo>
                  <a:pt x="454" y="644"/>
                  <a:pt x="454" y="644"/>
                  <a:pt x="454" y="644"/>
                </a:cubicBezTo>
                <a:cubicBezTo>
                  <a:pt x="455" y="642"/>
                  <a:pt x="455" y="647"/>
                  <a:pt x="454" y="644"/>
                </a:cubicBezTo>
                <a:close/>
                <a:moveTo>
                  <a:pt x="449" y="66"/>
                </a:moveTo>
                <a:cubicBezTo>
                  <a:pt x="449" y="66"/>
                  <a:pt x="448" y="65"/>
                  <a:pt x="448" y="65"/>
                </a:cubicBezTo>
                <a:cubicBezTo>
                  <a:pt x="448" y="64"/>
                  <a:pt x="451" y="62"/>
                  <a:pt x="453" y="61"/>
                </a:cubicBezTo>
                <a:cubicBezTo>
                  <a:pt x="451" y="61"/>
                  <a:pt x="450" y="62"/>
                  <a:pt x="448" y="62"/>
                </a:cubicBezTo>
                <a:cubicBezTo>
                  <a:pt x="444" y="62"/>
                  <a:pt x="452" y="60"/>
                  <a:pt x="453" y="60"/>
                </a:cubicBezTo>
                <a:cubicBezTo>
                  <a:pt x="458" y="59"/>
                  <a:pt x="462" y="58"/>
                  <a:pt x="466" y="57"/>
                </a:cubicBezTo>
                <a:cubicBezTo>
                  <a:pt x="468" y="57"/>
                  <a:pt x="475" y="56"/>
                  <a:pt x="475" y="57"/>
                </a:cubicBezTo>
                <a:cubicBezTo>
                  <a:pt x="476" y="58"/>
                  <a:pt x="468" y="59"/>
                  <a:pt x="465" y="59"/>
                </a:cubicBezTo>
                <a:cubicBezTo>
                  <a:pt x="461" y="60"/>
                  <a:pt x="459" y="60"/>
                  <a:pt x="456" y="61"/>
                </a:cubicBezTo>
                <a:cubicBezTo>
                  <a:pt x="458" y="61"/>
                  <a:pt x="461" y="62"/>
                  <a:pt x="460" y="64"/>
                </a:cubicBezTo>
                <a:cubicBezTo>
                  <a:pt x="460" y="69"/>
                  <a:pt x="453" y="68"/>
                  <a:pt x="449" y="66"/>
                </a:cubicBezTo>
                <a:close/>
                <a:moveTo>
                  <a:pt x="467" y="66"/>
                </a:moveTo>
                <a:cubicBezTo>
                  <a:pt x="468" y="65"/>
                  <a:pt x="470" y="62"/>
                  <a:pt x="471" y="63"/>
                </a:cubicBezTo>
                <a:cubicBezTo>
                  <a:pt x="473" y="65"/>
                  <a:pt x="469" y="66"/>
                  <a:pt x="467" y="66"/>
                </a:cubicBezTo>
                <a:close/>
                <a:moveTo>
                  <a:pt x="459" y="100"/>
                </a:moveTo>
                <a:cubicBezTo>
                  <a:pt x="458" y="100"/>
                  <a:pt x="458" y="99"/>
                  <a:pt x="459" y="98"/>
                </a:cubicBezTo>
                <a:cubicBezTo>
                  <a:pt x="461" y="96"/>
                  <a:pt x="462" y="100"/>
                  <a:pt x="459" y="100"/>
                </a:cubicBezTo>
                <a:close/>
                <a:moveTo>
                  <a:pt x="456" y="149"/>
                </a:moveTo>
                <a:cubicBezTo>
                  <a:pt x="456" y="149"/>
                  <a:pt x="460" y="145"/>
                  <a:pt x="461" y="146"/>
                </a:cubicBezTo>
                <a:cubicBezTo>
                  <a:pt x="463" y="148"/>
                  <a:pt x="457" y="150"/>
                  <a:pt x="456" y="149"/>
                </a:cubicBezTo>
                <a:close/>
                <a:moveTo>
                  <a:pt x="462" y="681"/>
                </a:moveTo>
                <a:cubicBezTo>
                  <a:pt x="464" y="680"/>
                  <a:pt x="464" y="682"/>
                  <a:pt x="462" y="681"/>
                </a:cubicBezTo>
                <a:close/>
                <a:moveTo>
                  <a:pt x="464" y="170"/>
                </a:moveTo>
                <a:cubicBezTo>
                  <a:pt x="463" y="171"/>
                  <a:pt x="461" y="171"/>
                  <a:pt x="460" y="171"/>
                </a:cubicBezTo>
                <a:cubicBezTo>
                  <a:pt x="459" y="172"/>
                  <a:pt x="459" y="172"/>
                  <a:pt x="458" y="172"/>
                </a:cubicBezTo>
                <a:cubicBezTo>
                  <a:pt x="459" y="172"/>
                  <a:pt x="459" y="172"/>
                  <a:pt x="460" y="171"/>
                </a:cubicBezTo>
                <a:cubicBezTo>
                  <a:pt x="462" y="170"/>
                  <a:pt x="464" y="168"/>
                  <a:pt x="465" y="168"/>
                </a:cubicBezTo>
                <a:cubicBezTo>
                  <a:pt x="468" y="167"/>
                  <a:pt x="464" y="170"/>
                  <a:pt x="464" y="170"/>
                </a:cubicBezTo>
                <a:close/>
                <a:moveTo>
                  <a:pt x="466" y="68"/>
                </a:moveTo>
                <a:cubicBezTo>
                  <a:pt x="466" y="68"/>
                  <a:pt x="466" y="68"/>
                  <a:pt x="466" y="68"/>
                </a:cubicBezTo>
                <a:cubicBezTo>
                  <a:pt x="467" y="70"/>
                  <a:pt x="464" y="67"/>
                  <a:pt x="466" y="68"/>
                </a:cubicBezTo>
                <a:close/>
                <a:moveTo>
                  <a:pt x="468" y="241"/>
                </a:moveTo>
                <a:cubicBezTo>
                  <a:pt x="468" y="243"/>
                  <a:pt x="465" y="242"/>
                  <a:pt x="468" y="241"/>
                </a:cubicBezTo>
                <a:close/>
                <a:moveTo>
                  <a:pt x="470" y="75"/>
                </a:moveTo>
                <a:cubicBezTo>
                  <a:pt x="470" y="75"/>
                  <a:pt x="470" y="76"/>
                  <a:pt x="470" y="77"/>
                </a:cubicBezTo>
                <a:cubicBezTo>
                  <a:pt x="471" y="77"/>
                  <a:pt x="472" y="75"/>
                  <a:pt x="472" y="75"/>
                </a:cubicBezTo>
                <a:cubicBezTo>
                  <a:pt x="472" y="74"/>
                  <a:pt x="471" y="74"/>
                  <a:pt x="471" y="73"/>
                </a:cubicBezTo>
                <a:cubicBezTo>
                  <a:pt x="471" y="74"/>
                  <a:pt x="470" y="73"/>
                  <a:pt x="471" y="73"/>
                </a:cubicBezTo>
                <a:cubicBezTo>
                  <a:pt x="472" y="72"/>
                  <a:pt x="473" y="73"/>
                  <a:pt x="473" y="73"/>
                </a:cubicBezTo>
                <a:cubicBezTo>
                  <a:pt x="474" y="72"/>
                  <a:pt x="475" y="72"/>
                  <a:pt x="476" y="72"/>
                </a:cubicBezTo>
                <a:cubicBezTo>
                  <a:pt x="477" y="72"/>
                  <a:pt x="481" y="75"/>
                  <a:pt x="478" y="76"/>
                </a:cubicBezTo>
                <a:cubicBezTo>
                  <a:pt x="476" y="77"/>
                  <a:pt x="471" y="78"/>
                  <a:pt x="469" y="77"/>
                </a:cubicBezTo>
                <a:cubicBezTo>
                  <a:pt x="468" y="77"/>
                  <a:pt x="468" y="74"/>
                  <a:pt x="470" y="75"/>
                </a:cubicBezTo>
                <a:close/>
                <a:moveTo>
                  <a:pt x="478" y="117"/>
                </a:moveTo>
                <a:cubicBezTo>
                  <a:pt x="479" y="118"/>
                  <a:pt x="477" y="118"/>
                  <a:pt x="476" y="118"/>
                </a:cubicBezTo>
                <a:cubicBezTo>
                  <a:pt x="476" y="117"/>
                  <a:pt x="478" y="117"/>
                  <a:pt x="478" y="117"/>
                </a:cubicBezTo>
                <a:close/>
                <a:moveTo>
                  <a:pt x="478" y="100"/>
                </a:move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lose/>
                <a:moveTo>
                  <a:pt x="478" y="100"/>
                </a:moveTo>
                <a:cubicBezTo>
                  <a:pt x="479" y="100"/>
                  <a:pt x="478" y="100"/>
                  <a:pt x="478" y="100"/>
                </a:cubicBezTo>
                <a:close/>
                <a:moveTo>
                  <a:pt x="476" y="97"/>
                </a:moveTo>
                <a:cubicBezTo>
                  <a:pt x="475" y="96"/>
                  <a:pt x="478" y="96"/>
                  <a:pt x="478" y="96"/>
                </a:cubicBezTo>
                <a:cubicBezTo>
                  <a:pt x="479" y="96"/>
                  <a:pt x="476" y="97"/>
                  <a:pt x="476" y="97"/>
                </a:cubicBezTo>
                <a:close/>
                <a:moveTo>
                  <a:pt x="474" y="91"/>
                </a:moveTo>
                <a:cubicBezTo>
                  <a:pt x="474" y="90"/>
                  <a:pt x="475" y="90"/>
                  <a:pt x="476" y="90"/>
                </a:cubicBezTo>
                <a:cubicBezTo>
                  <a:pt x="477" y="92"/>
                  <a:pt x="474" y="92"/>
                  <a:pt x="474" y="91"/>
                </a:cubicBezTo>
                <a:close/>
                <a:moveTo>
                  <a:pt x="477" y="107"/>
                </a:moveTo>
                <a:cubicBezTo>
                  <a:pt x="477" y="109"/>
                  <a:pt x="474" y="111"/>
                  <a:pt x="473" y="109"/>
                </a:cubicBezTo>
                <a:cubicBezTo>
                  <a:pt x="469" y="106"/>
                  <a:pt x="477" y="104"/>
                  <a:pt x="477" y="107"/>
                </a:cubicBezTo>
                <a:close/>
                <a:moveTo>
                  <a:pt x="472" y="112"/>
                </a:moveTo>
                <a:cubicBezTo>
                  <a:pt x="475" y="114"/>
                  <a:pt x="468" y="116"/>
                  <a:pt x="470" y="113"/>
                </a:cubicBezTo>
                <a:cubicBezTo>
                  <a:pt x="471" y="112"/>
                  <a:pt x="472" y="112"/>
                  <a:pt x="472" y="112"/>
                </a:cubicBezTo>
                <a:close/>
                <a:moveTo>
                  <a:pt x="475" y="122"/>
                </a:moveTo>
                <a:cubicBezTo>
                  <a:pt x="474" y="122"/>
                  <a:pt x="473" y="123"/>
                  <a:pt x="472" y="123"/>
                </a:cubicBezTo>
                <a:cubicBezTo>
                  <a:pt x="472" y="123"/>
                  <a:pt x="473" y="121"/>
                  <a:pt x="475" y="122"/>
                </a:cubicBezTo>
                <a:close/>
                <a:moveTo>
                  <a:pt x="474" y="123"/>
                </a:moveTo>
                <a:cubicBezTo>
                  <a:pt x="474" y="123"/>
                  <a:pt x="475" y="123"/>
                  <a:pt x="475" y="124"/>
                </a:cubicBezTo>
                <a:cubicBezTo>
                  <a:pt x="475" y="124"/>
                  <a:pt x="474" y="124"/>
                  <a:pt x="474" y="123"/>
                </a:cubicBezTo>
                <a:close/>
                <a:moveTo>
                  <a:pt x="477" y="158"/>
                </a:moveTo>
                <a:cubicBezTo>
                  <a:pt x="477" y="158"/>
                  <a:pt x="476" y="159"/>
                  <a:pt x="475" y="159"/>
                </a:cubicBezTo>
                <a:cubicBezTo>
                  <a:pt x="475" y="159"/>
                  <a:pt x="476" y="158"/>
                  <a:pt x="477" y="158"/>
                </a:cubicBezTo>
                <a:close/>
                <a:moveTo>
                  <a:pt x="476" y="121"/>
                </a:moveTo>
                <a:cubicBezTo>
                  <a:pt x="477" y="121"/>
                  <a:pt x="478" y="119"/>
                  <a:pt x="479" y="120"/>
                </a:cubicBezTo>
                <a:cubicBezTo>
                  <a:pt x="478" y="121"/>
                  <a:pt x="477" y="121"/>
                  <a:pt x="476" y="121"/>
                </a:cubicBezTo>
                <a:close/>
                <a:moveTo>
                  <a:pt x="472" y="165"/>
                </a:moveTo>
                <a:cubicBezTo>
                  <a:pt x="472" y="166"/>
                  <a:pt x="470" y="167"/>
                  <a:pt x="469" y="168"/>
                </a:cubicBezTo>
                <a:cubicBezTo>
                  <a:pt x="469" y="166"/>
                  <a:pt x="471" y="166"/>
                  <a:pt x="472" y="165"/>
                </a:cubicBezTo>
                <a:close/>
                <a:moveTo>
                  <a:pt x="471" y="178"/>
                </a:moveTo>
                <a:cubicBezTo>
                  <a:pt x="471" y="175"/>
                  <a:pt x="476" y="174"/>
                  <a:pt x="477" y="177"/>
                </a:cubicBezTo>
                <a:cubicBezTo>
                  <a:pt x="477" y="181"/>
                  <a:pt x="471" y="180"/>
                  <a:pt x="471" y="178"/>
                </a:cubicBezTo>
                <a:close/>
                <a:moveTo>
                  <a:pt x="472" y="233"/>
                </a:moveTo>
                <a:cubicBezTo>
                  <a:pt x="472" y="232"/>
                  <a:pt x="475" y="230"/>
                  <a:pt x="475" y="232"/>
                </a:cubicBezTo>
                <a:cubicBezTo>
                  <a:pt x="476" y="234"/>
                  <a:pt x="473" y="234"/>
                  <a:pt x="472" y="233"/>
                </a:cubicBezTo>
                <a:close/>
                <a:moveTo>
                  <a:pt x="475" y="180"/>
                </a:moveTo>
                <a:cubicBezTo>
                  <a:pt x="475" y="180"/>
                  <a:pt x="476" y="179"/>
                  <a:pt x="477" y="180"/>
                </a:cubicBezTo>
                <a:cubicBezTo>
                  <a:pt x="478" y="181"/>
                  <a:pt x="475" y="181"/>
                  <a:pt x="475" y="180"/>
                </a:cubicBezTo>
                <a:close/>
                <a:moveTo>
                  <a:pt x="482" y="155"/>
                </a:moveTo>
                <a:cubicBezTo>
                  <a:pt x="482" y="156"/>
                  <a:pt x="480" y="157"/>
                  <a:pt x="479" y="157"/>
                </a:cubicBezTo>
                <a:cubicBezTo>
                  <a:pt x="479" y="156"/>
                  <a:pt x="481" y="156"/>
                  <a:pt x="482" y="155"/>
                </a:cubicBezTo>
                <a:close/>
                <a:moveTo>
                  <a:pt x="479" y="164"/>
                </a:moveTo>
                <a:cubicBezTo>
                  <a:pt x="479" y="162"/>
                  <a:pt x="481" y="163"/>
                  <a:pt x="479" y="164"/>
                </a:cubicBezTo>
                <a:close/>
                <a:moveTo>
                  <a:pt x="479" y="175"/>
                </a:moveTo>
                <a:cubicBezTo>
                  <a:pt x="478" y="174"/>
                  <a:pt x="480" y="173"/>
                  <a:pt x="480" y="174"/>
                </a:cubicBezTo>
                <a:cubicBezTo>
                  <a:pt x="480" y="175"/>
                  <a:pt x="480" y="175"/>
                  <a:pt x="479" y="175"/>
                </a:cubicBezTo>
                <a:close/>
                <a:moveTo>
                  <a:pt x="480" y="164"/>
                </a:moveTo>
                <a:cubicBezTo>
                  <a:pt x="480" y="163"/>
                  <a:pt x="484" y="161"/>
                  <a:pt x="484" y="164"/>
                </a:cubicBezTo>
                <a:cubicBezTo>
                  <a:pt x="484" y="166"/>
                  <a:pt x="480" y="166"/>
                  <a:pt x="480" y="164"/>
                </a:cubicBezTo>
                <a:close/>
                <a:moveTo>
                  <a:pt x="482" y="188"/>
                </a:moveTo>
                <a:cubicBezTo>
                  <a:pt x="482" y="187"/>
                  <a:pt x="483" y="187"/>
                  <a:pt x="484" y="187"/>
                </a:cubicBezTo>
                <a:cubicBezTo>
                  <a:pt x="484" y="187"/>
                  <a:pt x="482" y="189"/>
                  <a:pt x="482" y="188"/>
                </a:cubicBezTo>
                <a:close/>
                <a:moveTo>
                  <a:pt x="487" y="253"/>
                </a:moveTo>
                <a:cubicBezTo>
                  <a:pt x="487" y="255"/>
                  <a:pt x="485" y="254"/>
                  <a:pt x="487" y="253"/>
                </a:cubicBezTo>
                <a:close/>
                <a:moveTo>
                  <a:pt x="484" y="228"/>
                </a:moveTo>
                <a:cubicBezTo>
                  <a:pt x="482" y="226"/>
                  <a:pt x="488" y="223"/>
                  <a:pt x="488" y="227"/>
                </a:cubicBezTo>
                <a:cubicBezTo>
                  <a:pt x="488" y="228"/>
                  <a:pt x="485" y="230"/>
                  <a:pt x="484" y="228"/>
                </a:cubicBezTo>
                <a:close/>
                <a:moveTo>
                  <a:pt x="486" y="208"/>
                </a:moveTo>
                <a:cubicBezTo>
                  <a:pt x="486" y="207"/>
                  <a:pt x="488" y="206"/>
                  <a:pt x="488" y="207"/>
                </a:cubicBezTo>
                <a:cubicBezTo>
                  <a:pt x="488" y="208"/>
                  <a:pt x="487" y="209"/>
                  <a:pt x="486" y="208"/>
                </a:cubicBezTo>
                <a:close/>
                <a:moveTo>
                  <a:pt x="490" y="250"/>
                </a:moveTo>
                <a:cubicBezTo>
                  <a:pt x="490" y="248"/>
                  <a:pt x="492" y="246"/>
                  <a:pt x="493" y="245"/>
                </a:cubicBezTo>
                <a:cubicBezTo>
                  <a:pt x="493" y="246"/>
                  <a:pt x="491" y="248"/>
                  <a:pt x="490" y="250"/>
                </a:cubicBezTo>
                <a:close/>
                <a:moveTo>
                  <a:pt x="494" y="245"/>
                </a:moveTo>
                <a:cubicBezTo>
                  <a:pt x="494" y="244"/>
                  <a:pt x="495" y="243"/>
                  <a:pt x="495" y="243"/>
                </a:cubicBezTo>
                <a:cubicBezTo>
                  <a:pt x="496" y="243"/>
                  <a:pt x="494" y="245"/>
                  <a:pt x="494" y="245"/>
                </a:cubicBezTo>
                <a:close/>
                <a:moveTo>
                  <a:pt x="499" y="230"/>
                </a:moveTo>
                <a:cubicBezTo>
                  <a:pt x="499" y="229"/>
                  <a:pt x="501" y="229"/>
                  <a:pt x="501" y="229"/>
                </a:cubicBezTo>
                <a:cubicBezTo>
                  <a:pt x="502" y="229"/>
                  <a:pt x="500" y="230"/>
                  <a:pt x="499" y="230"/>
                </a:cubicBezTo>
                <a:close/>
                <a:moveTo>
                  <a:pt x="496" y="230"/>
                </a:moveTo>
                <a:cubicBezTo>
                  <a:pt x="496" y="230"/>
                  <a:pt x="491" y="233"/>
                  <a:pt x="492" y="231"/>
                </a:cubicBezTo>
                <a:cubicBezTo>
                  <a:pt x="492" y="230"/>
                  <a:pt x="497" y="229"/>
                  <a:pt x="497" y="229"/>
                </a:cubicBezTo>
                <a:cubicBezTo>
                  <a:pt x="500" y="228"/>
                  <a:pt x="503" y="225"/>
                  <a:pt x="506" y="225"/>
                </a:cubicBezTo>
                <a:cubicBezTo>
                  <a:pt x="505" y="228"/>
                  <a:pt x="498" y="229"/>
                  <a:pt x="496" y="230"/>
                </a:cubicBezTo>
                <a:close/>
                <a:moveTo>
                  <a:pt x="505" y="195"/>
                </a:moveTo>
                <a:cubicBezTo>
                  <a:pt x="505" y="194"/>
                  <a:pt x="507" y="192"/>
                  <a:pt x="508" y="193"/>
                </a:cubicBezTo>
                <a:cubicBezTo>
                  <a:pt x="508" y="194"/>
                  <a:pt x="506" y="196"/>
                  <a:pt x="505" y="195"/>
                </a:cubicBezTo>
                <a:close/>
                <a:moveTo>
                  <a:pt x="507" y="222"/>
                </a:moveTo>
                <a:cubicBezTo>
                  <a:pt x="507" y="222"/>
                  <a:pt x="508" y="222"/>
                  <a:pt x="508" y="222"/>
                </a:cubicBezTo>
                <a:cubicBezTo>
                  <a:pt x="510" y="223"/>
                  <a:pt x="504" y="225"/>
                  <a:pt x="507" y="222"/>
                </a:cubicBezTo>
                <a:close/>
                <a:moveTo>
                  <a:pt x="506" y="190"/>
                </a:moveTo>
                <a:cubicBezTo>
                  <a:pt x="506" y="189"/>
                  <a:pt x="507" y="188"/>
                  <a:pt x="509" y="188"/>
                </a:cubicBezTo>
                <a:cubicBezTo>
                  <a:pt x="508" y="189"/>
                  <a:pt x="507" y="190"/>
                  <a:pt x="506" y="190"/>
                </a:cubicBezTo>
                <a:close/>
                <a:moveTo>
                  <a:pt x="516" y="247"/>
                </a:moveTo>
                <a:cubicBezTo>
                  <a:pt x="514" y="248"/>
                  <a:pt x="511" y="250"/>
                  <a:pt x="509" y="250"/>
                </a:cubicBezTo>
                <a:cubicBezTo>
                  <a:pt x="510" y="249"/>
                  <a:pt x="514" y="248"/>
                  <a:pt x="516" y="247"/>
                </a:cubicBezTo>
                <a:close/>
                <a:moveTo>
                  <a:pt x="512" y="258"/>
                </a:moveTo>
                <a:cubicBezTo>
                  <a:pt x="512" y="255"/>
                  <a:pt x="516" y="256"/>
                  <a:pt x="516" y="257"/>
                </a:cubicBezTo>
                <a:cubicBezTo>
                  <a:pt x="517" y="258"/>
                  <a:pt x="512" y="260"/>
                  <a:pt x="512" y="258"/>
                </a:cubicBezTo>
                <a:close/>
                <a:moveTo>
                  <a:pt x="517" y="268"/>
                </a:moveTo>
                <a:cubicBezTo>
                  <a:pt x="516" y="269"/>
                  <a:pt x="517" y="268"/>
                  <a:pt x="517" y="268"/>
                </a:cubicBezTo>
                <a:cubicBezTo>
                  <a:pt x="517" y="268"/>
                  <a:pt x="517" y="268"/>
                  <a:pt x="517" y="268"/>
                </a:cubicBezTo>
                <a:close/>
                <a:moveTo>
                  <a:pt x="517" y="247"/>
                </a:moveTo>
                <a:cubicBezTo>
                  <a:pt x="517" y="247"/>
                  <a:pt x="517" y="247"/>
                  <a:pt x="517" y="247"/>
                </a:cubicBezTo>
                <a:cubicBezTo>
                  <a:pt x="518" y="247"/>
                  <a:pt x="517" y="247"/>
                  <a:pt x="517" y="247"/>
                </a:cubicBezTo>
                <a:close/>
                <a:moveTo>
                  <a:pt x="518" y="154"/>
                </a:moveTo>
                <a:cubicBezTo>
                  <a:pt x="517" y="151"/>
                  <a:pt x="524" y="153"/>
                  <a:pt x="524" y="154"/>
                </a:cubicBezTo>
                <a:cubicBezTo>
                  <a:pt x="524" y="154"/>
                  <a:pt x="523" y="155"/>
                  <a:pt x="523" y="155"/>
                </a:cubicBezTo>
                <a:cubicBezTo>
                  <a:pt x="523" y="156"/>
                  <a:pt x="522" y="158"/>
                  <a:pt x="521" y="156"/>
                </a:cubicBezTo>
                <a:cubicBezTo>
                  <a:pt x="521" y="156"/>
                  <a:pt x="521" y="155"/>
                  <a:pt x="521" y="155"/>
                </a:cubicBezTo>
                <a:cubicBezTo>
                  <a:pt x="520" y="155"/>
                  <a:pt x="518" y="155"/>
                  <a:pt x="518" y="154"/>
                </a:cubicBezTo>
                <a:close/>
                <a:moveTo>
                  <a:pt x="518" y="188"/>
                </a:moveTo>
                <a:cubicBezTo>
                  <a:pt x="518" y="186"/>
                  <a:pt x="524" y="185"/>
                  <a:pt x="524" y="188"/>
                </a:cubicBezTo>
                <a:cubicBezTo>
                  <a:pt x="524" y="190"/>
                  <a:pt x="519" y="190"/>
                  <a:pt x="518" y="188"/>
                </a:cubicBezTo>
                <a:close/>
                <a:moveTo>
                  <a:pt x="522" y="286"/>
                </a:moveTo>
                <a:cubicBezTo>
                  <a:pt x="522" y="285"/>
                  <a:pt x="522" y="285"/>
                  <a:pt x="522" y="285"/>
                </a:cubicBezTo>
                <a:cubicBezTo>
                  <a:pt x="523" y="285"/>
                  <a:pt x="522" y="286"/>
                  <a:pt x="522" y="286"/>
                </a:cubicBezTo>
                <a:close/>
                <a:moveTo>
                  <a:pt x="521" y="231"/>
                </a:moveTo>
                <a:cubicBezTo>
                  <a:pt x="518" y="232"/>
                  <a:pt x="522" y="229"/>
                  <a:pt x="523" y="228"/>
                </a:cubicBezTo>
                <a:cubicBezTo>
                  <a:pt x="524" y="226"/>
                  <a:pt x="526" y="223"/>
                  <a:pt x="528" y="220"/>
                </a:cubicBezTo>
                <a:cubicBezTo>
                  <a:pt x="528" y="221"/>
                  <a:pt x="527" y="221"/>
                  <a:pt x="527" y="220"/>
                </a:cubicBezTo>
                <a:cubicBezTo>
                  <a:pt x="527" y="220"/>
                  <a:pt x="528" y="220"/>
                  <a:pt x="528" y="220"/>
                </a:cubicBezTo>
                <a:cubicBezTo>
                  <a:pt x="528" y="220"/>
                  <a:pt x="528" y="220"/>
                  <a:pt x="528" y="220"/>
                </a:cubicBezTo>
                <a:cubicBezTo>
                  <a:pt x="529" y="219"/>
                  <a:pt x="529" y="218"/>
                  <a:pt x="530" y="218"/>
                </a:cubicBezTo>
                <a:cubicBezTo>
                  <a:pt x="530" y="218"/>
                  <a:pt x="531" y="218"/>
                  <a:pt x="531" y="218"/>
                </a:cubicBezTo>
                <a:cubicBezTo>
                  <a:pt x="531" y="218"/>
                  <a:pt x="529" y="220"/>
                  <a:pt x="528" y="222"/>
                </a:cubicBezTo>
                <a:cubicBezTo>
                  <a:pt x="527" y="223"/>
                  <a:pt x="523" y="230"/>
                  <a:pt x="521" y="231"/>
                </a:cubicBezTo>
                <a:close/>
                <a:moveTo>
                  <a:pt x="530" y="232"/>
                </a:moveTo>
                <a:cubicBezTo>
                  <a:pt x="530" y="232"/>
                  <a:pt x="530" y="232"/>
                  <a:pt x="531" y="232"/>
                </a:cubicBezTo>
                <a:cubicBezTo>
                  <a:pt x="531" y="232"/>
                  <a:pt x="530" y="233"/>
                  <a:pt x="530" y="232"/>
                </a:cubicBezTo>
                <a:close/>
                <a:moveTo>
                  <a:pt x="530" y="268"/>
                </a:move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lose/>
                <a:moveTo>
                  <a:pt x="530" y="256"/>
                </a:moveTo>
                <a:cubicBezTo>
                  <a:pt x="530" y="256"/>
                  <a:pt x="531" y="255"/>
                  <a:pt x="531" y="256"/>
                </a:cubicBezTo>
                <a:cubicBezTo>
                  <a:pt x="532" y="258"/>
                  <a:pt x="529" y="258"/>
                  <a:pt x="530" y="256"/>
                </a:cubicBezTo>
                <a:close/>
                <a:moveTo>
                  <a:pt x="533" y="312"/>
                </a:moveTo>
                <a:cubicBezTo>
                  <a:pt x="533" y="311"/>
                  <a:pt x="533" y="310"/>
                  <a:pt x="534" y="310"/>
                </a:cubicBezTo>
                <a:cubicBezTo>
                  <a:pt x="536" y="308"/>
                  <a:pt x="535" y="313"/>
                  <a:pt x="533" y="312"/>
                </a:cubicBezTo>
                <a:close/>
                <a:moveTo>
                  <a:pt x="533" y="230"/>
                </a:moveTo>
                <a:cubicBezTo>
                  <a:pt x="534" y="229"/>
                  <a:pt x="535" y="232"/>
                  <a:pt x="533" y="231"/>
                </a:cubicBezTo>
                <a:cubicBezTo>
                  <a:pt x="533" y="231"/>
                  <a:pt x="533" y="230"/>
                  <a:pt x="533" y="230"/>
                </a:cubicBezTo>
                <a:close/>
                <a:moveTo>
                  <a:pt x="531" y="215"/>
                </a:moveTo>
                <a:cubicBezTo>
                  <a:pt x="530" y="213"/>
                  <a:pt x="535" y="211"/>
                  <a:pt x="535" y="214"/>
                </a:cubicBezTo>
                <a:cubicBezTo>
                  <a:pt x="535" y="215"/>
                  <a:pt x="531" y="217"/>
                  <a:pt x="531" y="215"/>
                </a:cubicBezTo>
                <a:close/>
                <a:moveTo>
                  <a:pt x="530" y="135"/>
                </a:moveTo>
                <a:cubicBezTo>
                  <a:pt x="532" y="134"/>
                  <a:pt x="534" y="133"/>
                  <a:pt x="536" y="131"/>
                </a:cubicBezTo>
                <a:cubicBezTo>
                  <a:pt x="535" y="134"/>
                  <a:pt x="532" y="134"/>
                  <a:pt x="530" y="135"/>
                </a:cubicBezTo>
                <a:close/>
                <a:moveTo>
                  <a:pt x="598" y="198"/>
                </a:moveTo>
                <a:cubicBezTo>
                  <a:pt x="598" y="198"/>
                  <a:pt x="597" y="199"/>
                  <a:pt x="597" y="199"/>
                </a:cubicBezTo>
                <a:cubicBezTo>
                  <a:pt x="596" y="198"/>
                  <a:pt x="598" y="198"/>
                  <a:pt x="598" y="198"/>
                </a:cubicBezTo>
                <a:close/>
                <a:moveTo>
                  <a:pt x="596" y="204"/>
                </a:moveTo>
                <a:cubicBezTo>
                  <a:pt x="598" y="202"/>
                  <a:pt x="597" y="205"/>
                  <a:pt x="596" y="205"/>
                </a:cubicBezTo>
                <a:cubicBezTo>
                  <a:pt x="596" y="204"/>
                  <a:pt x="596" y="204"/>
                  <a:pt x="596" y="204"/>
                </a:cubicBezTo>
                <a:close/>
                <a:moveTo>
                  <a:pt x="596" y="235"/>
                </a:moveTo>
                <a:cubicBezTo>
                  <a:pt x="597" y="235"/>
                  <a:pt x="598" y="234"/>
                  <a:pt x="598" y="235"/>
                </a:cubicBezTo>
                <a:cubicBezTo>
                  <a:pt x="601" y="237"/>
                  <a:pt x="594" y="238"/>
                  <a:pt x="596" y="235"/>
                </a:cubicBezTo>
                <a:close/>
                <a:moveTo>
                  <a:pt x="599" y="282"/>
                </a:moveTo>
                <a:cubicBezTo>
                  <a:pt x="598" y="284"/>
                  <a:pt x="597" y="283"/>
                  <a:pt x="599" y="282"/>
                </a:cubicBezTo>
                <a:close/>
                <a:moveTo>
                  <a:pt x="594" y="323"/>
                </a:moveTo>
                <a:cubicBezTo>
                  <a:pt x="594" y="322"/>
                  <a:pt x="595" y="322"/>
                  <a:pt x="595" y="322"/>
                </a:cubicBezTo>
                <a:cubicBezTo>
                  <a:pt x="597" y="323"/>
                  <a:pt x="593" y="325"/>
                  <a:pt x="594" y="323"/>
                </a:cubicBezTo>
                <a:close/>
                <a:moveTo>
                  <a:pt x="596" y="370"/>
                </a:moveTo>
                <a:cubicBezTo>
                  <a:pt x="597" y="370"/>
                  <a:pt x="594" y="371"/>
                  <a:pt x="596" y="370"/>
                </a:cubicBezTo>
                <a:close/>
                <a:moveTo>
                  <a:pt x="594" y="263"/>
                </a:moveTo>
                <a:cubicBezTo>
                  <a:pt x="595" y="262"/>
                  <a:pt x="596" y="264"/>
                  <a:pt x="594" y="263"/>
                </a:cubicBezTo>
                <a:close/>
                <a:moveTo>
                  <a:pt x="594" y="231"/>
                </a:moveTo>
                <a:cubicBezTo>
                  <a:pt x="595" y="231"/>
                  <a:pt x="594" y="232"/>
                  <a:pt x="594" y="231"/>
                </a:cubicBezTo>
                <a:cubicBezTo>
                  <a:pt x="594" y="231"/>
                  <a:pt x="594" y="231"/>
                  <a:pt x="594" y="231"/>
                </a:cubicBezTo>
                <a:close/>
                <a:moveTo>
                  <a:pt x="592" y="198"/>
                </a:moveTo>
                <a:cubicBezTo>
                  <a:pt x="594" y="196"/>
                  <a:pt x="594" y="199"/>
                  <a:pt x="592" y="198"/>
                </a:cubicBezTo>
                <a:close/>
                <a:moveTo>
                  <a:pt x="594" y="244"/>
                </a:moveTo>
                <a:cubicBezTo>
                  <a:pt x="594" y="245"/>
                  <a:pt x="593" y="245"/>
                  <a:pt x="591" y="246"/>
                </a:cubicBezTo>
                <a:cubicBezTo>
                  <a:pt x="592" y="245"/>
                  <a:pt x="593" y="244"/>
                  <a:pt x="594" y="244"/>
                </a:cubicBezTo>
                <a:close/>
                <a:moveTo>
                  <a:pt x="589" y="200"/>
                </a:moveTo>
                <a:cubicBezTo>
                  <a:pt x="590" y="201"/>
                  <a:pt x="588" y="202"/>
                  <a:pt x="588" y="202"/>
                </a:cubicBezTo>
                <a:cubicBezTo>
                  <a:pt x="588" y="201"/>
                  <a:pt x="589" y="201"/>
                  <a:pt x="589" y="200"/>
                </a:cubicBezTo>
                <a:close/>
                <a:moveTo>
                  <a:pt x="591" y="200"/>
                </a:moveTo>
                <a:cubicBezTo>
                  <a:pt x="590" y="203"/>
                  <a:pt x="589" y="206"/>
                  <a:pt x="586" y="208"/>
                </a:cubicBezTo>
                <a:cubicBezTo>
                  <a:pt x="588" y="206"/>
                  <a:pt x="589" y="203"/>
                  <a:pt x="591" y="200"/>
                </a:cubicBezTo>
                <a:close/>
                <a:moveTo>
                  <a:pt x="590" y="339"/>
                </a:moveTo>
                <a:cubicBezTo>
                  <a:pt x="591" y="338"/>
                  <a:pt x="590" y="340"/>
                  <a:pt x="590" y="339"/>
                </a:cubicBezTo>
                <a:close/>
                <a:moveTo>
                  <a:pt x="590" y="246"/>
                </a:moveTo>
                <a:cubicBezTo>
                  <a:pt x="591" y="246"/>
                  <a:pt x="591" y="246"/>
                  <a:pt x="590" y="246"/>
                </a:cubicBezTo>
                <a:close/>
                <a:moveTo>
                  <a:pt x="590" y="246"/>
                </a:moveTo>
                <a:cubicBezTo>
                  <a:pt x="590" y="246"/>
                  <a:pt x="590" y="247"/>
                  <a:pt x="590" y="247"/>
                </a:cubicBezTo>
                <a:cubicBezTo>
                  <a:pt x="590" y="247"/>
                  <a:pt x="590" y="247"/>
                  <a:pt x="590" y="247"/>
                </a:cubicBezTo>
                <a:cubicBezTo>
                  <a:pt x="590" y="247"/>
                  <a:pt x="590" y="247"/>
                  <a:pt x="590" y="246"/>
                </a:cubicBezTo>
                <a:close/>
                <a:moveTo>
                  <a:pt x="587" y="206"/>
                </a:moveTo>
                <a:cubicBezTo>
                  <a:pt x="587" y="206"/>
                  <a:pt x="586" y="205"/>
                  <a:pt x="586" y="205"/>
                </a:cubicBezTo>
                <a:cubicBezTo>
                  <a:pt x="587" y="204"/>
                  <a:pt x="587" y="208"/>
                  <a:pt x="587" y="206"/>
                </a:cubicBezTo>
                <a:close/>
                <a:moveTo>
                  <a:pt x="586" y="210"/>
                </a:moveTo>
                <a:cubicBezTo>
                  <a:pt x="587" y="211"/>
                  <a:pt x="585" y="212"/>
                  <a:pt x="585" y="213"/>
                </a:cubicBezTo>
                <a:cubicBezTo>
                  <a:pt x="584" y="212"/>
                  <a:pt x="586" y="210"/>
                  <a:pt x="586" y="210"/>
                </a:cubicBezTo>
                <a:close/>
                <a:moveTo>
                  <a:pt x="585" y="229"/>
                </a:moveTo>
                <a:cubicBezTo>
                  <a:pt x="586" y="228"/>
                  <a:pt x="585" y="230"/>
                  <a:pt x="584" y="230"/>
                </a:cubicBezTo>
                <a:cubicBezTo>
                  <a:pt x="584" y="230"/>
                  <a:pt x="585" y="229"/>
                  <a:pt x="585" y="229"/>
                </a:cubicBezTo>
                <a:close/>
                <a:moveTo>
                  <a:pt x="584" y="214"/>
                </a:moveTo>
                <a:cubicBezTo>
                  <a:pt x="584" y="212"/>
                  <a:pt x="585" y="214"/>
                  <a:pt x="584" y="214"/>
                </a:cubicBezTo>
                <a:close/>
                <a:moveTo>
                  <a:pt x="583" y="250"/>
                </a:moveTo>
                <a:cubicBezTo>
                  <a:pt x="583" y="250"/>
                  <a:pt x="583" y="251"/>
                  <a:pt x="582" y="251"/>
                </a:cubicBezTo>
                <a:cubicBezTo>
                  <a:pt x="582" y="251"/>
                  <a:pt x="581" y="251"/>
                  <a:pt x="581" y="251"/>
                </a:cubicBezTo>
                <a:cubicBezTo>
                  <a:pt x="582" y="251"/>
                  <a:pt x="583" y="251"/>
                  <a:pt x="583" y="250"/>
                </a:cubicBezTo>
                <a:close/>
                <a:moveTo>
                  <a:pt x="579" y="195"/>
                </a:moveTo>
                <a:cubicBezTo>
                  <a:pt x="578" y="194"/>
                  <a:pt x="581" y="195"/>
                  <a:pt x="579" y="195"/>
                </a:cubicBezTo>
                <a:close/>
                <a:moveTo>
                  <a:pt x="578" y="186"/>
                </a:moveTo>
                <a:cubicBezTo>
                  <a:pt x="578" y="188"/>
                  <a:pt x="573" y="190"/>
                  <a:pt x="572" y="187"/>
                </a:cubicBezTo>
                <a:cubicBezTo>
                  <a:pt x="571" y="184"/>
                  <a:pt x="579" y="182"/>
                  <a:pt x="578" y="186"/>
                </a:cubicBezTo>
                <a:close/>
                <a:moveTo>
                  <a:pt x="576" y="196"/>
                </a:moveTo>
                <a:cubicBezTo>
                  <a:pt x="576" y="196"/>
                  <a:pt x="576" y="196"/>
                  <a:pt x="576" y="196"/>
                </a:cubicBezTo>
                <a:cubicBezTo>
                  <a:pt x="577" y="198"/>
                  <a:pt x="574" y="195"/>
                  <a:pt x="576" y="196"/>
                </a:cubicBezTo>
                <a:close/>
                <a:moveTo>
                  <a:pt x="573" y="191"/>
                </a:moveTo>
                <a:cubicBezTo>
                  <a:pt x="572" y="191"/>
                  <a:pt x="571" y="192"/>
                  <a:pt x="570" y="192"/>
                </a:cubicBezTo>
                <a:cubicBezTo>
                  <a:pt x="570" y="191"/>
                  <a:pt x="573" y="190"/>
                  <a:pt x="573" y="191"/>
                </a:cubicBezTo>
                <a:close/>
                <a:moveTo>
                  <a:pt x="565" y="201"/>
                </a:moveTo>
                <a:cubicBezTo>
                  <a:pt x="565" y="202"/>
                  <a:pt x="563" y="202"/>
                  <a:pt x="563" y="201"/>
                </a:cubicBezTo>
                <a:cubicBezTo>
                  <a:pt x="563" y="200"/>
                  <a:pt x="564" y="200"/>
                  <a:pt x="565" y="201"/>
                </a:cubicBezTo>
                <a:close/>
                <a:moveTo>
                  <a:pt x="569" y="202"/>
                </a:moveTo>
                <a:cubicBezTo>
                  <a:pt x="568" y="201"/>
                  <a:pt x="562" y="207"/>
                  <a:pt x="562" y="205"/>
                </a:cubicBezTo>
                <a:cubicBezTo>
                  <a:pt x="562" y="204"/>
                  <a:pt x="567" y="200"/>
                  <a:pt x="569" y="202"/>
                </a:cubicBezTo>
                <a:close/>
                <a:moveTo>
                  <a:pt x="563" y="247"/>
                </a:moveTo>
                <a:cubicBezTo>
                  <a:pt x="563" y="247"/>
                  <a:pt x="561" y="248"/>
                  <a:pt x="561" y="248"/>
                </a:cubicBezTo>
                <a:cubicBezTo>
                  <a:pt x="560" y="247"/>
                  <a:pt x="562" y="245"/>
                  <a:pt x="563" y="247"/>
                </a:cubicBezTo>
                <a:close/>
                <a:moveTo>
                  <a:pt x="562" y="189"/>
                </a:moveTo>
                <a:cubicBezTo>
                  <a:pt x="563" y="190"/>
                  <a:pt x="560" y="191"/>
                  <a:pt x="560" y="190"/>
                </a:cubicBezTo>
                <a:cubicBezTo>
                  <a:pt x="560" y="189"/>
                  <a:pt x="562" y="189"/>
                  <a:pt x="562" y="189"/>
                </a:cubicBezTo>
                <a:close/>
                <a:moveTo>
                  <a:pt x="560" y="205"/>
                </a:moveTo>
                <a:cubicBezTo>
                  <a:pt x="563" y="203"/>
                  <a:pt x="562" y="209"/>
                  <a:pt x="560" y="207"/>
                </a:cubicBezTo>
                <a:cubicBezTo>
                  <a:pt x="558" y="207"/>
                  <a:pt x="560" y="205"/>
                  <a:pt x="560" y="205"/>
                </a:cubicBezTo>
                <a:close/>
                <a:moveTo>
                  <a:pt x="560" y="264"/>
                </a:moveTo>
                <a:cubicBezTo>
                  <a:pt x="562" y="263"/>
                  <a:pt x="559" y="266"/>
                  <a:pt x="560" y="264"/>
                </a:cubicBezTo>
                <a:cubicBezTo>
                  <a:pt x="560" y="264"/>
                  <a:pt x="560" y="264"/>
                  <a:pt x="560" y="264"/>
                </a:cubicBezTo>
                <a:close/>
                <a:moveTo>
                  <a:pt x="556" y="180"/>
                </a:moveTo>
                <a:cubicBezTo>
                  <a:pt x="557" y="181"/>
                  <a:pt x="555" y="182"/>
                  <a:pt x="555" y="181"/>
                </a:cubicBezTo>
                <a:cubicBezTo>
                  <a:pt x="555" y="181"/>
                  <a:pt x="556" y="181"/>
                  <a:pt x="556" y="180"/>
                </a:cubicBezTo>
                <a:close/>
                <a:moveTo>
                  <a:pt x="554" y="138"/>
                </a:moveTo>
                <a:cubicBezTo>
                  <a:pt x="554" y="138"/>
                  <a:pt x="555" y="138"/>
                  <a:pt x="555" y="138"/>
                </a:cubicBezTo>
                <a:cubicBezTo>
                  <a:pt x="555" y="140"/>
                  <a:pt x="552" y="136"/>
                  <a:pt x="554" y="138"/>
                </a:cubicBezTo>
                <a:close/>
                <a:moveTo>
                  <a:pt x="555" y="219"/>
                </a:moveTo>
                <a:cubicBezTo>
                  <a:pt x="555" y="219"/>
                  <a:pt x="554" y="221"/>
                  <a:pt x="553" y="221"/>
                </a:cubicBezTo>
                <a:cubicBezTo>
                  <a:pt x="553" y="220"/>
                  <a:pt x="554" y="218"/>
                  <a:pt x="555" y="219"/>
                </a:cubicBezTo>
                <a:close/>
                <a:moveTo>
                  <a:pt x="553" y="245"/>
                </a:moveTo>
                <a:cubicBezTo>
                  <a:pt x="554" y="245"/>
                  <a:pt x="552" y="246"/>
                  <a:pt x="552" y="245"/>
                </a:cubicBezTo>
                <a:cubicBezTo>
                  <a:pt x="552" y="244"/>
                  <a:pt x="553" y="244"/>
                  <a:pt x="553" y="245"/>
                </a:cubicBezTo>
                <a:close/>
                <a:moveTo>
                  <a:pt x="552" y="182"/>
                </a:move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lose/>
                <a:moveTo>
                  <a:pt x="552" y="133"/>
                </a:moveTo>
                <a:cubicBezTo>
                  <a:pt x="552" y="133"/>
                  <a:pt x="551" y="135"/>
                  <a:pt x="551" y="134"/>
                </a:cubicBezTo>
                <a:cubicBezTo>
                  <a:pt x="550" y="133"/>
                  <a:pt x="552" y="133"/>
                  <a:pt x="552" y="133"/>
                </a:cubicBezTo>
                <a:close/>
                <a:moveTo>
                  <a:pt x="552" y="158"/>
                </a:moveTo>
                <a:cubicBezTo>
                  <a:pt x="552" y="159"/>
                  <a:pt x="550" y="160"/>
                  <a:pt x="550" y="159"/>
                </a:cubicBezTo>
                <a:cubicBezTo>
                  <a:pt x="550" y="158"/>
                  <a:pt x="551" y="158"/>
                  <a:pt x="552" y="158"/>
                </a:cubicBezTo>
                <a:close/>
                <a:moveTo>
                  <a:pt x="552" y="177"/>
                </a:moveTo>
                <a:cubicBezTo>
                  <a:pt x="552" y="179"/>
                  <a:pt x="548" y="179"/>
                  <a:pt x="548" y="177"/>
                </a:cubicBezTo>
                <a:cubicBezTo>
                  <a:pt x="548" y="176"/>
                  <a:pt x="551" y="175"/>
                  <a:pt x="552" y="177"/>
                </a:cubicBezTo>
                <a:close/>
                <a:moveTo>
                  <a:pt x="547" y="170"/>
                </a:moveTo>
                <a:cubicBezTo>
                  <a:pt x="548" y="170"/>
                  <a:pt x="547" y="171"/>
                  <a:pt x="546" y="171"/>
                </a:cubicBezTo>
                <a:cubicBezTo>
                  <a:pt x="546" y="170"/>
                  <a:pt x="547" y="170"/>
                  <a:pt x="547" y="170"/>
                </a:cubicBezTo>
                <a:close/>
                <a:moveTo>
                  <a:pt x="547" y="166"/>
                </a:moveTo>
                <a:cubicBezTo>
                  <a:pt x="548" y="167"/>
                  <a:pt x="547" y="165"/>
                  <a:pt x="547" y="166"/>
                </a:cubicBezTo>
                <a:close/>
                <a:moveTo>
                  <a:pt x="548" y="133"/>
                </a:moveTo>
                <a:cubicBezTo>
                  <a:pt x="548" y="134"/>
                  <a:pt x="547" y="134"/>
                  <a:pt x="546" y="134"/>
                </a:cubicBezTo>
                <a:cubicBezTo>
                  <a:pt x="546" y="133"/>
                  <a:pt x="547" y="134"/>
                  <a:pt x="548" y="133"/>
                </a:cubicBezTo>
                <a:close/>
                <a:moveTo>
                  <a:pt x="547" y="176"/>
                </a:moveTo>
                <a:cubicBezTo>
                  <a:pt x="547" y="177"/>
                  <a:pt x="545" y="176"/>
                  <a:pt x="547" y="176"/>
                </a:cubicBezTo>
                <a:close/>
                <a:moveTo>
                  <a:pt x="546" y="168"/>
                </a:moveTo>
                <a:cubicBezTo>
                  <a:pt x="546" y="169"/>
                  <a:pt x="544" y="170"/>
                  <a:pt x="544" y="168"/>
                </a:cubicBezTo>
                <a:cubicBezTo>
                  <a:pt x="545" y="168"/>
                  <a:pt x="545" y="168"/>
                  <a:pt x="546" y="168"/>
                </a:cubicBezTo>
                <a:close/>
                <a:moveTo>
                  <a:pt x="545" y="141"/>
                </a:moveTo>
                <a:cubicBezTo>
                  <a:pt x="546" y="143"/>
                  <a:pt x="542" y="142"/>
                  <a:pt x="542" y="141"/>
                </a:cubicBezTo>
                <a:cubicBezTo>
                  <a:pt x="543" y="140"/>
                  <a:pt x="545" y="140"/>
                  <a:pt x="545" y="141"/>
                </a:cubicBezTo>
                <a:close/>
                <a:moveTo>
                  <a:pt x="540" y="150"/>
                </a:moveTo>
                <a:cubicBezTo>
                  <a:pt x="540" y="150"/>
                  <a:pt x="538" y="151"/>
                  <a:pt x="537" y="150"/>
                </a:cubicBezTo>
                <a:cubicBezTo>
                  <a:pt x="537" y="149"/>
                  <a:pt x="539" y="148"/>
                  <a:pt x="540" y="150"/>
                </a:cubicBezTo>
                <a:close/>
                <a:moveTo>
                  <a:pt x="537" y="158"/>
                </a:moveTo>
                <a:cubicBezTo>
                  <a:pt x="537" y="158"/>
                  <a:pt x="538" y="157"/>
                  <a:pt x="538" y="157"/>
                </a:cubicBezTo>
                <a:cubicBezTo>
                  <a:pt x="539" y="157"/>
                  <a:pt x="537" y="159"/>
                  <a:pt x="537" y="158"/>
                </a:cubicBezTo>
                <a:close/>
                <a:moveTo>
                  <a:pt x="538" y="165"/>
                </a:moveTo>
                <a:cubicBezTo>
                  <a:pt x="538" y="165"/>
                  <a:pt x="540" y="163"/>
                  <a:pt x="540" y="165"/>
                </a:cubicBezTo>
                <a:cubicBezTo>
                  <a:pt x="540" y="164"/>
                  <a:pt x="539" y="166"/>
                  <a:pt x="538" y="165"/>
                </a:cubicBezTo>
                <a:close/>
                <a:moveTo>
                  <a:pt x="540" y="214"/>
                </a:moveTo>
                <a:cubicBezTo>
                  <a:pt x="541" y="215"/>
                  <a:pt x="540" y="215"/>
                  <a:pt x="540" y="215"/>
                </a:cubicBezTo>
                <a:cubicBezTo>
                  <a:pt x="539" y="214"/>
                  <a:pt x="540" y="214"/>
                  <a:pt x="540" y="214"/>
                </a:cubicBezTo>
                <a:close/>
                <a:moveTo>
                  <a:pt x="541" y="291"/>
                </a:moveTo>
                <a:cubicBezTo>
                  <a:pt x="540" y="291"/>
                  <a:pt x="539" y="291"/>
                  <a:pt x="540" y="290"/>
                </a:cubicBezTo>
                <a:cubicBezTo>
                  <a:pt x="540" y="289"/>
                  <a:pt x="541" y="290"/>
                  <a:pt x="541" y="291"/>
                </a:cubicBezTo>
                <a:close/>
                <a:moveTo>
                  <a:pt x="541" y="212"/>
                </a:moveTo>
                <a:cubicBezTo>
                  <a:pt x="541" y="212"/>
                  <a:pt x="541" y="212"/>
                  <a:pt x="541" y="212"/>
                </a:cubicBezTo>
                <a:cubicBezTo>
                  <a:pt x="541" y="212"/>
                  <a:pt x="541" y="212"/>
                  <a:pt x="541" y="212"/>
                </a:cubicBezTo>
                <a:cubicBezTo>
                  <a:pt x="540" y="212"/>
                  <a:pt x="540" y="211"/>
                  <a:pt x="541" y="210"/>
                </a:cubicBezTo>
                <a:cubicBezTo>
                  <a:pt x="542" y="209"/>
                  <a:pt x="542" y="210"/>
                  <a:pt x="542" y="211"/>
                </a:cubicBezTo>
                <a:cubicBezTo>
                  <a:pt x="543" y="211"/>
                  <a:pt x="544" y="211"/>
                  <a:pt x="544" y="210"/>
                </a:cubicBezTo>
                <a:cubicBezTo>
                  <a:pt x="545" y="210"/>
                  <a:pt x="550" y="204"/>
                  <a:pt x="551" y="205"/>
                </a:cubicBezTo>
                <a:cubicBezTo>
                  <a:pt x="553" y="207"/>
                  <a:pt x="544" y="211"/>
                  <a:pt x="543" y="212"/>
                </a:cubicBezTo>
                <a:cubicBezTo>
                  <a:pt x="542" y="212"/>
                  <a:pt x="542" y="214"/>
                  <a:pt x="541" y="212"/>
                </a:cubicBezTo>
                <a:close/>
                <a:moveTo>
                  <a:pt x="549" y="242"/>
                </a:moveTo>
                <a:cubicBezTo>
                  <a:pt x="549" y="242"/>
                  <a:pt x="547" y="242"/>
                  <a:pt x="547" y="241"/>
                </a:cubicBezTo>
                <a:cubicBezTo>
                  <a:pt x="547" y="241"/>
                  <a:pt x="549" y="240"/>
                  <a:pt x="549" y="242"/>
                </a:cubicBezTo>
                <a:close/>
                <a:moveTo>
                  <a:pt x="543" y="245"/>
                </a:moveTo>
                <a:cubicBezTo>
                  <a:pt x="544" y="247"/>
                  <a:pt x="541" y="246"/>
                  <a:pt x="543" y="245"/>
                </a:cubicBezTo>
                <a:close/>
                <a:moveTo>
                  <a:pt x="547" y="220"/>
                </a:moveTo>
                <a:cubicBezTo>
                  <a:pt x="546" y="220"/>
                  <a:pt x="546" y="220"/>
                  <a:pt x="546" y="220"/>
                </a:cubicBezTo>
                <a:cubicBezTo>
                  <a:pt x="545" y="220"/>
                  <a:pt x="547" y="219"/>
                  <a:pt x="547" y="220"/>
                </a:cubicBezTo>
                <a:close/>
                <a:moveTo>
                  <a:pt x="546" y="265"/>
                </a:moveTo>
                <a:cubicBezTo>
                  <a:pt x="546" y="265"/>
                  <a:pt x="547" y="264"/>
                  <a:pt x="547" y="264"/>
                </a:cubicBezTo>
                <a:cubicBezTo>
                  <a:pt x="547" y="265"/>
                  <a:pt x="546" y="266"/>
                  <a:pt x="546" y="265"/>
                </a:cubicBezTo>
                <a:close/>
                <a:moveTo>
                  <a:pt x="548" y="300"/>
                </a:moveTo>
                <a:cubicBezTo>
                  <a:pt x="548" y="299"/>
                  <a:pt x="548" y="299"/>
                  <a:pt x="548" y="299"/>
                </a:cubicBezTo>
                <a:cubicBezTo>
                  <a:pt x="549" y="299"/>
                  <a:pt x="548" y="301"/>
                  <a:pt x="548" y="300"/>
                </a:cubicBezTo>
                <a:close/>
                <a:moveTo>
                  <a:pt x="547" y="280"/>
                </a:moveTo>
                <a:cubicBezTo>
                  <a:pt x="549" y="276"/>
                  <a:pt x="551" y="272"/>
                  <a:pt x="552" y="269"/>
                </a:cubicBezTo>
                <a:cubicBezTo>
                  <a:pt x="552" y="271"/>
                  <a:pt x="549" y="278"/>
                  <a:pt x="547" y="280"/>
                </a:cubicBezTo>
                <a:close/>
                <a:moveTo>
                  <a:pt x="553" y="329"/>
                </a:moveTo>
                <a:cubicBezTo>
                  <a:pt x="553" y="329"/>
                  <a:pt x="553" y="329"/>
                  <a:pt x="553" y="329"/>
                </a:cubicBezTo>
                <a:cubicBezTo>
                  <a:pt x="553" y="329"/>
                  <a:pt x="553" y="329"/>
                  <a:pt x="553" y="329"/>
                </a:cubicBezTo>
                <a:close/>
                <a:moveTo>
                  <a:pt x="551" y="261"/>
                </a:moveTo>
                <a:cubicBezTo>
                  <a:pt x="553" y="257"/>
                  <a:pt x="553" y="254"/>
                  <a:pt x="555" y="252"/>
                </a:cubicBezTo>
                <a:cubicBezTo>
                  <a:pt x="554" y="254"/>
                  <a:pt x="553" y="259"/>
                  <a:pt x="551" y="261"/>
                </a:cubicBezTo>
                <a:close/>
                <a:moveTo>
                  <a:pt x="554" y="222"/>
                </a:moveTo>
                <a:cubicBezTo>
                  <a:pt x="555" y="221"/>
                  <a:pt x="556" y="222"/>
                  <a:pt x="554" y="222"/>
                </a:cubicBezTo>
                <a:close/>
                <a:moveTo>
                  <a:pt x="554" y="184"/>
                </a:moveTo>
                <a:cubicBezTo>
                  <a:pt x="554" y="183"/>
                  <a:pt x="556" y="182"/>
                  <a:pt x="556" y="183"/>
                </a:cubicBezTo>
                <a:cubicBezTo>
                  <a:pt x="556" y="185"/>
                  <a:pt x="554" y="185"/>
                  <a:pt x="554" y="184"/>
                </a:cubicBezTo>
                <a:close/>
                <a:moveTo>
                  <a:pt x="557" y="285"/>
                </a:moveTo>
                <a:cubicBezTo>
                  <a:pt x="557" y="283"/>
                  <a:pt x="556" y="286"/>
                  <a:pt x="557" y="285"/>
                </a:cubicBezTo>
                <a:close/>
                <a:moveTo>
                  <a:pt x="560" y="320"/>
                </a:moveTo>
                <a:cubicBezTo>
                  <a:pt x="560" y="321"/>
                  <a:pt x="561" y="319"/>
                  <a:pt x="560" y="320"/>
                </a:cubicBezTo>
                <a:close/>
                <a:moveTo>
                  <a:pt x="557" y="283"/>
                </a:moveTo>
                <a:cubicBezTo>
                  <a:pt x="556" y="281"/>
                  <a:pt x="561" y="279"/>
                  <a:pt x="561" y="281"/>
                </a:cubicBezTo>
                <a:cubicBezTo>
                  <a:pt x="562" y="283"/>
                  <a:pt x="558" y="284"/>
                  <a:pt x="557" y="283"/>
                </a:cubicBezTo>
                <a:close/>
                <a:moveTo>
                  <a:pt x="562" y="258"/>
                </a:moveTo>
                <a:cubicBezTo>
                  <a:pt x="562" y="258"/>
                  <a:pt x="563" y="257"/>
                  <a:pt x="563" y="257"/>
                </a:cubicBezTo>
                <a:cubicBezTo>
                  <a:pt x="564" y="258"/>
                  <a:pt x="561" y="259"/>
                  <a:pt x="562" y="258"/>
                </a:cubicBezTo>
                <a:close/>
                <a:moveTo>
                  <a:pt x="565" y="221"/>
                </a:moveTo>
                <a:cubicBezTo>
                  <a:pt x="564" y="221"/>
                  <a:pt x="564" y="219"/>
                  <a:pt x="565" y="220"/>
                </a:cubicBezTo>
                <a:cubicBezTo>
                  <a:pt x="565" y="220"/>
                  <a:pt x="565" y="221"/>
                  <a:pt x="565" y="221"/>
                </a:cubicBezTo>
                <a:close/>
                <a:moveTo>
                  <a:pt x="566" y="206"/>
                </a:moveTo>
                <a:cubicBezTo>
                  <a:pt x="565" y="211"/>
                  <a:pt x="567" y="204"/>
                  <a:pt x="568" y="203"/>
                </a:cubicBezTo>
                <a:cubicBezTo>
                  <a:pt x="569" y="202"/>
                  <a:pt x="574" y="202"/>
                  <a:pt x="576" y="203"/>
                </a:cubicBezTo>
                <a:cubicBezTo>
                  <a:pt x="579" y="205"/>
                  <a:pt x="577" y="210"/>
                  <a:pt x="574" y="212"/>
                </a:cubicBezTo>
                <a:cubicBezTo>
                  <a:pt x="573" y="213"/>
                  <a:pt x="570" y="213"/>
                  <a:pt x="569" y="213"/>
                </a:cubicBezTo>
                <a:cubicBezTo>
                  <a:pt x="566" y="214"/>
                  <a:pt x="567" y="214"/>
                  <a:pt x="565" y="212"/>
                </a:cubicBezTo>
                <a:cubicBezTo>
                  <a:pt x="562" y="210"/>
                  <a:pt x="562" y="205"/>
                  <a:pt x="566" y="206"/>
                </a:cubicBezTo>
                <a:close/>
                <a:moveTo>
                  <a:pt x="573" y="236"/>
                </a:moveTo>
                <a:cubicBezTo>
                  <a:pt x="575" y="234"/>
                  <a:pt x="572" y="237"/>
                  <a:pt x="573" y="236"/>
                </a:cubicBezTo>
                <a:close/>
                <a:moveTo>
                  <a:pt x="571" y="238"/>
                </a:moveTo>
                <a:cubicBezTo>
                  <a:pt x="573" y="236"/>
                  <a:pt x="569" y="239"/>
                  <a:pt x="571" y="238"/>
                </a:cubicBezTo>
                <a:close/>
                <a:moveTo>
                  <a:pt x="569" y="326"/>
                </a:moveTo>
                <a:cubicBezTo>
                  <a:pt x="568" y="326"/>
                  <a:pt x="569" y="325"/>
                  <a:pt x="569" y="325"/>
                </a:cubicBezTo>
                <a:cubicBezTo>
                  <a:pt x="570" y="324"/>
                  <a:pt x="570" y="327"/>
                  <a:pt x="569" y="326"/>
                </a:cubicBezTo>
                <a:close/>
                <a:moveTo>
                  <a:pt x="567" y="224"/>
                </a:moveTo>
                <a:cubicBezTo>
                  <a:pt x="566" y="223"/>
                  <a:pt x="567" y="222"/>
                  <a:pt x="567" y="222"/>
                </a:cubicBezTo>
                <a:cubicBezTo>
                  <a:pt x="568" y="222"/>
                  <a:pt x="567" y="223"/>
                  <a:pt x="567" y="224"/>
                </a:cubicBezTo>
                <a:close/>
                <a:moveTo>
                  <a:pt x="567" y="311"/>
                </a:moveTo>
                <a:cubicBezTo>
                  <a:pt x="568" y="312"/>
                  <a:pt x="566" y="312"/>
                  <a:pt x="567" y="311"/>
                </a:cubicBezTo>
                <a:close/>
                <a:moveTo>
                  <a:pt x="565" y="280"/>
                </a:moveTo>
                <a:cubicBezTo>
                  <a:pt x="565" y="277"/>
                  <a:pt x="567" y="277"/>
                  <a:pt x="565" y="280"/>
                </a:cubicBezTo>
                <a:close/>
                <a:moveTo>
                  <a:pt x="566" y="411"/>
                </a:moveTo>
                <a:cubicBezTo>
                  <a:pt x="568" y="409"/>
                  <a:pt x="569" y="406"/>
                  <a:pt x="572" y="405"/>
                </a:cubicBezTo>
                <a:cubicBezTo>
                  <a:pt x="570" y="407"/>
                  <a:pt x="568" y="410"/>
                  <a:pt x="566" y="411"/>
                </a:cubicBezTo>
                <a:close/>
                <a:moveTo>
                  <a:pt x="571" y="279"/>
                </a:moveTo>
                <a:cubicBezTo>
                  <a:pt x="571" y="279"/>
                  <a:pt x="573" y="279"/>
                  <a:pt x="572" y="279"/>
                </a:cubicBezTo>
                <a:cubicBezTo>
                  <a:pt x="572" y="280"/>
                  <a:pt x="571" y="280"/>
                  <a:pt x="571" y="279"/>
                </a:cubicBezTo>
                <a:close/>
                <a:moveTo>
                  <a:pt x="573" y="383"/>
                </a:moveTo>
                <a:cubicBezTo>
                  <a:pt x="571" y="382"/>
                  <a:pt x="573" y="380"/>
                  <a:pt x="574" y="379"/>
                </a:cubicBezTo>
                <a:cubicBezTo>
                  <a:pt x="577" y="377"/>
                  <a:pt x="575" y="384"/>
                  <a:pt x="573" y="383"/>
                </a:cubicBezTo>
                <a:close/>
                <a:moveTo>
                  <a:pt x="578" y="218"/>
                </a:moveTo>
                <a:cubicBezTo>
                  <a:pt x="583" y="216"/>
                  <a:pt x="584" y="224"/>
                  <a:pt x="580" y="226"/>
                </a:cubicBezTo>
                <a:cubicBezTo>
                  <a:pt x="573" y="230"/>
                  <a:pt x="572" y="220"/>
                  <a:pt x="578" y="218"/>
                </a:cubicBezTo>
                <a:close/>
                <a:moveTo>
                  <a:pt x="577" y="295"/>
                </a:moveTo>
                <a:cubicBezTo>
                  <a:pt x="577" y="295"/>
                  <a:pt x="577" y="295"/>
                  <a:pt x="577" y="296"/>
                </a:cubicBezTo>
                <a:cubicBezTo>
                  <a:pt x="576" y="296"/>
                  <a:pt x="577" y="295"/>
                  <a:pt x="577" y="295"/>
                </a:cubicBezTo>
                <a:close/>
                <a:moveTo>
                  <a:pt x="577" y="425"/>
                </a:moveTo>
                <a:cubicBezTo>
                  <a:pt x="576" y="426"/>
                  <a:pt x="578" y="423"/>
                  <a:pt x="577" y="425"/>
                </a:cubicBezTo>
                <a:close/>
                <a:moveTo>
                  <a:pt x="577" y="371"/>
                </a:moveTo>
                <a:cubicBezTo>
                  <a:pt x="576" y="370"/>
                  <a:pt x="578" y="370"/>
                  <a:pt x="577" y="371"/>
                </a:cubicBezTo>
                <a:close/>
                <a:moveTo>
                  <a:pt x="577" y="297"/>
                </a:moveTo>
                <a:cubicBezTo>
                  <a:pt x="578" y="296"/>
                  <a:pt x="578" y="297"/>
                  <a:pt x="578" y="297"/>
                </a:cubicBezTo>
                <a:cubicBezTo>
                  <a:pt x="579" y="299"/>
                  <a:pt x="576" y="297"/>
                  <a:pt x="577" y="297"/>
                </a:cubicBezTo>
                <a:close/>
                <a:moveTo>
                  <a:pt x="580" y="277"/>
                </a:moveTo>
                <a:cubicBezTo>
                  <a:pt x="580" y="277"/>
                  <a:pt x="580" y="277"/>
                  <a:pt x="580" y="277"/>
                </a:cubicBezTo>
                <a:cubicBezTo>
                  <a:pt x="581" y="277"/>
                  <a:pt x="579" y="278"/>
                  <a:pt x="580" y="277"/>
                </a:cubicBezTo>
                <a:close/>
                <a:moveTo>
                  <a:pt x="580" y="387"/>
                </a:moveTo>
                <a:cubicBezTo>
                  <a:pt x="580" y="386"/>
                  <a:pt x="582" y="385"/>
                  <a:pt x="582" y="384"/>
                </a:cubicBezTo>
                <a:cubicBezTo>
                  <a:pt x="583" y="385"/>
                  <a:pt x="581" y="386"/>
                  <a:pt x="580" y="387"/>
                </a:cubicBezTo>
                <a:close/>
                <a:moveTo>
                  <a:pt x="578" y="268"/>
                </a:moveTo>
                <a:cubicBezTo>
                  <a:pt x="578" y="266"/>
                  <a:pt x="584" y="266"/>
                  <a:pt x="582" y="269"/>
                </a:cubicBezTo>
                <a:cubicBezTo>
                  <a:pt x="582" y="271"/>
                  <a:pt x="578" y="270"/>
                  <a:pt x="578" y="268"/>
                </a:cubicBezTo>
                <a:close/>
                <a:moveTo>
                  <a:pt x="582" y="302"/>
                </a:moveTo>
                <a:cubicBezTo>
                  <a:pt x="582" y="302"/>
                  <a:pt x="582" y="301"/>
                  <a:pt x="583" y="301"/>
                </a:cubicBezTo>
                <a:cubicBezTo>
                  <a:pt x="585" y="299"/>
                  <a:pt x="584" y="304"/>
                  <a:pt x="582" y="302"/>
                </a:cubicBezTo>
                <a:close/>
                <a:moveTo>
                  <a:pt x="584" y="367"/>
                </a:moveTo>
                <a:cubicBezTo>
                  <a:pt x="584" y="369"/>
                  <a:pt x="582" y="368"/>
                  <a:pt x="584" y="367"/>
                </a:cubicBezTo>
                <a:close/>
                <a:moveTo>
                  <a:pt x="584" y="364"/>
                </a:moveTo>
                <a:cubicBezTo>
                  <a:pt x="584" y="363"/>
                  <a:pt x="584" y="363"/>
                  <a:pt x="585" y="363"/>
                </a:cubicBezTo>
                <a:cubicBezTo>
                  <a:pt x="586" y="363"/>
                  <a:pt x="583" y="365"/>
                  <a:pt x="584" y="364"/>
                </a:cubicBezTo>
                <a:close/>
                <a:moveTo>
                  <a:pt x="585" y="305"/>
                </a:moveTo>
                <a:cubicBezTo>
                  <a:pt x="585" y="305"/>
                  <a:pt x="586" y="304"/>
                  <a:pt x="586" y="305"/>
                </a:cubicBezTo>
                <a:cubicBezTo>
                  <a:pt x="587" y="305"/>
                  <a:pt x="585" y="306"/>
                  <a:pt x="585" y="305"/>
                </a:cubicBezTo>
                <a:close/>
                <a:moveTo>
                  <a:pt x="585" y="289"/>
                </a:moveTo>
                <a:cubicBezTo>
                  <a:pt x="585" y="288"/>
                  <a:pt x="586" y="288"/>
                  <a:pt x="586" y="288"/>
                </a:cubicBezTo>
                <a:cubicBezTo>
                  <a:pt x="586" y="288"/>
                  <a:pt x="585" y="289"/>
                  <a:pt x="585" y="289"/>
                </a:cubicBezTo>
                <a:close/>
                <a:moveTo>
                  <a:pt x="585" y="250"/>
                </a:moveTo>
                <a:cubicBezTo>
                  <a:pt x="586" y="249"/>
                  <a:pt x="587" y="248"/>
                  <a:pt x="589" y="247"/>
                </a:cubicBezTo>
                <a:cubicBezTo>
                  <a:pt x="588" y="248"/>
                  <a:pt x="586" y="249"/>
                  <a:pt x="585" y="250"/>
                </a:cubicBezTo>
                <a:close/>
                <a:moveTo>
                  <a:pt x="590" y="437"/>
                </a:moveTo>
                <a:cubicBezTo>
                  <a:pt x="589" y="435"/>
                  <a:pt x="591" y="433"/>
                  <a:pt x="593" y="431"/>
                </a:cubicBezTo>
                <a:cubicBezTo>
                  <a:pt x="592" y="433"/>
                  <a:pt x="591" y="435"/>
                  <a:pt x="590" y="437"/>
                </a:cubicBezTo>
                <a:close/>
                <a:moveTo>
                  <a:pt x="594" y="251"/>
                </a:moveTo>
                <a:cubicBezTo>
                  <a:pt x="596" y="250"/>
                  <a:pt x="595" y="255"/>
                  <a:pt x="593" y="253"/>
                </a:cubicBezTo>
                <a:cubicBezTo>
                  <a:pt x="593" y="253"/>
                  <a:pt x="593" y="252"/>
                  <a:pt x="594" y="251"/>
                </a:cubicBezTo>
                <a:close/>
                <a:moveTo>
                  <a:pt x="594" y="357"/>
                </a:moveTo>
                <a:cubicBezTo>
                  <a:pt x="594" y="357"/>
                  <a:pt x="594" y="356"/>
                  <a:pt x="595" y="356"/>
                </a:cubicBezTo>
                <a:cubicBezTo>
                  <a:pt x="596" y="357"/>
                  <a:pt x="592" y="359"/>
                  <a:pt x="594" y="357"/>
                </a:cubicBezTo>
                <a:close/>
                <a:moveTo>
                  <a:pt x="595" y="371"/>
                </a:moveTo>
                <a:cubicBezTo>
                  <a:pt x="595" y="372"/>
                  <a:pt x="594" y="373"/>
                  <a:pt x="593" y="373"/>
                </a:cubicBezTo>
                <a:cubicBezTo>
                  <a:pt x="593" y="372"/>
                  <a:pt x="594" y="371"/>
                  <a:pt x="595" y="371"/>
                </a:cubicBezTo>
                <a:close/>
                <a:moveTo>
                  <a:pt x="593" y="429"/>
                </a:move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lose/>
                <a:moveTo>
                  <a:pt x="594" y="472"/>
                </a:moveTo>
                <a:cubicBezTo>
                  <a:pt x="594" y="472"/>
                  <a:pt x="595" y="470"/>
                  <a:pt x="595" y="470"/>
                </a:cubicBezTo>
                <a:cubicBezTo>
                  <a:pt x="596" y="471"/>
                  <a:pt x="594" y="472"/>
                  <a:pt x="594" y="472"/>
                </a:cubicBezTo>
                <a:close/>
                <a:moveTo>
                  <a:pt x="598" y="422"/>
                </a:moveTo>
                <a:cubicBezTo>
                  <a:pt x="598" y="423"/>
                  <a:pt x="596" y="426"/>
                  <a:pt x="594" y="428"/>
                </a:cubicBezTo>
                <a:cubicBezTo>
                  <a:pt x="594" y="425"/>
                  <a:pt x="599" y="418"/>
                  <a:pt x="598" y="422"/>
                </a:cubicBezTo>
                <a:close/>
                <a:moveTo>
                  <a:pt x="595" y="356"/>
                </a:moveTo>
                <a:cubicBezTo>
                  <a:pt x="596" y="355"/>
                  <a:pt x="597" y="354"/>
                  <a:pt x="599" y="353"/>
                </a:cubicBezTo>
                <a:cubicBezTo>
                  <a:pt x="598" y="355"/>
                  <a:pt x="597" y="355"/>
                  <a:pt x="595" y="356"/>
                </a:cubicBezTo>
                <a:close/>
                <a:moveTo>
                  <a:pt x="686" y="310"/>
                </a:moveTo>
                <a:cubicBezTo>
                  <a:pt x="686" y="309"/>
                  <a:pt x="686" y="312"/>
                  <a:pt x="686" y="310"/>
                </a:cubicBezTo>
                <a:close/>
                <a:moveTo>
                  <a:pt x="679" y="298"/>
                </a:moveTo>
                <a:cubicBezTo>
                  <a:pt x="682" y="297"/>
                  <a:pt x="678" y="302"/>
                  <a:pt x="678" y="299"/>
                </a:cubicBezTo>
                <a:cubicBezTo>
                  <a:pt x="678" y="299"/>
                  <a:pt x="678" y="298"/>
                  <a:pt x="679" y="298"/>
                </a:cubicBezTo>
                <a:close/>
                <a:moveTo>
                  <a:pt x="676" y="297"/>
                </a:moveTo>
                <a:cubicBezTo>
                  <a:pt x="677" y="295"/>
                  <a:pt x="676" y="298"/>
                  <a:pt x="676" y="297"/>
                </a:cubicBezTo>
                <a:close/>
                <a:moveTo>
                  <a:pt x="671" y="307"/>
                </a:moveTo>
                <a:cubicBezTo>
                  <a:pt x="671" y="307"/>
                  <a:pt x="672" y="308"/>
                  <a:pt x="671" y="308"/>
                </a:cubicBezTo>
                <a:cubicBezTo>
                  <a:pt x="670" y="309"/>
                  <a:pt x="671" y="307"/>
                  <a:pt x="671" y="307"/>
                </a:cubicBezTo>
                <a:close/>
                <a:moveTo>
                  <a:pt x="672" y="331"/>
                </a:moveTo>
                <a:cubicBezTo>
                  <a:pt x="672" y="331"/>
                  <a:pt x="675" y="326"/>
                  <a:pt x="675" y="328"/>
                </a:cubicBezTo>
                <a:cubicBezTo>
                  <a:pt x="675" y="331"/>
                  <a:pt x="670" y="334"/>
                  <a:pt x="668" y="337"/>
                </a:cubicBezTo>
                <a:cubicBezTo>
                  <a:pt x="669" y="335"/>
                  <a:pt x="671" y="333"/>
                  <a:pt x="672" y="331"/>
                </a:cubicBezTo>
                <a:close/>
                <a:moveTo>
                  <a:pt x="669" y="271"/>
                </a:moveTo>
                <a:cubicBezTo>
                  <a:pt x="668" y="270"/>
                  <a:pt x="671" y="264"/>
                  <a:pt x="672" y="266"/>
                </a:cubicBezTo>
                <a:cubicBezTo>
                  <a:pt x="674" y="267"/>
                  <a:pt x="670" y="270"/>
                  <a:pt x="669" y="271"/>
                </a:cubicBezTo>
                <a:close/>
                <a:moveTo>
                  <a:pt x="674" y="235"/>
                </a:moveTo>
                <a:cubicBezTo>
                  <a:pt x="673" y="236"/>
                  <a:pt x="675" y="233"/>
                  <a:pt x="674" y="235"/>
                </a:cubicBezTo>
                <a:close/>
                <a:moveTo>
                  <a:pt x="676" y="252"/>
                </a:moveTo>
                <a:cubicBezTo>
                  <a:pt x="676" y="250"/>
                  <a:pt x="677" y="251"/>
                  <a:pt x="676" y="252"/>
                </a:cubicBezTo>
                <a:close/>
                <a:moveTo>
                  <a:pt x="673" y="222"/>
                </a:moveTo>
                <a:cubicBezTo>
                  <a:pt x="674" y="221"/>
                  <a:pt x="676" y="222"/>
                  <a:pt x="676" y="222"/>
                </a:cubicBezTo>
                <a:cubicBezTo>
                  <a:pt x="678" y="225"/>
                  <a:pt x="674" y="230"/>
                  <a:pt x="672" y="229"/>
                </a:cubicBezTo>
                <a:cubicBezTo>
                  <a:pt x="669" y="227"/>
                  <a:pt x="671" y="223"/>
                  <a:pt x="673" y="222"/>
                </a:cubicBezTo>
                <a:close/>
                <a:moveTo>
                  <a:pt x="669" y="233"/>
                </a:moveTo>
                <a:cubicBezTo>
                  <a:pt x="669" y="232"/>
                  <a:pt x="670" y="231"/>
                  <a:pt x="670" y="230"/>
                </a:cubicBezTo>
                <a:cubicBezTo>
                  <a:pt x="669" y="230"/>
                  <a:pt x="669" y="230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1" y="229"/>
                </a:cubicBezTo>
                <a:cubicBezTo>
                  <a:pt x="670" y="230"/>
                  <a:pt x="670" y="230"/>
                  <a:pt x="670" y="230"/>
                </a:cubicBezTo>
                <a:cubicBezTo>
                  <a:pt x="670" y="233"/>
                  <a:pt x="669" y="236"/>
                  <a:pt x="668" y="238"/>
                </a:cubicBezTo>
                <a:cubicBezTo>
                  <a:pt x="668" y="237"/>
                  <a:pt x="668" y="235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lose/>
                <a:moveTo>
                  <a:pt x="668" y="231"/>
                </a:moveTo>
                <a:cubicBezTo>
                  <a:pt x="668" y="233"/>
                  <a:pt x="666" y="231"/>
                  <a:pt x="668" y="231"/>
                </a:cubicBezTo>
                <a:close/>
                <a:moveTo>
                  <a:pt x="671" y="249"/>
                </a:moveTo>
                <a:cubicBezTo>
                  <a:pt x="670" y="250"/>
                  <a:pt x="668" y="251"/>
                  <a:pt x="666" y="252"/>
                </a:cubicBezTo>
                <a:cubicBezTo>
                  <a:pt x="667" y="250"/>
                  <a:pt x="669" y="250"/>
                  <a:pt x="671" y="249"/>
                </a:cubicBezTo>
                <a:close/>
                <a:moveTo>
                  <a:pt x="667" y="257"/>
                </a:moveTo>
                <a:cubicBezTo>
                  <a:pt x="667" y="258"/>
                  <a:pt x="666" y="260"/>
                  <a:pt x="665" y="261"/>
                </a:cubicBezTo>
                <a:cubicBezTo>
                  <a:pt x="665" y="259"/>
                  <a:pt x="667" y="259"/>
                  <a:pt x="667" y="257"/>
                </a:cubicBezTo>
                <a:close/>
                <a:moveTo>
                  <a:pt x="666" y="302"/>
                </a:moveTo>
                <a:cubicBezTo>
                  <a:pt x="666" y="302"/>
                  <a:pt x="666" y="302"/>
                  <a:pt x="666" y="301"/>
                </a:cubicBezTo>
                <a:cubicBezTo>
                  <a:pt x="666" y="300"/>
                  <a:pt x="667" y="302"/>
                  <a:pt x="666" y="302"/>
                </a:cubicBezTo>
                <a:close/>
                <a:moveTo>
                  <a:pt x="657" y="233"/>
                </a:moveTo>
                <a:cubicBezTo>
                  <a:pt x="657" y="233"/>
                  <a:pt x="657" y="233"/>
                  <a:pt x="657" y="233"/>
                </a:cubicBezTo>
                <a:cubicBezTo>
                  <a:pt x="657" y="235"/>
                  <a:pt x="655" y="233"/>
                  <a:pt x="657" y="233"/>
                </a:cubicBezTo>
                <a:close/>
                <a:moveTo>
                  <a:pt x="655" y="232"/>
                </a:moveTo>
                <a:cubicBezTo>
                  <a:pt x="656" y="232"/>
                  <a:pt x="656" y="234"/>
                  <a:pt x="655" y="234"/>
                </a:cubicBezTo>
                <a:cubicBezTo>
                  <a:pt x="654" y="233"/>
                  <a:pt x="655" y="232"/>
                  <a:pt x="655" y="232"/>
                </a:cubicBezTo>
                <a:close/>
                <a:moveTo>
                  <a:pt x="655" y="256"/>
                </a:moveTo>
                <a:cubicBezTo>
                  <a:pt x="657" y="254"/>
                  <a:pt x="657" y="259"/>
                  <a:pt x="655" y="259"/>
                </a:cubicBezTo>
                <a:cubicBezTo>
                  <a:pt x="654" y="258"/>
                  <a:pt x="654" y="256"/>
                  <a:pt x="655" y="256"/>
                </a:cubicBezTo>
                <a:close/>
                <a:moveTo>
                  <a:pt x="651" y="231"/>
                </a:moveTo>
                <a:cubicBezTo>
                  <a:pt x="651" y="231"/>
                  <a:pt x="652" y="230"/>
                  <a:pt x="653" y="231"/>
                </a:cubicBezTo>
                <a:cubicBezTo>
                  <a:pt x="654" y="232"/>
                  <a:pt x="650" y="234"/>
                  <a:pt x="651" y="231"/>
                </a:cubicBezTo>
                <a:close/>
                <a:moveTo>
                  <a:pt x="651" y="229"/>
                </a:moveTo>
                <a:cubicBezTo>
                  <a:pt x="651" y="228"/>
                  <a:pt x="650" y="231"/>
                  <a:pt x="651" y="229"/>
                </a:cubicBezTo>
                <a:close/>
                <a:moveTo>
                  <a:pt x="647" y="239"/>
                </a:moveTo>
                <a:cubicBezTo>
                  <a:pt x="648" y="237"/>
                  <a:pt x="650" y="241"/>
                  <a:pt x="647" y="241"/>
                </a:cubicBezTo>
                <a:cubicBezTo>
                  <a:pt x="647" y="240"/>
                  <a:pt x="646" y="239"/>
                  <a:pt x="647" y="239"/>
                </a:cubicBezTo>
                <a:close/>
                <a:moveTo>
                  <a:pt x="649" y="265"/>
                </a:moveTo>
                <a:cubicBezTo>
                  <a:pt x="650" y="264"/>
                  <a:pt x="651" y="260"/>
                  <a:pt x="653" y="260"/>
                </a:cubicBezTo>
                <a:cubicBezTo>
                  <a:pt x="657" y="258"/>
                  <a:pt x="649" y="267"/>
                  <a:pt x="648" y="268"/>
                </a:cubicBezTo>
                <a:cubicBezTo>
                  <a:pt x="650" y="266"/>
                  <a:pt x="648" y="270"/>
                  <a:pt x="647" y="269"/>
                </a:cubicBezTo>
                <a:cubicBezTo>
                  <a:pt x="646" y="269"/>
                  <a:pt x="648" y="266"/>
                  <a:pt x="649" y="265"/>
                </a:cubicBezTo>
                <a:close/>
                <a:moveTo>
                  <a:pt x="652" y="271"/>
                </a:moveTo>
                <a:cubicBezTo>
                  <a:pt x="653" y="272"/>
                  <a:pt x="651" y="272"/>
                  <a:pt x="651" y="272"/>
                </a:cubicBezTo>
                <a:cubicBezTo>
                  <a:pt x="651" y="271"/>
                  <a:pt x="652" y="270"/>
                  <a:pt x="652" y="271"/>
                </a:cubicBezTo>
                <a:close/>
                <a:moveTo>
                  <a:pt x="657" y="273"/>
                </a:moveTo>
                <a:cubicBezTo>
                  <a:pt x="653" y="278"/>
                  <a:pt x="649" y="282"/>
                  <a:pt x="643" y="286"/>
                </a:cubicBezTo>
                <a:cubicBezTo>
                  <a:pt x="648" y="281"/>
                  <a:pt x="652" y="277"/>
                  <a:pt x="657" y="273"/>
                </a:cubicBezTo>
                <a:close/>
                <a:moveTo>
                  <a:pt x="645" y="387"/>
                </a:moveTo>
                <a:cubicBezTo>
                  <a:pt x="645" y="389"/>
                  <a:pt x="643" y="388"/>
                  <a:pt x="645" y="387"/>
                </a:cubicBezTo>
                <a:close/>
                <a:moveTo>
                  <a:pt x="645" y="390"/>
                </a:moveTo>
                <a:cubicBezTo>
                  <a:pt x="645" y="388"/>
                  <a:pt x="644" y="391"/>
                  <a:pt x="645" y="390"/>
                </a:cubicBezTo>
                <a:close/>
                <a:moveTo>
                  <a:pt x="641" y="392"/>
                </a:moveTo>
                <a:cubicBezTo>
                  <a:pt x="642" y="391"/>
                  <a:pt x="642" y="390"/>
                  <a:pt x="643" y="389"/>
                </a:cubicBezTo>
                <a:cubicBezTo>
                  <a:pt x="643" y="390"/>
                  <a:pt x="643" y="391"/>
                  <a:pt x="641" y="392"/>
                </a:cubicBezTo>
                <a:close/>
                <a:moveTo>
                  <a:pt x="642" y="393"/>
                </a:moveTo>
                <a:cubicBezTo>
                  <a:pt x="643" y="393"/>
                  <a:pt x="640" y="395"/>
                  <a:pt x="642" y="393"/>
                </a:cubicBezTo>
                <a:close/>
                <a:moveTo>
                  <a:pt x="643" y="300"/>
                </a:moveTo>
                <a:cubicBezTo>
                  <a:pt x="642" y="300"/>
                  <a:pt x="643" y="299"/>
                  <a:pt x="643" y="299"/>
                </a:cubicBezTo>
                <a:cubicBezTo>
                  <a:pt x="644" y="297"/>
                  <a:pt x="644" y="301"/>
                  <a:pt x="643" y="300"/>
                </a:cubicBezTo>
                <a:close/>
                <a:moveTo>
                  <a:pt x="642" y="297"/>
                </a:moveTo>
                <a:cubicBezTo>
                  <a:pt x="642" y="296"/>
                  <a:pt x="643" y="296"/>
                  <a:pt x="644" y="295"/>
                </a:cubicBezTo>
                <a:cubicBezTo>
                  <a:pt x="644" y="296"/>
                  <a:pt x="643" y="297"/>
                  <a:pt x="642" y="297"/>
                </a:cubicBezTo>
                <a:close/>
                <a:moveTo>
                  <a:pt x="639" y="297"/>
                </a:moveTo>
                <a:cubicBezTo>
                  <a:pt x="638" y="296"/>
                  <a:pt x="644" y="290"/>
                  <a:pt x="645" y="290"/>
                </a:cubicBezTo>
                <a:cubicBezTo>
                  <a:pt x="645" y="289"/>
                  <a:pt x="646" y="289"/>
                  <a:pt x="647" y="289"/>
                </a:cubicBezTo>
                <a:cubicBezTo>
                  <a:pt x="647" y="289"/>
                  <a:pt x="640" y="298"/>
                  <a:pt x="639" y="297"/>
                </a:cubicBezTo>
                <a:close/>
                <a:moveTo>
                  <a:pt x="642" y="298"/>
                </a:moveTo>
                <a:cubicBezTo>
                  <a:pt x="641" y="300"/>
                  <a:pt x="639" y="299"/>
                  <a:pt x="642" y="298"/>
                </a:cubicBezTo>
                <a:close/>
                <a:moveTo>
                  <a:pt x="639" y="303"/>
                </a:moveTo>
                <a:cubicBezTo>
                  <a:pt x="639" y="303"/>
                  <a:pt x="639" y="302"/>
                  <a:pt x="639" y="302"/>
                </a:cubicBezTo>
                <a:cubicBezTo>
                  <a:pt x="641" y="300"/>
                  <a:pt x="640" y="304"/>
                  <a:pt x="639" y="303"/>
                </a:cubicBezTo>
                <a:close/>
                <a:moveTo>
                  <a:pt x="640" y="320"/>
                </a:moveTo>
                <a:cubicBezTo>
                  <a:pt x="640" y="320"/>
                  <a:pt x="639" y="321"/>
                  <a:pt x="639" y="321"/>
                </a:cubicBezTo>
                <a:cubicBezTo>
                  <a:pt x="638" y="321"/>
                  <a:pt x="639" y="320"/>
                  <a:pt x="640" y="320"/>
                </a:cubicBezTo>
                <a:close/>
                <a:moveTo>
                  <a:pt x="638" y="266"/>
                </a:moveTo>
                <a:cubicBezTo>
                  <a:pt x="637" y="266"/>
                  <a:pt x="639" y="265"/>
                  <a:pt x="638" y="264"/>
                </a:cubicBezTo>
                <a:cubicBezTo>
                  <a:pt x="639" y="264"/>
                  <a:pt x="638" y="266"/>
                  <a:pt x="638" y="266"/>
                </a:cubicBezTo>
                <a:close/>
                <a:moveTo>
                  <a:pt x="638" y="268"/>
                </a:moveTo>
                <a:cubicBezTo>
                  <a:pt x="638" y="268"/>
                  <a:pt x="638" y="269"/>
                  <a:pt x="638" y="269"/>
                </a:cubicBezTo>
                <a:cubicBezTo>
                  <a:pt x="638" y="269"/>
                  <a:pt x="638" y="269"/>
                  <a:pt x="638" y="269"/>
                </a:cubicBezTo>
                <a:cubicBezTo>
                  <a:pt x="638" y="269"/>
                  <a:pt x="638" y="269"/>
                  <a:pt x="638" y="268"/>
                </a:cubicBezTo>
                <a:close/>
                <a:moveTo>
                  <a:pt x="642" y="286"/>
                </a:moveTo>
                <a:cubicBezTo>
                  <a:pt x="642" y="287"/>
                  <a:pt x="639" y="289"/>
                  <a:pt x="638" y="290"/>
                </a:cubicBezTo>
                <a:cubicBezTo>
                  <a:pt x="638" y="288"/>
                  <a:pt x="641" y="288"/>
                  <a:pt x="642" y="286"/>
                </a:cubicBezTo>
                <a:close/>
                <a:moveTo>
                  <a:pt x="644" y="234"/>
                </a:moveTo>
                <a:cubicBezTo>
                  <a:pt x="643" y="235"/>
                  <a:pt x="643" y="234"/>
                  <a:pt x="644" y="234"/>
                </a:cubicBezTo>
                <a:close/>
                <a:moveTo>
                  <a:pt x="643" y="251"/>
                </a:moveTo>
                <a:cubicBezTo>
                  <a:pt x="643" y="252"/>
                  <a:pt x="642" y="253"/>
                  <a:pt x="642" y="253"/>
                </a:cubicBezTo>
                <a:cubicBezTo>
                  <a:pt x="642" y="253"/>
                  <a:pt x="642" y="251"/>
                  <a:pt x="643" y="251"/>
                </a:cubicBezTo>
                <a:close/>
                <a:moveTo>
                  <a:pt x="645" y="254"/>
                </a:moveTo>
                <a:cubicBezTo>
                  <a:pt x="643" y="257"/>
                  <a:pt x="641" y="258"/>
                  <a:pt x="638" y="260"/>
                </a:cubicBezTo>
                <a:cubicBezTo>
                  <a:pt x="640" y="258"/>
                  <a:pt x="642" y="256"/>
                  <a:pt x="645" y="254"/>
                </a:cubicBezTo>
                <a:close/>
                <a:moveTo>
                  <a:pt x="640" y="225"/>
                </a:moveTo>
                <a:cubicBezTo>
                  <a:pt x="640" y="225"/>
                  <a:pt x="640" y="225"/>
                  <a:pt x="640" y="225"/>
                </a:cubicBezTo>
                <a:cubicBezTo>
                  <a:pt x="640" y="225"/>
                  <a:pt x="640" y="225"/>
                  <a:pt x="640" y="226"/>
                </a:cubicBezTo>
                <a:cubicBezTo>
                  <a:pt x="640" y="226"/>
                  <a:pt x="640" y="226"/>
                  <a:pt x="640" y="225"/>
                </a:cubicBezTo>
                <a:close/>
                <a:moveTo>
                  <a:pt x="640" y="241"/>
                </a:moveTo>
                <a:cubicBezTo>
                  <a:pt x="641" y="243"/>
                  <a:pt x="638" y="244"/>
                  <a:pt x="638" y="242"/>
                </a:cubicBezTo>
                <a:cubicBezTo>
                  <a:pt x="637" y="241"/>
                  <a:pt x="640" y="239"/>
                  <a:pt x="640" y="241"/>
                </a:cubicBezTo>
                <a:close/>
                <a:moveTo>
                  <a:pt x="638" y="290"/>
                </a:moveTo>
                <a:cubicBezTo>
                  <a:pt x="639" y="291"/>
                  <a:pt x="635" y="292"/>
                  <a:pt x="636" y="290"/>
                </a:cubicBezTo>
                <a:cubicBezTo>
                  <a:pt x="637" y="289"/>
                  <a:pt x="637" y="289"/>
                  <a:pt x="638" y="290"/>
                </a:cubicBezTo>
                <a:close/>
                <a:moveTo>
                  <a:pt x="637" y="302"/>
                </a:move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lose/>
                <a:moveTo>
                  <a:pt x="632" y="265"/>
                </a:moveTo>
                <a:cubicBezTo>
                  <a:pt x="633" y="264"/>
                  <a:pt x="635" y="262"/>
                  <a:pt x="636" y="262"/>
                </a:cubicBezTo>
                <a:cubicBezTo>
                  <a:pt x="636" y="262"/>
                  <a:pt x="634" y="265"/>
                  <a:pt x="632" y="265"/>
                </a:cubicBezTo>
                <a:close/>
                <a:moveTo>
                  <a:pt x="637" y="219"/>
                </a:moveTo>
                <a:cubicBezTo>
                  <a:pt x="637" y="221"/>
                  <a:pt x="634" y="221"/>
                  <a:pt x="634" y="219"/>
                </a:cubicBezTo>
                <a:cubicBezTo>
                  <a:pt x="634" y="218"/>
                  <a:pt x="636" y="217"/>
                  <a:pt x="637" y="219"/>
                </a:cubicBezTo>
                <a:close/>
                <a:moveTo>
                  <a:pt x="633" y="221"/>
                </a:moveTo>
                <a:cubicBezTo>
                  <a:pt x="633" y="221"/>
                  <a:pt x="635" y="221"/>
                  <a:pt x="634" y="222"/>
                </a:cubicBezTo>
                <a:cubicBezTo>
                  <a:pt x="634" y="222"/>
                  <a:pt x="632" y="222"/>
                  <a:pt x="633" y="221"/>
                </a:cubicBezTo>
                <a:close/>
                <a:moveTo>
                  <a:pt x="633" y="253"/>
                </a:moveTo>
                <a:cubicBezTo>
                  <a:pt x="633" y="254"/>
                  <a:pt x="632" y="254"/>
                  <a:pt x="631" y="254"/>
                </a:cubicBezTo>
                <a:cubicBezTo>
                  <a:pt x="631" y="253"/>
                  <a:pt x="632" y="252"/>
                  <a:pt x="633" y="253"/>
                </a:cubicBezTo>
                <a:close/>
                <a:moveTo>
                  <a:pt x="630" y="260"/>
                </a:moveTo>
                <a:cubicBezTo>
                  <a:pt x="630" y="260"/>
                  <a:pt x="630" y="260"/>
                  <a:pt x="630" y="261"/>
                </a:cubicBezTo>
                <a:cubicBezTo>
                  <a:pt x="630" y="261"/>
                  <a:pt x="630" y="261"/>
                  <a:pt x="630" y="261"/>
                </a:cubicBezTo>
                <a:cubicBezTo>
                  <a:pt x="630" y="261"/>
                  <a:pt x="630" y="260"/>
                  <a:pt x="630" y="260"/>
                </a:cubicBezTo>
                <a:close/>
                <a:moveTo>
                  <a:pt x="632" y="277"/>
                </a:moveTo>
                <a:cubicBezTo>
                  <a:pt x="634" y="279"/>
                  <a:pt x="631" y="281"/>
                  <a:pt x="629" y="281"/>
                </a:cubicBezTo>
                <a:cubicBezTo>
                  <a:pt x="629" y="280"/>
                  <a:pt x="631" y="277"/>
                  <a:pt x="632" y="277"/>
                </a:cubicBezTo>
                <a:close/>
                <a:moveTo>
                  <a:pt x="632" y="347"/>
                </a:moveTo>
                <a:cubicBezTo>
                  <a:pt x="632" y="347"/>
                  <a:pt x="632" y="346"/>
                  <a:pt x="632" y="346"/>
                </a:cubicBezTo>
                <a:cubicBezTo>
                  <a:pt x="633" y="344"/>
                  <a:pt x="632" y="348"/>
                  <a:pt x="632" y="347"/>
                </a:cubicBezTo>
                <a:close/>
                <a:moveTo>
                  <a:pt x="630" y="294"/>
                </a:moveTo>
                <a:cubicBezTo>
                  <a:pt x="630" y="295"/>
                  <a:pt x="629" y="295"/>
                  <a:pt x="629" y="295"/>
                </a:cubicBezTo>
                <a:cubicBezTo>
                  <a:pt x="629" y="295"/>
                  <a:pt x="629" y="294"/>
                  <a:pt x="630" y="294"/>
                </a:cubicBezTo>
                <a:close/>
                <a:moveTo>
                  <a:pt x="627" y="314"/>
                </a:moveTo>
                <a:cubicBezTo>
                  <a:pt x="627" y="314"/>
                  <a:pt x="628" y="314"/>
                  <a:pt x="628" y="314"/>
                </a:cubicBezTo>
                <a:cubicBezTo>
                  <a:pt x="629" y="315"/>
                  <a:pt x="627" y="315"/>
                  <a:pt x="627" y="314"/>
                </a:cubicBezTo>
                <a:close/>
                <a:moveTo>
                  <a:pt x="628" y="256"/>
                </a:moveTo>
                <a:cubicBezTo>
                  <a:pt x="628" y="254"/>
                  <a:pt x="627" y="257"/>
                  <a:pt x="628" y="256"/>
                </a:cubicBezTo>
                <a:close/>
                <a:moveTo>
                  <a:pt x="626" y="201"/>
                </a:moveTo>
                <a:cubicBezTo>
                  <a:pt x="624" y="200"/>
                  <a:pt x="625" y="198"/>
                  <a:pt x="626" y="198"/>
                </a:cubicBezTo>
                <a:cubicBezTo>
                  <a:pt x="629" y="196"/>
                  <a:pt x="628" y="201"/>
                  <a:pt x="626" y="201"/>
                </a:cubicBezTo>
                <a:close/>
                <a:moveTo>
                  <a:pt x="625" y="187"/>
                </a:moveTo>
                <a:cubicBezTo>
                  <a:pt x="625" y="186"/>
                  <a:pt x="626" y="186"/>
                  <a:pt x="626" y="186"/>
                </a:cubicBezTo>
                <a:cubicBezTo>
                  <a:pt x="627" y="187"/>
                  <a:pt x="624" y="188"/>
                  <a:pt x="625" y="187"/>
                </a:cubicBezTo>
                <a:close/>
                <a:moveTo>
                  <a:pt x="622" y="226"/>
                </a:moveTo>
                <a:cubicBezTo>
                  <a:pt x="617" y="226"/>
                  <a:pt x="619" y="218"/>
                  <a:pt x="621" y="217"/>
                </a:cubicBezTo>
                <a:cubicBezTo>
                  <a:pt x="629" y="212"/>
                  <a:pt x="628" y="227"/>
                  <a:pt x="622" y="226"/>
                </a:cubicBezTo>
                <a:close/>
                <a:moveTo>
                  <a:pt x="619" y="233"/>
                </a:moveTo>
                <a:cubicBezTo>
                  <a:pt x="618" y="232"/>
                  <a:pt x="623" y="228"/>
                  <a:pt x="624" y="228"/>
                </a:cubicBezTo>
                <a:cubicBezTo>
                  <a:pt x="628" y="226"/>
                  <a:pt x="620" y="234"/>
                  <a:pt x="619" y="233"/>
                </a:cubicBezTo>
                <a:close/>
                <a:moveTo>
                  <a:pt x="625" y="235"/>
                </a:moveTo>
                <a:cubicBezTo>
                  <a:pt x="625" y="236"/>
                  <a:pt x="623" y="237"/>
                  <a:pt x="623" y="236"/>
                </a:cubicBezTo>
                <a:cubicBezTo>
                  <a:pt x="622" y="235"/>
                  <a:pt x="624" y="234"/>
                  <a:pt x="625" y="235"/>
                </a:cubicBezTo>
                <a:close/>
                <a:moveTo>
                  <a:pt x="622" y="357"/>
                </a:move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lose/>
                <a:moveTo>
                  <a:pt x="608" y="328"/>
                </a:moveTo>
                <a:cubicBezTo>
                  <a:pt x="608" y="327"/>
                  <a:pt x="611" y="326"/>
                  <a:pt x="612" y="324"/>
                </a:cubicBezTo>
                <a:cubicBezTo>
                  <a:pt x="615" y="321"/>
                  <a:pt x="617" y="315"/>
                  <a:pt x="621" y="313"/>
                </a:cubicBezTo>
                <a:cubicBezTo>
                  <a:pt x="621" y="317"/>
                  <a:pt x="615" y="319"/>
                  <a:pt x="614" y="322"/>
                </a:cubicBezTo>
                <a:cubicBezTo>
                  <a:pt x="613" y="324"/>
                  <a:pt x="610" y="329"/>
                  <a:pt x="607" y="331"/>
                </a:cubicBezTo>
                <a:cubicBezTo>
                  <a:pt x="607" y="331"/>
                  <a:pt x="607" y="333"/>
                  <a:pt x="606" y="332"/>
                </a:cubicBezTo>
                <a:cubicBezTo>
                  <a:pt x="605" y="331"/>
                  <a:pt x="608" y="328"/>
                  <a:pt x="608" y="328"/>
                </a:cubicBezTo>
                <a:close/>
                <a:moveTo>
                  <a:pt x="605" y="271"/>
                </a:moveTo>
                <a:cubicBezTo>
                  <a:pt x="604" y="270"/>
                  <a:pt x="605" y="269"/>
                  <a:pt x="605" y="269"/>
                </a:cubicBezTo>
                <a:cubicBezTo>
                  <a:pt x="608" y="267"/>
                  <a:pt x="606" y="272"/>
                  <a:pt x="605" y="271"/>
                </a:cubicBezTo>
                <a:close/>
                <a:moveTo>
                  <a:pt x="609" y="243"/>
                </a:moveTo>
                <a:cubicBezTo>
                  <a:pt x="608" y="242"/>
                  <a:pt x="610" y="241"/>
                  <a:pt x="611" y="243"/>
                </a:cubicBezTo>
                <a:cubicBezTo>
                  <a:pt x="611" y="244"/>
                  <a:pt x="609" y="244"/>
                  <a:pt x="609" y="243"/>
                </a:cubicBezTo>
                <a:close/>
                <a:moveTo>
                  <a:pt x="611" y="305"/>
                </a:moveTo>
                <a:cubicBezTo>
                  <a:pt x="610" y="306"/>
                  <a:pt x="611" y="304"/>
                  <a:pt x="611" y="305"/>
                </a:cubicBezTo>
                <a:close/>
                <a:moveTo>
                  <a:pt x="613" y="298"/>
                </a:moveTo>
                <a:cubicBezTo>
                  <a:pt x="613" y="298"/>
                  <a:pt x="613" y="298"/>
                  <a:pt x="613" y="298"/>
                </a:cubicBezTo>
                <a:cubicBezTo>
                  <a:pt x="614" y="295"/>
                  <a:pt x="613" y="300"/>
                  <a:pt x="613" y="298"/>
                </a:cubicBezTo>
                <a:close/>
                <a:moveTo>
                  <a:pt x="617" y="261"/>
                </a:moveTo>
                <a:cubicBezTo>
                  <a:pt x="617" y="262"/>
                  <a:pt x="616" y="262"/>
                  <a:pt x="615" y="263"/>
                </a:cubicBezTo>
                <a:cubicBezTo>
                  <a:pt x="615" y="262"/>
                  <a:pt x="616" y="261"/>
                  <a:pt x="617" y="261"/>
                </a:cubicBezTo>
                <a:close/>
                <a:moveTo>
                  <a:pt x="616" y="238"/>
                </a:moveTo>
                <a:cubicBezTo>
                  <a:pt x="616" y="238"/>
                  <a:pt x="616" y="239"/>
                  <a:pt x="615" y="239"/>
                </a:cubicBezTo>
                <a:cubicBezTo>
                  <a:pt x="615" y="238"/>
                  <a:pt x="615" y="238"/>
                  <a:pt x="616" y="238"/>
                </a:cubicBezTo>
                <a:close/>
                <a:moveTo>
                  <a:pt x="618" y="309"/>
                </a:moveTo>
                <a:cubicBezTo>
                  <a:pt x="618" y="309"/>
                  <a:pt x="618" y="308"/>
                  <a:pt x="618" y="308"/>
                </a:cubicBezTo>
                <a:cubicBezTo>
                  <a:pt x="619" y="306"/>
                  <a:pt x="618" y="311"/>
                  <a:pt x="618" y="309"/>
                </a:cubicBezTo>
                <a:close/>
                <a:moveTo>
                  <a:pt x="618" y="295"/>
                </a:moveTo>
                <a:cubicBezTo>
                  <a:pt x="619" y="293"/>
                  <a:pt x="618" y="296"/>
                  <a:pt x="618" y="295"/>
                </a:cubicBezTo>
                <a:close/>
                <a:moveTo>
                  <a:pt x="620" y="301"/>
                </a:moveTo>
                <a:cubicBezTo>
                  <a:pt x="619" y="302"/>
                  <a:pt x="621" y="300"/>
                  <a:pt x="620" y="301"/>
                </a:cubicBezTo>
                <a:close/>
                <a:moveTo>
                  <a:pt x="621" y="333"/>
                </a:moveTo>
                <a:cubicBezTo>
                  <a:pt x="620" y="335"/>
                  <a:pt x="619" y="336"/>
                  <a:pt x="618" y="337"/>
                </a:cubicBezTo>
                <a:cubicBezTo>
                  <a:pt x="619" y="336"/>
                  <a:pt x="620" y="334"/>
                  <a:pt x="621" y="333"/>
                </a:cubicBezTo>
                <a:close/>
                <a:moveTo>
                  <a:pt x="622" y="194"/>
                </a:moveTo>
                <a:cubicBezTo>
                  <a:pt x="621" y="194"/>
                  <a:pt x="622" y="192"/>
                  <a:pt x="623" y="193"/>
                </a:cubicBezTo>
                <a:cubicBezTo>
                  <a:pt x="623" y="194"/>
                  <a:pt x="622" y="195"/>
                  <a:pt x="622" y="194"/>
                </a:cubicBezTo>
                <a:close/>
                <a:moveTo>
                  <a:pt x="619" y="192"/>
                </a:moveTo>
                <a:cubicBezTo>
                  <a:pt x="619" y="192"/>
                  <a:pt x="619" y="192"/>
                  <a:pt x="620" y="191"/>
                </a:cubicBezTo>
                <a:cubicBezTo>
                  <a:pt x="620" y="192"/>
                  <a:pt x="620" y="192"/>
                  <a:pt x="620" y="192"/>
                </a:cubicBezTo>
                <a:cubicBezTo>
                  <a:pt x="621" y="191"/>
                  <a:pt x="622" y="190"/>
                  <a:pt x="623" y="190"/>
                </a:cubicBezTo>
                <a:cubicBezTo>
                  <a:pt x="622" y="192"/>
                  <a:pt x="620" y="193"/>
                  <a:pt x="617" y="194"/>
                </a:cubicBezTo>
                <a:cubicBezTo>
                  <a:pt x="618" y="193"/>
                  <a:pt x="618" y="193"/>
                  <a:pt x="619" y="192"/>
                </a:cubicBezTo>
                <a:close/>
                <a:moveTo>
                  <a:pt x="615" y="194"/>
                </a:moveTo>
                <a:cubicBezTo>
                  <a:pt x="616" y="194"/>
                  <a:pt x="617" y="193"/>
                  <a:pt x="617" y="194"/>
                </a:cubicBezTo>
                <a:cubicBezTo>
                  <a:pt x="618" y="195"/>
                  <a:pt x="613" y="196"/>
                  <a:pt x="615" y="194"/>
                </a:cubicBezTo>
                <a:close/>
                <a:moveTo>
                  <a:pt x="612" y="214"/>
                </a:moveTo>
                <a:cubicBezTo>
                  <a:pt x="613" y="215"/>
                  <a:pt x="612" y="215"/>
                  <a:pt x="611" y="214"/>
                </a:cubicBezTo>
                <a:cubicBezTo>
                  <a:pt x="611" y="214"/>
                  <a:pt x="612" y="213"/>
                  <a:pt x="612" y="214"/>
                </a:cubicBezTo>
                <a:close/>
                <a:moveTo>
                  <a:pt x="609" y="203"/>
                </a:moveTo>
                <a:cubicBezTo>
                  <a:pt x="611" y="201"/>
                  <a:pt x="611" y="205"/>
                  <a:pt x="609" y="205"/>
                </a:cubicBezTo>
                <a:cubicBezTo>
                  <a:pt x="609" y="204"/>
                  <a:pt x="609" y="204"/>
                  <a:pt x="609" y="203"/>
                </a:cubicBezTo>
                <a:close/>
                <a:moveTo>
                  <a:pt x="609" y="219"/>
                </a:moveTo>
                <a:cubicBezTo>
                  <a:pt x="612" y="218"/>
                  <a:pt x="616" y="215"/>
                  <a:pt x="620" y="214"/>
                </a:cubicBezTo>
                <a:cubicBezTo>
                  <a:pt x="617" y="216"/>
                  <a:pt x="611" y="220"/>
                  <a:pt x="608" y="221"/>
                </a:cubicBezTo>
                <a:cubicBezTo>
                  <a:pt x="609" y="221"/>
                  <a:pt x="607" y="222"/>
                  <a:pt x="607" y="221"/>
                </a:cubicBezTo>
                <a:cubicBezTo>
                  <a:pt x="606" y="220"/>
                  <a:pt x="609" y="220"/>
                  <a:pt x="609" y="219"/>
                </a:cubicBezTo>
                <a:close/>
                <a:moveTo>
                  <a:pt x="610" y="253"/>
                </a:moveTo>
                <a:cubicBezTo>
                  <a:pt x="610" y="255"/>
                  <a:pt x="605" y="256"/>
                  <a:pt x="605" y="255"/>
                </a:cubicBezTo>
                <a:cubicBezTo>
                  <a:pt x="604" y="252"/>
                  <a:pt x="610" y="249"/>
                  <a:pt x="610" y="253"/>
                </a:cubicBezTo>
                <a:close/>
                <a:moveTo>
                  <a:pt x="602" y="194"/>
                </a:moveTo>
                <a:cubicBezTo>
                  <a:pt x="602" y="194"/>
                  <a:pt x="603" y="194"/>
                  <a:pt x="603" y="194"/>
                </a:cubicBezTo>
                <a:cubicBezTo>
                  <a:pt x="604" y="196"/>
                  <a:pt x="601" y="196"/>
                  <a:pt x="602" y="194"/>
                </a:cubicBezTo>
                <a:close/>
                <a:moveTo>
                  <a:pt x="604" y="256"/>
                </a:moveTo>
                <a:cubicBezTo>
                  <a:pt x="604" y="257"/>
                  <a:pt x="606" y="258"/>
                  <a:pt x="606" y="259"/>
                </a:cubicBezTo>
                <a:cubicBezTo>
                  <a:pt x="605" y="261"/>
                  <a:pt x="604" y="259"/>
                  <a:pt x="603" y="260"/>
                </a:cubicBezTo>
                <a:cubicBezTo>
                  <a:pt x="601" y="262"/>
                  <a:pt x="602" y="267"/>
                  <a:pt x="600" y="270"/>
                </a:cubicBezTo>
                <a:cubicBezTo>
                  <a:pt x="600" y="265"/>
                  <a:pt x="602" y="261"/>
                  <a:pt x="604" y="256"/>
                </a:cubicBezTo>
                <a:close/>
                <a:moveTo>
                  <a:pt x="600" y="272"/>
                </a:moveTo>
                <a:cubicBezTo>
                  <a:pt x="600" y="271"/>
                  <a:pt x="602" y="269"/>
                  <a:pt x="603" y="271"/>
                </a:cubicBezTo>
                <a:cubicBezTo>
                  <a:pt x="603" y="273"/>
                  <a:pt x="601" y="273"/>
                  <a:pt x="600" y="272"/>
                </a:cubicBezTo>
                <a:close/>
                <a:moveTo>
                  <a:pt x="601" y="310"/>
                </a:moveTo>
                <a:cubicBezTo>
                  <a:pt x="600" y="310"/>
                  <a:pt x="601" y="310"/>
                  <a:pt x="601" y="310"/>
                </a:cubicBezTo>
                <a:cubicBezTo>
                  <a:pt x="602" y="310"/>
                  <a:pt x="601" y="310"/>
                  <a:pt x="601" y="310"/>
                </a:cubicBezTo>
                <a:close/>
                <a:moveTo>
                  <a:pt x="602" y="303"/>
                </a:moveTo>
                <a:cubicBezTo>
                  <a:pt x="602" y="302"/>
                  <a:pt x="603" y="302"/>
                  <a:pt x="603" y="302"/>
                </a:cubicBezTo>
                <a:cubicBezTo>
                  <a:pt x="604" y="302"/>
                  <a:pt x="602" y="304"/>
                  <a:pt x="602" y="303"/>
                </a:cubicBezTo>
                <a:close/>
                <a:moveTo>
                  <a:pt x="607" y="416"/>
                </a:moveTo>
                <a:cubicBezTo>
                  <a:pt x="607" y="415"/>
                  <a:pt x="607" y="415"/>
                  <a:pt x="608" y="414"/>
                </a:cubicBezTo>
                <a:cubicBezTo>
                  <a:pt x="607" y="415"/>
                  <a:pt x="607" y="416"/>
                  <a:pt x="607" y="416"/>
                </a:cubicBezTo>
                <a:close/>
                <a:moveTo>
                  <a:pt x="608" y="393"/>
                </a:moveTo>
                <a:cubicBezTo>
                  <a:pt x="608" y="392"/>
                  <a:pt x="609" y="391"/>
                  <a:pt x="610" y="390"/>
                </a:cubicBezTo>
                <a:cubicBezTo>
                  <a:pt x="610" y="390"/>
                  <a:pt x="609" y="392"/>
                  <a:pt x="608" y="393"/>
                </a:cubicBezTo>
                <a:close/>
                <a:moveTo>
                  <a:pt x="600" y="353"/>
                </a:moveTo>
                <a:cubicBezTo>
                  <a:pt x="601" y="350"/>
                  <a:pt x="607" y="346"/>
                  <a:pt x="610" y="343"/>
                </a:cubicBezTo>
                <a:cubicBezTo>
                  <a:pt x="608" y="347"/>
                  <a:pt x="603" y="350"/>
                  <a:pt x="600" y="353"/>
                </a:cubicBezTo>
                <a:close/>
                <a:moveTo>
                  <a:pt x="611" y="388"/>
                </a:moveTo>
                <a:cubicBezTo>
                  <a:pt x="610" y="388"/>
                  <a:pt x="612" y="387"/>
                  <a:pt x="611" y="388"/>
                </a:cubicBezTo>
                <a:close/>
                <a:moveTo>
                  <a:pt x="612" y="387"/>
                </a:moveTo>
                <a:cubicBezTo>
                  <a:pt x="612" y="386"/>
                  <a:pt x="612" y="386"/>
                  <a:pt x="613" y="385"/>
                </a:cubicBezTo>
                <a:cubicBezTo>
                  <a:pt x="613" y="386"/>
                  <a:pt x="612" y="387"/>
                  <a:pt x="612" y="387"/>
                </a:cubicBezTo>
                <a:close/>
                <a:moveTo>
                  <a:pt x="611" y="344"/>
                </a:moveTo>
                <a:cubicBezTo>
                  <a:pt x="612" y="342"/>
                  <a:pt x="613" y="341"/>
                  <a:pt x="616" y="339"/>
                </a:cubicBezTo>
                <a:cubicBezTo>
                  <a:pt x="614" y="341"/>
                  <a:pt x="613" y="343"/>
                  <a:pt x="611" y="344"/>
                </a:cubicBezTo>
                <a:close/>
                <a:moveTo>
                  <a:pt x="615" y="357"/>
                </a:moveTo>
                <a:cubicBezTo>
                  <a:pt x="615" y="357"/>
                  <a:pt x="616" y="356"/>
                  <a:pt x="617" y="356"/>
                </a:cubicBezTo>
                <a:cubicBezTo>
                  <a:pt x="616" y="357"/>
                  <a:pt x="615" y="357"/>
                  <a:pt x="615" y="357"/>
                </a:cubicBezTo>
                <a:close/>
                <a:moveTo>
                  <a:pt x="617" y="539"/>
                </a:moveTo>
                <a:cubicBezTo>
                  <a:pt x="616" y="539"/>
                  <a:pt x="617" y="537"/>
                  <a:pt x="618" y="537"/>
                </a:cubicBezTo>
                <a:cubicBezTo>
                  <a:pt x="618" y="538"/>
                  <a:pt x="617" y="539"/>
                  <a:pt x="617" y="539"/>
                </a:cubicBezTo>
                <a:close/>
                <a:moveTo>
                  <a:pt x="618" y="445"/>
                </a:moveTo>
                <a:cubicBezTo>
                  <a:pt x="617" y="445"/>
                  <a:pt x="618" y="443"/>
                  <a:pt x="618" y="443"/>
                </a:cubicBezTo>
                <a:cubicBezTo>
                  <a:pt x="620" y="441"/>
                  <a:pt x="619" y="446"/>
                  <a:pt x="618" y="445"/>
                </a:cubicBezTo>
                <a:close/>
                <a:moveTo>
                  <a:pt x="619" y="557"/>
                </a:moveTo>
                <a:cubicBezTo>
                  <a:pt x="619" y="557"/>
                  <a:pt x="619" y="556"/>
                  <a:pt x="619" y="557"/>
                </a:cubicBezTo>
                <a:cubicBezTo>
                  <a:pt x="620" y="557"/>
                  <a:pt x="619" y="558"/>
                  <a:pt x="619" y="557"/>
                </a:cubicBezTo>
                <a:close/>
                <a:moveTo>
                  <a:pt x="619" y="347"/>
                </a:moveTo>
                <a:cubicBezTo>
                  <a:pt x="618" y="347"/>
                  <a:pt x="619" y="345"/>
                  <a:pt x="619" y="345"/>
                </a:cubicBezTo>
                <a:cubicBezTo>
                  <a:pt x="621" y="342"/>
                  <a:pt x="620" y="348"/>
                  <a:pt x="619" y="347"/>
                </a:cubicBezTo>
                <a:close/>
                <a:moveTo>
                  <a:pt x="620" y="435"/>
                </a:moveTo>
                <a:cubicBezTo>
                  <a:pt x="621" y="434"/>
                  <a:pt x="619" y="437"/>
                  <a:pt x="620" y="435"/>
                </a:cubicBezTo>
                <a:close/>
                <a:moveTo>
                  <a:pt x="623" y="526"/>
                </a:moveTo>
                <a:cubicBezTo>
                  <a:pt x="624" y="527"/>
                  <a:pt x="622" y="529"/>
                  <a:pt x="621" y="530"/>
                </a:cubicBezTo>
                <a:cubicBezTo>
                  <a:pt x="621" y="529"/>
                  <a:pt x="623" y="527"/>
                  <a:pt x="623" y="526"/>
                </a:cubicBezTo>
                <a:close/>
                <a:moveTo>
                  <a:pt x="622" y="561"/>
                </a:moveTo>
                <a:cubicBezTo>
                  <a:pt x="621" y="560"/>
                  <a:pt x="622" y="558"/>
                  <a:pt x="622" y="558"/>
                </a:cubicBezTo>
                <a:cubicBezTo>
                  <a:pt x="625" y="555"/>
                  <a:pt x="624" y="562"/>
                  <a:pt x="622" y="561"/>
                </a:cubicBezTo>
                <a:close/>
                <a:moveTo>
                  <a:pt x="624" y="492"/>
                </a:moveTo>
                <a:cubicBezTo>
                  <a:pt x="624" y="490"/>
                  <a:pt x="623" y="493"/>
                  <a:pt x="624" y="492"/>
                </a:cubicBezTo>
                <a:close/>
                <a:moveTo>
                  <a:pt x="625" y="381"/>
                </a:moveTo>
                <a:cubicBezTo>
                  <a:pt x="625" y="381"/>
                  <a:pt x="624" y="381"/>
                  <a:pt x="624" y="381"/>
                </a:cubicBezTo>
                <a:cubicBezTo>
                  <a:pt x="625" y="379"/>
                  <a:pt x="626" y="381"/>
                  <a:pt x="625" y="381"/>
                </a:cubicBezTo>
                <a:close/>
                <a:moveTo>
                  <a:pt x="624" y="254"/>
                </a:moveTo>
                <a:cubicBezTo>
                  <a:pt x="624" y="254"/>
                  <a:pt x="625" y="253"/>
                  <a:pt x="625" y="253"/>
                </a:cubicBezTo>
                <a:cubicBezTo>
                  <a:pt x="626" y="252"/>
                  <a:pt x="625" y="255"/>
                  <a:pt x="624" y="254"/>
                </a:cubicBezTo>
                <a:close/>
                <a:moveTo>
                  <a:pt x="626" y="488"/>
                </a:moveTo>
                <a:cubicBezTo>
                  <a:pt x="626" y="488"/>
                  <a:pt x="627" y="486"/>
                  <a:pt x="627" y="486"/>
                </a:cubicBezTo>
                <a:cubicBezTo>
                  <a:pt x="627" y="487"/>
                  <a:pt x="626" y="487"/>
                  <a:pt x="626" y="488"/>
                </a:cubicBezTo>
                <a:close/>
                <a:moveTo>
                  <a:pt x="628" y="522"/>
                </a:moveTo>
                <a:cubicBezTo>
                  <a:pt x="626" y="521"/>
                  <a:pt x="628" y="521"/>
                  <a:pt x="628" y="522"/>
                </a:cubicBezTo>
                <a:close/>
                <a:moveTo>
                  <a:pt x="633" y="526"/>
                </a:moveTo>
                <a:cubicBezTo>
                  <a:pt x="634" y="528"/>
                  <a:pt x="631" y="529"/>
                  <a:pt x="633" y="526"/>
                </a:cubicBezTo>
                <a:close/>
                <a:moveTo>
                  <a:pt x="628" y="417"/>
                </a:moveTo>
                <a:cubicBezTo>
                  <a:pt x="630" y="415"/>
                  <a:pt x="631" y="410"/>
                  <a:pt x="634" y="409"/>
                </a:cubicBezTo>
                <a:cubicBezTo>
                  <a:pt x="633" y="409"/>
                  <a:pt x="631" y="417"/>
                  <a:pt x="628" y="417"/>
                </a:cubicBezTo>
                <a:close/>
                <a:moveTo>
                  <a:pt x="633" y="310"/>
                </a:moveTo>
                <a:cubicBezTo>
                  <a:pt x="632" y="309"/>
                  <a:pt x="634" y="305"/>
                  <a:pt x="634" y="305"/>
                </a:cubicBezTo>
                <a:cubicBezTo>
                  <a:pt x="638" y="302"/>
                  <a:pt x="636" y="311"/>
                  <a:pt x="633" y="310"/>
                </a:cubicBezTo>
                <a:close/>
                <a:moveTo>
                  <a:pt x="637" y="496"/>
                </a:moveTo>
                <a:cubicBezTo>
                  <a:pt x="636" y="497"/>
                  <a:pt x="637" y="495"/>
                  <a:pt x="637" y="496"/>
                </a:cubicBezTo>
                <a:close/>
                <a:moveTo>
                  <a:pt x="637" y="495"/>
                </a:moveTo>
                <a:cubicBezTo>
                  <a:pt x="635" y="495"/>
                  <a:pt x="637" y="490"/>
                  <a:pt x="638" y="490"/>
                </a:cubicBezTo>
                <a:cubicBezTo>
                  <a:pt x="640" y="489"/>
                  <a:pt x="639" y="496"/>
                  <a:pt x="637" y="495"/>
                </a:cubicBezTo>
                <a:close/>
                <a:moveTo>
                  <a:pt x="638" y="424"/>
                </a:move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lose/>
                <a:moveTo>
                  <a:pt x="634" y="368"/>
                </a:moveTo>
                <a:cubicBezTo>
                  <a:pt x="637" y="365"/>
                  <a:pt x="639" y="361"/>
                  <a:pt x="643" y="358"/>
                </a:cubicBezTo>
                <a:cubicBezTo>
                  <a:pt x="641" y="362"/>
                  <a:pt x="638" y="365"/>
                  <a:pt x="634" y="368"/>
                </a:cubicBezTo>
                <a:close/>
                <a:moveTo>
                  <a:pt x="641" y="395"/>
                </a:moveTo>
                <a:cubicBezTo>
                  <a:pt x="641" y="395"/>
                  <a:pt x="641" y="395"/>
                  <a:pt x="641" y="395"/>
                </a:cubicBezTo>
                <a:cubicBezTo>
                  <a:pt x="641" y="395"/>
                  <a:pt x="641" y="394"/>
                  <a:pt x="641" y="395"/>
                </a:cubicBezTo>
                <a:close/>
                <a:moveTo>
                  <a:pt x="640" y="430"/>
                </a:moveTo>
                <a:cubicBezTo>
                  <a:pt x="640" y="430"/>
                  <a:pt x="640" y="428"/>
                  <a:pt x="642" y="428"/>
                </a:cubicBezTo>
                <a:cubicBezTo>
                  <a:pt x="643" y="427"/>
                  <a:pt x="644" y="427"/>
                  <a:pt x="645" y="428"/>
                </a:cubicBezTo>
                <a:cubicBezTo>
                  <a:pt x="648" y="432"/>
                  <a:pt x="641" y="434"/>
                  <a:pt x="640" y="430"/>
                </a:cubicBezTo>
                <a:close/>
                <a:moveTo>
                  <a:pt x="645" y="387"/>
                </a:moveTo>
                <a:cubicBezTo>
                  <a:pt x="645" y="386"/>
                  <a:pt x="645" y="385"/>
                  <a:pt x="646" y="385"/>
                </a:cubicBezTo>
                <a:cubicBezTo>
                  <a:pt x="646" y="386"/>
                  <a:pt x="646" y="386"/>
                  <a:pt x="645" y="387"/>
                </a:cubicBezTo>
                <a:close/>
                <a:moveTo>
                  <a:pt x="647" y="552"/>
                </a:moveTo>
                <a:cubicBezTo>
                  <a:pt x="646" y="553"/>
                  <a:pt x="648" y="551"/>
                  <a:pt x="647" y="552"/>
                </a:cubicBezTo>
                <a:close/>
                <a:moveTo>
                  <a:pt x="647" y="429"/>
                </a:moveTo>
                <a:cubicBezTo>
                  <a:pt x="648" y="428"/>
                  <a:pt x="645" y="431"/>
                  <a:pt x="647" y="429"/>
                </a:cubicBezTo>
                <a:close/>
                <a:moveTo>
                  <a:pt x="646" y="388"/>
                </a:moveTo>
                <a:cubicBezTo>
                  <a:pt x="646" y="387"/>
                  <a:pt x="647" y="386"/>
                  <a:pt x="647" y="385"/>
                </a:cubicBezTo>
                <a:cubicBezTo>
                  <a:pt x="647" y="386"/>
                  <a:pt x="647" y="387"/>
                  <a:pt x="646" y="388"/>
                </a:cubicBezTo>
                <a:close/>
                <a:moveTo>
                  <a:pt x="646" y="385"/>
                </a:moveTo>
                <a:cubicBezTo>
                  <a:pt x="647" y="384"/>
                  <a:pt x="647" y="383"/>
                  <a:pt x="648" y="383"/>
                </a:cubicBezTo>
                <a:cubicBezTo>
                  <a:pt x="648" y="384"/>
                  <a:pt x="647" y="384"/>
                  <a:pt x="646" y="385"/>
                </a:cubicBezTo>
                <a:close/>
                <a:moveTo>
                  <a:pt x="647" y="345"/>
                </a:moveTo>
                <a:cubicBezTo>
                  <a:pt x="646" y="345"/>
                  <a:pt x="647" y="344"/>
                  <a:pt x="647" y="344"/>
                </a:cubicBezTo>
                <a:cubicBezTo>
                  <a:pt x="648" y="342"/>
                  <a:pt x="648" y="345"/>
                  <a:pt x="647" y="345"/>
                </a:cubicBezTo>
                <a:close/>
                <a:moveTo>
                  <a:pt x="648" y="529"/>
                </a:moveTo>
                <a:cubicBezTo>
                  <a:pt x="647" y="529"/>
                  <a:pt x="648" y="528"/>
                  <a:pt x="648" y="528"/>
                </a:cubicBezTo>
                <a:cubicBezTo>
                  <a:pt x="649" y="528"/>
                  <a:pt x="648" y="529"/>
                  <a:pt x="648" y="529"/>
                </a:cubicBezTo>
                <a:close/>
                <a:moveTo>
                  <a:pt x="648" y="382"/>
                </a:moveTo>
                <a:cubicBezTo>
                  <a:pt x="649" y="381"/>
                  <a:pt x="647" y="383"/>
                  <a:pt x="648" y="382"/>
                </a:cubicBezTo>
                <a:close/>
                <a:moveTo>
                  <a:pt x="650" y="335"/>
                </a:moveTo>
                <a:cubicBezTo>
                  <a:pt x="647" y="337"/>
                  <a:pt x="652" y="333"/>
                  <a:pt x="650" y="335"/>
                </a:cubicBezTo>
                <a:close/>
                <a:moveTo>
                  <a:pt x="651" y="357"/>
                </a:moveTo>
                <a:cubicBezTo>
                  <a:pt x="651" y="355"/>
                  <a:pt x="650" y="358"/>
                  <a:pt x="651" y="357"/>
                </a:cubicBezTo>
                <a:close/>
                <a:moveTo>
                  <a:pt x="651" y="299"/>
                </a:moveTo>
                <a:cubicBezTo>
                  <a:pt x="649" y="299"/>
                  <a:pt x="651" y="296"/>
                  <a:pt x="652" y="298"/>
                </a:cubicBezTo>
                <a:cubicBezTo>
                  <a:pt x="652" y="298"/>
                  <a:pt x="651" y="299"/>
                  <a:pt x="651" y="299"/>
                </a:cubicBezTo>
                <a:close/>
                <a:moveTo>
                  <a:pt x="651" y="291"/>
                </a:moveTo>
                <a:cubicBezTo>
                  <a:pt x="651" y="291"/>
                  <a:pt x="652" y="291"/>
                  <a:pt x="652" y="291"/>
                </a:cubicBezTo>
                <a:cubicBezTo>
                  <a:pt x="652" y="292"/>
                  <a:pt x="651" y="291"/>
                  <a:pt x="651" y="291"/>
                </a:cubicBezTo>
                <a:close/>
                <a:moveTo>
                  <a:pt x="652" y="333"/>
                </a:moveTo>
                <a:cubicBezTo>
                  <a:pt x="652" y="331"/>
                  <a:pt x="654" y="331"/>
                  <a:pt x="654" y="330"/>
                </a:cubicBezTo>
                <a:cubicBezTo>
                  <a:pt x="654" y="331"/>
                  <a:pt x="653" y="332"/>
                  <a:pt x="652" y="333"/>
                </a:cubicBezTo>
                <a:close/>
                <a:moveTo>
                  <a:pt x="654" y="302"/>
                </a:moveTo>
                <a:cubicBezTo>
                  <a:pt x="655" y="302"/>
                  <a:pt x="654" y="302"/>
                  <a:pt x="654" y="302"/>
                </a:cubicBezTo>
                <a:cubicBezTo>
                  <a:pt x="655" y="304"/>
                  <a:pt x="652" y="302"/>
                  <a:pt x="654" y="302"/>
                </a:cubicBezTo>
                <a:close/>
                <a:moveTo>
                  <a:pt x="654" y="370"/>
                </a:moveTo>
                <a:cubicBezTo>
                  <a:pt x="654" y="369"/>
                  <a:pt x="656" y="369"/>
                  <a:pt x="655" y="370"/>
                </a:cubicBezTo>
                <a:cubicBezTo>
                  <a:pt x="655" y="370"/>
                  <a:pt x="654" y="370"/>
                  <a:pt x="654" y="370"/>
                </a:cubicBezTo>
                <a:close/>
                <a:moveTo>
                  <a:pt x="648" y="287"/>
                </a:moveTo>
                <a:cubicBezTo>
                  <a:pt x="651" y="284"/>
                  <a:pt x="653" y="280"/>
                  <a:pt x="658" y="277"/>
                </a:cubicBezTo>
                <a:cubicBezTo>
                  <a:pt x="657" y="281"/>
                  <a:pt x="652" y="285"/>
                  <a:pt x="648" y="287"/>
                </a:cubicBezTo>
                <a:close/>
                <a:moveTo>
                  <a:pt x="657" y="286"/>
                </a:moveTo>
                <a:cubicBezTo>
                  <a:pt x="657" y="285"/>
                  <a:pt x="658" y="285"/>
                  <a:pt x="658" y="285"/>
                </a:cubicBezTo>
                <a:cubicBezTo>
                  <a:pt x="659" y="286"/>
                  <a:pt x="656" y="287"/>
                  <a:pt x="657" y="286"/>
                </a:cubicBezTo>
                <a:close/>
                <a:moveTo>
                  <a:pt x="658" y="318"/>
                </a:moveTo>
                <a:cubicBezTo>
                  <a:pt x="659" y="317"/>
                  <a:pt x="657" y="319"/>
                  <a:pt x="658" y="318"/>
                </a:cubicBezTo>
                <a:close/>
                <a:moveTo>
                  <a:pt x="658" y="348"/>
                </a:moveTo>
                <a:cubicBezTo>
                  <a:pt x="659" y="347"/>
                  <a:pt x="656" y="349"/>
                  <a:pt x="658" y="348"/>
                </a:cubicBezTo>
                <a:close/>
                <a:moveTo>
                  <a:pt x="658" y="477"/>
                </a:moveTo>
                <a:cubicBezTo>
                  <a:pt x="658" y="476"/>
                  <a:pt x="658" y="476"/>
                  <a:pt x="658" y="476"/>
                </a:cubicBezTo>
                <a:cubicBezTo>
                  <a:pt x="659" y="474"/>
                  <a:pt x="660" y="477"/>
                  <a:pt x="658" y="477"/>
                </a:cubicBezTo>
                <a:close/>
                <a:moveTo>
                  <a:pt x="658" y="376"/>
                </a:moveTo>
                <a:cubicBezTo>
                  <a:pt x="657" y="375"/>
                  <a:pt x="658" y="373"/>
                  <a:pt x="658" y="373"/>
                </a:cubicBezTo>
                <a:cubicBezTo>
                  <a:pt x="661" y="371"/>
                  <a:pt x="661" y="376"/>
                  <a:pt x="658" y="376"/>
                </a:cubicBezTo>
                <a:close/>
                <a:moveTo>
                  <a:pt x="660" y="413"/>
                </a:moveTo>
                <a:cubicBezTo>
                  <a:pt x="660" y="412"/>
                  <a:pt x="661" y="412"/>
                  <a:pt x="660" y="413"/>
                </a:cubicBezTo>
                <a:close/>
                <a:moveTo>
                  <a:pt x="658" y="347"/>
                </a:moveTo>
                <a:cubicBezTo>
                  <a:pt x="659" y="345"/>
                  <a:pt x="660" y="343"/>
                  <a:pt x="662" y="342"/>
                </a:cubicBezTo>
                <a:cubicBezTo>
                  <a:pt x="662" y="342"/>
                  <a:pt x="660" y="346"/>
                  <a:pt x="658" y="347"/>
                </a:cubicBezTo>
                <a:close/>
                <a:moveTo>
                  <a:pt x="663" y="312"/>
                </a:moveTo>
                <a:cubicBezTo>
                  <a:pt x="663" y="312"/>
                  <a:pt x="664" y="313"/>
                  <a:pt x="663" y="313"/>
                </a:cubicBezTo>
                <a:cubicBezTo>
                  <a:pt x="662" y="314"/>
                  <a:pt x="661" y="312"/>
                  <a:pt x="662" y="312"/>
                </a:cubicBezTo>
                <a:cubicBezTo>
                  <a:pt x="662" y="312"/>
                  <a:pt x="662" y="312"/>
                  <a:pt x="662" y="312"/>
                </a:cubicBezTo>
                <a:cubicBezTo>
                  <a:pt x="662" y="311"/>
                  <a:pt x="662" y="311"/>
                  <a:pt x="661" y="311"/>
                </a:cubicBezTo>
                <a:cubicBezTo>
                  <a:pt x="660" y="310"/>
                  <a:pt x="664" y="308"/>
                  <a:pt x="664" y="310"/>
                </a:cubicBezTo>
                <a:cubicBezTo>
                  <a:pt x="664" y="311"/>
                  <a:pt x="664" y="311"/>
                  <a:pt x="663" y="312"/>
                </a:cubicBezTo>
                <a:close/>
                <a:moveTo>
                  <a:pt x="662" y="277"/>
                </a:moveTo>
                <a:cubicBezTo>
                  <a:pt x="661" y="279"/>
                  <a:pt x="662" y="276"/>
                  <a:pt x="662" y="277"/>
                </a:cubicBezTo>
                <a:close/>
                <a:moveTo>
                  <a:pt x="662" y="261"/>
                </a:moveTo>
                <a:cubicBezTo>
                  <a:pt x="662" y="261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ubicBezTo>
                  <a:pt x="662" y="260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lose/>
                <a:moveTo>
                  <a:pt x="664" y="309"/>
                </a:moveTo>
                <a:cubicBezTo>
                  <a:pt x="663" y="309"/>
                  <a:pt x="663" y="308"/>
                  <a:pt x="664" y="308"/>
                </a:cubicBezTo>
                <a:cubicBezTo>
                  <a:pt x="664" y="307"/>
                  <a:pt x="665" y="309"/>
                  <a:pt x="664" y="309"/>
                </a:cubicBezTo>
                <a:close/>
                <a:moveTo>
                  <a:pt x="664" y="258"/>
                </a:moveTo>
                <a:cubicBezTo>
                  <a:pt x="664" y="260"/>
                  <a:pt x="662" y="259"/>
                  <a:pt x="664" y="258"/>
                </a:cubicBezTo>
                <a:close/>
                <a:moveTo>
                  <a:pt x="665" y="262"/>
                </a:moveTo>
                <a:cubicBezTo>
                  <a:pt x="663" y="263"/>
                  <a:pt x="666" y="260"/>
                  <a:pt x="665" y="262"/>
                </a:cubicBezTo>
                <a:close/>
                <a:moveTo>
                  <a:pt x="663" y="233"/>
                </a:moveTo>
                <a:cubicBezTo>
                  <a:pt x="665" y="234"/>
                  <a:pt x="663" y="240"/>
                  <a:pt x="660" y="239"/>
                </a:cubicBezTo>
                <a:cubicBezTo>
                  <a:pt x="657" y="239"/>
                  <a:pt x="659" y="230"/>
                  <a:pt x="663" y="233"/>
                </a:cubicBezTo>
                <a:cubicBezTo>
                  <a:pt x="662" y="232"/>
                  <a:pt x="662" y="229"/>
                  <a:pt x="664" y="230"/>
                </a:cubicBezTo>
                <a:cubicBezTo>
                  <a:pt x="666" y="230"/>
                  <a:pt x="665" y="234"/>
                  <a:pt x="663" y="233"/>
                </a:cubicBezTo>
                <a:close/>
                <a:moveTo>
                  <a:pt x="665" y="341"/>
                </a:moveTo>
                <a:cubicBezTo>
                  <a:pt x="665" y="340"/>
                  <a:pt x="667" y="338"/>
                  <a:pt x="668" y="337"/>
                </a:cubicBezTo>
                <a:cubicBezTo>
                  <a:pt x="667" y="339"/>
                  <a:pt x="667" y="340"/>
                  <a:pt x="665" y="341"/>
                </a:cubicBezTo>
                <a:close/>
                <a:moveTo>
                  <a:pt x="668" y="481"/>
                </a:moveTo>
                <a:cubicBezTo>
                  <a:pt x="668" y="481"/>
                  <a:pt x="668" y="480"/>
                  <a:pt x="668" y="481"/>
                </a:cubicBezTo>
                <a:cubicBezTo>
                  <a:pt x="669" y="481"/>
                  <a:pt x="668" y="482"/>
                  <a:pt x="668" y="481"/>
                </a:cubicBezTo>
                <a:close/>
                <a:moveTo>
                  <a:pt x="671" y="391"/>
                </a:moveTo>
                <a:cubicBezTo>
                  <a:pt x="671" y="390"/>
                  <a:pt x="672" y="389"/>
                  <a:pt x="672" y="388"/>
                </a:cubicBezTo>
                <a:cubicBezTo>
                  <a:pt x="673" y="389"/>
                  <a:pt x="672" y="391"/>
                  <a:pt x="671" y="391"/>
                </a:cubicBezTo>
                <a:close/>
                <a:moveTo>
                  <a:pt x="673" y="387"/>
                </a:moveTo>
                <a:cubicBezTo>
                  <a:pt x="673" y="385"/>
                  <a:pt x="675" y="383"/>
                  <a:pt x="675" y="381"/>
                </a:cubicBezTo>
                <a:cubicBezTo>
                  <a:pt x="676" y="383"/>
                  <a:pt x="674" y="385"/>
                  <a:pt x="673" y="387"/>
                </a:cubicBezTo>
                <a:close/>
                <a:moveTo>
                  <a:pt x="683" y="314"/>
                </a:moveTo>
                <a:cubicBezTo>
                  <a:pt x="681" y="318"/>
                  <a:pt x="678" y="322"/>
                  <a:pt x="676" y="326"/>
                </a:cubicBezTo>
                <a:cubicBezTo>
                  <a:pt x="678" y="322"/>
                  <a:pt x="679" y="317"/>
                  <a:pt x="683" y="314"/>
                </a:cubicBezTo>
                <a:close/>
                <a:moveTo>
                  <a:pt x="678" y="432"/>
                </a:moveTo>
                <a:cubicBezTo>
                  <a:pt x="678" y="434"/>
                  <a:pt x="676" y="433"/>
                  <a:pt x="678" y="432"/>
                </a:cubicBezTo>
                <a:close/>
                <a:moveTo>
                  <a:pt x="682" y="426"/>
                </a:moveTo>
                <a:cubicBezTo>
                  <a:pt x="681" y="426"/>
                  <a:pt x="681" y="425"/>
                  <a:pt x="682" y="424"/>
                </a:cubicBezTo>
                <a:cubicBezTo>
                  <a:pt x="683" y="423"/>
                  <a:pt x="684" y="427"/>
                  <a:pt x="682" y="426"/>
                </a:cubicBezTo>
                <a:close/>
                <a:moveTo>
                  <a:pt x="683" y="451"/>
                </a:moveTo>
                <a:cubicBezTo>
                  <a:pt x="683" y="450"/>
                  <a:pt x="685" y="451"/>
                  <a:pt x="683" y="451"/>
                </a:cubicBezTo>
                <a:close/>
                <a:moveTo>
                  <a:pt x="683" y="486"/>
                </a:moveTo>
                <a:cubicBezTo>
                  <a:pt x="684" y="486"/>
                  <a:pt x="682" y="487"/>
                  <a:pt x="683" y="486"/>
                </a:cubicBezTo>
                <a:close/>
                <a:moveTo>
                  <a:pt x="685" y="289"/>
                </a:moveTo>
                <a:cubicBezTo>
                  <a:pt x="686" y="289"/>
                  <a:pt x="684" y="290"/>
                  <a:pt x="684" y="290"/>
                </a:cubicBezTo>
                <a:cubicBezTo>
                  <a:pt x="684" y="290"/>
                  <a:pt x="685" y="290"/>
                  <a:pt x="685" y="289"/>
                </a:cubicBezTo>
                <a:close/>
                <a:moveTo>
                  <a:pt x="685" y="345"/>
                </a:moveTo>
                <a:cubicBezTo>
                  <a:pt x="684" y="344"/>
                  <a:pt x="685" y="344"/>
                  <a:pt x="685" y="343"/>
                </a:cubicBezTo>
                <a:cubicBezTo>
                  <a:pt x="686" y="343"/>
                  <a:pt x="685" y="345"/>
                  <a:pt x="685" y="345"/>
                </a:cubicBezTo>
                <a:close/>
                <a:moveTo>
                  <a:pt x="686" y="342"/>
                </a:moveTo>
                <a:cubicBezTo>
                  <a:pt x="685" y="341"/>
                  <a:pt x="686" y="341"/>
                  <a:pt x="686" y="340"/>
                </a:cubicBezTo>
                <a:cubicBezTo>
                  <a:pt x="687" y="340"/>
                  <a:pt x="686" y="342"/>
                  <a:pt x="686" y="342"/>
                </a:cubicBezTo>
                <a:close/>
                <a:moveTo>
                  <a:pt x="687" y="340"/>
                </a:moveTo>
                <a:cubicBezTo>
                  <a:pt x="686" y="339"/>
                  <a:pt x="687" y="337"/>
                  <a:pt x="688" y="336"/>
                </a:cubicBezTo>
                <a:cubicBezTo>
                  <a:pt x="688" y="337"/>
                  <a:pt x="687" y="339"/>
                  <a:pt x="687" y="340"/>
                </a:cubicBezTo>
                <a:close/>
                <a:moveTo>
                  <a:pt x="688" y="329"/>
                </a:moveTo>
                <a:cubicBezTo>
                  <a:pt x="688" y="329"/>
                  <a:pt x="688" y="329"/>
                  <a:pt x="688" y="329"/>
                </a:cubicBezTo>
                <a:cubicBezTo>
                  <a:pt x="688" y="329"/>
                  <a:pt x="687" y="330"/>
                  <a:pt x="688" y="329"/>
                </a:cubicBezTo>
                <a:close/>
                <a:moveTo>
                  <a:pt x="688" y="284"/>
                </a:moveTo>
                <a:cubicBezTo>
                  <a:pt x="689" y="283"/>
                  <a:pt x="686" y="286"/>
                  <a:pt x="688" y="284"/>
                </a:cubicBezTo>
                <a:close/>
                <a:moveTo>
                  <a:pt x="693" y="290"/>
                </a:moveTo>
                <a:cubicBezTo>
                  <a:pt x="697" y="288"/>
                  <a:pt x="695" y="297"/>
                  <a:pt x="692" y="296"/>
                </a:cubicBezTo>
                <a:cubicBezTo>
                  <a:pt x="690" y="295"/>
                  <a:pt x="692" y="291"/>
                  <a:pt x="693" y="290"/>
                </a:cubicBezTo>
                <a:close/>
                <a:moveTo>
                  <a:pt x="691" y="285"/>
                </a:moveTo>
                <a:cubicBezTo>
                  <a:pt x="691" y="286"/>
                  <a:pt x="692" y="284"/>
                  <a:pt x="691" y="285"/>
                </a:cubicBezTo>
                <a:close/>
                <a:moveTo>
                  <a:pt x="689" y="285"/>
                </a:moveTo>
                <a:cubicBezTo>
                  <a:pt x="690" y="285"/>
                  <a:pt x="690" y="284"/>
                  <a:pt x="691" y="284"/>
                </a:cubicBezTo>
                <a:cubicBezTo>
                  <a:pt x="693" y="285"/>
                  <a:pt x="688" y="288"/>
                  <a:pt x="689" y="285"/>
                </a:cubicBezTo>
                <a:close/>
                <a:moveTo>
                  <a:pt x="689" y="316"/>
                </a:moveTo>
                <a:cubicBezTo>
                  <a:pt x="690" y="317"/>
                  <a:pt x="688" y="316"/>
                  <a:pt x="689" y="316"/>
                </a:cubicBezTo>
                <a:close/>
                <a:moveTo>
                  <a:pt x="689" y="395"/>
                </a:moveTo>
                <a:cubicBezTo>
                  <a:pt x="689" y="395"/>
                  <a:pt x="689" y="394"/>
                  <a:pt x="689" y="394"/>
                </a:cubicBezTo>
                <a:cubicBezTo>
                  <a:pt x="690" y="394"/>
                  <a:pt x="688" y="397"/>
                  <a:pt x="689" y="395"/>
                </a:cubicBezTo>
                <a:close/>
                <a:moveTo>
                  <a:pt x="690" y="404"/>
                </a:moveTo>
                <a:cubicBezTo>
                  <a:pt x="690" y="403"/>
                  <a:pt x="691" y="404"/>
                  <a:pt x="691" y="404"/>
                </a:cubicBezTo>
                <a:cubicBezTo>
                  <a:pt x="691" y="405"/>
                  <a:pt x="689" y="405"/>
                  <a:pt x="690" y="404"/>
                </a:cubicBezTo>
                <a:close/>
                <a:moveTo>
                  <a:pt x="691" y="343"/>
                </a:moveTo>
                <a:cubicBezTo>
                  <a:pt x="691" y="342"/>
                  <a:pt x="691" y="341"/>
                  <a:pt x="691" y="341"/>
                </a:cubicBezTo>
                <a:cubicBezTo>
                  <a:pt x="692" y="340"/>
                  <a:pt x="692" y="343"/>
                  <a:pt x="691" y="343"/>
                </a:cubicBezTo>
                <a:close/>
                <a:moveTo>
                  <a:pt x="692" y="394"/>
                </a:moveTo>
                <a:cubicBezTo>
                  <a:pt x="691" y="395"/>
                  <a:pt x="693" y="393"/>
                  <a:pt x="692" y="394"/>
                </a:cubicBezTo>
                <a:close/>
                <a:moveTo>
                  <a:pt x="692" y="300"/>
                </a:moveTo>
                <a:cubicBezTo>
                  <a:pt x="690" y="300"/>
                  <a:pt x="691" y="299"/>
                  <a:pt x="692" y="298"/>
                </a:cubicBezTo>
                <a:cubicBezTo>
                  <a:pt x="693" y="297"/>
                  <a:pt x="693" y="300"/>
                  <a:pt x="692" y="300"/>
                </a:cubicBezTo>
                <a:close/>
                <a:moveTo>
                  <a:pt x="694" y="330"/>
                </a:moveTo>
                <a:cubicBezTo>
                  <a:pt x="695" y="329"/>
                  <a:pt x="695" y="332"/>
                  <a:pt x="694" y="331"/>
                </a:cubicBezTo>
                <a:cubicBezTo>
                  <a:pt x="693" y="331"/>
                  <a:pt x="694" y="330"/>
                  <a:pt x="694" y="330"/>
                </a:cubicBezTo>
                <a:close/>
                <a:moveTo>
                  <a:pt x="694" y="454"/>
                </a:moveTo>
                <a:cubicBezTo>
                  <a:pt x="694" y="454"/>
                  <a:pt x="694" y="454"/>
                  <a:pt x="695" y="454"/>
                </a:cubicBezTo>
                <a:cubicBezTo>
                  <a:pt x="696" y="454"/>
                  <a:pt x="693" y="455"/>
                  <a:pt x="694" y="454"/>
                </a:cubicBezTo>
                <a:close/>
                <a:moveTo>
                  <a:pt x="696" y="312"/>
                </a:moveTo>
                <a:cubicBezTo>
                  <a:pt x="694" y="313"/>
                  <a:pt x="694" y="308"/>
                  <a:pt x="695" y="307"/>
                </a:cubicBezTo>
                <a:cubicBezTo>
                  <a:pt x="700" y="304"/>
                  <a:pt x="697" y="312"/>
                  <a:pt x="696" y="312"/>
                </a:cubicBezTo>
                <a:close/>
                <a:moveTo>
                  <a:pt x="699" y="327"/>
                </a:moveTo>
                <a:cubicBezTo>
                  <a:pt x="699" y="327"/>
                  <a:pt x="700" y="326"/>
                  <a:pt x="700" y="326"/>
                </a:cubicBezTo>
                <a:cubicBezTo>
                  <a:pt x="702" y="327"/>
                  <a:pt x="698" y="329"/>
                  <a:pt x="699" y="327"/>
                </a:cubicBezTo>
                <a:close/>
                <a:moveTo>
                  <a:pt x="702" y="431"/>
                </a:moveTo>
                <a:cubicBezTo>
                  <a:pt x="702" y="430"/>
                  <a:pt x="704" y="429"/>
                  <a:pt x="704" y="428"/>
                </a:cubicBezTo>
                <a:cubicBezTo>
                  <a:pt x="704" y="429"/>
                  <a:pt x="704" y="431"/>
                  <a:pt x="702" y="431"/>
                </a:cubicBezTo>
                <a:close/>
                <a:moveTo>
                  <a:pt x="704" y="427"/>
                </a:moveTo>
                <a:cubicBezTo>
                  <a:pt x="705" y="425"/>
                  <a:pt x="705" y="423"/>
                  <a:pt x="706" y="421"/>
                </a:cubicBezTo>
                <a:cubicBezTo>
                  <a:pt x="707" y="422"/>
                  <a:pt x="705" y="426"/>
                  <a:pt x="704" y="427"/>
                </a:cubicBezTo>
                <a:close/>
                <a:moveTo>
                  <a:pt x="706" y="392"/>
                </a:moveTo>
                <a:cubicBezTo>
                  <a:pt x="706" y="393"/>
                  <a:pt x="706" y="393"/>
                  <a:pt x="706" y="392"/>
                </a:cubicBezTo>
                <a:close/>
                <a:moveTo>
                  <a:pt x="709" y="396"/>
                </a:moveTo>
                <a:cubicBezTo>
                  <a:pt x="710" y="397"/>
                  <a:pt x="708" y="397"/>
                  <a:pt x="709" y="396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256" name="Freeform 97">
            <a:extLst>
              <a:ext uri="{FF2B5EF4-FFF2-40B4-BE49-F238E27FC236}">
                <a16:creationId xmlns="" xmlns:a16="http://schemas.microsoft.com/office/drawing/2014/main" id="{2D7C7898-065B-4508-B2DF-B852A17116F4}"/>
              </a:ext>
            </a:extLst>
          </p:cNvPr>
          <p:cNvSpPr>
            <a:spLocks noEditPoints="1"/>
          </p:cNvSpPr>
          <p:nvPr/>
        </p:nvSpPr>
        <p:spPr bwMode="auto">
          <a:xfrm>
            <a:off x="3207584" y="3907810"/>
            <a:ext cx="1604882" cy="1604882"/>
          </a:xfrm>
          <a:custGeom>
            <a:avLst/>
            <a:gdLst>
              <a:gd name="T0" fmla="*/ 677 w 714"/>
              <a:gd name="T1" fmla="*/ 212 h 715"/>
              <a:gd name="T2" fmla="*/ 626 w 714"/>
              <a:gd name="T3" fmla="*/ 179 h 715"/>
              <a:gd name="T4" fmla="*/ 573 w 714"/>
              <a:gd name="T5" fmla="*/ 139 h 715"/>
              <a:gd name="T6" fmla="*/ 553 w 714"/>
              <a:gd name="T7" fmla="*/ 94 h 715"/>
              <a:gd name="T8" fmla="*/ 516 w 714"/>
              <a:gd name="T9" fmla="*/ 53 h 715"/>
              <a:gd name="T10" fmla="*/ 421 w 714"/>
              <a:gd name="T11" fmla="*/ 60 h 715"/>
              <a:gd name="T12" fmla="*/ 429 w 714"/>
              <a:gd name="T13" fmla="*/ 26 h 715"/>
              <a:gd name="T14" fmla="*/ 22 w 714"/>
              <a:gd name="T15" fmla="*/ 436 h 715"/>
              <a:gd name="T16" fmla="*/ 39 w 714"/>
              <a:gd name="T17" fmla="*/ 451 h 715"/>
              <a:gd name="T18" fmla="*/ 60 w 714"/>
              <a:gd name="T19" fmla="*/ 465 h 715"/>
              <a:gd name="T20" fmla="*/ 108 w 714"/>
              <a:gd name="T21" fmla="*/ 446 h 715"/>
              <a:gd name="T22" fmla="*/ 102 w 714"/>
              <a:gd name="T23" fmla="*/ 508 h 715"/>
              <a:gd name="T24" fmla="*/ 146 w 714"/>
              <a:gd name="T25" fmla="*/ 552 h 715"/>
              <a:gd name="T26" fmla="*/ 190 w 714"/>
              <a:gd name="T27" fmla="*/ 596 h 715"/>
              <a:gd name="T28" fmla="*/ 214 w 714"/>
              <a:gd name="T29" fmla="*/ 647 h 715"/>
              <a:gd name="T30" fmla="*/ 296 w 714"/>
              <a:gd name="T31" fmla="*/ 709 h 715"/>
              <a:gd name="T32" fmla="*/ 684 w 714"/>
              <a:gd name="T33" fmla="*/ 227 h 715"/>
              <a:gd name="T34" fmla="*/ 434 w 714"/>
              <a:gd name="T35" fmla="*/ 24 h 715"/>
              <a:gd name="T36" fmla="*/ 9 w 714"/>
              <a:gd name="T37" fmla="*/ 371 h 715"/>
              <a:gd name="T38" fmla="*/ 37 w 714"/>
              <a:gd name="T39" fmla="*/ 344 h 715"/>
              <a:gd name="T40" fmla="*/ 45 w 714"/>
              <a:gd name="T41" fmla="*/ 192 h 715"/>
              <a:gd name="T42" fmla="*/ 64 w 714"/>
              <a:gd name="T43" fmla="*/ 419 h 715"/>
              <a:gd name="T44" fmla="*/ 84 w 714"/>
              <a:gd name="T45" fmla="*/ 332 h 715"/>
              <a:gd name="T46" fmla="*/ 87 w 714"/>
              <a:gd name="T47" fmla="*/ 502 h 715"/>
              <a:gd name="T48" fmla="*/ 234 w 714"/>
              <a:gd name="T49" fmla="*/ 679 h 715"/>
              <a:gd name="T50" fmla="*/ 287 w 714"/>
              <a:gd name="T51" fmla="*/ 641 h 715"/>
              <a:gd name="T52" fmla="*/ 303 w 714"/>
              <a:gd name="T53" fmla="*/ 67 h 715"/>
              <a:gd name="T54" fmla="*/ 270 w 714"/>
              <a:gd name="T55" fmla="*/ 571 h 715"/>
              <a:gd name="T56" fmla="*/ 246 w 714"/>
              <a:gd name="T57" fmla="*/ 640 h 715"/>
              <a:gd name="T58" fmla="*/ 249 w 714"/>
              <a:gd name="T59" fmla="*/ 640 h 715"/>
              <a:gd name="T60" fmla="*/ 227 w 714"/>
              <a:gd name="T61" fmla="*/ 527 h 715"/>
              <a:gd name="T62" fmla="*/ 209 w 714"/>
              <a:gd name="T63" fmla="*/ 468 h 715"/>
              <a:gd name="T64" fmla="*/ 178 w 714"/>
              <a:gd name="T65" fmla="*/ 383 h 715"/>
              <a:gd name="T66" fmla="*/ 165 w 714"/>
              <a:gd name="T67" fmla="*/ 345 h 715"/>
              <a:gd name="T68" fmla="*/ 156 w 714"/>
              <a:gd name="T69" fmla="*/ 435 h 715"/>
              <a:gd name="T70" fmla="*/ 132 w 714"/>
              <a:gd name="T71" fmla="*/ 280 h 715"/>
              <a:gd name="T72" fmla="*/ 123 w 714"/>
              <a:gd name="T73" fmla="*/ 474 h 715"/>
              <a:gd name="T74" fmla="*/ 154 w 714"/>
              <a:gd name="T75" fmla="*/ 484 h 715"/>
              <a:gd name="T76" fmla="*/ 189 w 714"/>
              <a:gd name="T77" fmla="*/ 398 h 715"/>
              <a:gd name="T78" fmla="*/ 235 w 714"/>
              <a:gd name="T79" fmla="*/ 592 h 715"/>
              <a:gd name="T80" fmla="*/ 277 w 714"/>
              <a:gd name="T81" fmla="*/ 700 h 715"/>
              <a:gd name="T82" fmla="*/ 335 w 714"/>
              <a:gd name="T83" fmla="*/ 131 h 715"/>
              <a:gd name="T84" fmla="*/ 522 w 714"/>
              <a:gd name="T85" fmla="*/ 181 h 715"/>
              <a:gd name="T86" fmla="*/ 480 w 714"/>
              <a:gd name="T87" fmla="*/ 95 h 715"/>
              <a:gd name="T88" fmla="*/ 502 w 714"/>
              <a:gd name="T89" fmla="*/ 132 h 715"/>
              <a:gd name="T90" fmla="*/ 509 w 714"/>
              <a:gd name="T91" fmla="*/ 36 h 715"/>
              <a:gd name="T92" fmla="*/ 462 w 714"/>
              <a:gd name="T93" fmla="*/ 49 h 715"/>
              <a:gd name="T94" fmla="*/ 406 w 714"/>
              <a:gd name="T95" fmla="*/ 125 h 715"/>
              <a:gd name="T96" fmla="*/ 372 w 714"/>
              <a:gd name="T97" fmla="*/ 610 h 715"/>
              <a:gd name="T98" fmla="*/ 398 w 714"/>
              <a:gd name="T99" fmla="*/ 679 h 715"/>
              <a:gd name="T100" fmla="*/ 454 w 714"/>
              <a:gd name="T101" fmla="*/ 644 h 715"/>
              <a:gd name="T102" fmla="*/ 469 w 714"/>
              <a:gd name="T103" fmla="*/ 168 h 715"/>
              <a:gd name="T104" fmla="*/ 522 w 714"/>
              <a:gd name="T105" fmla="*/ 285 h 715"/>
              <a:gd name="T106" fmla="*/ 585 w 714"/>
              <a:gd name="T107" fmla="*/ 213 h 715"/>
              <a:gd name="T108" fmla="*/ 544 w 714"/>
              <a:gd name="T109" fmla="*/ 168 h 715"/>
              <a:gd name="T110" fmla="*/ 573 w 714"/>
              <a:gd name="T111" fmla="*/ 236 h 715"/>
              <a:gd name="T112" fmla="*/ 595 w 714"/>
              <a:gd name="T113" fmla="*/ 470 h 715"/>
              <a:gd name="T114" fmla="*/ 651 w 714"/>
              <a:gd name="T115" fmla="*/ 272 h 715"/>
              <a:gd name="T116" fmla="*/ 630 w 714"/>
              <a:gd name="T117" fmla="*/ 261 h 715"/>
              <a:gd name="T118" fmla="*/ 615 w 714"/>
              <a:gd name="T119" fmla="*/ 194 h 715"/>
              <a:gd name="T120" fmla="*/ 625 w 714"/>
              <a:gd name="T121" fmla="*/ 381 h 715"/>
              <a:gd name="T122" fmla="*/ 658 w 714"/>
              <a:gd name="T123" fmla="*/ 277 h 715"/>
              <a:gd name="T124" fmla="*/ 686 w 714"/>
              <a:gd name="T125" fmla="*/ 342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14" h="715">
                <a:moveTo>
                  <a:pt x="710" y="304"/>
                </a:moveTo>
                <a:cubicBezTo>
                  <a:pt x="710" y="305"/>
                  <a:pt x="710" y="305"/>
                  <a:pt x="709" y="305"/>
                </a:cubicBezTo>
                <a:cubicBezTo>
                  <a:pt x="709" y="304"/>
                  <a:pt x="710" y="303"/>
                  <a:pt x="710" y="303"/>
                </a:cubicBezTo>
                <a:cubicBezTo>
                  <a:pt x="710" y="303"/>
                  <a:pt x="710" y="303"/>
                  <a:pt x="710" y="303"/>
                </a:cubicBezTo>
                <a:cubicBezTo>
                  <a:pt x="709" y="297"/>
                  <a:pt x="708" y="292"/>
                  <a:pt x="707" y="286"/>
                </a:cubicBezTo>
                <a:cubicBezTo>
                  <a:pt x="707" y="287"/>
                  <a:pt x="707" y="288"/>
                  <a:pt x="706" y="290"/>
                </a:cubicBezTo>
                <a:cubicBezTo>
                  <a:pt x="706" y="289"/>
                  <a:pt x="707" y="289"/>
                  <a:pt x="707" y="289"/>
                </a:cubicBezTo>
                <a:cubicBezTo>
                  <a:pt x="707" y="290"/>
                  <a:pt x="706" y="290"/>
                  <a:pt x="706" y="290"/>
                </a:cubicBezTo>
                <a:cubicBezTo>
                  <a:pt x="706" y="292"/>
                  <a:pt x="706" y="294"/>
                  <a:pt x="705" y="295"/>
                </a:cubicBezTo>
                <a:cubicBezTo>
                  <a:pt x="703" y="298"/>
                  <a:pt x="703" y="301"/>
                  <a:pt x="703" y="301"/>
                </a:cubicBezTo>
                <a:cubicBezTo>
                  <a:pt x="702" y="302"/>
                  <a:pt x="700" y="300"/>
                  <a:pt x="699" y="300"/>
                </a:cubicBezTo>
                <a:cubicBezTo>
                  <a:pt x="697" y="301"/>
                  <a:pt x="697" y="303"/>
                  <a:pt x="696" y="300"/>
                </a:cubicBezTo>
                <a:cubicBezTo>
                  <a:pt x="696" y="299"/>
                  <a:pt x="696" y="301"/>
                  <a:pt x="695" y="298"/>
                </a:cubicBezTo>
                <a:cubicBezTo>
                  <a:pt x="695" y="297"/>
                  <a:pt x="697" y="291"/>
                  <a:pt x="700" y="292"/>
                </a:cubicBezTo>
                <a:cubicBezTo>
                  <a:pt x="701" y="293"/>
                  <a:pt x="702" y="295"/>
                  <a:pt x="703" y="292"/>
                </a:cubicBezTo>
                <a:cubicBezTo>
                  <a:pt x="703" y="291"/>
                  <a:pt x="703" y="290"/>
                  <a:pt x="703" y="289"/>
                </a:cubicBezTo>
                <a:cubicBezTo>
                  <a:pt x="703" y="287"/>
                  <a:pt x="705" y="284"/>
                  <a:pt x="706" y="282"/>
                </a:cubicBezTo>
                <a:cubicBezTo>
                  <a:pt x="705" y="276"/>
                  <a:pt x="704" y="270"/>
                  <a:pt x="702" y="264"/>
                </a:cubicBezTo>
                <a:cubicBezTo>
                  <a:pt x="701" y="268"/>
                  <a:pt x="695" y="273"/>
                  <a:pt x="691" y="270"/>
                </a:cubicBezTo>
                <a:cubicBezTo>
                  <a:pt x="691" y="271"/>
                  <a:pt x="691" y="270"/>
                  <a:pt x="690" y="270"/>
                </a:cubicBezTo>
                <a:cubicBezTo>
                  <a:pt x="690" y="270"/>
                  <a:pt x="690" y="270"/>
                  <a:pt x="690" y="270"/>
                </a:cubicBezTo>
                <a:cubicBezTo>
                  <a:pt x="690" y="271"/>
                  <a:pt x="690" y="270"/>
                  <a:pt x="690" y="270"/>
                </a:cubicBezTo>
                <a:cubicBezTo>
                  <a:pt x="690" y="270"/>
                  <a:pt x="690" y="270"/>
                  <a:pt x="690" y="269"/>
                </a:cubicBezTo>
                <a:cubicBezTo>
                  <a:pt x="689" y="270"/>
                  <a:pt x="688" y="271"/>
                  <a:pt x="688" y="271"/>
                </a:cubicBezTo>
                <a:cubicBezTo>
                  <a:pt x="686" y="270"/>
                  <a:pt x="686" y="273"/>
                  <a:pt x="685" y="274"/>
                </a:cubicBezTo>
                <a:cubicBezTo>
                  <a:pt x="684" y="274"/>
                  <a:pt x="682" y="273"/>
                  <a:pt x="682" y="275"/>
                </a:cubicBezTo>
                <a:cubicBezTo>
                  <a:pt x="681" y="270"/>
                  <a:pt x="674" y="279"/>
                  <a:pt x="674" y="281"/>
                </a:cubicBezTo>
                <a:cubicBezTo>
                  <a:pt x="675" y="280"/>
                  <a:pt x="681" y="280"/>
                  <a:pt x="680" y="280"/>
                </a:cubicBezTo>
                <a:cubicBezTo>
                  <a:pt x="680" y="280"/>
                  <a:pt x="681" y="280"/>
                  <a:pt x="681" y="280"/>
                </a:cubicBezTo>
                <a:cubicBezTo>
                  <a:pt x="681" y="280"/>
                  <a:pt x="681" y="280"/>
                  <a:pt x="681" y="280"/>
                </a:cubicBezTo>
                <a:cubicBezTo>
                  <a:pt x="681" y="279"/>
                  <a:pt x="682" y="278"/>
                  <a:pt x="682" y="279"/>
                </a:cubicBezTo>
                <a:cubicBezTo>
                  <a:pt x="684" y="280"/>
                  <a:pt x="681" y="280"/>
                  <a:pt x="681" y="281"/>
                </a:cubicBezTo>
                <a:cubicBezTo>
                  <a:pt x="681" y="282"/>
                  <a:pt x="681" y="282"/>
                  <a:pt x="681" y="282"/>
                </a:cubicBezTo>
                <a:cubicBezTo>
                  <a:pt x="682" y="282"/>
                  <a:pt x="683" y="282"/>
                  <a:pt x="683" y="284"/>
                </a:cubicBezTo>
                <a:cubicBezTo>
                  <a:pt x="683" y="284"/>
                  <a:pt x="683" y="284"/>
                  <a:pt x="683" y="284"/>
                </a:cubicBezTo>
                <a:cubicBezTo>
                  <a:pt x="683" y="284"/>
                  <a:pt x="684" y="285"/>
                  <a:pt x="684" y="286"/>
                </a:cubicBezTo>
                <a:cubicBezTo>
                  <a:pt x="684" y="286"/>
                  <a:pt x="681" y="289"/>
                  <a:pt x="681" y="290"/>
                </a:cubicBezTo>
                <a:cubicBezTo>
                  <a:pt x="680" y="290"/>
                  <a:pt x="679" y="295"/>
                  <a:pt x="678" y="295"/>
                </a:cubicBezTo>
                <a:cubicBezTo>
                  <a:pt x="676" y="295"/>
                  <a:pt x="679" y="293"/>
                  <a:pt x="677" y="292"/>
                </a:cubicBezTo>
                <a:cubicBezTo>
                  <a:pt x="677" y="291"/>
                  <a:pt x="675" y="293"/>
                  <a:pt x="674" y="293"/>
                </a:cubicBezTo>
                <a:cubicBezTo>
                  <a:pt x="673" y="292"/>
                  <a:pt x="674" y="291"/>
                  <a:pt x="673" y="290"/>
                </a:cubicBezTo>
                <a:cubicBezTo>
                  <a:pt x="673" y="290"/>
                  <a:pt x="671" y="292"/>
                  <a:pt x="670" y="290"/>
                </a:cubicBezTo>
                <a:cubicBezTo>
                  <a:pt x="669" y="288"/>
                  <a:pt x="672" y="289"/>
                  <a:pt x="672" y="288"/>
                </a:cubicBezTo>
                <a:cubicBezTo>
                  <a:pt x="672" y="287"/>
                  <a:pt x="671" y="287"/>
                  <a:pt x="671" y="287"/>
                </a:cubicBezTo>
                <a:cubicBezTo>
                  <a:pt x="671" y="286"/>
                  <a:pt x="672" y="285"/>
                  <a:pt x="672" y="283"/>
                </a:cubicBezTo>
                <a:cubicBezTo>
                  <a:pt x="672" y="283"/>
                  <a:pt x="672" y="282"/>
                  <a:pt x="672" y="282"/>
                </a:cubicBezTo>
                <a:cubicBezTo>
                  <a:pt x="673" y="279"/>
                  <a:pt x="678" y="276"/>
                  <a:pt x="677" y="271"/>
                </a:cubicBezTo>
                <a:cubicBezTo>
                  <a:pt x="676" y="270"/>
                  <a:pt x="675" y="271"/>
                  <a:pt x="674" y="272"/>
                </a:cubicBezTo>
                <a:cubicBezTo>
                  <a:pt x="675" y="269"/>
                  <a:pt x="676" y="260"/>
                  <a:pt x="681" y="259"/>
                </a:cubicBezTo>
                <a:cubicBezTo>
                  <a:pt x="681" y="259"/>
                  <a:pt x="684" y="259"/>
                  <a:pt x="685" y="259"/>
                </a:cubicBezTo>
                <a:cubicBezTo>
                  <a:pt x="685" y="259"/>
                  <a:pt x="686" y="260"/>
                  <a:pt x="687" y="261"/>
                </a:cubicBezTo>
                <a:cubicBezTo>
                  <a:pt x="687" y="261"/>
                  <a:pt x="687" y="261"/>
                  <a:pt x="688" y="261"/>
                </a:cubicBezTo>
                <a:cubicBezTo>
                  <a:pt x="688" y="261"/>
                  <a:pt x="688" y="261"/>
                  <a:pt x="688" y="261"/>
                </a:cubicBezTo>
                <a:cubicBezTo>
                  <a:pt x="688" y="262"/>
                  <a:pt x="688" y="262"/>
                  <a:pt x="689" y="262"/>
                </a:cubicBezTo>
                <a:cubicBezTo>
                  <a:pt x="690" y="261"/>
                  <a:pt x="691" y="259"/>
                  <a:pt x="692" y="258"/>
                </a:cubicBezTo>
                <a:cubicBezTo>
                  <a:pt x="691" y="257"/>
                  <a:pt x="690" y="258"/>
                  <a:pt x="689" y="259"/>
                </a:cubicBezTo>
                <a:cubicBezTo>
                  <a:pt x="689" y="258"/>
                  <a:pt x="689" y="258"/>
                  <a:pt x="689" y="258"/>
                </a:cubicBezTo>
                <a:cubicBezTo>
                  <a:pt x="688" y="258"/>
                  <a:pt x="687" y="258"/>
                  <a:pt x="687" y="257"/>
                </a:cubicBezTo>
                <a:cubicBezTo>
                  <a:pt x="686" y="256"/>
                  <a:pt x="688" y="256"/>
                  <a:pt x="688" y="256"/>
                </a:cubicBezTo>
                <a:cubicBezTo>
                  <a:pt x="689" y="254"/>
                  <a:pt x="687" y="255"/>
                  <a:pt x="688" y="253"/>
                </a:cubicBezTo>
                <a:cubicBezTo>
                  <a:pt x="689" y="252"/>
                  <a:pt x="692" y="252"/>
                  <a:pt x="692" y="251"/>
                </a:cubicBezTo>
                <a:cubicBezTo>
                  <a:pt x="692" y="251"/>
                  <a:pt x="692" y="250"/>
                  <a:pt x="692" y="250"/>
                </a:cubicBezTo>
                <a:cubicBezTo>
                  <a:pt x="692" y="250"/>
                  <a:pt x="691" y="249"/>
                  <a:pt x="691" y="249"/>
                </a:cubicBezTo>
                <a:cubicBezTo>
                  <a:pt x="691" y="249"/>
                  <a:pt x="692" y="247"/>
                  <a:pt x="691" y="246"/>
                </a:cubicBezTo>
                <a:cubicBezTo>
                  <a:pt x="690" y="245"/>
                  <a:pt x="690" y="246"/>
                  <a:pt x="690" y="246"/>
                </a:cubicBezTo>
                <a:cubicBezTo>
                  <a:pt x="689" y="246"/>
                  <a:pt x="688" y="242"/>
                  <a:pt x="688" y="242"/>
                </a:cubicBezTo>
                <a:cubicBezTo>
                  <a:pt x="689" y="240"/>
                  <a:pt x="691" y="242"/>
                  <a:pt x="693" y="241"/>
                </a:cubicBezTo>
                <a:cubicBezTo>
                  <a:pt x="692" y="241"/>
                  <a:pt x="693" y="239"/>
                  <a:pt x="694" y="239"/>
                </a:cubicBezTo>
                <a:cubicBezTo>
                  <a:pt x="693" y="235"/>
                  <a:pt x="691" y="231"/>
                  <a:pt x="690" y="227"/>
                </a:cubicBezTo>
                <a:cubicBezTo>
                  <a:pt x="690" y="227"/>
                  <a:pt x="689" y="227"/>
                  <a:pt x="689" y="227"/>
                </a:cubicBezTo>
                <a:cubicBezTo>
                  <a:pt x="688" y="227"/>
                  <a:pt x="689" y="225"/>
                  <a:pt x="688" y="224"/>
                </a:cubicBezTo>
                <a:cubicBezTo>
                  <a:pt x="688" y="223"/>
                  <a:pt x="688" y="223"/>
                  <a:pt x="688" y="223"/>
                </a:cubicBezTo>
                <a:cubicBezTo>
                  <a:pt x="688" y="222"/>
                  <a:pt x="688" y="222"/>
                  <a:pt x="688" y="221"/>
                </a:cubicBezTo>
                <a:cubicBezTo>
                  <a:pt x="685" y="222"/>
                  <a:pt x="682" y="222"/>
                  <a:pt x="681" y="222"/>
                </a:cubicBezTo>
                <a:cubicBezTo>
                  <a:pt x="679" y="222"/>
                  <a:pt x="680" y="219"/>
                  <a:pt x="678" y="220"/>
                </a:cubicBezTo>
                <a:cubicBezTo>
                  <a:pt x="680" y="218"/>
                  <a:pt x="676" y="218"/>
                  <a:pt x="676" y="216"/>
                </a:cubicBezTo>
                <a:cubicBezTo>
                  <a:pt x="675" y="215"/>
                  <a:pt x="677" y="215"/>
                  <a:pt x="677" y="215"/>
                </a:cubicBezTo>
                <a:cubicBezTo>
                  <a:pt x="678" y="214"/>
                  <a:pt x="676" y="213"/>
                  <a:pt x="677" y="212"/>
                </a:cubicBezTo>
                <a:cubicBezTo>
                  <a:pt x="677" y="212"/>
                  <a:pt x="677" y="212"/>
                  <a:pt x="677" y="212"/>
                </a:cubicBezTo>
                <a:cubicBezTo>
                  <a:pt x="676" y="212"/>
                  <a:pt x="675" y="210"/>
                  <a:pt x="675" y="209"/>
                </a:cubicBezTo>
                <a:cubicBezTo>
                  <a:pt x="674" y="209"/>
                  <a:pt x="674" y="209"/>
                  <a:pt x="673" y="209"/>
                </a:cubicBezTo>
                <a:cubicBezTo>
                  <a:pt x="674" y="210"/>
                  <a:pt x="674" y="210"/>
                  <a:pt x="674" y="211"/>
                </a:cubicBezTo>
                <a:cubicBezTo>
                  <a:pt x="674" y="212"/>
                  <a:pt x="674" y="212"/>
                  <a:pt x="673" y="213"/>
                </a:cubicBezTo>
                <a:cubicBezTo>
                  <a:pt x="673" y="214"/>
                  <a:pt x="673" y="214"/>
                  <a:pt x="673" y="215"/>
                </a:cubicBezTo>
                <a:cubicBezTo>
                  <a:pt x="673" y="215"/>
                  <a:pt x="673" y="215"/>
                  <a:pt x="673" y="215"/>
                </a:cubicBezTo>
                <a:cubicBezTo>
                  <a:pt x="673" y="215"/>
                  <a:pt x="672" y="216"/>
                  <a:pt x="672" y="216"/>
                </a:cubicBezTo>
                <a:cubicBezTo>
                  <a:pt x="671" y="217"/>
                  <a:pt x="669" y="218"/>
                  <a:pt x="669" y="220"/>
                </a:cubicBezTo>
                <a:cubicBezTo>
                  <a:pt x="670" y="217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7" y="219"/>
                </a:cubicBezTo>
                <a:cubicBezTo>
                  <a:pt x="668" y="220"/>
                  <a:pt x="668" y="224"/>
                  <a:pt x="667" y="225"/>
                </a:cubicBezTo>
                <a:cubicBezTo>
                  <a:pt x="667" y="225"/>
                  <a:pt x="667" y="224"/>
                  <a:pt x="666" y="224"/>
                </a:cubicBezTo>
                <a:cubicBezTo>
                  <a:pt x="665" y="225"/>
                  <a:pt x="663" y="228"/>
                  <a:pt x="660" y="228"/>
                </a:cubicBezTo>
                <a:cubicBezTo>
                  <a:pt x="661" y="226"/>
                  <a:pt x="663" y="226"/>
                  <a:pt x="663" y="225"/>
                </a:cubicBezTo>
                <a:cubicBezTo>
                  <a:pt x="663" y="224"/>
                  <a:pt x="662" y="225"/>
                  <a:pt x="661" y="224"/>
                </a:cubicBezTo>
                <a:cubicBezTo>
                  <a:pt x="660" y="223"/>
                  <a:pt x="662" y="219"/>
                  <a:pt x="665" y="218"/>
                </a:cubicBezTo>
                <a:cubicBezTo>
                  <a:pt x="665" y="217"/>
                  <a:pt x="665" y="216"/>
                  <a:pt x="665" y="216"/>
                </a:cubicBezTo>
                <a:cubicBezTo>
                  <a:pt x="665" y="215"/>
                  <a:pt x="664" y="215"/>
                  <a:pt x="664" y="215"/>
                </a:cubicBezTo>
                <a:cubicBezTo>
                  <a:pt x="663" y="217"/>
                  <a:pt x="661" y="218"/>
                  <a:pt x="660" y="220"/>
                </a:cubicBezTo>
                <a:cubicBezTo>
                  <a:pt x="660" y="221"/>
                  <a:pt x="661" y="222"/>
                  <a:pt x="660" y="223"/>
                </a:cubicBezTo>
                <a:cubicBezTo>
                  <a:pt x="660" y="223"/>
                  <a:pt x="659" y="224"/>
                  <a:pt x="659" y="225"/>
                </a:cubicBezTo>
                <a:cubicBezTo>
                  <a:pt x="659" y="226"/>
                  <a:pt x="661" y="225"/>
                  <a:pt x="660" y="226"/>
                </a:cubicBezTo>
                <a:cubicBezTo>
                  <a:pt x="660" y="227"/>
                  <a:pt x="659" y="228"/>
                  <a:pt x="659" y="227"/>
                </a:cubicBezTo>
                <a:cubicBezTo>
                  <a:pt x="658" y="227"/>
                  <a:pt x="658" y="225"/>
                  <a:pt x="657" y="224"/>
                </a:cubicBezTo>
                <a:cubicBezTo>
                  <a:pt x="657" y="223"/>
                  <a:pt x="656" y="224"/>
                  <a:pt x="655" y="223"/>
                </a:cubicBezTo>
                <a:cubicBezTo>
                  <a:pt x="653" y="223"/>
                  <a:pt x="653" y="221"/>
                  <a:pt x="650" y="224"/>
                </a:cubicBezTo>
                <a:cubicBezTo>
                  <a:pt x="653" y="220"/>
                  <a:pt x="649" y="222"/>
                  <a:pt x="648" y="221"/>
                </a:cubicBezTo>
                <a:cubicBezTo>
                  <a:pt x="648" y="222"/>
                  <a:pt x="647" y="215"/>
                  <a:pt x="647" y="215"/>
                </a:cubicBezTo>
                <a:cubicBezTo>
                  <a:pt x="647" y="214"/>
                  <a:pt x="648" y="211"/>
                  <a:pt x="648" y="209"/>
                </a:cubicBezTo>
                <a:cubicBezTo>
                  <a:pt x="648" y="210"/>
                  <a:pt x="648" y="210"/>
                  <a:pt x="647" y="210"/>
                </a:cubicBezTo>
                <a:cubicBezTo>
                  <a:pt x="647" y="210"/>
                  <a:pt x="647" y="209"/>
                  <a:pt x="648" y="208"/>
                </a:cubicBezTo>
                <a:cubicBezTo>
                  <a:pt x="648" y="208"/>
                  <a:pt x="648" y="208"/>
                  <a:pt x="648" y="208"/>
                </a:cubicBezTo>
                <a:cubicBezTo>
                  <a:pt x="647" y="208"/>
                  <a:pt x="647" y="209"/>
                  <a:pt x="647" y="209"/>
                </a:cubicBezTo>
                <a:cubicBezTo>
                  <a:pt x="647" y="209"/>
                  <a:pt x="647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4" y="211"/>
                  <a:pt x="639" y="212"/>
                  <a:pt x="635" y="212"/>
                </a:cubicBezTo>
                <a:cubicBezTo>
                  <a:pt x="635" y="213"/>
                  <a:pt x="635" y="214"/>
                  <a:pt x="635" y="214"/>
                </a:cubicBezTo>
                <a:cubicBezTo>
                  <a:pt x="634" y="214"/>
                  <a:pt x="634" y="213"/>
                  <a:pt x="634" y="212"/>
                </a:cubicBezTo>
                <a:cubicBezTo>
                  <a:pt x="633" y="212"/>
                  <a:pt x="633" y="212"/>
                  <a:pt x="633" y="212"/>
                </a:cubicBezTo>
                <a:cubicBezTo>
                  <a:pt x="633" y="211"/>
                  <a:pt x="633" y="210"/>
                  <a:pt x="635" y="210"/>
                </a:cubicBezTo>
                <a:cubicBezTo>
                  <a:pt x="634" y="210"/>
                  <a:pt x="634" y="209"/>
                  <a:pt x="634" y="209"/>
                </a:cubicBezTo>
                <a:cubicBezTo>
                  <a:pt x="633" y="208"/>
                  <a:pt x="634" y="207"/>
                  <a:pt x="635" y="206"/>
                </a:cubicBezTo>
                <a:cubicBezTo>
                  <a:pt x="634" y="205"/>
                  <a:pt x="634" y="204"/>
                  <a:pt x="635" y="203"/>
                </a:cubicBezTo>
                <a:cubicBezTo>
                  <a:pt x="636" y="203"/>
                  <a:pt x="636" y="203"/>
                  <a:pt x="637" y="203"/>
                </a:cubicBezTo>
                <a:cubicBezTo>
                  <a:pt x="637" y="202"/>
                  <a:pt x="636" y="202"/>
                  <a:pt x="635" y="203"/>
                </a:cubicBezTo>
                <a:cubicBezTo>
                  <a:pt x="634" y="203"/>
                  <a:pt x="632" y="206"/>
                  <a:pt x="632" y="206"/>
                </a:cubicBezTo>
                <a:cubicBezTo>
                  <a:pt x="632" y="207"/>
                  <a:pt x="632" y="207"/>
                  <a:pt x="633" y="207"/>
                </a:cubicBezTo>
                <a:cubicBezTo>
                  <a:pt x="629" y="209"/>
                  <a:pt x="629" y="201"/>
                  <a:pt x="631" y="201"/>
                </a:cubicBezTo>
                <a:cubicBezTo>
                  <a:pt x="631" y="201"/>
                  <a:pt x="632" y="203"/>
                  <a:pt x="632" y="203"/>
                </a:cubicBezTo>
                <a:cubicBezTo>
                  <a:pt x="633" y="203"/>
                  <a:pt x="636" y="199"/>
                  <a:pt x="638" y="198"/>
                </a:cubicBezTo>
                <a:cubicBezTo>
                  <a:pt x="638" y="198"/>
                  <a:pt x="638" y="197"/>
                  <a:pt x="639" y="197"/>
                </a:cubicBezTo>
                <a:cubicBezTo>
                  <a:pt x="639" y="196"/>
                  <a:pt x="637" y="195"/>
                  <a:pt x="637" y="194"/>
                </a:cubicBezTo>
                <a:cubicBezTo>
                  <a:pt x="637" y="193"/>
                  <a:pt x="639" y="193"/>
                  <a:pt x="639" y="193"/>
                </a:cubicBezTo>
                <a:cubicBezTo>
                  <a:pt x="639" y="192"/>
                  <a:pt x="640" y="189"/>
                  <a:pt x="639" y="189"/>
                </a:cubicBezTo>
                <a:cubicBezTo>
                  <a:pt x="639" y="188"/>
                  <a:pt x="637" y="189"/>
                  <a:pt x="638" y="190"/>
                </a:cubicBezTo>
                <a:cubicBezTo>
                  <a:pt x="638" y="190"/>
                  <a:pt x="636" y="188"/>
                  <a:pt x="637" y="187"/>
                </a:cubicBezTo>
                <a:cubicBezTo>
                  <a:pt x="637" y="187"/>
                  <a:pt x="637" y="187"/>
                  <a:pt x="637" y="187"/>
                </a:cubicBezTo>
                <a:cubicBezTo>
                  <a:pt x="637" y="186"/>
                  <a:pt x="637" y="186"/>
                  <a:pt x="636" y="186"/>
                </a:cubicBezTo>
                <a:cubicBezTo>
                  <a:pt x="636" y="187"/>
                  <a:pt x="636" y="188"/>
                  <a:pt x="636" y="188"/>
                </a:cubicBezTo>
                <a:cubicBezTo>
                  <a:pt x="636" y="188"/>
                  <a:pt x="636" y="188"/>
                  <a:pt x="637" y="188"/>
                </a:cubicBezTo>
                <a:cubicBezTo>
                  <a:pt x="637" y="189"/>
                  <a:pt x="637" y="189"/>
                  <a:pt x="636" y="189"/>
                </a:cubicBezTo>
                <a:cubicBezTo>
                  <a:pt x="637" y="190"/>
                  <a:pt x="636" y="191"/>
                  <a:pt x="635" y="190"/>
                </a:cubicBezTo>
                <a:cubicBezTo>
                  <a:pt x="635" y="190"/>
                  <a:pt x="635" y="190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4" y="190"/>
                  <a:pt x="633" y="190"/>
                  <a:pt x="632" y="189"/>
                </a:cubicBezTo>
                <a:cubicBezTo>
                  <a:pt x="631" y="188"/>
                  <a:pt x="631" y="186"/>
                  <a:pt x="632" y="185"/>
                </a:cubicBezTo>
                <a:cubicBezTo>
                  <a:pt x="632" y="185"/>
                  <a:pt x="632" y="185"/>
                  <a:pt x="631" y="185"/>
                </a:cubicBezTo>
                <a:cubicBezTo>
                  <a:pt x="630" y="186"/>
                  <a:pt x="632" y="185"/>
                  <a:pt x="631" y="184"/>
                </a:cubicBezTo>
                <a:cubicBezTo>
                  <a:pt x="630" y="184"/>
                  <a:pt x="630" y="185"/>
                  <a:pt x="630" y="185"/>
                </a:cubicBezTo>
                <a:cubicBezTo>
                  <a:pt x="629" y="185"/>
                  <a:pt x="630" y="185"/>
                  <a:pt x="630" y="185"/>
                </a:cubicBezTo>
                <a:cubicBezTo>
                  <a:pt x="629" y="185"/>
                  <a:pt x="629" y="186"/>
                  <a:pt x="628" y="185"/>
                </a:cubicBezTo>
                <a:cubicBezTo>
                  <a:pt x="625" y="185"/>
                  <a:pt x="628" y="181"/>
                  <a:pt x="626" y="179"/>
                </a:cubicBezTo>
                <a:cubicBezTo>
                  <a:pt x="625" y="180"/>
                  <a:pt x="624" y="180"/>
                  <a:pt x="624" y="180"/>
                </a:cubicBezTo>
                <a:cubicBezTo>
                  <a:pt x="623" y="181"/>
                  <a:pt x="623" y="182"/>
                  <a:pt x="623" y="183"/>
                </a:cubicBezTo>
                <a:cubicBezTo>
                  <a:pt x="624" y="184"/>
                  <a:pt x="625" y="185"/>
                  <a:pt x="624" y="186"/>
                </a:cubicBezTo>
                <a:cubicBezTo>
                  <a:pt x="624" y="191"/>
                  <a:pt x="618" y="190"/>
                  <a:pt x="617" y="188"/>
                </a:cubicBezTo>
                <a:cubicBezTo>
                  <a:pt x="616" y="188"/>
                  <a:pt x="615" y="188"/>
                  <a:pt x="615" y="189"/>
                </a:cubicBezTo>
                <a:cubicBezTo>
                  <a:pt x="615" y="189"/>
                  <a:pt x="616" y="188"/>
                  <a:pt x="615" y="188"/>
                </a:cubicBezTo>
                <a:cubicBezTo>
                  <a:pt x="614" y="189"/>
                  <a:pt x="612" y="190"/>
                  <a:pt x="610" y="190"/>
                </a:cubicBezTo>
                <a:cubicBezTo>
                  <a:pt x="609" y="191"/>
                  <a:pt x="607" y="191"/>
                  <a:pt x="607" y="191"/>
                </a:cubicBezTo>
                <a:cubicBezTo>
                  <a:pt x="607" y="190"/>
                  <a:pt x="608" y="190"/>
                  <a:pt x="609" y="189"/>
                </a:cubicBezTo>
                <a:cubicBezTo>
                  <a:pt x="609" y="189"/>
                  <a:pt x="608" y="189"/>
                  <a:pt x="608" y="189"/>
                </a:cubicBezTo>
                <a:cubicBezTo>
                  <a:pt x="608" y="188"/>
                  <a:pt x="607" y="187"/>
                  <a:pt x="607" y="186"/>
                </a:cubicBezTo>
                <a:cubicBezTo>
                  <a:pt x="606" y="186"/>
                  <a:pt x="604" y="186"/>
                  <a:pt x="605" y="183"/>
                </a:cubicBezTo>
                <a:cubicBezTo>
                  <a:pt x="606" y="181"/>
                  <a:pt x="605" y="180"/>
                  <a:pt x="605" y="179"/>
                </a:cubicBezTo>
                <a:cubicBezTo>
                  <a:pt x="605" y="179"/>
                  <a:pt x="606" y="178"/>
                  <a:pt x="605" y="177"/>
                </a:cubicBezTo>
                <a:cubicBezTo>
                  <a:pt x="604" y="179"/>
                  <a:pt x="603" y="181"/>
                  <a:pt x="601" y="183"/>
                </a:cubicBezTo>
                <a:cubicBezTo>
                  <a:pt x="604" y="184"/>
                  <a:pt x="606" y="186"/>
                  <a:pt x="602" y="189"/>
                </a:cubicBezTo>
                <a:cubicBezTo>
                  <a:pt x="602" y="189"/>
                  <a:pt x="601" y="189"/>
                  <a:pt x="600" y="190"/>
                </a:cubicBezTo>
                <a:cubicBezTo>
                  <a:pt x="602" y="190"/>
                  <a:pt x="602" y="194"/>
                  <a:pt x="599" y="193"/>
                </a:cubicBezTo>
                <a:cubicBezTo>
                  <a:pt x="598" y="192"/>
                  <a:pt x="599" y="191"/>
                  <a:pt x="599" y="191"/>
                </a:cubicBezTo>
                <a:cubicBezTo>
                  <a:pt x="600" y="190"/>
                  <a:pt x="600" y="190"/>
                  <a:pt x="600" y="190"/>
                </a:cubicBezTo>
                <a:cubicBezTo>
                  <a:pt x="598" y="190"/>
                  <a:pt x="596" y="191"/>
                  <a:pt x="595" y="192"/>
                </a:cubicBezTo>
                <a:cubicBezTo>
                  <a:pt x="593" y="194"/>
                  <a:pt x="594" y="195"/>
                  <a:pt x="592" y="194"/>
                </a:cubicBezTo>
                <a:cubicBezTo>
                  <a:pt x="592" y="193"/>
                  <a:pt x="591" y="192"/>
                  <a:pt x="590" y="193"/>
                </a:cubicBezTo>
                <a:cubicBezTo>
                  <a:pt x="590" y="193"/>
                  <a:pt x="587" y="198"/>
                  <a:pt x="587" y="195"/>
                </a:cubicBezTo>
                <a:cubicBezTo>
                  <a:pt x="587" y="194"/>
                  <a:pt x="588" y="194"/>
                  <a:pt x="588" y="194"/>
                </a:cubicBezTo>
                <a:cubicBezTo>
                  <a:pt x="587" y="193"/>
                  <a:pt x="584" y="194"/>
                  <a:pt x="583" y="193"/>
                </a:cubicBezTo>
                <a:cubicBezTo>
                  <a:pt x="583" y="192"/>
                  <a:pt x="587" y="190"/>
                  <a:pt x="584" y="189"/>
                </a:cubicBezTo>
                <a:cubicBezTo>
                  <a:pt x="583" y="188"/>
                  <a:pt x="583" y="188"/>
                  <a:pt x="583" y="188"/>
                </a:cubicBezTo>
                <a:cubicBezTo>
                  <a:pt x="583" y="188"/>
                  <a:pt x="583" y="188"/>
                  <a:pt x="583" y="187"/>
                </a:cubicBezTo>
                <a:cubicBezTo>
                  <a:pt x="584" y="186"/>
                  <a:pt x="584" y="185"/>
                  <a:pt x="583" y="185"/>
                </a:cubicBezTo>
                <a:cubicBezTo>
                  <a:pt x="582" y="186"/>
                  <a:pt x="581" y="186"/>
                  <a:pt x="580" y="185"/>
                </a:cubicBezTo>
                <a:cubicBezTo>
                  <a:pt x="580" y="184"/>
                  <a:pt x="581" y="184"/>
                  <a:pt x="581" y="183"/>
                </a:cubicBezTo>
                <a:cubicBezTo>
                  <a:pt x="582" y="183"/>
                  <a:pt x="582" y="183"/>
                  <a:pt x="582" y="183"/>
                </a:cubicBezTo>
                <a:cubicBezTo>
                  <a:pt x="581" y="182"/>
                  <a:pt x="580" y="182"/>
                  <a:pt x="579" y="182"/>
                </a:cubicBezTo>
                <a:cubicBezTo>
                  <a:pt x="578" y="181"/>
                  <a:pt x="580" y="179"/>
                  <a:pt x="580" y="178"/>
                </a:cubicBezTo>
                <a:cubicBezTo>
                  <a:pt x="578" y="176"/>
                  <a:pt x="577" y="179"/>
                  <a:pt x="574" y="179"/>
                </a:cubicBezTo>
                <a:cubicBezTo>
                  <a:pt x="574" y="179"/>
                  <a:pt x="572" y="177"/>
                  <a:pt x="570" y="179"/>
                </a:cubicBezTo>
                <a:cubicBezTo>
                  <a:pt x="569" y="180"/>
                  <a:pt x="571" y="182"/>
                  <a:pt x="568" y="184"/>
                </a:cubicBezTo>
                <a:cubicBezTo>
                  <a:pt x="567" y="184"/>
                  <a:pt x="562" y="186"/>
                  <a:pt x="562" y="185"/>
                </a:cubicBezTo>
                <a:cubicBezTo>
                  <a:pt x="561" y="184"/>
                  <a:pt x="563" y="184"/>
                  <a:pt x="563" y="184"/>
                </a:cubicBezTo>
                <a:cubicBezTo>
                  <a:pt x="564" y="182"/>
                  <a:pt x="562" y="180"/>
                  <a:pt x="562" y="181"/>
                </a:cubicBezTo>
                <a:cubicBezTo>
                  <a:pt x="563" y="179"/>
                  <a:pt x="565" y="179"/>
                  <a:pt x="565" y="178"/>
                </a:cubicBezTo>
                <a:cubicBezTo>
                  <a:pt x="565" y="178"/>
                  <a:pt x="565" y="178"/>
                  <a:pt x="564" y="178"/>
                </a:cubicBezTo>
                <a:cubicBezTo>
                  <a:pt x="564" y="177"/>
                  <a:pt x="565" y="177"/>
                  <a:pt x="565" y="177"/>
                </a:cubicBezTo>
                <a:cubicBezTo>
                  <a:pt x="565" y="176"/>
                  <a:pt x="564" y="174"/>
                  <a:pt x="565" y="173"/>
                </a:cubicBezTo>
                <a:cubicBezTo>
                  <a:pt x="565" y="173"/>
                  <a:pt x="565" y="173"/>
                  <a:pt x="565" y="173"/>
                </a:cubicBezTo>
                <a:cubicBezTo>
                  <a:pt x="565" y="173"/>
                  <a:pt x="565" y="172"/>
                  <a:pt x="565" y="172"/>
                </a:cubicBezTo>
                <a:cubicBezTo>
                  <a:pt x="564" y="172"/>
                  <a:pt x="564" y="171"/>
                  <a:pt x="566" y="170"/>
                </a:cubicBezTo>
                <a:cubicBezTo>
                  <a:pt x="566" y="170"/>
                  <a:pt x="566" y="170"/>
                  <a:pt x="566" y="170"/>
                </a:cubicBezTo>
                <a:cubicBezTo>
                  <a:pt x="566" y="170"/>
                  <a:pt x="565" y="170"/>
                  <a:pt x="565" y="170"/>
                </a:cubicBezTo>
                <a:cubicBezTo>
                  <a:pt x="564" y="170"/>
                  <a:pt x="563" y="170"/>
                  <a:pt x="563" y="169"/>
                </a:cubicBezTo>
                <a:cubicBezTo>
                  <a:pt x="562" y="169"/>
                  <a:pt x="562" y="169"/>
                  <a:pt x="562" y="169"/>
                </a:cubicBezTo>
                <a:cubicBezTo>
                  <a:pt x="562" y="169"/>
                  <a:pt x="562" y="168"/>
                  <a:pt x="563" y="167"/>
                </a:cubicBezTo>
                <a:cubicBezTo>
                  <a:pt x="563" y="167"/>
                  <a:pt x="563" y="166"/>
                  <a:pt x="562" y="166"/>
                </a:cubicBezTo>
                <a:cubicBezTo>
                  <a:pt x="563" y="165"/>
                  <a:pt x="566" y="165"/>
                  <a:pt x="568" y="164"/>
                </a:cubicBezTo>
                <a:cubicBezTo>
                  <a:pt x="567" y="165"/>
                  <a:pt x="568" y="167"/>
                  <a:pt x="569" y="165"/>
                </a:cubicBezTo>
                <a:cubicBezTo>
                  <a:pt x="571" y="164"/>
                  <a:pt x="569" y="164"/>
                  <a:pt x="569" y="164"/>
                </a:cubicBezTo>
                <a:cubicBezTo>
                  <a:pt x="569" y="164"/>
                  <a:pt x="570" y="163"/>
                  <a:pt x="569" y="162"/>
                </a:cubicBezTo>
                <a:cubicBezTo>
                  <a:pt x="569" y="162"/>
                  <a:pt x="569" y="162"/>
                  <a:pt x="569" y="162"/>
                </a:cubicBezTo>
                <a:cubicBezTo>
                  <a:pt x="567" y="163"/>
                  <a:pt x="565" y="164"/>
                  <a:pt x="563" y="163"/>
                </a:cubicBezTo>
                <a:cubicBezTo>
                  <a:pt x="563" y="163"/>
                  <a:pt x="563" y="163"/>
                  <a:pt x="563" y="164"/>
                </a:cubicBezTo>
                <a:cubicBezTo>
                  <a:pt x="563" y="164"/>
                  <a:pt x="564" y="164"/>
                  <a:pt x="564" y="164"/>
                </a:cubicBezTo>
                <a:cubicBezTo>
                  <a:pt x="563" y="165"/>
                  <a:pt x="563" y="164"/>
                  <a:pt x="563" y="163"/>
                </a:cubicBezTo>
                <a:cubicBezTo>
                  <a:pt x="562" y="163"/>
                  <a:pt x="562" y="162"/>
                  <a:pt x="562" y="161"/>
                </a:cubicBezTo>
                <a:cubicBezTo>
                  <a:pt x="562" y="160"/>
                  <a:pt x="564" y="158"/>
                  <a:pt x="567" y="158"/>
                </a:cubicBezTo>
                <a:cubicBezTo>
                  <a:pt x="566" y="157"/>
                  <a:pt x="565" y="156"/>
                  <a:pt x="566" y="155"/>
                </a:cubicBezTo>
                <a:cubicBezTo>
                  <a:pt x="566" y="153"/>
                  <a:pt x="570" y="153"/>
                  <a:pt x="569" y="152"/>
                </a:cubicBezTo>
                <a:cubicBezTo>
                  <a:pt x="570" y="152"/>
                  <a:pt x="572" y="151"/>
                  <a:pt x="574" y="151"/>
                </a:cubicBezTo>
                <a:cubicBezTo>
                  <a:pt x="576" y="153"/>
                  <a:pt x="575" y="153"/>
                  <a:pt x="579" y="152"/>
                </a:cubicBezTo>
                <a:cubicBezTo>
                  <a:pt x="579" y="152"/>
                  <a:pt x="580" y="151"/>
                  <a:pt x="581" y="151"/>
                </a:cubicBezTo>
                <a:cubicBezTo>
                  <a:pt x="584" y="150"/>
                  <a:pt x="583" y="150"/>
                  <a:pt x="582" y="148"/>
                </a:cubicBezTo>
                <a:cubicBezTo>
                  <a:pt x="584" y="150"/>
                  <a:pt x="583" y="148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0" y="147"/>
                  <a:pt x="580" y="147"/>
                </a:cubicBezTo>
                <a:cubicBezTo>
                  <a:pt x="580" y="147"/>
                  <a:pt x="579" y="149"/>
                  <a:pt x="578" y="148"/>
                </a:cubicBezTo>
                <a:cubicBezTo>
                  <a:pt x="577" y="147"/>
                  <a:pt x="581" y="144"/>
                  <a:pt x="577" y="144"/>
                </a:cubicBezTo>
                <a:cubicBezTo>
                  <a:pt x="583" y="142"/>
                  <a:pt x="575" y="140"/>
                  <a:pt x="573" y="139"/>
                </a:cubicBezTo>
                <a:cubicBezTo>
                  <a:pt x="572" y="138"/>
                  <a:pt x="571" y="137"/>
                  <a:pt x="570" y="135"/>
                </a:cubicBezTo>
                <a:cubicBezTo>
                  <a:pt x="570" y="135"/>
                  <a:pt x="569" y="134"/>
                  <a:pt x="569" y="134"/>
                </a:cubicBezTo>
                <a:cubicBezTo>
                  <a:pt x="569" y="134"/>
                  <a:pt x="569" y="134"/>
                  <a:pt x="569" y="133"/>
                </a:cubicBezTo>
                <a:cubicBezTo>
                  <a:pt x="569" y="133"/>
                  <a:pt x="568" y="132"/>
                  <a:pt x="568" y="132"/>
                </a:cubicBezTo>
                <a:cubicBezTo>
                  <a:pt x="567" y="132"/>
                  <a:pt x="567" y="132"/>
                  <a:pt x="567" y="132"/>
                </a:cubicBezTo>
                <a:cubicBezTo>
                  <a:pt x="567" y="132"/>
                  <a:pt x="566" y="133"/>
                  <a:pt x="566" y="133"/>
                </a:cubicBezTo>
                <a:cubicBezTo>
                  <a:pt x="566" y="134"/>
                  <a:pt x="564" y="135"/>
                  <a:pt x="563" y="135"/>
                </a:cubicBezTo>
                <a:cubicBezTo>
                  <a:pt x="562" y="135"/>
                  <a:pt x="561" y="134"/>
                  <a:pt x="561" y="133"/>
                </a:cubicBezTo>
                <a:cubicBezTo>
                  <a:pt x="560" y="134"/>
                  <a:pt x="559" y="134"/>
                  <a:pt x="558" y="134"/>
                </a:cubicBezTo>
                <a:cubicBezTo>
                  <a:pt x="557" y="134"/>
                  <a:pt x="559" y="133"/>
                  <a:pt x="560" y="133"/>
                </a:cubicBezTo>
                <a:cubicBezTo>
                  <a:pt x="560" y="132"/>
                  <a:pt x="560" y="131"/>
                  <a:pt x="561" y="131"/>
                </a:cubicBezTo>
                <a:cubicBezTo>
                  <a:pt x="560" y="131"/>
                  <a:pt x="558" y="131"/>
                  <a:pt x="557" y="131"/>
                </a:cubicBezTo>
                <a:cubicBezTo>
                  <a:pt x="557" y="131"/>
                  <a:pt x="557" y="131"/>
                  <a:pt x="557" y="131"/>
                </a:cubicBezTo>
                <a:cubicBezTo>
                  <a:pt x="558" y="131"/>
                  <a:pt x="559" y="131"/>
                  <a:pt x="559" y="132"/>
                </a:cubicBezTo>
                <a:cubicBezTo>
                  <a:pt x="558" y="132"/>
                  <a:pt x="557" y="132"/>
                  <a:pt x="556" y="132"/>
                </a:cubicBezTo>
                <a:cubicBezTo>
                  <a:pt x="555" y="132"/>
                  <a:pt x="555" y="132"/>
                  <a:pt x="555" y="133"/>
                </a:cubicBezTo>
                <a:cubicBezTo>
                  <a:pt x="556" y="133"/>
                  <a:pt x="555" y="135"/>
                  <a:pt x="554" y="134"/>
                </a:cubicBezTo>
                <a:cubicBezTo>
                  <a:pt x="553" y="135"/>
                  <a:pt x="552" y="135"/>
                  <a:pt x="552" y="135"/>
                </a:cubicBezTo>
                <a:cubicBezTo>
                  <a:pt x="552" y="134"/>
                  <a:pt x="552" y="134"/>
                  <a:pt x="553" y="133"/>
                </a:cubicBezTo>
                <a:cubicBezTo>
                  <a:pt x="552" y="133"/>
                  <a:pt x="551" y="131"/>
                  <a:pt x="553" y="132"/>
                </a:cubicBezTo>
                <a:cubicBezTo>
                  <a:pt x="553" y="132"/>
                  <a:pt x="553" y="132"/>
                  <a:pt x="553" y="132"/>
                </a:cubicBezTo>
                <a:cubicBezTo>
                  <a:pt x="553" y="133"/>
                  <a:pt x="553" y="133"/>
                  <a:pt x="553" y="133"/>
                </a:cubicBezTo>
                <a:cubicBezTo>
                  <a:pt x="554" y="133"/>
                  <a:pt x="554" y="132"/>
                  <a:pt x="554" y="132"/>
                </a:cubicBezTo>
                <a:cubicBezTo>
                  <a:pt x="553" y="132"/>
                  <a:pt x="552" y="131"/>
                  <a:pt x="552" y="131"/>
                </a:cubicBezTo>
                <a:cubicBezTo>
                  <a:pt x="552" y="131"/>
                  <a:pt x="553" y="131"/>
                  <a:pt x="555" y="131"/>
                </a:cubicBezTo>
                <a:cubicBezTo>
                  <a:pt x="554" y="130"/>
                  <a:pt x="554" y="130"/>
                  <a:pt x="554" y="130"/>
                </a:cubicBezTo>
                <a:cubicBezTo>
                  <a:pt x="553" y="130"/>
                  <a:pt x="552" y="131"/>
                  <a:pt x="552" y="131"/>
                </a:cubicBezTo>
                <a:cubicBezTo>
                  <a:pt x="551" y="130"/>
                  <a:pt x="550" y="127"/>
                  <a:pt x="548" y="129"/>
                </a:cubicBezTo>
                <a:cubicBezTo>
                  <a:pt x="548" y="130"/>
                  <a:pt x="549" y="131"/>
                  <a:pt x="549" y="130"/>
                </a:cubicBezTo>
                <a:cubicBezTo>
                  <a:pt x="549" y="131"/>
                  <a:pt x="549" y="131"/>
                  <a:pt x="549" y="131"/>
                </a:cubicBezTo>
                <a:cubicBezTo>
                  <a:pt x="549" y="131"/>
                  <a:pt x="549" y="131"/>
                  <a:pt x="550" y="131"/>
                </a:cubicBezTo>
                <a:cubicBezTo>
                  <a:pt x="551" y="131"/>
                  <a:pt x="549" y="133"/>
                  <a:pt x="549" y="132"/>
                </a:cubicBezTo>
                <a:cubicBezTo>
                  <a:pt x="549" y="132"/>
                  <a:pt x="549" y="132"/>
                  <a:pt x="549" y="132"/>
                </a:cubicBezTo>
                <a:cubicBezTo>
                  <a:pt x="548" y="133"/>
                  <a:pt x="544" y="131"/>
                  <a:pt x="543" y="131"/>
                </a:cubicBezTo>
                <a:cubicBezTo>
                  <a:pt x="545" y="130"/>
                  <a:pt x="543" y="130"/>
                  <a:pt x="542" y="129"/>
                </a:cubicBezTo>
                <a:cubicBezTo>
                  <a:pt x="540" y="130"/>
                  <a:pt x="539" y="131"/>
                  <a:pt x="537" y="132"/>
                </a:cubicBezTo>
                <a:cubicBezTo>
                  <a:pt x="538" y="130"/>
                  <a:pt x="540" y="129"/>
                  <a:pt x="542" y="129"/>
                </a:cubicBezTo>
                <a:cubicBezTo>
                  <a:pt x="541" y="128"/>
                  <a:pt x="541" y="127"/>
                  <a:pt x="541" y="127"/>
                </a:cubicBezTo>
                <a:cubicBezTo>
                  <a:pt x="542" y="125"/>
                  <a:pt x="546" y="126"/>
                  <a:pt x="546" y="124"/>
                </a:cubicBezTo>
                <a:cubicBezTo>
                  <a:pt x="547" y="123"/>
                  <a:pt x="545" y="124"/>
                  <a:pt x="545" y="124"/>
                </a:cubicBezTo>
                <a:cubicBezTo>
                  <a:pt x="546" y="122"/>
                  <a:pt x="547" y="121"/>
                  <a:pt x="545" y="120"/>
                </a:cubicBezTo>
                <a:cubicBezTo>
                  <a:pt x="545" y="120"/>
                  <a:pt x="540" y="120"/>
                  <a:pt x="538" y="120"/>
                </a:cubicBezTo>
                <a:cubicBezTo>
                  <a:pt x="536" y="120"/>
                  <a:pt x="534" y="121"/>
                  <a:pt x="531" y="119"/>
                </a:cubicBezTo>
                <a:cubicBezTo>
                  <a:pt x="534" y="119"/>
                  <a:pt x="535" y="117"/>
                  <a:pt x="537" y="117"/>
                </a:cubicBezTo>
                <a:cubicBezTo>
                  <a:pt x="537" y="117"/>
                  <a:pt x="537" y="116"/>
                  <a:pt x="537" y="116"/>
                </a:cubicBezTo>
                <a:cubicBezTo>
                  <a:pt x="537" y="116"/>
                  <a:pt x="537" y="117"/>
                  <a:pt x="537" y="117"/>
                </a:cubicBezTo>
                <a:cubicBezTo>
                  <a:pt x="538" y="116"/>
                  <a:pt x="538" y="116"/>
                  <a:pt x="539" y="116"/>
                </a:cubicBezTo>
                <a:cubicBezTo>
                  <a:pt x="542" y="115"/>
                  <a:pt x="545" y="118"/>
                  <a:pt x="548" y="117"/>
                </a:cubicBezTo>
                <a:cubicBezTo>
                  <a:pt x="548" y="117"/>
                  <a:pt x="551" y="114"/>
                  <a:pt x="552" y="114"/>
                </a:cubicBezTo>
                <a:cubicBezTo>
                  <a:pt x="553" y="114"/>
                  <a:pt x="554" y="115"/>
                  <a:pt x="554" y="114"/>
                </a:cubicBezTo>
                <a:cubicBezTo>
                  <a:pt x="553" y="114"/>
                  <a:pt x="553" y="113"/>
                  <a:pt x="553" y="113"/>
                </a:cubicBezTo>
                <a:cubicBezTo>
                  <a:pt x="553" y="113"/>
                  <a:pt x="552" y="113"/>
                  <a:pt x="552" y="113"/>
                </a:cubicBezTo>
                <a:cubicBezTo>
                  <a:pt x="552" y="114"/>
                  <a:pt x="551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8" y="114"/>
                  <a:pt x="547" y="114"/>
                  <a:pt x="547" y="114"/>
                </a:cubicBezTo>
                <a:cubicBezTo>
                  <a:pt x="547" y="114"/>
                  <a:pt x="547" y="113"/>
                  <a:pt x="547" y="113"/>
                </a:cubicBezTo>
                <a:cubicBezTo>
                  <a:pt x="547" y="112"/>
                  <a:pt x="548" y="111"/>
                  <a:pt x="549" y="110"/>
                </a:cubicBezTo>
                <a:cubicBezTo>
                  <a:pt x="550" y="110"/>
                  <a:pt x="552" y="111"/>
                  <a:pt x="552" y="112"/>
                </a:cubicBezTo>
                <a:cubicBezTo>
                  <a:pt x="552" y="112"/>
                  <a:pt x="552" y="112"/>
                  <a:pt x="553" y="112"/>
                </a:cubicBezTo>
                <a:cubicBezTo>
                  <a:pt x="552" y="111"/>
                  <a:pt x="554" y="110"/>
                  <a:pt x="555" y="111"/>
                </a:cubicBezTo>
                <a:cubicBezTo>
                  <a:pt x="555" y="110"/>
                  <a:pt x="555" y="110"/>
                  <a:pt x="554" y="109"/>
                </a:cubicBezTo>
                <a:cubicBezTo>
                  <a:pt x="554" y="110"/>
                  <a:pt x="554" y="110"/>
                  <a:pt x="554" y="110"/>
                </a:cubicBezTo>
                <a:cubicBezTo>
                  <a:pt x="554" y="110"/>
                  <a:pt x="554" y="109"/>
                  <a:pt x="554" y="109"/>
                </a:cubicBezTo>
                <a:cubicBezTo>
                  <a:pt x="553" y="108"/>
                  <a:pt x="550" y="108"/>
                  <a:pt x="549" y="107"/>
                </a:cubicBezTo>
                <a:cubicBezTo>
                  <a:pt x="550" y="106"/>
                  <a:pt x="551" y="106"/>
                  <a:pt x="550" y="105"/>
                </a:cubicBezTo>
                <a:cubicBezTo>
                  <a:pt x="549" y="106"/>
                  <a:pt x="546" y="106"/>
                  <a:pt x="548" y="104"/>
                </a:cubicBezTo>
                <a:cubicBezTo>
                  <a:pt x="548" y="104"/>
                  <a:pt x="548" y="104"/>
                  <a:pt x="548" y="104"/>
                </a:cubicBezTo>
                <a:cubicBezTo>
                  <a:pt x="548" y="104"/>
                  <a:pt x="547" y="103"/>
                  <a:pt x="547" y="103"/>
                </a:cubicBezTo>
                <a:cubicBezTo>
                  <a:pt x="545" y="104"/>
                  <a:pt x="543" y="105"/>
                  <a:pt x="541" y="106"/>
                </a:cubicBezTo>
                <a:cubicBezTo>
                  <a:pt x="537" y="107"/>
                  <a:pt x="541" y="104"/>
                  <a:pt x="543" y="103"/>
                </a:cubicBezTo>
                <a:cubicBezTo>
                  <a:pt x="544" y="103"/>
                  <a:pt x="546" y="102"/>
                  <a:pt x="548" y="101"/>
                </a:cubicBezTo>
                <a:cubicBezTo>
                  <a:pt x="548" y="101"/>
                  <a:pt x="548" y="101"/>
                  <a:pt x="548" y="100"/>
                </a:cubicBezTo>
                <a:cubicBezTo>
                  <a:pt x="549" y="100"/>
                  <a:pt x="549" y="100"/>
                  <a:pt x="550" y="100"/>
                </a:cubicBezTo>
                <a:cubicBezTo>
                  <a:pt x="552" y="99"/>
                  <a:pt x="553" y="99"/>
                  <a:pt x="554" y="98"/>
                </a:cubicBezTo>
                <a:cubicBezTo>
                  <a:pt x="555" y="97"/>
                  <a:pt x="555" y="95"/>
                  <a:pt x="555" y="94"/>
                </a:cubicBezTo>
                <a:cubicBezTo>
                  <a:pt x="554" y="95"/>
                  <a:pt x="554" y="94"/>
                  <a:pt x="553" y="94"/>
                </a:cubicBezTo>
                <a:cubicBezTo>
                  <a:pt x="553" y="94"/>
                  <a:pt x="553" y="94"/>
                  <a:pt x="553" y="94"/>
                </a:cubicBezTo>
                <a:cubicBezTo>
                  <a:pt x="553" y="94"/>
                  <a:pt x="553" y="94"/>
                  <a:pt x="552" y="94"/>
                </a:cubicBezTo>
                <a:cubicBezTo>
                  <a:pt x="552" y="94"/>
                  <a:pt x="550" y="93"/>
                  <a:pt x="550" y="93"/>
                </a:cubicBezTo>
                <a:cubicBezTo>
                  <a:pt x="550" y="93"/>
                  <a:pt x="550" y="93"/>
                  <a:pt x="550" y="92"/>
                </a:cubicBezTo>
                <a:cubicBezTo>
                  <a:pt x="549" y="91"/>
                  <a:pt x="551" y="90"/>
                  <a:pt x="552" y="90"/>
                </a:cubicBezTo>
                <a:cubicBezTo>
                  <a:pt x="552" y="89"/>
                  <a:pt x="552" y="89"/>
                  <a:pt x="553" y="88"/>
                </a:cubicBezTo>
                <a:cubicBezTo>
                  <a:pt x="553" y="88"/>
                  <a:pt x="553" y="88"/>
                  <a:pt x="553" y="88"/>
                </a:cubicBezTo>
                <a:cubicBezTo>
                  <a:pt x="552" y="87"/>
                  <a:pt x="550" y="87"/>
                  <a:pt x="549" y="87"/>
                </a:cubicBezTo>
                <a:cubicBezTo>
                  <a:pt x="548" y="87"/>
                  <a:pt x="546" y="87"/>
                  <a:pt x="546" y="86"/>
                </a:cubicBezTo>
                <a:cubicBezTo>
                  <a:pt x="545" y="86"/>
                  <a:pt x="544" y="85"/>
                  <a:pt x="544" y="84"/>
                </a:cubicBezTo>
                <a:cubicBezTo>
                  <a:pt x="543" y="85"/>
                  <a:pt x="542" y="85"/>
                  <a:pt x="542" y="84"/>
                </a:cubicBezTo>
                <a:cubicBezTo>
                  <a:pt x="541" y="84"/>
                  <a:pt x="540" y="82"/>
                  <a:pt x="542" y="81"/>
                </a:cubicBezTo>
                <a:cubicBezTo>
                  <a:pt x="542" y="81"/>
                  <a:pt x="542" y="81"/>
                  <a:pt x="542" y="81"/>
                </a:cubicBezTo>
                <a:cubicBezTo>
                  <a:pt x="541" y="80"/>
                  <a:pt x="542" y="80"/>
                  <a:pt x="542" y="79"/>
                </a:cubicBezTo>
                <a:cubicBezTo>
                  <a:pt x="541" y="80"/>
                  <a:pt x="540" y="80"/>
                  <a:pt x="539" y="80"/>
                </a:cubicBezTo>
                <a:cubicBezTo>
                  <a:pt x="539" y="80"/>
                  <a:pt x="538" y="81"/>
                  <a:pt x="539" y="82"/>
                </a:cubicBezTo>
                <a:cubicBezTo>
                  <a:pt x="538" y="82"/>
                  <a:pt x="536" y="83"/>
                  <a:pt x="535" y="84"/>
                </a:cubicBezTo>
                <a:cubicBezTo>
                  <a:pt x="534" y="85"/>
                  <a:pt x="533" y="85"/>
                  <a:pt x="532" y="86"/>
                </a:cubicBezTo>
                <a:cubicBezTo>
                  <a:pt x="532" y="86"/>
                  <a:pt x="532" y="87"/>
                  <a:pt x="532" y="87"/>
                </a:cubicBezTo>
                <a:cubicBezTo>
                  <a:pt x="531" y="87"/>
                  <a:pt x="530" y="86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8" y="87"/>
                </a:cubicBezTo>
                <a:cubicBezTo>
                  <a:pt x="527" y="87"/>
                  <a:pt x="527" y="88"/>
                  <a:pt x="526" y="88"/>
                </a:cubicBezTo>
                <a:cubicBezTo>
                  <a:pt x="526" y="88"/>
                  <a:pt x="526" y="87"/>
                  <a:pt x="526" y="87"/>
                </a:cubicBezTo>
                <a:cubicBezTo>
                  <a:pt x="525" y="85"/>
                  <a:pt x="521" y="83"/>
                  <a:pt x="520" y="81"/>
                </a:cubicBezTo>
                <a:cubicBezTo>
                  <a:pt x="520" y="79"/>
                  <a:pt x="524" y="78"/>
                  <a:pt x="525" y="76"/>
                </a:cubicBezTo>
                <a:cubicBezTo>
                  <a:pt x="526" y="76"/>
                  <a:pt x="524" y="74"/>
                  <a:pt x="525" y="74"/>
                </a:cubicBezTo>
                <a:cubicBezTo>
                  <a:pt x="526" y="73"/>
                  <a:pt x="526" y="75"/>
                  <a:pt x="527" y="75"/>
                </a:cubicBezTo>
                <a:cubicBezTo>
                  <a:pt x="528" y="76"/>
                  <a:pt x="533" y="76"/>
                  <a:pt x="535" y="76"/>
                </a:cubicBezTo>
                <a:cubicBezTo>
                  <a:pt x="536" y="76"/>
                  <a:pt x="537" y="76"/>
                  <a:pt x="538" y="77"/>
                </a:cubicBezTo>
                <a:cubicBezTo>
                  <a:pt x="539" y="75"/>
                  <a:pt x="543" y="75"/>
                  <a:pt x="543" y="74"/>
                </a:cubicBezTo>
                <a:cubicBezTo>
                  <a:pt x="544" y="74"/>
                  <a:pt x="542" y="74"/>
                  <a:pt x="542" y="73"/>
                </a:cubicBezTo>
                <a:cubicBezTo>
                  <a:pt x="543" y="73"/>
                  <a:pt x="544" y="73"/>
                  <a:pt x="545" y="74"/>
                </a:cubicBezTo>
                <a:cubicBezTo>
                  <a:pt x="547" y="73"/>
                  <a:pt x="550" y="72"/>
                  <a:pt x="553" y="72"/>
                </a:cubicBezTo>
                <a:cubicBezTo>
                  <a:pt x="552" y="71"/>
                  <a:pt x="552" y="70"/>
                  <a:pt x="551" y="70"/>
                </a:cubicBezTo>
                <a:cubicBezTo>
                  <a:pt x="551" y="70"/>
                  <a:pt x="550" y="71"/>
                  <a:pt x="550" y="71"/>
                </a:cubicBezTo>
                <a:cubicBezTo>
                  <a:pt x="550" y="71"/>
                  <a:pt x="547" y="70"/>
                  <a:pt x="545" y="69"/>
                </a:cubicBezTo>
                <a:cubicBezTo>
                  <a:pt x="544" y="69"/>
                  <a:pt x="543" y="69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2" y="67"/>
                  <a:pt x="543" y="66"/>
                  <a:pt x="542" y="66"/>
                </a:cubicBezTo>
                <a:cubicBezTo>
                  <a:pt x="540" y="64"/>
                  <a:pt x="537" y="66"/>
                  <a:pt x="535" y="66"/>
                </a:cubicBezTo>
                <a:cubicBezTo>
                  <a:pt x="535" y="66"/>
                  <a:pt x="534" y="65"/>
                  <a:pt x="534" y="65"/>
                </a:cubicBezTo>
                <a:cubicBezTo>
                  <a:pt x="534" y="65"/>
                  <a:pt x="534" y="65"/>
                  <a:pt x="534" y="65"/>
                </a:cubicBezTo>
                <a:cubicBezTo>
                  <a:pt x="534" y="67"/>
                  <a:pt x="529" y="69"/>
                  <a:pt x="528" y="68"/>
                </a:cubicBezTo>
                <a:cubicBezTo>
                  <a:pt x="527" y="66"/>
                  <a:pt x="528" y="64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2"/>
                  <a:pt x="529" y="62"/>
                </a:cubicBezTo>
                <a:cubicBezTo>
                  <a:pt x="529" y="62"/>
                  <a:pt x="529" y="62"/>
                  <a:pt x="529" y="62"/>
                </a:cubicBezTo>
                <a:cubicBezTo>
                  <a:pt x="528" y="62"/>
                  <a:pt x="527" y="63"/>
                  <a:pt x="526" y="63"/>
                </a:cubicBezTo>
                <a:cubicBezTo>
                  <a:pt x="526" y="63"/>
                  <a:pt x="526" y="63"/>
                  <a:pt x="526" y="63"/>
                </a:cubicBezTo>
                <a:cubicBezTo>
                  <a:pt x="526" y="64"/>
                  <a:pt x="526" y="64"/>
                  <a:pt x="526" y="65"/>
                </a:cubicBezTo>
                <a:cubicBezTo>
                  <a:pt x="525" y="66"/>
                  <a:pt x="522" y="66"/>
                  <a:pt x="520" y="68"/>
                </a:cubicBezTo>
                <a:cubicBezTo>
                  <a:pt x="519" y="69"/>
                  <a:pt x="517" y="72"/>
                  <a:pt x="515" y="72"/>
                </a:cubicBezTo>
                <a:cubicBezTo>
                  <a:pt x="514" y="71"/>
                  <a:pt x="514" y="70"/>
                  <a:pt x="513" y="70"/>
                </a:cubicBezTo>
                <a:cubicBezTo>
                  <a:pt x="513" y="69"/>
                  <a:pt x="513" y="70"/>
                  <a:pt x="512" y="70"/>
                </a:cubicBezTo>
                <a:cubicBezTo>
                  <a:pt x="511" y="71"/>
                  <a:pt x="510" y="70"/>
                  <a:pt x="510" y="69"/>
                </a:cubicBezTo>
                <a:cubicBezTo>
                  <a:pt x="509" y="69"/>
                  <a:pt x="508" y="69"/>
                  <a:pt x="508" y="68"/>
                </a:cubicBezTo>
                <a:cubicBezTo>
                  <a:pt x="508" y="68"/>
                  <a:pt x="509" y="67"/>
                  <a:pt x="510" y="66"/>
                </a:cubicBezTo>
                <a:cubicBezTo>
                  <a:pt x="510" y="65"/>
                  <a:pt x="511" y="65"/>
                  <a:pt x="512" y="66"/>
                </a:cubicBezTo>
                <a:cubicBezTo>
                  <a:pt x="513" y="67"/>
                  <a:pt x="513" y="66"/>
                  <a:pt x="513" y="65"/>
                </a:cubicBezTo>
                <a:cubicBezTo>
                  <a:pt x="512" y="64"/>
                  <a:pt x="511" y="64"/>
                  <a:pt x="511" y="63"/>
                </a:cubicBezTo>
                <a:cubicBezTo>
                  <a:pt x="511" y="63"/>
                  <a:pt x="511" y="62"/>
                  <a:pt x="513" y="61"/>
                </a:cubicBezTo>
                <a:cubicBezTo>
                  <a:pt x="511" y="61"/>
                  <a:pt x="510" y="60"/>
                  <a:pt x="509" y="59"/>
                </a:cubicBezTo>
                <a:cubicBezTo>
                  <a:pt x="509" y="59"/>
                  <a:pt x="510" y="56"/>
                  <a:pt x="511" y="55"/>
                </a:cubicBezTo>
                <a:cubicBezTo>
                  <a:pt x="512" y="54"/>
                  <a:pt x="515" y="54"/>
                  <a:pt x="515" y="53"/>
                </a:cubicBezTo>
                <a:cubicBezTo>
                  <a:pt x="515" y="53"/>
                  <a:pt x="514" y="53"/>
                  <a:pt x="514" y="53"/>
                </a:cubicBezTo>
                <a:cubicBezTo>
                  <a:pt x="514" y="53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2" y="54"/>
                  <a:pt x="511" y="55"/>
                  <a:pt x="510" y="54"/>
                </a:cubicBezTo>
                <a:cubicBezTo>
                  <a:pt x="510" y="54"/>
                  <a:pt x="510" y="53"/>
                  <a:pt x="510" y="53"/>
                </a:cubicBezTo>
                <a:cubicBezTo>
                  <a:pt x="510" y="53"/>
                  <a:pt x="510" y="53"/>
                  <a:pt x="510" y="53"/>
                </a:cubicBezTo>
                <a:cubicBezTo>
                  <a:pt x="510" y="53"/>
                  <a:pt x="510" y="52"/>
                  <a:pt x="510" y="52"/>
                </a:cubicBezTo>
                <a:cubicBezTo>
                  <a:pt x="510" y="52"/>
                  <a:pt x="510" y="52"/>
                  <a:pt x="510" y="52"/>
                </a:cubicBezTo>
                <a:cubicBezTo>
                  <a:pt x="511" y="51"/>
                  <a:pt x="513" y="51"/>
                  <a:pt x="513" y="52"/>
                </a:cubicBezTo>
                <a:cubicBezTo>
                  <a:pt x="515" y="52"/>
                  <a:pt x="517" y="52"/>
                  <a:pt x="516" y="53"/>
                </a:cubicBezTo>
                <a:cubicBezTo>
                  <a:pt x="516" y="53"/>
                  <a:pt x="515" y="54"/>
                  <a:pt x="515" y="54"/>
                </a:cubicBezTo>
                <a:cubicBezTo>
                  <a:pt x="516" y="54"/>
                  <a:pt x="517" y="54"/>
                  <a:pt x="517" y="54"/>
                </a:cubicBezTo>
                <a:cubicBezTo>
                  <a:pt x="518" y="54"/>
                  <a:pt x="519" y="55"/>
                  <a:pt x="520" y="55"/>
                </a:cubicBezTo>
                <a:cubicBezTo>
                  <a:pt x="521" y="55"/>
                  <a:pt x="522" y="55"/>
                  <a:pt x="522" y="56"/>
                </a:cubicBezTo>
                <a:cubicBezTo>
                  <a:pt x="522" y="57"/>
                  <a:pt x="522" y="57"/>
                  <a:pt x="521" y="57"/>
                </a:cubicBezTo>
                <a:cubicBezTo>
                  <a:pt x="521" y="57"/>
                  <a:pt x="521" y="58"/>
                  <a:pt x="521" y="58"/>
                </a:cubicBezTo>
                <a:cubicBezTo>
                  <a:pt x="522" y="57"/>
                  <a:pt x="523" y="57"/>
                  <a:pt x="525" y="58"/>
                </a:cubicBezTo>
                <a:cubicBezTo>
                  <a:pt x="525" y="59"/>
                  <a:pt x="524" y="59"/>
                  <a:pt x="524" y="59"/>
                </a:cubicBezTo>
                <a:cubicBezTo>
                  <a:pt x="525" y="59"/>
                  <a:pt x="526" y="58"/>
                  <a:pt x="528" y="58"/>
                </a:cubicBezTo>
                <a:cubicBezTo>
                  <a:pt x="528" y="58"/>
                  <a:pt x="528" y="57"/>
                  <a:pt x="528" y="57"/>
                </a:cubicBezTo>
                <a:cubicBezTo>
                  <a:pt x="528" y="57"/>
                  <a:pt x="527" y="57"/>
                  <a:pt x="527" y="56"/>
                </a:cubicBezTo>
                <a:cubicBezTo>
                  <a:pt x="527" y="54"/>
                  <a:pt x="532" y="55"/>
                  <a:pt x="530" y="57"/>
                </a:cubicBezTo>
                <a:cubicBezTo>
                  <a:pt x="530" y="57"/>
                  <a:pt x="530" y="57"/>
                  <a:pt x="530" y="57"/>
                </a:cubicBezTo>
                <a:cubicBezTo>
                  <a:pt x="531" y="56"/>
                  <a:pt x="533" y="55"/>
                  <a:pt x="533" y="55"/>
                </a:cubicBezTo>
                <a:cubicBezTo>
                  <a:pt x="532" y="54"/>
                  <a:pt x="530" y="55"/>
                  <a:pt x="529" y="54"/>
                </a:cubicBezTo>
                <a:cubicBezTo>
                  <a:pt x="529" y="53"/>
                  <a:pt x="532" y="51"/>
                  <a:pt x="532" y="51"/>
                </a:cubicBezTo>
                <a:cubicBezTo>
                  <a:pt x="532" y="51"/>
                  <a:pt x="532" y="50"/>
                  <a:pt x="532" y="50"/>
                </a:cubicBezTo>
                <a:cubicBezTo>
                  <a:pt x="530" y="52"/>
                  <a:pt x="527" y="52"/>
                  <a:pt x="525" y="52"/>
                </a:cubicBezTo>
                <a:cubicBezTo>
                  <a:pt x="523" y="51"/>
                  <a:pt x="522" y="48"/>
                  <a:pt x="521" y="48"/>
                </a:cubicBezTo>
                <a:cubicBezTo>
                  <a:pt x="520" y="48"/>
                  <a:pt x="518" y="48"/>
                  <a:pt x="516" y="49"/>
                </a:cubicBezTo>
                <a:cubicBezTo>
                  <a:pt x="517" y="48"/>
                  <a:pt x="518" y="48"/>
                  <a:pt x="519" y="47"/>
                </a:cubicBezTo>
                <a:cubicBezTo>
                  <a:pt x="519" y="47"/>
                  <a:pt x="520" y="47"/>
                  <a:pt x="520" y="47"/>
                </a:cubicBezTo>
                <a:cubicBezTo>
                  <a:pt x="521" y="46"/>
                  <a:pt x="521" y="46"/>
                  <a:pt x="521" y="45"/>
                </a:cubicBezTo>
                <a:cubicBezTo>
                  <a:pt x="520" y="45"/>
                  <a:pt x="520" y="45"/>
                  <a:pt x="519" y="45"/>
                </a:cubicBezTo>
                <a:cubicBezTo>
                  <a:pt x="519" y="44"/>
                  <a:pt x="520" y="44"/>
                  <a:pt x="521" y="44"/>
                </a:cubicBezTo>
                <a:cubicBezTo>
                  <a:pt x="521" y="44"/>
                  <a:pt x="521" y="44"/>
                  <a:pt x="521" y="44"/>
                </a:cubicBezTo>
                <a:cubicBezTo>
                  <a:pt x="521" y="43"/>
                  <a:pt x="521" y="41"/>
                  <a:pt x="521" y="40"/>
                </a:cubicBezTo>
                <a:cubicBezTo>
                  <a:pt x="521" y="40"/>
                  <a:pt x="520" y="40"/>
                  <a:pt x="520" y="40"/>
                </a:cubicBezTo>
                <a:cubicBezTo>
                  <a:pt x="520" y="40"/>
                  <a:pt x="520" y="40"/>
                  <a:pt x="520" y="40"/>
                </a:cubicBezTo>
                <a:cubicBezTo>
                  <a:pt x="520" y="40"/>
                  <a:pt x="520" y="40"/>
                  <a:pt x="520" y="39"/>
                </a:cubicBezTo>
                <a:cubicBezTo>
                  <a:pt x="520" y="39"/>
                  <a:pt x="520" y="39"/>
                  <a:pt x="520" y="39"/>
                </a:cubicBezTo>
                <a:cubicBezTo>
                  <a:pt x="510" y="34"/>
                  <a:pt x="501" y="30"/>
                  <a:pt x="491" y="26"/>
                </a:cubicBezTo>
                <a:cubicBezTo>
                  <a:pt x="491" y="26"/>
                  <a:pt x="489" y="27"/>
                  <a:pt x="489" y="27"/>
                </a:cubicBezTo>
                <a:cubicBezTo>
                  <a:pt x="489" y="26"/>
                  <a:pt x="489" y="26"/>
                  <a:pt x="490" y="26"/>
                </a:cubicBezTo>
                <a:cubicBezTo>
                  <a:pt x="487" y="24"/>
                  <a:pt x="483" y="23"/>
                  <a:pt x="480" y="22"/>
                </a:cubicBezTo>
                <a:cubicBezTo>
                  <a:pt x="480" y="22"/>
                  <a:pt x="480" y="22"/>
                  <a:pt x="480" y="22"/>
                </a:cubicBezTo>
                <a:cubicBezTo>
                  <a:pt x="478" y="22"/>
                  <a:pt x="476" y="25"/>
                  <a:pt x="474" y="25"/>
                </a:cubicBezTo>
                <a:cubicBezTo>
                  <a:pt x="472" y="25"/>
                  <a:pt x="473" y="25"/>
                  <a:pt x="471" y="25"/>
                </a:cubicBezTo>
                <a:cubicBezTo>
                  <a:pt x="471" y="25"/>
                  <a:pt x="469" y="26"/>
                  <a:pt x="468" y="27"/>
                </a:cubicBezTo>
                <a:cubicBezTo>
                  <a:pt x="467" y="27"/>
                  <a:pt x="464" y="29"/>
                  <a:pt x="464" y="29"/>
                </a:cubicBezTo>
                <a:cubicBezTo>
                  <a:pt x="462" y="30"/>
                  <a:pt x="464" y="30"/>
                  <a:pt x="462" y="30"/>
                </a:cubicBezTo>
                <a:cubicBezTo>
                  <a:pt x="461" y="30"/>
                  <a:pt x="461" y="30"/>
                  <a:pt x="460" y="30"/>
                </a:cubicBezTo>
                <a:cubicBezTo>
                  <a:pt x="461" y="30"/>
                  <a:pt x="461" y="30"/>
                  <a:pt x="461" y="30"/>
                </a:cubicBezTo>
                <a:cubicBezTo>
                  <a:pt x="462" y="31"/>
                  <a:pt x="459" y="32"/>
                  <a:pt x="459" y="31"/>
                </a:cubicBezTo>
                <a:cubicBezTo>
                  <a:pt x="459" y="31"/>
                  <a:pt x="458" y="32"/>
                  <a:pt x="458" y="32"/>
                </a:cubicBezTo>
                <a:cubicBezTo>
                  <a:pt x="458" y="32"/>
                  <a:pt x="458" y="33"/>
                  <a:pt x="458" y="33"/>
                </a:cubicBezTo>
                <a:cubicBezTo>
                  <a:pt x="461" y="34"/>
                  <a:pt x="463" y="32"/>
                  <a:pt x="461" y="36"/>
                </a:cubicBezTo>
                <a:cubicBezTo>
                  <a:pt x="461" y="37"/>
                  <a:pt x="462" y="37"/>
                  <a:pt x="461" y="37"/>
                </a:cubicBezTo>
                <a:cubicBezTo>
                  <a:pt x="460" y="39"/>
                  <a:pt x="459" y="37"/>
                  <a:pt x="459" y="36"/>
                </a:cubicBezTo>
                <a:cubicBezTo>
                  <a:pt x="458" y="37"/>
                  <a:pt x="458" y="38"/>
                  <a:pt x="460" y="39"/>
                </a:cubicBezTo>
                <a:cubicBezTo>
                  <a:pt x="460" y="39"/>
                  <a:pt x="457" y="39"/>
                  <a:pt x="456" y="39"/>
                </a:cubicBezTo>
                <a:cubicBezTo>
                  <a:pt x="456" y="39"/>
                  <a:pt x="454" y="36"/>
                  <a:pt x="453" y="35"/>
                </a:cubicBezTo>
                <a:cubicBezTo>
                  <a:pt x="452" y="35"/>
                  <a:pt x="451" y="36"/>
                  <a:pt x="451" y="36"/>
                </a:cubicBezTo>
                <a:cubicBezTo>
                  <a:pt x="449" y="37"/>
                  <a:pt x="446" y="38"/>
                  <a:pt x="444" y="39"/>
                </a:cubicBezTo>
                <a:cubicBezTo>
                  <a:pt x="443" y="40"/>
                  <a:pt x="443" y="40"/>
                  <a:pt x="442" y="40"/>
                </a:cubicBezTo>
                <a:cubicBezTo>
                  <a:pt x="441" y="40"/>
                  <a:pt x="440" y="41"/>
                  <a:pt x="439" y="41"/>
                </a:cubicBezTo>
                <a:cubicBezTo>
                  <a:pt x="437" y="42"/>
                  <a:pt x="435" y="43"/>
                  <a:pt x="432" y="44"/>
                </a:cubicBezTo>
                <a:cubicBezTo>
                  <a:pt x="433" y="44"/>
                  <a:pt x="433" y="44"/>
                  <a:pt x="433" y="44"/>
                </a:cubicBezTo>
                <a:cubicBezTo>
                  <a:pt x="433" y="44"/>
                  <a:pt x="433" y="44"/>
                  <a:pt x="432" y="44"/>
                </a:cubicBezTo>
                <a:cubicBezTo>
                  <a:pt x="432" y="44"/>
                  <a:pt x="431" y="44"/>
                  <a:pt x="431" y="44"/>
                </a:cubicBezTo>
                <a:cubicBezTo>
                  <a:pt x="430" y="44"/>
                  <a:pt x="427" y="45"/>
                  <a:pt x="427" y="46"/>
                </a:cubicBezTo>
                <a:cubicBezTo>
                  <a:pt x="427" y="46"/>
                  <a:pt x="433" y="44"/>
                  <a:pt x="432" y="48"/>
                </a:cubicBezTo>
                <a:cubicBezTo>
                  <a:pt x="432" y="49"/>
                  <a:pt x="431" y="49"/>
                  <a:pt x="431" y="49"/>
                </a:cubicBezTo>
                <a:cubicBezTo>
                  <a:pt x="435" y="49"/>
                  <a:pt x="440" y="49"/>
                  <a:pt x="444" y="50"/>
                </a:cubicBezTo>
                <a:cubicBezTo>
                  <a:pt x="444" y="47"/>
                  <a:pt x="436" y="48"/>
                  <a:pt x="436" y="45"/>
                </a:cubicBezTo>
                <a:cubicBezTo>
                  <a:pt x="436" y="42"/>
                  <a:pt x="442" y="45"/>
                  <a:pt x="444" y="43"/>
                </a:cubicBezTo>
                <a:cubicBezTo>
                  <a:pt x="445" y="43"/>
                  <a:pt x="444" y="42"/>
                  <a:pt x="445" y="42"/>
                </a:cubicBezTo>
                <a:cubicBezTo>
                  <a:pt x="446" y="42"/>
                  <a:pt x="449" y="43"/>
                  <a:pt x="448" y="41"/>
                </a:cubicBezTo>
                <a:cubicBezTo>
                  <a:pt x="448" y="38"/>
                  <a:pt x="459" y="43"/>
                  <a:pt x="460" y="46"/>
                </a:cubicBezTo>
                <a:cubicBezTo>
                  <a:pt x="460" y="48"/>
                  <a:pt x="459" y="52"/>
                  <a:pt x="458" y="52"/>
                </a:cubicBezTo>
                <a:cubicBezTo>
                  <a:pt x="458" y="53"/>
                  <a:pt x="452" y="54"/>
                  <a:pt x="452" y="54"/>
                </a:cubicBezTo>
                <a:cubicBezTo>
                  <a:pt x="451" y="53"/>
                  <a:pt x="449" y="53"/>
                  <a:pt x="448" y="53"/>
                </a:cubicBezTo>
                <a:cubicBezTo>
                  <a:pt x="449" y="53"/>
                  <a:pt x="449" y="53"/>
                  <a:pt x="449" y="54"/>
                </a:cubicBezTo>
                <a:cubicBezTo>
                  <a:pt x="450" y="55"/>
                  <a:pt x="450" y="57"/>
                  <a:pt x="450" y="58"/>
                </a:cubicBezTo>
                <a:cubicBezTo>
                  <a:pt x="447" y="62"/>
                  <a:pt x="436" y="61"/>
                  <a:pt x="432" y="59"/>
                </a:cubicBezTo>
                <a:cubicBezTo>
                  <a:pt x="432" y="60"/>
                  <a:pt x="432" y="61"/>
                  <a:pt x="432" y="62"/>
                </a:cubicBezTo>
                <a:cubicBezTo>
                  <a:pt x="431" y="65"/>
                  <a:pt x="423" y="63"/>
                  <a:pt x="423" y="60"/>
                </a:cubicBezTo>
                <a:cubicBezTo>
                  <a:pt x="423" y="61"/>
                  <a:pt x="421" y="60"/>
                  <a:pt x="421" y="60"/>
                </a:cubicBezTo>
                <a:cubicBezTo>
                  <a:pt x="421" y="59"/>
                  <a:pt x="423" y="59"/>
                  <a:pt x="423" y="60"/>
                </a:cubicBezTo>
                <a:cubicBezTo>
                  <a:pt x="424" y="58"/>
                  <a:pt x="427" y="58"/>
                  <a:pt x="429" y="58"/>
                </a:cubicBezTo>
                <a:cubicBezTo>
                  <a:pt x="430" y="58"/>
                  <a:pt x="431" y="57"/>
                  <a:pt x="432" y="55"/>
                </a:cubicBezTo>
                <a:cubicBezTo>
                  <a:pt x="432" y="55"/>
                  <a:pt x="432" y="53"/>
                  <a:pt x="432" y="54"/>
                </a:cubicBezTo>
                <a:cubicBezTo>
                  <a:pt x="432" y="53"/>
                  <a:pt x="434" y="52"/>
                  <a:pt x="435" y="52"/>
                </a:cubicBezTo>
                <a:cubicBezTo>
                  <a:pt x="435" y="50"/>
                  <a:pt x="431" y="50"/>
                  <a:pt x="429" y="50"/>
                </a:cubicBezTo>
                <a:cubicBezTo>
                  <a:pt x="427" y="50"/>
                  <a:pt x="423" y="49"/>
                  <a:pt x="422" y="48"/>
                </a:cubicBezTo>
                <a:cubicBezTo>
                  <a:pt x="422" y="48"/>
                  <a:pt x="422" y="47"/>
                  <a:pt x="422" y="47"/>
                </a:cubicBezTo>
                <a:cubicBezTo>
                  <a:pt x="422" y="47"/>
                  <a:pt x="421" y="47"/>
                  <a:pt x="421" y="48"/>
                </a:cubicBezTo>
                <a:cubicBezTo>
                  <a:pt x="420" y="48"/>
                  <a:pt x="419" y="49"/>
                  <a:pt x="417" y="50"/>
                </a:cubicBezTo>
                <a:cubicBezTo>
                  <a:pt x="417" y="50"/>
                  <a:pt x="416" y="50"/>
                  <a:pt x="416" y="51"/>
                </a:cubicBezTo>
                <a:cubicBezTo>
                  <a:pt x="418" y="53"/>
                  <a:pt x="416" y="54"/>
                  <a:pt x="414" y="54"/>
                </a:cubicBezTo>
                <a:cubicBezTo>
                  <a:pt x="413" y="54"/>
                  <a:pt x="412" y="54"/>
                  <a:pt x="412" y="54"/>
                </a:cubicBezTo>
                <a:cubicBezTo>
                  <a:pt x="412" y="54"/>
                  <a:pt x="412" y="54"/>
                  <a:pt x="412" y="53"/>
                </a:cubicBezTo>
                <a:cubicBezTo>
                  <a:pt x="411" y="53"/>
                  <a:pt x="411" y="53"/>
                  <a:pt x="411" y="53"/>
                </a:cubicBezTo>
                <a:cubicBezTo>
                  <a:pt x="410" y="53"/>
                  <a:pt x="410" y="53"/>
                  <a:pt x="410" y="53"/>
                </a:cubicBezTo>
                <a:cubicBezTo>
                  <a:pt x="409" y="53"/>
                  <a:pt x="409" y="54"/>
                  <a:pt x="409" y="54"/>
                </a:cubicBezTo>
                <a:cubicBezTo>
                  <a:pt x="408" y="55"/>
                  <a:pt x="407" y="54"/>
                  <a:pt x="407" y="55"/>
                </a:cubicBezTo>
                <a:cubicBezTo>
                  <a:pt x="406" y="55"/>
                  <a:pt x="405" y="56"/>
                  <a:pt x="404" y="57"/>
                </a:cubicBezTo>
                <a:cubicBezTo>
                  <a:pt x="404" y="57"/>
                  <a:pt x="404" y="58"/>
                  <a:pt x="402" y="58"/>
                </a:cubicBezTo>
                <a:cubicBezTo>
                  <a:pt x="401" y="59"/>
                  <a:pt x="401" y="59"/>
                  <a:pt x="400" y="60"/>
                </a:cubicBezTo>
                <a:cubicBezTo>
                  <a:pt x="396" y="62"/>
                  <a:pt x="392" y="63"/>
                  <a:pt x="388" y="64"/>
                </a:cubicBezTo>
                <a:cubicBezTo>
                  <a:pt x="387" y="65"/>
                  <a:pt x="387" y="65"/>
                  <a:pt x="387" y="65"/>
                </a:cubicBezTo>
                <a:cubicBezTo>
                  <a:pt x="387" y="65"/>
                  <a:pt x="388" y="65"/>
                  <a:pt x="388" y="65"/>
                </a:cubicBezTo>
                <a:cubicBezTo>
                  <a:pt x="389" y="65"/>
                  <a:pt x="391" y="66"/>
                  <a:pt x="392" y="67"/>
                </a:cubicBezTo>
                <a:cubicBezTo>
                  <a:pt x="392" y="67"/>
                  <a:pt x="393" y="68"/>
                  <a:pt x="392" y="68"/>
                </a:cubicBezTo>
                <a:cubicBezTo>
                  <a:pt x="393" y="69"/>
                  <a:pt x="394" y="70"/>
                  <a:pt x="393" y="71"/>
                </a:cubicBezTo>
                <a:cubicBezTo>
                  <a:pt x="393" y="78"/>
                  <a:pt x="380" y="78"/>
                  <a:pt x="374" y="76"/>
                </a:cubicBezTo>
                <a:cubicBezTo>
                  <a:pt x="373" y="75"/>
                  <a:pt x="371" y="73"/>
                  <a:pt x="370" y="72"/>
                </a:cubicBezTo>
                <a:cubicBezTo>
                  <a:pt x="368" y="73"/>
                  <a:pt x="366" y="74"/>
                  <a:pt x="366" y="73"/>
                </a:cubicBezTo>
                <a:cubicBezTo>
                  <a:pt x="365" y="72"/>
                  <a:pt x="367" y="71"/>
                  <a:pt x="369" y="70"/>
                </a:cubicBezTo>
                <a:cubicBezTo>
                  <a:pt x="369" y="70"/>
                  <a:pt x="369" y="70"/>
                  <a:pt x="369" y="70"/>
                </a:cubicBezTo>
                <a:cubicBezTo>
                  <a:pt x="368" y="69"/>
                  <a:pt x="366" y="69"/>
                  <a:pt x="366" y="69"/>
                </a:cubicBezTo>
                <a:cubicBezTo>
                  <a:pt x="366" y="67"/>
                  <a:pt x="370" y="65"/>
                  <a:pt x="374" y="64"/>
                </a:cubicBezTo>
                <a:cubicBezTo>
                  <a:pt x="369" y="65"/>
                  <a:pt x="362" y="65"/>
                  <a:pt x="358" y="66"/>
                </a:cubicBezTo>
                <a:cubicBezTo>
                  <a:pt x="358" y="66"/>
                  <a:pt x="351" y="68"/>
                  <a:pt x="351" y="67"/>
                </a:cubicBezTo>
                <a:cubicBezTo>
                  <a:pt x="350" y="66"/>
                  <a:pt x="356" y="66"/>
                  <a:pt x="357" y="65"/>
                </a:cubicBezTo>
                <a:cubicBezTo>
                  <a:pt x="363" y="65"/>
                  <a:pt x="372" y="62"/>
                  <a:pt x="379" y="62"/>
                </a:cubicBezTo>
                <a:cubicBezTo>
                  <a:pt x="379" y="62"/>
                  <a:pt x="379" y="62"/>
                  <a:pt x="379" y="62"/>
                </a:cubicBezTo>
                <a:cubicBezTo>
                  <a:pt x="379" y="62"/>
                  <a:pt x="380" y="62"/>
                  <a:pt x="379" y="62"/>
                </a:cubicBezTo>
                <a:cubicBezTo>
                  <a:pt x="379" y="63"/>
                  <a:pt x="379" y="63"/>
                  <a:pt x="378" y="63"/>
                </a:cubicBezTo>
                <a:cubicBezTo>
                  <a:pt x="379" y="63"/>
                  <a:pt x="381" y="63"/>
                  <a:pt x="382" y="63"/>
                </a:cubicBezTo>
                <a:cubicBezTo>
                  <a:pt x="382" y="62"/>
                  <a:pt x="383" y="61"/>
                  <a:pt x="383" y="61"/>
                </a:cubicBezTo>
                <a:cubicBezTo>
                  <a:pt x="384" y="61"/>
                  <a:pt x="384" y="62"/>
                  <a:pt x="384" y="62"/>
                </a:cubicBezTo>
                <a:cubicBezTo>
                  <a:pt x="385" y="61"/>
                  <a:pt x="385" y="60"/>
                  <a:pt x="386" y="60"/>
                </a:cubicBezTo>
                <a:cubicBezTo>
                  <a:pt x="387" y="59"/>
                  <a:pt x="389" y="59"/>
                  <a:pt x="390" y="59"/>
                </a:cubicBezTo>
                <a:cubicBezTo>
                  <a:pt x="392" y="58"/>
                  <a:pt x="393" y="57"/>
                  <a:pt x="395" y="56"/>
                </a:cubicBezTo>
                <a:cubicBezTo>
                  <a:pt x="396" y="56"/>
                  <a:pt x="396" y="56"/>
                  <a:pt x="396" y="56"/>
                </a:cubicBezTo>
                <a:cubicBezTo>
                  <a:pt x="398" y="55"/>
                  <a:pt x="399" y="53"/>
                  <a:pt x="400" y="52"/>
                </a:cubicBezTo>
                <a:cubicBezTo>
                  <a:pt x="401" y="52"/>
                  <a:pt x="402" y="53"/>
                  <a:pt x="402" y="52"/>
                </a:cubicBezTo>
                <a:cubicBezTo>
                  <a:pt x="404" y="52"/>
                  <a:pt x="405" y="51"/>
                  <a:pt x="407" y="50"/>
                </a:cubicBezTo>
                <a:cubicBezTo>
                  <a:pt x="409" y="50"/>
                  <a:pt x="411" y="48"/>
                  <a:pt x="411" y="48"/>
                </a:cubicBezTo>
                <a:cubicBezTo>
                  <a:pt x="412" y="48"/>
                  <a:pt x="412" y="49"/>
                  <a:pt x="412" y="49"/>
                </a:cubicBezTo>
                <a:cubicBezTo>
                  <a:pt x="413" y="48"/>
                  <a:pt x="413" y="48"/>
                  <a:pt x="413" y="47"/>
                </a:cubicBezTo>
                <a:cubicBezTo>
                  <a:pt x="414" y="47"/>
                  <a:pt x="414" y="48"/>
                  <a:pt x="415" y="48"/>
                </a:cubicBezTo>
                <a:cubicBezTo>
                  <a:pt x="415" y="47"/>
                  <a:pt x="415" y="47"/>
                  <a:pt x="416" y="46"/>
                </a:cubicBezTo>
                <a:cubicBezTo>
                  <a:pt x="416" y="46"/>
                  <a:pt x="416" y="47"/>
                  <a:pt x="417" y="47"/>
                </a:cubicBezTo>
                <a:cubicBezTo>
                  <a:pt x="417" y="47"/>
                  <a:pt x="417" y="46"/>
                  <a:pt x="418" y="45"/>
                </a:cubicBezTo>
                <a:cubicBezTo>
                  <a:pt x="419" y="45"/>
                  <a:pt x="419" y="46"/>
                  <a:pt x="420" y="45"/>
                </a:cubicBezTo>
                <a:cubicBezTo>
                  <a:pt x="420" y="45"/>
                  <a:pt x="420" y="44"/>
                  <a:pt x="421" y="44"/>
                </a:cubicBezTo>
                <a:cubicBezTo>
                  <a:pt x="422" y="43"/>
                  <a:pt x="424" y="43"/>
                  <a:pt x="425" y="42"/>
                </a:cubicBezTo>
                <a:cubicBezTo>
                  <a:pt x="427" y="40"/>
                  <a:pt x="432" y="39"/>
                  <a:pt x="435" y="36"/>
                </a:cubicBezTo>
                <a:cubicBezTo>
                  <a:pt x="438" y="35"/>
                  <a:pt x="441" y="33"/>
                  <a:pt x="444" y="32"/>
                </a:cubicBezTo>
                <a:cubicBezTo>
                  <a:pt x="444" y="32"/>
                  <a:pt x="443" y="32"/>
                  <a:pt x="443" y="32"/>
                </a:cubicBezTo>
                <a:cubicBezTo>
                  <a:pt x="440" y="31"/>
                  <a:pt x="439" y="28"/>
                  <a:pt x="438" y="28"/>
                </a:cubicBezTo>
                <a:cubicBezTo>
                  <a:pt x="437" y="28"/>
                  <a:pt x="437" y="28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5" y="30"/>
                  <a:pt x="434" y="30"/>
                  <a:pt x="433" y="31"/>
                </a:cubicBezTo>
                <a:cubicBezTo>
                  <a:pt x="432" y="31"/>
                  <a:pt x="431" y="31"/>
                  <a:pt x="431" y="30"/>
                </a:cubicBezTo>
                <a:cubicBezTo>
                  <a:pt x="431" y="30"/>
                  <a:pt x="431" y="30"/>
                  <a:pt x="431" y="30"/>
                </a:cubicBezTo>
                <a:cubicBezTo>
                  <a:pt x="430" y="30"/>
                  <a:pt x="430" y="31"/>
                  <a:pt x="429" y="31"/>
                </a:cubicBezTo>
                <a:cubicBezTo>
                  <a:pt x="428" y="32"/>
                  <a:pt x="425" y="32"/>
                  <a:pt x="424" y="31"/>
                </a:cubicBezTo>
                <a:cubicBezTo>
                  <a:pt x="424" y="31"/>
                  <a:pt x="425" y="30"/>
                  <a:pt x="426" y="30"/>
                </a:cubicBezTo>
                <a:cubicBezTo>
                  <a:pt x="426" y="30"/>
                  <a:pt x="425" y="29"/>
                  <a:pt x="425" y="29"/>
                </a:cubicBezTo>
                <a:cubicBezTo>
                  <a:pt x="424" y="30"/>
                  <a:pt x="423" y="30"/>
                  <a:pt x="423" y="30"/>
                </a:cubicBezTo>
                <a:cubicBezTo>
                  <a:pt x="418" y="29"/>
                  <a:pt x="416" y="25"/>
                  <a:pt x="419" y="23"/>
                </a:cubicBezTo>
                <a:cubicBezTo>
                  <a:pt x="421" y="21"/>
                  <a:pt x="429" y="22"/>
                  <a:pt x="429" y="26"/>
                </a:cubicBezTo>
                <a:cubicBezTo>
                  <a:pt x="429" y="29"/>
                  <a:pt x="428" y="27"/>
                  <a:pt x="431" y="27"/>
                </a:cubicBezTo>
                <a:cubicBezTo>
                  <a:pt x="434" y="26"/>
                  <a:pt x="435" y="27"/>
                  <a:pt x="436" y="25"/>
                </a:cubicBezTo>
                <a:cubicBezTo>
                  <a:pt x="439" y="21"/>
                  <a:pt x="442" y="21"/>
                  <a:pt x="446" y="22"/>
                </a:cubicBezTo>
                <a:cubicBezTo>
                  <a:pt x="446" y="21"/>
                  <a:pt x="448" y="21"/>
                  <a:pt x="449" y="22"/>
                </a:cubicBezTo>
                <a:cubicBezTo>
                  <a:pt x="450" y="22"/>
                  <a:pt x="450" y="21"/>
                  <a:pt x="451" y="21"/>
                </a:cubicBezTo>
                <a:cubicBezTo>
                  <a:pt x="452" y="22"/>
                  <a:pt x="451" y="23"/>
                  <a:pt x="450" y="24"/>
                </a:cubicBezTo>
                <a:cubicBezTo>
                  <a:pt x="451" y="25"/>
                  <a:pt x="452" y="26"/>
                  <a:pt x="452" y="28"/>
                </a:cubicBezTo>
                <a:cubicBezTo>
                  <a:pt x="451" y="28"/>
                  <a:pt x="451" y="29"/>
                  <a:pt x="451" y="30"/>
                </a:cubicBezTo>
                <a:cubicBezTo>
                  <a:pt x="451" y="29"/>
                  <a:pt x="451" y="29"/>
                  <a:pt x="452" y="29"/>
                </a:cubicBezTo>
                <a:cubicBezTo>
                  <a:pt x="453" y="29"/>
                  <a:pt x="455" y="29"/>
                  <a:pt x="457" y="29"/>
                </a:cubicBezTo>
                <a:cubicBezTo>
                  <a:pt x="458" y="28"/>
                  <a:pt x="458" y="27"/>
                  <a:pt x="460" y="27"/>
                </a:cubicBezTo>
                <a:cubicBezTo>
                  <a:pt x="461" y="26"/>
                  <a:pt x="463" y="26"/>
                  <a:pt x="465" y="26"/>
                </a:cubicBezTo>
                <a:cubicBezTo>
                  <a:pt x="463" y="25"/>
                  <a:pt x="462" y="25"/>
                  <a:pt x="460" y="25"/>
                </a:cubicBezTo>
                <a:cubicBezTo>
                  <a:pt x="462" y="25"/>
                  <a:pt x="462" y="23"/>
                  <a:pt x="461" y="23"/>
                </a:cubicBezTo>
                <a:cubicBezTo>
                  <a:pt x="461" y="23"/>
                  <a:pt x="462" y="21"/>
                  <a:pt x="463" y="20"/>
                </a:cubicBezTo>
                <a:cubicBezTo>
                  <a:pt x="464" y="20"/>
                  <a:pt x="465" y="20"/>
                  <a:pt x="466" y="20"/>
                </a:cubicBezTo>
                <a:cubicBezTo>
                  <a:pt x="466" y="20"/>
                  <a:pt x="467" y="20"/>
                  <a:pt x="468" y="20"/>
                </a:cubicBezTo>
                <a:cubicBezTo>
                  <a:pt x="468" y="21"/>
                  <a:pt x="467" y="21"/>
                  <a:pt x="466" y="21"/>
                </a:cubicBezTo>
                <a:cubicBezTo>
                  <a:pt x="468" y="22"/>
                  <a:pt x="468" y="23"/>
                  <a:pt x="468" y="24"/>
                </a:cubicBezTo>
                <a:cubicBezTo>
                  <a:pt x="469" y="23"/>
                  <a:pt x="470" y="23"/>
                  <a:pt x="471" y="22"/>
                </a:cubicBezTo>
                <a:cubicBezTo>
                  <a:pt x="471" y="22"/>
                  <a:pt x="470" y="22"/>
                  <a:pt x="470" y="21"/>
                </a:cubicBezTo>
                <a:cubicBezTo>
                  <a:pt x="469" y="20"/>
                  <a:pt x="471" y="19"/>
                  <a:pt x="473" y="19"/>
                </a:cubicBezTo>
                <a:cubicBezTo>
                  <a:pt x="473" y="19"/>
                  <a:pt x="473" y="19"/>
                  <a:pt x="473" y="19"/>
                </a:cubicBezTo>
                <a:cubicBezTo>
                  <a:pt x="456" y="13"/>
                  <a:pt x="438" y="9"/>
                  <a:pt x="419" y="5"/>
                </a:cubicBezTo>
                <a:cubicBezTo>
                  <a:pt x="427" y="10"/>
                  <a:pt x="416" y="16"/>
                  <a:pt x="410" y="12"/>
                </a:cubicBezTo>
                <a:cubicBezTo>
                  <a:pt x="408" y="10"/>
                  <a:pt x="409" y="9"/>
                  <a:pt x="407" y="7"/>
                </a:cubicBezTo>
                <a:cubicBezTo>
                  <a:pt x="408" y="6"/>
                  <a:pt x="410" y="5"/>
                  <a:pt x="412" y="4"/>
                </a:cubicBezTo>
                <a:cubicBezTo>
                  <a:pt x="408" y="4"/>
                  <a:pt x="405" y="3"/>
                  <a:pt x="401" y="3"/>
                </a:cubicBezTo>
                <a:cubicBezTo>
                  <a:pt x="401" y="3"/>
                  <a:pt x="401" y="3"/>
                  <a:pt x="401" y="3"/>
                </a:cubicBezTo>
                <a:cubicBezTo>
                  <a:pt x="398" y="2"/>
                  <a:pt x="396" y="2"/>
                  <a:pt x="393" y="2"/>
                </a:cubicBezTo>
                <a:cubicBezTo>
                  <a:pt x="392" y="6"/>
                  <a:pt x="385" y="4"/>
                  <a:pt x="382" y="1"/>
                </a:cubicBezTo>
                <a:cubicBezTo>
                  <a:pt x="374" y="0"/>
                  <a:pt x="366" y="0"/>
                  <a:pt x="357" y="0"/>
                </a:cubicBezTo>
                <a:cubicBezTo>
                  <a:pt x="343" y="0"/>
                  <a:pt x="328" y="1"/>
                  <a:pt x="314" y="3"/>
                </a:cubicBezTo>
                <a:cubicBezTo>
                  <a:pt x="314" y="3"/>
                  <a:pt x="314" y="3"/>
                  <a:pt x="315" y="3"/>
                </a:cubicBezTo>
                <a:cubicBezTo>
                  <a:pt x="315" y="3"/>
                  <a:pt x="315" y="3"/>
                  <a:pt x="315" y="3"/>
                </a:cubicBezTo>
                <a:cubicBezTo>
                  <a:pt x="315" y="4"/>
                  <a:pt x="314" y="3"/>
                  <a:pt x="314" y="3"/>
                </a:cubicBezTo>
                <a:cubicBezTo>
                  <a:pt x="138" y="24"/>
                  <a:pt x="1" y="173"/>
                  <a:pt x="0" y="354"/>
                </a:cubicBezTo>
                <a:cubicBezTo>
                  <a:pt x="0" y="354"/>
                  <a:pt x="0" y="353"/>
                  <a:pt x="1" y="353"/>
                </a:cubicBezTo>
                <a:cubicBezTo>
                  <a:pt x="1" y="353"/>
                  <a:pt x="2" y="356"/>
                  <a:pt x="1" y="356"/>
                </a:cubicBezTo>
                <a:cubicBezTo>
                  <a:pt x="0" y="357"/>
                  <a:pt x="0" y="356"/>
                  <a:pt x="0" y="356"/>
                </a:cubicBezTo>
                <a:cubicBezTo>
                  <a:pt x="0" y="356"/>
                  <a:pt x="0" y="357"/>
                  <a:pt x="0" y="357"/>
                </a:cubicBezTo>
                <a:cubicBezTo>
                  <a:pt x="0" y="375"/>
                  <a:pt x="1" y="392"/>
                  <a:pt x="4" y="409"/>
                </a:cubicBezTo>
                <a:cubicBezTo>
                  <a:pt x="4" y="409"/>
                  <a:pt x="4" y="409"/>
                  <a:pt x="4" y="409"/>
                </a:cubicBezTo>
                <a:cubicBezTo>
                  <a:pt x="5" y="409"/>
                  <a:pt x="5" y="412"/>
                  <a:pt x="5" y="412"/>
                </a:cubicBezTo>
                <a:cubicBezTo>
                  <a:pt x="4" y="413"/>
                  <a:pt x="4" y="413"/>
                  <a:pt x="4" y="413"/>
                </a:cubicBezTo>
                <a:cubicBezTo>
                  <a:pt x="5" y="418"/>
                  <a:pt x="6" y="424"/>
                  <a:pt x="7" y="429"/>
                </a:cubicBezTo>
                <a:cubicBezTo>
                  <a:pt x="8" y="429"/>
                  <a:pt x="8" y="429"/>
                  <a:pt x="8" y="429"/>
                </a:cubicBezTo>
                <a:cubicBezTo>
                  <a:pt x="9" y="430"/>
                  <a:pt x="8" y="430"/>
                  <a:pt x="7" y="431"/>
                </a:cubicBezTo>
                <a:cubicBezTo>
                  <a:pt x="8" y="433"/>
                  <a:pt x="8" y="435"/>
                  <a:pt x="9" y="438"/>
                </a:cubicBezTo>
                <a:cubicBezTo>
                  <a:pt x="9" y="438"/>
                  <a:pt x="9" y="438"/>
                  <a:pt x="9" y="438"/>
                </a:cubicBezTo>
                <a:cubicBezTo>
                  <a:pt x="9" y="440"/>
                  <a:pt x="10" y="441"/>
                  <a:pt x="10" y="443"/>
                </a:cubicBezTo>
                <a:cubicBezTo>
                  <a:pt x="10" y="443"/>
                  <a:pt x="10" y="443"/>
                  <a:pt x="10" y="442"/>
                </a:cubicBezTo>
                <a:cubicBezTo>
                  <a:pt x="10" y="442"/>
                  <a:pt x="10" y="442"/>
                  <a:pt x="10" y="441"/>
                </a:cubicBezTo>
                <a:cubicBezTo>
                  <a:pt x="10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2" y="441"/>
                  <a:pt x="13" y="440"/>
                  <a:pt x="14" y="440"/>
                </a:cubicBezTo>
                <a:cubicBezTo>
                  <a:pt x="14" y="439"/>
                  <a:pt x="15" y="438"/>
                  <a:pt x="16" y="439"/>
                </a:cubicBezTo>
                <a:cubicBezTo>
                  <a:pt x="17" y="439"/>
                  <a:pt x="17" y="439"/>
                  <a:pt x="18" y="440"/>
                </a:cubicBezTo>
                <a:cubicBezTo>
                  <a:pt x="20" y="443"/>
                  <a:pt x="19" y="438"/>
                  <a:pt x="18" y="438"/>
                </a:cubicBezTo>
                <a:cubicBezTo>
                  <a:pt x="18" y="438"/>
                  <a:pt x="18" y="438"/>
                  <a:pt x="17" y="437"/>
                </a:cubicBezTo>
                <a:cubicBezTo>
                  <a:pt x="17" y="437"/>
                  <a:pt x="17" y="437"/>
                  <a:pt x="17" y="436"/>
                </a:cubicBezTo>
                <a:cubicBezTo>
                  <a:pt x="17" y="435"/>
                  <a:pt x="17" y="432"/>
                  <a:pt x="17" y="431"/>
                </a:cubicBezTo>
                <a:cubicBezTo>
                  <a:pt x="17" y="433"/>
                  <a:pt x="18" y="434"/>
                  <a:pt x="19" y="435"/>
                </a:cubicBezTo>
                <a:cubicBezTo>
                  <a:pt x="19" y="435"/>
                  <a:pt x="19" y="435"/>
                  <a:pt x="19" y="435"/>
                </a:cubicBezTo>
                <a:cubicBezTo>
                  <a:pt x="20" y="435"/>
                  <a:pt x="19" y="436"/>
                  <a:pt x="19" y="436"/>
                </a:cubicBezTo>
                <a:cubicBezTo>
                  <a:pt x="19" y="437"/>
                  <a:pt x="19" y="437"/>
                  <a:pt x="19" y="438"/>
                </a:cubicBezTo>
                <a:cubicBezTo>
                  <a:pt x="20" y="437"/>
                  <a:pt x="19" y="435"/>
                  <a:pt x="21" y="434"/>
                </a:cubicBezTo>
                <a:cubicBezTo>
                  <a:pt x="20" y="436"/>
                  <a:pt x="20" y="437"/>
                  <a:pt x="21" y="438"/>
                </a:cubicBezTo>
                <a:cubicBezTo>
                  <a:pt x="21" y="438"/>
                  <a:pt x="22" y="438"/>
                  <a:pt x="22" y="438"/>
                </a:cubicBezTo>
                <a:cubicBezTo>
                  <a:pt x="22" y="438"/>
                  <a:pt x="22" y="438"/>
                  <a:pt x="22" y="438"/>
                </a:cubicBezTo>
                <a:cubicBezTo>
                  <a:pt x="23" y="438"/>
                  <a:pt x="23" y="438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3" y="435"/>
                  <a:pt x="23" y="434"/>
                  <a:pt x="23" y="434"/>
                </a:cubicBezTo>
                <a:cubicBezTo>
                  <a:pt x="23" y="433"/>
                  <a:pt x="22" y="433"/>
                  <a:pt x="21" y="434"/>
                </a:cubicBezTo>
                <a:cubicBezTo>
                  <a:pt x="20" y="434"/>
                  <a:pt x="20" y="435"/>
                  <a:pt x="19" y="434"/>
                </a:cubicBezTo>
                <a:cubicBezTo>
                  <a:pt x="19" y="434"/>
                  <a:pt x="19" y="434"/>
                  <a:pt x="19" y="433"/>
                </a:cubicBezTo>
                <a:cubicBezTo>
                  <a:pt x="19" y="433"/>
                  <a:pt x="19" y="433"/>
                  <a:pt x="19" y="433"/>
                </a:cubicBezTo>
                <a:cubicBezTo>
                  <a:pt x="18" y="433"/>
                  <a:pt x="19" y="431"/>
                  <a:pt x="18" y="429"/>
                </a:cubicBezTo>
                <a:cubicBezTo>
                  <a:pt x="17" y="430"/>
                  <a:pt x="16" y="429"/>
                  <a:pt x="16" y="426"/>
                </a:cubicBezTo>
                <a:cubicBezTo>
                  <a:pt x="16" y="426"/>
                  <a:pt x="16" y="426"/>
                  <a:pt x="16" y="426"/>
                </a:cubicBezTo>
                <a:cubicBezTo>
                  <a:pt x="16" y="427"/>
                  <a:pt x="14" y="432"/>
                  <a:pt x="15" y="433"/>
                </a:cubicBezTo>
                <a:cubicBezTo>
                  <a:pt x="15" y="433"/>
                  <a:pt x="16" y="437"/>
                  <a:pt x="14" y="435"/>
                </a:cubicBezTo>
                <a:cubicBezTo>
                  <a:pt x="12" y="434"/>
                  <a:pt x="15" y="429"/>
                  <a:pt x="15" y="426"/>
                </a:cubicBezTo>
                <a:cubicBezTo>
                  <a:pt x="14" y="426"/>
                  <a:pt x="14" y="426"/>
                  <a:pt x="14" y="425"/>
                </a:cubicBezTo>
                <a:cubicBezTo>
                  <a:pt x="13" y="424"/>
                  <a:pt x="14" y="424"/>
                  <a:pt x="14" y="423"/>
                </a:cubicBezTo>
                <a:cubicBezTo>
                  <a:pt x="14" y="423"/>
                  <a:pt x="14" y="422"/>
                  <a:pt x="15" y="422"/>
                </a:cubicBezTo>
                <a:cubicBezTo>
                  <a:pt x="14" y="421"/>
                  <a:pt x="13" y="422"/>
                  <a:pt x="12" y="421"/>
                </a:cubicBezTo>
                <a:cubicBezTo>
                  <a:pt x="13" y="421"/>
                  <a:pt x="11" y="419"/>
                  <a:pt x="11" y="420"/>
                </a:cubicBezTo>
                <a:cubicBezTo>
                  <a:pt x="11" y="417"/>
                  <a:pt x="14" y="417"/>
                  <a:pt x="15" y="419"/>
                </a:cubicBezTo>
                <a:cubicBezTo>
                  <a:pt x="14" y="418"/>
                  <a:pt x="16" y="419"/>
                  <a:pt x="17" y="418"/>
                </a:cubicBezTo>
                <a:cubicBezTo>
                  <a:pt x="16" y="418"/>
                  <a:pt x="17" y="413"/>
                  <a:pt x="19" y="413"/>
                </a:cubicBezTo>
                <a:cubicBezTo>
                  <a:pt x="19" y="413"/>
                  <a:pt x="18" y="416"/>
                  <a:pt x="19" y="417"/>
                </a:cubicBezTo>
                <a:cubicBezTo>
                  <a:pt x="19" y="417"/>
                  <a:pt x="19" y="417"/>
                  <a:pt x="19" y="417"/>
                </a:cubicBezTo>
                <a:cubicBezTo>
                  <a:pt x="19" y="417"/>
                  <a:pt x="19" y="416"/>
                  <a:pt x="20" y="417"/>
                </a:cubicBezTo>
                <a:cubicBezTo>
                  <a:pt x="20" y="417"/>
                  <a:pt x="21" y="418"/>
                  <a:pt x="20" y="419"/>
                </a:cubicBezTo>
                <a:cubicBezTo>
                  <a:pt x="20" y="419"/>
                  <a:pt x="20" y="419"/>
                  <a:pt x="20" y="419"/>
                </a:cubicBezTo>
                <a:cubicBezTo>
                  <a:pt x="21" y="419"/>
                  <a:pt x="20" y="420"/>
                  <a:pt x="19" y="420"/>
                </a:cubicBezTo>
                <a:cubicBezTo>
                  <a:pt x="17" y="421"/>
                  <a:pt x="19" y="421"/>
                  <a:pt x="20" y="422"/>
                </a:cubicBezTo>
                <a:cubicBezTo>
                  <a:pt x="20" y="422"/>
                  <a:pt x="20" y="422"/>
                  <a:pt x="21" y="422"/>
                </a:cubicBezTo>
                <a:cubicBezTo>
                  <a:pt x="21" y="422"/>
                  <a:pt x="21" y="422"/>
                  <a:pt x="21" y="422"/>
                </a:cubicBezTo>
                <a:cubicBezTo>
                  <a:pt x="22" y="423"/>
                  <a:pt x="22" y="423"/>
                  <a:pt x="22" y="424"/>
                </a:cubicBezTo>
                <a:cubicBezTo>
                  <a:pt x="22" y="424"/>
                  <a:pt x="23" y="423"/>
                  <a:pt x="24" y="423"/>
                </a:cubicBezTo>
                <a:cubicBezTo>
                  <a:pt x="25" y="423"/>
                  <a:pt x="24" y="425"/>
                  <a:pt x="26" y="425"/>
                </a:cubicBezTo>
                <a:cubicBezTo>
                  <a:pt x="26" y="425"/>
                  <a:pt x="26" y="425"/>
                  <a:pt x="26" y="425"/>
                </a:cubicBezTo>
                <a:cubicBezTo>
                  <a:pt x="27" y="422"/>
                  <a:pt x="30" y="417"/>
                  <a:pt x="26" y="418"/>
                </a:cubicBezTo>
                <a:cubicBezTo>
                  <a:pt x="29" y="416"/>
                  <a:pt x="25" y="414"/>
                  <a:pt x="24" y="414"/>
                </a:cubicBezTo>
                <a:cubicBezTo>
                  <a:pt x="23" y="412"/>
                  <a:pt x="25" y="415"/>
                  <a:pt x="25" y="414"/>
                </a:cubicBezTo>
                <a:cubicBezTo>
                  <a:pt x="27" y="413"/>
                  <a:pt x="24" y="411"/>
                  <a:pt x="24" y="408"/>
                </a:cubicBezTo>
                <a:cubicBezTo>
                  <a:pt x="24" y="408"/>
                  <a:pt x="26" y="406"/>
                  <a:pt x="26" y="406"/>
                </a:cubicBezTo>
                <a:cubicBezTo>
                  <a:pt x="27" y="404"/>
                  <a:pt x="24" y="405"/>
                  <a:pt x="27" y="404"/>
                </a:cubicBezTo>
                <a:cubicBezTo>
                  <a:pt x="29" y="404"/>
                  <a:pt x="29" y="400"/>
                  <a:pt x="30" y="399"/>
                </a:cubicBezTo>
                <a:cubicBezTo>
                  <a:pt x="30" y="399"/>
                  <a:pt x="34" y="398"/>
                  <a:pt x="34" y="396"/>
                </a:cubicBezTo>
                <a:cubicBezTo>
                  <a:pt x="30" y="400"/>
                  <a:pt x="28" y="395"/>
                  <a:pt x="29" y="394"/>
                </a:cubicBezTo>
                <a:cubicBezTo>
                  <a:pt x="29" y="394"/>
                  <a:pt x="28" y="391"/>
                  <a:pt x="31" y="391"/>
                </a:cubicBezTo>
                <a:cubicBezTo>
                  <a:pt x="33" y="390"/>
                  <a:pt x="32" y="391"/>
                  <a:pt x="34" y="389"/>
                </a:cubicBezTo>
                <a:cubicBezTo>
                  <a:pt x="35" y="388"/>
                  <a:pt x="34" y="396"/>
                  <a:pt x="35" y="396"/>
                </a:cubicBezTo>
                <a:cubicBezTo>
                  <a:pt x="36" y="398"/>
                  <a:pt x="36" y="395"/>
                  <a:pt x="37" y="398"/>
                </a:cubicBezTo>
                <a:cubicBezTo>
                  <a:pt x="38" y="404"/>
                  <a:pt x="42" y="414"/>
                  <a:pt x="34" y="417"/>
                </a:cubicBezTo>
                <a:cubicBezTo>
                  <a:pt x="32" y="418"/>
                  <a:pt x="31" y="417"/>
                  <a:pt x="30" y="418"/>
                </a:cubicBezTo>
                <a:cubicBezTo>
                  <a:pt x="28" y="420"/>
                  <a:pt x="28" y="422"/>
                  <a:pt x="27" y="425"/>
                </a:cubicBezTo>
                <a:cubicBezTo>
                  <a:pt x="27" y="425"/>
                  <a:pt x="27" y="425"/>
                  <a:pt x="27" y="425"/>
                </a:cubicBezTo>
                <a:cubicBezTo>
                  <a:pt x="28" y="425"/>
                  <a:pt x="27" y="426"/>
                  <a:pt x="28" y="427"/>
                </a:cubicBezTo>
                <a:cubicBezTo>
                  <a:pt x="28" y="427"/>
                  <a:pt x="29" y="427"/>
                  <a:pt x="30" y="427"/>
                </a:cubicBezTo>
                <a:cubicBezTo>
                  <a:pt x="30" y="426"/>
                  <a:pt x="30" y="426"/>
                  <a:pt x="31" y="426"/>
                </a:cubicBezTo>
                <a:cubicBezTo>
                  <a:pt x="31" y="426"/>
                  <a:pt x="31" y="426"/>
                  <a:pt x="31" y="427"/>
                </a:cubicBezTo>
                <a:cubicBezTo>
                  <a:pt x="31" y="427"/>
                  <a:pt x="32" y="427"/>
                  <a:pt x="32" y="427"/>
                </a:cubicBezTo>
                <a:cubicBezTo>
                  <a:pt x="32" y="428"/>
                  <a:pt x="31" y="430"/>
                  <a:pt x="33" y="429"/>
                </a:cubicBezTo>
                <a:cubicBezTo>
                  <a:pt x="33" y="430"/>
                  <a:pt x="33" y="432"/>
                  <a:pt x="33" y="433"/>
                </a:cubicBezTo>
                <a:cubicBezTo>
                  <a:pt x="33" y="433"/>
                  <a:pt x="33" y="433"/>
                  <a:pt x="33" y="433"/>
                </a:cubicBezTo>
                <a:cubicBezTo>
                  <a:pt x="34" y="433"/>
                  <a:pt x="36" y="432"/>
                  <a:pt x="35" y="432"/>
                </a:cubicBezTo>
                <a:cubicBezTo>
                  <a:pt x="36" y="432"/>
                  <a:pt x="35" y="435"/>
                  <a:pt x="34" y="436"/>
                </a:cubicBezTo>
                <a:cubicBezTo>
                  <a:pt x="34" y="437"/>
                  <a:pt x="34" y="437"/>
                  <a:pt x="35" y="437"/>
                </a:cubicBezTo>
                <a:cubicBezTo>
                  <a:pt x="34" y="437"/>
                  <a:pt x="38" y="431"/>
                  <a:pt x="39" y="435"/>
                </a:cubicBezTo>
                <a:cubicBezTo>
                  <a:pt x="39" y="434"/>
                  <a:pt x="39" y="434"/>
                  <a:pt x="39" y="434"/>
                </a:cubicBezTo>
                <a:cubicBezTo>
                  <a:pt x="39" y="434"/>
                  <a:pt x="41" y="432"/>
                  <a:pt x="41" y="432"/>
                </a:cubicBezTo>
                <a:cubicBezTo>
                  <a:pt x="43" y="433"/>
                  <a:pt x="41" y="437"/>
                  <a:pt x="40" y="439"/>
                </a:cubicBezTo>
                <a:cubicBezTo>
                  <a:pt x="42" y="439"/>
                  <a:pt x="43" y="440"/>
                  <a:pt x="42" y="441"/>
                </a:cubicBezTo>
                <a:cubicBezTo>
                  <a:pt x="42" y="441"/>
                  <a:pt x="42" y="442"/>
                  <a:pt x="42" y="442"/>
                </a:cubicBezTo>
                <a:cubicBezTo>
                  <a:pt x="42" y="442"/>
                  <a:pt x="42" y="443"/>
                  <a:pt x="41" y="443"/>
                </a:cubicBezTo>
                <a:cubicBezTo>
                  <a:pt x="41" y="443"/>
                  <a:pt x="40" y="444"/>
                  <a:pt x="40" y="444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5"/>
                  <a:pt x="39" y="447"/>
                  <a:pt x="38" y="448"/>
                </a:cubicBezTo>
                <a:cubicBezTo>
                  <a:pt x="38" y="449"/>
                  <a:pt x="38" y="449"/>
                  <a:pt x="38" y="450"/>
                </a:cubicBezTo>
                <a:cubicBezTo>
                  <a:pt x="38" y="450"/>
                  <a:pt x="38" y="450"/>
                  <a:pt x="39" y="450"/>
                </a:cubicBezTo>
                <a:cubicBezTo>
                  <a:pt x="39" y="449"/>
                  <a:pt x="40" y="448"/>
                  <a:pt x="41" y="447"/>
                </a:cubicBezTo>
                <a:cubicBezTo>
                  <a:pt x="41" y="448"/>
                  <a:pt x="40" y="450"/>
                  <a:pt x="39" y="451"/>
                </a:cubicBezTo>
                <a:cubicBezTo>
                  <a:pt x="39" y="451"/>
                  <a:pt x="39" y="451"/>
                  <a:pt x="39" y="451"/>
                </a:cubicBezTo>
                <a:cubicBezTo>
                  <a:pt x="39" y="451"/>
                  <a:pt x="40" y="451"/>
                  <a:pt x="40" y="451"/>
                </a:cubicBezTo>
                <a:cubicBezTo>
                  <a:pt x="40" y="451"/>
                  <a:pt x="39" y="452"/>
                  <a:pt x="39" y="451"/>
                </a:cubicBezTo>
                <a:cubicBezTo>
                  <a:pt x="38" y="453"/>
                  <a:pt x="35" y="455"/>
                  <a:pt x="35" y="457"/>
                </a:cubicBezTo>
                <a:cubicBezTo>
                  <a:pt x="35" y="456"/>
                  <a:pt x="35" y="456"/>
                  <a:pt x="35" y="456"/>
                </a:cubicBezTo>
                <a:cubicBezTo>
                  <a:pt x="36" y="456"/>
                  <a:pt x="36" y="458"/>
                  <a:pt x="36" y="459"/>
                </a:cubicBezTo>
                <a:cubicBezTo>
                  <a:pt x="36" y="459"/>
                  <a:pt x="37" y="459"/>
                  <a:pt x="37" y="460"/>
                </a:cubicBezTo>
                <a:cubicBezTo>
                  <a:pt x="37" y="461"/>
                  <a:pt x="35" y="463"/>
                  <a:pt x="34" y="463"/>
                </a:cubicBezTo>
                <a:cubicBezTo>
                  <a:pt x="34" y="463"/>
                  <a:pt x="34" y="462"/>
                  <a:pt x="34" y="462"/>
                </a:cubicBezTo>
                <a:cubicBezTo>
                  <a:pt x="34" y="462"/>
                  <a:pt x="34" y="462"/>
                  <a:pt x="34" y="462"/>
                </a:cubicBezTo>
                <a:cubicBezTo>
                  <a:pt x="34" y="462"/>
                  <a:pt x="33" y="463"/>
                  <a:pt x="33" y="463"/>
                </a:cubicBezTo>
                <a:cubicBezTo>
                  <a:pt x="31" y="462"/>
                  <a:pt x="33" y="461"/>
                  <a:pt x="34" y="461"/>
                </a:cubicBezTo>
                <a:cubicBezTo>
                  <a:pt x="34" y="461"/>
                  <a:pt x="34" y="460"/>
                  <a:pt x="33" y="460"/>
                </a:cubicBezTo>
                <a:cubicBezTo>
                  <a:pt x="33" y="460"/>
                  <a:pt x="33" y="460"/>
                  <a:pt x="33" y="461"/>
                </a:cubicBezTo>
                <a:cubicBezTo>
                  <a:pt x="32" y="462"/>
                  <a:pt x="31" y="461"/>
                  <a:pt x="32" y="460"/>
                </a:cubicBezTo>
                <a:cubicBezTo>
                  <a:pt x="29" y="460"/>
                  <a:pt x="23" y="461"/>
                  <a:pt x="24" y="461"/>
                </a:cubicBezTo>
                <a:cubicBezTo>
                  <a:pt x="23" y="461"/>
                  <a:pt x="21" y="469"/>
                  <a:pt x="21" y="464"/>
                </a:cubicBezTo>
                <a:cubicBezTo>
                  <a:pt x="21" y="464"/>
                  <a:pt x="21" y="465"/>
                  <a:pt x="20" y="465"/>
                </a:cubicBezTo>
                <a:cubicBezTo>
                  <a:pt x="20" y="465"/>
                  <a:pt x="20" y="465"/>
                  <a:pt x="20" y="465"/>
                </a:cubicBezTo>
                <a:cubicBezTo>
                  <a:pt x="20" y="465"/>
                  <a:pt x="20" y="466"/>
                  <a:pt x="19" y="465"/>
                </a:cubicBezTo>
                <a:cubicBezTo>
                  <a:pt x="19" y="465"/>
                  <a:pt x="19" y="466"/>
                  <a:pt x="19" y="466"/>
                </a:cubicBezTo>
                <a:cubicBezTo>
                  <a:pt x="19" y="467"/>
                  <a:pt x="18" y="465"/>
                  <a:pt x="18" y="465"/>
                </a:cubicBezTo>
                <a:cubicBezTo>
                  <a:pt x="17" y="464"/>
                  <a:pt x="17" y="464"/>
                  <a:pt x="16" y="464"/>
                </a:cubicBezTo>
                <a:cubicBezTo>
                  <a:pt x="16" y="464"/>
                  <a:pt x="16" y="463"/>
                  <a:pt x="16" y="463"/>
                </a:cubicBezTo>
                <a:cubicBezTo>
                  <a:pt x="17" y="466"/>
                  <a:pt x="17" y="468"/>
                  <a:pt x="18" y="470"/>
                </a:cubicBezTo>
                <a:cubicBezTo>
                  <a:pt x="18" y="471"/>
                  <a:pt x="19" y="471"/>
                  <a:pt x="18" y="471"/>
                </a:cubicBezTo>
                <a:cubicBezTo>
                  <a:pt x="18" y="472"/>
                  <a:pt x="19" y="472"/>
                  <a:pt x="19" y="472"/>
                </a:cubicBezTo>
                <a:cubicBezTo>
                  <a:pt x="19" y="472"/>
                  <a:pt x="19" y="472"/>
                  <a:pt x="19" y="471"/>
                </a:cubicBezTo>
                <a:cubicBezTo>
                  <a:pt x="20" y="470"/>
                  <a:pt x="21" y="470"/>
                  <a:pt x="22" y="469"/>
                </a:cubicBezTo>
                <a:cubicBezTo>
                  <a:pt x="21" y="468"/>
                  <a:pt x="22" y="466"/>
                  <a:pt x="23" y="467"/>
                </a:cubicBezTo>
                <a:cubicBezTo>
                  <a:pt x="24" y="467"/>
                  <a:pt x="24" y="468"/>
                  <a:pt x="23" y="469"/>
                </a:cubicBezTo>
                <a:cubicBezTo>
                  <a:pt x="23" y="469"/>
                  <a:pt x="23" y="469"/>
                  <a:pt x="24" y="469"/>
                </a:cubicBezTo>
                <a:cubicBezTo>
                  <a:pt x="24" y="469"/>
                  <a:pt x="24" y="469"/>
                  <a:pt x="24" y="469"/>
                </a:cubicBezTo>
                <a:cubicBezTo>
                  <a:pt x="26" y="468"/>
                  <a:pt x="28" y="469"/>
                  <a:pt x="29" y="470"/>
                </a:cubicBezTo>
                <a:cubicBezTo>
                  <a:pt x="29" y="470"/>
                  <a:pt x="30" y="470"/>
                  <a:pt x="30" y="470"/>
                </a:cubicBezTo>
                <a:cubicBezTo>
                  <a:pt x="30" y="470"/>
                  <a:pt x="30" y="470"/>
                  <a:pt x="30" y="470"/>
                </a:cubicBezTo>
                <a:cubicBezTo>
                  <a:pt x="30" y="470"/>
                  <a:pt x="31" y="471"/>
                  <a:pt x="30" y="471"/>
                </a:cubicBezTo>
                <a:cubicBezTo>
                  <a:pt x="32" y="472"/>
                  <a:pt x="33" y="475"/>
                  <a:pt x="33" y="477"/>
                </a:cubicBezTo>
                <a:cubicBezTo>
                  <a:pt x="33" y="477"/>
                  <a:pt x="32" y="480"/>
                  <a:pt x="31" y="480"/>
                </a:cubicBezTo>
                <a:cubicBezTo>
                  <a:pt x="31" y="480"/>
                  <a:pt x="30" y="479"/>
                  <a:pt x="30" y="480"/>
                </a:cubicBezTo>
                <a:cubicBezTo>
                  <a:pt x="30" y="480"/>
                  <a:pt x="30" y="480"/>
                  <a:pt x="30" y="480"/>
                </a:cubicBezTo>
                <a:cubicBezTo>
                  <a:pt x="29" y="480"/>
                  <a:pt x="29" y="481"/>
                  <a:pt x="29" y="481"/>
                </a:cubicBezTo>
                <a:cubicBezTo>
                  <a:pt x="29" y="481"/>
                  <a:pt x="30" y="481"/>
                  <a:pt x="30" y="482"/>
                </a:cubicBezTo>
                <a:cubicBezTo>
                  <a:pt x="30" y="482"/>
                  <a:pt x="29" y="483"/>
                  <a:pt x="28" y="482"/>
                </a:cubicBezTo>
                <a:cubicBezTo>
                  <a:pt x="28" y="482"/>
                  <a:pt x="28" y="482"/>
                  <a:pt x="28" y="482"/>
                </a:cubicBezTo>
                <a:cubicBezTo>
                  <a:pt x="28" y="483"/>
                  <a:pt x="28" y="484"/>
                  <a:pt x="28" y="485"/>
                </a:cubicBezTo>
                <a:cubicBezTo>
                  <a:pt x="29" y="485"/>
                  <a:pt x="31" y="483"/>
                  <a:pt x="32" y="485"/>
                </a:cubicBezTo>
                <a:cubicBezTo>
                  <a:pt x="29" y="485"/>
                  <a:pt x="31" y="486"/>
                  <a:pt x="31" y="489"/>
                </a:cubicBezTo>
                <a:cubicBezTo>
                  <a:pt x="31" y="493"/>
                  <a:pt x="30" y="491"/>
                  <a:pt x="32" y="488"/>
                </a:cubicBezTo>
                <a:cubicBezTo>
                  <a:pt x="33" y="487"/>
                  <a:pt x="33" y="489"/>
                  <a:pt x="35" y="487"/>
                </a:cubicBezTo>
                <a:cubicBezTo>
                  <a:pt x="35" y="486"/>
                  <a:pt x="35" y="484"/>
                  <a:pt x="35" y="482"/>
                </a:cubicBezTo>
                <a:cubicBezTo>
                  <a:pt x="35" y="482"/>
                  <a:pt x="35" y="482"/>
                  <a:pt x="35" y="482"/>
                </a:cubicBezTo>
                <a:cubicBezTo>
                  <a:pt x="35" y="481"/>
                  <a:pt x="35" y="481"/>
                  <a:pt x="35" y="480"/>
                </a:cubicBezTo>
                <a:cubicBezTo>
                  <a:pt x="35" y="482"/>
                  <a:pt x="31" y="480"/>
                  <a:pt x="33" y="479"/>
                </a:cubicBezTo>
                <a:cubicBezTo>
                  <a:pt x="33" y="479"/>
                  <a:pt x="33" y="479"/>
                  <a:pt x="34" y="478"/>
                </a:cubicBezTo>
                <a:cubicBezTo>
                  <a:pt x="34" y="477"/>
                  <a:pt x="35" y="474"/>
                  <a:pt x="36" y="473"/>
                </a:cubicBezTo>
                <a:cubicBezTo>
                  <a:pt x="36" y="470"/>
                  <a:pt x="37" y="470"/>
                  <a:pt x="36" y="473"/>
                </a:cubicBezTo>
                <a:cubicBezTo>
                  <a:pt x="36" y="475"/>
                  <a:pt x="36" y="477"/>
                  <a:pt x="35" y="478"/>
                </a:cubicBezTo>
                <a:cubicBezTo>
                  <a:pt x="37" y="477"/>
                  <a:pt x="35" y="476"/>
                  <a:pt x="36" y="475"/>
                </a:cubicBezTo>
                <a:cubicBezTo>
                  <a:pt x="36" y="474"/>
                  <a:pt x="38" y="473"/>
                  <a:pt x="39" y="472"/>
                </a:cubicBezTo>
                <a:cubicBezTo>
                  <a:pt x="39" y="472"/>
                  <a:pt x="39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39" y="469"/>
                  <a:pt x="43" y="469"/>
                  <a:pt x="42" y="470"/>
                </a:cubicBezTo>
                <a:cubicBezTo>
                  <a:pt x="43" y="470"/>
                  <a:pt x="43" y="470"/>
                  <a:pt x="43" y="470"/>
                </a:cubicBezTo>
                <a:cubicBezTo>
                  <a:pt x="43" y="470"/>
                  <a:pt x="44" y="470"/>
                  <a:pt x="44" y="471"/>
                </a:cubicBezTo>
                <a:cubicBezTo>
                  <a:pt x="44" y="471"/>
                  <a:pt x="44" y="471"/>
                  <a:pt x="44" y="471"/>
                </a:cubicBezTo>
                <a:cubicBezTo>
                  <a:pt x="44" y="471"/>
                  <a:pt x="45" y="473"/>
                  <a:pt x="46" y="474"/>
                </a:cubicBezTo>
                <a:cubicBezTo>
                  <a:pt x="46" y="474"/>
                  <a:pt x="47" y="474"/>
                  <a:pt x="47" y="474"/>
                </a:cubicBezTo>
                <a:cubicBezTo>
                  <a:pt x="47" y="474"/>
                  <a:pt x="47" y="475"/>
                  <a:pt x="47" y="475"/>
                </a:cubicBezTo>
                <a:cubicBezTo>
                  <a:pt x="47" y="475"/>
                  <a:pt x="48" y="475"/>
                  <a:pt x="48" y="474"/>
                </a:cubicBezTo>
                <a:cubicBezTo>
                  <a:pt x="48" y="474"/>
                  <a:pt x="48" y="473"/>
                  <a:pt x="48" y="473"/>
                </a:cubicBezTo>
                <a:cubicBezTo>
                  <a:pt x="49" y="473"/>
                  <a:pt x="56" y="472"/>
                  <a:pt x="53" y="470"/>
                </a:cubicBezTo>
                <a:cubicBezTo>
                  <a:pt x="52" y="470"/>
                  <a:pt x="52" y="471"/>
                  <a:pt x="52" y="471"/>
                </a:cubicBezTo>
                <a:cubicBezTo>
                  <a:pt x="52" y="471"/>
                  <a:pt x="52" y="470"/>
                  <a:pt x="51" y="470"/>
                </a:cubicBezTo>
                <a:cubicBezTo>
                  <a:pt x="50" y="470"/>
                  <a:pt x="49" y="472"/>
                  <a:pt x="48" y="472"/>
                </a:cubicBezTo>
                <a:cubicBezTo>
                  <a:pt x="50" y="471"/>
                  <a:pt x="48" y="468"/>
                  <a:pt x="49" y="467"/>
                </a:cubicBezTo>
                <a:cubicBezTo>
                  <a:pt x="51" y="467"/>
                  <a:pt x="53" y="470"/>
                  <a:pt x="55" y="470"/>
                </a:cubicBezTo>
                <a:cubicBezTo>
                  <a:pt x="58" y="469"/>
                  <a:pt x="59" y="467"/>
                  <a:pt x="60" y="465"/>
                </a:cubicBezTo>
                <a:cubicBezTo>
                  <a:pt x="59" y="466"/>
                  <a:pt x="57" y="466"/>
                  <a:pt x="56" y="465"/>
                </a:cubicBezTo>
                <a:cubicBezTo>
                  <a:pt x="55" y="466"/>
                  <a:pt x="54" y="467"/>
                  <a:pt x="53" y="465"/>
                </a:cubicBezTo>
                <a:cubicBezTo>
                  <a:pt x="52" y="463"/>
                  <a:pt x="48" y="460"/>
                  <a:pt x="50" y="458"/>
                </a:cubicBezTo>
                <a:cubicBezTo>
                  <a:pt x="53" y="455"/>
                  <a:pt x="58" y="451"/>
                  <a:pt x="59" y="445"/>
                </a:cubicBezTo>
                <a:cubicBezTo>
                  <a:pt x="55" y="450"/>
                  <a:pt x="54" y="444"/>
                  <a:pt x="59" y="443"/>
                </a:cubicBezTo>
                <a:cubicBezTo>
                  <a:pt x="58" y="445"/>
                  <a:pt x="60" y="444"/>
                  <a:pt x="61" y="445"/>
                </a:cubicBezTo>
                <a:cubicBezTo>
                  <a:pt x="61" y="445"/>
                  <a:pt x="61" y="446"/>
                  <a:pt x="61" y="446"/>
                </a:cubicBezTo>
                <a:cubicBezTo>
                  <a:pt x="61" y="446"/>
                  <a:pt x="61" y="446"/>
                  <a:pt x="61" y="446"/>
                </a:cubicBezTo>
                <a:cubicBezTo>
                  <a:pt x="63" y="446"/>
                  <a:pt x="60" y="450"/>
                  <a:pt x="60" y="447"/>
                </a:cubicBezTo>
                <a:cubicBezTo>
                  <a:pt x="60" y="447"/>
                  <a:pt x="60" y="447"/>
                  <a:pt x="60" y="447"/>
                </a:cubicBezTo>
                <a:cubicBezTo>
                  <a:pt x="60" y="448"/>
                  <a:pt x="59" y="448"/>
                  <a:pt x="59" y="449"/>
                </a:cubicBezTo>
                <a:cubicBezTo>
                  <a:pt x="59" y="452"/>
                  <a:pt x="59" y="456"/>
                  <a:pt x="60" y="459"/>
                </a:cubicBezTo>
                <a:cubicBezTo>
                  <a:pt x="61" y="459"/>
                  <a:pt x="61" y="459"/>
                  <a:pt x="62" y="460"/>
                </a:cubicBezTo>
                <a:cubicBezTo>
                  <a:pt x="62" y="460"/>
                  <a:pt x="62" y="460"/>
                  <a:pt x="62" y="461"/>
                </a:cubicBezTo>
                <a:cubicBezTo>
                  <a:pt x="63" y="462"/>
                  <a:pt x="64" y="461"/>
                  <a:pt x="66" y="457"/>
                </a:cubicBezTo>
                <a:cubicBezTo>
                  <a:pt x="67" y="464"/>
                  <a:pt x="71" y="455"/>
                  <a:pt x="70" y="453"/>
                </a:cubicBezTo>
                <a:cubicBezTo>
                  <a:pt x="70" y="453"/>
                  <a:pt x="68" y="453"/>
                  <a:pt x="68" y="452"/>
                </a:cubicBezTo>
                <a:cubicBezTo>
                  <a:pt x="67" y="452"/>
                  <a:pt x="68" y="449"/>
                  <a:pt x="68" y="447"/>
                </a:cubicBezTo>
                <a:cubicBezTo>
                  <a:pt x="69" y="446"/>
                  <a:pt x="73" y="440"/>
                  <a:pt x="72" y="445"/>
                </a:cubicBezTo>
                <a:cubicBezTo>
                  <a:pt x="71" y="446"/>
                  <a:pt x="71" y="448"/>
                  <a:pt x="71" y="449"/>
                </a:cubicBezTo>
                <a:cubicBezTo>
                  <a:pt x="72" y="449"/>
                  <a:pt x="72" y="449"/>
                  <a:pt x="71" y="449"/>
                </a:cubicBezTo>
                <a:cubicBezTo>
                  <a:pt x="71" y="449"/>
                  <a:pt x="71" y="449"/>
                  <a:pt x="71" y="449"/>
                </a:cubicBezTo>
                <a:cubicBezTo>
                  <a:pt x="71" y="450"/>
                  <a:pt x="71" y="452"/>
                  <a:pt x="71" y="453"/>
                </a:cubicBezTo>
                <a:cubicBezTo>
                  <a:pt x="71" y="455"/>
                  <a:pt x="70" y="457"/>
                  <a:pt x="70" y="458"/>
                </a:cubicBezTo>
                <a:cubicBezTo>
                  <a:pt x="70" y="458"/>
                  <a:pt x="70" y="458"/>
                  <a:pt x="71" y="459"/>
                </a:cubicBezTo>
                <a:cubicBezTo>
                  <a:pt x="71" y="459"/>
                  <a:pt x="72" y="459"/>
                  <a:pt x="72" y="460"/>
                </a:cubicBezTo>
                <a:cubicBezTo>
                  <a:pt x="71" y="460"/>
                  <a:pt x="71" y="460"/>
                  <a:pt x="71" y="460"/>
                </a:cubicBezTo>
                <a:cubicBezTo>
                  <a:pt x="71" y="461"/>
                  <a:pt x="72" y="461"/>
                  <a:pt x="72" y="461"/>
                </a:cubicBezTo>
                <a:cubicBezTo>
                  <a:pt x="74" y="461"/>
                  <a:pt x="74" y="453"/>
                  <a:pt x="73" y="450"/>
                </a:cubicBezTo>
                <a:cubicBezTo>
                  <a:pt x="73" y="450"/>
                  <a:pt x="73" y="451"/>
                  <a:pt x="73" y="450"/>
                </a:cubicBezTo>
                <a:cubicBezTo>
                  <a:pt x="72" y="450"/>
                  <a:pt x="73" y="449"/>
                  <a:pt x="73" y="449"/>
                </a:cubicBezTo>
                <a:cubicBezTo>
                  <a:pt x="73" y="449"/>
                  <a:pt x="73" y="449"/>
                  <a:pt x="73" y="449"/>
                </a:cubicBezTo>
                <a:cubicBezTo>
                  <a:pt x="73" y="449"/>
                  <a:pt x="74" y="448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5"/>
                  <a:pt x="74" y="442"/>
                  <a:pt x="75" y="442"/>
                </a:cubicBezTo>
                <a:cubicBezTo>
                  <a:pt x="78" y="440"/>
                  <a:pt x="73" y="455"/>
                  <a:pt x="78" y="450"/>
                </a:cubicBezTo>
                <a:cubicBezTo>
                  <a:pt x="79" y="450"/>
                  <a:pt x="83" y="445"/>
                  <a:pt x="83" y="445"/>
                </a:cubicBezTo>
                <a:cubicBezTo>
                  <a:pt x="82" y="444"/>
                  <a:pt x="81" y="445"/>
                  <a:pt x="80" y="445"/>
                </a:cubicBezTo>
                <a:cubicBezTo>
                  <a:pt x="78" y="444"/>
                  <a:pt x="79" y="441"/>
                  <a:pt x="80" y="441"/>
                </a:cubicBezTo>
                <a:cubicBezTo>
                  <a:pt x="82" y="440"/>
                  <a:pt x="82" y="442"/>
                  <a:pt x="83" y="442"/>
                </a:cubicBezTo>
                <a:cubicBezTo>
                  <a:pt x="85" y="441"/>
                  <a:pt x="85" y="439"/>
                  <a:pt x="86" y="437"/>
                </a:cubicBezTo>
                <a:cubicBezTo>
                  <a:pt x="86" y="438"/>
                  <a:pt x="85" y="438"/>
                  <a:pt x="85" y="438"/>
                </a:cubicBezTo>
                <a:cubicBezTo>
                  <a:pt x="85" y="437"/>
                  <a:pt x="86" y="437"/>
                  <a:pt x="86" y="437"/>
                </a:cubicBezTo>
                <a:cubicBezTo>
                  <a:pt x="86" y="435"/>
                  <a:pt x="87" y="434"/>
                  <a:pt x="88" y="432"/>
                </a:cubicBezTo>
                <a:cubicBezTo>
                  <a:pt x="90" y="430"/>
                  <a:pt x="91" y="426"/>
                  <a:pt x="91" y="426"/>
                </a:cubicBezTo>
                <a:cubicBezTo>
                  <a:pt x="91" y="426"/>
                  <a:pt x="93" y="428"/>
                  <a:pt x="95" y="428"/>
                </a:cubicBezTo>
                <a:cubicBezTo>
                  <a:pt x="97" y="428"/>
                  <a:pt x="96" y="426"/>
                  <a:pt x="97" y="428"/>
                </a:cubicBezTo>
                <a:cubicBezTo>
                  <a:pt x="97" y="430"/>
                  <a:pt x="98" y="428"/>
                  <a:pt x="98" y="430"/>
                </a:cubicBezTo>
                <a:cubicBezTo>
                  <a:pt x="98" y="432"/>
                  <a:pt x="95" y="437"/>
                  <a:pt x="92" y="435"/>
                </a:cubicBezTo>
                <a:cubicBezTo>
                  <a:pt x="91" y="435"/>
                  <a:pt x="91" y="433"/>
                  <a:pt x="89" y="435"/>
                </a:cubicBezTo>
                <a:cubicBezTo>
                  <a:pt x="89" y="436"/>
                  <a:pt x="90" y="437"/>
                  <a:pt x="89" y="439"/>
                </a:cubicBezTo>
                <a:cubicBezTo>
                  <a:pt x="88" y="441"/>
                  <a:pt x="84" y="445"/>
                  <a:pt x="83" y="448"/>
                </a:cubicBezTo>
                <a:cubicBezTo>
                  <a:pt x="82" y="450"/>
                  <a:pt x="83" y="453"/>
                  <a:pt x="81" y="456"/>
                </a:cubicBezTo>
                <a:cubicBezTo>
                  <a:pt x="80" y="458"/>
                  <a:pt x="75" y="461"/>
                  <a:pt x="75" y="463"/>
                </a:cubicBezTo>
                <a:cubicBezTo>
                  <a:pt x="75" y="463"/>
                  <a:pt x="76" y="464"/>
                  <a:pt x="76" y="464"/>
                </a:cubicBezTo>
                <a:cubicBezTo>
                  <a:pt x="77" y="464"/>
                  <a:pt x="77" y="464"/>
                  <a:pt x="77" y="464"/>
                </a:cubicBezTo>
                <a:cubicBezTo>
                  <a:pt x="77" y="465"/>
                  <a:pt x="77" y="465"/>
                  <a:pt x="77" y="465"/>
                </a:cubicBezTo>
                <a:cubicBezTo>
                  <a:pt x="79" y="466"/>
                  <a:pt x="83" y="467"/>
                  <a:pt x="86" y="467"/>
                </a:cubicBezTo>
                <a:cubicBezTo>
                  <a:pt x="86" y="467"/>
                  <a:pt x="86" y="466"/>
                  <a:pt x="86" y="466"/>
                </a:cubicBezTo>
                <a:cubicBezTo>
                  <a:pt x="86" y="465"/>
                  <a:pt x="86" y="465"/>
                  <a:pt x="86" y="464"/>
                </a:cubicBezTo>
                <a:cubicBezTo>
                  <a:pt x="87" y="460"/>
                  <a:pt x="94" y="456"/>
                  <a:pt x="98" y="458"/>
                </a:cubicBezTo>
                <a:cubicBezTo>
                  <a:pt x="98" y="458"/>
                  <a:pt x="98" y="459"/>
                  <a:pt x="99" y="459"/>
                </a:cubicBezTo>
                <a:cubicBezTo>
                  <a:pt x="99" y="459"/>
                  <a:pt x="99" y="459"/>
                  <a:pt x="99" y="459"/>
                </a:cubicBezTo>
                <a:cubicBezTo>
                  <a:pt x="100" y="458"/>
                  <a:pt x="99" y="459"/>
                  <a:pt x="99" y="459"/>
                </a:cubicBezTo>
                <a:cubicBezTo>
                  <a:pt x="99" y="459"/>
                  <a:pt x="99" y="459"/>
                  <a:pt x="99" y="460"/>
                </a:cubicBezTo>
                <a:cubicBezTo>
                  <a:pt x="100" y="459"/>
                  <a:pt x="101" y="459"/>
                  <a:pt x="101" y="458"/>
                </a:cubicBezTo>
                <a:cubicBezTo>
                  <a:pt x="103" y="459"/>
                  <a:pt x="103" y="456"/>
                  <a:pt x="105" y="456"/>
                </a:cubicBezTo>
                <a:cubicBezTo>
                  <a:pt x="106" y="455"/>
                  <a:pt x="108" y="458"/>
                  <a:pt x="108" y="455"/>
                </a:cubicBezTo>
                <a:cubicBezTo>
                  <a:pt x="108" y="460"/>
                  <a:pt x="116" y="452"/>
                  <a:pt x="116" y="451"/>
                </a:cubicBezTo>
                <a:cubicBezTo>
                  <a:pt x="116" y="451"/>
                  <a:pt x="110" y="450"/>
                  <a:pt x="110" y="450"/>
                </a:cubicBezTo>
                <a:cubicBezTo>
                  <a:pt x="110" y="450"/>
                  <a:pt x="110" y="450"/>
                  <a:pt x="110" y="450"/>
                </a:cubicBezTo>
                <a:cubicBezTo>
                  <a:pt x="110" y="451"/>
                  <a:pt x="110" y="451"/>
                  <a:pt x="110" y="451"/>
                </a:cubicBezTo>
                <a:cubicBezTo>
                  <a:pt x="109" y="451"/>
                  <a:pt x="109" y="452"/>
                  <a:pt x="108" y="451"/>
                </a:cubicBezTo>
                <a:cubicBezTo>
                  <a:pt x="107" y="450"/>
                  <a:pt x="109" y="450"/>
                  <a:pt x="110" y="449"/>
                </a:cubicBezTo>
                <a:cubicBezTo>
                  <a:pt x="110" y="449"/>
                  <a:pt x="110" y="449"/>
                  <a:pt x="109" y="449"/>
                </a:cubicBezTo>
                <a:cubicBezTo>
                  <a:pt x="109" y="449"/>
                  <a:pt x="108" y="448"/>
                  <a:pt x="108" y="447"/>
                </a:cubicBezTo>
                <a:cubicBezTo>
                  <a:pt x="108" y="447"/>
                  <a:pt x="108" y="446"/>
                  <a:pt x="108" y="446"/>
                </a:cubicBezTo>
                <a:cubicBezTo>
                  <a:pt x="108" y="446"/>
                  <a:pt x="108" y="445"/>
                  <a:pt x="108" y="444"/>
                </a:cubicBezTo>
                <a:cubicBezTo>
                  <a:pt x="108" y="444"/>
                  <a:pt x="110" y="441"/>
                  <a:pt x="111" y="441"/>
                </a:cubicBezTo>
                <a:cubicBezTo>
                  <a:pt x="112" y="440"/>
                  <a:pt x="114" y="435"/>
                  <a:pt x="115" y="436"/>
                </a:cubicBezTo>
                <a:cubicBezTo>
                  <a:pt x="116" y="436"/>
                  <a:pt x="114" y="438"/>
                  <a:pt x="115" y="439"/>
                </a:cubicBezTo>
                <a:cubicBezTo>
                  <a:pt x="115" y="440"/>
                  <a:pt x="117" y="439"/>
                  <a:pt x="118" y="439"/>
                </a:cubicBezTo>
                <a:cubicBezTo>
                  <a:pt x="119" y="439"/>
                  <a:pt x="118" y="441"/>
                  <a:pt x="119" y="442"/>
                </a:cubicBezTo>
                <a:cubicBezTo>
                  <a:pt x="119" y="441"/>
                  <a:pt x="121" y="440"/>
                  <a:pt x="122" y="442"/>
                </a:cubicBezTo>
                <a:cubicBezTo>
                  <a:pt x="122" y="444"/>
                  <a:pt x="120" y="443"/>
                  <a:pt x="120" y="444"/>
                </a:cubicBezTo>
                <a:cubicBezTo>
                  <a:pt x="119" y="444"/>
                  <a:pt x="120" y="445"/>
                  <a:pt x="120" y="445"/>
                </a:cubicBezTo>
                <a:cubicBezTo>
                  <a:pt x="121" y="446"/>
                  <a:pt x="119" y="447"/>
                  <a:pt x="118" y="448"/>
                </a:cubicBezTo>
                <a:cubicBezTo>
                  <a:pt x="118" y="449"/>
                  <a:pt x="119" y="450"/>
                  <a:pt x="119" y="450"/>
                </a:cubicBezTo>
                <a:cubicBezTo>
                  <a:pt x="117" y="453"/>
                  <a:pt x="112" y="455"/>
                  <a:pt x="113" y="460"/>
                </a:cubicBezTo>
                <a:cubicBezTo>
                  <a:pt x="113" y="461"/>
                  <a:pt x="114" y="460"/>
                  <a:pt x="115" y="460"/>
                </a:cubicBezTo>
                <a:cubicBezTo>
                  <a:pt x="114" y="463"/>
                  <a:pt x="112" y="471"/>
                  <a:pt x="107" y="472"/>
                </a:cubicBezTo>
                <a:cubicBezTo>
                  <a:pt x="106" y="472"/>
                  <a:pt x="104" y="471"/>
                  <a:pt x="103" y="471"/>
                </a:cubicBezTo>
                <a:cubicBezTo>
                  <a:pt x="102" y="471"/>
                  <a:pt x="102" y="470"/>
                  <a:pt x="101" y="469"/>
                </a:cubicBezTo>
                <a:cubicBezTo>
                  <a:pt x="101" y="469"/>
                  <a:pt x="100" y="469"/>
                  <a:pt x="100" y="468"/>
                </a:cubicBezTo>
                <a:cubicBezTo>
                  <a:pt x="100" y="468"/>
                  <a:pt x="100" y="468"/>
                  <a:pt x="100" y="468"/>
                </a:cubicBezTo>
                <a:cubicBezTo>
                  <a:pt x="100" y="468"/>
                  <a:pt x="100" y="467"/>
                  <a:pt x="99" y="467"/>
                </a:cubicBezTo>
                <a:cubicBezTo>
                  <a:pt x="98" y="468"/>
                  <a:pt x="96" y="470"/>
                  <a:pt x="95" y="470"/>
                </a:cubicBezTo>
                <a:cubicBezTo>
                  <a:pt x="96" y="472"/>
                  <a:pt x="98" y="470"/>
                  <a:pt x="99" y="470"/>
                </a:cubicBezTo>
                <a:cubicBezTo>
                  <a:pt x="98" y="471"/>
                  <a:pt x="98" y="471"/>
                  <a:pt x="98" y="472"/>
                </a:cubicBezTo>
                <a:cubicBezTo>
                  <a:pt x="99" y="472"/>
                  <a:pt x="100" y="472"/>
                  <a:pt x="100" y="472"/>
                </a:cubicBezTo>
                <a:cubicBezTo>
                  <a:pt x="101" y="473"/>
                  <a:pt x="99" y="473"/>
                  <a:pt x="99" y="473"/>
                </a:cubicBezTo>
                <a:cubicBezTo>
                  <a:pt x="98" y="475"/>
                  <a:pt x="100" y="474"/>
                  <a:pt x="99" y="476"/>
                </a:cubicBezTo>
                <a:cubicBezTo>
                  <a:pt x="98" y="478"/>
                  <a:pt x="95" y="477"/>
                  <a:pt x="94" y="478"/>
                </a:cubicBezTo>
                <a:cubicBezTo>
                  <a:pt x="94" y="478"/>
                  <a:pt x="94" y="478"/>
                  <a:pt x="94" y="479"/>
                </a:cubicBezTo>
                <a:cubicBezTo>
                  <a:pt x="95" y="479"/>
                  <a:pt x="95" y="479"/>
                  <a:pt x="96" y="479"/>
                </a:cubicBezTo>
                <a:cubicBezTo>
                  <a:pt x="96" y="480"/>
                  <a:pt x="94" y="481"/>
                  <a:pt x="95" y="483"/>
                </a:cubicBezTo>
                <a:cubicBezTo>
                  <a:pt x="95" y="483"/>
                  <a:pt x="96" y="483"/>
                  <a:pt x="96" y="483"/>
                </a:cubicBezTo>
                <a:cubicBezTo>
                  <a:pt x="96" y="483"/>
                  <a:pt x="97" y="487"/>
                  <a:pt x="97" y="487"/>
                </a:cubicBezTo>
                <a:cubicBezTo>
                  <a:pt x="96" y="489"/>
                  <a:pt x="94" y="487"/>
                  <a:pt x="92" y="488"/>
                </a:cubicBezTo>
                <a:cubicBezTo>
                  <a:pt x="93" y="488"/>
                  <a:pt x="90" y="490"/>
                  <a:pt x="90" y="490"/>
                </a:cubicBezTo>
                <a:cubicBezTo>
                  <a:pt x="90" y="491"/>
                  <a:pt x="91" y="491"/>
                  <a:pt x="91" y="492"/>
                </a:cubicBezTo>
                <a:cubicBezTo>
                  <a:pt x="90" y="495"/>
                  <a:pt x="89" y="494"/>
                  <a:pt x="89" y="497"/>
                </a:cubicBezTo>
                <a:cubicBezTo>
                  <a:pt x="89" y="498"/>
                  <a:pt x="86" y="502"/>
                  <a:pt x="84" y="502"/>
                </a:cubicBezTo>
                <a:cubicBezTo>
                  <a:pt x="80" y="502"/>
                  <a:pt x="82" y="494"/>
                  <a:pt x="76" y="496"/>
                </a:cubicBezTo>
                <a:cubicBezTo>
                  <a:pt x="75" y="491"/>
                  <a:pt x="70" y="501"/>
                  <a:pt x="69" y="501"/>
                </a:cubicBezTo>
                <a:cubicBezTo>
                  <a:pt x="69" y="501"/>
                  <a:pt x="69" y="501"/>
                  <a:pt x="69" y="501"/>
                </a:cubicBezTo>
                <a:cubicBezTo>
                  <a:pt x="69" y="501"/>
                  <a:pt x="69" y="502"/>
                  <a:pt x="68" y="501"/>
                </a:cubicBezTo>
                <a:cubicBezTo>
                  <a:pt x="68" y="501"/>
                  <a:pt x="68" y="501"/>
                  <a:pt x="68" y="501"/>
                </a:cubicBezTo>
                <a:cubicBezTo>
                  <a:pt x="68" y="500"/>
                  <a:pt x="69" y="500"/>
                  <a:pt x="69" y="501"/>
                </a:cubicBezTo>
                <a:cubicBezTo>
                  <a:pt x="69" y="499"/>
                  <a:pt x="73" y="494"/>
                  <a:pt x="68" y="496"/>
                </a:cubicBezTo>
                <a:cubicBezTo>
                  <a:pt x="67" y="497"/>
                  <a:pt x="69" y="499"/>
                  <a:pt x="68" y="500"/>
                </a:cubicBezTo>
                <a:cubicBezTo>
                  <a:pt x="67" y="501"/>
                  <a:pt x="64" y="500"/>
                  <a:pt x="62" y="500"/>
                </a:cubicBezTo>
                <a:cubicBezTo>
                  <a:pt x="62" y="500"/>
                  <a:pt x="61" y="504"/>
                  <a:pt x="61" y="505"/>
                </a:cubicBezTo>
                <a:cubicBezTo>
                  <a:pt x="62" y="506"/>
                  <a:pt x="63" y="506"/>
                  <a:pt x="62" y="508"/>
                </a:cubicBezTo>
                <a:cubicBezTo>
                  <a:pt x="62" y="508"/>
                  <a:pt x="62" y="507"/>
                  <a:pt x="63" y="507"/>
                </a:cubicBezTo>
                <a:cubicBezTo>
                  <a:pt x="62" y="508"/>
                  <a:pt x="62" y="509"/>
                  <a:pt x="65" y="508"/>
                </a:cubicBezTo>
                <a:cubicBezTo>
                  <a:pt x="63" y="511"/>
                  <a:pt x="60" y="511"/>
                  <a:pt x="61" y="514"/>
                </a:cubicBezTo>
                <a:cubicBezTo>
                  <a:pt x="61" y="514"/>
                  <a:pt x="67" y="516"/>
                  <a:pt x="66" y="517"/>
                </a:cubicBezTo>
                <a:cubicBezTo>
                  <a:pt x="70" y="515"/>
                  <a:pt x="64" y="513"/>
                  <a:pt x="65" y="510"/>
                </a:cubicBezTo>
                <a:cubicBezTo>
                  <a:pt x="66" y="507"/>
                  <a:pt x="68" y="514"/>
                  <a:pt x="69" y="514"/>
                </a:cubicBezTo>
                <a:cubicBezTo>
                  <a:pt x="70" y="515"/>
                  <a:pt x="69" y="514"/>
                  <a:pt x="70" y="514"/>
                </a:cubicBezTo>
                <a:cubicBezTo>
                  <a:pt x="72" y="513"/>
                  <a:pt x="73" y="516"/>
                  <a:pt x="74" y="514"/>
                </a:cubicBezTo>
                <a:cubicBezTo>
                  <a:pt x="74" y="514"/>
                  <a:pt x="71" y="514"/>
                  <a:pt x="72" y="512"/>
                </a:cubicBezTo>
                <a:cubicBezTo>
                  <a:pt x="73" y="511"/>
                  <a:pt x="75" y="513"/>
                  <a:pt x="75" y="513"/>
                </a:cubicBezTo>
                <a:cubicBezTo>
                  <a:pt x="76" y="513"/>
                  <a:pt x="77" y="513"/>
                  <a:pt x="78" y="514"/>
                </a:cubicBezTo>
                <a:cubicBezTo>
                  <a:pt x="78" y="513"/>
                  <a:pt x="78" y="513"/>
                  <a:pt x="78" y="513"/>
                </a:cubicBezTo>
                <a:cubicBezTo>
                  <a:pt x="78" y="513"/>
                  <a:pt x="78" y="514"/>
                  <a:pt x="78" y="515"/>
                </a:cubicBezTo>
                <a:cubicBezTo>
                  <a:pt x="78" y="517"/>
                  <a:pt x="78" y="519"/>
                  <a:pt x="78" y="520"/>
                </a:cubicBezTo>
                <a:cubicBezTo>
                  <a:pt x="78" y="520"/>
                  <a:pt x="78" y="520"/>
                  <a:pt x="78" y="520"/>
                </a:cubicBezTo>
                <a:cubicBezTo>
                  <a:pt x="79" y="520"/>
                  <a:pt x="78" y="519"/>
                  <a:pt x="79" y="519"/>
                </a:cubicBezTo>
                <a:cubicBezTo>
                  <a:pt x="80" y="520"/>
                  <a:pt x="80" y="520"/>
                  <a:pt x="81" y="520"/>
                </a:cubicBezTo>
                <a:cubicBezTo>
                  <a:pt x="81" y="518"/>
                  <a:pt x="82" y="515"/>
                  <a:pt x="82" y="515"/>
                </a:cubicBezTo>
                <a:cubicBezTo>
                  <a:pt x="84" y="514"/>
                  <a:pt x="85" y="516"/>
                  <a:pt x="86" y="514"/>
                </a:cubicBezTo>
                <a:cubicBezTo>
                  <a:pt x="86" y="513"/>
                  <a:pt x="84" y="512"/>
                  <a:pt x="84" y="511"/>
                </a:cubicBezTo>
                <a:cubicBezTo>
                  <a:pt x="84" y="511"/>
                  <a:pt x="83" y="509"/>
                  <a:pt x="84" y="509"/>
                </a:cubicBezTo>
                <a:cubicBezTo>
                  <a:pt x="82" y="509"/>
                  <a:pt x="80" y="511"/>
                  <a:pt x="80" y="510"/>
                </a:cubicBezTo>
                <a:cubicBezTo>
                  <a:pt x="79" y="510"/>
                  <a:pt x="80" y="508"/>
                  <a:pt x="81" y="507"/>
                </a:cubicBezTo>
                <a:cubicBezTo>
                  <a:pt x="82" y="510"/>
                  <a:pt x="84" y="506"/>
                  <a:pt x="85" y="505"/>
                </a:cubicBezTo>
                <a:cubicBezTo>
                  <a:pt x="86" y="504"/>
                  <a:pt x="89" y="504"/>
                  <a:pt x="89" y="504"/>
                </a:cubicBezTo>
                <a:cubicBezTo>
                  <a:pt x="90" y="503"/>
                  <a:pt x="88" y="501"/>
                  <a:pt x="90" y="501"/>
                </a:cubicBezTo>
                <a:cubicBezTo>
                  <a:pt x="91" y="501"/>
                  <a:pt x="90" y="502"/>
                  <a:pt x="90" y="502"/>
                </a:cubicBezTo>
                <a:cubicBezTo>
                  <a:pt x="91" y="503"/>
                  <a:pt x="93" y="501"/>
                  <a:pt x="94" y="502"/>
                </a:cubicBezTo>
                <a:cubicBezTo>
                  <a:pt x="95" y="502"/>
                  <a:pt x="94" y="504"/>
                  <a:pt x="94" y="505"/>
                </a:cubicBezTo>
                <a:cubicBezTo>
                  <a:pt x="94" y="506"/>
                  <a:pt x="94" y="507"/>
                  <a:pt x="94" y="508"/>
                </a:cubicBezTo>
                <a:cubicBezTo>
                  <a:pt x="97" y="507"/>
                  <a:pt x="101" y="507"/>
                  <a:pt x="102" y="508"/>
                </a:cubicBezTo>
                <a:cubicBezTo>
                  <a:pt x="103" y="509"/>
                  <a:pt x="101" y="511"/>
                  <a:pt x="104" y="510"/>
                </a:cubicBezTo>
                <a:cubicBezTo>
                  <a:pt x="102" y="512"/>
                  <a:pt x="106" y="513"/>
                  <a:pt x="106" y="514"/>
                </a:cubicBezTo>
                <a:cubicBezTo>
                  <a:pt x="106" y="515"/>
                  <a:pt x="104" y="516"/>
                  <a:pt x="104" y="516"/>
                </a:cubicBezTo>
                <a:cubicBezTo>
                  <a:pt x="104" y="516"/>
                  <a:pt x="105" y="517"/>
                  <a:pt x="104" y="518"/>
                </a:cubicBezTo>
                <a:cubicBezTo>
                  <a:pt x="104" y="518"/>
                  <a:pt x="104" y="518"/>
                  <a:pt x="104" y="518"/>
                </a:cubicBezTo>
                <a:cubicBezTo>
                  <a:pt x="105" y="519"/>
                  <a:pt x="106" y="520"/>
                  <a:pt x="106" y="522"/>
                </a:cubicBezTo>
                <a:cubicBezTo>
                  <a:pt x="106" y="522"/>
                  <a:pt x="107" y="522"/>
                  <a:pt x="107" y="522"/>
                </a:cubicBezTo>
                <a:cubicBezTo>
                  <a:pt x="107" y="521"/>
                  <a:pt x="106" y="521"/>
                  <a:pt x="106" y="520"/>
                </a:cubicBezTo>
                <a:cubicBezTo>
                  <a:pt x="106" y="519"/>
                  <a:pt x="107" y="518"/>
                  <a:pt x="108" y="518"/>
                </a:cubicBezTo>
                <a:cubicBezTo>
                  <a:pt x="108" y="517"/>
                  <a:pt x="108" y="517"/>
                  <a:pt x="109" y="516"/>
                </a:cubicBezTo>
                <a:cubicBezTo>
                  <a:pt x="109" y="516"/>
                  <a:pt x="108" y="516"/>
                  <a:pt x="108" y="516"/>
                </a:cubicBezTo>
                <a:cubicBezTo>
                  <a:pt x="108" y="515"/>
                  <a:pt x="109" y="515"/>
                  <a:pt x="109" y="515"/>
                </a:cubicBezTo>
                <a:cubicBezTo>
                  <a:pt x="111" y="514"/>
                  <a:pt x="112" y="513"/>
                  <a:pt x="113" y="512"/>
                </a:cubicBezTo>
                <a:cubicBezTo>
                  <a:pt x="112" y="514"/>
                  <a:pt x="115" y="514"/>
                  <a:pt x="115" y="514"/>
                </a:cubicBezTo>
                <a:cubicBezTo>
                  <a:pt x="115" y="514"/>
                  <a:pt x="116" y="514"/>
                  <a:pt x="116" y="514"/>
                </a:cubicBezTo>
                <a:cubicBezTo>
                  <a:pt x="116" y="514"/>
                  <a:pt x="116" y="514"/>
                  <a:pt x="116" y="514"/>
                </a:cubicBezTo>
                <a:cubicBezTo>
                  <a:pt x="115" y="514"/>
                  <a:pt x="115" y="513"/>
                  <a:pt x="115" y="513"/>
                </a:cubicBezTo>
                <a:cubicBezTo>
                  <a:pt x="114" y="512"/>
                  <a:pt x="115" y="508"/>
                  <a:pt x="115" y="507"/>
                </a:cubicBezTo>
                <a:cubicBezTo>
                  <a:pt x="116" y="507"/>
                  <a:pt x="116" y="508"/>
                  <a:pt x="117" y="508"/>
                </a:cubicBezTo>
                <a:cubicBezTo>
                  <a:pt x="118" y="507"/>
                  <a:pt x="120" y="504"/>
                  <a:pt x="123" y="505"/>
                </a:cubicBezTo>
                <a:cubicBezTo>
                  <a:pt x="122" y="507"/>
                  <a:pt x="120" y="506"/>
                  <a:pt x="120" y="507"/>
                </a:cubicBezTo>
                <a:cubicBezTo>
                  <a:pt x="119" y="508"/>
                  <a:pt x="121" y="508"/>
                  <a:pt x="121" y="508"/>
                </a:cubicBezTo>
                <a:cubicBezTo>
                  <a:pt x="122" y="510"/>
                  <a:pt x="120" y="514"/>
                  <a:pt x="117" y="514"/>
                </a:cubicBezTo>
                <a:cubicBezTo>
                  <a:pt x="117" y="515"/>
                  <a:pt x="117" y="516"/>
                  <a:pt x="116" y="517"/>
                </a:cubicBezTo>
                <a:cubicBezTo>
                  <a:pt x="117" y="517"/>
                  <a:pt x="117" y="517"/>
                  <a:pt x="117" y="517"/>
                </a:cubicBezTo>
                <a:cubicBezTo>
                  <a:pt x="118" y="515"/>
                  <a:pt x="121" y="515"/>
                  <a:pt x="122" y="513"/>
                </a:cubicBezTo>
                <a:cubicBezTo>
                  <a:pt x="122" y="512"/>
                  <a:pt x="122" y="511"/>
                  <a:pt x="122" y="510"/>
                </a:cubicBezTo>
                <a:cubicBezTo>
                  <a:pt x="122" y="510"/>
                  <a:pt x="123" y="509"/>
                  <a:pt x="123" y="508"/>
                </a:cubicBezTo>
                <a:cubicBezTo>
                  <a:pt x="123" y="507"/>
                  <a:pt x="122" y="508"/>
                  <a:pt x="122" y="507"/>
                </a:cubicBezTo>
                <a:cubicBezTo>
                  <a:pt x="123" y="506"/>
                  <a:pt x="124" y="505"/>
                  <a:pt x="124" y="506"/>
                </a:cubicBezTo>
                <a:cubicBezTo>
                  <a:pt x="125" y="506"/>
                  <a:pt x="124" y="508"/>
                  <a:pt x="125" y="510"/>
                </a:cubicBezTo>
                <a:cubicBezTo>
                  <a:pt x="125" y="510"/>
                  <a:pt x="127" y="510"/>
                  <a:pt x="128" y="510"/>
                </a:cubicBezTo>
                <a:cubicBezTo>
                  <a:pt x="129" y="511"/>
                  <a:pt x="129" y="513"/>
                  <a:pt x="132" y="511"/>
                </a:cubicBezTo>
                <a:cubicBezTo>
                  <a:pt x="129" y="514"/>
                  <a:pt x="133" y="512"/>
                  <a:pt x="134" y="513"/>
                </a:cubicBezTo>
                <a:cubicBezTo>
                  <a:pt x="133" y="513"/>
                  <a:pt x="134" y="519"/>
                  <a:pt x="134" y="520"/>
                </a:cubicBezTo>
                <a:cubicBezTo>
                  <a:pt x="134" y="521"/>
                  <a:pt x="132" y="523"/>
                  <a:pt x="132" y="525"/>
                </a:cubicBezTo>
                <a:cubicBezTo>
                  <a:pt x="132" y="525"/>
                  <a:pt x="133" y="524"/>
                  <a:pt x="133" y="524"/>
                </a:cubicBezTo>
                <a:cubicBezTo>
                  <a:pt x="133" y="525"/>
                  <a:pt x="133" y="525"/>
                  <a:pt x="132" y="526"/>
                </a:cubicBezTo>
                <a:cubicBezTo>
                  <a:pt x="132" y="526"/>
                  <a:pt x="132" y="526"/>
                  <a:pt x="132" y="527"/>
                </a:cubicBezTo>
                <a:cubicBezTo>
                  <a:pt x="133" y="526"/>
                  <a:pt x="133" y="526"/>
                  <a:pt x="133" y="526"/>
                </a:cubicBezTo>
                <a:cubicBezTo>
                  <a:pt x="133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6" y="524"/>
                  <a:pt x="142" y="524"/>
                  <a:pt x="145" y="524"/>
                </a:cubicBezTo>
                <a:cubicBezTo>
                  <a:pt x="145" y="523"/>
                  <a:pt x="146" y="522"/>
                  <a:pt x="146" y="522"/>
                </a:cubicBezTo>
                <a:cubicBezTo>
                  <a:pt x="147" y="522"/>
                  <a:pt x="147" y="523"/>
                  <a:pt x="147" y="524"/>
                </a:cubicBezTo>
                <a:cubicBezTo>
                  <a:pt x="147" y="524"/>
                  <a:pt x="148" y="524"/>
                  <a:pt x="148" y="525"/>
                </a:cubicBezTo>
                <a:cubicBezTo>
                  <a:pt x="148" y="526"/>
                  <a:pt x="147" y="526"/>
                  <a:pt x="145" y="527"/>
                </a:cubicBezTo>
                <a:cubicBezTo>
                  <a:pt x="146" y="527"/>
                  <a:pt x="146" y="527"/>
                  <a:pt x="146" y="527"/>
                </a:cubicBezTo>
                <a:cubicBezTo>
                  <a:pt x="146" y="529"/>
                  <a:pt x="146" y="530"/>
                  <a:pt x="145" y="530"/>
                </a:cubicBezTo>
                <a:cubicBezTo>
                  <a:pt x="145" y="531"/>
                  <a:pt x="145" y="532"/>
                  <a:pt x="144" y="533"/>
                </a:cubicBezTo>
                <a:cubicBezTo>
                  <a:pt x="144" y="533"/>
                  <a:pt x="143" y="533"/>
                  <a:pt x="142" y="533"/>
                </a:cubicBezTo>
                <a:cubicBezTo>
                  <a:pt x="142" y="534"/>
                  <a:pt x="143" y="534"/>
                  <a:pt x="144" y="533"/>
                </a:cubicBezTo>
                <a:cubicBezTo>
                  <a:pt x="145" y="533"/>
                  <a:pt x="147" y="530"/>
                  <a:pt x="147" y="530"/>
                </a:cubicBezTo>
                <a:cubicBezTo>
                  <a:pt x="148" y="530"/>
                  <a:pt x="148" y="529"/>
                  <a:pt x="147" y="529"/>
                </a:cubicBezTo>
                <a:cubicBezTo>
                  <a:pt x="151" y="528"/>
                  <a:pt x="150" y="537"/>
                  <a:pt x="148" y="535"/>
                </a:cubicBezTo>
                <a:cubicBezTo>
                  <a:pt x="148" y="535"/>
                  <a:pt x="147" y="533"/>
                  <a:pt x="147" y="533"/>
                </a:cubicBezTo>
                <a:cubicBezTo>
                  <a:pt x="146" y="533"/>
                  <a:pt x="143" y="537"/>
                  <a:pt x="141" y="538"/>
                </a:cubicBezTo>
                <a:cubicBezTo>
                  <a:pt x="140" y="538"/>
                  <a:pt x="140" y="538"/>
                  <a:pt x="139" y="539"/>
                </a:cubicBezTo>
                <a:cubicBezTo>
                  <a:pt x="140" y="540"/>
                  <a:pt x="141" y="541"/>
                  <a:pt x="140" y="542"/>
                </a:cubicBezTo>
                <a:cubicBezTo>
                  <a:pt x="140" y="542"/>
                  <a:pt x="139" y="543"/>
                  <a:pt x="139" y="543"/>
                </a:cubicBezTo>
                <a:cubicBezTo>
                  <a:pt x="139" y="543"/>
                  <a:pt x="138" y="546"/>
                  <a:pt x="138" y="547"/>
                </a:cubicBezTo>
                <a:cubicBezTo>
                  <a:pt x="138" y="547"/>
                  <a:pt x="140" y="546"/>
                  <a:pt x="139" y="546"/>
                </a:cubicBezTo>
                <a:cubicBezTo>
                  <a:pt x="139" y="546"/>
                  <a:pt x="141" y="548"/>
                  <a:pt x="140" y="549"/>
                </a:cubicBezTo>
                <a:cubicBezTo>
                  <a:pt x="140" y="549"/>
                  <a:pt x="140" y="549"/>
                  <a:pt x="139" y="549"/>
                </a:cubicBezTo>
                <a:cubicBezTo>
                  <a:pt x="140" y="549"/>
                  <a:pt x="140" y="550"/>
                  <a:pt x="141" y="550"/>
                </a:cubicBezTo>
                <a:cubicBezTo>
                  <a:pt x="141" y="549"/>
                  <a:pt x="141" y="548"/>
                  <a:pt x="142" y="548"/>
                </a:cubicBezTo>
                <a:cubicBezTo>
                  <a:pt x="141" y="548"/>
                  <a:pt x="141" y="548"/>
                  <a:pt x="140" y="548"/>
                </a:cubicBezTo>
                <a:cubicBezTo>
                  <a:pt x="140" y="547"/>
                  <a:pt x="140" y="547"/>
                  <a:pt x="141" y="547"/>
                </a:cubicBezTo>
                <a:cubicBezTo>
                  <a:pt x="141" y="546"/>
                  <a:pt x="142" y="544"/>
                  <a:pt x="142" y="546"/>
                </a:cubicBezTo>
                <a:cubicBezTo>
                  <a:pt x="143" y="546"/>
                  <a:pt x="142" y="546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3" y="546"/>
                  <a:pt x="144" y="546"/>
                  <a:pt x="145" y="548"/>
                </a:cubicBezTo>
                <a:cubicBezTo>
                  <a:pt x="146" y="549"/>
                  <a:pt x="145" y="550"/>
                  <a:pt x="145" y="551"/>
                </a:cubicBezTo>
                <a:cubicBezTo>
                  <a:pt x="145" y="551"/>
                  <a:pt x="145" y="551"/>
                  <a:pt x="145" y="551"/>
                </a:cubicBezTo>
                <a:cubicBezTo>
                  <a:pt x="147" y="551"/>
                  <a:pt x="145" y="551"/>
                  <a:pt x="146" y="552"/>
                </a:cubicBezTo>
                <a:cubicBezTo>
                  <a:pt x="146" y="552"/>
                  <a:pt x="146" y="552"/>
                  <a:pt x="147" y="552"/>
                </a:cubicBezTo>
                <a:cubicBezTo>
                  <a:pt x="147" y="552"/>
                  <a:pt x="147" y="552"/>
                  <a:pt x="147" y="552"/>
                </a:cubicBezTo>
                <a:cubicBezTo>
                  <a:pt x="147" y="551"/>
                  <a:pt x="148" y="551"/>
                  <a:pt x="148" y="551"/>
                </a:cubicBezTo>
                <a:cubicBezTo>
                  <a:pt x="151" y="552"/>
                  <a:pt x="148" y="556"/>
                  <a:pt x="149" y="558"/>
                </a:cubicBezTo>
                <a:cubicBezTo>
                  <a:pt x="150" y="558"/>
                  <a:pt x="152" y="558"/>
                  <a:pt x="152" y="557"/>
                </a:cubicBezTo>
                <a:cubicBezTo>
                  <a:pt x="153" y="557"/>
                  <a:pt x="153" y="556"/>
                  <a:pt x="154" y="555"/>
                </a:cubicBezTo>
                <a:cubicBezTo>
                  <a:pt x="152" y="554"/>
                  <a:pt x="152" y="553"/>
                  <a:pt x="152" y="551"/>
                </a:cubicBezTo>
                <a:cubicBezTo>
                  <a:pt x="154" y="547"/>
                  <a:pt x="159" y="548"/>
                  <a:pt x="160" y="551"/>
                </a:cubicBezTo>
                <a:cubicBezTo>
                  <a:pt x="161" y="551"/>
                  <a:pt x="161" y="551"/>
                  <a:pt x="162" y="550"/>
                </a:cubicBezTo>
                <a:cubicBezTo>
                  <a:pt x="161" y="550"/>
                  <a:pt x="161" y="551"/>
                  <a:pt x="161" y="551"/>
                </a:cubicBezTo>
                <a:cubicBezTo>
                  <a:pt x="163" y="550"/>
                  <a:pt x="165" y="549"/>
                  <a:pt x="167" y="550"/>
                </a:cubicBezTo>
                <a:cubicBezTo>
                  <a:pt x="169" y="549"/>
                  <a:pt x="170" y="549"/>
                  <a:pt x="170" y="549"/>
                </a:cubicBezTo>
                <a:cubicBezTo>
                  <a:pt x="171" y="550"/>
                  <a:pt x="170" y="550"/>
                  <a:pt x="168" y="551"/>
                </a:cubicBezTo>
                <a:cubicBezTo>
                  <a:pt x="168" y="551"/>
                  <a:pt x="169" y="551"/>
                  <a:pt x="169" y="551"/>
                </a:cubicBezTo>
                <a:cubicBezTo>
                  <a:pt x="169" y="552"/>
                  <a:pt x="169" y="553"/>
                  <a:pt x="169" y="554"/>
                </a:cubicBezTo>
                <a:cubicBezTo>
                  <a:pt x="171" y="554"/>
                  <a:pt x="172" y="555"/>
                  <a:pt x="171" y="557"/>
                </a:cubicBezTo>
                <a:cubicBezTo>
                  <a:pt x="170" y="559"/>
                  <a:pt x="171" y="560"/>
                  <a:pt x="171" y="561"/>
                </a:cubicBezTo>
                <a:cubicBezTo>
                  <a:pt x="171" y="561"/>
                  <a:pt x="170" y="562"/>
                  <a:pt x="170" y="563"/>
                </a:cubicBezTo>
                <a:cubicBezTo>
                  <a:pt x="172" y="561"/>
                  <a:pt x="173" y="559"/>
                  <a:pt x="175" y="558"/>
                </a:cubicBezTo>
                <a:cubicBezTo>
                  <a:pt x="173" y="556"/>
                  <a:pt x="171" y="554"/>
                  <a:pt x="175" y="552"/>
                </a:cubicBezTo>
                <a:cubicBezTo>
                  <a:pt x="175" y="551"/>
                  <a:pt x="176" y="551"/>
                  <a:pt x="177" y="551"/>
                </a:cubicBezTo>
                <a:cubicBezTo>
                  <a:pt x="175" y="551"/>
                  <a:pt x="176" y="547"/>
                  <a:pt x="178" y="548"/>
                </a:cubicBezTo>
                <a:cubicBezTo>
                  <a:pt x="179" y="549"/>
                  <a:pt x="178" y="550"/>
                  <a:pt x="178" y="550"/>
                </a:cubicBezTo>
                <a:cubicBezTo>
                  <a:pt x="177" y="551"/>
                  <a:pt x="177" y="551"/>
                  <a:pt x="177" y="551"/>
                </a:cubicBezTo>
                <a:cubicBezTo>
                  <a:pt x="179" y="551"/>
                  <a:pt x="181" y="550"/>
                  <a:pt x="182" y="550"/>
                </a:cubicBezTo>
                <a:cubicBezTo>
                  <a:pt x="184" y="548"/>
                  <a:pt x="183" y="547"/>
                  <a:pt x="185" y="549"/>
                </a:cubicBezTo>
                <a:cubicBezTo>
                  <a:pt x="186" y="549"/>
                  <a:pt x="186" y="550"/>
                  <a:pt x="188" y="549"/>
                </a:cubicBezTo>
                <a:cubicBezTo>
                  <a:pt x="188" y="549"/>
                  <a:pt x="191" y="545"/>
                  <a:pt x="191" y="548"/>
                </a:cubicBezTo>
                <a:cubicBezTo>
                  <a:pt x="191" y="549"/>
                  <a:pt x="189" y="549"/>
                  <a:pt x="189" y="549"/>
                </a:cubicBezTo>
                <a:cubicBezTo>
                  <a:pt x="190" y="550"/>
                  <a:pt x="194" y="550"/>
                  <a:pt x="194" y="550"/>
                </a:cubicBezTo>
                <a:cubicBezTo>
                  <a:pt x="194" y="551"/>
                  <a:pt x="190" y="553"/>
                  <a:pt x="192" y="555"/>
                </a:cubicBezTo>
                <a:cubicBezTo>
                  <a:pt x="193" y="555"/>
                  <a:pt x="194" y="555"/>
                  <a:pt x="194" y="555"/>
                </a:cubicBezTo>
                <a:cubicBezTo>
                  <a:pt x="194" y="555"/>
                  <a:pt x="193" y="556"/>
                  <a:pt x="193" y="556"/>
                </a:cubicBezTo>
                <a:cubicBezTo>
                  <a:pt x="192" y="558"/>
                  <a:pt x="192" y="558"/>
                  <a:pt x="193" y="558"/>
                </a:cubicBezTo>
                <a:cubicBezTo>
                  <a:pt x="194" y="558"/>
                  <a:pt x="195" y="558"/>
                  <a:pt x="196" y="559"/>
                </a:cubicBezTo>
                <a:cubicBezTo>
                  <a:pt x="196" y="560"/>
                  <a:pt x="195" y="560"/>
                  <a:pt x="194" y="560"/>
                </a:cubicBezTo>
                <a:cubicBezTo>
                  <a:pt x="194" y="561"/>
                  <a:pt x="194" y="561"/>
                  <a:pt x="194" y="561"/>
                </a:cubicBezTo>
                <a:cubicBezTo>
                  <a:pt x="194" y="562"/>
                  <a:pt x="196" y="561"/>
                  <a:pt x="196" y="562"/>
                </a:cubicBezTo>
                <a:cubicBezTo>
                  <a:pt x="197" y="563"/>
                  <a:pt x="195" y="565"/>
                  <a:pt x="195" y="566"/>
                </a:cubicBezTo>
                <a:cubicBezTo>
                  <a:pt x="197" y="568"/>
                  <a:pt x="199" y="565"/>
                  <a:pt x="201" y="566"/>
                </a:cubicBezTo>
                <a:cubicBezTo>
                  <a:pt x="201" y="566"/>
                  <a:pt x="203" y="568"/>
                  <a:pt x="205" y="566"/>
                </a:cubicBezTo>
                <a:cubicBezTo>
                  <a:pt x="206" y="565"/>
                  <a:pt x="204" y="563"/>
                  <a:pt x="208" y="562"/>
                </a:cubicBezTo>
                <a:cubicBezTo>
                  <a:pt x="209" y="561"/>
                  <a:pt x="214" y="560"/>
                  <a:pt x="214" y="562"/>
                </a:cubicBezTo>
                <a:cubicBezTo>
                  <a:pt x="214" y="563"/>
                  <a:pt x="213" y="562"/>
                  <a:pt x="212" y="563"/>
                </a:cubicBezTo>
                <a:cubicBezTo>
                  <a:pt x="211" y="563"/>
                  <a:pt x="213" y="566"/>
                  <a:pt x="213" y="566"/>
                </a:cubicBezTo>
                <a:cubicBezTo>
                  <a:pt x="212" y="567"/>
                  <a:pt x="210" y="567"/>
                  <a:pt x="210" y="568"/>
                </a:cubicBezTo>
                <a:cubicBezTo>
                  <a:pt x="210" y="568"/>
                  <a:pt x="210" y="568"/>
                  <a:pt x="210" y="568"/>
                </a:cubicBezTo>
                <a:cubicBezTo>
                  <a:pt x="210" y="569"/>
                  <a:pt x="210" y="569"/>
                  <a:pt x="210" y="569"/>
                </a:cubicBezTo>
                <a:cubicBezTo>
                  <a:pt x="210" y="570"/>
                  <a:pt x="211" y="572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10" y="574"/>
                  <a:pt x="210" y="575"/>
                  <a:pt x="208" y="576"/>
                </a:cubicBezTo>
                <a:cubicBezTo>
                  <a:pt x="208" y="576"/>
                  <a:pt x="208" y="576"/>
                  <a:pt x="208" y="576"/>
                </a:cubicBezTo>
                <a:cubicBezTo>
                  <a:pt x="208" y="576"/>
                  <a:pt x="209" y="576"/>
                  <a:pt x="209" y="576"/>
                </a:cubicBezTo>
                <a:cubicBezTo>
                  <a:pt x="210" y="576"/>
                  <a:pt x="210" y="576"/>
                  <a:pt x="211" y="577"/>
                </a:cubicBezTo>
                <a:cubicBezTo>
                  <a:pt x="211" y="577"/>
                  <a:pt x="212" y="577"/>
                  <a:pt x="212" y="577"/>
                </a:cubicBezTo>
                <a:cubicBezTo>
                  <a:pt x="212" y="578"/>
                  <a:pt x="211" y="578"/>
                  <a:pt x="211" y="579"/>
                </a:cubicBezTo>
                <a:cubicBezTo>
                  <a:pt x="211" y="579"/>
                  <a:pt x="211" y="580"/>
                  <a:pt x="211" y="580"/>
                </a:cubicBezTo>
                <a:cubicBezTo>
                  <a:pt x="210" y="581"/>
                  <a:pt x="207" y="580"/>
                  <a:pt x="205" y="581"/>
                </a:cubicBezTo>
                <a:cubicBezTo>
                  <a:pt x="206" y="580"/>
                  <a:pt x="206" y="578"/>
                  <a:pt x="204" y="580"/>
                </a:cubicBezTo>
                <a:cubicBezTo>
                  <a:pt x="202" y="581"/>
                  <a:pt x="204" y="581"/>
                  <a:pt x="204" y="582"/>
                </a:cubicBezTo>
                <a:cubicBezTo>
                  <a:pt x="204" y="582"/>
                  <a:pt x="203" y="582"/>
                  <a:pt x="204" y="583"/>
                </a:cubicBezTo>
                <a:cubicBezTo>
                  <a:pt x="204" y="583"/>
                  <a:pt x="204" y="583"/>
                  <a:pt x="204" y="583"/>
                </a:cubicBezTo>
                <a:cubicBezTo>
                  <a:pt x="206" y="582"/>
                  <a:pt x="208" y="582"/>
                  <a:pt x="210" y="583"/>
                </a:cubicBezTo>
                <a:cubicBezTo>
                  <a:pt x="209" y="583"/>
                  <a:pt x="209" y="582"/>
                  <a:pt x="209" y="582"/>
                </a:cubicBezTo>
                <a:cubicBezTo>
                  <a:pt x="209" y="582"/>
                  <a:pt x="209" y="582"/>
                  <a:pt x="209" y="582"/>
                </a:cubicBezTo>
                <a:cubicBezTo>
                  <a:pt x="210" y="581"/>
                  <a:pt x="210" y="582"/>
                  <a:pt x="210" y="583"/>
                </a:cubicBezTo>
                <a:cubicBezTo>
                  <a:pt x="210" y="583"/>
                  <a:pt x="211" y="584"/>
                  <a:pt x="210" y="585"/>
                </a:cubicBezTo>
                <a:cubicBezTo>
                  <a:pt x="210" y="586"/>
                  <a:pt x="208" y="588"/>
                  <a:pt x="205" y="588"/>
                </a:cubicBezTo>
                <a:cubicBezTo>
                  <a:pt x="206" y="588"/>
                  <a:pt x="206" y="590"/>
                  <a:pt x="206" y="591"/>
                </a:cubicBezTo>
                <a:cubicBezTo>
                  <a:pt x="205" y="592"/>
                  <a:pt x="201" y="592"/>
                  <a:pt x="202" y="593"/>
                </a:cubicBezTo>
                <a:cubicBezTo>
                  <a:pt x="201" y="593"/>
                  <a:pt x="199" y="594"/>
                  <a:pt x="198" y="593"/>
                </a:cubicBezTo>
                <a:cubicBezTo>
                  <a:pt x="195" y="591"/>
                  <a:pt x="196" y="591"/>
                  <a:pt x="192" y="592"/>
                </a:cubicBezTo>
                <a:cubicBezTo>
                  <a:pt x="192" y="592"/>
                  <a:pt x="191" y="592"/>
                  <a:pt x="190" y="592"/>
                </a:cubicBezTo>
                <a:cubicBezTo>
                  <a:pt x="188" y="592"/>
                  <a:pt x="189" y="593"/>
                  <a:pt x="189" y="595"/>
                </a:cubicBezTo>
                <a:cubicBezTo>
                  <a:pt x="187" y="593"/>
                  <a:pt x="188" y="595"/>
                  <a:pt x="189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1" y="597"/>
                  <a:pt x="191" y="596"/>
                </a:cubicBezTo>
                <a:cubicBezTo>
                  <a:pt x="190" y="597"/>
                  <a:pt x="192" y="594"/>
                  <a:pt x="193" y="596"/>
                </a:cubicBezTo>
                <a:cubicBezTo>
                  <a:pt x="193" y="596"/>
                  <a:pt x="190" y="600"/>
                  <a:pt x="193" y="600"/>
                </a:cubicBezTo>
                <a:cubicBezTo>
                  <a:pt x="187" y="601"/>
                  <a:pt x="195" y="604"/>
                  <a:pt x="197" y="605"/>
                </a:cubicBezTo>
                <a:cubicBezTo>
                  <a:pt x="198" y="606"/>
                  <a:pt x="198" y="608"/>
                  <a:pt x="198" y="609"/>
                </a:cubicBezTo>
                <a:cubicBezTo>
                  <a:pt x="199" y="610"/>
                  <a:pt x="200" y="610"/>
                  <a:pt x="199" y="611"/>
                </a:cubicBezTo>
                <a:cubicBezTo>
                  <a:pt x="199" y="611"/>
                  <a:pt x="199" y="611"/>
                  <a:pt x="199" y="611"/>
                </a:cubicBezTo>
                <a:cubicBezTo>
                  <a:pt x="200" y="612"/>
                  <a:pt x="200" y="613"/>
                  <a:pt x="201" y="613"/>
                </a:cubicBezTo>
                <a:cubicBezTo>
                  <a:pt x="201" y="613"/>
                  <a:pt x="201" y="613"/>
                  <a:pt x="202" y="613"/>
                </a:cubicBezTo>
                <a:cubicBezTo>
                  <a:pt x="202" y="613"/>
                  <a:pt x="202" y="613"/>
                  <a:pt x="202" y="612"/>
                </a:cubicBezTo>
                <a:cubicBezTo>
                  <a:pt x="203" y="611"/>
                  <a:pt x="204" y="611"/>
                  <a:pt x="206" y="611"/>
                </a:cubicBezTo>
                <a:cubicBezTo>
                  <a:pt x="207" y="611"/>
                  <a:pt x="208" y="612"/>
                  <a:pt x="208" y="613"/>
                </a:cubicBezTo>
                <a:cubicBezTo>
                  <a:pt x="209" y="613"/>
                  <a:pt x="209" y="612"/>
                  <a:pt x="211" y="612"/>
                </a:cubicBezTo>
                <a:cubicBezTo>
                  <a:pt x="211" y="613"/>
                  <a:pt x="210" y="613"/>
                  <a:pt x="208" y="613"/>
                </a:cubicBezTo>
                <a:cubicBezTo>
                  <a:pt x="208" y="614"/>
                  <a:pt x="208" y="615"/>
                  <a:pt x="207" y="615"/>
                </a:cubicBezTo>
                <a:cubicBezTo>
                  <a:pt x="209" y="616"/>
                  <a:pt x="211" y="616"/>
                  <a:pt x="211" y="616"/>
                </a:cubicBezTo>
                <a:cubicBezTo>
                  <a:pt x="211" y="616"/>
                  <a:pt x="211" y="616"/>
                  <a:pt x="212" y="616"/>
                </a:cubicBezTo>
                <a:cubicBezTo>
                  <a:pt x="211" y="615"/>
                  <a:pt x="210" y="615"/>
                  <a:pt x="209" y="615"/>
                </a:cubicBezTo>
                <a:cubicBezTo>
                  <a:pt x="210" y="614"/>
                  <a:pt x="211" y="614"/>
                  <a:pt x="213" y="615"/>
                </a:cubicBezTo>
                <a:cubicBezTo>
                  <a:pt x="213" y="614"/>
                  <a:pt x="213" y="614"/>
                  <a:pt x="213" y="614"/>
                </a:cubicBezTo>
                <a:cubicBezTo>
                  <a:pt x="213" y="614"/>
                  <a:pt x="214" y="612"/>
                  <a:pt x="215" y="613"/>
                </a:cubicBezTo>
                <a:cubicBezTo>
                  <a:pt x="216" y="612"/>
                  <a:pt x="216" y="612"/>
                  <a:pt x="217" y="613"/>
                </a:cubicBezTo>
                <a:cubicBezTo>
                  <a:pt x="217" y="613"/>
                  <a:pt x="216" y="613"/>
                  <a:pt x="216" y="614"/>
                </a:cubicBezTo>
                <a:cubicBezTo>
                  <a:pt x="216" y="614"/>
                  <a:pt x="217" y="616"/>
                  <a:pt x="216" y="615"/>
                </a:cubicBezTo>
                <a:cubicBezTo>
                  <a:pt x="216" y="615"/>
                  <a:pt x="215" y="615"/>
                  <a:pt x="215" y="615"/>
                </a:cubicBezTo>
                <a:cubicBezTo>
                  <a:pt x="215" y="614"/>
                  <a:pt x="215" y="614"/>
                  <a:pt x="215" y="614"/>
                </a:cubicBezTo>
                <a:cubicBezTo>
                  <a:pt x="215" y="614"/>
                  <a:pt x="214" y="615"/>
                  <a:pt x="214" y="615"/>
                </a:cubicBezTo>
                <a:cubicBezTo>
                  <a:pt x="215" y="615"/>
                  <a:pt x="216" y="616"/>
                  <a:pt x="216" y="616"/>
                </a:cubicBezTo>
                <a:cubicBezTo>
                  <a:pt x="216" y="617"/>
                  <a:pt x="215" y="616"/>
                  <a:pt x="214" y="616"/>
                </a:cubicBezTo>
                <a:cubicBezTo>
                  <a:pt x="214" y="616"/>
                  <a:pt x="214" y="617"/>
                  <a:pt x="214" y="617"/>
                </a:cubicBezTo>
                <a:cubicBezTo>
                  <a:pt x="215" y="617"/>
                  <a:pt x="216" y="616"/>
                  <a:pt x="216" y="616"/>
                </a:cubicBezTo>
                <a:cubicBezTo>
                  <a:pt x="217" y="617"/>
                  <a:pt x="218" y="620"/>
                  <a:pt x="220" y="618"/>
                </a:cubicBezTo>
                <a:cubicBezTo>
                  <a:pt x="220" y="618"/>
                  <a:pt x="219" y="617"/>
                  <a:pt x="219" y="617"/>
                </a:cubicBezTo>
                <a:cubicBezTo>
                  <a:pt x="219" y="617"/>
                  <a:pt x="219" y="617"/>
                  <a:pt x="219" y="617"/>
                </a:cubicBezTo>
                <a:cubicBezTo>
                  <a:pt x="219" y="617"/>
                  <a:pt x="219" y="617"/>
                  <a:pt x="218" y="617"/>
                </a:cubicBezTo>
                <a:cubicBezTo>
                  <a:pt x="218" y="616"/>
                  <a:pt x="219" y="615"/>
                  <a:pt x="220" y="616"/>
                </a:cubicBezTo>
                <a:cubicBezTo>
                  <a:pt x="220" y="616"/>
                  <a:pt x="220" y="616"/>
                  <a:pt x="220" y="616"/>
                </a:cubicBezTo>
                <a:cubicBezTo>
                  <a:pt x="221" y="615"/>
                  <a:pt x="224" y="617"/>
                  <a:pt x="225" y="617"/>
                </a:cubicBezTo>
                <a:cubicBezTo>
                  <a:pt x="223" y="618"/>
                  <a:pt x="225" y="619"/>
                  <a:pt x="226" y="620"/>
                </a:cubicBezTo>
                <a:cubicBezTo>
                  <a:pt x="227" y="619"/>
                  <a:pt x="229" y="618"/>
                  <a:pt x="231" y="618"/>
                </a:cubicBezTo>
                <a:cubicBezTo>
                  <a:pt x="230" y="619"/>
                  <a:pt x="228" y="620"/>
                  <a:pt x="226" y="620"/>
                </a:cubicBezTo>
                <a:cubicBezTo>
                  <a:pt x="227" y="621"/>
                  <a:pt x="227" y="621"/>
                  <a:pt x="226" y="622"/>
                </a:cubicBezTo>
                <a:cubicBezTo>
                  <a:pt x="225" y="624"/>
                  <a:pt x="222" y="622"/>
                  <a:pt x="221" y="624"/>
                </a:cubicBezTo>
                <a:cubicBezTo>
                  <a:pt x="220" y="624"/>
                  <a:pt x="222" y="624"/>
                  <a:pt x="222" y="624"/>
                </a:cubicBezTo>
                <a:cubicBezTo>
                  <a:pt x="221" y="626"/>
                  <a:pt x="219" y="627"/>
                  <a:pt x="222" y="628"/>
                </a:cubicBezTo>
                <a:cubicBezTo>
                  <a:pt x="222" y="628"/>
                  <a:pt x="227" y="629"/>
                  <a:pt x="228" y="629"/>
                </a:cubicBezTo>
                <a:cubicBezTo>
                  <a:pt x="231" y="629"/>
                  <a:pt x="233" y="629"/>
                  <a:pt x="235" y="631"/>
                </a:cubicBezTo>
                <a:cubicBezTo>
                  <a:pt x="232" y="631"/>
                  <a:pt x="231" y="632"/>
                  <a:pt x="228" y="633"/>
                </a:cubicBezTo>
                <a:cubicBezTo>
                  <a:pt x="228" y="633"/>
                  <a:pt x="229" y="633"/>
                  <a:pt x="229" y="633"/>
                </a:cubicBezTo>
                <a:cubicBezTo>
                  <a:pt x="229" y="633"/>
                  <a:pt x="228" y="633"/>
                  <a:pt x="228" y="633"/>
                </a:cubicBezTo>
                <a:cubicBezTo>
                  <a:pt x="228" y="633"/>
                  <a:pt x="228" y="633"/>
                  <a:pt x="227" y="633"/>
                </a:cubicBezTo>
                <a:cubicBezTo>
                  <a:pt x="224" y="633"/>
                  <a:pt x="221" y="630"/>
                  <a:pt x="218" y="630"/>
                </a:cubicBezTo>
                <a:cubicBezTo>
                  <a:pt x="218" y="630"/>
                  <a:pt x="215" y="633"/>
                  <a:pt x="214" y="633"/>
                </a:cubicBezTo>
                <a:cubicBezTo>
                  <a:pt x="213" y="633"/>
                  <a:pt x="212" y="632"/>
                  <a:pt x="212" y="633"/>
                </a:cubicBezTo>
                <a:cubicBezTo>
                  <a:pt x="212" y="633"/>
                  <a:pt x="213" y="633"/>
                  <a:pt x="213" y="634"/>
                </a:cubicBezTo>
                <a:cubicBezTo>
                  <a:pt x="213" y="634"/>
                  <a:pt x="213" y="634"/>
                  <a:pt x="214" y="634"/>
                </a:cubicBezTo>
                <a:cubicBezTo>
                  <a:pt x="214" y="633"/>
                  <a:pt x="215" y="633"/>
                  <a:pt x="216" y="633"/>
                </a:cubicBezTo>
                <a:cubicBezTo>
                  <a:pt x="216" y="633"/>
                  <a:pt x="217" y="633"/>
                  <a:pt x="217" y="633"/>
                </a:cubicBezTo>
                <a:cubicBezTo>
                  <a:pt x="217" y="633"/>
                  <a:pt x="217" y="633"/>
                  <a:pt x="217" y="633"/>
                </a:cubicBezTo>
                <a:cubicBezTo>
                  <a:pt x="218" y="633"/>
                  <a:pt x="219" y="633"/>
                  <a:pt x="219" y="634"/>
                </a:cubicBezTo>
                <a:cubicBezTo>
                  <a:pt x="219" y="634"/>
                  <a:pt x="219" y="635"/>
                  <a:pt x="218" y="635"/>
                </a:cubicBezTo>
                <a:cubicBezTo>
                  <a:pt x="218" y="636"/>
                  <a:pt x="217" y="637"/>
                  <a:pt x="216" y="637"/>
                </a:cubicBezTo>
                <a:cubicBezTo>
                  <a:pt x="215" y="637"/>
                  <a:pt x="213" y="636"/>
                  <a:pt x="213" y="635"/>
                </a:cubicBezTo>
                <a:cubicBezTo>
                  <a:pt x="213" y="635"/>
                  <a:pt x="213" y="635"/>
                  <a:pt x="213" y="635"/>
                </a:cubicBezTo>
                <a:cubicBezTo>
                  <a:pt x="213" y="636"/>
                  <a:pt x="211" y="636"/>
                  <a:pt x="210" y="636"/>
                </a:cubicBezTo>
                <a:cubicBezTo>
                  <a:pt x="210" y="636"/>
                  <a:pt x="210" y="637"/>
                  <a:pt x="211" y="637"/>
                </a:cubicBezTo>
                <a:cubicBezTo>
                  <a:pt x="211" y="637"/>
                  <a:pt x="211" y="637"/>
                  <a:pt x="211" y="637"/>
                </a:cubicBezTo>
                <a:cubicBezTo>
                  <a:pt x="212" y="637"/>
                  <a:pt x="211" y="637"/>
                  <a:pt x="211" y="637"/>
                </a:cubicBezTo>
                <a:cubicBezTo>
                  <a:pt x="212" y="639"/>
                  <a:pt x="215" y="640"/>
                  <a:pt x="216" y="641"/>
                </a:cubicBezTo>
                <a:cubicBezTo>
                  <a:pt x="214" y="641"/>
                  <a:pt x="214" y="642"/>
                  <a:pt x="214" y="642"/>
                </a:cubicBezTo>
                <a:cubicBezTo>
                  <a:pt x="216" y="641"/>
                  <a:pt x="219" y="642"/>
                  <a:pt x="216" y="643"/>
                </a:cubicBezTo>
                <a:cubicBezTo>
                  <a:pt x="216" y="643"/>
                  <a:pt x="216" y="644"/>
                  <a:pt x="216" y="644"/>
                </a:cubicBezTo>
                <a:cubicBezTo>
                  <a:pt x="216" y="644"/>
                  <a:pt x="217" y="644"/>
                  <a:pt x="217" y="645"/>
                </a:cubicBezTo>
                <a:cubicBezTo>
                  <a:pt x="219" y="644"/>
                  <a:pt x="222" y="643"/>
                  <a:pt x="224" y="643"/>
                </a:cubicBezTo>
                <a:cubicBezTo>
                  <a:pt x="228" y="642"/>
                  <a:pt x="223" y="645"/>
                  <a:pt x="221" y="645"/>
                </a:cubicBezTo>
                <a:cubicBezTo>
                  <a:pt x="220" y="645"/>
                  <a:pt x="218" y="646"/>
                  <a:pt x="216" y="646"/>
                </a:cubicBezTo>
                <a:cubicBezTo>
                  <a:pt x="216" y="647"/>
                  <a:pt x="216" y="647"/>
                  <a:pt x="215" y="647"/>
                </a:cubicBezTo>
                <a:cubicBezTo>
                  <a:pt x="215" y="647"/>
                  <a:pt x="214" y="647"/>
                  <a:pt x="214" y="647"/>
                </a:cubicBezTo>
                <a:cubicBezTo>
                  <a:pt x="212" y="648"/>
                  <a:pt x="211" y="648"/>
                  <a:pt x="210" y="649"/>
                </a:cubicBezTo>
                <a:cubicBezTo>
                  <a:pt x="209" y="650"/>
                  <a:pt x="208" y="651"/>
                  <a:pt x="208" y="652"/>
                </a:cubicBezTo>
                <a:cubicBezTo>
                  <a:pt x="209" y="652"/>
                  <a:pt x="209" y="652"/>
                  <a:pt x="210" y="653"/>
                </a:cubicBezTo>
                <a:cubicBezTo>
                  <a:pt x="210" y="653"/>
                  <a:pt x="210" y="653"/>
                  <a:pt x="210" y="653"/>
                </a:cubicBezTo>
                <a:cubicBezTo>
                  <a:pt x="210" y="653"/>
                  <a:pt x="210" y="653"/>
                  <a:pt x="211" y="653"/>
                </a:cubicBezTo>
                <a:cubicBezTo>
                  <a:pt x="211" y="653"/>
                  <a:pt x="213" y="654"/>
                  <a:pt x="213" y="654"/>
                </a:cubicBezTo>
                <a:cubicBezTo>
                  <a:pt x="213" y="654"/>
                  <a:pt x="213" y="655"/>
                  <a:pt x="213" y="655"/>
                </a:cubicBezTo>
                <a:cubicBezTo>
                  <a:pt x="213" y="656"/>
                  <a:pt x="212" y="657"/>
                  <a:pt x="210" y="657"/>
                </a:cubicBezTo>
                <a:cubicBezTo>
                  <a:pt x="210" y="658"/>
                  <a:pt x="210" y="658"/>
                  <a:pt x="209" y="659"/>
                </a:cubicBezTo>
                <a:cubicBezTo>
                  <a:pt x="209" y="659"/>
                  <a:pt x="209" y="659"/>
                  <a:pt x="209" y="659"/>
                </a:cubicBezTo>
                <a:cubicBezTo>
                  <a:pt x="210" y="660"/>
                  <a:pt x="212" y="660"/>
                  <a:pt x="213" y="660"/>
                </a:cubicBezTo>
                <a:cubicBezTo>
                  <a:pt x="214" y="660"/>
                  <a:pt x="216" y="660"/>
                  <a:pt x="216" y="661"/>
                </a:cubicBezTo>
                <a:cubicBezTo>
                  <a:pt x="217" y="662"/>
                  <a:pt x="218" y="663"/>
                  <a:pt x="218" y="663"/>
                </a:cubicBezTo>
                <a:cubicBezTo>
                  <a:pt x="218" y="663"/>
                  <a:pt x="219" y="663"/>
                  <a:pt x="220" y="664"/>
                </a:cubicBezTo>
                <a:cubicBezTo>
                  <a:pt x="221" y="665"/>
                  <a:pt x="221" y="667"/>
                  <a:pt x="219" y="667"/>
                </a:cubicBezTo>
                <a:cubicBezTo>
                  <a:pt x="219" y="667"/>
                  <a:pt x="219" y="667"/>
                  <a:pt x="219" y="667"/>
                </a:cubicBezTo>
                <a:cubicBezTo>
                  <a:pt x="219" y="668"/>
                  <a:pt x="219" y="668"/>
                  <a:pt x="219" y="669"/>
                </a:cubicBezTo>
                <a:cubicBezTo>
                  <a:pt x="220" y="669"/>
                  <a:pt x="221" y="668"/>
                  <a:pt x="222" y="669"/>
                </a:cubicBezTo>
                <a:cubicBezTo>
                  <a:pt x="222" y="668"/>
                  <a:pt x="223" y="667"/>
                  <a:pt x="223" y="667"/>
                </a:cubicBezTo>
                <a:cubicBezTo>
                  <a:pt x="223" y="667"/>
                  <a:pt x="225" y="666"/>
                  <a:pt x="226" y="666"/>
                </a:cubicBezTo>
                <a:cubicBezTo>
                  <a:pt x="227" y="664"/>
                  <a:pt x="228" y="664"/>
                  <a:pt x="229" y="664"/>
                </a:cubicBezTo>
                <a:cubicBezTo>
                  <a:pt x="230" y="664"/>
                  <a:pt x="229" y="663"/>
                  <a:pt x="230" y="663"/>
                </a:cubicBezTo>
                <a:cubicBezTo>
                  <a:pt x="231" y="662"/>
                  <a:pt x="232" y="664"/>
                  <a:pt x="232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4" y="663"/>
                </a:cubicBezTo>
                <a:cubicBezTo>
                  <a:pt x="235" y="664"/>
                  <a:pt x="235" y="662"/>
                  <a:pt x="236" y="663"/>
                </a:cubicBezTo>
                <a:cubicBezTo>
                  <a:pt x="236" y="663"/>
                  <a:pt x="235" y="664"/>
                  <a:pt x="235" y="664"/>
                </a:cubicBezTo>
                <a:cubicBezTo>
                  <a:pt x="236" y="665"/>
                  <a:pt x="241" y="668"/>
                  <a:pt x="241" y="670"/>
                </a:cubicBezTo>
                <a:cubicBezTo>
                  <a:pt x="241" y="672"/>
                  <a:pt x="236" y="672"/>
                  <a:pt x="235" y="674"/>
                </a:cubicBezTo>
                <a:cubicBezTo>
                  <a:pt x="235" y="675"/>
                  <a:pt x="236" y="676"/>
                  <a:pt x="235" y="677"/>
                </a:cubicBezTo>
                <a:cubicBezTo>
                  <a:pt x="233" y="677"/>
                  <a:pt x="234" y="675"/>
                  <a:pt x="233" y="675"/>
                </a:cubicBezTo>
                <a:cubicBezTo>
                  <a:pt x="232" y="674"/>
                  <a:pt x="227" y="674"/>
                  <a:pt x="225" y="673"/>
                </a:cubicBezTo>
                <a:cubicBezTo>
                  <a:pt x="225" y="673"/>
                  <a:pt x="224" y="672"/>
                  <a:pt x="223" y="672"/>
                </a:cubicBezTo>
                <a:cubicBezTo>
                  <a:pt x="221" y="673"/>
                  <a:pt x="217" y="673"/>
                  <a:pt x="217" y="674"/>
                </a:cubicBezTo>
                <a:cubicBezTo>
                  <a:pt x="216" y="674"/>
                  <a:pt x="218" y="674"/>
                  <a:pt x="218" y="675"/>
                </a:cubicBezTo>
                <a:cubicBezTo>
                  <a:pt x="217" y="675"/>
                  <a:pt x="216" y="674"/>
                  <a:pt x="215" y="674"/>
                </a:cubicBezTo>
                <a:cubicBezTo>
                  <a:pt x="213" y="674"/>
                  <a:pt x="210" y="675"/>
                  <a:pt x="207" y="675"/>
                </a:cubicBezTo>
                <a:cubicBezTo>
                  <a:pt x="208" y="676"/>
                  <a:pt x="208" y="677"/>
                  <a:pt x="208" y="677"/>
                </a:cubicBezTo>
                <a:cubicBezTo>
                  <a:pt x="209" y="677"/>
                  <a:pt x="209" y="676"/>
                  <a:pt x="209" y="676"/>
                </a:cubicBezTo>
                <a:cubicBezTo>
                  <a:pt x="210" y="676"/>
                  <a:pt x="212" y="677"/>
                  <a:pt x="214" y="679"/>
                </a:cubicBezTo>
                <a:cubicBezTo>
                  <a:pt x="215" y="679"/>
                  <a:pt x="216" y="679"/>
                  <a:pt x="216" y="679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7" y="681"/>
                  <a:pt x="216" y="682"/>
                  <a:pt x="216" y="682"/>
                </a:cubicBezTo>
                <a:cubicBezTo>
                  <a:pt x="218" y="684"/>
                  <a:pt x="222" y="683"/>
                  <a:pt x="224" y="683"/>
                </a:cubicBezTo>
                <a:cubicBezTo>
                  <a:pt x="224" y="683"/>
                  <a:pt x="224" y="684"/>
                  <a:pt x="225" y="684"/>
                </a:cubicBezTo>
                <a:cubicBezTo>
                  <a:pt x="225" y="684"/>
                  <a:pt x="225" y="684"/>
                  <a:pt x="225" y="684"/>
                </a:cubicBezTo>
                <a:cubicBezTo>
                  <a:pt x="225" y="683"/>
                  <a:pt x="230" y="681"/>
                  <a:pt x="231" y="682"/>
                </a:cubicBezTo>
                <a:cubicBezTo>
                  <a:pt x="232" y="684"/>
                  <a:pt x="231" y="686"/>
                  <a:pt x="229" y="686"/>
                </a:cubicBezTo>
                <a:cubicBezTo>
                  <a:pt x="229" y="686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30" y="688"/>
                  <a:pt x="231" y="688"/>
                  <a:pt x="232" y="687"/>
                </a:cubicBezTo>
                <a:cubicBezTo>
                  <a:pt x="232" y="687"/>
                  <a:pt x="232" y="687"/>
                  <a:pt x="232" y="687"/>
                </a:cubicBezTo>
                <a:cubicBezTo>
                  <a:pt x="232" y="687"/>
                  <a:pt x="233" y="686"/>
                  <a:pt x="233" y="686"/>
                </a:cubicBezTo>
                <a:cubicBezTo>
                  <a:pt x="234" y="685"/>
                  <a:pt x="237" y="685"/>
                  <a:pt x="239" y="683"/>
                </a:cubicBezTo>
                <a:cubicBezTo>
                  <a:pt x="240" y="682"/>
                  <a:pt x="243" y="680"/>
                  <a:pt x="244" y="680"/>
                </a:cubicBezTo>
                <a:cubicBezTo>
                  <a:pt x="245" y="681"/>
                  <a:pt x="245" y="682"/>
                  <a:pt x="246" y="683"/>
                </a:cubicBezTo>
                <a:cubicBezTo>
                  <a:pt x="246" y="683"/>
                  <a:pt x="246" y="682"/>
                  <a:pt x="247" y="682"/>
                </a:cubicBezTo>
                <a:cubicBezTo>
                  <a:pt x="248" y="682"/>
                  <a:pt x="249" y="683"/>
                  <a:pt x="249" y="684"/>
                </a:cubicBezTo>
                <a:cubicBezTo>
                  <a:pt x="250" y="684"/>
                  <a:pt x="251" y="684"/>
                  <a:pt x="251" y="685"/>
                </a:cubicBezTo>
                <a:cubicBezTo>
                  <a:pt x="251" y="685"/>
                  <a:pt x="250" y="686"/>
                  <a:pt x="249" y="686"/>
                </a:cubicBezTo>
                <a:cubicBezTo>
                  <a:pt x="248" y="687"/>
                  <a:pt x="247" y="688"/>
                  <a:pt x="246" y="686"/>
                </a:cubicBezTo>
                <a:cubicBezTo>
                  <a:pt x="246" y="685"/>
                  <a:pt x="246" y="686"/>
                  <a:pt x="246" y="687"/>
                </a:cubicBezTo>
                <a:cubicBezTo>
                  <a:pt x="247" y="688"/>
                  <a:pt x="248" y="688"/>
                  <a:pt x="248" y="689"/>
                </a:cubicBezTo>
                <a:cubicBezTo>
                  <a:pt x="248" y="690"/>
                  <a:pt x="247" y="690"/>
                  <a:pt x="245" y="691"/>
                </a:cubicBezTo>
                <a:cubicBezTo>
                  <a:pt x="247" y="692"/>
                  <a:pt x="248" y="693"/>
                  <a:pt x="248" y="694"/>
                </a:cubicBezTo>
                <a:cubicBezTo>
                  <a:pt x="248" y="694"/>
                  <a:pt x="247" y="696"/>
                  <a:pt x="246" y="697"/>
                </a:cubicBezTo>
                <a:cubicBezTo>
                  <a:pt x="252" y="699"/>
                  <a:pt x="257" y="700"/>
                  <a:pt x="263" y="702"/>
                </a:cubicBezTo>
                <a:cubicBezTo>
                  <a:pt x="263" y="702"/>
                  <a:pt x="263" y="702"/>
                  <a:pt x="264" y="701"/>
                </a:cubicBezTo>
                <a:cubicBezTo>
                  <a:pt x="264" y="701"/>
                  <a:pt x="265" y="702"/>
                  <a:pt x="266" y="702"/>
                </a:cubicBezTo>
                <a:cubicBezTo>
                  <a:pt x="267" y="702"/>
                  <a:pt x="267" y="701"/>
                  <a:pt x="268" y="701"/>
                </a:cubicBezTo>
                <a:cubicBezTo>
                  <a:pt x="269" y="701"/>
                  <a:pt x="271" y="702"/>
                  <a:pt x="273" y="702"/>
                </a:cubicBezTo>
                <a:cubicBezTo>
                  <a:pt x="274" y="703"/>
                  <a:pt x="274" y="702"/>
                  <a:pt x="274" y="703"/>
                </a:cubicBezTo>
                <a:cubicBezTo>
                  <a:pt x="275" y="703"/>
                  <a:pt x="274" y="704"/>
                  <a:pt x="274" y="705"/>
                </a:cubicBezTo>
                <a:cubicBezTo>
                  <a:pt x="281" y="707"/>
                  <a:pt x="289" y="708"/>
                  <a:pt x="296" y="709"/>
                </a:cubicBezTo>
                <a:cubicBezTo>
                  <a:pt x="297" y="708"/>
                  <a:pt x="297" y="708"/>
                  <a:pt x="298" y="707"/>
                </a:cubicBezTo>
                <a:cubicBezTo>
                  <a:pt x="298" y="707"/>
                  <a:pt x="304" y="707"/>
                  <a:pt x="305" y="707"/>
                </a:cubicBezTo>
                <a:cubicBezTo>
                  <a:pt x="306" y="707"/>
                  <a:pt x="307" y="708"/>
                  <a:pt x="308" y="708"/>
                </a:cubicBezTo>
                <a:cubicBezTo>
                  <a:pt x="307" y="708"/>
                  <a:pt x="307" y="708"/>
                  <a:pt x="307" y="707"/>
                </a:cubicBezTo>
                <a:cubicBezTo>
                  <a:pt x="306" y="706"/>
                  <a:pt x="306" y="704"/>
                  <a:pt x="307" y="703"/>
                </a:cubicBezTo>
                <a:cubicBezTo>
                  <a:pt x="311" y="699"/>
                  <a:pt x="321" y="702"/>
                  <a:pt x="325" y="704"/>
                </a:cubicBezTo>
                <a:cubicBezTo>
                  <a:pt x="325" y="703"/>
                  <a:pt x="325" y="703"/>
                  <a:pt x="325" y="702"/>
                </a:cubicBezTo>
                <a:cubicBezTo>
                  <a:pt x="326" y="699"/>
                  <a:pt x="334" y="701"/>
                  <a:pt x="334" y="704"/>
                </a:cubicBezTo>
                <a:cubicBezTo>
                  <a:pt x="334" y="704"/>
                  <a:pt x="336" y="705"/>
                  <a:pt x="336" y="705"/>
                </a:cubicBezTo>
                <a:cubicBezTo>
                  <a:pt x="336" y="706"/>
                  <a:pt x="334" y="706"/>
                  <a:pt x="334" y="705"/>
                </a:cubicBezTo>
                <a:cubicBezTo>
                  <a:pt x="333" y="706"/>
                  <a:pt x="330" y="707"/>
                  <a:pt x="328" y="706"/>
                </a:cubicBezTo>
                <a:cubicBezTo>
                  <a:pt x="327" y="706"/>
                  <a:pt x="325" y="706"/>
                  <a:pt x="324" y="708"/>
                </a:cubicBezTo>
                <a:cubicBezTo>
                  <a:pt x="324" y="708"/>
                  <a:pt x="324" y="710"/>
                  <a:pt x="324" y="710"/>
                </a:cubicBezTo>
                <a:cubicBezTo>
                  <a:pt x="323" y="711"/>
                  <a:pt x="321" y="711"/>
                  <a:pt x="321" y="711"/>
                </a:cubicBezTo>
                <a:cubicBezTo>
                  <a:pt x="321" y="712"/>
                  <a:pt x="322" y="713"/>
                  <a:pt x="323" y="713"/>
                </a:cubicBezTo>
                <a:cubicBezTo>
                  <a:pt x="328" y="713"/>
                  <a:pt x="334" y="714"/>
                  <a:pt x="339" y="714"/>
                </a:cubicBezTo>
                <a:cubicBezTo>
                  <a:pt x="338" y="712"/>
                  <a:pt x="340" y="712"/>
                  <a:pt x="342" y="712"/>
                </a:cubicBezTo>
                <a:cubicBezTo>
                  <a:pt x="342" y="712"/>
                  <a:pt x="343" y="712"/>
                  <a:pt x="344" y="712"/>
                </a:cubicBezTo>
                <a:cubicBezTo>
                  <a:pt x="344" y="712"/>
                  <a:pt x="344" y="713"/>
                  <a:pt x="344" y="713"/>
                </a:cubicBezTo>
                <a:cubicBezTo>
                  <a:pt x="344" y="713"/>
                  <a:pt x="345" y="713"/>
                  <a:pt x="345" y="714"/>
                </a:cubicBezTo>
                <a:cubicBezTo>
                  <a:pt x="345" y="714"/>
                  <a:pt x="346" y="714"/>
                  <a:pt x="346" y="714"/>
                </a:cubicBezTo>
                <a:cubicBezTo>
                  <a:pt x="346" y="713"/>
                  <a:pt x="347" y="712"/>
                  <a:pt x="347" y="712"/>
                </a:cubicBezTo>
                <a:cubicBezTo>
                  <a:pt x="348" y="712"/>
                  <a:pt x="349" y="712"/>
                  <a:pt x="349" y="712"/>
                </a:cubicBezTo>
                <a:cubicBezTo>
                  <a:pt x="350" y="712"/>
                  <a:pt x="351" y="711"/>
                  <a:pt x="352" y="711"/>
                </a:cubicBezTo>
                <a:cubicBezTo>
                  <a:pt x="352" y="710"/>
                  <a:pt x="352" y="710"/>
                  <a:pt x="354" y="709"/>
                </a:cubicBezTo>
                <a:cubicBezTo>
                  <a:pt x="355" y="709"/>
                  <a:pt x="355" y="708"/>
                  <a:pt x="357" y="708"/>
                </a:cubicBezTo>
                <a:cubicBezTo>
                  <a:pt x="360" y="707"/>
                  <a:pt x="365" y="706"/>
                  <a:pt x="369" y="705"/>
                </a:cubicBezTo>
                <a:cubicBezTo>
                  <a:pt x="370" y="705"/>
                  <a:pt x="370" y="705"/>
                  <a:pt x="370" y="705"/>
                </a:cubicBezTo>
                <a:cubicBezTo>
                  <a:pt x="370" y="705"/>
                  <a:pt x="369" y="705"/>
                  <a:pt x="369" y="705"/>
                </a:cubicBezTo>
                <a:cubicBezTo>
                  <a:pt x="368" y="705"/>
                  <a:pt x="367" y="704"/>
                  <a:pt x="366" y="702"/>
                </a:cubicBezTo>
                <a:cubicBezTo>
                  <a:pt x="365" y="702"/>
                  <a:pt x="365" y="702"/>
                  <a:pt x="365" y="701"/>
                </a:cubicBezTo>
                <a:cubicBezTo>
                  <a:pt x="365" y="700"/>
                  <a:pt x="364" y="699"/>
                  <a:pt x="365" y="698"/>
                </a:cubicBezTo>
                <a:cubicBezTo>
                  <a:pt x="366" y="692"/>
                  <a:pt x="379" y="693"/>
                  <a:pt x="384" y="696"/>
                </a:cubicBezTo>
                <a:cubicBezTo>
                  <a:pt x="386" y="697"/>
                  <a:pt x="387" y="699"/>
                  <a:pt x="388" y="701"/>
                </a:cubicBezTo>
                <a:cubicBezTo>
                  <a:pt x="390" y="700"/>
                  <a:pt x="392" y="699"/>
                  <a:pt x="392" y="700"/>
                </a:cubicBezTo>
                <a:cubicBezTo>
                  <a:pt x="393" y="701"/>
                  <a:pt x="391" y="702"/>
                  <a:pt x="389" y="702"/>
                </a:cubicBezTo>
                <a:cubicBezTo>
                  <a:pt x="389" y="702"/>
                  <a:pt x="389" y="702"/>
                  <a:pt x="389" y="702"/>
                </a:cubicBezTo>
                <a:cubicBezTo>
                  <a:pt x="390" y="703"/>
                  <a:pt x="391" y="704"/>
                  <a:pt x="391" y="704"/>
                </a:cubicBezTo>
                <a:cubicBezTo>
                  <a:pt x="391" y="706"/>
                  <a:pt x="387" y="707"/>
                  <a:pt x="383" y="708"/>
                </a:cubicBezTo>
                <a:cubicBezTo>
                  <a:pt x="388" y="708"/>
                  <a:pt x="395" y="708"/>
                  <a:pt x="399" y="708"/>
                </a:cubicBezTo>
                <a:cubicBezTo>
                  <a:pt x="399" y="708"/>
                  <a:pt x="406" y="707"/>
                  <a:pt x="406" y="708"/>
                </a:cubicBezTo>
                <a:cubicBezTo>
                  <a:pt x="407" y="710"/>
                  <a:pt x="401" y="709"/>
                  <a:pt x="400" y="709"/>
                </a:cubicBezTo>
                <a:cubicBezTo>
                  <a:pt x="394" y="709"/>
                  <a:pt x="384" y="709"/>
                  <a:pt x="378" y="709"/>
                </a:cubicBezTo>
                <a:cubicBezTo>
                  <a:pt x="378" y="709"/>
                  <a:pt x="377" y="709"/>
                  <a:pt x="377" y="709"/>
                </a:cubicBezTo>
                <a:cubicBezTo>
                  <a:pt x="377" y="709"/>
                  <a:pt x="377" y="709"/>
                  <a:pt x="377" y="708"/>
                </a:cubicBezTo>
                <a:cubicBezTo>
                  <a:pt x="378" y="708"/>
                  <a:pt x="378" y="708"/>
                  <a:pt x="379" y="708"/>
                </a:cubicBezTo>
                <a:cubicBezTo>
                  <a:pt x="377" y="708"/>
                  <a:pt x="376" y="708"/>
                  <a:pt x="375" y="708"/>
                </a:cubicBezTo>
                <a:cubicBezTo>
                  <a:pt x="374" y="708"/>
                  <a:pt x="374" y="709"/>
                  <a:pt x="373" y="709"/>
                </a:cubicBezTo>
                <a:cubicBezTo>
                  <a:pt x="373" y="709"/>
                  <a:pt x="372" y="709"/>
                  <a:pt x="372" y="709"/>
                </a:cubicBezTo>
                <a:cubicBezTo>
                  <a:pt x="372" y="709"/>
                  <a:pt x="371" y="710"/>
                  <a:pt x="370" y="710"/>
                </a:cubicBezTo>
                <a:cubicBezTo>
                  <a:pt x="369" y="710"/>
                  <a:pt x="367" y="710"/>
                  <a:pt x="366" y="711"/>
                </a:cubicBezTo>
                <a:cubicBezTo>
                  <a:pt x="364" y="711"/>
                  <a:pt x="363" y="712"/>
                  <a:pt x="361" y="713"/>
                </a:cubicBezTo>
                <a:cubicBezTo>
                  <a:pt x="360" y="713"/>
                  <a:pt x="360" y="713"/>
                  <a:pt x="360" y="713"/>
                </a:cubicBezTo>
                <a:cubicBezTo>
                  <a:pt x="359" y="713"/>
                  <a:pt x="358" y="714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554" y="715"/>
                  <a:pt x="714" y="555"/>
                  <a:pt x="714" y="357"/>
                </a:cubicBezTo>
                <a:cubicBezTo>
                  <a:pt x="714" y="339"/>
                  <a:pt x="713" y="322"/>
                  <a:pt x="710" y="304"/>
                </a:cubicBezTo>
                <a:close/>
                <a:moveTo>
                  <a:pt x="703" y="277"/>
                </a:moveTo>
                <a:cubicBezTo>
                  <a:pt x="704" y="277"/>
                  <a:pt x="703" y="279"/>
                  <a:pt x="702" y="279"/>
                </a:cubicBezTo>
                <a:cubicBezTo>
                  <a:pt x="702" y="278"/>
                  <a:pt x="703" y="278"/>
                  <a:pt x="703" y="277"/>
                </a:cubicBezTo>
                <a:close/>
                <a:moveTo>
                  <a:pt x="702" y="292"/>
                </a:moveTo>
                <a:cubicBezTo>
                  <a:pt x="702" y="292"/>
                  <a:pt x="702" y="292"/>
                  <a:pt x="702" y="292"/>
                </a:cubicBezTo>
                <a:cubicBezTo>
                  <a:pt x="702" y="292"/>
                  <a:pt x="701" y="293"/>
                  <a:pt x="701" y="293"/>
                </a:cubicBezTo>
                <a:cubicBezTo>
                  <a:pt x="701" y="293"/>
                  <a:pt x="701" y="292"/>
                  <a:pt x="702" y="292"/>
                </a:cubicBezTo>
                <a:close/>
                <a:moveTo>
                  <a:pt x="699" y="271"/>
                </a:moveTo>
                <a:cubicBezTo>
                  <a:pt x="697" y="274"/>
                  <a:pt x="700" y="270"/>
                  <a:pt x="699" y="271"/>
                </a:cubicBezTo>
                <a:close/>
                <a:moveTo>
                  <a:pt x="681" y="279"/>
                </a:moveTo>
                <a:cubicBezTo>
                  <a:pt x="681" y="277"/>
                  <a:pt x="683" y="278"/>
                  <a:pt x="681" y="279"/>
                </a:cubicBezTo>
                <a:close/>
                <a:moveTo>
                  <a:pt x="682" y="275"/>
                </a:moveTo>
                <a:cubicBezTo>
                  <a:pt x="683" y="276"/>
                  <a:pt x="681" y="277"/>
                  <a:pt x="682" y="275"/>
                </a:cubicBezTo>
                <a:close/>
                <a:moveTo>
                  <a:pt x="686" y="247"/>
                </a:moveTo>
                <a:cubicBezTo>
                  <a:pt x="687" y="248"/>
                  <a:pt x="687" y="250"/>
                  <a:pt x="687" y="252"/>
                </a:cubicBezTo>
                <a:cubicBezTo>
                  <a:pt x="686" y="251"/>
                  <a:pt x="686" y="249"/>
                  <a:pt x="686" y="247"/>
                </a:cubicBezTo>
                <a:close/>
                <a:moveTo>
                  <a:pt x="680" y="254"/>
                </a:moveTo>
                <a:cubicBezTo>
                  <a:pt x="680" y="255"/>
                  <a:pt x="681" y="252"/>
                  <a:pt x="680" y="254"/>
                </a:cubicBezTo>
                <a:close/>
                <a:moveTo>
                  <a:pt x="684" y="227"/>
                </a:moveTo>
                <a:cubicBezTo>
                  <a:pt x="687" y="230"/>
                  <a:pt x="682" y="233"/>
                  <a:pt x="680" y="234"/>
                </a:cubicBezTo>
                <a:cubicBezTo>
                  <a:pt x="678" y="231"/>
                  <a:pt x="681" y="225"/>
                  <a:pt x="684" y="227"/>
                </a:cubicBezTo>
                <a:close/>
                <a:moveTo>
                  <a:pt x="634" y="190"/>
                </a:moveTo>
                <a:cubicBezTo>
                  <a:pt x="634" y="190"/>
                  <a:pt x="634" y="191"/>
                  <a:pt x="634" y="191"/>
                </a:cubicBezTo>
                <a:cubicBezTo>
                  <a:pt x="635" y="194"/>
                  <a:pt x="630" y="192"/>
                  <a:pt x="634" y="190"/>
                </a:cubicBezTo>
                <a:close/>
                <a:moveTo>
                  <a:pt x="574" y="146"/>
                </a:moveTo>
                <a:cubicBezTo>
                  <a:pt x="575" y="147"/>
                  <a:pt x="573" y="147"/>
                  <a:pt x="573" y="146"/>
                </a:cubicBezTo>
                <a:cubicBezTo>
                  <a:pt x="572" y="146"/>
                  <a:pt x="574" y="145"/>
                  <a:pt x="574" y="146"/>
                </a:cubicBezTo>
                <a:close/>
                <a:moveTo>
                  <a:pt x="571" y="138"/>
                </a:moveTo>
                <a:cubicBezTo>
                  <a:pt x="571" y="138"/>
                  <a:pt x="571" y="138"/>
                  <a:pt x="571" y="138"/>
                </a:cubicBezTo>
                <a:cubicBezTo>
                  <a:pt x="572" y="140"/>
                  <a:pt x="569" y="137"/>
                  <a:pt x="571" y="138"/>
                </a:cubicBezTo>
                <a:close/>
                <a:moveTo>
                  <a:pt x="566" y="136"/>
                </a:moveTo>
                <a:cubicBezTo>
                  <a:pt x="566" y="137"/>
                  <a:pt x="564" y="137"/>
                  <a:pt x="564" y="137"/>
                </a:cubicBezTo>
                <a:cubicBezTo>
                  <a:pt x="564" y="136"/>
                  <a:pt x="566" y="135"/>
                  <a:pt x="566" y="136"/>
                </a:cubicBezTo>
                <a:close/>
                <a:moveTo>
                  <a:pt x="562" y="145"/>
                </a:moveTo>
                <a:cubicBezTo>
                  <a:pt x="563" y="146"/>
                  <a:pt x="562" y="146"/>
                  <a:pt x="562" y="146"/>
                </a:cubicBezTo>
                <a:cubicBezTo>
                  <a:pt x="561" y="145"/>
                  <a:pt x="562" y="145"/>
                  <a:pt x="562" y="145"/>
                </a:cubicBezTo>
                <a:close/>
                <a:moveTo>
                  <a:pt x="549" y="88"/>
                </a:moveTo>
                <a:cubicBezTo>
                  <a:pt x="549" y="88"/>
                  <a:pt x="549" y="88"/>
                  <a:pt x="549" y="88"/>
                </a:cubicBezTo>
                <a:cubicBezTo>
                  <a:pt x="549" y="88"/>
                  <a:pt x="549" y="88"/>
                  <a:pt x="549" y="88"/>
                </a:cubicBezTo>
                <a:close/>
                <a:moveTo>
                  <a:pt x="549" y="88"/>
                </a:moveTo>
                <a:cubicBezTo>
                  <a:pt x="549" y="88"/>
                  <a:pt x="548" y="88"/>
                  <a:pt x="549" y="88"/>
                </a:cubicBezTo>
                <a:close/>
                <a:moveTo>
                  <a:pt x="549" y="90"/>
                </a:moveTo>
                <a:cubicBezTo>
                  <a:pt x="549" y="91"/>
                  <a:pt x="548" y="91"/>
                  <a:pt x="548" y="91"/>
                </a:cubicBezTo>
                <a:cubicBezTo>
                  <a:pt x="548" y="91"/>
                  <a:pt x="549" y="90"/>
                  <a:pt x="549" y="90"/>
                </a:cubicBezTo>
                <a:close/>
                <a:moveTo>
                  <a:pt x="547" y="89"/>
                </a:moveTo>
                <a:cubicBezTo>
                  <a:pt x="546" y="89"/>
                  <a:pt x="546" y="90"/>
                  <a:pt x="545" y="90"/>
                </a:cubicBezTo>
                <a:cubicBezTo>
                  <a:pt x="546" y="90"/>
                  <a:pt x="544" y="88"/>
                  <a:pt x="544" y="88"/>
                </a:cubicBezTo>
                <a:cubicBezTo>
                  <a:pt x="545" y="87"/>
                  <a:pt x="547" y="87"/>
                  <a:pt x="547" y="89"/>
                </a:cubicBezTo>
                <a:close/>
                <a:moveTo>
                  <a:pt x="540" y="94"/>
                </a:moveTo>
                <a:cubicBezTo>
                  <a:pt x="541" y="94"/>
                  <a:pt x="539" y="94"/>
                  <a:pt x="539" y="94"/>
                </a:cubicBezTo>
                <a:cubicBezTo>
                  <a:pt x="539" y="93"/>
                  <a:pt x="540" y="93"/>
                  <a:pt x="540" y="94"/>
                </a:cubicBezTo>
                <a:close/>
                <a:moveTo>
                  <a:pt x="540" y="97"/>
                </a:moveTo>
                <a:cubicBezTo>
                  <a:pt x="540" y="96"/>
                  <a:pt x="538" y="98"/>
                  <a:pt x="539" y="97"/>
                </a:cubicBezTo>
                <a:cubicBezTo>
                  <a:pt x="539" y="96"/>
                  <a:pt x="542" y="93"/>
                  <a:pt x="544" y="93"/>
                </a:cubicBezTo>
                <a:cubicBezTo>
                  <a:pt x="546" y="93"/>
                  <a:pt x="549" y="94"/>
                  <a:pt x="548" y="96"/>
                </a:cubicBezTo>
                <a:cubicBezTo>
                  <a:pt x="548" y="98"/>
                  <a:pt x="544" y="100"/>
                  <a:pt x="542" y="100"/>
                </a:cubicBezTo>
                <a:cubicBezTo>
                  <a:pt x="541" y="100"/>
                  <a:pt x="540" y="99"/>
                  <a:pt x="540" y="99"/>
                </a:cubicBezTo>
                <a:cubicBezTo>
                  <a:pt x="539" y="99"/>
                  <a:pt x="538" y="101"/>
                  <a:pt x="538" y="99"/>
                </a:cubicBezTo>
                <a:cubicBezTo>
                  <a:pt x="538" y="99"/>
                  <a:pt x="540" y="97"/>
                  <a:pt x="540" y="97"/>
                </a:cubicBezTo>
                <a:close/>
                <a:moveTo>
                  <a:pt x="535" y="95"/>
                </a:moveTo>
                <a:cubicBezTo>
                  <a:pt x="536" y="96"/>
                  <a:pt x="533" y="95"/>
                  <a:pt x="535" y="95"/>
                </a:cubicBezTo>
                <a:close/>
                <a:moveTo>
                  <a:pt x="535" y="97"/>
                </a:moveTo>
                <a:cubicBezTo>
                  <a:pt x="535" y="97"/>
                  <a:pt x="535" y="96"/>
                  <a:pt x="535" y="96"/>
                </a:cubicBezTo>
                <a:cubicBezTo>
                  <a:pt x="535" y="97"/>
                  <a:pt x="536" y="97"/>
                  <a:pt x="535" y="97"/>
                </a:cubicBezTo>
                <a:close/>
                <a:moveTo>
                  <a:pt x="534" y="111"/>
                </a:moveTo>
                <a:cubicBezTo>
                  <a:pt x="534" y="110"/>
                  <a:pt x="535" y="109"/>
                  <a:pt x="536" y="110"/>
                </a:cubicBezTo>
                <a:cubicBezTo>
                  <a:pt x="537" y="111"/>
                  <a:pt x="535" y="111"/>
                  <a:pt x="534" y="111"/>
                </a:cubicBezTo>
                <a:close/>
                <a:moveTo>
                  <a:pt x="535" y="84"/>
                </a:moveTo>
                <a:cubicBezTo>
                  <a:pt x="538" y="83"/>
                  <a:pt x="536" y="88"/>
                  <a:pt x="534" y="87"/>
                </a:cubicBezTo>
                <a:cubicBezTo>
                  <a:pt x="532" y="86"/>
                  <a:pt x="534" y="85"/>
                  <a:pt x="535" y="84"/>
                </a:cubicBezTo>
                <a:close/>
                <a:moveTo>
                  <a:pt x="545" y="73"/>
                </a:moveTo>
                <a:cubicBezTo>
                  <a:pt x="544" y="74"/>
                  <a:pt x="544" y="72"/>
                  <a:pt x="545" y="73"/>
                </a:cubicBezTo>
                <a:close/>
                <a:moveTo>
                  <a:pt x="541" y="72"/>
                </a:moveTo>
                <a:cubicBezTo>
                  <a:pt x="540" y="73"/>
                  <a:pt x="539" y="73"/>
                  <a:pt x="537" y="73"/>
                </a:cubicBezTo>
                <a:cubicBezTo>
                  <a:pt x="539" y="73"/>
                  <a:pt x="539" y="71"/>
                  <a:pt x="541" y="72"/>
                </a:cubicBezTo>
                <a:close/>
                <a:moveTo>
                  <a:pt x="534" y="73"/>
                </a:moveTo>
                <a:cubicBezTo>
                  <a:pt x="534" y="74"/>
                  <a:pt x="532" y="75"/>
                  <a:pt x="532" y="74"/>
                </a:cubicBezTo>
                <a:cubicBezTo>
                  <a:pt x="531" y="74"/>
                  <a:pt x="534" y="73"/>
                  <a:pt x="534" y="73"/>
                </a:cubicBezTo>
                <a:close/>
                <a:moveTo>
                  <a:pt x="531" y="74"/>
                </a:moveTo>
                <a:cubicBezTo>
                  <a:pt x="532" y="75"/>
                  <a:pt x="530" y="74"/>
                  <a:pt x="530" y="74"/>
                </a:cubicBezTo>
                <a:cubicBezTo>
                  <a:pt x="529" y="73"/>
                  <a:pt x="531" y="73"/>
                  <a:pt x="531" y="74"/>
                </a:cubicBezTo>
                <a:close/>
                <a:moveTo>
                  <a:pt x="458" y="41"/>
                </a:moveTo>
                <a:cubicBezTo>
                  <a:pt x="458" y="42"/>
                  <a:pt x="458" y="42"/>
                  <a:pt x="458" y="42"/>
                </a:cubicBezTo>
                <a:cubicBezTo>
                  <a:pt x="458" y="41"/>
                  <a:pt x="457" y="40"/>
                  <a:pt x="458" y="41"/>
                </a:cubicBezTo>
                <a:close/>
                <a:moveTo>
                  <a:pt x="421" y="34"/>
                </a:moveTo>
                <a:cubicBezTo>
                  <a:pt x="420" y="34"/>
                  <a:pt x="420" y="33"/>
                  <a:pt x="421" y="34"/>
                </a:cubicBezTo>
                <a:close/>
                <a:moveTo>
                  <a:pt x="421" y="29"/>
                </a:moveTo>
                <a:cubicBezTo>
                  <a:pt x="422" y="30"/>
                  <a:pt x="420" y="30"/>
                  <a:pt x="420" y="30"/>
                </a:cubicBezTo>
                <a:cubicBezTo>
                  <a:pt x="419" y="29"/>
                  <a:pt x="421" y="29"/>
                  <a:pt x="421" y="29"/>
                </a:cubicBezTo>
                <a:close/>
                <a:moveTo>
                  <a:pt x="461" y="19"/>
                </a:moveTo>
                <a:cubicBezTo>
                  <a:pt x="461" y="20"/>
                  <a:pt x="458" y="20"/>
                  <a:pt x="458" y="19"/>
                </a:cubicBezTo>
                <a:cubicBezTo>
                  <a:pt x="457" y="18"/>
                  <a:pt x="461" y="17"/>
                  <a:pt x="461" y="19"/>
                </a:cubicBezTo>
                <a:close/>
                <a:moveTo>
                  <a:pt x="456" y="20"/>
                </a:moveTo>
                <a:cubicBezTo>
                  <a:pt x="457" y="21"/>
                  <a:pt x="454" y="22"/>
                  <a:pt x="454" y="20"/>
                </a:cubicBezTo>
                <a:cubicBezTo>
                  <a:pt x="454" y="20"/>
                  <a:pt x="456" y="20"/>
                  <a:pt x="456" y="20"/>
                </a:cubicBezTo>
                <a:close/>
                <a:moveTo>
                  <a:pt x="455" y="23"/>
                </a:moveTo>
                <a:cubicBezTo>
                  <a:pt x="456" y="24"/>
                  <a:pt x="453" y="23"/>
                  <a:pt x="453" y="23"/>
                </a:cubicBezTo>
                <a:cubicBezTo>
                  <a:pt x="453" y="22"/>
                  <a:pt x="455" y="22"/>
                  <a:pt x="455" y="23"/>
                </a:cubicBezTo>
                <a:close/>
                <a:moveTo>
                  <a:pt x="434" y="24"/>
                </a:moveTo>
                <a:cubicBezTo>
                  <a:pt x="434" y="25"/>
                  <a:pt x="430" y="24"/>
                  <a:pt x="430" y="23"/>
                </a:cubicBezTo>
                <a:cubicBezTo>
                  <a:pt x="430" y="22"/>
                  <a:pt x="433" y="22"/>
                  <a:pt x="434" y="24"/>
                </a:cubicBezTo>
                <a:close/>
                <a:moveTo>
                  <a:pt x="427" y="20"/>
                </a:moveTo>
                <a:cubicBezTo>
                  <a:pt x="427" y="21"/>
                  <a:pt x="425" y="20"/>
                  <a:pt x="425" y="20"/>
                </a:cubicBezTo>
                <a:cubicBezTo>
                  <a:pt x="425" y="20"/>
                  <a:pt x="427" y="19"/>
                  <a:pt x="427" y="20"/>
                </a:cubicBezTo>
                <a:close/>
                <a:moveTo>
                  <a:pt x="418" y="41"/>
                </a:moveTo>
                <a:cubicBezTo>
                  <a:pt x="418" y="41"/>
                  <a:pt x="418" y="40"/>
                  <a:pt x="418" y="40"/>
                </a:cubicBezTo>
                <a:cubicBezTo>
                  <a:pt x="416" y="39"/>
                  <a:pt x="420" y="40"/>
                  <a:pt x="418" y="41"/>
                </a:cubicBezTo>
                <a:close/>
                <a:moveTo>
                  <a:pt x="415" y="43"/>
                </a:moveTo>
                <a:cubicBezTo>
                  <a:pt x="416" y="44"/>
                  <a:pt x="414" y="44"/>
                  <a:pt x="414" y="44"/>
                </a:cubicBezTo>
                <a:cubicBezTo>
                  <a:pt x="414" y="44"/>
                  <a:pt x="414" y="43"/>
                  <a:pt x="415" y="43"/>
                </a:cubicBezTo>
                <a:close/>
                <a:moveTo>
                  <a:pt x="388" y="45"/>
                </a:moveTo>
                <a:cubicBezTo>
                  <a:pt x="388" y="43"/>
                  <a:pt x="393" y="43"/>
                  <a:pt x="393" y="45"/>
                </a:cubicBezTo>
                <a:cubicBezTo>
                  <a:pt x="393" y="48"/>
                  <a:pt x="388" y="46"/>
                  <a:pt x="388" y="45"/>
                </a:cubicBezTo>
                <a:close/>
                <a:moveTo>
                  <a:pt x="394" y="10"/>
                </a:moveTo>
                <a:cubicBezTo>
                  <a:pt x="394" y="11"/>
                  <a:pt x="393" y="11"/>
                  <a:pt x="392" y="11"/>
                </a:cubicBezTo>
                <a:cubicBezTo>
                  <a:pt x="393" y="10"/>
                  <a:pt x="394" y="10"/>
                  <a:pt x="394" y="10"/>
                </a:cubicBezTo>
                <a:close/>
                <a:moveTo>
                  <a:pt x="389" y="10"/>
                </a:moveTo>
                <a:cubicBezTo>
                  <a:pt x="391" y="9"/>
                  <a:pt x="391" y="12"/>
                  <a:pt x="389" y="10"/>
                </a:cubicBezTo>
                <a:close/>
                <a:moveTo>
                  <a:pt x="387" y="32"/>
                </a:moveTo>
                <a:cubicBezTo>
                  <a:pt x="393" y="30"/>
                  <a:pt x="399" y="30"/>
                  <a:pt x="404" y="30"/>
                </a:cubicBezTo>
                <a:cubicBezTo>
                  <a:pt x="399" y="31"/>
                  <a:pt x="391" y="32"/>
                  <a:pt x="384" y="33"/>
                </a:cubicBezTo>
                <a:cubicBezTo>
                  <a:pt x="379" y="35"/>
                  <a:pt x="386" y="32"/>
                  <a:pt x="387" y="32"/>
                </a:cubicBezTo>
                <a:close/>
                <a:moveTo>
                  <a:pt x="380" y="25"/>
                </a:moveTo>
                <a:cubicBezTo>
                  <a:pt x="381" y="24"/>
                  <a:pt x="382" y="26"/>
                  <a:pt x="380" y="25"/>
                </a:cubicBezTo>
                <a:close/>
                <a:moveTo>
                  <a:pt x="355" y="52"/>
                </a:moveTo>
                <a:cubicBezTo>
                  <a:pt x="355" y="51"/>
                  <a:pt x="357" y="50"/>
                  <a:pt x="357" y="51"/>
                </a:cubicBezTo>
                <a:cubicBezTo>
                  <a:pt x="358" y="53"/>
                  <a:pt x="356" y="52"/>
                  <a:pt x="355" y="52"/>
                </a:cubicBezTo>
                <a:close/>
                <a:moveTo>
                  <a:pt x="375" y="42"/>
                </a:move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lose/>
                <a:moveTo>
                  <a:pt x="371" y="6"/>
                </a:moveTo>
                <a:cubicBezTo>
                  <a:pt x="372" y="5"/>
                  <a:pt x="373" y="7"/>
                  <a:pt x="371" y="6"/>
                </a:cubicBezTo>
                <a:close/>
                <a:moveTo>
                  <a:pt x="367" y="52"/>
                </a:moveTo>
                <a:cubicBezTo>
                  <a:pt x="366" y="53"/>
                  <a:pt x="365" y="53"/>
                  <a:pt x="364" y="53"/>
                </a:cubicBezTo>
                <a:cubicBezTo>
                  <a:pt x="365" y="52"/>
                  <a:pt x="366" y="52"/>
                  <a:pt x="367" y="52"/>
                </a:cubicBezTo>
                <a:close/>
                <a:moveTo>
                  <a:pt x="360" y="41"/>
                </a:moveTo>
                <a:cubicBezTo>
                  <a:pt x="358" y="42"/>
                  <a:pt x="354" y="43"/>
                  <a:pt x="351" y="41"/>
                </a:cubicBezTo>
                <a:cubicBezTo>
                  <a:pt x="351" y="40"/>
                  <a:pt x="360" y="41"/>
                  <a:pt x="360" y="41"/>
                </a:cubicBezTo>
                <a:close/>
                <a:moveTo>
                  <a:pt x="2" y="391"/>
                </a:moveTo>
                <a:cubicBezTo>
                  <a:pt x="2" y="392"/>
                  <a:pt x="2" y="389"/>
                  <a:pt x="2" y="391"/>
                </a:cubicBezTo>
                <a:close/>
                <a:moveTo>
                  <a:pt x="2" y="338"/>
                </a:moveTo>
                <a:cubicBezTo>
                  <a:pt x="1" y="339"/>
                  <a:pt x="1" y="336"/>
                  <a:pt x="2" y="337"/>
                </a:cubicBezTo>
                <a:cubicBezTo>
                  <a:pt x="2" y="337"/>
                  <a:pt x="2" y="337"/>
                  <a:pt x="2" y="338"/>
                </a:cubicBezTo>
                <a:close/>
                <a:moveTo>
                  <a:pt x="6" y="411"/>
                </a:moveTo>
                <a:cubicBezTo>
                  <a:pt x="7" y="410"/>
                  <a:pt x="8" y="410"/>
                  <a:pt x="6" y="411"/>
                </a:cubicBezTo>
                <a:close/>
                <a:moveTo>
                  <a:pt x="7" y="377"/>
                </a:moveTo>
                <a:cubicBezTo>
                  <a:pt x="8" y="377"/>
                  <a:pt x="8" y="378"/>
                  <a:pt x="7" y="379"/>
                </a:cubicBezTo>
                <a:cubicBezTo>
                  <a:pt x="6" y="380"/>
                  <a:pt x="7" y="377"/>
                  <a:pt x="7" y="377"/>
                </a:cubicBezTo>
                <a:close/>
                <a:moveTo>
                  <a:pt x="7" y="415"/>
                </a:moveTo>
                <a:cubicBezTo>
                  <a:pt x="7" y="416"/>
                  <a:pt x="7" y="413"/>
                  <a:pt x="8" y="414"/>
                </a:cubicBezTo>
                <a:cubicBezTo>
                  <a:pt x="9" y="414"/>
                  <a:pt x="8" y="415"/>
                  <a:pt x="7" y="415"/>
                </a:cubicBezTo>
                <a:close/>
                <a:moveTo>
                  <a:pt x="7" y="368"/>
                </a:moveTo>
                <a:cubicBezTo>
                  <a:pt x="6" y="367"/>
                  <a:pt x="7" y="364"/>
                  <a:pt x="8" y="363"/>
                </a:cubicBezTo>
                <a:cubicBezTo>
                  <a:pt x="8" y="365"/>
                  <a:pt x="7" y="366"/>
                  <a:pt x="7" y="368"/>
                </a:cubicBezTo>
                <a:close/>
                <a:moveTo>
                  <a:pt x="13" y="438"/>
                </a:moveTo>
                <a:cubicBezTo>
                  <a:pt x="13" y="438"/>
                  <a:pt x="13" y="439"/>
                  <a:pt x="13" y="439"/>
                </a:cubicBezTo>
                <a:cubicBezTo>
                  <a:pt x="13" y="441"/>
                  <a:pt x="12" y="437"/>
                  <a:pt x="13" y="438"/>
                </a:cubicBezTo>
                <a:close/>
                <a:moveTo>
                  <a:pt x="12" y="423"/>
                </a:moveTo>
                <a:cubicBezTo>
                  <a:pt x="13" y="423"/>
                  <a:pt x="11" y="425"/>
                  <a:pt x="12" y="423"/>
                </a:cubicBezTo>
                <a:close/>
                <a:moveTo>
                  <a:pt x="15" y="295"/>
                </a:moveTo>
                <a:cubicBezTo>
                  <a:pt x="15" y="298"/>
                  <a:pt x="13" y="296"/>
                  <a:pt x="15" y="295"/>
                </a:cubicBezTo>
                <a:close/>
                <a:moveTo>
                  <a:pt x="13" y="368"/>
                </a:moveTo>
                <a:cubicBezTo>
                  <a:pt x="14" y="368"/>
                  <a:pt x="13" y="369"/>
                  <a:pt x="13" y="369"/>
                </a:cubicBezTo>
                <a:cubicBezTo>
                  <a:pt x="12" y="370"/>
                  <a:pt x="12" y="367"/>
                  <a:pt x="13" y="368"/>
                </a:cubicBezTo>
                <a:close/>
                <a:moveTo>
                  <a:pt x="12" y="352"/>
                </a:moveTo>
                <a:cubicBezTo>
                  <a:pt x="11" y="353"/>
                  <a:pt x="11" y="350"/>
                  <a:pt x="12" y="351"/>
                </a:cubicBezTo>
                <a:cubicBezTo>
                  <a:pt x="13" y="351"/>
                  <a:pt x="12" y="352"/>
                  <a:pt x="12" y="352"/>
                </a:cubicBezTo>
                <a:close/>
                <a:moveTo>
                  <a:pt x="10" y="333"/>
                </a:moveTo>
                <a:cubicBezTo>
                  <a:pt x="12" y="332"/>
                  <a:pt x="14" y="337"/>
                  <a:pt x="12" y="338"/>
                </a:cubicBezTo>
                <a:cubicBezTo>
                  <a:pt x="9" y="339"/>
                  <a:pt x="9" y="334"/>
                  <a:pt x="10" y="333"/>
                </a:cubicBezTo>
                <a:close/>
                <a:moveTo>
                  <a:pt x="10" y="355"/>
                </a:moveTo>
                <a:cubicBezTo>
                  <a:pt x="9" y="356"/>
                  <a:pt x="10" y="353"/>
                  <a:pt x="10" y="353"/>
                </a:cubicBezTo>
                <a:cubicBezTo>
                  <a:pt x="11" y="354"/>
                  <a:pt x="10" y="355"/>
                  <a:pt x="10" y="355"/>
                </a:cubicBezTo>
                <a:close/>
                <a:moveTo>
                  <a:pt x="9" y="371"/>
                </a:moveTo>
                <a:cubicBezTo>
                  <a:pt x="8" y="372"/>
                  <a:pt x="8" y="369"/>
                  <a:pt x="9" y="370"/>
                </a:cubicBezTo>
                <a:cubicBezTo>
                  <a:pt x="9" y="370"/>
                  <a:pt x="9" y="371"/>
                  <a:pt x="9" y="371"/>
                </a:cubicBezTo>
                <a:close/>
                <a:moveTo>
                  <a:pt x="9" y="359"/>
                </a:moveTo>
                <a:cubicBezTo>
                  <a:pt x="8" y="359"/>
                  <a:pt x="9" y="357"/>
                  <a:pt x="10" y="357"/>
                </a:cubicBezTo>
                <a:cubicBezTo>
                  <a:pt x="9" y="358"/>
                  <a:pt x="9" y="358"/>
                  <a:pt x="9" y="359"/>
                </a:cubicBezTo>
                <a:close/>
                <a:moveTo>
                  <a:pt x="10" y="438"/>
                </a:moveTo>
                <a:cubicBezTo>
                  <a:pt x="9" y="439"/>
                  <a:pt x="10" y="436"/>
                  <a:pt x="11" y="436"/>
                </a:cubicBezTo>
                <a:cubicBezTo>
                  <a:pt x="12" y="437"/>
                  <a:pt x="11" y="437"/>
                  <a:pt x="10" y="438"/>
                </a:cubicBezTo>
                <a:close/>
                <a:moveTo>
                  <a:pt x="10" y="424"/>
                </a:moveTo>
                <a:cubicBezTo>
                  <a:pt x="9" y="425"/>
                  <a:pt x="10" y="422"/>
                  <a:pt x="11" y="423"/>
                </a:cubicBezTo>
                <a:cubicBezTo>
                  <a:pt x="12" y="424"/>
                  <a:pt x="11" y="424"/>
                  <a:pt x="10" y="424"/>
                </a:cubicBezTo>
                <a:close/>
                <a:moveTo>
                  <a:pt x="11" y="386"/>
                </a:moveTo>
                <a:cubicBezTo>
                  <a:pt x="10" y="386"/>
                  <a:pt x="10" y="387"/>
                  <a:pt x="10" y="385"/>
                </a:cubicBezTo>
                <a:cubicBezTo>
                  <a:pt x="10" y="383"/>
                  <a:pt x="14" y="374"/>
                  <a:pt x="14" y="374"/>
                </a:cubicBezTo>
                <a:cubicBezTo>
                  <a:pt x="16" y="374"/>
                  <a:pt x="13" y="377"/>
                  <a:pt x="13" y="378"/>
                </a:cubicBezTo>
                <a:cubicBezTo>
                  <a:pt x="12" y="381"/>
                  <a:pt x="14" y="385"/>
                  <a:pt x="11" y="386"/>
                </a:cubicBezTo>
                <a:close/>
                <a:moveTo>
                  <a:pt x="14" y="394"/>
                </a:moveTo>
                <a:cubicBezTo>
                  <a:pt x="13" y="396"/>
                  <a:pt x="14" y="393"/>
                  <a:pt x="14" y="393"/>
                </a:cubicBezTo>
                <a:cubicBezTo>
                  <a:pt x="15" y="393"/>
                  <a:pt x="15" y="394"/>
                  <a:pt x="14" y="394"/>
                </a:cubicBezTo>
                <a:close/>
                <a:moveTo>
                  <a:pt x="15" y="388"/>
                </a:moveTo>
                <a:cubicBezTo>
                  <a:pt x="14" y="388"/>
                  <a:pt x="15" y="387"/>
                  <a:pt x="15" y="387"/>
                </a:cubicBezTo>
                <a:cubicBezTo>
                  <a:pt x="15" y="387"/>
                  <a:pt x="15" y="388"/>
                  <a:pt x="15" y="388"/>
                </a:cubicBezTo>
                <a:close/>
                <a:moveTo>
                  <a:pt x="15" y="300"/>
                </a:moveTo>
                <a:cubicBezTo>
                  <a:pt x="16" y="302"/>
                  <a:pt x="14" y="301"/>
                  <a:pt x="15" y="300"/>
                </a:cubicBezTo>
                <a:close/>
                <a:moveTo>
                  <a:pt x="16" y="366"/>
                </a:moveTo>
                <a:cubicBezTo>
                  <a:pt x="15" y="367"/>
                  <a:pt x="17" y="364"/>
                  <a:pt x="16" y="366"/>
                </a:cubicBezTo>
                <a:close/>
                <a:moveTo>
                  <a:pt x="17" y="380"/>
                </a:moveTo>
                <a:cubicBezTo>
                  <a:pt x="16" y="381"/>
                  <a:pt x="16" y="379"/>
                  <a:pt x="17" y="379"/>
                </a:cubicBezTo>
                <a:cubicBezTo>
                  <a:pt x="17" y="378"/>
                  <a:pt x="17" y="380"/>
                  <a:pt x="17" y="380"/>
                </a:cubicBezTo>
                <a:close/>
                <a:moveTo>
                  <a:pt x="27" y="420"/>
                </a:move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lose/>
                <a:moveTo>
                  <a:pt x="23" y="346"/>
                </a:moveTo>
                <a:cubicBezTo>
                  <a:pt x="23" y="346"/>
                  <a:pt x="23" y="347"/>
                  <a:pt x="23" y="347"/>
                </a:cubicBezTo>
                <a:cubicBezTo>
                  <a:pt x="22" y="347"/>
                  <a:pt x="22" y="346"/>
                  <a:pt x="23" y="346"/>
                </a:cubicBezTo>
                <a:close/>
                <a:moveTo>
                  <a:pt x="19" y="405"/>
                </a:moveTo>
                <a:cubicBezTo>
                  <a:pt x="19" y="405"/>
                  <a:pt x="18" y="404"/>
                  <a:pt x="18" y="404"/>
                </a:cubicBezTo>
                <a:cubicBezTo>
                  <a:pt x="18" y="404"/>
                  <a:pt x="20" y="404"/>
                  <a:pt x="19" y="405"/>
                </a:cubicBezTo>
                <a:close/>
                <a:moveTo>
                  <a:pt x="20" y="406"/>
                </a:moveTo>
                <a:cubicBezTo>
                  <a:pt x="19" y="406"/>
                  <a:pt x="20" y="405"/>
                  <a:pt x="20" y="404"/>
                </a:cubicBezTo>
                <a:cubicBezTo>
                  <a:pt x="21" y="404"/>
                  <a:pt x="20" y="405"/>
                  <a:pt x="20" y="406"/>
                </a:cubicBezTo>
                <a:close/>
                <a:moveTo>
                  <a:pt x="20" y="360"/>
                </a:moveTo>
                <a:cubicBezTo>
                  <a:pt x="19" y="359"/>
                  <a:pt x="21" y="359"/>
                  <a:pt x="20" y="360"/>
                </a:cubicBezTo>
                <a:close/>
                <a:moveTo>
                  <a:pt x="22" y="268"/>
                </a:moveTo>
                <a:cubicBezTo>
                  <a:pt x="23" y="268"/>
                  <a:pt x="22" y="270"/>
                  <a:pt x="22" y="271"/>
                </a:cubicBezTo>
                <a:cubicBezTo>
                  <a:pt x="19" y="273"/>
                  <a:pt x="19" y="267"/>
                  <a:pt x="22" y="268"/>
                </a:cubicBezTo>
                <a:close/>
                <a:moveTo>
                  <a:pt x="21" y="397"/>
                </a:moveTo>
                <a:cubicBezTo>
                  <a:pt x="21" y="396"/>
                  <a:pt x="22" y="397"/>
                  <a:pt x="22" y="398"/>
                </a:cubicBezTo>
                <a:cubicBezTo>
                  <a:pt x="21" y="399"/>
                  <a:pt x="20" y="397"/>
                  <a:pt x="21" y="397"/>
                </a:cubicBezTo>
                <a:close/>
                <a:moveTo>
                  <a:pt x="21" y="415"/>
                </a:moveTo>
                <a:cubicBezTo>
                  <a:pt x="22" y="416"/>
                  <a:pt x="21" y="417"/>
                  <a:pt x="21" y="415"/>
                </a:cubicBezTo>
                <a:close/>
                <a:moveTo>
                  <a:pt x="21" y="413"/>
                </a:moveTo>
                <a:cubicBezTo>
                  <a:pt x="21" y="413"/>
                  <a:pt x="23" y="413"/>
                  <a:pt x="23" y="413"/>
                </a:cubicBezTo>
                <a:cubicBezTo>
                  <a:pt x="23" y="414"/>
                  <a:pt x="20" y="414"/>
                  <a:pt x="21" y="413"/>
                </a:cubicBezTo>
                <a:close/>
                <a:moveTo>
                  <a:pt x="24" y="367"/>
                </a:moveTo>
                <a:cubicBezTo>
                  <a:pt x="25" y="368"/>
                  <a:pt x="23" y="369"/>
                  <a:pt x="24" y="367"/>
                </a:cubicBezTo>
                <a:close/>
                <a:moveTo>
                  <a:pt x="24" y="412"/>
                </a:moveTo>
                <a:cubicBezTo>
                  <a:pt x="24" y="413"/>
                  <a:pt x="24" y="410"/>
                  <a:pt x="24" y="412"/>
                </a:cubicBezTo>
                <a:close/>
                <a:moveTo>
                  <a:pt x="25" y="401"/>
                </a:moveTo>
                <a:cubicBezTo>
                  <a:pt x="24" y="402"/>
                  <a:pt x="24" y="400"/>
                  <a:pt x="24" y="399"/>
                </a:cubicBezTo>
                <a:cubicBezTo>
                  <a:pt x="25" y="399"/>
                  <a:pt x="25" y="401"/>
                  <a:pt x="25" y="401"/>
                </a:cubicBezTo>
                <a:close/>
                <a:moveTo>
                  <a:pt x="27" y="397"/>
                </a:moveTo>
                <a:cubicBezTo>
                  <a:pt x="27" y="398"/>
                  <a:pt x="28" y="396"/>
                  <a:pt x="27" y="397"/>
                </a:cubicBezTo>
                <a:close/>
                <a:moveTo>
                  <a:pt x="25" y="343"/>
                </a:moveTo>
                <a:cubicBezTo>
                  <a:pt x="23" y="342"/>
                  <a:pt x="25" y="340"/>
                  <a:pt x="25" y="338"/>
                </a:cubicBezTo>
                <a:cubicBezTo>
                  <a:pt x="25" y="340"/>
                  <a:pt x="26" y="339"/>
                  <a:pt x="27" y="340"/>
                </a:cubicBezTo>
                <a:cubicBezTo>
                  <a:pt x="29" y="342"/>
                  <a:pt x="26" y="345"/>
                  <a:pt x="25" y="343"/>
                </a:cubicBezTo>
                <a:close/>
                <a:moveTo>
                  <a:pt x="31" y="233"/>
                </a:moveTo>
                <a:cubicBezTo>
                  <a:pt x="30" y="234"/>
                  <a:pt x="30" y="231"/>
                  <a:pt x="30" y="231"/>
                </a:cubicBezTo>
                <a:cubicBezTo>
                  <a:pt x="32" y="231"/>
                  <a:pt x="31" y="233"/>
                  <a:pt x="31" y="233"/>
                </a:cubicBezTo>
                <a:close/>
                <a:moveTo>
                  <a:pt x="33" y="290"/>
                </a:moveTo>
                <a:cubicBezTo>
                  <a:pt x="32" y="291"/>
                  <a:pt x="32" y="288"/>
                  <a:pt x="33" y="289"/>
                </a:cubicBezTo>
                <a:cubicBezTo>
                  <a:pt x="34" y="289"/>
                  <a:pt x="33" y="290"/>
                  <a:pt x="33" y="290"/>
                </a:cubicBezTo>
                <a:close/>
                <a:moveTo>
                  <a:pt x="34" y="385"/>
                </a:moveTo>
                <a:cubicBezTo>
                  <a:pt x="33" y="386"/>
                  <a:pt x="34" y="383"/>
                  <a:pt x="35" y="383"/>
                </a:cubicBezTo>
                <a:cubicBezTo>
                  <a:pt x="35" y="384"/>
                  <a:pt x="34" y="385"/>
                  <a:pt x="34" y="385"/>
                </a:cubicBezTo>
                <a:close/>
                <a:moveTo>
                  <a:pt x="36" y="305"/>
                </a:moveTo>
                <a:cubicBezTo>
                  <a:pt x="35" y="307"/>
                  <a:pt x="37" y="303"/>
                  <a:pt x="36" y="305"/>
                </a:cubicBezTo>
                <a:close/>
                <a:moveTo>
                  <a:pt x="37" y="344"/>
                </a:moveTo>
                <a:cubicBezTo>
                  <a:pt x="37" y="344"/>
                  <a:pt x="38" y="344"/>
                  <a:pt x="38" y="344"/>
                </a:cubicBezTo>
                <a:cubicBezTo>
                  <a:pt x="38" y="345"/>
                  <a:pt x="37" y="345"/>
                  <a:pt x="37" y="344"/>
                </a:cubicBezTo>
                <a:close/>
                <a:moveTo>
                  <a:pt x="29" y="469"/>
                </a:moveTo>
                <a:cubicBezTo>
                  <a:pt x="25" y="471"/>
                  <a:pt x="25" y="463"/>
                  <a:pt x="29" y="464"/>
                </a:cubicBezTo>
                <a:cubicBezTo>
                  <a:pt x="31" y="464"/>
                  <a:pt x="31" y="468"/>
                  <a:pt x="29" y="469"/>
                </a:cubicBezTo>
                <a:close/>
                <a:moveTo>
                  <a:pt x="34" y="484"/>
                </a:moveTo>
                <a:cubicBezTo>
                  <a:pt x="34" y="485"/>
                  <a:pt x="34" y="485"/>
                  <a:pt x="33" y="485"/>
                </a:cubicBezTo>
                <a:cubicBezTo>
                  <a:pt x="32" y="486"/>
                  <a:pt x="33" y="483"/>
                  <a:pt x="34" y="484"/>
                </a:cubicBezTo>
                <a:close/>
                <a:moveTo>
                  <a:pt x="36" y="466"/>
                </a:moveTo>
                <a:cubicBezTo>
                  <a:pt x="34" y="467"/>
                  <a:pt x="34" y="464"/>
                  <a:pt x="35" y="463"/>
                </a:cubicBezTo>
                <a:cubicBezTo>
                  <a:pt x="36" y="463"/>
                  <a:pt x="37" y="465"/>
                  <a:pt x="36" y="466"/>
                </a:cubicBezTo>
                <a:close/>
                <a:moveTo>
                  <a:pt x="38" y="455"/>
                </a:moveTo>
                <a:cubicBezTo>
                  <a:pt x="38" y="455"/>
                  <a:pt x="38" y="456"/>
                  <a:pt x="38" y="456"/>
                </a:cubicBezTo>
                <a:cubicBezTo>
                  <a:pt x="37" y="458"/>
                  <a:pt x="36" y="454"/>
                  <a:pt x="38" y="455"/>
                </a:cubicBezTo>
                <a:close/>
                <a:moveTo>
                  <a:pt x="38" y="461"/>
                </a:moveTo>
                <a:cubicBezTo>
                  <a:pt x="36" y="462"/>
                  <a:pt x="38" y="459"/>
                  <a:pt x="39" y="459"/>
                </a:cubicBezTo>
                <a:cubicBezTo>
                  <a:pt x="39" y="460"/>
                  <a:pt x="38" y="461"/>
                  <a:pt x="38" y="461"/>
                </a:cubicBezTo>
                <a:close/>
                <a:moveTo>
                  <a:pt x="66" y="337"/>
                </a:moveTo>
                <a:cubicBezTo>
                  <a:pt x="66" y="337"/>
                  <a:pt x="66" y="338"/>
                  <a:pt x="66" y="338"/>
                </a:cubicBezTo>
                <a:cubicBezTo>
                  <a:pt x="65" y="339"/>
                  <a:pt x="65" y="336"/>
                  <a:pt x="66" y="337"/>
                </a:cubicBezTo>
                <a:close/>
                <a:moveTo>
                  <a:pt x="66" y="380"/>
                </a:moveTo>
                <a:cubicBezTo>
                  <a:pt x="67" y="380"/>
                  <a:pt x="67" y="382"/>
                  <a:pt x="66" y="382"/>
                </a:cubicBezTo>
                <a:cubicBezTo>
                  <a:pt x="65" y="384"/>
                  <a:pt x="65" y="379"/>
                  <a:pt x="66" y="380"/>
                </a:cubicBezTo>
                <a:close/>
                <a:moveTo>
                  <a:pt x="63" y="330"/>
                </a:moveTo>
                <a:cubicBezTo>
                  <a:pt x="62" y="331"/>
                  <a:pt x="64" y="329"/>
                  <a:pt x="63" y="330"/>
                </a:cubicBezTo>
                <a:close/>
                <a:moveTo>
                  <a:pt x="64" y="346"/>
                </a:moveTo>
                <a:cubicBezTo>
                  <a:pt x="66" y="346"/>
                  <a:pt x="65" y="351"/>
                  <a:pt x="62" y="351"/>
                </a:cubicBezTo>
                <a:cubicBezTo>
                  <a:pt x="62" y="351"/>
                  <a:pt x="62" y="345"/>
                  <a:pt x="64" y="346"/>
                </a:cubicBezTo>
                <a:close/>
                <a:moveTo>
                  <a:pt x="64" y="393"/>
                </a:moveTo>
                <a:cubicBezTo>
                  <a:pt x="64" y="392"/>
                  <a:pt x="65" y="394"/>
                  <a:pt x="64" y="393"/>
                </a:cubicBezTo>
                <a:close/>
                <a:moveTo>
                  <a:pt x="61" y="364"/>
                </a:moveTo>
                <a:cubicBezTo>
                  <a:pt x="61" y="362"/>
                  <a:pt x="62" y="363"/>
                  <a:pt x="61" y="364"/>
                </a:cubicBezTo>
                <a:close/>
                <a:moveTo>
                  <a:pt x="61" y="403"/>
                </a:moveTo>
                <a:cubicBezTo>
                  <a:pt x="61" y="403"/>
                  <a:pt x="61" y="403"/>
                  <a:pt x="62" y="403"/>
                </a:cubicBezTo>
                <a:cubicBezTo>
                  <a:pt x="63" y="402"/>
                  <a:pt x="61" y="403"/>
                  <a:pt x="61" y="403"/>
                </a:cubicBezTo>
                <a:close/>
                <a:moveTo>
                  <a:pt x="61" y="365"/>
                </a:moveTo>
                <a:cubicBezTo>
                  <a:pt x="61" y="366"/>
                  <a:pt x="59" y="365"/>
                  <a:pt x="61" y="365"/>
                </a:cubicBezTo>
                <a:close/>
                <a:moveTo>
                  <a:pt x="58" y="357"/>
                </a:moveTo>
                <a:cubicBezTo>
                  <a:pt x="59" y="357"/>
                  <a:pt x="58" y="359"/>
                  <a:pt x="58" y="359"/>
                </a:cubicBezTo>
                <a:cubicBezTo>
                  <a:pt x="56" y="361"/>
                  <a:pt x="55" y="356"/>
                  <a:pt x="58" y="357"/>
                </a:cubicBezTo>
                <a:close/>
                <a:moveTo>
                  <a:pt x="56" y="405"/>
                </a:moveTo>
                <a:cubicBezTo>
                  <a:pt x="56" y="405"/>
                  <a:pt x="56" y="406"/>
                  <a:pt x="56" y="406"/>
                </a:cubicBezTo>
                <a:cubicBezTo>
                  <a:pt x="55" y="407"/>
                  <a:pt x="55" y="405"/>
                  <a:pt x="56" y="405"/>
                </a:cubicBezTo>
                <a:close/>
                <a:moveTo>
                  <a:pt x="54" y="374"/>
                </a:moveTo>
                <a:cubicBezTo>
                  <a:pt x="55" y="374"/>
                  <a:pt x="55" y="375"/>
                  <a:pt x="54" y="375"/>
                </a:cubicBezTo>
                <a:cubicBezTo>
                  <a:pt x="53" y="376"/>
                  <a:pt x="53" y="374"/>
                  <a:pt x="54" y="374"/>
                </a:cubicBezTo>
                <a:close/>
                <a:moveTo>
                  <a:pt x="49" y="398"/>
                </a:moveTo>
                <a:cubicBezTo>
                  <a:pt x="51" y="396"/>
                  <a:pt x="52" y="393"/>
                  <a:pt x="54" y="390"/>
                </a:cubicBezTo>
                <a:cubicBezTo>
                  <a:pt x="53" y="393"/>
                  <a:pt x="51" y="396"/>
                  <a:pt x="49" y="398"/>
                </a:cubicBezTo>
                <a:close/>
                <a:moveTo>
                  <a:pt x="51" y="408"/>
                </a:moveTo>
                <a:cubicBezTo>
                  <a:pt x="50" y="407"/>
                  <a:pt x="52" y="406"/>
                  <a:pt x="52" y="407"/>
                </a:cubicBezTo>
                <a:cubicBezTo>
                  <a:pt x="54" y="408"/>
                  <a:pt x="52" y="410"/>
                  <a:pt x="51" y="408"/>
                </a:cubicBezTo>
                <a:close/>
                <a:moveTo>
                  <a:pt x="46" y="404"/>
                </a:moveTo>
                <a:cubicBezTo>
                  <a:pt x="46" y="404"/>
                  <a:pt x="47" y="400"/>
                  <a:pt x="48" y="399"/>
                </a:cubicBezTo>
                <a:cubicBezTo>
                  <a:pt x="48" y="400"/>
                  <a:pt x="47" y="404"/>
                  <a:pt x="46" y="404"/>
                </a:cubicBezTo>
                <a:close/>
                <a:moveTo>
                  <a:pt x="47" y="409"/>
                </a:moveTo>
                <a:cubicBezTo>
                  <a:pt x="48" y="408"/>
                  <a:pt x="47" y="410"/>
                  <a:pt x="47" y="409"/>
                </a:cubicBezTo>
                <a:close/>
                <a:moveTo>
                  <a:pt x="48" y="392"/>
                </a:moveTo>
                <a:cubicBezTo>
                  <a:pt x="46" y="393"/>
                  <a:pt x="46" y="388"/>
                  <a:pt x="49" y="389"/>
                </a:cubicBezTo>
                <a:cubicBezTo>
                  <a:pt x="50" y="389"/>
                  <a:pt x="49" y="392"/>
                  <a:pt x="48" y="392"/>
                </a:cubicBezTo>
                <a:close/>
                <a:moveTo>
                  <a:pt x="53" y="323"/>
                </a:moveTo>
                <a:cubicBezTo>
                  <a:pt x="54" y="323"/>
                  <a:pt x="54" y="325"/>
                  <a:pt x="53" y="325"/>
                </a:cubicBezTo>
                <a:cubicBezTo>
                  <a:pt x="52" y="326"/>
                  <a:pt x="52" y="323"/>
                  <a:pt x="53" y="323"/>
                </a:cubicBezTo>
                <a:close/>
                <a:moveTo>
                  <a:pt x="50" y="354"/>
                </a:moveTo>
                <a:cubicBezTo>
                  <a:pt x="53" y="355"/>
                  <a:pt x="51" y="360"/>
                  <a:pt x="50" y="360"/>
                </a:cubicBezTo>
                <a:cubicBezTo>
                  <a:pt x="45" y="362"/>
                  <a:pt x="47" y="352"/>
                  <a:pt x="50" y="354"/>
                </a:cubicBezTo>
                <a:close/>
                <a:moveTo>
                  <a:pt x="47" y="328"/>
                </a:moveTo>
                <a:cubicBezTo>
                  <a:pt x="47" y="328"/>
                  <a:pt x="48" y="328"/>
                  <a:pt x="48" y="327"/>
                </a:cubicBezTo>
                <a:cubicBezTo>
                  <a:pt x="49" y="327"/>
                  <a:pt x="49" y="328"/>
                  <a:pt x="47" y="328"/>
                </a:cubicBezTo>
                <a:close/>
                <a:moveTo>
                  <a:pt x="48" y="267"/>
                </a:moveTo>
                <a:cubicBezTo>
                  <a:pt x="47" y="267"/>
                  <a:pt x="47" y="267"/>
                  <a:pt x="47" y="266"/>
                </a:cubicBezTo>
                <a:cubicBezTo>
                  <a:pt x="47" y="266"/>
                  <a:pt x="49" y="266"/>
                  <a:pt x="48" y="267"/>
                </a:cubicBezTo>
                <a:close/>
                <a:moveTo>
                  <a:pt x="46" y="377"/>
                </a:moveTo>
                <a:cubicBezTo>
                  <a:pt x="45" y="378"/>
                  <a:pt x="45" y="376"/>
                  <a:pt x="46" y="376"/>
                </a:cubicBezTo>
                <a:cubicBezTo>
                  <a:pt x="47" y="376"/>
                  <a:pt x="46" y="377"/>
                  <a:pt x="46" y="377"/>
                </a:cubicBezTo>
                <a:close/>
                <a:moveTo>
                  <a:pt x="45" y="192"/>
                </a:moveTo>
                <a:cubicBezTo>
                  <a:pt x="46" y="192"/>
                  <a:pt x="46" y="193"/>
                  <a:pt x="46" y="193"/>
                </a:cubicBezTo>
                <a:cubicBezTo>
                  <a:pt x="44" y="195"/>
                  <a:pt x="44" y="191"/>
                  <a:pt x="45" y="192"/>
                </a:cubicBezTo>
                <a:close/>
                <a:moveTo>
                  <a:pt x="45" y="207"/>
                </a:moveTo>
                <a:cubicBezTo>
                  <a:pt x="46" y="207"/>
                  <a:pt x="45" y="208"/>
                  <a:pt x="45" y="209"/>
                </a:cubicBezTo>
                <a:cubicBezTo>
                  <a:pt x="44" y="210"/>
                  <a:pt x="44" y="207"/>
                  <a:pt x="45" y="207"/>
                </a:cubicBezTo>
                <a:close/>
                <a:moveTo>
                  <a:pt x="44" y="360"/>
                </a:moveTo>
                <a:cubicBezTo>
                  <a:pt x="45" y="361"/>
                  <a:pt x="44" y="363"/>
                  <a:pt x="44" y="363"/>
                </a:cubicBezTo>
                <a:cubicBezTo>
                  <a:pt x="42" y="364"/>
                  <a:pt x="43" y="360"/>
                  <a:pt x="44" y="360"/>
                </a:cubicBezTo>
                <a:close/>
                <a:moveTo>
                  <a:pt x="43" y="227"/>
                </a:moveTo>
                <a:cubicBezTo>
                  <a:pt x="43" y="227"/>
                  <a:pt x="43" y="228"/>
                  <a:pt x="43" y="228"/>
                </a:cubicBezTo>
                <a:cubicBezTo>
                  <a:pt x="42" y="229"/>
                  <a:pt x="43" y="226"/>
                  <a:pt x="43" y="227"/>
                </a:cubicBezTo>
                <a:close/>
                <a:moveTo>
                  <a:pt x="40" y="322"/>
                </a:moveTo>
                <a:cubicBezTo>
                  <a:pt x="41" y="320"/>
                  <a:pt x="39" y="322"/>
                  <a:pt x="40" y="322"/>
                </a:cubicBezTo>
                <a:close/>
                <a:moveTo>
                  <a:pt x="36" y="429"/>
                </a:moveTo>
                <a:cubicBezTo>
                  <a:pt x="35" y="431"/>
                  <a:pt x="35" y="428"/>
                  <a:pt x="36" y="428"/>
                </a:cubicBezTo>
                <a:cubicBezTo>
                  <a:pt x="36" y="429"/>
                  <a:pt x="36" y="429"/>
                  <a:pt x="36" y="429"/>
                </a:cubicBezTo>
                <a:close/>
                <a:moveTo>
                  <a:pt x="35" y="428"/>
                </a:moveTo>
                <a:cubicBezTo>
                  <a:pt x="34" y="427"/>
                  <a:pt x="36" y="425"/>
                  <a:pt x="36" y="426"/>
                </a:cubicBezTo>
                <a:cubicBezTo>
                  <a:pt x="37" y="428"/>
                  <a:pt x="35" y="429"/>
                  <a:pt x="35" y="428"/>
                </a:cubicBezTo>
                <a:close/>
                <a:moveTo>
                  <a:pt x="38" y="424"/>
                </a:moveTo>
                <a:cubicBezTo>
                  <a:pt x="35" y="427"/>
                  <a:pt x="33" y="418"/>
                  <a:pt x="37" y="417"/>
                </a:cubicBezTo>
                <a:cubicBezTo>
                  <a:pt x="35" y="420"/>
                  <a:pt x="39" y="419"/>
                  <a:pt x="39" y="420"/>
                </a:cubicBezTo>
                <a:cubicBezTo>
                  <a:pt x="39" y="421"/>
                  <a:pt x="39" y="423"/>
                  <a:pt x="38" y="424"/>
                </a:cubicBezTo>
                <a:close/>
                <a:moveTo>
                  <a:pt x="40" y="358"/>
                </a:moveTo>
                <a:cubicBezTo>
                  <a:pt x="38" y="358"/>
                  <a:pt x="41" y="356"/>
                  <a:pt x="40" y="357"/>
                </a:cubicBezTo>
                <a:cubicBezTo>
                  <a:pt x="40" y="357"/>
                  <a:pt x="40" y="358"/>
                  <a:pt x="40" y="358"/>
                </a:cubicBezTo>
                <a:close/>
                <a:moveTo>
                  <a:pt x="41" y="431"/>
                </a:moveTo>
                <a:cubicBezTo>
                  <a:pt x="42" y="430"/>
                  <a:pt x="43" y="432"/>
                  <a:pt x="41" y="431"/>
                </a:cubicBezTo>
                <a:close/>
                <a:moveTo>
                  <a:pt x="42" y="382"/>
                </a:moveTo>
                <a:cubicBezTo>
                  <a:pt x="42" y="380"/>
                  <a:pt x="43" y="381"/>
                  <a:pt x="44" y="380"/>
                </a:cubicBezTo>
                <a:cubicBezTo>
                  <a:pt x="44" y="379"/>
                  <a:pt x="44" y="378"/>
                  <a:pt x="46" y="378"/>
                </a:cubicBezTo>
                <a:cubicBezTo>
                  <a:pt x="50" y="378"/>
                  <a:pt x="48" y="384"/>
                  <a:pt x="45" y="385"/>
                </a:cubicBezTo>
                <a:cubicBezTo>
                  <a:pt x="43" y="385"/>
                  <a:pt x="41" y="385"/>
                  <a:pt x="42" y="382"/>
                </a:cubicBezTo>
                <a:close/>
                <a:moveTo>
                  <a:pt x="44" y="391"/>
                </a:moveTo>
                <a:cubicBezTo>
                  <a:pt x="43" y="392"/>
                  <a:pt x="45" y="389"/>
                  <a:pt x="44" y="391"/>
                </a:cubicBezTo>
                <a:close/>
                <a:moveTo>
                  <a:pt x="42" y="449"/>
                </a:moveTo>
                <a:cubicBezTo>
                  <a:pt x="42" y="450"/>
                  <a:pt x="43" y="447"/>
                  <a:pt x="42" y="449"/>
                </a:cubicBezTo>
                <a:close/>
                <a:moveTo>
                  <a:pt x="44" y="465"/>
                </a:moveTo>
                <a:cubicBezTo>
                  <a:pt x="45" y="464"/>
                  <a:pt x="43" y="466"/>
                  <a:pt x="44" y="465"/>
                </a:cubicBezTo>
                <a:close/>
                <a:moveTo>
                  <a:pt x="45" y="462"/>
                </a:moveTo>
                <a:cubicBezTo>
                  <a:pt x="45" y="462"/>
                  <a:pt x="45" y="462"/>
                  <a:pt x="46" y="462"/>
                </a:cubicBezTo>
                <a:cubicBezTo>
                  <a:pt x="46" y="462"/>
                  <a:pt x="46" y="462"/>
                  <a:pt x="46" y="462"/>
                </a:cubicBezTo>
                <a:cubicBezTo>
                  <a:pt x="46" y="462"/>
                  <a:pt x="45" y="462"/>
                  <a:pt x="45" y="462"/>
                </a:cubicBezTo>
                <a:close/>
                <a:moveTo>
                  <a:pt x="43" y="445"/>
                </a:moveTo>
                <a:cubicBezTo>
                  <a:pt x="43" y="443"/>
                  <a:pt x="45" y="441"/>
                  <a:pt x="47" y="439"/>
                </a:cubicBezTo>
                <a:cubicBezTo>
                  <a:pt x="47" y="442"/>
                  <a:pt x="44" y="443"/>
                  <a:pt x="43" y="445"/>
                </a:cubicBezTo>
                <a:close/>
                <a:moveTo>
                  <a:pt x="46" y="434"/>
                </a:moveTo>
                <a:cubicBezTo>
                  <a:pt x="46" y="434"/>
                  <a:pt x="47" y="433"/>
                  <a:pt x="46" y="434"/>
                </a:cubicBezTo>
                <a:cubicBezTo>
                  <a:pt x="46" y="434"/>
                  <a:pt x="46" y="434"/>
                  <a:pt x="46" y="434"/>
                </a:cubicBezTo>
                <a:close/>
                <a:moveTo>
                  <a:pt x="47" y="432"/>
                </a:moveTo>
                <a:cubicBezTo>
                  <a:pt x="48" y="430"/>
                  <a:pt x="50" y="431"/>
                  <a:pt x="47" y="432"/>
                </a:cubicBezTo>
                <a:close/>
                <a:moveTo>
                  <a:pt x="50" y="418"/>
                </a:moveTo>
                <a:cubicBezTo>
                  <a:pt x="50" y="419"/>
                  <a:pt x="52" y="419"/>
                  <a:pt x="51" y="420"/>
                </a:cubicBezTo>
                <a:cubicBezTo>
                  <a:pt x="52" y="419"/>
                  <a:pt x="48" y="420"/>
                  <a:pt x="49" y="421"/>
                </a:cubicBezTo>
                <a:cubicBezTo>
                  <a:pt x="48" y="420"/>
                  <a:pt x="48" y="419"/>
                  <a:pt x="49" y="418"/>
                </a:cubicBezTo>
                <a:cubicBezTo>
                  <a:pt x="47" y="418"/>
                  <a:pt x="45" y="417"/>
                  <a:pt x="45" y="416"/>
                </a:cubicBezTo>
                <a:cubicBezTo>
                  <a:pt x="44" y="413"/>
                  <a:pt x="47" y="411"/>
                  <a:pt x="49" y="410"/>
                </a:cubicBezTo>
                <a:cubicBezTo>
                  <a:pt x="49" y="410"/>
                  <a:pt x="49" y="409"/>
                  <a:pt x="49" y="409"/>
                </a:cubicBezTo>
                <a:cubicBezTo>
                  <a:pt x="50" y="409"/>
                  <a:pt x="51" y="411"/>
                  <a:pt x="51" y="411"/>
                </a:cubicBezTo>
                <a:cubicBezTo>
                  <a:pt x="53" y="412"/>
                  <a:pt x="52" y="407"/>
                  <a:pt x="54" y="407"/>
                </a:cubicBezTo>
                <a:cubicBezTo>
                  <a:pt x="56" y="408"/>
                  <a:pt x="54" y="410"/>
                  <a:pt x="54" y="411"/>
                </a:cubicBezTo>
                <a:cubicBezTo>
                  <a:pt x="54" y="413"/>
                  <a:pt x="55" y="413"/>
                  <a:pt x="53" y="414"/>
                </a:cubicBezTo>
                <a:cubicBezTo>
                  <a:pt x="52" y="415"/>
                  <a:pt x="51" y="418"/>
                  <a:pt x="50" y="418"/>
                </a:cubicBezTo>
                <a:close/>
                <a:moveTo>
                  <a:pt x="58" y="443"/>
                </a:moveTo>
                <a:cubicBezTo>
                  <a:pt x="57" y="444"/>
                  <a:pt x="57" y="442"/>
                  <a:pt x="58" y="441"/>
                </a:cubicBezTo>
                <a:cubicBezTo>
                  <a:pt x="59" y="441"/>
                  <a:pt x="58" y="442"/>
                  <a:pt x="58" y="443"/>
                </a:cubicBezTo>
                <a:close/>
                <a:moveTo>
                  <a:pt x="59" y="440"/>
                </a:moveTo>
                <a:cubicBezTo>
                  <a:pt x="57" y="441"/>
                  <a:pt x="59" y="437"/>
                  <a:pt x="60" y="439"/>
                </a:cubicBezTo>
                <a:cubicBezTo>
                  <a:pt x="60" y="439"/>
                  <a:pt x="59" y="440"/>
                  <a:pt x="59" y="440"/>
                </a:cubicBezTo>
                <a:close/>
                <a:moveTo>
                  <a:pt x="63" y="454"/>
                </a:moveTo>
                <a:cubicBezTo>
                  <a:pt x="64" y="455"/>
                  <a:pt x="62" y="456"/>
                  <a:pt x="63" y="454"/>
                </a:cubicBezTo>
                <a:close/>
                <a:moveTo>
                  <a:pt x="60" y="436"/>
                </a:moveTo>
                <a:cubicBezTo>
                  <a:pt x="60" y="435"/>
                  <a:pt x="64" y="434"/>
                  <a:pt x="64" y="437"/>
                </a:cubicBezTo>
                <a:cubicBezTo>
                  <a:pt x="64" y="439"/>
                  <a:pt x="58" y="440"/>
                  <a:pt x="60" y="436"/>
                </a:cubicBezTo>
                <a:close/>
                <a:moveTo>
                  <a:pt x="63" y="432"/>
                </a:moveTo>
                <a:cubicBezTo>
                  <a:pt x="62" y="431"/>
                  <a:pt x="64" y="430"/>
                  <a:pt x="63" y="432"/>
                </a:cubicBezTo>
                <a:close/>
                <a:moveTo>
                  <a:pt x="64" y="427"/>
                </a:moveTo>
                <a:cubicBezTo>
                  <a:pt x="64" y="427"/>
                  <a:pt x="64" y="428"/>
                  <a:pt x="64" y="428"/>
                </a:cubicBezTo>
                <a:cubicBezTo>
                  <a:pt x="63" y="429"/>
                  <a:pt x="63" y="426"/>
                  <a:pt x="64" y="427"/>
                </a:cubicBezTo>
                <a:close/>
                <a:moveTo>
                  <a:pt x="64" y="419"/>
                </a:moveTo>
                <a:cubicBezTo>
                  <a:pt x="62" y="420"/>
                  <a:pt x="59" y="423"/>
                  <a:pt x="58" y="424"/>
                </a:cubicBezTo>
                <a:cubicBezTo>
                  <a:pt x="57" y="426"/>
                  <a:pt x="56" y="428"/>
                  <a:pt x="54" y="429"/>
                </a:cubicBezTo>
                <a:cubicBezTo>
                  <a:pt x="57" y="423"/>
                  <a:pt x="63" y="418"/>
                  <a:pt x="66" y="413"/>
                </a:cubicBezTo>
                <a:cubicBezTo>
                  <a:pt x="69" y="409"/>
                  <a:pt x="65" y="417"/>
                  <a:pt x="64" y="419"/>
                </a:cubicBezTo>
                <a:close/>
                <a:moveTo>
                  <a:pt x="66" y="423"/>
                </a:moveTo>
                <a:cubicBezTo>
                  <a:pt x="66" y="423"/>
                  <a:pt x="65" y="423"/>
                  <a:pt x="65" y="423"/>
                </a:cubicBezTo>
                <a:cubicBezTo>
                  <a:pt x="64" y="423"/>
                  <a:pt x="66" y="422"/>
                  <a:pt x="66" y="423"/>
                </a:cubicBezTo>
                <a:close/>
                <a:moveTo>
                  <a:pt x="67" y="443"/>
                </a:moveTo>
                <a:cubicBezTo>
                  <a:pt x="67" y="443"/>
                  <a:pt x="67" y="443"/>
                  <a:pt x="67" y="443"/>
                </a:cubicBezTo>
                <a:cubicBezTo>
                  <a:pt x="67" y="441"/>
                  <a:pt x="69" y="445"/>
                  <a:pt x="67" y="443"/>
                </a:cubicBezTo>
                <a:close/>
                <a:moveTo>
                  <a:pt x="67" y="430"/>
                </a:moveTo>
                <a:cubicBezTo>
                  <a:pt x="67" y="431"/>
                  <a:pt x="66" y="432"/>
                  <a:pt x="66" y="431"/>
                </a:cubicBezTo>
                <a:cubicBezTo>
                  <a:pt x="62" y="428"/>
                  <a:pt x="71" y="428"/>
                  <a:pt x="67" y="430"/>
                </a:cubicBezTo>
                <a:close/>
                <a:moveTo>
                  <a:pt x="68" y="358"/>
                </a:moveTo>
                <a:cubicBezTo>
                  <a:pt x="65" y="360"/>
                  <a:pt x="65" y="354"/>
                  <a:pt x="67" y="355"/>
                </a:cubicBezTo>
                <a:cubicBezTo>
                  <a:pt x="69" y="355"/>
                  <a:pt x="68" y="357"/>
                  <a:pt x="68" y="358"/>
                </a:cubicBezTo>
                <a:close/>
                <a:moveTo>
                  <a:pt x="80" y="396"/>
                </a:moveTo>
                <a:cubicBezTo>
                  <a:pt x="79" y="397"/>
                  <a:pt x="80" y="395"/>
                  <a:pt x="80" y="396"/>
                </a:cubicBezTo>
                <a:close/>
                <a:moveTo>
                  <a:pt x="76" y="428"/>
                </a:moveTo>
                <a:cubicBezTo>
                  <a:pt x="76" y="428"/>
                  <a:pt x="76" y="428"/>
                  <a:pt x="76" y="428"/>
                </a:cubicBezTo>
                <a:cubicBezTo>
                  <a:pt x="77" y="427"/>
                  <a:pt x="76" y="428"/>
                  <a:pt x="76" y="428"/>
                </a:cubicBezTo>
                <a:close/>
                <a:moveTo>
                  <a:pt x="76" y="353"/>
                </a:moveTo>
                <a:cubicBezTo>
                  <a:pt x="76" y="355"/>
                  <a:pt x="75" y="355"/>
                  <a:pt x="75" y="356"/>
                </a:cubicBezTo>
                <a:cubicBezTo>
                  <a:pt x="74" y="355"/>
                  <a:pt x="76" y="354"/>
                  <a:pt x="76" y="353"/>
                </a:cubicBezTo>
                <a:close/>
                <a:moveTo>
                  <a:pt x="75" y="387"/>
                </a:moveTo>
                <a:cubicBezTo>
                  <a:pt x="74" y="387"/>
                  <a:pt x="77" y="386"/>
                  <a:pt x="75" y="387"/>
                </a:cubicBezTo>
                <a:close/>
                <a:moveTo>
                  <a:pt x="73" y="290"/>
                </a:moveTo>
                <a:cubicBezTo>
                  <a:pt x="73" y="291"/>
                  <a:pt x="73" y="292"/>
                  <a:pt x="72" y="293"/>
                </a:cubicBezTo>
                <a:cubicBezTo>
                  <a:pt x="72" y="292"/>
                  <a:pt x="73" y="290"/>
                  <a:pt x="73" y="290"/>
                </a:cubicBezTo>
                <a:close/>
                <a:moveTo>
                  <a:pt x="69" y="327"/>
                </a:moveTo>
                <a:cubicBezTo>
                  <a:pt x="69" y="326"/>
                  <a:pt x="71" y="325"/>
                  <a:pt x="72" y="324"/>
                </a:cubicBezTo>
                <a:cubicBezTo>
                  <a:pt x="72" y="326"/>
                  <a:pt x="70" y="326"/>
                  <a:pt x="69" y="327"/>
                </a:cubicBezTo>
                <a:close/>
                <a:moveTo>
                  <a:pt x="72" y="428"/>
                </a:moveTo>
                <a:cubicBezTo>
                  <a:pt x="70" y="430"/>
                  <a:pt x="71" y="426"/>
                  <a:pt x="72" y="427"/>
                </a:cubicBezTo>
                <a:cubicBezTo>
                  <a:pt x="73" y="427"/>
                  <a:pt x="73" y="428"/>
                  <a:pt x="72" y="428"/>
                </a:cubicBezTo>
                <a:close/>
                <a:moveTo>
                  <a:pt x="72" y="367"/>
                </a:moveTo>
                <a:cubicBezTo>
                  <a:pt x="72" y="367"/>
                  <a:pt x="72" y="368"/>
                  <a:pt x="72" y="368"/>
                </a:cubicBezTo>
                <a:cubicBezTo>
                  <a:pt x="71" y="369"/>
                  <a:pt x="71" y="366"/>
                  <a:pt x="72" y="367"/>
                </a:cubicBezTo>
                <a:close/>
                <a:moveTo>
                  <a:pt x="73" y="356"/>
                </a:moveTo>
                <a:cubicBezTo>
                  <a:pt x="70" y="358"/>
                  <a:pt x="71" y="351"/>
                  <a:pt x="73" y="352"/>
                </a:cubicBezTo>
                <a:cubicBezTo>
                  <a:pt x="75" y="353"/>
                  <a:pt x="73" y="356"/>
                  <a:pt x="73" y="356"/>
                </a:cubicBezTo>
                <a:close/>
                <a:moveTo>
                  <a:pt x="75" y="401"/>
                </a:moveTo>
                <a:cubicBezTo>
                  <a:pt x="73" y="402"/>
                  <a:pt x="73" y="397"/>
                  <a:pt x="75" y="398"/>
                </a:cubicBezTo>
                <a:cubicBezTo>
                  <a:pt x="76" y="399"/>
                  <a:pt x="76" y="400"/>
                  <a:pt x="75" y="401"/>
                </a:cubicBezTo>
                <a:close/>
                <a:moveTo>
                  <a:pt x="76" y="434"/>
                </a:moveTo>
                <a:cubicBezTo>
                  <a:pt x="77" y="432"/>
                  <a:pt x="79" y="430"/>
                  <a:pt x="80" y="429"/>
                </a:cubicBezTo>
                <a:cubicBezTo>
                  <a:pt x="79" y="431"/>
                  <a:pt x="78" y="432"/>
                  <a:pt x="76" y="434"/>
                </a:cubicBezTo>
                <a:close/>
                <a:moveTo>
                  <a:pt x="81" y="418"/>
                </a:moveTo>
                <a:cubicBezTo>
                  <a:pt x="80" y="418"/>
                  <a:pt x="82" y="417"/>
                  <a:pt x="81" y="418"/>
                </a:cubicBezTo>
                <a:close/>
                <a:moveTo>
                  <a:pt x="81" y="339"/>
                </a:moveTo>
                <a:cubicBezTo>
                  <a:pt x="80" y="339"/>
                  <a:pt x="81" y="337"/>
                  <a:pt x="82" y="337"/>
                </a:cubicBezTo>
                <a:cubicBezTo>
                  <a:pt x="82" y="338"/>
                  <a:pt x="81" y="338"/>
                  <a:pt x="81" y="339"/>
                </a:cubicBezTo>
                <a:close/>
                <a:moveTo>
                  <a:pt x="87" y="450"/>
                </a:moveTo>
                <a:cubicBezTo>
                  <a:pt x="87" y="450"/>
                  <a:pt x="88" y="449"/>
                  <a:pt x="89" y="449"/>
                </a:cubicBezTo>
                <a:cubicBezTo>
                  <a:pt x="89" y="449"/>
                  <a:pt x="88" y="450"/>
                  <a:pt x="87" y="450"/>
                </a:cubicBezTo>
                <a:close/>
                <a:moveTo>
                  <a:pt x="90" y="457"/>
                </a:moveTo>
                <a:cubicBezTo>
                  <a:pt x="90" y="457"/>
                  <a:pt x="90" y="457"/>
                  <a:pt x="90" y="456"/>
                </a:cubicBezTo>
                <a:cubicBezTo>
                  <a:pt x="92" y="455"/>
                  <a:pt x="91" y="456"/>
                  <a:pt x="90" y="457"/>
                </a:cubicBezTo>
                <a:close/>
                <a:moveTo>
                  <a:pt x="91" y="435"/>
                </a:moveTo>
                <a:cubicBezTo>
                  <a:pt x="89" y="437"/>
                  <a:pt x="92" y="434"/>
                  <a:pt x="91" y="435"/>
                </a:cubicBezTo>
                <a:close/>
                <a:moveTo>
                  <a:pt x="109" y="452"/>
                </a:moveTo>
                <a:cubicBezTo>
                  <a:pt x="109" y="453"/>
                  <a:pt x="108" y="452"/>
                  <a:pt x="109" y="452"/>
                </a:cubicBezTo>
                <a:close/>
                <a:moveTo>
                  <a:pt x="104" y="235"/>
                </a:moveTo>
                <a:cubicBezTo>
                  <a:pt x="103" y="236"/>
                  <a:pt x="105" y="234"/>
                  <a:pt x="104" y="235"/>
                </a:cubicBezTo>
                <a:close/>
                <a:moveTo>
                  <a:pt x="100" y="336"/>
                </a:moveTo>
                <a:cubicBezTo>
                  <a:pt x="101" y="335"/>
                  <a:pt x="101" y="335"/>
                  <a:pt x="100" y="336"/>
                </a:cubicBezTo>
                <a:close/>
                <a:moveTo>
                  <a:pt x="98" y="332"/>
                </a:moveTo>
                <a:cubicBezTo>
                  <a:pt x="97" y="331"/>
                  <a:pt x="100" y="331"/>
                  <a:pt x="98" y="332"/>
                </a:cubicBezTo>
                <a:close/>
                <a:moveTo>
                  <a:pt x="96" y="215"/>
                </a:moveTo>
                <a:cubicBezTo>
                  <a:pt x="97" y="215"/>
                  <a:pt x="97" y="216"/>
                  <a:pt x="96" y="217"/>
                </a:cubicBezTo>
                <a:cubicBezTo>
                  <a:pt x="95" y="219"/>
                  <a:pt x="95" y="214"/>
                  <a:pt x="96" y="215"/>
                </a:cubicBezTo>
                <a:close/>
                <a:moveTo>
                  <a:pt x="87" y="329"/>
                </a:moveTo>
                <a:cubicBezTo>
                  <a:pt x="87" y="330"/>
                  <a:pt x="86" y="330"/>
                  <a:pt x="86" y="331"/>
                </a:cubicBezTo>
                <a:cubicBezTo>
                  <a:pt x="85" y="331"/>
                  <a:pt x="86" y="329"/>
                  <a:pt x="87" y="329"/>
                </a:cubicBezTo>
                <a:close/>
                <a:moveTo>
                  <a:pt x="85" y="293"/>
                </a:moveTo>
                <a:cubicBezTo>
                  <a:pt x="85" y="293"/>
                  <a:pt x="85" y="294"/>
                  <a:pt x="85" y="294"/>
                </a:cubicBezTo>
                <a:cubicBezTo>
                  <a:pt x="83" y="296"/>
                  <a:pt x="83" y="291"/>
                  <a:pt x="85" y="293"/>
                </a:cubicBezTo>
                <a:close/>
                <a:moveTo>
                  <a:pt x="84" y="332"/>
                </a:moveTo>
                <a:cubicBezTo>
                  <a:pt x="86" y="333"/>
                  <a:pt x="84" y="335"/>
                  <a:pt x="82" y="336"/>
                </a:cubicBezTo>
                <a:cubicBezTo>
                  <a:pt x="83" y="334"/>
                  <a:pt x="85" y="333"/>
                  <a:pt x="84" y="332"/>
                </a:cubicBezTo>
                <a:close/>
                <a:moveTo>
                  <a:pt x="83" y="441"/>
                </a:moveTo>
                <a:cubicBezTo>
                  <a:pt x="82" y="442"/>
                  <a:pt x="84" y="440"/>
                  <a:pt x="83" y="441"/>
                </a:cubicBezTo>
                <a:close/>
                <a:moveTo>
                  <a:pt x="84" y="423"/>
                </a:moveTo>
                <a:cubicBezTo>
                  <a:pt x="83" y="424"/>
                  <a:pt x="84" y="421"/>
                  <a:pt x="85" y="422"/>
                </a:cubicBezTo>
                <a:cubicBezTo>
                  <a:pt x="86" y="422"/>
                  <a:pt x="85" y="423"/>
                  <a:pt x="84" y="423"/>
                </a:cubicBezTo>
                <a:close/>
                <a:moveTo>
                  <a:pt x="88" y="356"/>
                </a:moveTo>
                <a:cubicBezTo>
                  <a:pt x="86" y="358"/>
                  <a:pt x="87" y="353"/>
                  <a:pt x="88" y="354"/>
                </a:cubicBezTo>
                <a:cubicBezTo>
                  <a:pt x="89" y="355"/>
                  <a:pt x="88" y="356"/>
                  <a:pt x="88" y="356"/>
                </a:cubicBezTo>
                <a:close/>
                <a:moveTo>
                  <a:pt x="96" y="325"/>
                </a:moveTo>
                <a:cubicBezTo>
                  <a:pt x="96" y="326"/>
                  <a:pt x="95" y="326"/>
                  <a:pt x="94" y="328"/>
                </a:cubicBezTo>
                <a:cubicBezTo>
                  <a:pt x="92" y="330"/>
                  <a:pt x="89" y="335"/>
                  <a:pt x="87" y="340"/>
                </a:cubicBezTo>
                <a:cubicBezTo>
                  <a:pt x="85" y="344"/>
                  <a:pt x="85" y="347"/>
                  <a:pt x="83" y="350"/>
                </a:cubicBezTo>
                <a:cubicBezTo>
                  <a:pt x="83" y="350"/>
                  <a:pt x="82" y="350"/>
                  <a:pt x="82" y="350"/>
                </a:cubicBezTo>
                <a:cubicBezTo>
                  <a:pt x="81" y="350"/>
                  <a:pt x="84" y="344"/>
                  <a:pt x="85" y="342"/>
                </a:cubicBezTo>
                <a:cubicBezTo>
                  <a:pt x="86" y="339"/>
                  <a:pt x="87" y="337"/>
                  <a:pt x="89" y="334"/>
                </a:cubicBezTo>
                <a:cubicBezTo>
                  <a:pt x="90" y="332"/>
                  <a:pt x="93" y="329"/>
                  <a:pt x="93" y="326"/>
                </a:cubicBezTo>
                <a:cubicBezTo>
                  <a:pt x="93" y="326"/>
                  <a:pt x="92" y="325"/>
                  <a:pt x="92" y="324"/>
                </a:cubicBezTo>
                <a:cubicBezTo>
                  <a:pt x="92" y="320"/>
                  <a:pt x="99" y="320"/>
                  <a:pt x="96" y="325"/>
                </a:cubicBezTo>
                <a:close/>
                <a:moveTo>
                  <a:pt x="96" y="227"/>
                </a:moveTo>
                <a:cubicBezTo>
                  <a:pt x="97" y="227"/>
                  <a:pt x="97" y="228"/>
                  <a:pt x="97" y="229"/>
                </a:cubicBezTo>
                <a:cubicBezTo>
                  <a:pt x="96" y="230"/>
                  <a:pt x="96" y="227"/>
                  <a:pt x="96" y="227"/>
                </a:cubicBezTo>
                <a:close/>
                <a:moveTo>
                  <a:pt x="98" y="402"/>
                </a:moveTo>
                <a:cubicBezTo>
                  <a:pt x="98" y="402"/>
                  <a:pt x="98" y="402"/>
                  <a:pt x="97" y="402"/>
                </a:cubicBezTo>
                <a:cubicBezTo>
                  <a:pt x="95" y="401"/>
                  <a:pt x="100" y="400"/>
                  <a:pt x="98" y="402"/>
                </a:cubicBezTo>
                <a:close/>
                <a:moveTo>
                  <a:pt x="99" y="416"/>
                </a:moveTo>
                <a:cubicBezTo>
                  <a:pt x="101" y="416"/>
                  <a:pt x="100" y="421"/>
                  <a:pt x="99" y="422"/>
                </a:cubicBezTo>
                <a:cubicBezTo>
                  <a:pt x="94" y="424"/>
                  <a:pt x="98" y="416"/>
                  <a:pt x="99" y="416"/>
                </a:cubicBezTo>
                <a:close/>
                <a:moveTo>
                  <a:pt x="101" y="433"/>
                </a:moveTo>
                <a:cubicBezTo>
                  <a:pt x="103" y="434"/>
                  <a:pt x="100" y="438"/>
                  <a:pt x="100" y="439"/>
                </a:cubicBezTo>
                <a:cubicBezTo>
                  <a:pt x="94" y="441"/>
                  <a:pt x="98" y="431"/>
                  <a:pt x="101" y="433"/>
                </a:cubicBezTo>
                <a:close/>
                <a:moveTo>
                  <a:pt x="100" y="444"/>
                </a:moveTo>
                <a:cubicBezTo>
                  <a:pt x="101" y="443"/>
                  <a:pt x="99" y="445"/>
                  <a:pt x="100" y="444"/>
                </a:cubicBezTo>
                <a:close/>
                <a:moveTo>
                  <a:pt x="102" y="444"/>
                </a:moveTo>
                <a:cubicBezTo>
                  <a:pt x="102" y="445"/>
                  <a:pt x="101" y="445"/>
                  <a:pt x="101" y="445"/>
                </a:cubicBezTo>
                <a:cubicBezTo>
                  <a:pt x="99" y="443"/>
                  <a:pt x="104" y="442"/>
                  <a:pt x="102" y="444"/>
                </a:cubicBezTo>
                <a:close/>
                <a:moveTo>
                  <a:pt x="102" y="431"/>
                </a:moveTo>
                <a:cubicBezTo>
                  <a:pt x="100" y="432"/>
                  <a:pt x="100" y="428"/>
                  <a:pt x="102" y="429"/>
                </a:cubicBezTo>
                <a:cubicBezTo>
                  <a:pt x="103" y="429"/>
                  <a:pt x="103" y="430"/>
                  <a:pt x="102" y="431"/>
                </a:cubicBezTo>
                <a:close/>
                <a:moveTo>
                  <a:pt x="103" y="445"/>
                </a:moveTo>
                <a:cubicBezTo>
                  <a:pt x="102" y="447"/>
                  <a:pt x="105" y="444"/>
                  <a:pt x="103" y="445"/>
                </a:cubicBezTo>
                <a:close/>
                <a:moveTo>
                  <a:pt x="104" y="399"/>
                </a:moveTo>
                <a:cubicBezTo>
                  <a:pt x="103" y="399"/>
                  <a:pt x="103" y="397"/>
                  <a:pt x="104" y="398"/>
                </a:cubicBezTo>
                <a:cubicBezTo>
                  <a:pt x="104" y="398"/>
                  <a:pt x="104" y="399"/>
                  <a:pt x="104" y="399"/>
                </a:cubicBezTo>
                <a:close/>
                <a:moveTo>
                  <a:pt x="104" y="288"/>
                </a:moveTo>
                <a:cubicBezTo>
                  <a:pt x="103" y="290"/>
                  <a:pt x="105" y="287"/>
                  <a:pt x="104" y="288"/>
                </a:cubicBezTo>
                <a:close/>
                <a:moveTo>
                  <a:pt x="105" y="307"/>
                </a:moveTo>
                <a:cubicBezTo>
                  <a:pt x="104" y="306"/>
                  <a:pt x="106" y="303"/>
                  <a:pt x="107" y="302"/>
                </a:cubicBezTo>
                <a:cubicBezTo>
                  <a:pt x="107" y="304"/>
                  <a:pt x="106" y="306"/>
                  <a:pt x="105" y="307"/>
                </a:cubicBezTo>
                <a:close/>
                <a:moveTo>
                  <a:pt x="106" y="414"/>
                </a:moveTo>
                <a:cubicBezTo>
                  <a:pt x="106" y="413"/>
                  <a:pt x="108" y="413"/>
                  <a:pt x="106" y="414"/>
                </a:cubicBezTo>
                <a:close/>
                <a:moveTo>
                  <a:pt x="108" y="455"/>
                </a:moveTo>
                <a:cubicBezTo>
                  <a:pt x="107" y="454"/>
                  <a:pt x="109" y="454"/>
                  <a:pt x="108" y="455"/>
                </a:cubicBezTo>
                <a:close/>
                <a:moveTo>
                  <a:pt x="107" y="441"/>
                </a:moveTo>
                <a:cubicBezTo>
                  <a:pt x="106" y="441"/>
                  <a:pt x="108" y="440"/>
                  <a:pt x="108" y="440"/>
                </a:cubicBezTo>
                <a:cubicBezTo>
                  <a:pt x="108" y="440"/>
                  <a:pt x="107" y="440"/>
                  <a:pt x="107" y="441"/>
                </a:cubicBezTo>
                <a:close/>
                <a:moveTo>
                  <a:pt x="108" y="388"/>
                </a:moveTo>
                <a:cubicBezTo>
                  <a:pt x="107" y="390"/>
                  <a:pt x="107" y="386"/>
                  <a:pt x="108" y="387"/>
                </a:cubicBezTo>
                <a:cubicBezTo>
                  <a:pt x="109" y="387"/>
                  <a:pt x="108" y="388"/>
                  <a:pt x="108" y="388"/>
                </a:cubicBezTo>
                <a:close/>
                <a:moveTo>
                  <a:pt x="109" y="420"/>
                </a:moveTo>
                <a:cubicBezTo>
                  <a:pt x="109" y="421"/>
                  <a:pt x="109" y="418"/>
                  <a:pt x="109" y="420"/>
                </a:cubicBezTo>
                <a:close/>
                <a:moveTo>
                  <a:pt x="108" y="301"/>
                </a:moveTo>
                <a:cubicBezTo>
                  <a:pt x="107" y="300"/>
                  <a:pt x="108" y="298"/>
                  <a:pt x="110" y="298"/>
                </a:cubicBezTo>
                <a:cubicBezTo>
                  <a:pt x="110" y="299"/>
                  <a:pt x="108" y="300"/>
                  <a:pt x="108" y="301"/>
                </a:cubicBezTo>
                <a:close/>
                <a:moveTo>
                  <a:pt x="110" y="401"/>
                </a:moveTo>
                <a:cubicBezTo>
                  <a:pt x="110" y="401"/>
                  <a:pt x="110" y="401"/>
                  <a:pt x="110" y="401"/>
                </a:cubicBezTo>
                <a:cubicBezTo>
                  <a:pt x="110" y="401"/>
                  <a:pt x="110" y="400"/>
                  <a:pt x="110" y="401"/>
                </a:cubicBezTo>
                <a:close/>
                <a:moveTo>
                  <a:pt x="69" y="513"/>
                </a:moveTo>
                <a:cubicBezTo>
                  <a:pt x="69" y="513"/>
                  <a:pt x="70" y="512"/>
                  <a:pt x="70" y="512"/>
                </a:cubicBezTo>
                <a:cubicBezTo>
                  <a:pt x="70" y="513"/>
                  <a:pt x="69" y="513"/>
                  <a:pt x="69" y="513"/>
                </a:cubicBezTo>
                <a:close/>
                <a:moveTo>
                  <a:pt x="73" y="498"/>
                </a:moveTo>
                <a:cubicBezTo>
                  <a:pt x="73" y="497"/>
                  <a:pt x="74" y="496"/>
                  <a:pt x="75" y="496"/>
                </a:cubicBezTo>
                <a:cubicBezTo>
                  <a:pt x="75" y="497"/>
                  <a:pt x="74" y="498"/>
                  <a:pt x="73" y="498"/>
                </a:cubicBezTo>
                <a:close/>
                <a:moveTo>
                  <a:pt x="76" y="499"/>
                </a:moveTo>
                <a:cubicBezTo>
                  <a:pt x="76" y="500"/>
                  <a:pt x="77" y="498"/>
                  <a:pt x="76" y="499"/>
                </a:cubicBezTo>
                <a:close/>
                <a:moveTo>
                  <a:pt x="87" y="502"/>
                </a:moveTo>
                <a:cubicBezTo>
                  <a:pt x="86" y="500"/>
                  <a:pt x="89" y="499"/>
                  <a:pt x="87" y="502"/>
                </a:cubicBezTo>
                <a:close/>
                <a:moveTo>
                  <a:pt x="100" y="477"/>
                </a:moveTo>
                <a:cubicBezTo>
                  <a:pt x="101" y="479"/>
                  <a:pt x="100" y="481"/>
                  <a:pt x="100" y="483"/>
                </a:cubicBezTo>
                <a:cubicBezTo>
                  <a:pt x="99" y="481"/>
                  <a:pt x="99" y="479"/>
                  <a:pt x="100" y="477"/>
                </a:cubicBezTo>
                <a:close/>
                <a:moveTo>
                  <a:pt x="100" y="502"/>
                </a:moveTo>
                <a:cubicBezTo>
                  <a:pt x="97" y="499"/>
                  <a:pt x="102" y="497"/>
                  <a:pt x="104" y="496"/>
                </a:cubicBezTo>
                <a:cubicBezTo>
                  <a:pt x="105" y="499"/>
                  <a:pt x="102" y="505"/>
                  <a:pt x="100" y="502"/>
                </a:cubicBezTo>
                <a:close/>
                <a:moveTo>
                  <a:pt x="144" y="546"/>
                </a:moveTo>
                <a:cubicBezTo>
                  <a:pt x="143" y="546"/>
                  <a:pt x="144" y="546"/>
                  <a:pt x="144" y="545"/>
                </a:cubicBezTo>
                <a:cubicBezTo>
                  <a:pt x="143" y="542"/>
                  <a:pt x="147" y="545"/>
                  <a:pt x="144" y="546"/>
                </a:cubicBezTo>
                <a:close/>
                <a:moveTo>
                  <a:pt x="196" y="598"/>
                </a:moveTo>
                <a:cubicBezTo>
                  <a:pt x="196" y="598"/>
                  <a:pt x="198" y="597"/>
                  <a:pt x="198" y="598"/>
                </a:cubicBezTo>
                <a:cubicBezTo>
                  <a:pt x="198" y="599"/>
                  <a:pt x="197" y="599"/>
                  <a:pt x="196" y="598"/>
                </a:cubicBezTo>
                <a:close/>
                <a:moveTo>
                  <a:pt x="199" y="607"/>
                </a:moveTo>
                <a:cubicBezTo>
                  <a:pt x="198" y="607"/>
                  <a:pt x="198" y="607"/>
                  <a:pt x="198" y="607"/>
                </a:cubicBezTo>
                <a:cubicBezTo>
                  <a:pt x="198" y="605"/>
                  <a:pt x="200" y="608"/>
                  <a:pt x="199" y="607"/>
                </a:cubicBezTo>
                <a:close/>
                <a:moveTo>
                  <a:pt x="203" y="609"/>
                </a:moveTo>
                <a:cubicBezTo>
                  <a:pt x="203" y="608"/>
                  <a:pt x="205" y="608"/>
                  <a:pt x="205" y="609"/>
                </a:cubicBezTo>
                <a:cubicBezTo>
                  <a:pt x="205" y="609"/>
                  <a:pt x="203" y="610"/>
                  <a:pt x="203" y="609"/>
                </a:cubicBezTo>
                <a:close/>
                <a:moveTo>
                  <a:pt x="208" y="600"/>
                </a:moveTo>
                <a:cubicBezTo>
                  <a:pt x="207" y="600"/>
                  <a:pt x="209" y="600"/>
                  <a:pt x="209" y="600"/>
                </a:cubicBezTo>
                <a:cubicBezTo>
                  <a:pt x="209" y="601"/>
                  <a:pt x="208" y="601"/>
                  <a:pt x="208" y="600"/>
                </a:cubicBezTo>
                <a:close/>
                <a:moveTo>
                  <a:pt x="226" y="627"/>
                </a:moveTo>
                <a:cubicBezTo>
                  <a:pt x="225" y="627"/>
                  <a:pt x="223" y="627"/>
                  <a:pt x="224" y="625"/>
                </a:cubicBezTo>
                <a:cubicBezTo>
                  <a:pt x="225" y="624"/>
                  <a:pt x="229" y="624"/>
                  <a:pt x="229" y="625"/>
                </a:cubicBezTo>
                <a:cubicBezTo>
                  <a:pt x="229" y="626"/>
                  <a:pt x="229" y="626"/>
                  <a:pt x="228" y="627"/>
                </a:cubicBezTo>
                <a:cubicBezTo>
                  <a:pt x="229" y="627"/>
                  <a:pt x="229" y="627"/>
                  <a:pt x="229" y="627"/>
                </a:cubicBezTo>
                <a:cubicBezTo>
                  <a:pt x="228" y="628"/>
                  <a:pt x="227" y="628"/>
                  <a:pt x="226" y="627"/>
                </a:cubicBezTo>
                <a:close/>
                <a:moveTo>
                  <a:pt x="229" y="628"/>
                </a:moveTo>
                <a:cubicBezTo>
                  <a:pt x="229" y="628"/>
                  <a:pt x="231" y="628"/>
                  <a:pt x="231" y="628"/>
                </a:cubicBezTo>
                <a:cubicBezTo>
                  <a:pt x="231" y="629"/>
                  <a:pt x="229" y="628"/>
                  <a:pt x="229" y="628"/>
                </a:cubicBezTo>
                <a:close/>
                <a:moveTo>
                  <a:pt x="228" y="653"/>
                </a:moveTo>
                <a:cubicBezTo>
                  <a:pt x="228" y="653"/>
                  <a:pt x="228" y="653"/>
                  <a:pt x="228" y="653"/>
                </a:cubicBezTo>
                <a:cubicBezTo>
                  <a:pt x="228" y="653"/>
                  <a:pt x="228" y="652"/>
                  <a:pt x="228" y="653"/>
                </a:cubicBezTo>
                <a:close/>
                <a:moveTo>
                  <a:pt x="213" y="659"/>
                </a:moveTo>
                <a:cubicBezTo>
                  <a:pt x="213" y="659"/>
                  <a:pt x="213" y="659"/>
                  <a:pt x="213" y="659"/>
                </a:cubicBezTo>
                <a:cubicBezTo>
                  <a:pt x="213" y="659"/>
                  <a:pt x="213" y="659"/>
                  <a:pt x="213" y="659"/>
                </a:cubicBezTo>
                <a:close/>
                <a:moveTo>
                  <a:pt x="213" y="659"/>
                </a:moveTo>
                <a:cubicBezTo>
                  <a:pt x="214" y="659"/>
                  <a:pt x="213" y="659"/>
                  <a:pt x="213" y="659"/>
                </a:cubicBezTo>
                <a:close/>
                <a:moveTo>
                  <a:pt x="213" y="657"/>
                </a:moveTo>
                <a:cubicBezTo>
                  <a:pt x="213" y="656"/>
                  <a:pt x="214" y="656"/>
                  <a:pt x="214" y="656"/>
                </a:cubicBezTo>
                <a:cubicBezTo>
                  <a:pt x="215" y="657"/>
                  <a:pt x="214" y="657"/>
                  <a:pt x="213" y="657"/>
                </a:cubicBezTo>
                <a:close/>
                <a:moveTo>
                  <a:pt x="216" y="659"/>
                </a:moveTo>
                <a:cubicBezTo>
                  <a:pt x="216" y="658"/>
                  <a:pt x="216" y="657"/>
                  <a:pt x="217" y="658"/>
                </a:cubicBezTo>
                <a:cubicBezTo>
                  <a:pt x="216" y="658"/>
                  <a:pt x="218" y="660"/>
                  <a:pt x="218" y="660"/>
                </a:cubicBezTo>
                <a:cubicBezTo>
                  <a:pt x="217" y="661"/>
                  <a:pt x="215" y="661"/>
                  <a:pt x="216" y="659"/>
                </a:cubicBezTo>
                <a:close/>
                <a:moveTo>
                  <a:pt x="223" y="655"/>
                </a:moveTo>
                <a:cubicBezTo>
                  <a:pt x="222" y="654"/>
                  <a:pt x="224" y="654"/>
                  <a:pt x="224" y="655"/>
                </a:cubicBezTo>
                <a:cubicBezTo>
                  <a:pt x="224" y="655"/>
                  <a:pt x="223" y="655"/>
                  <a:pt x="223" y="655"/>
                </a:cubicBezTo>
                <a:close/>
                <a:moveTo>
                  <a:pt x="218" y="655"/>
                </a:moveTo>
                <a:cubicBezTo>
                  <a:pt x="217" y="655"/>
                  <a:pt x="214" y="653"/>
                  <a:pt x="215" y="651"/>
                </a:cubicBezTo>
                <a:cubicBezTo>
                  <a:pt x="216" y="650"/>
                  <a:pt x="220" y="648"/>
                  <a:pt x="222" y="648"/>
                </a:cubicBezTo>
                <a:cubicBezTo>
                  <a:pt x="223" y="649"/>
                  <a:pt x="224" y="649"/>
                  <a:pt x="224" y="650"/>
                </a:cubicBezTo>
                <a:cubicBezTo>
                  <a:pt x="224" y="650"/>
                  <a:pt x="226" y="648"/>
                  <a:pt x="225" y="650"/>
                </a:cubicBezTo>
                <a:cubicBezTo>
                  <a:pt x="225" y="650"/>
                  <a:pt x="223" y="651"/>
                  <a:pt x="223" y="652"/>
                </a:cubicBezTo>
                <a:cubicBezTo>
                  <a:pt x="224" y="652"/>
                  <a:pt x="225" y="651"/>
                  <a:pt x="225" y="652"/>
                </a:cubicBezTo>
                <a:cubicBezTo>
                  <a:pt x="224" y="652"/>
                  <a:pt x="221" y="655"/>
                  <a:pt x="218" y="655"/>
                </a:cubicBezTo>
                <a:close/>
                <a:moveTo>
                  <a:pt x="227" y="665"/>
                </a:moveTo>
                <a:cubicBezTo>
                  <a:pt x="223" y="666"/>
                  <a:pt x="226" y="661"/>
                  <a:pt x="228" y="662"/>
                </a:cubicBezTo>
                <a:cubicBezTo>
                  <a:pt x="229" y="664"/>
                  <a:pt x="228" y="664"/>
                  <a:pt x="227" y="665"/>
                </a:cubicBezTo>
                <a:close/>
                <a:moveTo>
                  <a:pt x="228" y="654"/>
                </a:moveTo>
                <a:cubicBezTo>
                  <a:pt x="227" y="653"/>
                  <a:pt x="230" y="655"/>
                  <a:pt x="228" y="654"/>
                </a:cubicBezTo>
                <a:close/>
                <a:moveTo>
                  <a:pt x="229" y="639"/>
                </a:moveTo>
                <a:cubicBezTo>
                  <a:pt x="228" y="638"/>
                  <a:pt x="231" y="638"/>
                  <a:pt x="231" y="639"/>
                </a:cubicBezTo>
                <a:cubicBezTo>
                  <a:pt x="231" y="639"/>
                  <a:pt x="230" y="640"/>
                  <a:pt x="229" y="639"/>
                </a:cubicBezTo>
                <a:close/>
                <a:moveTo>
                  <a:pt x="215" y="675"/>
                </a:moveTo>
                <a:cubicBezTo>
                  <a:pt x="216" y="673"/>
                  <a:pt x="216" y="675"/>
                  <a:pt x="215" y="675"/>
                </a:cubicBezTo>
                <a:close/>
                <a:moveTo>
                  <a:pt x="219" y="676"/>
                </a:moveTo>
                <a:cubicBezTo>
                  <a:pt x="220" y="675"/>
                  <a:pt x="221" y="676"/>
                  <a:pt x="223" y="676"/>
                </a:cubicBezTo>
                <a:cubicBezTo>
                  <a:pt x="221" y="676"/>
                  <a:pt x="220" y="677"/>
                  <a:pt x="219" y="676"/>
                </a:cubicBezTo>
                <a:close/>
                <a:moveTo>
                  <a:pt x="226" y="676"/>
                </a:moveTo>
                <a:cubicBezTo>
                  <a:pt x="226" y="675"/>
                  <a:pt x="228" y="675"/>
                  <a:pt x="228" y="675"/>
                </a:cubicBezTo>
                <a:cubicBezTo>
                  <a:pt x="228" y="676"/>
                  <a:pt x="226" y="676"/>
                  <a:pt x="226" y="676"/>
                </a:cubicBezTo>
                <a:close/>
                <a:moveTo>
                  <a:pt x="229" y="676"/>
                </a:moveTo>
                <a:cubicBezTo>
                  <a:pt x="229" y="675"/>
                  <a:pt x="230" y="676"/>
                  <a:pt x="230" y="676"/>
                </a:cubicBezTo>
                <a:cubicBezTo>
                  <a:pt x="230" y="676"/>
                  <a:pt x="229" y="677"/>
                  <a:pt x="229" y="676"/>
                </a:cubicBezTo>
                <a:close/>
                <a:moveTo>
                  <a:pt x="234" y="679"/>
                </a:moveTo>
                <a:cubicBezTo>
                  <a:pt x="234" y="678"/>
                  <a:pt x="235" y="678"/>
                  <a:pt x="235" y="678"/>
                </a:cubicBezTo>
                <a:cubicBezTo>
                  <a:pt x="236" y="679"/>
                  <a:pt x="234" y="679"/>
                  <a:pt x="234" y="679"/>
                </a:cubicBezTo>
                <a:close/>
                <a:moveTo>
                  <a:pt x="248" y="692"/>
                </a:moveTo>
                <a:cubicBezTo>
                  <a:pt x="248" y="691"/>
                  <a:pt x="250" y="691"/>
                  <a:pt x="250" y="691"/>
                </a:cubicBezTo>
                <a:cubicBezTo>
                  <a:pt x="251" y="692"/>
                  <a:pt x="249" y="692"/>
                  <a:pt x="248" y="692"/>
                </a:cubicBezTo>
                <a:close/>
                <a:moveTo>
                  <a:pt x="349" y="41"/>
                </a:moveTo>
                <a:cubicBezTo>
                  <a:pt x="348" y="41"/>
                  <a:pt x="345" y="42"/>
                  <a:pt x="344" y="41"/>
                </a:cubicBezTo>
                <a:cubicBezTo>
                  <a:pt x="344" y="40"/>
                  <a:pt x="348" y="40"/>
                  <a:pt x="349" y="41"/>
                </a:cubicBezTo>
                <a:close/>
                <a:moveTo>
                  <a:pt x="343" y="7"/>
                </a:moveTo>
                <a:cubicBezTo>
                  <a:pt x="344" y="6"/>
                  <a:pt x="345" y="8"/>
                  <a:pt x="343" y="7"/>
                </a:cubicBezTo>
                <a:close/>
                <a:moveTo>
                  <a:pt x="342" y="38"/>
                </a:moveTo>
                <a:cubicBezTo>
                  <a:pt x="341" y="38"/>
                  <a:pt x="340" y="37"/>
                  <a:pt x="339" y="38"/>
                </a:cubicBezTo>
                <a:cubicBezTo>
                  <a:pt x="339" y="37"/>
                  <a:pt x="341" y="37"/>
                  <a:pt x="342" y="38"/>
                </a:cubicBezTo>
                <a:close/>
                <a:moveTo>
                  <a:pt x="335" y="37"/>
                </a:moveTo>
                <a:cubicBezTo>
                  <a:pt x="336" y="36"/>
                  <a:pt x="337" y="39"/>
                  <a:pt x="335" y="37"/>
                </a:cubicBezTo>
                <a:close/>
                <a:moveTo>
                  <a:pt x="336" y="97"/>
                </a:move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5" y="96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lose/>
                <a:moveTo>
                  <a:pt x="316" y="49"/>
                </a:moveTo>
                <a:cubicBezTo>
                  <a:pt x="316" y="49"/>
                  <a:pt x="313" y="50"/>
                  <a:pt x="313" y="49"/>
                </a:cubicBezTo>
                <a:cubicBezTo>
                  <a:pt x="312" y="49"/>
                  <a:pt x="315" y="48"/>
                  <a:pt x="316" y="49"/>
                </a:cubicBezTo>
                <a:close/>
                <a:moveTo>
                  <a:pt x="321" y="108"/>
                </a:moveTo>
                <a:cubicBezTo>
                  <a:pt x="319" y="109"/>
                  <a:pt x="315" y="112"/>
                  <a:pt x="311" y="111"/>
                </a:cubicBezTo>
                <a:cubicBezTo>
                  <a:pt x="314" y="109"/>
                  <a:pt x="317" y="109"/>
                  <a:pt x="321" y="108"/>
                </a:cubicBezTo>
                <a:close/>
                <a:moveTo>
                  <a:pt x="320" y="636"/>
                </a:moveTo>
                <a:cubicBezTo>
                  <a:pt x="319" y="636"/>
                  <a:pt x="320" y="635"/>
                  <a:pt x="320" y="635"/>
                </a:cubicBezTo>
                <a:cubicBezTo>
                  <a:pt x="321" y="635"/>
                  <a:pt x="320" y="636"/>
                  <a:pt x="320" y="636"/>
                </a:cubicBezTo>
                <a:close/>
                <a:moveTo>
                  <a:pt x="319" y="620"/>
                </a:moveTo>
                <a:cubicBezTo>
                  <a:pt x="319" y="620"/>
                  <a:pt x="318" y="620"/>
                  <a:pt x="317" y="620"/>
                </a:cubicBezTo>
                <a:cubicBezTo>
                  <a:pt x="318" y="620"/>
                  <a:pt x="319" y="619"/>
                  <a:pt x="319" y="620"/>
                </a:cubicBezTo>
                <a:close/>
                <a:moveTo>
                  <a:pt x="318" y="614"/>
                </a:moveTo>
                <a:cubicBezTo>
                  <a:pt x="317" y="613"/>
                  <a:pt x="319" y="615"/>
                  <a:pt x="318" y="614"/>
                </a:cubicBezTo>
                <a:close/>
                <a:moveTo>
                  <a:pt x="313" y="137"/>
                </a:moveTo>
                <a:cubicBezTo>
                  <a:pt x="312" y="140"/>
                  <a:pt x="312" y="135"/>
                  <a:pt x="312" y="137"/>
                </a:cubicBezTo>
                <a:cubicBezTo>
                  <a:pt x="312" y="137"/>
                  <a:pt x="313" y="137"/>
                  <a:pt x="313" y="137"/>
                </a:cubicBezTo>
                <a:close/>
                <a:moveTo>
                  <a:pt x="311" y="41"/>
                </a:moveTo>
                <a:cubicBezTo>
                  <a:pt x="310" y="42"/>
                  <a:pt x="309" y="40"/>
                  <a:pt x="311" y="41"/>
                </a:cubicBezTo>
                <a:close/>
                <a:moveTo>
                  <a:pt x="309" y="527"/>
                </a:moveTo>
                <a:cubicBezTo>
                  <a:pt x="309" y="528"/>
                  <a:pt x="306" y="529"/>
                  <a:pt x="306" y="527"/>
                </a:cubicBezTo>
                <a:cubicBezTo>
                  <a:pt x="306" y="525"/>
                  <a:pt x="309" y="526"/>
                  <a:pt x="309" y="527"/>
                </a:cubicBezTo>
                <a:close/>
                <a:moveTo>
                  <a:pt x="307" y="61"/>
                </a:moveTo>
                <a:cubicBezTo>
                  <a:pt x="306" y="60"/>
                  <a:pt x="308" y="61"/>
                  <a:pt x="307" y="61"/>
                </a:cubicBezTo>
                <a:close/>
                <a:moveTo>
                  <a:pt x="293" y="53"/>
                </a:moveTo>
                <a:cubicBezTo>
                  <a:pt x="298" y="52"/>
                  <a:pt x="304" y="52"/>
                  <a:pt x="309" y="51"/>
                </a:cubicBezTo>
                <a:cubicBezTo>
                  <a:pt x="304" y="53"/>
                  <a:pt x="299" y="53"/>
                  <a:pt x="293" y="53"/>
                </a:cubicBezTo>
                <a:close/>
                <a:moveTo>
                  <a:pt x="282" y="662"/>
                </a:moveTo>
                <a:cubicBezTo>
                  <a:pt x="281" y="662"/>
                  <a:pt x="279" y="663"/>
                  <a:pt x="277" y="663"/>
                </a:cubicBezTo>
                <a:cubicBezTo>
                  <a:pt x="279" y="662"/>
                  <a:pt x="281" y="661"/>
                  <a:pt x="282" y="662"/>
                </a:cubicBezTo>
                <a:close/>
                <a:moveTo>
                  <a:pt x="278" y="582"/>
                </a:moveTo>
                <a:cubicBezTo>
                  <a:pt x="278" y="581"/>
                  <a:pt x="280" y="581"/>
                  <a:pt x="279" y="582"/>
                </a:cubicBezTo>
                <a:cubicBezTo>
                  <a:pt x="279" y="582"/>
                  <a:pt x="279" y="582"/>
                  <a:pt x="278" y="582"/>
                </a:cubicBezTo>
                <a:close/>
                <a:moveTo>
                  <a:pt x="282" y="582"/>
                </a:moveTo>
                <a:cubicBezTo>
                  <a:pt x="282" y="582"/>
                  <a:pt x="280" y="583"/>
                  <a:pt x="280" y="581"/>
                </a:cubicBezTo>
                <a:cubicBezTo>
                  <a:pt x="280" y="580"/>
                  <a:pt x="282" y="581"/>
                  <a:pt x="282" y="582"/>
                </a:cubicBezTo>
                <a:close/>
                <a:moveTo>
                  <a:pt x="281" y="574"/>
                </a:moveTo>
                <a:cubicBezTo>
                  <a:pt x="281" y="575"/>
                  <a:pt x="280" y="575"/>
                  <a:pt x="280" y="574"/>
                </a:cubicBezTo>
                <a:cubicBezTo>
                  <a:pt x="279" y="574"/>
                  <a:pt x="281" y="573"/>
                  <a:pt x="281" y="574"/>
                </a:cubicBezTo>
                <a:close/>
                <a:moveTo>
                  <a:pt x="294" y="551"/>
                </a:moveTo>
                <a:cubicBezTo>
                  <a:pt x="291" y="553"/>
                  <a:pt x="287" y="555"/>
                  <a:pt x="285" y="556"/>
                </a:cubicBezTo>
                <a:cubicBezTo>
                  <a:pt x="285" y="556"/>
                  <a:pt x="283" y="557"/>
                  <a:pt x="284" y="556"/>
                </a:cubicBezTo>
                <a:cubicBezTo>
                  <a:pt x="286" y="553"/>
                  <a:pt x="291" y="553"/>
                  <a:pt x="294" y="551"/>
                </a:cubicBezTo>
                <a:close/>
                <a:moveTo>
                  <a:pt x="286" y="536"/>
                </a:moveTo>
                <a:cubicBezTo>
                  <a:pt x="286" y="535"/>
                  <a:pt x="286" y="536"/>
                  <a:pt x="286" y="536"/>
                </a:cubicBezTo>
                <a:cubicBezTo>
                  <a:pt x="285" y="536"/>
                  <a:pt x="286" y="535"/>
                  <a:pt x="286" y="536"/>
                </a:cubicBezTo>
                <a:close/>
                <a:moveTo>
                  <a:pt x="287" y="536"/>
                </a:moveTo>
                <a:cubicBezTo>
                  <a:pt x="287" y="534"/>
                  <a:pt x="289" y="534"/>
                  <a:pt x="289" y="536"/>
                </a:cubicBezTo>
                <a:cubicBezTo>
                  <a:pt x="289" y="537"/>
                  <a:pt x="287" y="536"/>
                  <a:pt x="287" y="536"/>
                </a:cubicBezTo>
                <a:close/>
                <a:moveTo>
                  <a:pt x="290" y="512"/>
                </a:moveTo>
                <a:cubicBezTo>
                  <a:pt x="291" y="510"/>
                  <a:pt x="293" y="509"/>
                  <a:pt x="294" y="508"/>
                </a:cubicBezTo>
                <a:cubicBezTo>
                  <a:pt x="294" y="509"/>
                  <a:pt x="292" y="510"/>
                  <a:pt x="290" y="512"/>
                </a:cubicBezTo>
                <a:close/>
                <a:moveTo>
                  <a:pt x="290" y="550"/>
                </a:moveTo>
                <a:cubicBezTo>
                  <a:pt x="290" y="549"/>
                  <a:pt x="291" y="548"/>
                  <a:pt x="292" y="549"/>
                </a:cubicBezTo>
                <a:cubicBezTo>
                  <a:pt x="292" y="550"/>
                  <a:pt x="290" y="551"/>
                  <a:pt x="290" y="550"/>
                </a:cubicBezTo>
                <a:close/>
                <a:moveTo>
                  <a:pt x="287" y="638"/>
                </a:moveTo>
                <a:cubicBezTo>
                  <a:pt x="288" y="637"/>
                  <a:pt x="289" y="637"/>
                  <a:pt x="290" y="637"/>
                </a:cubicBezTo>
                <a:cubicBezTo>
                  <a:pt x="289" y="637"/>
                  <a:pt x="288" y="638"/>
                  <a:pt x="287" y="638"/>
                </a:cubicBezTo>
                <a:close/>
                <a:moveTo>
                  <a:pt x="290" y="640"/>
                </a:moveTo>
                <a:cubicBezTo>
                  <a:pt x="289" y="641"/>
                  <a:pt x="288" y="640"/>
                  <a:pt x="287" y="641"/>
                </a:cubicBezTo>
                <a:cubicBezTo>
                  <a:pt x="287" y="640"/>
                  <a:pt x="289" y="639"/>
                  <a:pt x="290" y="640"/>
                </a:cubicBezTo>
                <a:close/>
                <a:moveTo>
                  <a:pt x="292" y="594"/>
                </a:moveTo>
                <a:cubicBezTo>
                  <a:pt x="292" y="595"/>
                  <a:pt x="288" y="596"/>
                  <a:pt x="288" y="593"/>
                </a:cubicBezTo>
                <a:cubicBezTo>
                  <a:pt x="288" y="591"/>
                  <a:pt x="292" y="592"/>
                  <a:pt x="292" y="594"/>
                </a:cubicBezTo>
                <a:close/>
                <a:moveTo>
                  <a:pt x="288" y="573"/>
                </a:moveTo>
                <a:cubicBezTo>
                  <a:pt x="288" y="572"/>
                  <a:pt x="290" y="571"/>
                  <a:pt x="291" y="571"/>
                </a:cubicBezTo>
                <a:cubicBezTo>
                  <a:pt x="290" y="572"/>
                  <a:pt x="289" y="572"/>
                  <a:pt x="288" y="573"/>
                </a:cubicBezTo>
                <a:close/>
                <a:moveTo>
                  <a:pt x="292" y="571"/>
                </a:moveTo>
                <a:cubicBezTo>
                  <a:pt x="292" y="570"/>
                  <a:pt x="293" y="569"/>
                  <a:pt x="294" y="570"/>
                </a:cubicBezTo>
                <a:cubicBezTo>
                  <a:pt x="294" y="571"/>
                  <a:pt x="292" y="571"/>
                  <a:pt x="292" y="571"/>
                </a:cubicBezTo>
                <a:close/>
                <a:moveTo>
                  <a:pt x="293" y="594"/>
                </a:moveTo>
                <a:cubicBezTo>
                  <a:pt x="293" y="596"/>
                  <a:pt x="291" y="595"/>
                  <a:pt x="293" y="594"/>
                </a:cubicBezTo>
                <a:close/>
                <a:moveTo>
                  <a:pt x="291" y="595"/>
                </a:moveTo>
                <a:cubicBezTo>
                  <a:pt x="290" y="597"/>
                  <a:pt x="288" y="596"/>
                  <a:pt x="291" y="595"/>
                </a:cubicBezTo>
                <a:close/>
                <a:moveTo>
                  <a:pt x="290" y="625"/>
                </a:moveTo>
                <a:cubicBezTo>
                  <a:pt x="291" y="626"/>
                  <a:pt x="290" y="625"/>
                  <a:pt x="290" y="625"/>
                </a:cubicBezTo>
                <a:cubicBezTo>
                  <a:pt x="290" y="625"/>
                  <a:pt x="290" y="625"/>
                  <a:pt x="290" y="625"/>
                </a:cubicBezTo>
                <a:close/>
                <a:moveTo>
                  <a:pt x="289" y="602"/>
                </a:moveTo>
                <a:cubicBezTo>
                  <a:pt x="289" y="601"/>
                  <a:pt x="292" y="601"/>
                  <a:pt x="293" y="601"/>
                </a:cubicBezTo>
                <a:cubicBezTo>
                  <a:pt x="292" y="602"/>
                  <a:pt x="290" y="602"/>
                  <a:pt x="289" y="602"/>
                </a:cubicBezTo>
                <a:close/>
                <a:moveTo>
                  <a:pt x="291" y="634"/>
                </a:moveTo>
                <a:cubicBezTo>
                  <a:pt x="292" y="634"/>
                  <a:pt x="293" y="634"/>
                  <a:pt x="292" y="635"/>
                </a:cubicBezTo>
                <a:cubicBezTo>
                  <a:pt x="292" y="636"/>
                  <a:pt x="291" y="635"/>
                  <a:pt x="291" y="634"/>
                </a:cubicBezTo>
                <a:close/>
                <a:moveTo>
                  <a:pt x="295" y="635"/>
                </a:moveTo>
                <a:cubicBezTo>
                  <a:pt x="294" y="636"/>
                  <a:pt x="293" y="637"/>
                  <a:pt x="291" y="636"/>
                </a:cubicBezTo>
                <a:cubicBezTo>
                  <a:pt x="292" y="636"/>
                  <a:pt x="294" y="636"/>
                  <a:pt x="295" y="635"/>
                </a:cubicBezTo>
                <a:close/>
                <a:moveTo>
                  <a:pt x="293" y="583"/>
                </a:moveTo>
                <a:cubicBezTo>
                  <a:pt x="293" y="583"/>
                  <a:pt x="294" y="583"/>
                  <a:pt x="294" y="583"/>
                </a:cubicBezTo>
                <a:cubicBezTo>
                  <a:pt x="295" y="584"/>
                  <a:pt x="293" y="585"/>
                  <a:pt x="293" y="583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538"/>
                </a:moveTo>
                <a:cubicBezTo>
                  <a:pt x="283" y="538"/>
                  <a:pt x="284" y="537"/>
                  <a:pt x="284" y="537"/>
                </a:cubicBezTo>
                <a:cubicBezTo>
                  <a:pt x="285" y="537"/>
                  <a:pt x="284" y="538"/>
                  <a:pt x="284" y="538"/>
                </a:cubicBezTo>
                <a:close/>
                <a:moveTo>
                  <a:pt x="285" y="588"/>
                </a:moveTo>
                <a:cubicBezTo>
                  <a:pt x="284" y="589"/>
                  <a:pt x="283" y="589"/>
                  <a:pt x="282" y="590"/>
                </a:cubicBezTo>
                <a:cubicBezTo>
                  <a:pt x="282" y="590"/>
                  <a:pt x="284" y="588"/>
                  <a:pt x="285" y="588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612"/>
                </a:moveTo>
                <a:cubicBezTo>
                  <a:pt x="281" y="614"/>
                  <a:pt x="281" y="612"/>
                  <a:pt x="284" y="612"/>
                </a:cubicBezTo>
                <a:close/>
                <a:moveTo>
                  <a:pt x="283" y="648"/>
                </a:moveTo>
                <a:cubicBezTo>
                  <a:pt x="284" y="645"/>
                  <a:pt x="286" y="647"/>
                  <a:pt x="283" y="648"/>
                </a:cubicBezTo>
                <a:close/>
                <a:moveTo>
                  <a:pt x="287" y="661"/>
                </a:moveTo>
                <a:cubicBezTo>
                  <a:pt x="287" y="661"/>
                  <a:pt x="285" y="662"/>
                  <a:pt x="284" y="662"/>
                </a:cubicBezTo>
                <a:cubicBezTo>
                  <a:pt x="284" y="661"/>
                  <a:pt x="287" y="660"/>
                  <a:pt x="287" y="661"/>
                </a:cubicBezTo>
                <a:close/>
                <a:moveTo>
                  <a:pt x="288" y="667"/>
                </a:moveTo>
                <a:cubicBezTo>
                  <a:pt x="288" y="668"/>
                  <a:pt x="286" y="668"/>
                  <a:pt x="286" y="667"/>
                </a:cubicBezTo>
                <a:cubicBezTo>
                  <a:pt x="285" y="666"/>
                  <a:pt x="288" y="666"/>
                  <a:pt x="288" y="667"/>
                </a:cubicBezTo>
                <a:close/>
                <a:moveTo>
                  <a:pt x="287" y="650"/>
                </a:moveTo>
                <a:cubicBezTo>
                  <a:pt x="287" y="648"/>
                  <a:pt x="290" y="647"/>
                  <a:pt x="291" y="649"/>
                </a:cubicBezTo>
                <a:cubicBezTo>
                  <a:pt x="295" y="653"/>
                  <a:pt x="286" y="654"/>
                  <a:pt x="287" y="650"/>
                </a:cubicBezTo>
                <a:close/>
                <a:moveTo>
                  <a:pt x="292" y="691"/>
                </a:moveTo>
                <a:cubicBezTo>
                  <a:pt x="292" y="691"/>
                  <a:pt x="292" y="691"/>
                  <a:pt x="292" y="691"/>
                </a:cubicBezTo>
                <a:cubicBezTo>
                  <a:pt x="292" y="689"/>
                  <a:pt x="294" y="692"/>
                  <a:pt x="292" y="691"/>
                </a:cubicBezTo>
                <a:close/>
                <a:moveTo>
                  <a:pt x="292" y="646"/>
                </a:moveTo>
                <a:cubicBezTo>
                  <a:pt x="290" y="644"/>
                  <a:pt x="297" y="643"/>
                  <a:pt x="294" y="646"/>
                </a:cubicBezTo>
                <a:cubicBezTo>
                  <a:pt x="294" y="646"/>
                  <a:pt x="293" y="646"/>
                  <a:pt x="292" y="646"/>
                </a:cubicBezTo>
                <a:close/>
                <a:moveTo>
                  <a:pt x="294" y="600"/>
                </a:moveTo>
                <a:cubicBezTo>
                  <a:pt x="294" y="600"/>
                  <a:pt x="296" y="599"/>
                  <a:pt x="297" y="599"/>
                </a:cubicBezTo>
                <a:cubicBezTo>
                  <a:pt x="296" y="600"/>
                  <a:pt x="295" y="600"/>
                  <a:pt x="294" y="600"/>
                </a:cubicBezTo>
                <a:close/>
                <a:moveTo>
                  <a:pt x="293" y="530"/>
                </a:moveTo>
                <a:cubicBezTo>
                  <a:pt x="294" y="529"/>
                  <a:pt x="296" y="528"/>
                  <a:pt x="297" y="530"/>
                </a:cubicBezTo>
                <a:cubicBezTo>
                  <a:pt x="298" y="532"/>
                  <a:pt x="293" y="534"/>
                  <a:pt x="293" y="530"/>
                </a:cubicBezTo>
                <a:close/>
                <a:moveTo>
                  <a:pt x="303" y="581"/>
                </a:moveTo>
                <a:cubicBezTo>
                  <a:pt x="303" y="584"/>
                  <a:pt x="298" y="584"/>
                  <a:pt x="297" y="581"/>
                </a:cubicBezTo>
                <a:cubicBezTo>
                  <a:pt x="297" y="578"/>
                  <a:pt x="303" y="579"/>
                  <a:pt x="303" y="581"/>
                </a:cubicBezTo>
                <a:close/>
                <a:moveTo>
                  <a:pt x="298" y="504"/>
                </a:moveTo>
                <a:cubicBezTo>
                  <a:pt x="298" y="503"/>
                  <a:pt x="300" y="504"/>
                  <a:pt x="298" y="504"/>
                </a:cubicBezTo>
                <a:close/>
                <a:moveTo>
                  <a:pt x="300" y="102"/>
                </a:moveTo>
                <a:cubicBezTo>
                  <a:pt x="298" y="103"/>
                  <a:pt x="297" y="101"/>
                  <a:pt x="300" y="102"/>
                </a:cubicBezTo>
                <a:close/>
                <a:moveTo>
                  <a:pt x="299" y="578"/>
                </a:moveTo>
                <a:cubicBezTo>
                  <a:pt x="299" y="578"/>
                  <a:pt x="298" y="579"/>
                  <a:pt x="298" y="578"/>
                </a:cubicBezTo>
                <a:cubicBezTo>
                  <a:pt x="297" y="577"/>
                  <a:pt x="300" y="577"/>
                  <a:pt x="299" y="578"/>
                </a:cubicBezTo>
                <a:close/>
                <a:moveTo>
                  <a:pt x="303" y="67"/>
                </a:moveTo>
                <a:cubicBezTo>
                  <a:pt x="302" y="69"/>
                  <a:pt x="302" y="67"/>
                  <a:pt x="303" y="67"/>
                </a:cubicBezTo>
                <a:close/>
                <a:moveTo>
                  <a:pt x="304" y="592"/>
                </a:moveTo>
                <a:cubicBezTo>
                  <a:pt x="304" y="593"/>
                  <a:pt x="301" y="593"/>
                  <a:pt x="300" y="594"/>
                </a:cubicBezTo>
                <a:cubicBezTo>
                  <a:pt x="301" y="593"/>
                  <a:pt x="303" y="592"/>
                  <a:pt x="304" y="592"/>
                </a:cubicBezTo>
                <a:close/>
                <a:moveTo>
                  <a:pt x="304" y="660"/>
                </a:moveTo>
                <a:cubicBezTo>
                  <a:pt x="304" y="661"/>
                  <a:pt x="304" y="662"/>
                  <a:pt x="304" y="662"/>
                </a:cubicBezTo>
                <a:cubicBezTo>
                  <a:pt x="302" y="664"/>
                  <a:pt x="301" y="659"/>
                  <a:pt x="304" y="660"/>
                </a:cubicBezTo>
                <a:close/>
                <a:moveTo>
                  <a:pt x="308" y="41"/>
                </a:moveTo>
                <a:cubicBezTo>
                  <a:pt x="308" y="41"/>
                  <a:pt x="307" y="42"/>
                  <a:pt x="307" y="42"/>
                </a:cubicBezTo>
                <a:cubicBezTo>
                  <a:pt x="306" y="42"/>
                  <a:pt x="307" y="41"/>
                  <a:pt x="308" y="41"/>
                </a:cubicBezTo>
                <a:close/>
                <a:moveTo>
                  <a:pt x="298" y="26"/>
                </a:moveTo>
                <a:cubicBezTo>
                  <a:pt x="300" y="25"/>
                  <a:pt x="300" y="27"/>
                  <a:pt x="298" y="26"/>
                </a:cubicBezTo>
                <a:close/>
                <a:moveTo>
                  <a:pt x="299" y="30"/>
                </a:moveTo>
                <a:cubicBezTo>
                  <a:pt x="297" y="31"/>
                  <a:pt x="295" y="30"/>
                  <a:pt x="293" y="30"/>
                </a:cubicBezTo>
                <a:cubicBezTo>
                  <a:pt x="295" y="29"/>
                  <a:pt x="297" y="29"/>
                  <a:pt x="299" y="30"/>
                </a:cubicBezTo>
                <a:close/>
                <a:moveTo>
                  <a:pt x="291" y="53"/>
                </a:moveTo>
                <a:cubicBezTo>
                  <a:pt x="287" y="54"/>
                  <a:pt x="283" y="55"/>
                  <a:pt x="279" y="55"/>
                </a:cubicBezTo>
                <a:cubicBezTo>
                  <a:pt x="283" y="54"/>
                  <a:pt x="287" y="53"/>
                  <a:pt x="291" y="53"/>
                </a:cubicBezTo>
                <a:close/>
                <a:moveTo>
                  <a:pt x="288" y="513"/>
                </a:moveTo>
                <a:cubicBezTo>
                  <a:pt x="287" y="513"/>
                  <a:pt x="290" y="512"/>
                  <a:pt x="289" y="512"/>
                </a:cubicBezTo>
                <a:cubicBezTo>
                  <a:pt x="290" y="512"/>
                  <a:pt x="289" y="514"/>
                  <a:pt x="288" y="513"/>
                </a:cubicBezTo>
                <a:close/>
                <a:moveTo>
                  <a:pt x="282" y="526"/>
                </a:moveTo>
                <a:cubicBezTo>
                  <a:pt x="282" y="526"/>
                  <a:pt x="281" y="527"/>
                  <a:pt x="280" y="526"/>
                </a:cubicBezTo>
                <a:cubicBezTo>
                  <a:pt x="280" y="526"/>
                  <a:pt x="282" y="525"/>
                  <a:pt x="282" y="526"/>
                </a:cubicBezTo>
                <a:close/>
                <a:moveTo>
                  <a:pt x="286" y="526"/>
                </a:moveTo>
                <a:cubicBezTo>
                  <a:pt x="286" y="526"/>
                  <a:pt x="291" y="524"/>
                  <a:pt x="290" y="526"/>
                </a:cubicBezTo>
                <a:cubicBezTo>
                  <a:pt x="290" y="527"/>
                  <a:pt x="285" y="527"/>
                  <a:pt x="284" y="527"/>
                </a:cubicBezTo>
                <a:cubicBezTo>
                  <a:pt x="281" y="527"/>
                  <a:pt x="278" y="530"/>
                  <a:pt x="275" y="529"/>
                </a:cubicBezTo>
                <a:cubicBezTo>
                  <a:pt x="276" y="527"/>
                  <a:pt x="284" y="527"/>
                  <a:pt x="286" y="526"/>
                </a:cubicBezTo>
                <a:close/>
                <a:moveTo>
                  <a:pt x="277" y="694"/>
                </a:moveTo>
                <a:cubicBezTo>
                  <a:pt x="277" y="695"/>
                  <a:pt x="275" y="695"/>
                  <a:pt x="275" y="694"/>
                </a:cubicBezTo>
                <a:cubicBezTo>
                  <a:pt x="275" y="693"/>
                  <a:pt x="277" y="694"/>
                  <a:pt x="277" y="694"/>
                </a:cubicBezTo>
                <a:close/>
                <a:moveTo>
                  <a:pt x="266" y="653"/>
                </a:moveTo>
                <a:cubicBezTo>
                  <a:pt x="266" y="653"/>
                  <a:pt x="266" y="652"/>
                  <a:pt x="266" y="651"/>
                </a:cubicBezTo>
                <a:cubicBezTo>
                  <a:pt x="267" y="648"/>
                  <a:pt x="270" y="649"/>
                  <a:pt x="271" y="650"/>
                </a:cubicBezTo>
                <a:cubicBezTo>
                  <a:pt x="271" y="650"/>
                  <a:pt x="271" y="650"/>
                  <a:pt x="271" y="650"/>
                </a:cubicBezTo>
                <a:cubicBezTo>
                  <a:pt x="271" y="650"/>
                  <a:pt x="271" y="650"/>
                  <a:pt x="272" y="650"/>
                </a:cubicBezTo>
                <a:cubicBezTo>
                  <a:pt x="275" y="651"/>
                  <a:pt x="270" y="659"/>
                  <a:pt x="266" y="653"/>
                </a:cubicBezTo>
                <a:close/>
                <a:moveTo>
                  <a:pt x="268" y="657"/>
                </a:moveTo>
                <a:cubicBezTo>
                  <a:pt x="267" y="656"/>
                  <a:pt x="269" y="657"/>
                  <a:pt x="268" y="657"/>
                </a:cubicBezTo>
                <a:close/>
                <a:moveTo>
                  <a:pt x="264" y="633"/>
                </a:moveTo>
                <a:cubicBezTo>
                  <a:pt x="263" y="633"/>
                  <a:pt x="264" y="632"/>
                  <a:pt x="265" y="632"/>
                </a:cubicBezTo>
                <a:cubicBezTo>
                  <a:pt x="265" y="633"/>
                  <a:pt x="264" y="632"/>
                  <a:pt x="264" y="633"/>
                </a:cubicBezTo>
                <a:close/>
                <a:moveTo>
                  <a:pt x="263" y="663"/>
                </a:moveTo>
                <a:cubicBezTo>
                  <a:pt x="265" y="662"/>
                  <a:pt x="265" y="664"/>
                  <a:pt x="263" y="663"/>
                </a:cubicBezTo>
                <a:close/>
                <a:moveTo>
                  <a:pt x="265" y="623"/>
                </a:moveTo>
                <a:cubicBezTo>
                  <a:pt x="267" y="623"/>
                  <a:pt x="269" y="624"/>
                  <a:pt x="269" y="627"/>
                </a:cubicBezTo>
                <a:cubicBezTo>
                  <a:pt x="268" y="625"/>
                  <a:pt x="267" y="628"/>
                  <a:pt x="265" y="629"/>
                </a:cubicBezTo>
                <a:cubicBezTo>
                  <a:pt x="258" y="631"/>
                  <a:pt x="258" y="621"/>
                  <a:pt x="265" y="623"/>
                </a:cubicBezTo>
                <a:close/>
                <a:moveTo>
                  <a:pt x="271" y="560"/>
                </a:moveTo>
                <a:cubicBezTo>
                  <a:pt x="272" y="561"/>
                  <a:pt x="269" y="562"/>
                  <a:pt x="269" y="561"/>
                </a:cubicBezTo>
                <a:cubicBezTo>
                  <a:pt x="269" y="560"/>
                  <a:pt x="271" y="559"/>
                  <a:pt x="271" y="560"/>
                </a:cubicBezTo>
                <a:close/>
                <a:moveTo>
                  <a:pt x="271" y="507"/>
                </a:moveTo>
                <a:cubicBezTo>
                  <a:pt x="271" y="505"/>
                  <a:pt x="271" y="509"/>
                  <a:pt x="271" y="507"/>
                </a:cubicBezTo>
                <a:close/>
                <a:moveTo>
                  <a:pt x="273" y="532"/>
                </a:moveTo>
                <a:cubicBezTo>
                  <a:pt x="273" y="532"/>
                  <a:pt x="273" y="533"/>
                  <a:pt x="273" y="533"/>
                </a:cubicBezTo>
                <a:cubicBezTo>
                  <a:pt x="270" y="531"/>
                  <a:pt x="277" y="530"/>
                  <a:pt x="273" y="532"/>
                </a:cubicBezTo>
                <a:close/>
                <a:moveTo>
                  <a:pt x="273" y="556"/>
                </a:moveTo>
                <a:cubicBezTo>
                  <a:pt x="273" y="555"/>
                  <a:pt x="274" y="555"/>
                  <a:pt x="274" y="555"/>
                </a:cubicBezTo>
                <a:cubicBezTo>
                  <a:pt x="277" y="555"/>
                  <a:pt x="274" y="558"/>
                  <a:pt x="273" y="556"/>
                </a:cubicBezTo>
                <a:close/>
                <a:moveTo>
                  <a:pt x="270" y="624"/>
                </a:moveTo>
                <a:cubicBezTo>
                  <a:pt x="270" y="624"/>
                  <a:pt x="269" y="624"/>
                  <a:pt x="269" y="624"/>
                </a:cubicBezTo>
                <a:cubicBezTo>
                  <a:pt x="269" y="623"/>
                  <a:pt x="271" y="623"/>
                  <a:pt x="270" y="624"/>
                </a:cubicBezTo>
                <a:close/>
                <a:moveTo>
                  <a:pt x="266" y="617"/>
                </a:moveTo>
                <a:cubicBezTo>
                  <a:pt x="266" y="615"/>
                  <a:pt x="269" y="616"/>
                  <a:pt x="269" y="617"/>
                </a:cubicBezTo>
                <a:cubicBezTo>
                  <a:pt x="269" y="618"/>
                  <a:pt x="267" y="618"/>
                  <a:pt x="266" y="617"/>
                </a:cubicBezTo>
                <a:close/>
                <a:moveTo>
                  <a:pt x="271" y="647"/>
                </a:moveTo>
                <a:cubicBezTo>
                  <a:pt x="271" y="648"/>
                  <a:pt x="269" y="648"/>
                  <a:pt x="269" y="647"/>
                </a:cubicBezTo>
                <a:cubicBezTo>
                  <a:pt x="269" y="647"/>
                  <a:pt x="270" y="646"/>
                  <a:pt x="271" y="647"/>
                </a:cubicBezTo>
                <a:close/>
                <a:moveTo>
                  <a:pt x="270" y="628"/>
                </a:moveTo>
                <a:cubicBezTo>
                  <a:pt x="270" y="627"/>
                  <a:pt x="273" y="626"/>
                  <a:pt x="273" y="628"/>
                </a:cubicBezTo>
                <a:cubicBezTo>
                  <a:pt x="273" y="628"/>
                  <a:pt x="270" y="630"/>
                  <a:pt x="270" y="628"/>
                </a:cubicBezTo>
                <a:close/>
                <a:moveTo>
                  <a:pt x="273" y="613"/>
                </a:moveTo>
                <a:cubicBezTo>
                  <a:pt x="273" y="614"/>
                  <a:pt x="271" y="614"/>
                  <a:pt x="271" y="614"/>
                </a:cubicBezTo>
                <a:cubicBezTo>
                  <a:pt x="270" y="613"/>
                  <a:pt x="272" y="613"/>
                  <a:pt x="273" y="613"/>
                </a:cubicBezTo>
                <a:close/>
                <a:moveTo>
                  <a:pt x="270" y="571"/>
                </a:moveTo>
                <a:cubicBezTo>
                  <a:pt x="270" y="571"/>
                  <a:pt x="270" y="571"/>
                  <a:pt x="270" y="571"/>
                </a:cubicBezTo>
                <a:cubicBezTo>
                  <a:pt x="270" y="569"/>
                  <a:pt x="272" y="572"/>
                  <a:pt x="270" y="571"/>
                </a:cubicBezTo>
                <a:close/>
                <a:moveTo>
                  <a:pt x="271" y="564"/>
                </a:moveTo>
                <a:cubicBezTo>
                  <a:pt x="269" y="565"/>
                  <a:pt x="268" y="566"/>
                  <a:pt x="267" y="566"/>
                </a:cubicBezTo>
                <a:cubicBezTo>
                  <a:pt x="268" y="565"/>
                  <a:pt x="269" y="564"/>
                  <a:pt x="271" y="564"/>
                </a:cubicBezTo>
                <a:close/>
                <a:moveTo>
                  <a:pt x="271" y="572"/>
                </a:moveTo>
                <a:cubicBezTo>
                  <a:pt x="269" y="573"/>
                  <a:pt x="269" y="574"/>
                  <a:pt x="271" y="574"/>
                </a:cubicBezTo>
                <a:cubicBezTo>
                  <a:pt x="270" y="576"/>
                  <a:pt x="266" y="579"/>
                  <a:pt x="263" y="577"/>
                </a:cubicBezTo>
                <a:cubicBezTo>
                  <a:pt x="258" y="573"/>
                  <a:pt x="266" y="568"/>
                  <a:pt x="271" y="572"/>
                </a:cubicBezTo>
                <a:close/>
                <a:moveTo>
                  <a:pt x="264" y="612"/>
                </a:moveTo>
                <a:cubicBezTo>
                  <a:pt x="265" y="612"/>
                  <a:pt x="263" y="612"/>
                  <a:pt x="263" y="612"/>
                </a:cubicBezTo>
                <a:cubicBezTo>
                  <a:pt x="263" y="611"/>
                  <a:pt x="264" y="611"/>
                  <a:pt x="264" y="612"/>
                </a:cubicBezTo>
                <a:close/>
                <a:moveTo>
                  <a:pt x="266" y="632"/>
                </a:moveTo>
                <a:cubicBezTo>
                  <a:pt x="266" y="632"/>
                  <a:pt x="266" y="632"/>
                  <a:pt x="266" y="632"/>
                </a:cubicBezTo>
                <a:cubicBezTo>
                  <a:pt x="265" y="630"/>
                  <a:pt x="268" y="633"/>
                  <a:pt x="266" y="632"/>
                </a:cubicBezTo>
                <a:close/>
                <a:moveTo>
                  <a:pt x="276" y="663"/>
                </a:moveTo>
                <a:cubicBezTo>
                  <a:pt x="274" y="664"/>
                  <a:pt x="273" y="665"/>
                  <a:pt x="271" y="665"/>
                </a:cubicBezTo>
                <a:cubicBezTo>
                  <a:pt x="272" y="663"/>
                  <a:pt x="274" y="663"/>
                  <a:pt x="276" y="663"/>
                </a:cubicBezTo>
                <a:close/>
                <a:moveTo>
                  <a:pt x="270" y="486"/>
                </a:moveTo>
                <a:cubicBezTo>
                  <a:pt x="270" y="486"/>
                  <a:pt x="270" y="486"/>
                  <a:pt x="270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0" y="485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lose/>
                <a:moveTo>
                  <a:pt x="274" y="496"/>
                </a:moveTo>
                <a:cubicBezTo>
                  <a:pt x="274" y="499"/>
                  <a:pt x="269" y="498"/>
                  <a:pt x="269" y="496"/>
                </a:cubicBezTo>
                <a:cubicBezTo>
                  <a:pt x="269" y="496"/>
                  <a:pt x="274" y="494"/>
                  <a:pt x="274" y="496"/>
                </a:cubicBezTo>
                <a:close/>
                <a:moveTo>
                  <a:pt x="276" y="504"/>
                </a:moveTo>
                <a:cubicBezTo>
                  <a:pt x="274" y="506"/>
                  <a:pt x="271" y="506"/>
                  <a:pt x="269" y="507"/>
                </a:cubicBezTo>
                <a:cubicBezTo>
                  <a:pt x="270" y="506"/>
                  <a:pt x="274" y="504"/>
                  <a:pt x="276" y="504"/>
                </a:cubicBezTo>
                <a:close/>
                <a:moveTo>
                  <a:pt x="268" y="467"/>
                </a:moveTo>
                <a:cubicBezTo>
                  <a:pt x="268" y="468"/>
                  <a:pt x="268" y="468"/>
                  <a:pt x="267" y="468"/>
                </a:cubicBezTo>
                <a:cubicBezTo>
                  <a:pt x="267" y="468"/>
                  <a:pt x="268" y="467"/>
                  <a:pt x="268" y="467"/>
                </a:cubicBezTo>
                <a:close/>
                <a:moveTo>
                  <a:pt x="267" y="506"/>
                </a:moveTo>
                <a:cubicBezTo>
                  <a:pt x="268" y="506"/>
                  <a:pt x="267" y="507"/>
                  <a:pt x="267" y="507"/>
                </a:cubicBezTo>
                <a:cubicBezTo>
                  <a:pt x="266" y="506"/>
                  <a:pt x="267" y="506"/>
                  <a:pt x="267" y="506"/>
                </a:cubicBezTo>
                <a:close/>
                <a:moveTo>
                  <a:pt x="264" y="562"/>
                </a:moveTo>
                <a:cubicBezTo>
                  <a:pt x="265" y="562"/>
                  <a:pt x="262" y="562"/>
                  <a:pt x="262" y="562"/>
                </a:cubicBezTo>
                <a:cubicBezTo>
                  <a:pt x="262" y="562"/>
                  <a:pt x="264" y="561"/>
                  <a:pt x="264" y="562"/>
                </a:cubicBezTo>
                <a:close/>
                <a:moveTo>
                  <a:pt x="262" y="562"/>
                </a:moveTo>
                <a:cubicBezTo>
                  <a:pt x="261" y="563"/>
                  <a:pt x="260" y="561"/>
                  <a:pt x="262" y="562"/>
                </a:cubicBezTo>
                <a:close/>
                <a:moveTo>
                  <a:pt x="260" y="440"/>
                </a:moveTo>
                <a:cubicBezTo>
                  <a:pt x="261" y="440"/>
                  <a:pt x="260" y="441"/>
                  <a:pt x="260" y="441"/>
                </a:cubicBezTo>
                <a:cubicBezTo>
                  <a:pt x="257" y="443"/>
                  <a:pt x="259" y="439"/>
                  <a:pt x="260" y="440"/>
                </a:cubicBezTo>
                <a:close/>
                <a:moveTo>
                  <a:pt x="257" y="484"/>
                </a:moveTo>
                <a:cubicBezTo>
                  <a:pt x="257" y="484"/>
                  <a:pt x="257" y="483"/>
                  <a:pt x="257" y="483"/>
                </a:cubicBezTo>
                <a:cubicBezTo>
                  <a:pt x="257" y="484"/>
                  <a:pt x="257" y="484"/>
                  <a:pt x="257" y="484"/>
                </a:cubicBezTo>
                <a:cubicBezTo>
                  <a:pt x="257" y="484"/>
                  <a:pt x="257" y="484"/>
                  <a:pt x="257" y="484"/>
                </a:cubicBezTo>
                <a:close/>
                <a:moveTo>
                  <a:pt x="256" y="495"/>
                </a:moveTo>
                <a:cubicBezTo>
                  <a:pt x="255" y="496"/>
                  <a:pt x="255" y="496"/>
                  <a:pt x="254" y="495"/>
                </a:cubicBezTo>
                <a:cubicBezTo>
                  <a:pt x="254" y="494"/>
                  <a:pt x="257" y="494"/>
                  <a:pt x="256" y="495"/>
                </a:cubicBezTo>
                <a:close/>
                <a:moveTo>
                  <a:pt x="252" y="519"/>
                </a:moveTo>
                <a:cubicBezTo>
                  <a:pt x="252" y="519"/>
                  <a:pt x="252" y="520"/>
                  <a:pt x="252" y="520"/>
                </a:cubicBezTo>
                <a:cubicBezTo>
                  <a:pt x="251" y="519"/>
                  <a:pt x="252" y="518"/>
                  <a:pt x="252" y="519"/>
                </a:cubicBezTo>
                <a:close/>
                <a:moveTo>
                  <a:pt x="250" y="460"/>
                </a:moveTo>
                <a:cubicBezTo>
                  <a:pt x="251" y="459"/>
                  <a:pt x="251" y="460"/>
                  <a:pt x="251" y="461"/>
                </a:cubicBezTo>
                <a:cubicBezTo>
                  <a:pt x="250" y="462"/>
                  <a:pt x="249" y="460"/>
                  <a:pt x="250" y="460"/>
                </a:cubicBezTo>
                <a:close/>
                <a:moveTo>
                  <a:pt x="253" y="530"/>
                </a:moveTo>
                <a:cubicBezTo>
                  <a:pt x="254" y="528"/>
                  <a:pt x="259" y="522"/>
                  <a:pt x="261" y="522"/>
                </a:cubicBezTo>
                <a:cubicBezTo>
                  <a:pt x="264" y="521"/>
                  <a:pt x="260" y="524"/>
                  <a:pt x="259" y="524"/>
                </a:cubicBezTo>
                <a:cubicBezTo>
                  <a:pt x="257" y="526"/>
                  <a:pt x="255" y="529"/>
                  <a:pt x="253" y="531"/>
                </a:cubicBezTo>
                <a:cubicBezTo>
                  <a:pt x="253" y="531"/>
                  <a:pt x="253" y="531"/>
                  <a:pt x="253" y="531"/>
                </a:cubicBezTo>
                <a:cubicBezTo>
                  <a:pt x="253" y="531"/>
                  <a:pt x="253" y="532"/>
                  <a:pt x="252" y="532"/>
                </a:cubicBezTo>
                <a:cubicBezTo>
                  <a:pt x="252" y="532"/>
                  <a:pt x="252" y="532"/>
                  <a:pt x="252" y="532"/>
                </a:cubicBezTo>
                <a:cubicBezTo>
                  <a:pt x="251" y="533"/>
                  <a:pt x="251" y="533"/>
                  <a:pt x="250" y="534"/>
                </a:cubicBezTo>
                <a:cubicBezTo>
                  <a:pt x="250" y="534"/>
                  <a:pt x="249" y="533"/>
                  <a:pt x="249" y="533"/>
                </a:cubicBezTo>
                <a:cubicBezTo>
                  <a:pt x="249" y="533"/>
                  <a:pt x="251" y="531"/>
                  <a:pt x="253" y="530"/>
                </a:cubicBezTo>
                <a:close/>
                <a:moveTo>
                  <a:pt x="253" y="640"/>
                </a:moveTo>
                <a:cubicBezTo>
                  <a:pt x="253" y="638"/>
                  <a:pt x="257" y="638"/>
                  <a:pt x="258" y="639"/>
                </a:cubicBezTo>
                <a:cubicBezTo>
                  <a:pt x="259" y="641"/>
                  <a:pt x="254" y="642"/>
                  <a:pt x="253" y="640"/>
                </a:cubicBezTo>
                <a:close/>
                <a:moveTo>
                  <a:pt x="255" y="652"/>
                </a:moveTo>
                <a:cubicBezTo>
                  <a:pt x="256" y="653"/>
                  <a:pt x="254" y="653"/>
                  <a:pt x="254" y="652"/>
                </a:cubicBezTo>
                <a:cubicBezTo>
                  <a:pt x="253" y="651"/>
                  <a:pt x="255" y="651"/>
                  <a:pt x="255" y="652"/>
                </a:cubicBezTo>
                <a:close/>
                <a:moveTo>
                  <a:pt x="240" y="645"/>
                </a:moveTo>
                <a:cubicBezTo>
                  <a:pt x="238" y="644"/>
                  <a:pt x="237" y="642"/>
                  <a:pt x="239" y="640"/>
                </a:cubicBezTo>
                <a:cubicBezTo>
                  <a:pt x="240" y="639"/>
                  <a:pt x="242" y="639"/>
                  <a:pt x="244" y="639"/>
                </a:cubicBezTo>
                <a:cubicBezTo>
                  <a:pt x="245" y="639"/>
                  <a:pt x="247" y="639"/>
                  <a:pt x="247" y="640"/>
                </a:cubicBezTo>
                <a:cubicBezTo>
                  <a:pt x="247" y="640"/>
                  <a:pt x="247" y="640"/>
                  <a:pt x="246" y="640"/>
                </a:cubicBezTo>
                <a:cubicBezTo>
                  <a:pt x="246" y="640"/>
                  <a:pt x="247" y="640"/>
                  <a:pt x="247" y="640"/>
                </a:cubicBezTo>
                <a:cubicBezTo>
                  <a:pt x="247" y="640"/>
                  <a:pt x="247" y="641"/>
                  <a:pt x="247" y="641"/>
                </a:cubicBezTo>
                <a:cubicBezTo>
                  <a:pt x="248" y="642"/>
                  <a:pt x="242" y="646"/>
                  <a:pt x="240" y="645"/>
                </a:cubicBezTo>
                <a:close/>
                <a:moveTo>
                  <a:pt x="241" y="660"/>
                </a:moveTo>
                <a:cubicBezTo>
                  <a:pt x="240" y="661"/>
                  <a:pt x="239" y="660"/>
                  <a:pt x="240" y="659"/>
                </a:cubicBezTo>
                <a:cubicBezTo>
                  <a:pt x="240" y="659"/>
                  <a:pt x="242" y="659"/>
                  <a:pt x="241" y="660"/>
                </a:cubicBezTo>
                <a:close/>
                <a:moveTo>
                  <a:pt x="250" y="593"/>
                </a:moveTo>
                <a:cubicBezTo>
                  <a:pt x="247" y="595"/>
                  <a:pt x="244" y="594"/>
                  <a:pt x="240" y="596"/>
                </a:cubicBezTo>
                <a:cubicBezTo>
                  <a:pt x="243" y="594"/>
                  <a:pt x="247" y="594"/>
                  <a:pt x="250" y="593"/>
                </a:cubicBezTo>
                <a:close/>
                <a:moveTo>
                  <a:pt x="245" y="578"/>
                </a:moveTo>
                <a:cubicBezTo>
                  <a:pt x="246" y="579"/>
                  <a:pt x="245" y="579"/>
                  <a:pt x="245" y="579"/>
                </a:cubicBezTo>
                <a:cubicBezTo>
                  <a:pt x="243" y="581"/>
                  <a:pt x="244" y="577"/>
                  <a:pt x="245" y="578"/>
                </a:cubicBezTo>
                <a:close/>
                <a:moveTo>
                  <a:pt x="253" y="551"/>
                </a:moveTo>
                <a:cubicBezTo>
                  <a:pt x="254" y="550"/>
                  <a:pt x="255" y="549"/>
                  <a:pt x="257" y="549"/>
                </a:cubicBezTo>
                <a:cubicBezTo>
                  <a:pt x="256" y="550"/>
                  <a:pt x="254" y="551"/>
                  <a:pt x="253" y="551"/>
                </a:cubicBezTo>
                <a:close/>
                <a:moveTo>
                  <a:pt x="255" y="555"/>
                </a:moveTo>
                <a:cubicBezTo>
                  <a:pt x="253" y="557"/>
                  <a:pt x="254" y="552"/>
                  <a:pt x="256" y="554"/>
                </a:cubicBezTo>
                <a:cubicBezTo>
                  <a:pt x="257" y="554"/>
                  <a:pt x="256" y="555"/>
                  <a:pt x="255" y="555"/>
                </a:cubicBezTo>
                <a:close/>
                <a:moveTo>
                  <a:pt x="258" y="564"/>
                </a:moveTo>
                <a:cubicBezTo>
                  <a:pt x="258" y="566"/>
                  <a:pt x="252" y="567"/>
                  <a:pt x="252" y="564"/>
                </a:cubicBezTo>
                <a:cubicBezTo>
                  <a:pt x="252" y="561"/>
                  <a:pt x="258" y="562"/>
                  <a:pt x="258" y="564"/>
                </a:cubicBezTo>
                <a:close/>
                <a:moveTo>
                  <a:pt x="257" y="589"/>
                </a:moveTo>
                <a:cubicBezTo>
                  <a:pt x="256" y="590"/>
                  <a:pt x="258" y="588"/>
                  <a:pt x="257" y="589"/>
                </a:cubicBezTo>
                <a:close/>
                <a:moveTo>
                  <a:pt x="254" y="619"/>
                </a:moveTo>
                <a:cubicBezTo>
                  <a:pt x="254" y="619"/>
                  <a:pt x="253" y="619"/>
                  <a:pt x="254" y="619"/>
                </a:cubicBezTo>
                <a:close/>
                <a:moveTo>
                  <a:pt x="254" y="612"/>
                </a:moveTo>
                <a:cubicBezTo>
                  <a:pt x="254" y="612"/>
                  <a:pt x="254" y="613"/>
                  <a:pt x="254" y="613"/>
                </a:cubicBezTo>
                <a:cubicBezTo>
                  <a:pt x="253" y="613"/>
                  <a:pt x="254" y="612"/>
                  <a:pt x="254" y="612"/>
                </a:cubicBezTo>
                <a:close/>
                <a:moveTo>
                  <a:pt x="254" y="619"/>
                </a:moveTo>
                <a:cubicBezTo>
                  <a:pt x="257" y="616"/>
                  <a:pt x="255" y="621"/>
                  <a:pt x="254" y="620"/>
                </a:cubicBezTo>
                <a:cubicBezTo>
                  <a:pt x="254" y="620"/>
                  <a:pt x="254" y="619"/>
                  <a:pt x="254" y="619"/>
                </a:cubicBezTo>
                <a:close/>
                <a:moveTo>
                  <a:pt x="253" y="608"/>
                </a:moveTo>
                <a:cubicBezTo>
                  <a:pt x="250" y="609"/>
                  <a:pt x="255" y="604"/>
                  <a:pt x="257" y="605"/>
                </a:cubicBezTo>
                <a:cubicBezTo>
                  <a:pt x="256" y="605"/>
                  <a:pt x="254" y="607"/>
                  <a:pt x="253" y="608"/>
                </a:cubicBezTo>
                <a:close/>
                <a:moveTo>
                  <a:pt x="255" y="600"/>
                </a:moveTo>
                <a:cubicBezTo>
                  <a:pt x="254" y="602"/>
                  <a:pt x="252" y="601"/>
                  <a:pt x="255" y="600"/>
                </a:cubicBezTo>
                <a:close/>
                <a:moveTo>
                  <a:pt x="256" y="599"/>
                </a:moveTo>
                <a:cubicBezTo>
                  <a:pt x="255" y="599"/>
                  <a:pt x="256" y="598"/>
                  <a:pt x="256" y="599"/>
                </a:cubicBezTo>
                <a:cubicBezTo>
                  <a:pt x="256" y="599"/>
                  <a:pt x="256" y="599"/>
                  <a:pt x="256" y="599"/>
                </a:cubicBezTo>
                <a:close/>
                <a:moveTo>
                  <a:pt x="253" y="571"/>
                </a:moveTo>
                <a:cubicBezTo>
                  <a:pt x="253" y="571"/>
                  <a:pt x="252" y="572"/>
                  <a:pt x="252" y="571"/>
                </a:cubicBezTo>
                <a:cubicBezTo>
                  <a:pt x="251" y="570"/>
                  <a:pt x="253" y="570"/>
                  <a:pt x="253" y="571"/>
                </a:cubicBezTo>
                <a:close/>
                <a:moveTo>
                  <a:pt x="251" y="558"/>
                </a:moveTo>
                <a:cubicBezTo>
                  <a:pt x="251" y="557"/>
                  <a:pt x="253" y="556"/>
                  <a:pt x="253" y="557"/>
                </a:cubicBezTo>
                <a:cubicBezTo>
                  <a:pt x="253" y="558"/>
                  <a:pt x="252" y="558"/>
                  <a:pt x="251" y="558"/>
                </a:cubicBezTo>
                <a:close/>
                <a:moveTo>
                  <a:pt x="246" y="555"/>
                </a:moveTo>
                <a:cubicBezTo>
                  <a:pt x="247" y="553"/>
                  <a:pt x="251" y="552"/>
                  <a:pt x="253" y="551"/>
                </a:cubicBezTo>
                <a:cubicBezTo>
                  <a:pt x="251" y="553"/>
                  <a:pt x="248" y="554"/>
                  <a:pt x="246" y="555"/>
                </a:cubicBezTo>
                <a:close/>
                <a:moveTo>
                  <a:pt x="245" y="613"/>
                </a:moveTo>
                <a:cubicBezTo>
                  <a:pt x="244" y="615"/>
                  <a:pt x="242" y="615"/>
                  <a:pt x="240" y="615"/>
                </a:cubicBezTo>
                <a:cubicBezTo>
                  <a:pt x="241" y="614"/>
                  <a:pt x="243" y="613"/>
                  <a:pt x="244" y="613"/>
                </a:cubicBezTo>
                <a:cubicBezTo>
                  <a:pt x="244" y="613"/>
                  <a:pt x="243" y="613"/>
                  <a:pt x="244" y="612"/>
                </a:cubicBezTo>
                <a:cubicBezTo>
                  <a:pt x="244" y="611"/>
                  <a:pt x="247" y="612"/>
                  <a:pt x="247" y="612"/>
                </a:cubicBezTo>
                <a:cubicBezTo>
                  <a:pt x="247" y="613"/>
                  <a:pt x="246" y="613"/>
                  <a:pt x="245" y="613"/>
                </a:cubicBezTo>
                <a:cubicBezTo>
                  <a:pt x="245" y="613"/>
                  <a:pt x="245" y="613"/>
                  <a:pt x="245" y="613"/>
                </a:cubicBezTo>
                <a:close/>
                <a:moveTo>
                  <a:pt x="241" y="634"/>
                </a:moveTo>
                <a:cubicBezTo>
                  <a:pt x="241" y="634"/>
                  <a:pt x="241" y="634"/>
                  <a:pt x="242" y="634"/>
                </a:cubicBezTo>
                <a:cubicBezTo>
                  <a:pt x="242" y="634"/>
                  <a:pt x="242" y="635"/>
                  <a:pt x="241" y="634"/>
                </a:cubicBezTo>
                <a:close/>
                <a:moveTo>
                  <a:pt x="240" y="485"/>
                </a:moveTo>
                <a:cubicBezTo>
                  <a:pt x="240" y="485"/>
                  <a:pt x="241" y="484"/>
                  <a:pt x="241" y="484"/>
                </a:cubicBezTo>
                <a:cubicBezTo>
                  <a:pt x="241" y="485"/>
                  <a:pt x="240" y="485"/>
                  <a:pt x="240" y="485"/>
                </a:cubicBezTo>
                <a:close/>
                <a:moveTo>
                  <a:pt x="240" y="535"/>
                </a:moveTo>
                <a:cubicBezTo>
                  <a:pt x="240" y="535"/>
                  <a:pt x="240" y="535"/>
                  <a:pt x="239" y="535"/>
                </a:cubicBezTo>
                <a:cubicBezTo>
                  <a:pt x="239" y="535"/>
                  <a:pt x="240" y="534"/>
                  <a:pt x="240" y="535"/>
                </a:cubicBezTo>
                <a:close/>
                <a:moveTo>
                  <a:pt x="243" y="647"/>
                </a:moveTo>
                <a:cubicBezTo>
                  <a:pt x="243" y="646"/>
                  <a:pt x="244" y="647"/>
                  <a:pt x="243" y="647"/>
                </a:cubicBezTo>
                <a:close/>
                <a:moveTo>
                  <a:pt x="243" y="664"/>
                </a:moveTo>
                <a:cubicBezTo>
                  <a:pt x="242" y="665"/>
                  <a:pt x="242" y="663"/>
                  <a:pt x="243" y="664"/>
                </a:cubicBezTo>
                <a:close/>
                <a:moveTo>
                  <a:pt x="244" y="665"/>
                </a:moveTo>
                <a:cubicBezTo>
                  <a:pt x="244" y="666"/>
                  <a:pt x="243" y="666"/>
                  <a:pt x="243" y="666"/>
                </a:cubicBezTo>
                <a:cubicBezTo>
                  <a:pt x="242" y="665"/>
                  <a:pt x="244" y="665"/>
                  <a:pt x="244" y="665"/>
                </a:cubicBezTo>
                <a:close/>
                <a:moveTo>
                  <a:pt x="244" y="658"/>
                </a:moveTo>
                <a:cubicBezTo>
                  <a:pt x="244" y="656"/>
                  <a:pt x="249" y="657"/>
                  <a:pt x="247" y="659"/>
                </a:cubicBezTo>
                <a:cubicBezTo>
                  <a:pt x="247" y="660"/>
                  <a:pt x="244" y="659"/>
                  <a:pt x="244" y="658"/>
                </a:cubicBezTo>
                <a:close/>
                <a:moveTo>
                  <a:pt x="248" y="619"/>
                </a:moveTo>
                <a:cubicBezTo>
                  <a:pt x="246" y="620"/>
                  <a:pt x="246" y="618"/>
                  <a:pt x="248" y="619"/>
                </a:cubicBezTo>
                <a:close/>
                <a:moveTo>
                  <a:pt x="249" y="639"/>
                </a:moveTo>
                <a:cubicBezTo>
                  <a:pt x="250" y="640"/>
                  <a:pt x="249" y="640"/>
                  <a:pt x="249" y="640"/>
                </a:cubicBezTo>
                <a:cubicBezTo>
                  <a:pt x="247" y="642"/>
                  <a:pt x="248" y="638"/>
                  <a:pt x="249" y="639"/>
                </a:cubicBezTo>
                <a:close/>
                <a:moveTo>
                  <a:pt x="249" y="606"/>
                </a:moveTo>
                <a:cubicBezTo>
                  <a:pt x="248" y="605"/>
                  <a:pt x="251" y="605"/>
                  <a:pt x="251" y="605"/>
                </a:cubicBezTo>
                <a:cubicBezTo>
                  <a:pt x="251" y="606"/>
                  <a:pt x="249" y="606"/>
                  <a:pt x="249" y="606"/>
                </a:cubicBezTo>
                <a:close/>
                <a:moveTo>
                  <a:pt x="247" y="598"/>
                </a:moveTo>
                <a:cubicBezTo>
                  <a:pt x="247" y="598"/>
                  <a:pt x="248" y="596"/>
                  <a:pt x="248" y="596"/>
                </a:cubicBezTo>
                <a:cubicBezTo>
                  <a:pt x="249" y="595"/>
                  <a:pt x="250" y="594"/>
                  <a:pt x="251" y="596"/>
                </a:cubicBezTo>
                <a:cubicBezTo>
                  <a:pt x="251" y="596"/>
                  <a:pt x="251" y="596"/>
                  <a:pt x="250" y="597"/>
                </a:cubicBezTo>
                <a:cubicBezTo>
                  <a:pt x="251" y="597"/>
                  <a:pt x="253" y="598"/>
                  <a:pt x="253" y="598"/>
                </a:cubicBezTo>
                <a:cubicBezTo>
                  <a:pt x="254" y="602"/>
                  <a:pt x="247" y="599"/>
                  <a:pt x="247" y="598"/>
                </a:cubicBezTo>
                <a:close/>
                <a:moveTo>
                  <a:pt x="253" y="601"/>
                </a:moveTo>
                <a:cubicBezTo>
                  <a:pt x="253" y="602"/>
                  <a:pt x="252" y="602"/>
                  <a:pt x="251" y="602"/>
                </a:cubicBezTo>
                <a:cubicBezTo>
                  <a:pt x="251" y="602"/>
                  <a:pt x="252" y="601"/>
                  <a:pt x="253" y="601"/>
                </a:cubicBezTo>
                <a:close/>
                <a:moveTo>
                  <a:pt x="253" y="609"/>
                </a:moveTo>
                <a:cubicBezTo>
                  <a:pt x="254" y="609"/>
                  <a:pt x="252" y="610"/>
                  <a:pt x="252" y="610"/>
                </a:cubicBezTo>
                <a:cubicBezTo>
                  <a:pt x="251" y="609"/>
                  <a:pt x="253" y="608"/>
                  <a:pt x="253" y="609"/>
                </a:cubicBezTo>
                <a:close/>
                <a:moveTo>
                  <a:pt x="254" y="650"/>
                </a:moveTo>
                <a:cubicBezTo>
                  <a:pt x="253" y="652"/>
                  <a:pt x="252" y="649"/>
                  <a:pt x="254" y="650"/>
                </a:cubicBezTo>
                <a:close/>
                <a:moveTo>
                  <a:pt x="256" y="592"/>
                </a:moveTo>
                <a:cubicBezTo>
                  <a:pt x="255" y="590"/>
                  <a:pt x="259" y="590"/>
                  <a:pt x="260" y="591"/>
                </a:cubicBezTo>
                <a:cubicBezTo>
                  <a:pt x="260" y="592"/>
                  <a:pt x="256" y="594"/>
                  <a:pt x="256" y="592"/>
                </a:cubicBezTo>
                <a:close/>
                <a:moveTo>
                  <a:pt x="249" y="520"/>
                </a:moveTo>
                <a:cubicBezTo>
                  <a:pt x="249" y="520"/>
                  <a:pt x="249" y="521"/>
                  <a:pt x="249" y="521"/>
                </a:cubicBezTo>
                <a:cubicBezTo>
                  <a:pt x="248" y="522"/>
                  <a:pt x="248" y="519"/>
                  <a:pt x="249" y="520"/>
                </a:cubicBezTo>
                <a:close/>
                <a:moveTo>
                  <a:pt x="249" y="536"/>
                </a:moveTo>
                <a:cubicBezTo>
                  <a:pt x="249" y="538"/>
                  <a:pt x="244" y="540"/>
                  <a:pt x="244" y="536"/>
                </a:cubicBezTo>
                <a:cubicBezTo>
                  <a:pt x="244" y="535"/>
                  <a:pt x="249" y="534"/>
                  <a:pt x="249" y="536"/>
                </a:cubicBezTo>
                <a:close/>
                <a:moveTo>
                  <a:pt x="244" y="450"/>
                </a:moveTo>
                <a:cubicBezTo>
                  <a:pt x="244" y="450"/>
                  <a:pt x="244" y="450"/>
                  <a:pt x="244" y="450"/>
                </a:cubicBezTo>
                <a:cubicBezTo>
                  <a:pt x="243" y="450"/>
                  <a:pt x="244" y="449"/>
                  <a:pt x="244" y="450"/>
                </a:cubicBezTo>
                <a:close/>
                <a:moveTo>
                  <a:pt x="243" y="420"/>
                </a:moveTo>
                <a:cubicBezTo>
                  <a:pt x="243" y="420"/>
                  <a:pt x="243" y="420"/>
                  <a:pt x="243" y="420"/>
                </a:cubicBezTo>
                <a:cubicBezTo>
                  <a:pt x="244" y="420"/>
                  <a:pt x="244" y="420"/>
                  <a:pt x="243" y="420"/>
                </a:cubicBezTo>
                <a:close/>
                <a:moveTo>
                  <a:pt x="241" y="504"/>
                </a:moveTo>
                <a:cubicBezTo>
                  <a:pt x="240" y="502"/>
                  <a:pt x="243" y="504"/>
                  <a:pt x="241" y="504"/>
                </a:cubicBezTo>
                <a:close/>
                <a:moveTo>
                  <a:pt x="235" y="479"/>
                </a:moveTo>
                <a:cubicBezTo>
                  <a:pt x="236" y="477"/>
                  <a:pt x="240" y="471"/>
                  <a:pt x="242" y="470"/>
                </a:cubicBezTo>
                <a:cubicBezTo>
                  <a:pt x="240" y="473"/>
                  <a:pt x="238" y="476"/>
                  <a:pt x="235" y="479"/>
                </a:cubicBezTo>
                <a:close/>
                <a:moveTo>
                  <a:pt x="236" y="507"/>
                </a:moveTo>
                <a:cubicBezTo>
                  <a:pt x="236" y="508"/>
                  <a:pt x="235" y="508"/>
                  <a:pt x="235" y="507"/>
                </a:cubicBezTo>
                <a:cubicBezTo>
                  <a:pt x="235" y="506"/>
                  <a:pt x="236" y="507"/>
                  <a:pt x="236" y="507"/>
                </a:cubicBezTo>
                <a:close/>
                <a:moveTo>
                  <a:pt x="242" y="337"/>
                </a:moveTo>
                <a:cubicBezTo>
                  <a:pt x="240" y="339"/>
                  <a:pt x="238" y="341"/>
                  <a:pt x="235" y="343"/>
                </a:cubicBezTo>
                <a:cubicBezTo>
                  <a:pt x="237" y="341"/>
                  <a:pt x="240" y="338"/>
                  <a:pt x="242" y="337"/>
                </a:cubicBezTo>
                <a:close/>
                <a:moveTo>
                  <a:pt x="235" y="428"/>
                </a:moveTo>
                <a:cubicBezTo>
                  <a:pt x="235" y="427"/>
                  <a:pt x="234" y="429"/>
                  <a:pt x="235" y="428"/>
                </a:cubicBezTo>
                <a:close/>
                <a:moveTo>
                  <a:pt x="236" y="488"/>
                </a:moveTo>
                <a:cubicBezTo>
                  <a:pt x="233" y="491"/>
                  <a:pt x="233" y="494"/>
                  <a:pt x="230" y="496"/>
                </a:cubicBezTo>
                <a:cubicBezTo>
                  <a:pt x="231" y="494"/>
                  <a:pt x="233" y="489"/>
                  <a:pt x="236" y="488"/>
                </a:cubicBezTo>
                <a:close/>
                <a:moveTo>
                  <a:pt x="235" y="529"/>
                </a:moveTo>
                <a:cubicBezTo>
                  <a:pt x="235" y="529"/>
                  <a:pt x="234" y="529"/>
                  <a:pt x="234" y="529"/>
                </a:cubicBezTo>
                <a:cubicBezTo>
                  <a:pt x="234" y="528"/>
                  <a:pt x="235" y="529"/>
                  <a:pt x="235" y="529"/>
                </a:cubicBezTo>
                <a:close/>
                <a:moveTo>
                  <a:pt x="232" y="503"/>
                </a:moveTo>
                <a:cubicBezTo>
                  <a:pt x="232" y="504"/>
                  <a:pt x="231" y="504"/>
                  <a:pt x="231" y="504"/>
                </a:cubicBezTo>
                <a:cubicBezTo>
                  <a:pt x="231" y="503"/>
                  <a:pt x="232" y="502"/>
                  <a:pt x="232" y="503"/>
                </a:cubicBezTo>
                <a:close/>
                <a:moveTo>
                  <a:pt x="233" y="322"/>
                </a:moveTo>
                <a:cubicBezTo>
                  <a:pt x="234" y="320"/>
                  <a:pt x="232" y="323"/>
                  <a:pt x="233" y="322"/>
                </a:cubicBezTo>
                <a:close/>
                <a:moveTo>
                  <a:pt x="233" y="463"/>
                </a:moveTo>
                <a:cubicBezTo>
                  <a:pt x="232" y="465"/>
                  <a:pt x="234" y="462"/>
                  <a:pt x="233" y="463"/>
                </a:cubicBezTo>
                <a:close/>
                <a:moveTo>
                  <a:pt x="232" y="465"/>
                </a:moveTo>
                <a:cubicBezTo>
                  <a:pt x="233" y="467"/>
                  <a:pt x="229" y="469"/>
                  <a:pt x="228" y="466"/>
                </a:cubicBezTo>
                <a:cubicBezTo>
                  <a:pt x="228" y="464"/>
                  <a:pt x="231" y="463"/>
                  <a:pt x="232" y="465"/>
                </a:cubicBezTo>
                <a:close/>
                <a:moveTo>
                  <a:pt x="231" y="364"/>
                </a:moveTo>
                <a:cubicBezTo>
                  <a:pt x="232" y="365"/>
                  <a:pt x="230" y="367"/>
                  <a:pt x="230" y="367"/>
                </a:cubicBezTo>
                <a:cubicBezTo>
                  <a:pt x="226" y="369"/>
                  <a:pt x="229" y="363"/>
                  <a:pt x="231" y="364"/>
                </a:cubicBezTo>
                <a:close/>
                <a:moveTo>
                  <a:pt x="227" y="421"/>
                </a:moveTo>
                <a:cubicBezTo>
                  <a:pt x="228" y="421"/>
                  <a:pt x="227" y="422"/>
                  <a:pt x="227" y="422"/>
                </a:cubicBezTo>
                <a:cubicBezTo>
                  <a:pt x="225" y="423"/>
                  <a:pt x="226" y="420"/>
                  <a:pt x="227" y="421"/>
                </a:cubicBezTo>
                <a:close/>
                <a:moveTo>
                  <a:pt x="227" y="484"/>
                </a:moveTo>
                <a:cubicBezTo>
                  <a:pt x="225" y="484"/>
                  <a:pt x="228" y="482"/>
                  <a:pt x="227" y="483"/>
                </a:cubicBezTo>
                <a:cubicBezTo>
                  <a:pt x="227" y="483"/>
                  <a:pt x="227" y="484"/>
                  <a:pt x="227" y="484"/>
                </a:cubicBezTo>
                <a:close/>
                <a:moveTo>
                  <a:pt x="227" y="436"/>
                </a:moveTo>
                <a:cubicBezTo>
                  <a:pt x="226" y="435"/>
                  <a:pt x="228" y="435"/>
                  <a:pt x="227" y="436"/>
                </a:cubicBezTo>
                <a:close/>
                <a:moveTo>
                  <a:pt x="227" y="526"/>
                </a:moveTo>
                <a:cubicBezTo>
                  <a:pt x="226" y="527"/>
                  <a:pt x="225" y="526"/>
                  <a:pt x="227" y="526"/>
                </a:cubicBezTo>
                <a:close/>
                <a:moveTo>
                  <a:pt x="227" y="527"/>
                </a:moveTo>
                <a:cubicBezTo>
                  <a:pt x="228" y="528"/>
                  <a:pt x="226" y="529"/>
                  <a:pt x="226" y="529"/>
                </a:cubicBezTo>
                <a:cubicBezTo>
                  <a:pt x="225" y="529"/>
                  <a:pt x="227" y="527"/>
                  <a:pt x="227" y="527"/>
                </a:cubicBezTo>
                <a:close/>
                <a:moveTo>
                  <a:pt x="225" y="375"/>
                </a:moveTo>
                <a:cubicBezTo>
                  <a:pt x="227" y="376"/>
                  <a:pt x="225" y="376"/>
                  <a:pt x="225" y="375"/>
                </a:cubicBezTo>
                <a:close/>
                <a:moveTo>
                  <a:pt x="224" y="359"/>
                </a:moveTo>
                <a:cubicBezTo>
                  <a:pt x="224" y="360"/>
                  <a:pt x="223" y="360"/>
                  <a:pt x="223" y="361"/>
                </a:cubicBezTo>
                <a:cubicBezTo>
                  <a:pt x="222" y="360"/>
                  <a:pt x="224" y="360"/>
                  <a:pt x="224" y="359"/>
                </a:cubicBezTo>
                <a:close/>
                <a:moveTo>
                  <a:pt x="222" y="500"/>
                </a:moveTo>
                <a:cubicBezTo>
                  <a:pt x="222" y="499"/>
                  <a:pt x="223" y="499"/>
                  <a:pt x="224" y="499"/>
                </a:cubicBezTo>
                <a:cubicBezTo>
                  <a:pt x="224" y="500"/>
                  <a:pt x="222" y="501"/>
                  <a:pt x="222" y="500"/>
                </a:cubicBezTo>
                <a:close/>
                <a:moveTo>
                  <a:pt x="222" y="564"/>
                </a:moveTo>
                <a:cubicBezTo>
                  <a:pt x="222" y="565"/>
                  <a:pt x="219" y="565"/>
                  <a:pt x="219" y="564"/>
                </a:cubicBezTo>
                <a:cubicBezTo>
                  <a:pt x="219" y="562"/>
                  <a:pt x="222" y="563"/>
                  <a:pt x="222" y="564"/>
                </a:cubicBezTo>
                <a:close/>
                <a:moveTo>
                  <a:pt x="224" y="489"/>
                </a:moveTo>
                <a:cubicBezTo>
                  <a:pt x="224" y="489"/>
                  <a:pt x="223" y="490"/>
                  <a:pt x="223" y="490"/>
                </a:cubicBezTo>
                <a:cubicBezTo>
                  <a:pt x="222" y="489"/>
                  <a:pt x="225" y="488"/>
                  <a:pt x="224" y="489"/>
                </a:cubicBezTo>
                <a:close/>
                <a:moveTo>
                  <a:pt x="224" y="467"/>
                </a:moveTo>
                <a:cubicBezTo>
                  <a:pt x="224" y="470"/>
                  <a:pt x="222" y="469"/>
                  <a:pt x="224" y="467"/>
                </a:cubicBezTo>
                <a:close/>
                <a:moveTo>
                  <a:pt x="223" y="272"/>
                </a:moveTo>
                <a:cubicBezTo>
                  <a:pt x="223" y="273"/>
                  <a:pt x="222" y="274"/>
                  <a:pt x="221" y="275"/>
                </a:cubicBezTo>
                <a:cubicBezTo>
                  <a:pt x="221" y="273"/>
                  <a:pt x="222" y="273"/>
                  <a:pt x="223" y="272"/>
                </a:cubicBezTo>
                <a:close/>
                <a:moveTo>
                  <a:pt x="222" y="308"/>
                </a:moveTo>
                <a:cubicBezTo>
                  <a:pt x="222" y="310"/>
                  <a:pt x="220" y="312"/>
                  <a:pt x="218" y="313"/>
                </a:cubicBezTo>
                <a:cubicBezTo>
                  <a:pt x="220" y="312"/>
                  <a:pt x="220" y="310"/>
                  <a:pt x="222" y="308"/>
                </a:cubicBezTo>
                <a:close/>
                <a:moveTo>
                  <a:pt x="218" y="378"/>
                </a:moveTo>
                <a:cubicBezTo>
                  <a:pt x="218" y="376"/>
                  <a:pt x="220" y="378"/>
                  <a:pt x="218" y="378"/>
                </a:cubicBezTo>
                <a:close/>
                <a:moveTo>
                  <a:pt x="218" y="467"/>
                </a:moveTo>
                <a:cubicBezTo>
                  <a:pt x="218" y="467"/>
                  <a:pt x="217" y="467"/>
                  <a:pt x="217" y="466"/>
                </a:cubicBezTo>
                <a:cubicBezTo>
                  <a:pt x="217" y="466"/>
                  <a:pt x="218" y="466"/>
                  <a:pt x="218" y="467"/>
                </a:cubicBezTo>
                <a:close/>
                <a:moveTo>
                  <a:pt x="217" y="315"/>
                </a:move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lose/>
                <a:moveTo>
                  <a:pt x="218" y="382"/>
                </a:moveTo>
                <a:cubicBezTo>
                  <a:pt x="217" y="382"/>
                  <a:pt x="217" y="382"/>
                  <a:pt x="217" y="382"/>
                </a:cubicBezTo>
                <a:cubicBezTo>
                  <a:pt x="216" y="381"/>
                  <a:pt x="219" y="380"/>
                  <a:pt x="218" y="382"/>
                </a:cubicBezTo>
                <a:close/>
                <a:moveTo>
                  <a:pt x="212" y="322"/>
                </a:moveTo>
                <a:cubicBezTo>
                  <a:pt x="212" y="321"/>
                  <a:pt x="215" y="318"/>
                  <a:pt x="216" y="316"/>
                </a:cubicBezTo>
                <a:cubicBezTo>
                  <a:pt x="216" y="319"/>
                  <a:pt x="210" y="325"/>
                  <a:pt x="212" y="322"/>
                </a:cubicBezTo>
                <a:close/>
                <a:moveTo>
                  <a:pt x="215" y="450"/>
                </a:moveTo>
                <a:cubicBezTo>
                  <a:pt x="215" y="450"/>
                  <a:pt x="215" y="450"/>
                  <a:pt x="215" y="450"/>
                </a:cubicBezTo>
                <a:cubicBezTo>
                  <a:pt x="215" y="450"/>
                  <a:pt x="215" y="450"/>
                  <a:pt x="215" y="450"/>
                </a:cubicBezTo>
                <a:close/>
                <a:moveTo>
                  <a:pt x="214" y="449"/>
                </a:moveTo>
                <a:cubicBezTo>
                  <a:pt x="214" y="449"/>
                  <a:pt x="214" y="448"/>
                  <a:pt x="214" y="448"/>
                </a:cubicBezTo>
                <a:cubicBezTo>
                  <a:pt x="214" y="446"/>
                  <a:pt x="216" y="448"/>
                  <a:pt x="214" y="449"/>
                </a:cubicBezTo>
                <a:close/>
                <a:moveTo>
                  <a:pt x="214" y="524"/>
                </a:moveTo>
                <a:cubicBezTo>
                  <a:pt x="213" y="523"/>
                  <a:pt x="214" y="523"/>
                  <a:pt x="215" y="522"/>
                </a:cubicBezTo>
                <a:cubicBezTo>
                  <a:pt x="215" y="523"/>
                  <a:pt x="214" y="523"/>
                  <a:pt x="214" y="524"/>
                </a:cubicBezTo>
                <a:close/>
                <a:moveTo>
                  <a:pt x="212" y="508"/>
                </a:moveTo>
                <a:cubicBezTo>
                  <a:pt x="210" y="509"/>
                  <a:pt x="214" y="507"/>
                  <a:pt x="212" y="508"/>
                </a:cubicBezTo>
                <a:close/>
                <a:moveTo>
                  <a:pt x="202" y="518"/>
                </a:moveTo>
                <a:cubicBezTo>
                  <a:pt x="210" y="516"/>
                  <a:pt x="209" y="525"/>
                  <a:pt x="203" y="526"/>
                </a:cubicBezTo>
                <a:cubicBezTo>
                  <a:pt x="198" y="527"/>
                  <a:pt x="197" y="520"/>
                  <a:pt x="202" y="518"/>
                </a:cubicBezTo>
                <a:close/>
                <a:moveTo>
                  <a:pt x="201" y="548"/>
                </a:moveTo>
                <a:cubicBezTo>
                  <a:pt x="201" y="548"/>
                  <a:pt x="201" y="548"/>
                  <a:pt x="201" y="548"/>
                </a:cubicBezTo>
                <a:cubicBezTo>
                  <a:pt x="201" y="546"/>
                  <a:pt x="203" y="550"/>
                  <a:pt x="201" y="548"/>
                </a:cubicBezTo>
                <a:close/>
                <a:moveTo>
                  <a:pt x="199" y="549"/>
                </a:moveTo>
                <a:cubicBezTo>
                  <a:pt x="199" y="551"/>
                  <a:pt x="197" y="549"/>
                  <a:pt x="199" y="549"/>
                </a:cubicBezTo>
                <a:close/>
                <a:moveTo>
                  <a:pt x="200" y="494"/>
                </a:moveTo>
                <a:cubicBezTo>
                  <a:pt x="199" y="495"/>
                  <a:pt x="198" y="496"/>
                  <a:pt x="196" y="496"/>
                </a:cubicBezTo>
                <a:cubicBezTo>
                  <a:pt x="197" y="495"/>
                  <a:pt x="199" y="495"/>
                  <a:pt x="200" y="494"/>
                </a:cubicBezTo>
                <a:close/>
                <a:moveTo>
                  <a:pt x="202" y="420"/>
                </a:moveTo>
                <a:cubicBezTo>
                  <a:pt x="201" y="421"/>
                  <a:pt x="201" y="421"/>
                  <a:pt x="200" y="421"/>
                </a:cubicBezTo>
                <a:cubicBezTo>
                  <a:pt x="199" y="420"/>
                  <a:pt x="203" y="418"/>
                  <a:pt x="202" y="420"/>
                </a:cubicBezTo>
                <a:close/>
                <a:moveTo>
                  <a:pt x="203" y="493"/>
                </a:moveTo>
                <a:cubicBezTo>
                  <a:pt x="204" y="493"/>
                  <a:pt x="204" y="493"/>
                  <a:pt x="204" y="493"/>
                </a:cubicBezTo>
                <a:cubicBezTo>
                  <a:pt x="204" y="493"/>
                  <a:pt x="200" y="494"/>
                  <a:pt x="203" y="493"/>
                </a:cubicBezTo>
                <a:close/>
                <a:moveTo>
                  <a:pt x="206" y="456"/>
                </a:moveTo>
                <a:cubicBezTo>
                  <a:pt x="206" y="456"/>
                  <a:pt x="205" y="456"/>
                  <a:pt x="205" y="456"/>
                </a:cubicBezTo>
                <a:cubicBezTo>
                  <a:pt x="204" y="456"/>
                  <a:pt x="206" y="455"/>
                  <a:pt x="206" y="456"/>
                </a:cubicBezTo>
                <a:close/>
                <a:moveTo>
                  <a:pt x="206" y="475"/>
                </a:moveTo>
                <a:cubicBezTo>
                  <a:pt x="206" y="473"/>
                  <a:pt x="210" y="475"/>
                  <a:pt x="210" y="477"/>
                </a:cubicBezTo>
                <a:cubicBezTo>
                  <a:pt x="209" y="479"/>
                  <a:pt x="204" y="479"/>
                  <a:pt x="206" y="475"/>
                </a:cubicBezTo>
                <a:close/>
                <a:moveTo>
                  <a:pt x="208" y="439"/>
                </a:moveTo>
                <a:cubicBezTo>
                  <a:pt x="208" y="440"/>
                  <a:pt x="207" y="440"/>
                  <a:pt x="207" y="440"/>
                </a:cubicBezTo>
                <a:cubicBezTo>
                  <a:pt x="207" y="439"/>
                  <a:pt x="208" y="439"/>
                  <a:pt x="208" y="439"/>
                </a:cubicBezTo>
                <a:close/>
                <a:moveTo>
                  <a:pt x="208" y="405"/>
                </a:moveTo>
                <a:cubicBezTo>
                  <a:pt x="207" y="406"/>
                  <a:pt x="208" y="404"/>
                  <a:pt x="208" y="405"/>
                </a:cubicBezTo>
                <a:close/>
                <a:moveTo>
                  <a:pt x="209" y="467"/>
                </a:moveTo>
                <a:cubicBezTo>
                  <a:pt x="209" y="467"/>
                  <a:pt x="209" y="468"/>
                  <a:pt x="209" y="468"/>
                </a:cubicBezTo>
                <a:cubicBezTo>
                  <a:pt x="208" y="467"/>
                  <a:pt x="210" y="466"/>
                  <a:pt x="209" y="467"/>
                </a:cubicBezTo>
                <a:close/>
                <a:moveTo>
                  <a:pt x="210" y="509"/>
                </a:moveTo>
                <a:cubicBezTo>
                  <a:pt x="208" y="511"/>
                  <a:pt x="211" y="508"/>
                  <a:pt x="210" y="509"/>
                </a:cubicBezTo>
                <a:close/>
                <a:moveTo>
                  <a:pt x="210" y="444"/>
                </a:moveTo>
                <a:cubicBezTo>
                  <a:pt x="207" y="445"/>
                  <a:pt x="209" y="441"/>
                  <a:pt x="210" y="443"/>
                </a:cubicBezTo>
                <a:cubicBezTo>
                  <a:pt x="211" y="443"/>
                  <a:pt x="210" y="443"/>
                  <a:pt x="210" y="444"/>
                </a:cubicBezTo>
                <a:close/>
                <a:moveTo>
                  <a:pt x="210" y="185"/>
                </a:moveTo>
                <a:cubicBezTo>
                  <a:pt x="210" y="185"/>
                  <a:pt x="210" y="185"/>
                  <a:pt x="210" y="185"/>
                </a:cubicBezTo>
                <a:cubicBezTo>
                  <a:pt x="209" y="185"/>
                  <a:pt x="211" y="184"/>
                  <a:pt x="210" y="185"/>
                </a:cubicBezTo>
                <a:close/>
                <a:moveTo>
                  <a:pt x="210" y="203"/>
                </a:moveTo>
                <a:cubicBezTo>
                  <a:pt x="211" y="203"/>
                  <a:pt x="209" y="205"/>
                  <a:pt x="209" y="205"/>
                </a:cubicBezTo>
                <a:cubicBezTo>
                  <a:pt x="209" y="204"/>
                  <a:pt x="209" y="204"/>
                  <a:pt x="210" y="203"/>
                </a:cubicBezTo>
                <a:close/>
                <a:moveTo>
                  <a:pt x="210" y="371"/>
                </a:moveTo>
                <a:cubicBezTo>
                  <a:pt x="209" y="372"/>
                  <a:pt x="209" y="372"/>
                  <a:pt x="208" y="372"/>
                </a:cubicBezTo>
                <a:cubicBezTo>
                  <a:pt x="208" y="372"/>
                  <a:pt x="208" y="371"/>
                  <a:pt x="210" y="371"/>
                </a:cubicBezTo>
                <a:close/>
                <a:moveTo>
                  <a:pt x="208" y="181"/>
                </a:moveTo>
                <a:cubicBezTo>
                  <a:pt x="209" y="181"/>
                  <a:pt x="207" y="184"/>
                  <a:pt x="207" y="184"/>
                </a:cubicBezTo>
                <a:cubicBezTo>
                  <a:pt x="204" y="186"/>
                  <a:pt x="206" y="180"/>
                  <a:pt x="208" y="181"/>
                </a:cubicBezTo>
                <a:close/>
                <a:moveTo>
                  <a:pt x="207" y="374"/>
                </a:moveTo>
                <a:cubicBezTo>
                  <a:pt x="206" y="373"/>
                  <a:pt x="208" y="373"/>
                  <a:pt x="207" y="374"/>
                </a:cubicBezTo>
                <a:close/>
                <a:moveTo>
                  <a:pt x="207" y="387"/>
                </a:moveTo>
                <a:cubicBezTo>
                  <a:pt x="206" y="387"/>
                  <a:pt x="206" y="388"/>
                  <a:pt x="206" y="387"/>
                </a:cubicBezTo>
                <a:cubicBezTo>
                  <a:pt x="205" y="386"/>
                  <a:pt x="209" y="385"/>
                  <a:pt x="207" y="387"/>
                </a:cubicBezTo>
                <a:close/>
                <a:moveTo>
                  <a:pt x="204" y="211"/>
                </a:moveTo>
                <a:cubicBezTo>
                  <a:pt x="204" y="213"/>
                  <a:pt x="202" y="214"/>
                  <a:pt x="201" y="216"/>
                </a:cubicBezTo>
                <a:cubicBezTo>
                  <a:pt x="201" y="214"/>
                  <a:pt x="203" y="213"/>
                  <a:pt x="204" y="211"/>
                </a:cubicBezTo>
                <a:close/>
                <a:moveTo>
                  <a:pt x="202" y="326"/>
                </a:moveTo>
                <a:cubicBezTo>
                  <a:pt x="202" y="327"/>
                  <a:pt x="202" y="328"/>
                  <a:pt x="201" y="328"/>
                </a:cubicBezTo>
                <a:cubicBezTo>
                  <a:pt x="201" y="327"/>
                  <a:pt x="202" y="327"/>
                  <a:pt x="202" y="326"/>
                </a:cubicBezTo>
                <a:close/>
                <a:moveTo>
                  <a:pt x="205" y="387"/>
                </a:moveTo>
                <a:cubicBezTo>
                  <a:pt x="205" y="388"/>
                  <a:pt x="203" y="389"/>
                  <a:pt x="201" y="390"/>
                </a:cubicBezTo>
                <a:cubicBezTo>
                  <a:pt x="202" y="388"/>
                  <a:pt x="204" y="388"/>
                  <a:pt x="205" y="387"/>
                </a:cubicBezTo>
                <a:close/>
                <a:moveTo>
                  <a:pt x="196" y="218"/>
                </a:moveTo>
                <a:cubicBezTo>
                  <a:pt x="198" y="219"/>
                  <a:pt x="196" y="220"/>
                  <a:pt x="196" y="218"/>
                </a:cubicBezTo>
                <a:close/>
                <a:moveTo>
                  <a:pt x="196" y="249"/>
                </a:moveTo>
                <a:cubicBezTo>
                  <a:pt x="195" y="251"/>
                  <a:pt x="197" y="248"/>
                  <a:pt x="196" y="249"/>
                </a:cubicBezTo>
                <a:close/>
                <a:moveTo>
                  <a:pt x="198" y="349"/>
                </a:moveTo>
                <a:cubicBezTo>
                  <a:pt x="198" y="350"/>
                  <a:pt x="196" y="351"/>
                  <a:pt x="196" y="352"/>
                </a:cubicBezTo>
                <a:cubicBezTo>
                  <a:pt x="195" y="351"/>
                  <a:pt x="197" y="350"/>
                  <a:pt x="198" y="349"/>
                </a:cubicBezTo>
                <a:close/>
                <a:moveTo>
                  <a:pt x="196" y="296"/>
                </a:moveTo>
                <a:cubicBezTo>
                  <a:pt x="196" y="296"/>
                  <a:pt x="195" y="298"/>
                  <a:pt x="195" y="298"/>
                </a:cubicBezTo>
                <a:cubicBezTo>
                  <a:pt x="193" y="300"/>
                  <a:pt x="194" y="295"/>
                  <a:pt x="196" y="296"/>
                </a:cubicBezTo>
                <a:close/>
                <a:moveTo>
                  <a:pt x="194" y="353"/>
                </a:moveTo>
                <a:cubicBezTo>
                  <a:pt x="195" y="354"/>
                  <a:pt x="193" y="354"/>
                  <a:pt x="194" y="353"/>
                </a:cubicBezTo>
                <a:close/>
                <a:moveTo>
                  <a:pt x="192" y="213"/>
                </a:moveTo>
                <a:cubicBezTo>
                  <a:pt x="192" y="212"/>
                  <a:pt x="194" y="211"/>
                  <a:pt x="192" y="213"/>
                </a:cubicBezTo>
                <a:close/>
                <a:moveTo>
                  <a:pt x="193" y="252"/>
                </a:moveTo>
                <a:cubicBezTo>
                  <a:pt x="194" y="253"/>
                  <a:pt x="193" y="254"/>
                  <a:pt x="192" y="254"/>
                </a:cubicBezTo>
                <a:cubicBezTo>
                  <a:pt x="192" y="253"/>
                  <a:pt x="193" y="253"/>
                  <a:pt x="193" y="252"/>
                </a:cubicBezTo>
                <a:close/>
                <a:moveTo>
                  <a:pt x="193" y="354"/>
                </a:moveTo>
                <a:cubicBezTo>
                  <a:pt x="193" y="355"/>
                  <a:pt x="193" y="356"/>
                  <a:pt x="192" y="356"/>
                </a:cubicBezTo>
                <a:cubicBezTo>
                  <a:pt x="192" y="355"/>
                  <a:pt x="193" y="355"/>
                  <a:pt x="193" y="354"/>
                </a:cubicBezTo>
                <a:close/>
                <a:moveTo>
                  <a:pt x="192" y="305"/>
                </a:moveTo>
                <a:cubicBezTo>
                  <a:pt x="190" y="307"/>
                  <a:pt x="193" y="304"/>
                  <a:pt x="192" y="305"/>
                </a:cubicBezTo>
                <a:close/>
                <a:moveTo>
                  <a:pt x="188" y="397"/>
                </a:moveTo>
                <a:cubicBezTo>
                  <a:pt x="187" y="398"/>
                  <a:pt x="185" y="400"/>
                  <a:pt x="183" y="401"/>
                </a:cubicBezTo>
                <a:cubicBezTo>
                  <a:pt x="184" y="399"/>
                  <a:pt x="186" y="398"/>
                  <a:pt x="188" y="397"/>
                </a:cubicBezTo>
                <a:close/>
                <a:moveTo>
                  <a:pt x="184" y="384"/>
                </a:moveTo>
                <a:cubicBezTo>
                  <a:pt x="185" y="384"/>
                  <a:pt x="185" y="383"/>
                  <a:pt x="186" y="383"/>
                </a:cubicBezTo>
                <a:cubicBezTo>
                  <a:pt x="185" y="384"/>
                  <a:pt x="185" y="384"/>
                  <a:pt x="184" y="384"/>
                </a:cubicBezTo>
                <a:close/>
                <a:moveTo>
                  <a:pt x="184" y="243"/>
                </a:moveTo>
                <a:cubicBezTo>
                  <a:pt x="185" y="242"/>
                  <a:pt x="183" y="244"/>
                  <a:pt x="184" y="243"/>
                </a:cubicBezTo>
                <a:close/>
                <a:moveTo>
                  <a:pt x="182" y="186"/>
                </a:moveTo>
                <a:cubicBezTo>
                  <a:pt x="182" y="185"/>
                  <a:pt x="181" y="187"/>
                  <a:pt x="182" y="186"/>
                </a:cubicBezTo>
                <a:close/>
                <a:moveTo>
                  <a:pt x="184" y="243"/>
                </a:moveTo>
                <a:cubicBezTo>
                  <a:pt x="185" y="244"/>
                  <a:pt x="183" y="249"/>
                  <a:pt x="182" y="249"/>
                </a:cubicBezTo>
                <a:cubicBezTo>
                  <a:pt x="180" y="249"/>
                  <a:pt x="182" y="243"/>
                  <a:pt x="184" y="243"/>
                </a:cubicBezTo>
                <a:close/>
                <a:moveTo>
                  <a:pt x="177" y="208"/>
                </a:moveTo>
                <a:cubicBezTo>
                  <a:pt x="178" y="209"/>
                  <a:pt x="177" y="209"/>
                  <a:pt x="177" y="210"/>
                </a:cubicBezTo>
                <a:cubicBezTo>
                  <a:pt x="176" y="210"/>
                  <a:pt x="177" y="209"/>
                  <a:pt x="177" y="208"/>
                </a:cubicBezTo>
                <a:close/>
                <a:moveTo>
                  <a:pt x="182" y="322"/>
                </a:moveTo>
                <a:cubicBezTo>
                  <a:pt x="179" y="324"/>
                  <a:pt x="177" y="329"/>
                  <a:pt x="175" y="329"/>
                </a:cubicBezTo>
                <a:cubicBezTo>
                  <a:pt x="175" y="329"/>
                  <a:pt x="179" y="322"/>
                  <a:pt x="182" y="322"/>
                </a:cubicBezTo>
                <a:close/>
                <a:moveTo>
                  <a:pt x="180" y="403"/>
                </a:moveTo>
                <a:cubicBezTo>
                  <a:pt x="179" y="404"/>
                  <a:pt x="178" y="406"/>
                  <a:pt x="176" y="406"/>
                </a:cubicBezTo>
                <a:cubicBezTo>
                  <a:pt x="177" y="405"/>
                  <a:pt x="179" y="404"/>
                  <a:pt x="180" y="403"/>
                </a:cubicBezTo>
                <a:close/>
                <a:moveTo>
                  <a:pt x="178" y="383"/>
                </a:move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2"/>
                  <a:pt x="178" y="382"/>
                </a:cubicBezTo>
                <a:cubicBezTo>
                  <a:pt x="178" y="382"/>
                  <a:pt x="178" y="382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lose/>
                <a:moveTo>
                  <a:pt x="181" y="393"/>
                </a:moveTo>
                <a:cubicBezTo>
                  <a:pt x="181" y="393"/>
                  <a:pt x="180" y="395"/>
                  <a:pt x="180" y="395"/>
                </a:cubicBezTo>
                <a:cubicBezTo>
                  <a:pt x="178" y="397"/>
                  <a:pt x="179" y="392"/>
                  <a:pt x="181" y="393"/>
                </a:cubicBezTo>
                <a:close/>
                <a:moveTo>
                  <a:pt x="179" y="358"/>
                </a:moveTo>
                <a:cubicBezTo>
                  <a:pt x="179" y="358"/>
                  <a:pt x="180" y="359"/>
                  <a:pt x="180" y="359"/>
                </a:cubicBezTo>
                <a:cubicBezTo>
                  <a:pt x="180" y="360"/>
                  <a:pt x="178" y="359"/>
                  <a:pt x="179" y="358"/>
                </a:cubicBezTo>
                <a:close/>
                <a:moveTo>
                  <a:pt x="182" y="418"/>
                </a:moveTo>
                <a:cubicBezTo>
                  <a:pt x="183" y="416"/>
                  <a:pt x="187" y="412"/>
                  <a:pt x="190" y="410"/>
                </a:cubicBezTo>
                <a:cubicBezTo>
                  <a:pt x="190" y="410"/>
                  <a:pt x="190" y="408"/>
                  <a:pt x="191" y="409"/>
                </a:cubicBezTo>
                <a:cubicBezTo>
                  <a:pt x="192" y="410"/>
                  <a:pt x="189" y="414"/>
                  <a:pt x="189" y="414"/>
                </a:cubicBezTo>
                <a:cubicBezTo>
                  <a:pt x="188" y="415"/>
                  <a:pt x="186" y="415"/>
                  <a:pt x="184" y="417"/>
                </a:cubicBezTo>
                <a:cubicBezTo>
                  <a:pt x="180" y="419"/>
                  <a:pt x="178" y="424"/>
                  <a:pt x="174" y="426"/>
                </a:cubicBezTo>
                <a:cubicBezTo>
                  <a:pt x="174" y="422"/>
                  <a:pt x="180" y="421"/>
                  <a:pt x="182" y="418"/>
                </a:cubicBezTo>
                <a:close/>
                <a:moveTo>
                  <a:pt x="193" y="479"/>
                </a:moveTo>
                <a:cubicBezTo>
                  <a:pt x="192" y="481"/>
                  <a:pt x="192" y="479"/>
                  <a:pt x="193" y="479"/>
                </a:cubicBezTo>
                <a:close/>
                <a:moveTo>
                  <a:pt x="193" y="432"/>
                </a:moveTo>
                <a:cubicBezTo>
                  <a:pt x="194" y="432"/>
                  <a:pt x="193" y="433"/>
                  <a:pt x="193" y="432"/>
                </a:cubicBezTo>
                <a:cubicBezTo>
                  <a:pt x="192" y="432"/>
                  <a:pt x="193" y="432"/>
                  <a:pt x="193" y="432"/>
                </a:cubicBezTo>
                <a:close/>
                <a:moveTo>
                  <a:pt x="191" y="460"/>
                </a:moveTo>
                <a:cubicBezTo>
                  <a:pt x="192" y="458"/>
                  <a:pt x="193" y="460"/>
                  <a:pt x="191" y="460"/>
                </a:cubicBezTo>
                <a:close/>
                <a:moveTo>
                  <a:pt x="193" y="489"/>
                </a:moveTo>
                <a:cubicBezTo>
                  <a:pt x="193" y="490"/>
                  <a:pt x="192" y="491"/>
                  <a:pt x="191" y="491"/>
                </a:cubicBezTo>
                <a:cubicBezTo>
                  <a:pt x="189" y="492"/>
                  <a:pt x="191" y="487"/>
                  <a:pt x="193" y="489"/>
                </a:cubicBezTo>
                <a:close/>
                <a:moveTo>
                  <a:pt x="190" y="440"/>
                </a:moveTo>
                <a:cubicBezTo>
                  <a:pt x="189" y="439"/>
                  <a:pt x="191" y="438"/>
                  <a:pt x="191" y="439"/>
                </a:cubicBezTo>
                <a:cubicBezTo>
                  <a:pt x="191" y="439"/>
                  <a:pt x="190" y="440"/>
                  <a:pt x="190" y="440"/>
                </a:cubicBezTo>
                <a:close/>
                <a:moveTo>
                  <a:pt x="189" y="511"/>
                </a:moveTo>
                <a:cubicBezTo>
                  <a:pt x="189" y="511"/>
                  <a:pt x="189" y="512"/>
                  <a:pt x="188" y="511"/>
                </a:cubicBezTo>
                <a:cubicBezTo>
                  <a:pt x="188" y="511"/>
                  <a:pt x="189" y="510"/>
                  <a:pt x="189" y="511"/>
                </a:cubicBezTo>
                <a:close/>
                <a:moveTo>
                  <a:pt x="186" y="470"/>
                </a:moveTo>
                <a:cubicBezTo>
                  <a:pt x="185" y="469"/>
                  <a:pt x="188" y="469"/>
                  <a:pt x="188" y="470"/>
                </a:cubicBezTo>
                <a:cubicBezTo>
                  <a:pt x="189" y="471"/>
                  <a:pt x="186" y="472"/>
                  <a:pt x="186" y="470"/>
                </a:cubicBezTo>
                <a:close/>
                <a:moveTo>
                  <a:pt x="184" y="470"/>
                </a:moveTo>
                <a:cubicBezTo>
                  <a:pt x="185" y="471"/>
                  <a:pt x="184" y="472"/>
                  <a:pt x="183" y="472"/>
                </a:cubicBezTo>
                <a:cubicBezTo>
                  <a:pt x="180" y="474"/>
                  <a:pt x="182" y="469"/>
                  <a:pt x="184" y="470"/>
                </a:cubicBezTo>
                <a:close/>
                <a:moveTo>
                  <a:pt x="183" y="435"/>
                </a:moveTo>
                <a:cubicBezTo>
                  <a:pt x="183" y="434"/>
                  <a:pt x="182" y="436"/>
                  <a:pt x="183" y="435"/>
                </a:cubicBezTo>
                <a:close/>
                <a:moveTo>
                  <a:pt x="180" y="443"/>
                </a:moveTo>
                <a:cubicBezTo>
                  <a:pt x="180" y="443"/>
                  <a:pt x="179" y="443"/>
                  <a:pt x="179" y="443"/>
                </a:cubicBezTo>
                <a:cubicBezTo>
                  <a:pt x="178" y="445"/>
                  <a:pt x="180" y="440"/>
                  <a:pt x="180" y="443"/>
                </a:cubicBezTo>
                <a:close/>
                <a:moveTo>
                  <a:pt x="174" y="445"/>
                </a:moveTo>
                <a:cubicBezTo>
                  <a:pt x="173" y="446"/>
                  <a:pt x="174" y="444"/>
                  <a:pt x="174" y="445"/>
                </a:cubicBezTo>
                <a:close/>
                <a:moveTo>
                  <a:pt x="173" y="182"/>
                </a:moveTo>
                <a:cubicBezTo>
                  <a:pt x="172" y="182"/>
                  <a:pt x="174" y="180"/>
                  <a:pt x="173" y="182"/>
                </a:cubicBezTo>
                <a:close/>
                <a:moveTo>
                  <a:pt x="173" y="438"/>
                </a:moveTo>
                <a:cubicBezTo>
                  <a:pt x="174" y="437"/>
                  <a:pt x="172" y="440"/>
                  <a:pt x="173" y="438"/>
                </a:cubicBezTo>
                <a:close/>
                <a:moveTo>
                  <a:pt x="173" y="477"/>
                </a:moveTo>
                <a:cubicBezTo>
                  <a:pt x="172" y="478"/>
                  <a:pt x="172" y="478"/>
                  <a:pt x="170" y="478"/>
                </a:cubicBezTo>
                <a:cubicBezTo>
                  <a:pt x="171" y="478"/>
                  <a:pt x="171" y="477"/>
                  <a:pt x="173" y="477"/>
                </a:cubicBezTo>
                <a:close/>
                <a:moveTo>
                  <a:pt x="173" y="314"/>
                </a:move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lose/>
                <a:moveTo>
                  <a:pt x="171" y="307"/>
                </a:moveTo>
                <a:cubicBezTo>
                  <a:pt x="171" y="308"/>
                  <a:pt x="171" y="309"/>
                  <a:pt x="169" y="310"/>
                </a:cubicBezTo>
                <a:cubicBezTo>
                  <a:pt x="168" y="310"/>
                  <a:pt x="167" y="310"/>
                  <a:pt x="166" y="309"/>
                </a:cubicBezTo>
                <a:cubicBezTo>
                  <a:pt x="164" y="305"/>
                  <a:pt x="171" y="303"/>
                  <a:pt x="171" y="307"/>
                </a:cubicBezTo>
                <a:close/>
                <a:moveTo>
                  <a:pt x="168" y="501"/>
                </a:moveTo>
                <a:cubicBezTo>
                  <a:pt x="168" y="501"/>
                  <a:pt x="168" y="501"/>
                  <a:pt x="169" y="501"/>
                </a:cubicBezTo>
                <a:cubicBezTo>
                  <a:pt x="169" y="501"/>
                  <a:pt x="168" y="502"/>
                  <a:pt x="168" y="501"/>
                </a:cubicBezTo>
                <a:close/>
                <a:moveTo>
                  <a:pt x="166" y="342"/>
                </a:moveTo>
                <a:cubicBezTo>
                  <a:pt x="166" y="342"/>
                  <a:pt x="166" y="342"/>
                  <a:pt x="166" y="342"/>
                </a:cubicBezTo>
                <a:cubicBezTo>
                  <a:pt x="166" y="342"/>
                  <a:pt x="166" y="343"/>
                  <a:pt x="165" y="343"/>
                </a:cubicBezTo>
                <a:cubicBezTo>
                  <a:pt x="165" y="343"/>
                  <a:pt x="165" y="343"/>
                  <a:pt x="165" y="343"/>
                </a:cubicBezTo>
                <a:cubicBezTo>
                  <a:pt x="165" y="343"/>
                  <a:pt x="166" y="342"/>
                  <a:pt x="166" y="342"/>
                </a:cubicBezTo>
                <a:close/>
                <a:moveTo>
                  <a:pt x="165" y="307"/>
                </a:moveTo>
                <a:cubicBezTo>
                  <a:pt x="163" y="308"/>
                  <a:pt x="167" y="306"/>
                  <a:pt x="165" y="307"/>
                </a:cubicBezTo>
                <a:close/>
                <a:moveTo>
                  <a:pt x="164" y="344"/>
                </a:moveTo>
                <a:cubicBezTo>
                  <a:pt x="163" y="344"/>
                  <a:pt x="166" y="342"/>
                  <a:pt x="164" y="344"/>
                </a:cubicBezTo>
                <a:close/>
                <a:moveTo>
                  <a:pt x="165" y="345"/>
                </a:moveTo>
                <a:cubicBezTo>
                  <a:pt x="164" y="346"/>
                  <a:pt x="164" y="347"/>
                  <a:pt x="162" y="347"/>
                </a:cubicBezTo>
                <a:cubicBezTo>
                  <a:pt x="163" y="347"/>
                  <a:pt x="163" y="346"/>
                  <a:pt x="165" y="345"/>
                </a:cubicBezTo>
                <a:close/>
                <a:moveTo>
                  <a:pt x="161" y="347"/>
                </a:moveTo>
                <a:cubicBezTo>
                  <a:pt x="160" y="348"/>
                  <a:pt x="162" y="346"/>
                  <a:pt x="161" y="347"/>
                </a:cubicBezTo>
                <a:close/>
                <a:moveTo>
                  <a:pt x="160" y="350"/>
                </a:moveTo>
                <a:cubicBezTo>
                  <a:pt x="161" y="348"/>
                  <a:pt x="162" y="349"/>
                  <a:pt x="160" y="350"/>
                </a:cubicBezTo>
                <a:close/>
                <a:moveTo>
                  <a:pt x="168" y="370"/>
                </a:moveTo>
                <a:cubicBezTo>
                  <a:pt x="165" y="373"/>
                  <a:pt x="163" y="376"/>
                  <a:pt x="158" y="378"/>
                </a:cubicBezTo>
                <a:cubicBezTo>
                  <a:pt x="161" y="375"/>
                  <a:pt x="164" y="372"/>
                  <a:pt x="168" y="370"/>
                </a:cubicBezTo>
                <a:close/>
                <a:moveTo>
                  <a:pt x="167" y="392"/>
                </a:moveTo>
                <a:cubicBezTo>
                  <a:pt x="166" y="393"/>
                  <a:pt x="168" y="390"/>
                  <a:pt x="167" y="391"/>
                </a:cubicBezTo>
                <a:cubicBezTo>
                  <a:pt x="167" y="391"/>
                  <a:pt x="167" y="392"/>
                  <a:pt x="167" y="392"/>
                </a:cubicBezTo>
                <a:close/>
                <a:moveTo>
                  <a:pt x="168" y="424"/>
                </a:moveTo>
                <a:cubicBezTo>
                  <a:pt x="168" y="424"/>
                  <a:pt x="167" y="424"/>
                  <a:pt x="167" y="424"/>
                </a:cubicBezTo>
                <a:cubicBezTo>
                  <a:pt x="166" y="423"/>
                  <a:pt x="168" y="423"/>
                  <a:pt x="168" y="424"/>
                </a:cubicBezTo>
                <a:close/>
                <a:moveTo>
                  <a:pt x="161" y="457"/>
                </a:moveTo>
                <a:cubicBezTo>
                  <a:pt x="161" y="458"/>
                  <a:pt x="158" y="461"/>
                  <a:pt x="157" y="460"/>
                </a:cubicBezTo>
                <a:cubicBezTo>
                  <a:pt x="156" y="458"/>
                  <a:pt x="159" y="456"/>
                  <a:pt x="161" y="457"/>
                </a:cubicBezTo>
                <a:close/>
                <a:moveTo>
                  <a:pt x="157" y="477"/>
                </a:move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lose/>
                <a:moveTo>
                  <a:pt x="161" y="502"/>
                </a:moveTo>
                <a:cubicBezTo>
                  <a:pt x="161" y="503"/>
                  <a:pt x="159" y="504"/>
                  <a:pt x="159" y="503"/>
                </a:cubicBezTo>
                <a:cubicBezTo>
                  <a:pt x="159" y="502"/>
                  <a:pt x="160" y="501"/>
                  <a:pt x="161" y="502"/>
                </a:cubicBezTo>
                <a:close/>
                <a:moveTo>
                  <a:pt x="159" y="482"/>
                </a:moveTo>
                <a:cubicBezTo>
                  <a:pt x="158" y="483"/>
                  <a:pt x="160" y="481"/>
                  <a:pt x="159" y="482"/>
                </a:cubicBezTo>
                <a:close/>
                <a:moveTo>
                  <a:pt x="162" y="484"/>
                </a:moveTo>
                <a:cubicBezTo>
                  <a:pt x="163" y="484"/>
                  <a:pt x="162" y="485"/>
                  <a:pt x="161" y="485"/>
                </a:cubicBezTo>
                <a:cubicBezTo>
                  <a:pt x="160" y="486"/>
                  <a:pt x="161" y="483"/>
                  <a:pt x="162" y="484"/>
                </a:cubicBezTo>
                <a:close/>
                <a:moveTo>
                  <a:pt x="161" y="428"/>
                </a:moveTo>
                <a:cubicBezTo>
                  <a:pt x="162" y="429"/>
                  <a:pt x="160" y="432"/>
                  <a:pt x="160" y="432"/>
                </a:cubicBezTo>
                <a:cubicBezTo>
                  <a:pt x="155" y="435"/>
                  <a:pt x="158" y="426"/>
                  <a:pt x="161" y="428"/>
                </a:cubicBezTo>
                <a:close/>
                <a:moveTo>
                  <a:pt x="164" y="506"/>
                </a:moveTo>
                <a:cubicBezTo>
                  <a:pt x="165" y="507"/>
                  <a:pt x="160" y="510"/>
                  <a:pt x="159" y="510"/>
                </a:cubicBezTo>
                <a:cubicBezTo>
                  <a:pt x="154" y="511"/>
                  <a:pt x="163" y="505"/>
                  <a:pt x="164" y="506"/>
                </a:cubicBezTo>
                <a:close/>
                <a:moveTo>
                  <a:pt x="163" y="443"/>
                </a:moveTo>
                <a:cubicBezTo>
                  <a:pt x="163" y="443"/>
                  <a:pt x="163" y="444"/>
                  <a:pt x="162" y="444"/>
                </a:cubicBezTo>
                <a:cubicBezTo>
                  <a:pt x="162" y="443"/>
                  <a:pt x="163" y="443"/>
                  <a:pt x="163" y="443"/>
                </a:cubicBezTo>
                <a:close/>
                <a:moveTo>
                  <a:pt x="159" y="351"/>
                </a:moveTo>
                <a:cubicBezTo>
                  <a:pt x="159" y="351"/>
                  <a:pt x="159" y="350"/>
                  <a:pt x="160" y="350"/>
                </a:cubicBezTo>
                <a:cubicBezTo>
                  <a:pt x="160" y="350"/>
                  <a:pt x="160" y="351"/>
                  <a:pt x="159" y="351"/>
                </a:cubicBezTo>
                <a:close/>
                <a:moveTo>
                  <a:pt x="160" y="259"/>
                </a:moveTo>
                <a:cubicBezTo>
                  <a:pt x="160" y="259"/>
                  <a:pt x="160" y="260"/>
                  <a:pt x="160" y="260"/>
                </a:cubicBezTo>
                <a:cubicBezTo>
                  <a:pt x="159" y="261"/>
                  <a:pt x="158" y="258"/>
                  <a:pt x="160" y="259"/>
                </a:cubicBezTo>
                <a:close/>
                <a:moveTo>
                  <a:pt x="160" y="349"/>
                </a:moveTo>
                <a:cubicBezTo>
                  <a:pt x="159" y="350"/>
                  <a:pt x="159" y="350"/>
                  <a:pt x="158" y="351"/>
                </a:cubicBezTo>
                <a:cubicBezTo>
                  <a:pt x="158" y="350"/>
                  <a:pt x="159" y="349"/>
                  <a:pt x="160" y="349"/>
                </a:cubicBezTo>
                <a:close/>
                <a:moveTo>
                  <a:pt x="159" y="352"/>
                </a:moveTo>
                <a:cubicBezTo>
                  <a:pt x="158" y="352"/>
                  <a:pt x="158" y="353"/>
                  <a:pt x="157" y="353"/>
                </a:cubicBezTo>
                <a:cubicBezTo>
                  <a:pt x="157" y="352"/>
                  <a:pt x="158" y="352"/>
                  <a:pt x="159" y="352"/>
                </a:cubicBezTo>
                <a:close/>
                <a:moveTo>
                  <a:pt x="156" y="354"/>
                </a:moveTo>
                <a:cubicBezTo>
                  <a:pt x="155" y="355"/>
                  <a:pt x="158" y="353"/>
                  <a:pt x="156" y="354"/>
                </a:cubicBezTo>
                <a:close/>
                <a:moveTo>
                  <a:pt x="157" y="415"/>
                </a:moveTo>
                <a:cubicBezTo>
                  <a:pt x="158" y="416"/>
                  <a:pt x="157" y="417"/>
                  <a:pt x="156" y="417"/>
                </a:cubicBezTo>
                <a:cubicBezTo>
                  <a:pt x="156" y="416"/>
                  <a:pt x="157" y="416"/>
                  <a:pt x="157" y="415"/>
                </a:cubicBezTo>
                <a:close/>
                <a:moveTo>
                  <a:pt x="133" y="461"/>
                </a:moveTo>
                <a:cubicBezTo>
                  <a:pt x="137" y="457"/>
                  <a:pt x="142" y="453"/>
                  <a:pt x="148" y="450"/>
                </a:cubicBezTo>
                <a:cubicBezTo>
                  <a:pt x="143" y="454"/>
                  <a:pt x="138" y="457"/>
                  <a:pt x="133" y="461"/>
                </a:cubicBezTo>
                <a:close/>
                <a:moveTo>
                  <a:pt x="138" y="463"/>
                </a:moveTo>
                <a:cubicBezTo>
                  <a:pt x="138" y="464"/>
                  <a:pt x="137" y="464"/>
                  <a:pt x="137" y="463"/>
                </a:cubicBezTo>
                <a:cubicBezTo>
                  <a:pt x="136" y="462"/>
                  <a:pt x="138" y="463"/>
                  <a:pt x="138" y="463"/>
                </a:cubicBezTo>
                <a:close/>
                <a:moveTo>
                  <a:pt x="147" y="446"/>
                </a:moveTo>
                <a:cubicBezTo>
                  <a:pt x="146" y="446"/>
                  <a:pt x="145" y="447"/>
                  <a:pt x="145" y="447"/>
                </a:cubicBezTo>
                <a:cubicBezTo>
                  <a:pt x="144" y="446"/>
                  <a:pt x="152" y="439"/>
                  <a:pt x="153" y="440"/>
                </a:cubicBezTo>
                <a:cubicBezTo>
                  <a:pt x="154" y="440"/>
                  <a:pt x="147" y="446"/>
                  <a:pt x="147" y="446"/>
                </a:cubicBezTo>
                <a:close/>
                <a:moveTo>
                  <a:pt x="148" y="401"/>
                </a:moveTo>
                <a:cubicBezTo>
                  <a:pt x="151" y="399"/>
                  <a:pt x="146" y="402"/>
                  <a:pt x="148" y="401"/>
                </a:cubicBezTo>
                <a:close/>
                <a:moveTo>
                  <a:pt x="150" y="439"/>
                </a:moveTo>
                <a:cubicBezTo>
                  <a:pt x="150" y="440"/>
                  <a:pt x="149" y="440"/>
                  <a:pt x="148" y="440"/>
                </a:cubicBezTo>
                <a:cubicBezTo>
                  <a:pt x="148" y="439"/>
                  <a:pt x="149" y="439"/>
                  <a:pt x="150" y="439"/>
                </a:cubicBezTo>
                <a:close/>
                <a:moveTo>
                  <a:pt x="151" y="379"/>
                </a:moveTo>
                <a:cubicBezTo>
                  <a:pt x="150" y="380"/>
                  <a:pt x="151" y="378"/>
                  <a:pt x="151" y="379"/>
                </a:cubicBezTo>
                <a:close/>
                <a:moveTo>
                  <a:pt x="153" y="447"/>
                </a:moveTo>
                <a:cubicBezTo>
                  <a:pt x="153" y="449"/>
                  <a:pt x="150" y="449"/>
                  <a:pt x="149" y="450"/>
                </a:cubicBezTo>
                <a:cubicBezTo>
                  <a:pt x="149" y="449"/>
                  <a:pt x="152" y="448"/>
                  <a:pt x="153" y="447"/>
                </a:cubicBezTo>
                <a:close/>
                <a:moveTo>
                  <a:pt x="156" y="472"/>
                </a:moveTo>
                <a:cubicBezTo>
                  <a:pt x="155" y="473"/>
                  <a:pt x="152" y="475"/>
                  <a:pt x="151" y="475"/>
                </a:cubicBezTo>
                <a:cubicBezTo>
                  <a:pt x="151" y="475"/>
                  <a:pt x="154" y="471"/>
                  <a:pt x="156" y="472"/>
                </a:cubicBezTo>
                <a:close/>
                <a:moveTo>
                  <a:pt x="156" y="435"/>
                </a:moveTo>
                <a:cubicBezTo>
                  <a:pt x="156" y="435"/>
                  <a:pt x="156" y="435"/>
                  <a:pt x="157" y="435"/>
                </a:cubicBezTo>
                <a:cubicBezTo>
                  <a:pt x="156" y="435"/>
                  <a:pt x="156" y="435"/>
                  <a:pt x="156" y="435"/>
                </a:cubicBezTo>
                <a:cubicBezTo>
                  <a:pt x="156" y="435"/>
                  <a:pt x="156" y="435"/>
                  <a:pt x="156" y="435"/>
                </a:cubicBezTo>
                <a:close/>
                <a:moveTo>
                  <a:pt x="155" y="447"/>
                </a:moveTo>
                <a:cubicBezTo>
                  <a:pt x="155" y="447"/>
                  <a:pt x="154" y="448"/>
                  <a:pt x="154" y="447"/>
                </a:cubicBezTo>
                <a:cubicBezTo>
                  <a:pt x="153" y="446"/>
                  <a:pt x="156" y="445"/>
                  <a:pt x="155" y="447"/>
                </a:cubicBezTo>
                <a:close/>
                <a:moveTo>
                  <a:pt x="155" y="434"/>
                </a:moveTo>
                <a:cubicBezTo>
                  <a:pt x="155" y="434"/>
                  <a:pt x="154" y="435"/>
                  <a:pt x="154" y="435"/>
                </a:cubicBezTo>
                <a:cubicBezTo>
                  <a:pt x="152" y="437"/>
                  <a:pt x="153" y="432"/>
                  <a:pt x="155" y="434"/>
                </a:cubicBezTo>
                <a:close/>
                <a:moveTo>
                  <a:pt x="152" y="391"/>
                </a:moveTo>
                <a:cubicBezTo>
                  <a:pt x="153" y="391"/>
                  <a:pt x="152" y="392"/>
                  <a:pt x="152" y="392"/>
                </a:cubicBezTo>
                <a:cubicBezTo>
                  <a:pt x="151" y="393"/>
                  <a:pt x="151" y="390"/>
                  <a:pt x="152" y="391"/>
                </a:cubicBezTo>
                <a:close/>
                <a:moveTo>
                  <a:pt x="151" y="438"/>
                </a:moveTo>
                <a:cubicBezTo>
                  <a:pt x="152" y="436"/>
                  <a:pt x="154" y="438"/>
                  <a:pt x="151" y="438"/>
                </a:cubicBezTo>
                <a:close/>
                <a:moveTo>
                  <a:pt x="151" y="253"/>
                </a:moveTo>
                <a:cubicBezTo>
                  <a:pt x="151" y="253"/>
                  <a:pt x="151" y="254"/>
                  <a:pt x="150" y="254"/>
                </a:cubicBezTo>
                <a:cubicBezTo>
                  <a:pt x="150" y="253"/>
                  <a:pt x="151" y="252"/>
                  <a:pt x="151" y="253"/>
                </a:cubicBezTo>
                <a:close/>
                <a:moveTo>
                  <a:pt x="150" y="436"/>
                </a:moveTo>
                <a:cubicBezTo>
                  <a:pt x="151" y="436"/>
                  <a:pt x="150" y="437"/>
                  <a:pt x="150" y="437"/>
                </a:cubicBezTo>
                <a:cubicBezTo>
                  <a:pt x="149" y="439"/>
                  <a:pt x="149" y="435"/>
                  <a:pt x="150" y="436"/>
                </a:cubicBezTo>
                <a:close/>
                <a:moveTo>
                  <a:pt x="149" y="322"/>
                </a:moveTo>
                <a:cubicBezTo>
                  <a:pt x="149" y="323"/>
                  <a:pt x="148" y="322"/>
                  <a:pt x="149" y="322"/>
                </a:cubicBezTo>
                <a:close/>
                <a:moveTo>
                  <a:pt x="149" y="365"/>
                </a:moveTo>
                <a:cubicBezTo>
                  <a:pt x="149" y="366"/>
                  <a:pt x="147" y="366"/>
                  <a:pt x="148" y="365"/>
                </a:cubicBezTo>
                <a:cubicBezTo>
                  <a:pt x="148" y="365"/>
                  <a:pt x="149" y="365"/>
                  <a:pt x="149" y="365"/>
                </a:cubicBezTo>
                <a:close/>
                <a:moveTo>
                  <a:pt x="147" y="197"/>
                </a:moveTo>
                <a:cubicBezTo>
                  <a:pt x="146" y="198"/>
                  <a:pt x="146" y="198"/>
                  <a:pt x="145" y="197"/>
                </a:cubicBezTo>
                <a:cubicBezTo>
                  <a:pt x="142" y="194"/>
                  <a:pt x="150" y="194"/>
                  <a:pt x="147" y="197"/>
                </a:cubicBezTo>
                <a:close/>
                <a:moveTo>
                  <a:pt x="145" y="359"/>
                </a:moveTo>
                <a:cubicBezTo>
                  <a:pt x="147" y="359"/>
                  <a:pt x="145" y="362"/>
                  <a:pt x="145" y="362"/>
                </a:cubicBezTo>
                <a:cubicBezTo>
                  <a:pt x="143" y="363"/>
                  <a:pt x="143" y="358"/>
                  <a:pt x="145" y="359"/>
                </a:cubicBezTo>
                <a:close/>
                <a:moveTo>
                  <a:pt x="145" y="402"/>
                </a:moveTo>
                <a:cubicBezTo>
                  <a:pt x="145" y="404"/>
                  <a:pt x="144" y="404"/>
                  <a:pt x="143" y="405"/>
                </a:cubicBezTo>
                <a:cubicBezTo>
                  <a:pt x="143" y="404"/>
                  <a:pt x="144" y="403"/>
                  <a:pt x="145" y="402"/>
                </a:cubicBezTo>
                <a:close/>
                <a:moveTo>
                  <a:pt x="132" y="456"/>
                </a:moveTo>
                <a:cubicBezTo>
                  <a:pt x="134" y="453"/>
                  <a:pt x="139" y="450"/>
                  <a:pt x="143" y="448"/>
                </a:cubicBezTo>
                <a:cubicBezTo>
                  <a:pt x="139" y="451"/>
                  <a:pt x="137" y="455"/>
                  <a:pt x="132" y="456"/>
                </a:cubicBezTo>
                <a:close/>
                <a:moveTo>
                  <a:pt x="131" y="395"/>
                </a:moveTo>
                <a:cubicBezTo>
                  <a:pt x="132" y="394"/>
                  <a:pt x="132" y="393"/>
                  <a:pt x="134" y="393"/>
                </a:cubicBezTo>
                <a:cubicBezTo>
                  <a:pt x="134" y="393"/>
                  <a:pt x="132" y="395"/>
                  <a:pt x="131" y="395"/>
                </a:cubicBezTo>
                <a:close/>
                <a:moveTo>
                  <a:pt x="134" y="448"/>
                </a:moveTo>
                <a:cubicBezTo>
                  <a:pt x="134" y="448"/>
                  <a:pt x="133" y="449"/>
                  <a:pt x="133" y="448"/>
                </a:cubicBezTo>
                <a:cubicBezTo>
                  <a:pt x="132" y="447"/>
                  <a:pt x="135" y="447"/>
                  <a:pt x="134" y="448"/>
                </a:cubicBezTo>
                <a:close/>
                <a:moveTo>
                  <a:pt x="132" y="422"/>
                </a:moveTo>
                <a:cubicBezTo>
                  <a:pt x="131" y="421"/>
                  <a:pt x="131" y="420"/>
                  <a:pt x="132" y="420"/>
                </a:cubicBezTo>
                <a:cubicBezTo>
                  <a:pt x="133" y="420"/>
                  <a:pt x="134" y="421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5" y="424"/>
                  <a:pt x="130" y="426"/>
                  <a:pt x="130" y="423"/>
                </a:cubicBezTo>
                <a:cubicBezTo>
                  <a:pt x="130" y="422"/>
                  <a:pt x="131" y="422"/>
                  <a:pt x="132" y="422"/>
                </a:cubicBezTo>
                <a:close/>
                <a:moveTo>
                  <a:pt x="138" y="416"/>
                </a:moveTo>
                <a:cubicBezTo>
                  <a:pt x="137" y="417"/>
                  <a:pt x="139" y="415"/>
                  <a:pt x="138" y="416"/>
                </a:cubicBezTo>
                <a:close/>
                <a:moveTo>
                  <a:pt x="139" y="433"/>
                </a:moveTo>
                <a:cubicBezTo>
                  <a:pt x="139" y="432"/>
                  <a:pt x="139" y="432"/>
                  <a:pt x="139" y="432"/>
                </a:cubicBezTo>
                <a:cubicBezTo>
                  <a:pt x="139" y="430"/>
                  <a:pt x="141" y="433"/>
                  <a:pt x="139" y="433"/>
                </a:cubicBezTo>
                <a:close/>
                <a:moveTo>
                  <a:pt x="140" y="443"/>
                </a:moveTo>
                <a:cubicBezTo>
                  <a:pt x="140" y="443"/>
                  <a:pt x="141" y="443"/>
                  <a:pt x="141" y="444"/>
                </a:cubicBezTo>
                <a:cubicBezTo>
                  <a:pt x="141" y="444"/>
                  <a:pt x="140" y="444"/>
                  <a:pt x="140" y="443"/>
                </a:cubicBezTo>
                <a:close/>
                <a:moveTo>
                  <a:pt x="142" y="387"/>
                </a:moveTo>
                <a:cubicBezTo>
                  <a:pt x="141" y="387"/>
                  <a:pt x="144" y="386"/>
                  <a:pt x="142" y="387"/>
                </a:cubicBezTo>
                <a:close/>
                <a:moveTo>
                  <a:pt x="142" y="436"/>
                </a:moveTo>
                <a:cubicBezTo>
                  <a:pt x="143" y="436"/>
                  <a:pt x="142" y="439"/>
                  <a:pt x="141" y="437"/>
                </a:cubicBezTo>
                <a:cubicBezTo>
                  <a:pt x="141" y="436"/>
                  <a:pt x="142" y="436"/>
                  <a:pt x="142" y="436"/>
                </a:cubicBezTo>
                <a:close/>
                <a:moveTo>
                  <a:pt x="142" y="387"/>
                </a:moveTo>
                <a:cubicBezTo>
                  <a:pt x="141" y="389"/>
                  <a:pt x="139" y="391"/>
                  <a:pt x="137" y="392"/>
                </a:cubicBezTo>
                <a:cubicBezTo>
                  <a:pt x="137" y="392"/>
                  <a:pt x="139" y="388"/>
                  <a:pt x="142" y="387"/>
                </a:cubicBezTo>
                <a:close/>
                <a:moveTo>
                  <a:pt x="136" y="246"/>
                </a:moveTo>
                <a:cubicBezTo>
                  <a:pt x="135" y="246"/>
                  <a:pt x="137" y="245"/>
                  <a:pt x="136" y="246"/>
                </a:cubicBezTo>
                <a:close/>
                <a:moveTo>
                  <a:pt x="134" y="301"/>
                </a:moveTo>
                <a:cubicBezTo>
                  <a:pt x="134" y="298"/>
                  <a:pt x="136" y="300"/>
                  <a:pt x="134" y="301"/>
                </a:cubicBezTo>
                <a:close/>
                <a:moveTo>
                  <a:pt x="135" y="342"/>
                </a:moveTo>
                <a:cubicBezTo>
                  <a:pt x="135" y="343"/>
                  <a:pt x="134" y="344"/>
                  <a:pt x="134" y="345"/>
                </a:cubicBezTo>
                <a:cubicBezTo>
                  <a:pt x="133" y="344"/>
                  <a:pt x="134" y="342"/>
                  <a:pt x="135" y="342"/>
                </a:cubicBezTo>
                <a:close/>
                <a:moveTo>
                  <a:pt x="129" y="351"/>
                </a:moveTo>
                <a:cubicBezTo>
                  <a:pt x="129" y="350"/>
                  <a:pt x="132" y="348"/>
                  <a:pt x="132" y="346"/>
                </a:cubicBezTo>
                <a:cubicBezTo>
                  <a:pt x="133" y="347"/>
                  <a:pt x="130" y="349"/>
                  <a:pt x="129" y="351"/>
                </a:cubicBezTo>
                <a:close/>
                <a:moveTo>
                  <a:pt x="132" y="280"/>
                </a:moveTo>
                <a:cubicBezTo>
                  <a:pt x="132" y="282"/>
                  <a:pt x="130" y="281"/>
                  <a:pt x="132" y="280"/>
                </a:cubicBezTo>
                <a:close/>
                <a:moveTo>
                  <a:pt x="129" y="305"/>
                </a:moveTo>
                <a:cubicBezTo>
                  <a:pt x="131" y="306"/>
                  <a:pt x="130" y="307"/>
                  <a:pt x="129" y="307"/>
                </a:cubicBezTo>
                <a:cubicBezTo>
                  <a:pt x="127" y="309"/>
                  <a:pt x="128" y="305"/>
                  <a:pt x="129" y="305"/>
                </a:cubicBezTo>
                <a:close/>
                <a:moveTo>
                  <a:pt x="118" y="327"/>
                </a:moveTo>
                <a:cubicBezTo>
                  <a:pt x="118" y="327"/>
                  <a:pt x="117" y="327"/>
                  <a:pt x="117" y="326"/>
                </a:cubicBezTo>
                <a:cubicBezTo>
                  <a:pt x="117" y="326"/>
                  <a:pt x="119" y="326"/>
                  <a:pt x="118" y="327"/>
                </a:cubicBezTo>
                <a:close/>
                <a:moveTo>
                  <a:pt x="118" y="336"/>
                </a:moveTo>
                <a:cubicBezTo>
                  <a:pt x="118" y="336"/>
                  <a:pt x="118" y="337"/>
                  <a:pt x="117" y="336"/>
                </a:cubicBezTo>
                <a:cubicBezTo>
                  <a:pt x="117" y="336"/>
                  <a:pt x="119" y="334"/>
                  <a:pt x="118" y="336"/>
                </a:cubicBezTo>
                <a:close/>
                <a:moveTo>
                  <a:pt x="115" y="336"/>
                </a:moveTo>
                <a:cubicBezTo>
                  <a:pt x="116" y="335"/>
                  <a:pt x="114" y="337"/>
                  <a:pt x="115" y="336"/>
                </a:cubicBezTo>
                <a:close/>
                <a:moveTo>
                  <a:pt x="115" y="386"/>
                </a:moveTo>
                <a:cubicBezTo>
                  <a:pt x="116" y="387"/>
                  <a:pt x="115" y="387"/>
                  <a:pt x="114" y="387"/>
                </a:cubicBezTo>
                <a:cubicBezTo>
                  <a:pt x="114" y="388"/>
                  <a:pt x="115" y="386"/>
                  <a:pt x="115" y="386"/>
                </a:cubicBezTo>
                <a:close/>
                <a:moveTo>
                  <a:pt x="114" y="388"/>
                </a:moveTo>
                <a:cubicBezTo>
                  <a:pt x="114" y="389"/>
                  <a:pt x="113" y="389"/>
                  <a:pt x="113" y="390"/>
                </a:cubicBezTo>
                <a:cubicBezTo>
                  <a:pt x="112" y="390"/>
                  <a:pt x="113" y="388"/>
                  <a:pt x="114" y="388"/>
                </a:cubicBezTo>
                <a:close/>
                <a:moveTo>
                  <a:pt x="111" y="394"/>
                </a:moveTo>
                <a:cubicBezTo>
                  <a:pt x="110" y="393"/>
                  <a:pt x="112" y="392"/>
                  <a:pt x="112" y="391"/>
                </a:cubicBezTo>
                <a:cubicBezTo>
                  <a:pt x="113" y="392"/>
                  <a:pt x="111" y="393"/>
                  <a:pt x="111" y="394"/>
                </a:cubicBezTo>
                <a:close/>
                <a:moveTo>
                  <a:pt x="112" y="243"/>
                </a:moveTo>
                <a:cubicBezTo>
                  <a:pt x="111" y="245"/>
                  <a:pt x="111" y="241"/>
                  <a:pt x="112" y="242"/>
                </a:cubicBezTo>
                <a:cubicBezTo>
                  <a:pt x="113" y="242"/>
                  <a:pt x="112" y="243"/>
                  <a:pt x="112" y="243"/>
                </a:cubicBezTo>
                <a:close/>
                <a:moveTo>
                  <a:pt x="115" y="433"/>
                </a:moveTo>
                <a:cubicBezTo>
                  <a:pt x="111" y="434"/>
                  <a:pt x="116" y="429"/>
                  <a:pt x="116" y="432"/>
                </a:cubicBezTo>
                <a:cubicBezTo>
                  <a:pt x="116" y="432"/>
                  <a:pt x="115" y="433"/>
                  <a:pt x="115" y="433"/>
                </a:cubicBezTo>
                <a:close/>
                <a:moveTo>
                  <a:pt x="116" y="435"/>
                </a:moveTo>
                <a:cubicBezTo>
                  <a:pt x="115" y="436"/>
                  <a:pt x="117" y="434"/>
                  <a:pt x="116" y="435"/>
                </a:cubicBezTo>
                <a:close/>
                <a:moveTo>
                  <a:pt x="113" y="417"/>
                </a:moveTo>
                <a:cubicBezTo>
                  <a:pt x="115" y="413"/>
                  <a:pt x="118" y="409"/>
                  <a:pt x="121" y="406"/>
                </a:cubicBezTo>
                <a:cubicBezTo>
                  <a:pt x="119" y="410"/>
                  <a:pt x="117" y="414"/>
                  <a:pt x="113" y="417"/>
                </a:cubicBezTo>
                <a:close/>
                <a:moveTo>
                  <a:pt x="121" y="276"/>
                </a:moveTo>
                <a:cubicBezTo>
                  <a:pt x="121" y="276"/>
                  <a:pt x="121" y="277"/>
                  <a:pt x="121" y="277"/>
                </a:cubicBezTo>
                <a:cubicBezTo>
                  <a:pt x="120" y="276"/>
                  <a:pt x="122" y="275"/>
                  <a:pt x="121" y="276"/>
                </a:cubicBezTo>
                <a:close/>
                <a:moveTo>
                  <a:pt x="122" y="193"/>
                </a:moveTo>
                <a:cubicBezTo>
                  <a:pt x="123" y="193"/>
                  <a:pt x="123" y="195"/>
                  <a:pt x="122" y="195"/>
                </a:cubicBezTo>
                <a:cubicBezTo>
                  <a:pt x="121" y="197"/>
                  <a:pt x="121" y="192"/>
                  <a:pt x="122" y="193"/>
                </a:cubicBezTo>
                <a:close/>
                <a:moveTo>
                  <a:pt x="122" y="472"/>
                </a:moveTo>
                <a:cubicBezTo>
                  <a:pt x="122" y="473"/>
                  <a:pt x="121" y="474"/>
                  <a:pt x="120" y="475"/>
                </a:cubicBezTo>
                <a:cubicBezTo>
                  <a:pt x="120" y="474"/>
                  <a:pt x="121" y="472"/>
                  <a:pt x="122" y="472"/>
                </a:cubicBezTo>
                <a:close/>
                <a:moveTo>
                  <a:pt x="120" y="461"/>
                </a:moveTo>
                <a:cubicBezTo>
                  <a:pt x="121" y="463"/>
                  <a:pt x="118" y="467"/>
                  <a:pt x="116" y="466"/>
                </a:cubicBezTo>
                <a:cubicBezTo>
                  <a:pt x="115" y="464"/>
                  <a:pt x="119" y="462"/>
                  <a:pt x="120" y="461"/>
                </a:cubicBezTo>
                <a:close/>
                <a:moveTo>
                  <a:pt x="111" y="479"/>
                </a:moveTo>
                <a:cubicBezTo>
                  <a:pt x="110" y="481"/>
                  <a:pt x="109" y="480"/>
                  <a:pt x="111" y="479"/>
                </a:cubicBezTo>
                <a:close/>
                <a:moveTo>
                  <a:pt x="110" y="496"/>
                </a:moveTo>
                <a:cubicBezTo>
                  <a:pt x="111" y="495"/>
                  <a:pt x="109" y="497"/>
                  <a:pt x="110" y="496"/>
                </a:cubicBezTo>
                <a:close/>
                <a:moveTo>
                  <a:pt x="107" y="477"/>
                </a:moveTo>
                <a:cubicBezTo>
                  <a:pt x="107" y="476"/>
                  <a:pt x="106" y="478"/>
                  <a:pt x="107" y="477"/>
                </a:cubicBezTo>
                <a:close/>
                <a:moveTo>
                  <a:pt x="109" y="509"/>
                </a:moveTo>
                <a:cubicBezTo>
                  <a:pt x="108" y="510"/>
                  <a:pt x="107" y="509"/>
                  <a:pt x="106" y="508"/>
                </a:cubicBezTo>
                <a:cubicBezTo>
                  <a:pt x="104" y="505"/>
                  <a:pt x="110" y="501"/>
                  <a:pt x="111" y="503"/>
                </a:cubicBezTo>
                <a:cubicBezTo>
                  <a:pt x="114" y="504"/>
                  <a:pt x="111" y="509"/>
                  <a:pt x="109" y="509"/>
                </a:cubicBezTo>
                <a:close/>
                <a:moveTo>
                  <a:pt x="115" y="501"/>
                </a:moveTo>
                <a:cubicBezTo>
                  <a:pt x="115" y="499"/>
                  <a:pt x="117" y="501"/>
                  <a:pt x="115" y="501"/>
                </a:cubicBezTo>
                <a:close/>
                <a:moveTo>
                  <a:pt x="115" y="498"/>
                </a:moveTo>
                <a:cubicBezTo>
                  <a:pt x="115" y="498"/>
                  <a:pt x="115" y="498"/>
                  <a:pt x="115" y="498"/>
                </a:cubicBezTo>
                <a:cubicBezTo>
                  <a:pt x="115" y="499"/>
                  <a:pt x="115" y="499"/>
                  <a:pt x="115" y="499"/>
                </a:cubicBezTo>
                <a:cubicBezTo>
                  <a:pt x="114" y="500"/>
                  <a:pt x="114" y="500"/>
                  <a:pt x="114" y="501"/>
                </a:cubicBezTo>
                <a:cubicBezTo>
                  <a:pt x="114" y="501"/>
                  <a:pt x="114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1"/>
                  <a:pt x="113" y="501"/>
                </a:cubicBezTo>
                <a:cubicBezTo>
                  <a:pt x="114" y="499"/>
                  <a:pt x="115" y="496"/>
                  <a:pt x="116" y="494"/>
                </a:cubicBezTo>
                <a:cubicBezTo>
                  <a:pt x="116" y="495"/>
                  <a:pt x="116" y="497"/>
                  <a:pt x="115" y="498"/>
                </a:cubicBezTo>
                <a:close/>
                <a:moveTo>
                  <a:pt x="115" y="482"/>
                </a:moveTo>
                <a:cubicBezTo>
                  <a:pt x="116" y="481"/>
                  <a:pt x="118" y="481"/>
                  <a:pt x="120" y="480"/>
                </a:cubicBezTo>
                <a:cubicBezTo>
                  <a:pt x="119" y="482"/>
                  <a:pt x="117" y="482"/>
                  <a:pt x="115" y="482"/>
                </a:cubicBezTo>
                <a:close/>
                <a:moveTo>
                  <a:pt x="121" y="500"/>
                </a:moveTo>
                <a:cubicBezTo>
                  <a:pt x="122" y="501"/>
                  <a:pt x="121" y="503"/>
                  <a:pt x="119" y="503"/>
                </a:cubicBezTo>
                <a:cubicBezTo>
                  <a:pt x="117" y="502"/>
                  <a:pt x="119" y="499"/>
                  <a:pt x="121" y="500"/>
                </a:cubicBezTo>
                <a:cubicBezTo>
                  <a:pt x="119" y="498"/>
                  <a:pt x="121" y="493"/>
                  <a:pt x="124" y="494"/>
                </a:cubicBezTo>
                <a:cubicBezTo>
                  <a:pt x="128" y="495"/>
                  <a:pt x="124" y="503"/>
                  <a:pt x="121" y="500"/>
                </a:cubicBezTo>
                <a:close/>
                <a:moveTo>
                  <a:pt x="123" y="425"/>
                </a:moveTo>
                <a:cubicBezTo>
                  <a:pt x="123" y="425"/>
                  <a:pt x="123" y="424"/>
                  <a:pt x="124" y="424"/>
                </a:cubicBezTo>
                <a:cubicBezTo>
                  <a:pt x="124" y="424"/>
                  <a:pt x="123" y="425"/>
                  <a:pt x="123" y="425"/>
                </a:cubicBezTo>
                <a:close/>
                <a:moveTo>
                  <a:pt x="123" y="474"/>
                </a:moveTo>
                <a:cubicBezTo>
                  <a:pt x="123" y="472"/>
                  <a:pt x="125" y="474"/>
                  <a:pt x="123" y="474"/>
                </a:cubicBezTo>
                <a:close/>
                <a:moveTo>
                  <a:pt x="123" y="471"/>
                </a:moveTo>
                <a:cubicBezTo>
                  <a:pt x="125" y="469"/>
                  <a:pt x="122" y="472"/>
                  <a:pt x="123" y="471"/>
                </a:cubicBezTo>
                <a:close/>
                <a:moveTo>
                  <a:pt x="126" y="472"/>
                </a:moveTo>
                <a:cubicBezTo>
                  <a:pt x="126" y="472"/>
                  <a:pt x="126" y="472"/>
                  <a:pt x="126" y="472"/>
                </a:cubicBezTo>
                <a:cubicBezTo>
                  <a:pt x="125" y="472"/>
                  <a:pt x="125" y="473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lose/>
                <a:moveTo>
                  <a:pt x="127" y="431"/>
                </a:moveTo>
                <a:cubicBezTo>
                  <a:pt x="127" y="431"/>
                  <a:pt x="128" y="431"/>
                  <a:pt x="127" y="432"/>
                </a:cubicBezTo>
                <a:cubicBezTo>
                  <a:pt x="127" y="433"/>
                  <a:pt x="126" y="431"/>
                  <a:pt x="127" y="431"/>
                </a:cubicBezTo>
                <a:close/>
                <a:moveTo>
                  <a:pt x="127" y="501"/>
                </a:moveTo>
                <a:cubicBezTo>
                  <a:pt x="127" y="500"/>
                  <a:pt x="127" y="500"/>
                  <a:pt x="127" y="500"/>
                </a:cubicBezTo>
                <a:cubicBezTo>
                  <a:pt x="127" y="498"/>
                  <a:pt x="129" y="501"/>
                  <a:pt x="127" y="501"/>
                </a:cubicBezTo>
                <a:close/>
                <a:moveTo>
                  <a:pt x="128" y="501"/>
                </a:moveTo>
                <a:cubicBezTo>
                  <a:pt x="127" y="502"/>
                  <a:pt x="128" y="499"/>
                  <a:pt x="129" y="500"/>
                </a:cubicBezTo>
                <a:cubicBezTo>
                  <a:pt x="130" y="501"/>
                  <a:pt x="129" y="501"/>
                  <a:pt x="128" y="501"/>
                </a:cubicBezTo>
                <a:close/>
                <a:moveTo>
                  <a:pt x="128" y="456"/>
                </a:moveTo>
                <a:cubicBezTo>
                  <a:pt x="129" y="455"/>
                  <a:pt x="127" y="457"/>
                  <a:pt x="128" y="456"/>
                </a:cubicBezTo>
                <a:close/>
                <a:moveTo>
                  <a:pt x="125" y="401"/>
                </a:moveTo>
                <a:cubicBezTo>
                  <a:pt x="125" y="401"/>
                  <a:pt x="122" y="406"/>
                  <a:pt x="123" y="403"/>
                </a:cubicBezTo>
                <a:cubicBezTo>
                  <a:pt x="123" y="401"/>
                  <a:pt x="128" y="398"/>
                  <a:pt x="130" y="396"/>
                </a:cubicBezTo>
                <a:cubicBezTo>
                  <a:pt x="129" y="398"/>
                  <a:pt x="127" y="399"/>
                  <a:pt x="125" y="401"/>
                </a:cubicBezTo>
                <a:close/>
                <a:moveTo>
                  <a:pt x="131" y="424"/>
                </a:moveTo>
                <a:cubicBezTo>
                  <a:pt x="131" y="424"/>
                  <a:pt x="131" y="425"/>
                  <a:pt x="130" y="426"/>
                </a:cubicBezTo>
                <a:cubicBezTo>
                  <a:pt x="130" y="426"/>
                  <a:pt x="130" y="424"/>
                  <a:pt x="131" y="424"/>
                </a:cubicBezTo>
                <a:close/>
                <a:moveTo>
                  <a:pt x="131" y="503"/>
                </a:moveTo>
                <a:cubicBezTo>
                  <a:pt x="129" y="502"/>
                  <a:pt x="134" y="500"/>
                  <a:pt x="132" y="503"/>
                </a:cubicBezTo>
                <a:cubicBezTo>
                  <a:pt x="132" y="503"/>
                  <a:pt x="131" y="504"/>
                  <a:pt x="131" y="503"/>
                </a:cubicBezTo>
                <a:close/>
                <a:moveTo>
                  <a:pt x="132" y="505"/>
                </a:moveTo>
                <a:cubicBezTo>
                  <a:pt x="132" y="506"/>
                  <a:pt x="133" y="504"/>
                  <a:pt x="132" y="505"/>
                </a:cubicBezTo>
                <a:close/>
                <a:moveTo>
                  <a:pt x="132" y="478"/>
                </a:moveTo>
                <a:cubicBezTo>
                  <a:pt x="130" y="480"/>
                  <a:pt x="130" y="474"/>
                  <a:pt x="132" y="475"/>
                </a:cubicBezTo>
                <a:cubicBezTo>
                  <a:pt x="134" y="476"/>
                  <a:pt x="133" y="478"/>
                  <a:pt x="132" y="478"/>
                </a:cubicBezTo>
                <a:close/>
                <a:moveTo>
                  <a:pt x="138" y="496"/>
                </a:moveTo>
                <a:cubicBezTo>
                  <a:pt x="136" y="498"/>
                  <a:pt x="135" y="493"/>
                  <a:pt x="137" y="494"/>
                </a:cubicBezTo>
                <a:cubicBezTo>
                  <a:pt x="138" y="494"/>
                  <a:pt x="138" y="496"/>
                  <a:pt x="138" y="496"/>
                </a:cubicBezTo>
                <a:close/>
                <a:moveTo>
                  <a:pt x="140" y="501"/>
                </a:moveTo>
                <a:cubicBezTo>
                  <a:pt x="141" y="500"/>
                  <a:pt x="141" y="502"/>
                  <a:pt x="140" y="501"/>
                </a:cubicBezTo>
                <a:close/>
                <a:moveTo>
                  <a:pt x="139" y="469"/>
                </a:moveTo>
                <a:cubicBezTo>
                  <a:pt x="138" y="471"/>
                  <a:pt x="136" y="474"/>
                  <a:pt x="135" y="475"/>
                </a:cubicBezTo>
                <a:cubicBezTo>
                  <a:pt x="130" y="476"/>
                  <a:pt x="139" y="468"/>
                  <a:pt x="141" y="467"/>
                </a:cubicBezTo>
                <a:cubicBezTo>
                  <a:pt x="138" y="469"/>
                  <a:pt x="141" y="465"/>
                  <a:pt x="142" y="466"/>
                </a:cubicBezTo>
                <a:cubicBezTo>
                  <a:pt x="143" y="467"/>
                  <a:pt x="140" y="469"/>
                  <a:pt x="139" y="469"/>
                </a:cubicBezTo>
                <a:close/>
                <a:moveTo>
                  <a:pt x="143" y="510"/>
                </a:moveTo>
                <a:cubicBezTo>
                  <a:pt x="142" y="510"/>
                  <a:pt x="142" y="511"/>
                  <a:pt x="142" y="511"/>
                </a:cubicBezTo>
                <a:cubicBezTo>
                  <a:pt x="143" y="510"/>
                  <a:pt x="143" y="509"/>
                  <a:pt x="143" y="510"/>
                </a:cubicBezTo>
                <a:close/>
                <a:moveTo>
                  <a:pt x="143" y="484"/>
                </a:moveTo>
                <a:cubicBezTo>
                  <a:pt x="143" y="484"/>
                  <a:pt x="144" y="483"/>
                  <a:pt x="144" y="483"/>
                </a:cubicBezTo>
                <a:cubicBezTo>
                  <a:pt x="144" y="483"/>
                  <a:pt x="144" y="484"/>
                  <a:pt x="143" y="484"/>
                </a:cubicBezTo>
                <a:close/>
                <a:moveTo>
                  <a:pt x="144" y="494"/>
                </a:moveTo>
                <a:cubicBezTo>
                  <a:pt x="144" y="493"/>
                  <a:pt x="147" y="493"/>
                  <a:pt x="147" y="494"/>
                </a:cubicBezTo>
                <a:cubicBezTo>
                  <a:pt x="147" y="495"/>
                  <a:pt x="144" y="497"/>
                  <a:pt x="144" y="494"/>
                </a:cubicBezTo>
                <a:close/>
                <a:moveTo>
                  <a:pt x="145" y="517"/>
                </a:moveTo>
                <a:cubicBezTo>
                  <a:pt x="144" y="515"/>
                  <a:pt x="148" y="516"/>
                  <a:pt x="148" y="517"/>
                </a:cubicBezTo>
                <a:cubicBezTo>
                  <a:pt x="147" y="518"/>
                  <a:pt x="145" y="519"/>
                  <a:pt x="145" y="517"/>
                </a:cubicBezTo>
                <a:close/>
                <a:moveTo>
                  <a:pt x="142" y="481"/>
                </a:moveTo>
                <a:cubicBezTo>
                  <a:pt x="144" y="479"/>
                  <a:pt x="146" y="477"/>
                  <a:pt x="149" y="476"/>
                </a:cubicBezTo>
                <a:cubicBezTo>
                  <a:pt x="147" y="478"/>
                  <a:pt x="145" y="480"/>
                  <a:pt x="142" y="481"/>
                </a:cubicBezTo>
                <a:close/>
                <a:moveTo>
                  <a:pt x="149" y="515"/>
                </a:moveTo>
                <a:cubicBezTo>
                  <a:pt x="149" y="515"/>
                  <a:pt x="147" y="515"/>
                  <a:pt x="148" y="514"/>
                </a:cubicBezTo>
                <a:cubicBezTo>
                  <a:pt x="148" y="514"/>
                  <a:pt x="150" y="515"/>
                  <a:pt x="149" y="515"/>
                </a:cubicBezTo>
                <a:close/>
                <a:moveTo>
                  <a:pt x="150" y="472"/>
                </a:moveTo>
                <a:cubicBezTo>
                  <a:pt x="149" y="472"/>
                  <a:pt x="150" y="470"/>
                  <a:pt x="150" y="470"/>
                </a:cubicBezTo>
                <a:cubicBezTo>
                  <a:pt x="151" y="471"/>
                  <a:pt x="149" y="472"/>
                  <a:pt x="150" y="472"/>
                </a:cubicBezTo>
                <a:close/>
                <a:moveTo>
                  <a:pt x="150" y="468"/>
                </a:moveTo>
                <a:cubicBezTo>
                  <a:pt x="150" y="468"/>
                  <a:pt x="150" y="468"/>
                  <a:pt x="151" y="468"/>
                </a:cubicBezTo>
                <a:cubicBezTo>
                  <a:pt x="151" y="468"/>
                  <a:pt x="151" y="467"/>
                  <a:pt x="151" y="467"/>
                </a:cubicBezTo>
                <a:cubicBezTo>
                  <a:pt x="151" y="467"/>
                  <a:pt x="151" y="467"/>
                  <a:pt x="151" y="467"/>
                </a:cubicBezTo>
                <a:cubicBezTo>
                  <a:pt x="151" y="468"/>
                  <a:pt x="151" y="468"/>
                  <a:pt x="151" y="468"/>
                </a:cubicBezTo>
                <a:cubicBezTo>
                  <a:pt x="150" y="468"/>
                  <a:pt x="150" y="468"/>
                  <a:pt x="150" y="468"/>
                </a:cubicBezTo>
                <a:close/>
                <a:moveTo>
                  <a:pt x="152" y="551"/>
                </a:moveTo>
                <a:cubicBezTo>
                  <a:pt x="151" y="551"/>
                  <a:pt x="151" y="551"/>
                  <a:pt x="151" y="551"/>
                </a:cubicBezTo>
                <a:cubicBezTo>
                  <a:pt x="150" y="550"/>
                  <a:pt x="153" y="549"/>
                  <a:pt x="152" y="551"/>
                </a:cubicBezTo>
                <a:close/>
                <a:moveTo>
                  <a:pt x="152" y="540"/>
                </a:moveTo>
                <a:cubicBezTo>
                  <a:pt x="150" y="541"/>
                  <a:pt x="150" y="536"/>
                  <a:pt x="153" y="537"/>
                </a:cubicBezTo>
                <a:cubicBezTo>
                  <a:pt x="154" y="537"/>
                  <a:pt x="153" y="539"/>
                  <a:pt x="152" y="540"/>
                </a:cubicBezTo>
                <a:close/>
                <a:moveTo>
                  <a:pt x="154" y="484"/>
                </a:moveTo>
                <a:cubicBezTo>
                  <a:pt x="153" y="483"/>
                  <a:pt x="155" y="483"/>
                  <a:pt x="155" y="484"/>
                </a:cubicBezTo>
                <a:cubicBezTo>
                  <a:pt x="155" y="484"/>
                  <a:pt x="154" y="485"/>
                  <a:pt x="154" y="484"/>
                </a:cubicBezTo>
                <a:close/>
                <a:moveTo>
                  <a:pt x="158" y="546"/>
                </a:moveTo>
                <a:cubicBezTo>
                  <a:pt x="158" y="546"/>
                  <a:pt x="158" y="547"/>
                  <a:pt x="158" y="547"/>
                </a:cubicBezTo>
                <a:cubicBezTo>
                  <a:pt x="158" y="547"/>
                  <a:pt x="158" y="547"/>
                  <a:pt x="158" y="547"/>
                </a:cubicBezTo>
                <a:cubicBezTo>
                  <a:pt x="157" y="547"/>
                  <a:pt x="155" y="548"/>
                  <a:pt x="154" y="548"/>
                </a:cubicBezTo>
                <a:cubicBezTo>
                  <a:pt x="155" y="546"/>
                  <a:pt x="158" y="546"/>
                  <a:pt x="160" y="545"/>
                </a:cubicBezTo>
                <a:cubicBezTo>
                  <a:pt x="160" y="545"/>
                  <a:pt x="159" y="546"/>
                  <a:pt x="158" y="546"/>
                </a:cubicBezTo>
                <a:close/>
                <a:moveTo>
                  <a:pt x="155" y="544"/>
                </a:moveTo>
                <a:cubicBezTo>
                  <a:pt x="155" y="544"/>
                  <a:pt x="156" y="543"/>
                  <a:pt x="156" y="544"/>
                </a:cubicBezTo>
                <a:cubicBezTo>
                  <a:pt x="156" y="544"/>
                  <a:pt x="155" y="546"/>
                  <a:pt x="155" y="544"/>
                </a:cubicBezTo>
                <a:close/>
                <a:moveTo>
                  <a:pt x="160" y="521"/>
                </a:moveTo>
                <a:cubicBezTo>
                  <a:pt x="151" y="525"/>
                  <a:pt x="154" y="511"/>
                  <a:pt x="161" y="512"/>
                </a:cubicBezTo>
                <a:cubicBezTo>
                  <a:pt x="165" y="513"/>
                  <a:pt x="162" y="520"/>
                  <a:pt x="160" y="521"/>
                </a:cubicBezTo>
                <a:close/>
                <a:moveTo>
                  <a:pt x="162" y="544"/>
                </a:moveTo>
                <a:cubicBezTo>
                  <a:pt x="162" y="545"/>
                  <a:pt x="161" y="545"/>
                  <a:pt x="161" y="545"/>
                </a:cubicBezTo>
                <a:cubicBezTo>
                  <a:pt x="160" y="544"/>
                  <a:pt x="165" y="543"/>
                  <a:pt x="162" y="544"/>
                </a:cubicBezTo>
                <a:close/>
                <a:moveTo>
                  <a:pt x="168" y="525"/>
                </a:moveTo>
                <a:cubicBezTo>
                  <a:pt x="168" y="525"/>
                  <a:pt x="169" y="525"/>
                  <a:pt x="169" y="525"/>
                </a:cubicBezTo>
                <a:cubicBezTo>
                  <a:pt x="169" y="526"/>
                  <a:pt x="168" y="526"/>
                  <a:pt x="168" y="525"/>
                </a:cubicBezTo>
                <a:close/>
                <a:moveTo>
                  <a:pt x="170" y="537"/>
                </a:moveTo>
                <a:cubicBezTo>
                  <a:pt x="168" y="538"/>
                  <a:pt x="168" y="535"/>
                  <a:pt x="170" y="535"/>
                </a:cubicBezTo>
                <a:cubicBezTo>
                  <a:pt x="171" y="536"/>
                  <a:pt x="170" y="536"/>
                  <a:pt x="170" y="537"/>
                </a:cubicBezTo>
                <a:close/>
                <a:moveTo>
                  <a:pt x="172" y="521"/>
                </a:moveTo>
                <a:cubicBezTo>
                  <a:pt x="170" y="522"/>
                  <a:pt x="165" y="524"/>
                  <a:pt x="161" y="525"/>
                </a:cubicBezTo>
                <a:cubicBezTo>
                  <a:pt x="164" y="523"/>
                  <a:pt x="170" y="520"/>
                  <a:pt x="173" y="519"/>
                </a:cubicBezTo>
                <a:cubicBezTo>
                  <a:pt x="172" y="519"/>
                  <a:pt x="175" y="519"/>
                  <a:pt x="175" y="519"/>
                </a:cubicBezTo>
                <a:cubicBezTo>
                  <a:pt x="175" y="520"/>
                  <a:pt x="173" y="520"/>
                  <a:pt x="172" y="521"/>
                </a:cubicBezTo>
                <a:close/>
                <a:moveTo>
                  <a:pt x="176" y="546"/>
                </a:moveTo>
                <a:cubicBezTo>
                  <a:pt x="175" y="547"/>
                  <a:pt x="175" y="547"/>
                  <a:pt x="175" y="546"/>
                </a:cubicBezTo>
                <a:cubicBezTo>
                  <a:pt x="174" y="545"/>
                  <a:pt x="177" y="545"/>
                  <a:pt x="176" y="546"/>
                </a:cubicBezTo>
                <a:close/>
                <a:moveTo>
                  <a:pt x="174" y="497"/>
                </a:moveTo>
                <a:cubicBezTo>
                  <a:pt x="174" y="496"/>
                  <a:pt x="176" y="497"/>
                  <a:pt x="176" y="497"/>
                </a:cubicBezTo>
                <a:cubicBezTo>
                  <a:pt x="176" y="498"/>
                  <a:pt x="174" y="499"/>
                  <a:pt x="174" y="497"/>
                </a:cubicBezTo>
                <a:close/>
                <a:moveTo>
                  <a:pt x="176" y="431"/>
                </a:moveTo>
                <a:cubicBezTo>
                  <a:pt x="176" y="431"/>
                  <a:pt x="176" y="431"/>
                  <a:pt x="176" y="431"/>
                </a:cubicBezTo>
                <a:cubicBezTo>
                  <a:pt x="175" y="433"/>
                  <a:pt x="176" y="429"/>
                  <a:pt x="176" y="431"/>
                </a:cubicBezTo>
                <a:close/>
                <a:moveTo>
                  <a:pt x="176" y="487"/>
                </a:moveTo>
                <a:cubicBezTo>
                  <a:pt x="176" y="485"/>
                  <a:pt x="181" y="484"/>
                  <a:pt x="181" y="486"/>
                </a:cubicBezTo>
                <a:cubicBezTo>
                  <a:pt x="182" y="489"/>
                  <a:pt x="176" y="491"/>
                  <a:pt x="176" y="487"/>
                </a:cubicBezTo>
                <a:close/>
                <a:moveTo>
                  <a:pt x="180" y="543"/>
                </a:moveTo>
                <a:cubicBezTo>
                  <a:pt x="180" y="543"/>
                  <a:pt x="181" y="542"/>
                  <a:pt x="182" y="543"/>
                </a:cubicBezTo>
                <a:cubicBezTo>
                  <a:pt x="182" y="544"/>
                  <a:pt x="180" y="544"/>
                  <a:pt x="180" y="543"/>
                </a:cubicBezTo>
                <a:close/>
                <a:moveTo>
                  <a:pt x="182" y="538"/>
                </a:moveTo>
                <a:cubicBezTo>
                  <a:pt x="181" y="539"/>
                  <a:pt x="182" y="536"/>
                  <a:pt x="183" y="537"/>
                </a:cubicBezTo>
                <a:cubicBezTo>
                  <a:pt x="183" y="537"/>
                  <a:pt x="183" y="538"/>
                  <a:pt x="182" y="538"/>
                </a:cubicBezTo>
                <a:close/>
                <a:moveTo>
                  <a:pt x="183" y="485"/>
                </a:moveTo>
                <a:cubicBezTo>
                  <a:pt x="183" y="484"/>
                  <a:pt x="181" y="483"/>
                  <a:pt x="181" y="482"/>
                </a:cubicBezTo>
                <a:cubicBezTo>
                  <a:pt x="182" y="480"/>
                  <a:pt x="183" y="482"/>
                  <a:pt x="184" y="481"/>
                </a:cubicBezTo>
                <a:cubicBezTo>
                  <a:pt x="186" y="479"/>
                  <a:pt x="186" y="475"/>
                  <a:pt x="189" y="472"/>
                </a:cubicBezTo>
                <a:cubicBezTo>
                  <a:pt x="188" y="476"/>
                  <a:pt x="185" y="481"/>
                  <a:pt x="183" y="485"/>
                </a:cubicBezTo>
                <a:close/>
                <a:moveTo>
                  <a:pt x="186" y="544"/>
                </a:moveTo>
                <a:cubicBezTo>
                  <a:pt x="184" y="546"/>
                  <a:pt x="184" y="543"/>
                  <a:pt x="186" y="544"/>
                </a:cubicBezTo>
                <a:close/>
                <a:moveTo>
                  <a:pt x="185" y="507"/>
                </a:moveTo>
                <a:cubicBezTo>
                  <a:pt x="183" y="504"/>
                  <a:pt x="190" y="504"/>
                  <a:pt x="187" y="507"/>
                </a:cubicBezTo>
                <a:cubicBezTo>
                  <a:pt x="187" y="507"/>
                  <a:pt x="186" y="507"/>
                  <a:pt x="185" y="507"/>
                </a:cubicBezTo>
                <a:close/>
                <a:moveTo>
                  <a:pt x="189" y="542"/>
                </a:moveTo>
                <a:cubicBezTo>
                  <a:pt x="189" y="542"/>
                  <a:pt x="190" y="541"/>
                  <a:pt x="190" y="541"/>
                </a:cubicBezTo>
                <a:cubicBezTo>
                  <a:pt x="191" y="541"/>
                  <a:pt x="190" y="541"/>
                  <a:pt x="189" y="542"/>
                </a:cubicBezTo>
                <a:close/>
                <a:moveTo>
                  <a:pt x="193" y="537"/>
                </a:moveTo>
                <a:cubicBezTo>
                  <a:pt x="193" y="537"/>
                  <a:pt x="193" y="538"/>
                  <a:pt x="193" y="538"/>
                </a:cubicBezTo>
                <a:cubicBezTo>
                  <a:pt x="191" y="539"/>
                  <a:pt x="193" y="535"/>
                  <a:pt x="193" y="537"/>
                </a:cubicBezTo>
                <a:close/>
                <a:moveTo>
                  <a:pt x="188" y="542"/>
                </a:moveTo>
                <a:cubicBezTo>
                  <a:pt x="188" y="540"/>
                  <a:pt x="191" y="536"/>
                  <a:pt x="193" y="535"/>
                </a:cubicBezTo>
                <a:cubicBezTo>
                  <a:pt x="191" y="537"/>
                  <a:pt x="190" y="540"/>
                  <a:pt x="188" y="542"/>
                </a:cubicBezTo>
                <a:close/>
                <a:moveTo>
                  <a:pt x="190" y="499"/>
                </a:moveTo>
                <a:cubicBezTo>
                  <a:pt x="191" y="498"/>
                  <a:pt x="192" y="497"/>
                  <a:pt x="194" y="497"/>
                </a:cubicBezTo>
                <a:cubicBezTo>
                  <a:pt x="193" y="498"/>
                  <a:pt x="192" y="499"/>
                  <a:pt x="190" y="499"/>
                </a:cubicBezTo>
                <a:close/>
                <a:moveTo>
                  <a:pt x="194" y="533"/>
                </a:moveTo>
                <a:cubicBezTo>
                  <a:pt x="193" y="533"/>
                  <a:pt x="195" y="531"/>
                  <a:pt x="195" y="531"/>
                </a:cubicBezTo>
                <a:cubicBezTo>
                  <a:pt x="196" y="531"/>
                  <a:pt x="194" y="533"/>
                  <a:pt x="194" y="533"/>
                </a:cubicBezTo>
                <a:close/>
                <a:moveTo>
                  <a:pt x="194" y="497"/>
                </a:moveTo>
                <a:cubicBezTo>
                  <a:pt x="194" y="497"/>
                  <a:pt x="194" y="497"/>
                  <a:pt x="194" y="497"/>
                </a:cubicBezTo>
                <a:close/>
                <a:moveTo>
                  <a:pt x="195" y="497"/>
                </a:move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7"/>
                </a:cubicBezTo>
                <a:close/>
                <a:moveTo>
                  <a:pt x="189" y="398"/>
                </a:moveTo>
                <a:cubicBezTo>
                  <a:pt x="192" y="394"/>
                  <a:pt x="196" y="392"/>
                  <a:pt x="201" y="389"/>
                </a:cubicBezTo>
                <a:cubicBezTo>
                  <a:pt x="198" y="392"/>
                  <a:pt x="192" y="395"/>
                  <a:pt x="189" y="398"/>
                </a:cubicBezTo>
                <a:close/>
                <a:moveTo>
                  <a:pt x="196" y="530"/>
                </a:moveTo>
                <a:cubicBezTo>
                  <a:pt x="196" y="531"/>
                  <a:pt x="195" y="529"/>
                  <a:pt x="196" y="530"/>
                </a:cubicBezTo>
                <a:close/>
                <a:moveTo>
                  <a:pt x="198" y="514"/>
                </a:moveTo>
                <a:cubicBezTo>
                  <a:pt x="198" y="514"/>
                  <a:pt x="198" y="515"/>
                  <a:pt x="197" y="515"/>
                </a:cubicBezTo>
                <a:cubicBezTo>
                  <a:pt x="196" y="516"/>
                  <a:pt x="197" y="513"/>
                  <a:pt x="198" y="514"/>
                </a:cubicBezTo>
                <a:close/>
                <a:moveTo>
                  <a:pt x="198" y="558"/>
                </a:moveTo>
                <a:cubicBezTo>
                  <a:pt x="198" y="556"/>
                  <a:pt x="204" y="555"/>
                  <a:pt x="204" y="558"/>
                </a:cubicBezTo>
                <a:cubicBezTo>
                  <a:pt x="205" y="561"/>
                  <a:pt x="197" y="562"/>
                  <a:pt x="198" y="558"/>
                </a:cubicBezTo>
                <a:close/>
                <a:moveTo>
                  <a:pt x="204" y="554"/>
                </a:moveTo>
                <a:cubicBezTo>
                  <a:pt x="205" y="554"/>
                  <a:pt x="206" y="553"/>
                  <a:pt x="207" y="553"/>
                </a:cubicBezTo>
                <a:cubicBezTo>
                  <a:pt x="207" y="554"/>
                  <a:pt x="204" y="555"/>
                  <a:pt x="204" y="554"/>
                </a:cubicBezTo>
                <a:close/>
                <a:moveTo>
                  <a:pt x="203" y="542"/>
                </a:moveTo>
                <a:cubicBezTo>
                  <a:pt x="200" y="539"/>
                  <a:pt x="203" y="534"/>
                  <a:pt x="205" y="533"/>
                </a:cubicBezTo>
                <a:cubicBezTo>
                  <a:pt x="207" y="532"/>
                  <a:pt x="210" y="533"/>
                  <a:pt x="211" y="532"/>
                </a:cubicBezTo>
                <a:cubicBezTo>
                  <a:pt x="215" y="532"/>
                  <a:pt x="213" y="532"/>
                  <a:pt x="215" y="534"/>
                </a:cubicBezTo>
                <a:cubicBezTo>
                  <a:pt x="217" y="537"/>
                  <a:pt x="216" y="541"/>
                  <a:pt x="213" y="540"/>
                </a:cubicBezTo>
                <a:cubicBezTo>
                  <a:pt x="214" y="535"/>
                  <a:pt x="211" y="542"/>
                  <a:pt x="210" y="543"/>
                </a:cubicBezTo>
                <a:cubicBezTo>
                  <a:pt x="209" y="543"/>
                  <a:pt x="204" y="543"/>
                  <a:pt x="203" y="542"/>
                </a:cubicBezTo>
                <a:close/>
                <a:moveTo>
                  <a:pt x="213" y="545"/>
                </a:moveTo>
                <a:cubicBezTo>
                  <a:pt x="213" y="544"/>
                  <a:pt x="216" y="545"/>
                  <a:pt x="215" y="546"/>
                </a:cubicBezTo>
                <a:cubicBezTo>
                  <a:pt x="215" y="546"/>
                  <a:pt x="214" y="546"/>
                  <a:pt x="213" y="545"/>
                </a:cubicBezTo>
                <a:close/>
                <a:moveTo>
                  <a:pt x="215" y="609"/>
                </a:moveTo>
                <a:cubicBezTo>
                  <a:pt x="215" y="609"/>
                  <a:pt x="215" y="609"/>
                  <a:pt x="215" y="609"/>
                </a:cubicBezTo>
                <a:cubicBezTo>
                  <a:pt x="214" y="607"/>
                  <a:pt x="217" y="611"/>
                  <a:pt x="215" y="609"/>
                </a:cubicBezTo>
                <a:close/>
                <a:moveTo>
                  <a:pt x="214" y="557"/>
                </a:moveTo>
                <a:cubicBezTo>
                  <a:pt x="214" y="556"/>
                  <a:pt x="216" y="555"/>
                  <a:pt x="217" y="556"/>
                </a:cubicBezTo>
                <a:cubicBezTo>
                  <a:pt x="217" y="558"/>
                  <a:pt x="214" y="557"/>
                  <a:pt x="214" y="557"/>
                </a:cubicBezTo>
                <a:close/>
                <a:moveTo>
                  <a:pt x="209" y="544"/>
                </a:moveTo>
                <a:cubicBezTo>
                  <a:pt x="210" y="544"/>
                  <a:pt x="217" y="540"/>
                  <a:pt x="217" y="542"/>
                </a:cubicBezTo>
                <a:cubicBezTo>
                  <a:pt x="217" y="543"/>
                  <a:pt x="211" y="545"/>
                  <a:pt x="209" y="544"/>
                </a:cubicBezTo>
                <a:close/>
                <a:moveTo>
                  <a:pt x="216" y="527"/>
                </a:moveTo>
                <a:cubicBezTo>
                  <a:pt x="216" y="526"/>
                  <a:pt x="216" y="526"/>
                  <a:pt x="216" y="526"/>
                </a:cubicBezTo>
                <a:cubicBezTo>
                  <a:pt x="217" y="525"/>
                  <a:pt x="217" y="527"/>
                  <a:pt x="216" y="527"/>
                </a:cubicBezTo>
                <a:close/>
                <a:moveTo>
                  <a:pt x="217" y="615"/>
                </a:moveTo>
                <a:cubicBezTo>
                  <a:pt x="216" y="614"/>
                  <a:pt x="218" y="613"/>
                  <a:pt x="218" y="614"/>
                </a:cubicBezTo>
                <a:cubicBezTo>
                  <a:pt x="218" y="614"/>
                  <a:pt x="217" y="614"/>
                  <a:pt x="217" y="615"/>
                </a:cubicBezTo>
                <a:close/>
                <a:moveTo>
                  <a:pt x="219" y="542"/>
                </a:moveTo>
                <a:cubicBezTo>
                  <a:pt x="216" y="544"/>
                  <a:pt x="217" y="538"/>
                  <a:pt x="219" y="539"/>
                </a:cubicBezTo>
                <a:cubicBezTo>
                  <a:pt x="221" y="540"/>
                  <a:pt x="219" y="542"/>
                  <a:pt x="219" y="542"/>
                </a:cubicBezTo>
                <a:close/>
                <a:moveTo>
                  <a:pt x="219" y="567"/>
                </a:moveTo>
                <a:cubicBezTo>
                  <a:pt x="219" y="566"/>
                  <a:pt x="220" y="566"/>
                  <a:pt x="221" y="566"/>
                </a:cubicBezTo>
                <a:cubicBezTo>
                  <a:pt x="220" y="567"/>
                  <a:pt x="220" y="567"/>
                  <a:pt x="219" y="567"/>
                </a:cubicBezTo>
                <a:close/>
                <a:moveTo>
                  <a:pt x="222" y="589"/>
                </a:moveTo>
                <a:cubicBezTo>
                  <a:pt x="222" y="589"/>
                  <a:pt x="221" y="589"/>
                  <a:pt x="220" y="589"/>
                </a:cubicBezTo>
                <a:cubicBezTo>
                  <a:pt x="220" y="589"/>
                  <a:pt x="222" y="588"/>
                  <a:pt x="222" y="589"/>
                </a:cubicBezTo>
                <a:close/>
                <a:moveTo>
                  <a:pt x="221" y="615"/>
                </a:moveTo>
                <a:cubicBezTo>
                  <a:pt x="221" y="614"/>
                  <a:pt x="222" y="614"/>
                  <a:pt x="223" y="614"/>
                </a:cubicBezTo>
                <a:cubicBezTo>
                  <a:pt x="222" y="615"/>
                  <a:pt x="221" y="614"/>
                  <a:pt x="221" y="615"/>
                </a:cubicBezTo>
                <a:close/>
                <a:moveTo>
                  <a:pt x="223" y="565"/>
                </a:moveTo>
                <a:cubicBezTo>
                  <a:pt x="223" y="565"/>
                  <a:pt x="223" y="565"/>
                  <a:pt x="223" y="566"/>
                </a:cubicBezTo>
                <a:cubicBezTo>
                  <a:pt x="223" y="566"/>
                  <a:pt x="223" y="566"/>
                  <a:pt x="223" y="566"/>
                </a:cubicBezTo>
                <a:cubicBezTo>
                  <a:pt x="223" y="567"/>
                  <a:pt x="223" y="566"/>
                  <a:pt x="223" y="566"/>
                </a:cubicBezTo>
                <a:cubicBezTo>
                  <a:pt x="223" y="565"/>
                  <a:pt x="223" y="565"/>
                  <a:pt x="223" y="565"/>
                </a:cubicBezTo>
                <a:close/>
                <a:moveTo>
                  <a:pt x="223" y="571"/>
                </a:moveTo>
                <a:cubicBezTo>
                  <a:pt x="223" y="569"/>
                  <a:pt x="227" y="570"/>
                  <a:pt x="226" y="571"/>
                </a:cubicBezTo>
                <a:cubicBezTo>
                  <a:pt x="226" y="572"/>
                  <a:pt x="223" y="572"/>
                  <a:pt x="223" y="571"/>
                </a:cubicBezTo>
                <a:close/>
                <a:moveTo>
                  <a:pt x="226" y="582"/>
                </a:moveTo>
                <a:cubicBezTo>
                  <a:pt x="226" y="581"/>
                  <a:pt x="226" y="583"/>
                  <a:pt x="226" y="582"/>
                </a:cubicBezTo>
                <a:close/>
                <a:moveTo>
                  <a:pt x="227" y="608"/>
                </a:moveTo>
                <a:cubicBezTo>
                  <a:pt x="227" y="608"/>
                  <a:pt x="225" y="608"/>
                  <a:pt x="224" y="607"/>
                </a:cubicBezTo>
                <a:cubicBezTo>
                  <a:pt x="224" y="606"/>
                  <a:pt x="228" y="607"/>
                  <a:pt x="227" y="608"/>
                </a:cubicBezTo>
                <a:close/>
                <a:moveTo>
                  <a:pt x="226" y="578"/>
                </a:moveTo>
                <a:cubicBezTo>
                  <a:pt x="226" y="578"/>
                  <a:pt x="227" y="577"/>
                  <a:pt x="227" y="578"/>
                </a:cubicBezTo>
                <a:cubicBezTo>
                  <a:pt x="227" y="578"/>
                  <a:pt x="226" y="578"/>
                  <a:pt x="226" y="578"/>
                </a:cubicBezTo>
                <a:close/>
                <a:moveTo>
                  <a:pt x="236" y="538"/>
                </a:moveTo>
                <a:cubicBezTo>
                  <a:pt x="237" y="537"/>
                  <a:pt x="238" y="536"/>
                  <a:pt x="239" y="537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40" y="538"/>
                  <a:pt x="239" y="539"/>
                  <a:pt x="239" y="539"/>
                </a:cubicBezTo>
                <a:cubicBezTo>
                  <a:pt x="238" y="540"/>
                  <a:pt x="237" y="539"/>
                  <a:pt x="237" y="539"/>
                </a:cubicBezTo>
                <a:cubicBezTo>
                  <a:pt x="236" y="539"/>
                  <a:pt x="236" y="538"/>
                  <a:pt x="235" y="539"/>
                </a:cubicBezTo>
                <a:cubicBezTo>
                  <a:pt x="234" y="539"/>
                  <a:pt x="228" y="544"/>
                  <a:pt x="227" y="543"/>
                </a:cubicBezTo>
                <a:cubicBezTo>
                  <a:pt x="226" y="541"/>
                  <a:pt x="235" y="538"/>
                  <a:pt x="236" y="538"/>
                </a:cubicBezTo>
                <a:close/>
                <a:moveTo>
                  <a:pt x="235" y="592"/>
                </a:moveTo>
                <a:cubicBezTo>
                  <a:pt x="235" y="592"/>
                  <a:pt x="234" y="593"/>
                  <a:pt x="234" y="592"/>
                </a:cubicBezTo>
                <a:cubicBezTo>
                  <a:pt x="233" y="592"/>
                  <a:pt x="235" y="591"/>
                  <a:pt x="235" y="592"/>
                </a:cubicBezTo>
                <a:close/>
                <a:moveTo>
                  <a:pt x="233" y="585"/>
                </a:moveTo>
                <a:cubicBezTo>
                  <a:pt x="233" y="585"/>
                  <a:pt x="234" y="583"/>
                  <a:pt x="235" y="584"/>
                </a:cubicBezTo>
                <a:cubicBezTo>
                  <a:pt x="235" y="585"/>
                  <a:pt x="233" y="586"/>
                  <a:pt x="233" y="585"/>
                </a:cubicBezTo>
                <a:close/>
                <a:moveTo>
                  <a:pt x="228" y="573"/>
                </a:moveTo>
                <a:cubicBezTo>
                  <a:pt x="228" y="571"/>
                  <a:pt x="230" y="572"/>
                  <a:pt x="228" y="573"/>
                </a:cubicBezTo>
                <a:close/>
                <a:moveTo>
                  <a:pt x="229" y="580"/>
                </a:moveTo>
                <a:cubicBezTo>
                  <a:pt x="229" y="581"/>
                  <a:pt x="228" y="581"/>
                  <a:pt x="228" y="581"/>
                </a:cubicBezTo>
                <a:cubicBezTo>
                  <a:pt x="227" y="579"/>
                  <a:pt x="230" y="579"/>
                  <a:pt x="229" y="580"/>
                </a:cubicBezTo>
                <a:close/>
                <a:moveTo>
                  <a:pt x="231" y="599"/>
                </a:moveTo>
                <a:cubicBezTo>
                  <a:pt x="231" y="599"/>
                  <a:pt x="233" y="598"/>
                  <a:pt x="233" y="599"/>
                </a:cubicBezTo>
                <a:cubicBezTo>
                  <a:pt x="233" y="600"/>
                  <a:pt x="231" y="601"/>
                  <a:pt x="231" y="599"/>
                </a:cubicBezTo>
                <a:close/>
                <a:moveTo>
                  <a:pt x="236" y="624"/>
                </a:moveTo>
                <a:cubicBezTo>
                  <a:pt x="236" y="624"/>
                  <a:pt x="237" y="623"/>
                  <a:pt x="237" y="623"/>
                </a:cubicBezTo>
                <a:cubicBezTo>
                  <a:pt x="237" y="623"/>
                  <a:pt x="237" y="624"/>
                  <a:pt x="236" y="624"/>
                </a:cubicBezTo>
                <a:close/>
                <a:moveTo>
                  <a:pt x="232" y="618"/>
                </a:moveTo>
                <a:cubicBezTo>
                  <a:pt x="233" y="616"/>
                  <a:pt x="237" y="616"/>
                  <a:pt x="239" y="615"/>
                </a:cubicBezTo>
                <a:cubicBezTo>
                  <a:pt x="237" y="617"/>
                  <a:pt x="234" y="617"/>
                  <a:pt x="232" y="618"/>
                </a:cubicBezTo>
                <a:close/>
                <a:moveTo>
                  <a:pt x="238" y="665"/>
                </a:moveTo>
                <a:cubicBezTo>
                  <a:pt x="238" y="664"/>
                  <a:pt x="239" y="665"/>
                  <a:pt x="240" y="665"/>
                </a:cubicBezTo>
                <a:cubicBezTo>
                  <a:pt x="240" y="666"/>
                  <a:pt x="239" y="665"/>
                  <a:pt x="238" y="665"/>
                </a:cubicBezTo>
                <a:close/>
                <a:moveTo>
                  <a:pt x="240" y="664"/>
                </a:moveTo>
                <a:cubicBezTo>
                  <a:pt x="240" y="664"/>
                  <a:pt x="239" y="663"/>
                  <a:pt x="239" y="663"/>
                </a:cubicBezTo>
                <a:cubicBezTo>
                  <a:pt x="239" y="662"/>
                  <a:pt x="241" y="663"/>
                  <a:pt x="240" y="664"/>
                </a:cubicBezTo>
                <a:close/>
                <a:moveTo>
                  <a:pt x="251" y="679"/>
                </a:moveTo>
                <a:cubicBezTo>
                  <a:pt x="249" y="681"/>
                  <a:pt x="247" y="678"/>
                  <a:pt x="244" y="678"/>
                </a:cubicBezTo>
                <a:cubicBezTo>
                  <a:pt x="242" y="678"/>
                  <a:pt x="238" y="679"/>
                  <a:pt x="237" y="677"/>
                </a:cubicBezTo>
                <a:cubicBezTo>
                  <a:pt x="237" y="676"/>
                  <a:pt x="243" y="677"/>
                  <a:pt x="243" y="677"/>
                </a:cubicBezTo>
                <a:cubicBezTo>
                  <a:pt x="243" y="676"/>
                  <a:pt x="241" y="672"/>
                  <a:pt x="241" y="672"/>
                </a:cubicBezTo>
                <a:cubicBezTo>
                  <a:pt x="240" y="664"/>
                  <a:pt x="252" y="669"/>
                  <a:pt x="255" y="671"/>
                </a:cubicBezTo>
                <a:cubicBezTo>
                  <a:pt x="259" y="674"/>
                  <a:pt x="250" y="671"/>
                  <a:pt x="253" y="676"/>
                </a:cubicBezTo>
                <a:cubicBezTo>
                  <a:pt x="250" y="674"/>
                  <a:pt x="251" y="679"/>
                  <a:pt x="251" y="679"/>
                </a:cubicBezTo>
                <a:close/>
                <a:moveTo>
                  <a:pt x="254" y="687"/>
                </a:moveTo>
                <a:cubicBezTo>
                  <a:pt x="254" y="686"/>
                  <a:pt x="254" y="685"/>
                  <a:pt x="255" y="686"/>
                </a:cubicBezTo>
                <a:cubicBezTo>
                  <a:pt x="257" y="686"/>
                  <a:pt x="254" y="689"/>
                  <a:pt x="254" y="687"/>
                </a:cubicBezTo>
                <a:close/>
                <a:moveTo>
                  <a:pt x="254" y="690"/>
                </a:moveTo>
                <a:cubicBezTo>
                  <a:pt x="255" y="689"/>
                  <a:pt x="256" y="689"/>
                  <a:pt x="258" y="689"/>
                </a:cubicBezTo>
                <a:cubicBezTo>
                  <a:pt x="257" y="690"/>
                  <a:pt x="255" y="690"/>
                  <a:pt x="254" y="690"/>
                </a:cubicBezTo>
                <a:close/>
                <a:moveTo>
                  <a:pt x="257" y="690"/>
                </a:moveTo>
                <a:cubicBezTo>
                  <a:pt x="257" y="689"/>
                  <a:pt x="258" y="689"/>
                  <a:pt x="258" y="690"/>
                </a:cubicBezTo>
                <a:cubicBezTo>
                  <a:pt x="258" y="689"/>
                  <a:pt x="258" y="691"/>
                  <a:pt x="257" y="690"/>
                </a:cubicBezTo>
                <a:close/>
                <a:moveTo>
                  <a:pt x="259" y="689"/>
                </a:moveTo>
                <a:cubicBezTo>
                  <a:pt x="258" y="689"/>
                  <a:pt x="261" y="689"/>
                  <a:pt x="259" y="689"/>
                </a:cubicBezTo>
                <a:close/>
                <a:moveTo>
                  <a:pt x="260" y="660"/>
                </a:moveTo>
                <a:cubicBezTo>
                  <a:pt x="259" y="660"/>
                  <a:pt x="259" y="659"/>
                  <a:pt x="260" y="660"/>
                </a:cubicBezTo>
                <a:close/>
                <a:moveTo>
                  <a:pt x="261" y="631"/>
                </a:moveTo>
                <a:cubicBezTo>
                  <a:pt x="260" y="631"/>
                  <a:pt x="261" y="630"/>
                  <a:pt x="261" y="630"/>
                </a:cubicBezTo>
                <a:cubicBezTo>
                  <a:pt x="262" y="630"/>
                  <a:pt x="261" y="631"/>
                  <a:pt x="261" y="631"/>
                </a:cubicBezTo>
                <a:close/>
                <a:moveTo>
                  <a:pt x="263" y="682"/>
                </a:moveTo>
                <a:cubicBezTo>
                  <a:pt x="263" y="681"/>
                  <a:pt x="265" y="681"/>
                  <a:pt x="265" y="682"/>
                </a:cubicBezTo>
                <a:cubicBezTo>
                  <a:pt x="266" y="682"/>
                  <a:pt x="263" y="683"/>
                  <a:pt x="263" y="682"/>
                </a:cubicBezTo>
                <a:close/>
                <a:moveTo>
                  <a:pt x="264" y="690"/>
                </a:moveTo>
                <a:cubicBezTo>
                  <a:pt x="263" y="689"/>
                  <a:pt x="265" y="690"/>
                  <a:pt x="265" y="690"/>
                </a:cubicBezTo>
                <a:cubicBezTo>
                  <a:pt x="265" y="691"/>
                  <a:pt x="264" y="691"/>
                  <a:pt x="264" y="690"/>
                </a:cubicBezTo>
                <a:close/>
                <a:moveTo>
                  <a:pt x="265" y="694"/>
                </a:moveTo>
                <a:cubicBezTo>
                  <a:pt x="266" y="694"/>
                  <a:pt x="266" y="694"/>
                  <a:pt x="267" y="694"/>
                </a:cubicBezTo>
                <a:cubicBezTo>
                  <a:pt x="266" y="695"/>
                  <a:pt x="266" y="695"/>
                  <a:pt x="265" y="694"/>
                </a:cubicBezTo>
                <a:close/>
                <a:moveTo>
                  <a:pt x="263" y="667"/>
                </a:moveTo>
                <a:cubicBezTo>
                  <a:pt x="264" y="666"/>
                  <a:pt x="273" y="668"/>
                  <a:pt x="273" y="668"/>
                </a:cubicBezTo>
                <a:cubicBezTo>
                  <a:pt x="272" y="669"/>
                  <a:pt x="265" y="667"/>
                  <a:pt x="263" y="667"/>
                </a:cubicBezTo>
                <a:close/>
                <a:moveTo>
                  <a:pt x="270" y="681"/>
                </a:moveTo>
                <a:cubicBezTo>
                  <a:pt x="269" y="683"/>
                  <a:pt x="268" y="680"/>
                  <a:pt x="270" y="681"/>
                </a:cubicBezTo>
                <a:close/>
                <a:moveTo>
                  <a:pt x="268" y="696"/>
                </a:moveTo>
                <a:cubicBezTo>
                  <a:pt x="268" y="695"/>
                  <a:pt x="269" y="695"/>
                  <a:pt x="269" y="695"/>
                </a:cubicBezTo>
                <a:cubicBezTo>
                  <a:pt x="270" y="695"/>
                  <a:pt x="269" y="696"/>
                  <a:pt x="268" y="696"/>
                </a:cubicBezTo>
                <a:close/>
                <a:moveTo>
                  <a:pt x="269" y="689"/>
                </a:moveTo>
                <a:cubicBezTo>
                  <a:pt x="268" y="688"/>
                  <a:pt x="270" y="688"/>
                  <a:pt x="270" y="688"/>
                </a:cubicBezTo>
                <a:cubicBezTo>
                  <a:pt x="270" y="689"/>
                  <a:pt x="269" y="689"/>
                  <a:pt x="269" y="689"/>
                </a:cubicBezTo>
                <a:close/>
                <a:moveTo>
                  <a:pt x="269" y="673"/>
                </a:moveTo>
                <a:cubicBezTo>
                  <a:pt x="269" y="671"/>
                  <a:pt x="274" y="673"/>
                  <a:pt x="273" y="674"/>
                </a:cubicBezTo>
                <a:cubicBezTo>
                  <a:pt x="273" y="676"/>
                  <a:pt x="268" y="676"/>
                  <a:pt x="269" y="673"/>
                </a:cubicBezTo>
                <a:close/>
                <a:moveTo>
                  <a:pt x="272" y="683"/>
                </a:moveTo>
                <a:cubicBezTo>
                  <a:pt x="271" y="681"/>
                  <a:pt x="276" y="682"/>
                  <a:pt x="276" y="683"/>
                </a:cubicBezTo>
                <a:cubicBezTo>
                  <a:pt x="277" y="685"/>
                  <a:pt x="272" y="686"/>
                  <a:pt x="272" y="683"/>
                </a:cubicBezTo>
                <a:close/>
                <a:moveTo>
                  <a:pt x="275" y="696"/>
                </a:moveTo>
                <a:cubicBezTo>
                  <a:pt x="275" y="696"/>
                  <a:pt x="274" y="696"/>
                  <a:pt x="274" y="696"/>
                </a:cubicBezTo>
                <a:cubicBezTo>
                  <a:pt x="274" y="694"/>
                  <a:pt x="277" y="698"/>
                  <a:pt x="275" y="696"/>
                </a:cubicBezTo>
                <a:close/>
                <a:moveTo>
                  <a:pt x="274" y="701"/>
                </a:moveTo>
                <a:cubicBezTo>
                  <a:pt x="274" y="699"/>
                  <a:pt x="277" y="699"/>
                  <a:pt x="277" y="700"/>
                </a:cubicBezTo>
                <a:cubicBezTo>
                  <a:pt x="278" y="701"/>
                  <a:pt x="274" y="701"/>
                  <a:pt x="274" y="701"/>
                </a:cubicBezTo>
                <a:close/>
                <a:moveTo>
                  <a:pt x="282" y="681"/>
                </a:moveTo>
                <a:cubicBezTo>
                  <a:pt x="284" y="680"/>
                  <a:pt x="289" y="680"/>
                  <a:pt x="291" y="681"/>
                </a:cubicBezTo>
                <a:cubicBezTo>
                  <a:pt x="292" y="682"/>
                  <a:pt x="291" y="684"/>
                  <a:pt x="290" y="683"/>
                </a:cubicBezTo>
                <a:cubicBezTo>
                  <a:pt x="289" y="683"/>
                  <a:pt x="289" y="682"/>
                  <a:pt x="289" y="682"/>
                </a:cubicBezTo>
                <a:cubicBezTo>
                  <a:pt x="288" y="681"/>
                  <a:pt x="287" y="683"/>
                  <a:pt x="287" y="683"/>
                </a:cubicBezTo>
                <a:cubicBezTo>
                  <a:pt x="287" y="684"/>
                  <a:pt x="288" y="684"/>
                  <a:pt x="288" y="685"/>
                </a:cubicBezTo>
                <a:cubicBezTo>
                  <a:pt x="289" y="684"/>
                  <a:pt x="289" y="685"/>
                  <a:pt x="288" y="685"/>
                </a:cubicBezTo>
                <a:cubicBezTo>
                  <a:pt x="287" y="686"/>
                  <a:pt x="286" y="685"/>
                  <a:pt x="286" y="685"/>
                </a:cubicBezTo>
                <a:cubicBezTo>
                  <a:pt x="285" y="685"/>
                  <a:pt x="284" y="686"/>
                  <a:pt x="283" y="685"/>
                </a:cubicBezTo>
                <a:cubicBezTo>
                  <a:pt x="282" y="685"/>
                  <a:pt x="278" y="682"/>
                  <a:pt x="282" y="681"/>
                </a:cubicBezTo>
                <a:close/>
                <a:moveTo>
                  <a:pt x="291" y="693"/>
                </a:moveTo>
                <a:cubicBezTo>
                  <a:pt x="290" y="694"/>
                  <a:pt x="288" y="696"/>
                  <a:pt x="287" y="694"/>
                </a:cubicBezTo>
                <a:cubicBezTo>
                  <a:pt x="285" y="693"/>
                  <a:pt x="290" y="692"/>
                  <a:pt x="291" y="693"/>
                </a:cubicBezTo>
                <a:close/>
                <a:moveTo>
                  <a:pt x="289" y="706"/>
                </a:moveTo>
                <a:cubicBezTo>
                  <a:pt x="290" y="707"/>
                  <a:pt x="288" y="706"/>
                  <a:pt x="289" y="706"/>
                </a:cubicBezTo>
                <a:close/>
                <a:moveTo>
                  <a:pt x="292" y="708"/>
                </a:moveTo>
                <a:cubicBezTo>
                  <a:pt x="291" y="707"/>
                  <a:pt x="292" y="708"/>
                  <a:pt x="293" y="708"/>
                </a:cubicBezTo>
                <a:cubicBezTo>
                  <a:pt x="293" y="708"/>
                  <a:pt x="292" y="708"/>
                  <a:pt x="292" y="708"/>
                </a:cubicBezTo>
                <a:close/>
                <a:moveTo>
                  <a:pt x="304" y="701"/>
                </a:moveTo>
                <a:cubicBezTo>
                  <a:pt x="299" y="701"/>
                  <a:pt x="295" y="701"/>
                  <a:pt x="290" y="702"/>
                </a:cubicBezTo>
                <a:cubicBezTo>
                  <a:pt x="289" y="702"/>
                  <a:pt x="282" y="702"/>
                  <a:pt x="282" y="700"/>
                </a:cubicBezTo>
                <a:cubicBezTo>
                  <a:pt x="281" y="699"/>
                  <a:pt x="290" y="699"/>
                  <a:pt x="292" y="700"/>
                </a:cubicBezTo>
                <a:cubicBezTo>
                  <a:pt x="296" y="700"/>
                  <a:pt x="299" y="700"/>
                  <a:pt x="301" y="699"/>
                </a:cubicBezTo>
                <a:cubicBezTo>
                  <a:pt x="299" y="699"/>
                  <a:pt x="297" y="697"/>
                  <a:pt x="297" y="695"/>
                </a:cubicBezTo>
                <a:cubicBezTo>
                  <a:pt x="299" y="690"/>
                  <a:pt x="306" y="693"/>
                  <a:pt x="309" y="695"/>
                </a:cubicBezTo>
                <a:cubicBezTo>
                  <a:pt x="309" y="695"/>
                  <a:pt x="309" y="696"/>
                  <a:pt x="310" y="696"/>
                </a:cubicBezTo>
                <a:cubicBezTo>
                  <a:pt x="310" y="697"/>
                  <a:pt x="307" y="699"/>
                  <a:pt x="305" y="699"/>
                </a:cubicBezTo>
                <a:cubicBezTo>
                  <a:pt x="306" y="699"/>
                  <a:pt x="307" y="699"/>
                  <a:pt x="309" y="700"/>
                </a:cubicBezTo>
                <a:cubicBezTo>
                  <a:pt x="313" y="700"/>
                  <a:pt x="305" y="701"/>
                  <a:pt x="304" y="701"/>
                </a:cubicBezTo>
                <a:close/>
                <a:moveTo>
                  <a:pt x="308" y="684"/>
                </a:moveTo>
                <a:cubicBezTo>
                  <a:pt x="309" y="683"/>
                  <a:pt x="312" y="683"/>
                  <a:pt x="314" y="683"/>
                </a:cubicBezTo>
                <a:cubicBezTo>
                  <a:pt x="312" y="684"/>
                  <a:pt x="310" y="684"/>
                  <a:pt x="308" y="684"/>
                </a:cubicBezTo>
                <a:close/>
                <a:moveTo>
                  <a:pt x="313" y="612"/>
                </a:moveTo>
                <a:cubicBezTo>
                  <a:pt x="314" y="612"/>
                  <a:pt x="309" y="616"/>
                  <a:pt x="308" y="614"/>
                </a:cubicBezTo>
                <a:cubicBezTo>
                  <a:pt x="307" y="612"/>
                  <a:pt x="313" y="611"/>
                  <a:pt x="313" y="612"/>
                </a:cubicBezTo>
                <a:close/>
                <a:moveTo>
                  <a:pt x="313" y="683"/>
                </a:moveTo>
                <a:cubicBezTo>
                  <a:pt x="312" y="682"/>
                  <a:pt x="314" y="681"/>
                  <a:pt x="314" y="682"/>
                </a:cubicBezTo>
                <a:cubicBezTo>
                  <a:pt x="314" y="682"/>
                  <a:pt x="313" y="683"/>
                  <a:pt x="313" y="683"/>
                </a:cubicBezTo>
                <a:close/>
                <a:moveTo>
                  <a:pt x="313" y="589"/>
                </a:moveTo>
                <a:cubicBezTo>
                  <a:pt x="311" y="590"/>
                  <a:pt x="308" y="592"/>
                  <a:pt x="307" y="592"/>
                </a:cubicBezTo>
                <a:cubicBezTo>
                  <a:pt x="304" y="593"/>
                  <a:pt x="309" y="590"/>
                  <a:pt x="309" y="590"/>
                </a:cubicBezTo>
                <a:cubicBezTo>
                  <a:pt x="310" y="590"/>
                  <a:pt x="312" y="589"/>
                  <a:pt x="313" y="589"/>
                </a:cubicBezTo>
                <a:cubicBezTo>
                  <a:pt x="314" y="589"/>
                  <a:pt x="314" y="589"/>
                  <a:pt x="315" y="589"/>
                </a:cubicBezTo>
                <a:cubicBezTo>
                  <a:pt x="314" y="589"/>
                  <a:pt x="314" y="589"/>
                  <a:pt x="313" y="589"/>
                </a:cubicBezTo>
                <a:close/>
                <a:moveTo>
                  <a:pt x="315" y="519"/>
                </a:moveTo>
                <a:cubicBezTo>
                  <a:pt x="315" y="517"/>
                  <a:pt x="318" y="518"/>
                  <a:pt x="315" y="519"/>
                </a:cubicBezTo>
                <a:close/>
                <a:moveTo>
                  <a:pt x="317" y="683"/>
                </a:moveTo>
                <a:cubicBezTo>
                  <a:pt x="315" y="684"/>
                  <a:pt x="315" y="682"/>
                  <a:pt x="317" y="683"/>
                </a:cubicBezTo>
                <a:close/>
                <a:moveTo>
                  <a:pt x="317" y="683"/>
                </a:moveTo>
                <a:cubicBezTo>
                  <a:pt x="318" y="682"/>
                  <a:pt x="319" y="682"/>
                  <a:pt x="321" y="682"/>
                </a:cubicBezTo>
                <a:cubicBezTo>
                  <a:pt x="321" y="683"/>
                  <a:pt x="318" y="683"/>
                  <a:pt x="317" y="683"/>
                </a:cubicBezTo>
                <a:close/>
                <a:moveTo>
                  <a:pt x="333" y="104"/>
                </a:moveTo>
                <a:cubicBezTo>
                  <a:pt x="333" y="104"/>
                  <a:pt x="336" y="103"/>
                  <a:pt x="334" y="104"/>
                </a:cubicBezTo>
                <a:cubicBezTo>
                  <a:pt x="331" y="106"/>
                  <a:pt x="326" y="107"/>
                  <a:pt x="322" y="108"/>
                </a:cubicBezTo>
                <a:cubicBezTo>
                  <a:pt x="325" y="106"/>
                  <a:pt x="329" y="104"/>
                  <a:pt x="333" y="104"/>
                </a:cubicBezTo>
                <a:close/>
                <a:moveTo>
                  <a:pt x="323" y="170"/>
                </a:moveTo>
                <a:cubicBezTo>
                  <a:pt x="324" y="170"/>
                  <a:pt x="324" y="170"/>
                  <a:pt x="325" y="170"/>
                </a:cubicBezTo>
                <a:cubicBezTo>
                  <a:pt x="325" y="171"/>
                  <a:pt x="324" y="171"/>
                  <a:pt x="323" y="170"/>
                </a:cubicBezTo>
                <a:close/>
                <a:moveTo>
                  <a:pt x="322" y="617"/>
                </a:moveTo>
                <a:cubicBezTo>
                  <a:pt x="323" y="616"/>
                  <a:pt x="324" y="618"/>
                  <a:pt x="322" y="617"/>
                </a:cubicBezTo>
                <a:close/>
                <a:moveTo>
                  <a:pt x="322" y="627"/>
                </a:moveTo>
                <a:cubicBezTo>
                  <a:pt x="323" y="627"/>
                  <a:pt x="327" y="626"/>
                  <a:pt x="327" y="627"/>
                </a:cubicBezTo>
                <a:cubicBezTo>
                  <a:pt x="326" y="626"/>
                  <a:pt x="324" y="628"/>
                  <a:pt x="322" y="627"/>
                </a:cubicBezTo>
                <a:close/>
                <a:moveTo>
                  <a:pt x="327" y="574"/>
                </a:moveTo>
                <a:cubicBezTo>
                  <a:pt x="327" y="572"/>
                  <a:pt x="330" y="573"/>
                  <a:pt x="329" y="574"/>
                </a:cubicBezTo>
                <a:cubicBezTo>
                  <a:pt x="329" y="575"/>
                  <a:pt x="328" y="574"/>
                  <a:pt x="327" y="574"/>
                </a:cubicBezTo>
                <a:close/>
                <a:moveTo>
                  <a:pt x="329" y="627"/>
                </a:moveTo>
                <a:cubicBezTo>
                  <a:pt x="329" y="626"/>
                  <a:pt x="331" y="626"/>
                  <a:pt x="331" y="626"/>
                </a:cubicBezTo>
                <a:cubicBezTo>
                  <a:pt x="331" y="626"/>
                  <a:pt x="330" y="627"/>
                  <a:pt x="329" y="627"/>
                </a:cubicBezTo>
                <a:close/>
                <a:moveTo>
                  <a:pt x="329" y="589"/>
                </a:moveTo>
                <a:cubicBezTo>
                  <a:pt x="328" y="587"/>
                  <a:pt x="332" y="588"/>
                  <a:pt x="332" y="589"/>
                </a:cubicBezTo>
                <a:cubicBezTo>
                  <a:pt x="332" y="590"/>
                  <a:pt x="329" y="590"/>
                  <a:pt x="329" y="589"/>
                </a:cubicBezTo>
                <a:close/>
                <a:moveTo>
                  <a:pt x="328" y="583"/>
                </a:moveTo>
                <a:cubicBezTo>
                  <a:pt x="329" y="579"/>
                  <a:pt x="336" y="581"/>
                  <a:pt x="336" y="583"/>
                </a:cubicBezTo>
                <a:cubicBezTo>
                  <a:pt x="335" y="586"/>
                  <a:pt x="328" y="587"/>
                  <a:pt x="328" y="583"/>
                </a:cubicBezTo>
                <a:close/>
                <a:moveTo>
                  <a:pt x="335" y="131"/>
                </a:moveTo>
                <a:cubicBezTo>
                  <a:pt x="334" y="130"/>
                  <a:pt x="336" y="131"/>
                  <a:pt x="335" y="131"/>
                </a:cubicBezTo>
                <a:close/>
                <a:moveTo>
                  <a:pt x="336" y="659"/>
                </a:moveTo>
                <a:cubicBezTo>
                  <a:pt x="337" y="661"/>
                  <a:pt x="335" y="659"/>
                  <a:pt x="336" y="659"/>
                </a:cubicBezTo>
                <a:close/>
                <a:moveTo>
                  <a:pt x="336" y="131"/>
                </a:moveTo>
                <a:cubicBezTo>
                  <a:pt x="336" y="130"/>
                  <a:pt x="338" y="130"/>
                  <a:pt x="338" y="130"/>
                </a:cubicBezTo>
                <a:cubicBezTo>
                  <a:pt x="338" y="131"/>
                  <a:pt x="337" y="130"/>
                  <a:pt x="336" y="131"/>
                </a:cubicBezTo>
                <a:close/>
                <a:moveTo>
                  <a:pt x="337" y="711"/>
                </a:moveTo>
                <a:cubicBezTo>
                  <a:pt x="336" y="711"/>
                  <a:pt x="337" y="710"/>
                  <a:pt x="337" y="710"/>
                </a:cubicBezTo>
                <a:cubicBezTo>
                  <a:pt x="338" y="711"/>
                  <a:pt x="338" y="712"/>
                  <a:pt x="337" y="711"/>
                </a:cubicBezTo>
                <a:close/>
                <a:moveTo>
                  <a:pt x="337" y="685"/>
                </a:moveTo>
                <a:cubicBezTo>
                  <a:pt x="337" y="684"/>
                  <a:pt x="339" y="684"/>
                  <a:pt x="339" y="685"/>
                </a:cubicBezTo>
                <a:cubicBezTo>
                  <a:pt x="340" y="685"/>
                  <a:pt x="338" y="686"/>
                  <a:pt x="337" y="685"/>
                </a:cubicBezTo>
                <a:close/>
                <a:moveTo>
                  <a:pt x="338" y="705"/>
                </a:moveTo>
                <a:cubicBezTo>
                  <a:pt x="338" y="704"/>
                  <a:pt x="340" y="704"/>
                  <a:pt x="340" y="705"/>
                </a:cubicBezTo>
                <a:cubicBezTo>
                  <a:pt x="340" y="705"/>
                  <a:pt x="339" y="706"/>
                  <a:pt x="338" y="705"/>
                </a:cubicBezTo>
                <a:close/>
                <a:moveTo>
                  <a:pt x="338" y="680"/>
                </a:moveTo>
                <a:cubicBezTo>
                  <a:pt x="338" y="680"/>
                  <a:pt x="341" y="680"/>
                  <a:pt x="341" y="680"/>
                </a:cubicBezTo>
                <a:cubicBezTo>
                  <a:pt x="341" y="681"/>
                  <a:pt x="337" y="682"/>
                  <a:pt x="338" y="680"/>
                </a:cubicBezTo>
                <a:close/>
                <a:moveTo>
                  <a:pt x="342" y="110"/>
                </a:moveTo>
                <a:cubicBezTo>
                  <a:pt x="341" y="111"/>
                  <a:pt x="341" y="109"/>
                  <a:pt x="342" y="110"/>
                </a:cubicBezTo>
                <a:close/>
                <a:moveTo>
                  <a:pt x="328" y="108"/>
                </a:moveTo>
                <a:cubicBezTo>
                  <a:pt x="326" y="108"/>
                  <a:pt x="329" y="107"/>
                  <a:pt x="331" y="106"/>
                </a:cubicBezTo>
                <a:cubicBezTo>
                  <a:pt x="334" y="106"/>
                  <a:pt x="339" y="104"/>
                  <a:pt x="342" y="104"/>
                </a:cubicBezTo>
                <a:cubicBezTo>
                  <a:pt x="343" y="104"/>
                  <a:pt x="344" y="105"/>
                  <a:pt x="344" y="105"/>
                </a:cubicBezTo>
                <a:cubicBezTo>
                  <a:pt x="344" y="105"/>
                  <a:pt x="330" y="108"/>
                  <a:pt x="328" y="108"/>
                </a:cubicBezTo>
                <a:close/>
                <a:moveTo>
                  <a:pt x="345" y="576"/>
                </a:moveTo>
                <a:cubicBezTo>
                  <a:pt x="345" y="576"/>
                  <a:pt x="345" y="576"/>
                  <a:pt x="345" y="576"/>
                </a:cubicBezTo>
                <a:cubicBezTo>
                  <a:pt x="346" y="576"/>
                  <a:pt x="346" y="576"/>
                  <a:pt x="346" y="576"/>
                </a:cubicBezTo>
                <a:cubicBezTo>
                  <a:pt x="346" y="576"/>
                  <a:pt x="345" y="576"/>
                  <a:pt x="345" y="576"/>
                </a:cubicBezTo>
                <a:close/>
                <a:moveTo>
                  <a:pt x="346" y="704"/>
                </a:moveTo>
                <a:cubicBezTo>
                  <a:pt x="346" y="703"/>
                  <a:pt x="347" y="703"/>
                  <a:pt x="347" y="703"/>
                </a:cubicBezTo>
                <a:cubicBezTo>
                  <a:pt x="348" y="704"/>
                  <a:pt x="346" y="704"/>
                  <a:pt x="346" y="704"/>
                </a:cubicBezTo>
                <a:close/>
                <a:moveTo>
                  <a:pt x="344" y="537"/>
                </a:moveTo>
                <a:cubicBezTo>
                  <a:pt x="345" y="535"/>
                  <a:pt x="348" y="535"/>
                  <a:pt x="349" y="534"/>
                </a:cubicBezTo>
                <a:cubicBezTo>
                  <a:pt x="348" y="535"/>
                  <a:pt x="345" y="536"/>
                  <a:pt x="344" y="537"/>
                </a:cubicBezTo>
                <a:close/>
                <a:moveTo>
                  <a:pt x="348" y="89"/>
                </a:moveTo>
                <a:cubicBezTo>
                  <a:pt x="347" y="90"/>
                  <a:pt x="346" y="89"/>
                  <a:pt x="348" y="89"/>
                </a:cubicBezTo>
                <a:close/>
                <a:moveTo>
                  <a:pt x="347" y="71"/>
                </a:moveTo>
                <a:cubicBezTo>
                  <a:pt x="347" y="72"/>
                  <a:pt x="348" y="72"/>
                  <a:pt x="347" y="72"/>
                </a:cubicBezTo>
                <a:cubicBezTo>
                  <a:pt x="347" y="72"/>
                  <a:pt x="347" y="72"/>
                  <a:pt x="347" y="71"/>
                </a:cubicBezTo>
                <a:close/>
                <a:moveTo>
                  <a:pt x="345" y="44"/>
                </a:moveTo>
                <a:cubicBezTo>
                  <a:pt x="346" y="42"/>
                  <a:pt x="350" y="42"/>
                  <a:pt x="350" y="45"/>
                </a:cubicBezTo>
                <a:cubicBezTo>
                  <a:pt x="349" y="47"/>
                  <a:pt x="345" y="46"/>
                  <a:pt x="345" y="44"/>
                </a:cubicBezTo>
                <a:close/>
                <a:moveTo>
                  <a:pt x="350" y="626"/>
                </a:moveTo>
                <a:cubicBezTo>
                  <a:pt x="350" y="627"/>
                  <a:pt x="349" y="625"/>
                  <a:pt x="350" y="626"/>
                </a:cubicBezTo>
                <a:close/>
                <a:moveTo>
                  <a:pt x="350" y="205"/>
                </a:moveTo>
                <a:cubicBezTo>
                  <a:pt x="349" y="205"/>
                  <a:pt x="350" y="203"/>
                  <a:pt x="350" y="204"/>
                </a:cubicBezTo>
                <a:cubicBezTo>
                  <a:pt x="351" y="204"/>
                  <a:pt x="351" y="205"/>
                  <a:pt x="350" y="205"/>
                </a:cubicBezTo>
                <a:close/>
                <a:moveTo>
                  <a:pt x="538" y="122"/>
                </a:moveTo>
                <a:cubicBezTo>
                  <a:pt x="538" y="121"/>
                  <a:pt x="540" y="121"/>
                  <a:pt x="540" y="122"/>
                </a:cubicBezTo>
                <a:cubicBezTo>
                  <a:pt x="542" y="121"/>
                  <a:pt x="543" y="121"/>
                  <a:pt x="543" y="123"/>
                </a:cubicBezTo>
                <a:cubicBezTo>
                  <a:pt x="543" y="124"/>
                  <a:pt x="539" y="125"/>
                  <a:pt x="538" y="124"/>
                </a:cubicBezTo>
                <a:cubicBezTo>
                  <a:pt x="538" y="123"/>
                  <a:pt x="538" y="123"/>
                  <a:pt x="538" y="122"/>
                </a:cubicBezTo>
                <a:cubicBezTo>
                  <a:pt x="538" y="122"/>
                  <a:pt x="538" y="122"/>
                  <a:pt x="538" y="122"/>
                </a:cubicBezTo>
                <a:close/>
                <a:moveTo>
                  <a:pt x="538" y="121"/>
                </a:moveTo>
                <a:cubicBezTo>
                  <a:pt x="538" y="121"/>
                  <a:pt x="536" y="122"/>
                  <a:pt x="536" y="121"/>
                </a:cubicBezTo>
                <a:cubicBezTo>
                  <a:pt x="536" y="121"/>
                  <a:pt x="537" y="121"/>
                  <a:pt x="538" y="121"/>
                </a:cubicBezTo>
                <a:close/>
                <a:moveTo>
                  <a:pt x="531" y="126"/>
                </a:moveTo>
                <a:cubicBezTo>
                  <a:pt x="531" y="126"/>
                  <a:pt x="531" y="127"/>
                  <a:pt x="530" y="127"/>
                </a:cubicBezTo>
                <a:cubicBezTo>
                  <a:pt x="530" y="127"/>
                  <a:pt x="531" y="126"/>
                  <a:pt x="531" y="126"/>
                </a:cubicBezTo>
                <a:close/>
                <a:moveTo>
                  <a:pt x="531" y="154"/>
                </a:moveTo>
                <a:cubicBezTo>
                  <a:pt x="529" y="157"/>
                  <a:pt x="525" y="158"/>
                  <a:pt x="522" y="159"/>
                </a:cubicBezTo>
                <a:cubicBezTo>
                  <a:pt x="524" y="156"/>
                  <a:pt x="528" y="156"/>
                  <a:pt x="531" y="154"/>
                </a:cubicBezTo>
                <a:close/>
                <a:moveTo>
                  <a:pt x="525" y="201"/>
                </a:moveTo>
                <a:cubicBezTo>
                  <a:pt x="524" y="202"/>
                  <a:pt x="523" y="203"/>
                  <a:pt x="521" y="203"/>
                </a:cubicBezTo>
                <a:cubicBezTo>
                  <a:pt x="522" y="202"/>
                  <a:pt x="523" y="201"/>
                  <a:pt x="525" y="201"/>
                </a:cubicBezTo>
                <a:close/>
                <a:moveTo>
                  <a:pt x="521" y="198"/>
                </a:moveTo>
                <a:cubicBezTo>
                  <a:pt x="521" y="198"/>
                  <a:pt x="521" y="197"/>
                  <a:pt x="522" y="197"/>
                </a:cubicBezTo>
                <a:cubicBezTo>
                  <a:pt x="524" y="195"/>
                  <a:pt x="523" y="200"/>
                  <a:pt x="521" y="198"/>
                </a:cubicBezTo>
                <a:close/>
                <a:moveTo>
                  <a:pt x="524" y="195"/>
                </a:moveTo>
                <a:cubicBezTo>
                  <a:pt x="524" y="194"/>
                  <a:pt x="525" y="194"/>
                  <a:pt x="525" y="194"/>
                </a:cubicBezTo>
                <a:cubicBezTo>
                  <a:pt x="526" y="195"/>
                  <a:pt x="524" y="195"/>
                  <a:pt x="524" y="195"/>
                </a:cubicBezTo>
                <a:close/>
                <a:moveTo>
                  <a:pt x="531" y="196"/>
                </a:moveTo>
                <a:cubicBezTo>
                  <a:pt x="530" y="198"/>
                  <a:pt x="527" y="199"/>
                  <a:pt x="525" y="201"/>
                </a:cubicBezTo>
                <a:cubicBezTo>
                  <a:pt x="526" y="199"/>
                  <a:pt x="529" y="197"/>
                  <a:pt x="531" y="196"/>
                </a:cubicBezTo>
                <a:close/>
                <a:moveTo>
                  <a:pt x="529" y="172"/>
                </a:moveTo>
                <a:cubicBezTo>
                  <a:pt x="531" y="170"/>
                  <a:pt x="530" y="174"/>
                  <a:pt x="528" y="173"/>
                </a:cubicBezTo>
                <a:cubicBezTo>
                  <a:pt x="528" y="173"/>
                  <a:pt x="529" y="172"/>
                  <a:pt x="529" y="172"/>
                </a:cubicBezTo>
                <a:close/>
                <a:moveTo>
                  <a:pt x="522" y="181"/>
                </a:moveTo>
                <a:cubicBezTo>
                  <a:pt x="521" y="181"/>
                  <a:pt x="523" y="180"/>
                  <a:pt x="523" y="181"/>
                </a:cubicBezTo>
                <a:cubicBezTo>
                  <a:pt x="524" y="181"/>
                  <a:pt x="522" y="182"/>
                  <a:pt x="522" y="181"/>
                </a:cubicBezTo>
                <a:close/>
                <a:moveTo>
                  <a:pt x="529" y="135"/>
                </a:moveTo>
                <a:cubicBezTo>
                  <a:pt x="528" y="136"/>
                  <a:pt x="526" y="138"/>
                  <a:pt x="524" y="138"/>
                </a:cubicBezTo>
                <a:cubicBezTo>
                  <a:pt x="525" y="138"/>
                  <a:pt x="526" y="138"/>
                  <a:pt x="525" y="139"/>
                </a:cubicBezTo>
                <a:cubicBezTo>
                  <a:pt x="525" y="140"/>
                  <a:pt x="522" y="140"/>
                  <a:pt x="522" y="139"/>
                </a:cubicBezTo>
                <a:cubicBezTo>
                  <a:pt x="522" y="139"/>
                  <a:pt x="523" y="138"/>
                  <a:pt x="524" y="138"/>
                </a:cubicBezTo>
                <a:cubicBezTo>
                  <a:pt x="524" y="138"/>
                  <a:pt x="524" y="138"/>
                  <a:pt x="524" y="138"/>
                </a:cubicBezTo>
                <a:cubicBezTo>
                  <a:pt x="525" y="136"/>
                  <a:pt x="527" y="136"/>
                  <a:pt x="529" y="135"/>
                </a:cubicBezTo>
                <a:close/>
                <a:moveTo>
                  <a:pt x="525" y="117"/>
                </a:moveTo>
                <a:cubicBezTo>
                  <a:pt x="525" y="117"/>
                  <a:pt x="525" y="117"/>
                  <a:pt x="524" y="117"/>
                </a:cubicBezTo>
                <a:cubicBezTo>
                  <a:pt x="524" y="117"/>
                  <a:pt x="524" y="116"/>
                  <a:pt x="525" y="117"/>
                </a:cubicBezTo>
                <a:close/>
                <a:moveTo>
                  <a:pt x="524" y="86"/>
                </a:moveTo>
                <a:cubicBezTo>
                  <a:pt x="523" y="86"/>
                  <a:pt x="522" y="86"/>
                  <a:pt x="521" y="86"/>
                </a:cubicBezTo>
                <a:cubicBezTo>
                  <a:pt x="522" y="85"/>
                  <a:pt x="523" y="85"/>
                  <a:pt x="524" y="86"/>
                </a:cubicBezTo>
                <a:close/>
                <a:moveTo>
                  <a:pt x="521" y="87"/>
                </a:moveTo>
                <a:cubicBezTo>
                  <a:pt x="521" y="87"/>
                  <a:pt x="523" y="88"/>
                  <a:pt x="523" y="88"/>
                </a:cubicBezTo>
                <a:cubicBezTo>
                  <a:pt x="523" y="88"/>
                  <a:pt x="520" y="88"/>
                  <a:pt x="521" y="87"/>
                </a:cubicBezTo>
                <a:close/>
                <a:moveTo>
                  <a:pt x="523" y="92"/>
                </a:moveTo>
                <a:cubicBezTo>
                  <a:pt x="523" y="92"/>
                  <a:pt x="521" y="92"/>
                  <a:pt x="521" y="91"/>
                </a:cubicBezTo>
                <a:cubicBezTo>
                  <a:pt x="522" y="90"/>
                  <a:pt x="523" y="91"/>
                  <a:pt x="523" y="92"/>
                </a:cubicBezTo>
                <a:close/>
                <a:moveTo>
                  <a:pt x="521" y="105"/>
                </a:moveTo>
                <a:cubicBezTo>
                  <a:pt x="521" y="106"/>
                  <a:pt x="520" y="104"/>
                  <a:pt x="521" y="105"/>
                </a:cubicBezTo>
                <a:close/>
                <a:moveTo>
                  <a:pt x="525" y="106"/>
                </a:moveTo>
                <a:cubicBezTo>
                  <a:pt x="527" y="106"/>
                  <a:pt x="528" y="108"/>
                  <a:pt x="526" y="111"/>
                </a:cubicBezTo>
                <a:cubicBezTo>
                  <a:pt x="525" y="112"/>
                  <a:pt x="523" y="112"/>
                  <a:pt x="522" y="112"/>
                </a:cubicBezTo>
                <a:cubicBezTo>
                  <a:pt x="520" y="112"/>
                  <a:pt x="518" y="112"/>
                  <a:pt x="518" y="112"/>
                </a:cubicBezTo>
                <a:cubicBezTo>
                  <a:pt x="518" y="112"/>
                  <a:pt x="519" y="112"/>
                  <a:pt x="519" y="112"/>
                </a:cubicBezTo>
                <a:cubicBezTo>
                  <a:pt x="519" y="112"/>
                  <a:pt x="518" y="112"/>
                  <a:pt x="518" y="112"/>
                </a:cubicBezTo>
                <a:cubicBezTo>
                  <a:pt x="518" y="112"/>
                  <a:pt x="518" y="111"/>
                  <a:pt x="518" y="111"/>
                </a:cubicBezTo>
                <a:cubicBezTo>
                  <a:pt x="517" y="110"/>
                  <a:pt x="522" y="106"/>
                  <a:pt x="525" y="106"/>
                </a:cubicBezTo>
                <a:close/>
                <a:moveTo>
                  <a:pt x="520" y="133"/>
                </a:moveTo>
                <a:cubicBezTo>
                  <a:pt x="522" y="131"/>
                  <a:pt x="522" y="133"/>
                  <a:pt x="520" y="133"/>
                </a:cubicBezTo>
                <a:close/>
                <a:moveTo>
                  <a:pt x="519" y="147"/>
                </a:moveTo>
                <a:cubicBezTo>
                  <a:pt x="519" y="146"/>
                  <a:pt x="521" y="145"/>
                  <a:pt x="521" y="146"/>
                </a:cubicBezTo>
                <a:cubicBezTo>
                  <a:pt x="522" y="147"/>
                  <a:pt x="520" y="147"/>
                  <a:pt x="519" y="147"/>
                </a:cubicBezTo>
                <a:close/>
                <a:moveTo>
                  <a:pt x="513" y="162"/>
                </a:moveTo>
                <a:cubicBezTo>
                  <a:pt x="512" y="161"/>
                  <a:pt x="516" y="159"/>
                  <a:pt x="516" y="161"/>
                </a:cubicBezTo>
                <a:cubicBezTo>
                  <a:pt x="517" y="162"/>
                  <a:pt x="513" y="163"/>
                  <a:pt x="513" y="162"/>
                </a:cubicBezTo>
                <a:close/>
                <a:moveTo>
                  <a:pt x="516" y="163"/>
                </a:moveTo>
                <a:cubicBezTo>
                  <a:pt x="516" y="164"/>
                  <a:pt x="515" y="165"/>
                  <a:pt x="516" y="164"/>
                </a:cubicBezTo>
                <a:cubicBezTo>
                  <a:pt x="516" y="164"/>
                  <a:pt x="516" y="164"/>
                  <a:pt x="516" y="163"/>
                </a:cubicBezTo>
                <a:close/>
                <a:moveTo>
                  <a:pt x="514" y="191"/>
                </a:moveTo>
                <a:cubicBezTo>
                  <a:pt x="515" y="190"/>
                  <a:pt x="516" y="192"/>
                  <a:pt x="514" y="191"/>
                </a:cubicBezTo>
                <a:close/>
                <a:moveTo>
                  <a:pt x="512" y="192"/>
                </a:moveTo>
                <a:cubicBezTo>
                  <a:pt x="512" y="191"/>
                  <a:pt x="514" y="191"/>
                  <a:pt x="514" y="191"/>
                </a:cubicBezTo>
                <a:cubicBezTo>
                  <a:pt x="514" y="192"/>
                  <a:pt x="512" y="192"/>
                  <a:pt x="512" y="192"/>
                </a:cubicBezTo>
                <a:close/>
                <a:moveTo>
                  <a:pt x="514" y="247"/>
                </a:moveTo>
                <a:cubicBezTo>
                  <a:pt x="514" y="248"/>
                  <a:pt x="513" y="245"/>
                  <a:pt x="514" y="247"/>
                </a:cubicBezTo>
                <a:close/>
                <a:moveTo>
                  <a:pt x="504" y="183"/>
                </a:moveTo>
                <a:cubicBezTo>
                  <a:pt x="506" y="182"/>
                  <a:pt x="506" y="181"/>
                  <a:pt x="504" y="181"/>
                </a:cubicBezTo>
                <a:cubicBezTo>
                  <a:pt x="505" y="178"/>
                  <a:pt x="508" y="175"/>
                  <a:pt x="511" y="176"/>
                </a:cubicBezTo>
                <a:cubicBezTo>
                  <a:pt x="517" y="179"/>
                  <a:pt x="509" y="186"/>
                  <a:pt x="504" y="183"/>
                </a:cubicBezTo>
                <a:close/>
                <a:moveTo>
                  <a:pt x="505" y="184"/>
                </a:moveTo>
                <a:cubicBezTo>
                  <a:pt x="505" y="184"/>
                  <a:pt x="505" y="184"/>
                  <a:pt x="505" y="184"/>
                </a:cubicBezTo>
                <a:cubicBezTo>
                  <a:pt x="506" y="186"/>
                  <a:pt x="503" y="183"/>
                  <a:pt x="505" y="184"/>
                </a:cubicBezTo>
                <a:close/>
                <a:moveTo>
                  <a:pt x="494" y="127"/>
                </a:moveTo>
                <a:cubicBezTo>
                  <a:pt x="494" y="127"/>
                  <a:pt x="497" y="125"/>
                  <a:pt x="498" y="127"/>
                </a:cubicBezTo>
                <a:cubicBezTo>
                  <a:pt x="498" y="128"/>
                  <a:pt x="494" y="129"/>
                  <a:pt x="494" y="127"/>
                </a:cubicBezTo>
                <a:close/>
                <a:moveTo>
                  <a:pt x="496" y="219"/>
                </a:moveTo>
                <a:cubicBezTo>
                  <a:pt x="495" y="219"/>
                  <a:pt x="496" y="218"/>
                  <a:pt x="496" y="218"/>
                </a:cubicBezTo>
                <a:cubicBezTo>
                  <a:pt x="497" y="218"/>
                  <a:pt x="496" y="219"/>
                  <a:pt x="496" y="219"/>
                </a:cubicBezTo>
                <a:close/>
                <a:moveTo>
                  <a:pt x="493" y="182"/>
                </a:moveTo>
                <a:cubicBezTo>
                  <a:pt x="493" y="181"/>
                  <a:pt x="495" y="181"/>
                  <a:pt x="495" y="181"/>
                </a:cubicBezTo>
                <a:cubicBezTo>
                  <a:pt x="496" y="182"/>
                  <a:pt x="494" y="183"/>
                  <a:pt x="493" y="182"/>
                </a:cubicBezTo>
                <a:close/>
                <a:moveTo>
                  <a:pt x="494" y="221"/>
                </a:moveTo>
                <a:cubicBezTo>
                  <a:pt x="494" y="221"/>
                  <a:pt x="495" y="220"/>
                  <a:pt x="495" y="220"/>
                </a:cubicBezTo>
                <a:cubicBezTo>
                  <a:pt x="495" y="220"/>
                  <a:pt x="494" y="222"/>
                  <a:pt x="494" y="221"/>
                </a:cubicBezTo>
                <a:close/>
                <a:moveTo>
                  <a:pt x="484" y="206"/>
                </a:moveTo>
                <a:cubicBezTo>
                  <a:pt x="487" y="204"/>
                  <a:pt x="490" y="201"/>
                  <a:pt x="492" y="200"/>
                </a:cubicBezTo>
                <a:cubicBezTo>
                  <a:pt x="492" y="200"/>
                  <a:pt x="494" y="199"/>
                  <a:pt x="493" y="200"/>
                </a:cubicBezTo>
                <a:cubicBezTo>
                  <a:pt x="492" y="203"/>
                  <a:pt x="487" y="205"/>
                  <a:pt x="484" y="206"/>
                </a:cubicBezTo>
                <a:close/>
                <a:moveTo>
                  <a:pt x="491" y="221"/>
                </a:moveTo>
                <a:cubicBezTo>
                  <a:pt x="491" y="220"/>
                  <a:pt x="493" y="220"/>
                  <a:pt x="493" y="221"/>
                </a:cubicBezTo>
                <a:cubicBezTo>
                  <a:pt x="493" y="222"/>
                  <a:pt x="491" y="222"/>
                  <a:pt x="491" y="221"/>
                </a:cubicBezTo>
                <a:close/>
                <a:moveTo>
                  <a:pt x="480" y="95"/>
                </a:moveTo>
                <a:cubicBezTo>
                  <a:pt x="482" y="94"/>
                  <a:pt x="483" y="93"/>
                  <a:pt x="485" y="93"/>
                </a:cubicBezTo>
                <a:cubicBezTo>
                  <a:pt x="483" y="94"/>
                  <a:pt x="482" y="95"/>
                  <a:pt x="480" y="95"/>
                </a:cubicBezTo>
                <a:close/>
                <a:moveTo>
                  <a:pt x="481" y="162"/>
                </a:moveTo>
                <a:cubicBezTo>
                  <a:pt x="481" y="160"/>
                  <a:pt x="484" y="161"/>
                  <a:pt x="481" y="162"/>
                </a:cubicBezTo>
                <a:close/>
                <a:moveTo>
                  <a:pt x="482" y="109"/>
                </a:moveTo>
                <a:cubicBezTo>
                  <a:pt x="481" y="112"/>
                  <a:pt x="478" y="110"/>
                  <a:pt x="482" y="109"/>
                </a:cubicBezTo>
                <a:close/>
                <a:moveTo>
                  <a:pt x="496" y="72"/>
                </a:moveTo>
                <a:cubicBezTo>
                  <a:pt x="496" y="73"/>
                  <a:pt x="495" y="73"/>
                  <a:pt x="494" y="73"/>
                </a:cubicBezTo>
                <a:cubicBezTo>
                  <a:pt x="494" y="73"/>
                  <a:pt x="496" y="71"/>
                  <a:pt x="496" y="72"/>
                </a:cubicBezTo>
                <a:close/>
                <a:moveTo>
                  <a:pt x="494" y="43"/>
                </a:moveTo>
                <a:cubicBezTo>
                  <a:pt x="494" y="43"/>
                  <a:pt x="496" y="43"/>
                  <a:pt x="496" y="43"/>
                </a:cubicBezTo>
                <a:cubicBezTo>
                  <a:pt x="497" y="45"/>
                  <a:pt x="494" y="44"/>
                  <a:pt x="494" y="43"/>
                </a:cubicBezTo>
                <a:close/>
                <a:moveTo>
                  <a:pt x="493" y="64"/>
                </a:moveTo>
                <a:cubicBezTo>
                  <a:pt x="493" y="64"/>
                  <a:pt x="494" y="64"/>
                  <a:pt x="495" y="65"/>
                </a:cubicBezTo>
                <a:cubicBezTo>
                  <a:pt x="495" y="66"/>
                  <a:pt x="493" y="65"/>
                  <a:pt x="493" y="64"/>
                </a:cubicBezTo>
                <a:close/>
                <a:moveTo>
                  <a:pt x="499" y="87"/>
                </a:moveTo>
                <a:cubicBezTo>
                  <a:pt x="498" y="89"/>
                  <a:pt x="488" y="88"/>
                  <a:pt x="488" y="87"/>
                </a:cubicBezTo>
                <a:cubicBezTo>
                  <a:pt x="489" y="86"/>
                  <a:pt x="496" y="88"/>
                  <a:pt x="499" y="87"/>
                </a:cubicBezTo>
                <a:close/>
                <a:moveTo>
                  <a:pt x="493" y="105"/>
                </a:moveTo>
                <a:cubicBezTo>
                  <a:pt x="493" y="105"/>
                  <a:pt x="493" y="105"/>
                  <a:pt x="493" y="105"/>
                </a:cubicBezTo>
                <a:cubicBezTo>
                  <a:pt x="493" y="105"/>
                  <a:pt x="493" y="105"/>
                  <a:pt x="492" y="105"/>
                </a:cubicBezTo>
                <a:cubicBezTo>
                  <a:pt x="489" y="105"/>
                  <a:pt x="493" y="97"/>
                  <a:pt x="497" y="101"/>
                </a:cubicBezTo>
                <a:cubicBezTo>
                  <a:pt x="498" y="102"/>
                  <a:pt x="498" y="102"/>
                  <a:pt x="498" y="103"/>
                </a:cubicBezTo>
                <a:cubicBezTo>
                  <a:pt x="498" y="106"/>
                  <a:pt x="494" y="107"/>
                  <a:pt x="493" y="105"/>
                </a:cubicBezTo>
                <a:close/>
                <a:moveTo>
                  <a:pt x="495" y="108"/>
                </a:moveTo>
                <a:cubicBezTo>
                  <a:pt x="495" y="108"/>
                  <a:pt x="494" y="109"/>
                  <a:pt x="494" y="108"/>
                </a:cubicBezTo>
                <a:cubicBezTo>
                  <a:pt x="493" y="108"/>
                  <a:pt x="495" y="107"/>
                  <a:pt x="495" y="108"/>
                </a:cubicBezTo>
                <a:close/>
                <a:moveTo>
                  <a:pt x="494" y="174"/>
                </a:moveTo>
                <a:cubicBezTo>
                  <a:pt x="494" y="175"/>
                  <a:pt x="492" y="176"/>
                  <a:pt x="492" y="175"/>
                </a:cubicBezTo>
                <a:cubicBezTo>
                  <a:pt x="492" y="174"/>
                  <a:pt x="494" y="173"/>
                  <a:pt x="494" y="174"/>
                </a:cubicBezTo>
                <a:close/>
                <a:moveTo>
                  <a:pt x="495" y="98"/>
                </a:moveTo>
                <a:cubicBezTo>
                  <a:pt x="496" y="99"/>
                  <a:pt x="494" y="98"/>
                  <a:pt x="495" y="98"/>
                </a:cubicBezTo>
                <a:close/>
                <a:moveTo>
                  <a:pt x="499" y="91"/>
                </a:moveTo>
                <a:cubicBezTo>
                  <a:pt x="498" y="92"/>
                  <a:pt x="497" y="91"/>
                  <a:pt x="499" y="91"/>
                </a:cubicBezTo>
                <a:close/>
                <a:moveTo>
                  <a:pt x="491" y="166"/>
                </a:moveTo>
                <a:cubicBezTo>
                  <a:pt x="491" y="167"/>
                  <a:pt x="489" y="169"/>
                  <a:pt x="488" y="169"/>
                </a:cubicBezTo>
                <a:cubicBezTo>
                  <a:pt x="488" y="167"/>
                  <a:pt x="490" y="167"/>
                  <a:pt x="491" y="166"/>
                </a:cubicBezTo>
                <a:close/>
                <a:moveTo>
                  <a:pt x="485" y="144"/>
                </a:moveTo>
                <a:cubicBezTo>
                  <a:pt x="488" y="143"/>
                  <a:pt x="489" y="145"/>
                  <a:pt x="485" y="144"/>
                </a:cubicBezTo>
                <a:close/>
                <a:moveTo>
                  <a:pt x="486" y="93"/>
                </a:moveTo>
                <a:cubicBezTo>
                  <a:pt x="488" y="92"/>
                  <a:pt x="489" y="91"/>
                  <a:pt x="491" y="90"/>
                </a:cubicBezTo>
                <a:cubicBezTo>
                  <a:pt x="490" y="92"/>
                  <a:pt x="488" y="92"/>
                  <a:pt x="486" y="93"/>
                </a:cubicBezTo>
                <a:close/>
                <a:moveTo>
                  <a:pt x="491" y="61"/>
                </a:moveTo>
                <a:cubicBezTo>
                  <a:pt x="491" y="60"/>
                  <a:pt x="492" y="60"/>
                  <a:pt x="493" y="61"/>
                </a:cubicBezTo>
                <a:cubicBezTo>
                  <a:pt x="492" y="61"/>
                  <a:pt x="492" y="61"/>
                  <a:pt x="491" y="61"/>
                </a:cubicBezTo>
                <a:close/>
                <a:moveTo>
                  <a:pt x="490" y="74"/>
                </a:moveTo>
                <a:cubicBezTo>
                  <a:pt x="491" y="73"/>
                  <a:pt x="491" y="75"/>
                  <a:pt x="490" y="74"/>
                </a:cubicBezTo>
                <a:close/>
                <a:moveTo>
                  <a:pt x="489" y="67"/>
                </a:moveTo>
                <a:cubicBezTo>
                  <a:pt x="488" y="66"/>
                  <a:pt x="490" y="66"/>
                  <a:pt x="490" y="66"/>
                </a:cubicBezTo>
                <a:cubicBezTo>
                  <a:pt x="491" y="67"/>
                  <a:pt x="489" y="68"/>
                  <a:pt x="489" y="67"/>
                </a:cubicBezTo>
                <a:close/>
                <a:moveTo>
                  <a:pt x="488" y="60"/>
                </a:moveTo>
                <a:cubicBezTo>
                  <a:pt x="488" y="60"/>
                  <a:pt x="489" y="60"/>
                  <a:pt x="489" y="60"/>
                </a:cubicBezTo>
                <a:cubicBezTo>
                  <a:pt x="489" y="60"/>
                  <a:pt x="489" y="61"/>
                  <a:pt x="488" y="60"/>
                </a:cubicBezTo>
                <a:close/>
                <a:moveTo>
                  <a:pt x="492" y="82"/>
                </a:moveTo>
                <a:cubicBezTo>
                  <a:pt x="492" y="84"/>
                  <a:pt x="487" y="83"/>
                  <a:pt x="487" y="81"/>
                </a:cubicBezTo>
                <a:cubicBezTo>
                  <a:pt x="487" y="79"/>
                  <a:pt x="492" y="79"/>
                  <a:pt x="492" y="82"/>
                </a:cubicBezTo>
                <a:close/>
                <a:moveTo>
                  <a:pt x="483" y="73"/>
                </a:moveTo>
                <a:cubicBezTo>
                  <a:pt x="482" y="71"/>
                  <a:pt x="487" y="70"/>
                  <a:pt x="487" y="72"/>
                </a:cubicBezTo>
                <a:cubicBezTo>
                  <a:pt x="488" y="75"/>
                  <a:pt x="483" y="74"/>
                  <a:pt x="483" y="73"/>
                </a:cubicBezTo>
                <a:close/>
                <a:moveTo>
                  <a:pt x="483" y="60"/>
                </a:moveTo>
                <a:cubicBezTo>
                  <a:pt x="483" y="60"/>
                  <a:pt x="483" y="60"/>
                  <a:pt x="483" y="60"/>
                </a:cubicBezTo>
                <a:cubicBezTo>
                  <a:pt x="484" y="62"/>
                  <a:pt x="481" y="59"/>
                  <a:pt x="483" y="60"/>
                </a:cubicBezTo>
                <a:close/>
                <a:moveTo>
                  <a:pt x="482" y="62"/>
                </a:moveTo>
                <a:cubicBezTo>
                  <a:pt x="483" y="63"/>
                  <a:pt x="481" y="63"/>
                  <a:pt x="481" y="62"/>
                </a:cubicBezTo>
                <a:cubicBezTo>
                  <a:pt x="481" y="62"/>
                  <a:pt x="482" y="62"/>
                  <a:pt x="482" y="62"/>
                </a:cubicBezTo>
                <a:close/>
                <a:moveTo>
                  <a:pt x="487" y="184"/>
                </a:moveTo>
                <a:cubicBezTo>
                  <a:pt x="487" y="185"/>
                  <a:pt x="485" y="186"/>
                  <a:pt x="484" y="186"/>
                </a:cubicBezTo>
                <a:cubicBezTo>
                  <a:pt x="485" y="185"/>
                  <a:pt x="486" y="185"/>
                  <a:pt x="487" y="184"/>
                </a:cubicBezTo>
                <a:close/>
                <a:moveTo>
                  <a:pt x="495" y="174"/>
                </a:moveTo>
                <a:cubicBezTo>
                  <a:pt x="495" y="174"/>
                  <a:pt x="495" y="174"/>
                  <a:pt x="495" y="174"/>
                </a:cubicBezTo>
                <a:cubicBezTo>
                  <a:pt x="495" y="175"/>
                  <a:pt x="494" y="175"/>
                  <a:pt x="495" y="174"/>
                </a:cubicBezTo>
                <a:close/>
                <a:moveTo>
                  <a:pt x="498" y="141"/>
                </a:moveTo>
                <a:cubicBezTo>
                  <a:pt x="499" y="142"/>
                  <a:pt x="497" y="143"/>
                  <a:pt x="497" y="142"/>
                </a:cubicBezTo>
                <a:cubicBezTo>
                  <a:pt x="496" y="141"/>
                  <a:pt x="498" y="141"/>
                  <a:pt x="498" y="141"/>
                </a:cubicBezTo>
                <a:close/>
                <a:moveTo>
                  <a:pt x="497" y="131"/>
                </a:moveTo>
                <a:cubicBezTo>
                  <a:pt x="497" y="131"/>
                  <a:pt x="498" y="131"/>
                  <a:pt x="498" y="131"/>
                </a:cubicBezTo>
                <a:cubicBezTo>
                  <a:pt x="499" y="132"/>
                  <a:pt x="497" y="132"/>
                  <a:pt x="497" y="131"/>
                </a:cubicBezTo>
                <a:close/>
                <a:moveTo>
                  <a:pt x="498" y="128"/>
                </a:moveTo>
                <a:cubicBezTo>
                  <a:pt x="499" y="129"/>
                  <a:pt x="500" y="126"/>
                  <a:pt x="501" y="126"/>
                </a:cubicBezTo>
                <a:cubicBezTo>
                  <a:pt x="508" y="122"/>
                  <a:pt x="510" y="132"/>
                  <a:pt x="502" y="132"/>
                </a:cubicBezTo>
                <a:cubicBezTo>
                  <a:pt x="501" y="132"/>
                  <a:pt x="498" y="131"/>
                  <a:pt x="498" y="128"/>
                </a:cubicBezTo>
                <a:close/>
                <a:moveTo>
                  <a:pt x="502" y="94"/>
                </a:moveTo>
                <a:cubicBezTo>
                  <a:pt x="503" y="93"/>
                  <a:pt x="504" y="95"/>
                  <a:pt x="502" y="94"/>
                </a:cubicBezTo>
                <a:close/>
                <a:moveTo>
                  <a:pt x="505" y="67"/>
                </a:moveTo>
                <a:cubicBezTo>
                  <a:pt x="505" y="67"/>
                  <a:pt x="505" y="68"/>
                  <a:pt x="504" y="68"/>
                </a:cubicBezTo>
                <a:cubicBezTo>
                  <a:pt x="502" y="68"/>
                  <a:pt x="504" y="64"/>
                  <a:pt x="505" y="67"/>
                </a:cubicBezTo>
                <a:close/>
                <a:moveTo>
                  <a:pt x="503" y="121"/>
                </a:moveTo>
                <a:cubicBezTo>
                  <a:pt x="504" y="121"/>
                  <a:pt x="502" y="123"/>
                  <a:pt x="501" y="122"/>
                </a:cubicBezTo>
                <a:cubicBezTo>
                  <a:pt x="502" y="122"/>
                  <a:pt x="502" y="122"/>
                  <a:pt x="503" y="121"/>
                </a:cubicBezTo>
                <a:close/>
                <a:moveTo>
                  <a:pt x="506" y="123"/>
                </a:moveTo>
                <a:cubicBezTo>
                  <a:pt x="507" y="123"/>
                  <a:pt x="505" y="124"/>
                  <a:pt x="505" y="124"/>
                </a:cubicBezTo>
                <a:cubicBezTo>
                  <a:pt x="505" y="123"/>
                  <a:pt x="505" y="122"/>
                  <a:pt x="506" y="123"/>
                </a:cubicBezTo>
                <a:close/>
                <a:moveTo>
                  <a:pt x="506" y="142"/>
                </a:moveTo>
                <a:cubicBezTo>
                  <a:pt x="507" y="142"/>
                  <a:pt x="505" y="143"/>
                  <a:pt x="505" y="142"/>
                </a:cubicBezTo>
                <a:cubicBezTo>
                  <a:pt x="505" y="142"/>
                  <a:pt x="506" y="142"/>
                  <a:pt x="506" y="142"/>
                </a:cubicBezTo>
                <a:close/>
                <a:moveTo>
                  <a:pt x="502" y="137"/>
                </a:moveTo>
                <a:cubicBezTo>
                  <a:pt x="503" y="139"/>
                  <a:pt x="499" y="139"/>
                  <a:pt x="499" y="138"/>
                </a:cubicBezTo>
                <a:cubicBezTo>
                  <a:pt x="499" y="136"/>
                  <a:pt x="502" y="136"/>
                  <a:pt x="502" y="137"/>
                </a:cubicBezTo>
                <a:close/>
                <a:moveTo>
                  <a:pt x="504" y="199"/>
                </a:moveTo>
                <a:cubicBezTo>
                  <a:pt x="504" y="199"/>
                  <a:pt x="503" y="200"/>
                  <a:pt x="503" y="200"/>
                </a:cubicBezTo>
                <a:cubicBezTo>
                  <a:pt x="501" y="200"/>
                  <a:pt x="503" y="197"/>
                  <a:pt x="504" y="199"/>
                </a:cubicBezTo>
                <a:close/>
                <a:moveTo>
                  <a:pt x="512" y="113"/>
                </a:moveTo>
                <a:cubicBezTo>
                  <a:pt x="512" y="114"/>
                  <a:pt x="509" y="116"/>
                  <a:pt x="507" y="114"/>
                </a:cubicBezTo>
                <a:cubicBezTo>
                  <a:pt x="506" y="113"/>
                  <a:pt x="511" y="111"/>
                  <a:pt x="512" y="113"/>
                </a:cubicBezTo>
                <a:close/>
                <a:moveTo>
                  <a:pt x="508" y="101"/>
                </a:moveTo>
                <a:cubicBezTo>
                  <a:pt x="508" y="100"/>
                  <a:pt x="509" y="100"/>
                  <a:pt x="510" y="101"/>
                </a:cubicBezTo>
                <a:cubicBezTo>
                  <a:pt x="511" y="102"/>
                  <a:pt x="508" y="102"/>
                  <a:pt x="508" y="101"/>
                </a:cubicBezTo>
                <a:close/>
                <a:moveTo>
                  <a:pt x="510" y="102"/>
                </a:moveTo>
                <a:cubicBezTo>
                  <a:pt x="511" y="101"/>
                  <a:pt x="512" y="103"/>
                  <a:pt x="510" y="102"/>
                </a:cubicBezTo>
                <a:close/>
                <a:moveTo>
                  <a:pt x="514" y="132"/>
                </a:moveTo>
                <a:cubicBezTo>
                  <a:pt x="514" y="132"/>
                  <a:pt x="514" y="133"/>
                  <a:pt x="514" y="134"/>
                </a:cubicBezTo>
                <a:cubicBezTo>
                  <a:pt x="512" y="137"/>
                  <a:pt x="512" y="131"/>
                  <a:pt x="514" y="132"/>
                </a:cubicBezTo>
                <a:close/>
                <a:moveTo>
                  <a:pt x="515" y="154"/>
                </a:moveTo>
                <a:cubicBezTo>
                  <a:pt x="515" y="154"/>
                  <a:pt x="515" y="153"/>
                  <a:pt x="515" y="153"/>
                </a:cubicBezTo>
                <a:cubicBezTo>
                  <a:pt x="516" y="154"/>
                  <a:pt x="515" y="155"/>
                  <a:pt x="515" y="154"/>
                </a:cubicBezTo>
                <a:close/>
                <a:moveTo>
                  <a:pt x="516" y="153"/>
                </a:moveTo>
                <a:cubicBezTo>
                  <a:pt x="516" y="151"/>
                  <a:pt x="519" y="152"/>
                  <a:pt x="516" y="153"/>
                </a:cubicBezTo>
                <a:close/>
                <a:moveTo>
                  <a:pt x="513" y="148"/>
                </a:moveTo>
                <a:cubicBezTo>
                  <a:pt x="514" y="147"/>
                  <a:pt x="516" y="145"/>
                  <a:pt x="517" y="145"/>
                </a:cubicBezTo>
                <a:cubicBezTo>
                  <a:pt x="520" y="143"/>
                  <a:pt x="516" y="149"/>
                  <a:pt x="513" y="148"/>
                </a:cubicBezTo>
                <a:close/>
                <a:moveTo>
                  <a:pt x="515" y="134"/>
                </a:moveTo>
                <a:cubicBezTo>
                  <a:pt x="514" y="133"/>
                  <a:pt x="515" y="133"/>
                  <a:pt x="515" y="134"/>
                </a:cubicBezTo>
                <a:close/>
                <a:moveTo>
                  <a:pt x="518" y="86"/>
                </a:moveTo>
                <a:cubicBezTo>
                  <a:pt x="517" y="86"/>
                  <a:pt x="519" y="86"/>
                  <a:pt x="519" y="86"/>
                </a:cubicBezTo>
                <a:cubicBezTo>
                  <a:pt x="520" y="86"/>
                  <a:pt x="518" y="87"/>
                  <a:pt x="518" y="86"/>
                </a:cubicBezTo>
                <a:close/>
                <a:moveTo>
                  <a:pt x="518" y="88"/>
                </a:moveTo>
                <a:cubicBezTo>
                  <a:pt x="519" y="87"/>
                  <a:pt x="520" y="88"/>
                  <a:pt x="518" y="88"/>
                </a:cubicBezTo>
                <a:close/>
                <a:moveTo>
                  <a:pt x="519" y="94"/>
                </a:moveTo>
                <a:cubicBezTo>
                  <a:pt x="519" y="96"/>
                  <a:pt x="514" y="96"/>
                  <a:pt x="515" y="93"/>
                </a:cubicBezTo>
                <a:cubicBezTo>
                  <a:pt x="515" y="92"/>
                  <a:pt x="519" y="92"/>
                  <a:pt x="519" y="94"/>
                </a:cubicBezTo>
                <a:close/>
                <a:moveTo>
                  <a:pt x="516" y="113"/>
                </a:moveTo>
                <a:cubicBezTo>
                  <a:pt x="516" y="112"/>
                  <a:pt x="516" y="112"/>
                  <a:pt x="516" y="112"/>
                </a:cubicBezTo>
                <a:cubicBezTo>
                  <a:pt x="518" y="110"/>
                  <a:pt x="517" y="114"/>
                  <a:pt x="516" y="113"/>
                </a:cubicBezTo>
                <a:close/>
                <a:moveTo>
                  <a:pt x="518" y="143"/>
                </a:moveTo>
                <a:cubicBezTo>
                  <a:pt x="518" y="143"/>
                  <a:pt x="516" y="144"/>
                  <a:pt x="516" y="144"/>
                </a:cubicBezTo>
                <a:cubicBezTo>
                  <a:pt x="516" y="143"/>
                  <a:pt x="517" y="142"/>
                  <a:pt x="518" y="143"/>
                </a:cubicBezTo>
                <a:close/>
                <a:moveTo>
                  <a:pt x="515" y="139"/>
                </a:moveTo>
                <a:cubicBezTo>
                  <a:pt x="516" y="140"/>
                  <a:pt x="515" y="140"/>
                  <a:pt x="515" y="140"/>
                </a:cubicBezTo>
                <a:cubicBezTo>
                  <a:pt x="515" y="140"/>
                  <a:pt x="515" y="139"/>
                  <a:pt x="515" y="139"/>
                </a:cubicBezTo>
                <a:close/>
                <a:moveTo>
                  <a:pt x="519" y="150"/>
                </a:moveTo>
                <a:cubicBezTo>
                  <a:pt x="520" y="150"/>
                  <a:pt x="518" y="151"/>
                  <a:pt x="518" y="151"/>
                </a:cubicBezTo>
                <a:cubicBezTo>
                  <a:pt x="517" y="150"/>
                  <a:pt x="519" y="150"/>
                  <a:pt x="519" y="150"/>
                </a:cubicBezTo>
                <a:close/>
                <a:moveTo>
                  <a:pt x="525" y="72"/>
                </a:moveTo>
                <a:cubicBezTo>
                  <a:pt x="525" y="72"/>
                  <a:pt x="525" y="72"/>
                  <a:pt x="524" y="72"/>
                </a:cubicBezTo>
                <a:cubicBezTo>
                  <a:pt x="524" y="72"/>
                  <a:pt x="525" y="71"/>
                  <a:pt x="525" y="72"/>
                </a:cubicBezTo>
                <a:close/>
                <a:moveTo>
                  <a:pt x="509" y="73"/>
                </a:moveTo>
                <a:cubicBezTo>
                  <a:pt x="510" y="72"/>
                  <a:pt x="513" y="74"/>
                  <a:pt x="516" y="74"/>
                </a:cubicBezTo>
                <a:cubicBezTo>
                  <a:pt x="517" y="73"/>
                  <a:pt x="522" y="72"/>
                  <a:pt x="523" y="73"/>
                </a:cubicBezTo>
                <a:cubicBezTo>
                  <a:pt x="523" y="75"/>
                  <a:pt x="517" y="75"/>
                  <a:pt x="517" y="75"/>
                </a:cubicBezTo>
                <a:cubicBezTo>
                  <a:pt x="517" y="76"/>
                  <a:pt x="520" y="79"/>
                  <a:pt x="520" y="79"/>
                </a:cubicBezTo>
                <a:cubicBezTo>
                  <a:pt x="522" y="87"/>
                  <a:pt x="509" y="84"/>
                  <a:pt x="506" y="82"/>
                </a:cubicBezTo>
                <a:cubicBezTo>
                  <a:pt x="501" y="80"/>
                  <a:pt x="510" y="81"/>
                  <a:pt x="507" y="77"/>
                </a:cubicBezTo>
                <a:cubicBezTo>
                  <a:pt x="511" y="79"/>
                  <a:pt x="508" y="74"/>
                  <a:pt x="509" y="73"/>
                </a:cubicBezTo>
                <a:close/>
                <a:moveTo>
                  <a:pt x="509" y="61"/>
                </a:moveTo>
                <a:cubicBezTo>
                  <a:pt x="510" y="61"/>
                  <a:pt x="508" y="62"/>
                  <a:pt x="507" y="61"/>
                </a:cubicBezTo>
                <a:cubicBezTo>
                  <a:pt x="507" y="61"/>
                  <a:pt x="509" y="60"/>
                  <a:pt x="509" y="61"/>
                </a:cubicBezTo>
                <a:close/>
                <a:moveTo>
                  <a:pt x="511" y="36"/>
                </a:moveTo>
                <a:cubicBezTo>
                  <a:pt x="511" y="37"/>
                  <a:pt x="509" y="37"/>
                  <a:pt x="509" y="36"/>
                </a:cubicBezTo>
                <a:cubicBezTo>
                  <a:pt x="509" y="35"/>
                  <a:pt x="510" y="35"/>
                  <a:pt x="511" y="36"/>
                </a:cubicBezTo>
                <a:close/>
                <a:moveTo>
                  <a:pt x="509" y="38"/>
                </a:moveTo>
                <a:cubicBezTo>
                  <a:pt x="509" y="40"/>
                  <a:pt x="506" y="39"/>
                  <a:pt x="506" y="38"/>
                </a:cubicBezTo>
                <a:cubicBezTo>
                  <a:pt x="506" y="37"/>
                  <a:pt x="509" y="36"/>
                  <a:pt x="509" y="38"/>
                </a:cubicBezTo>
                <a:close/>
                <a:moveTo>
                  <a:pt x="509" y="50"/>
                </a:moveTo>
                <a:cubicBezTo>
                  <a:pt x="504" y="53"/>
                  <a:pt x="503" y="50"/>
                  <a:pt x="509" y="50"/>
                </a:cubicBezTo>
                <a:close/>
                <a:moveTo>
                  <a:pt x="506" y="53"/>
                </a:moveTo>
                <a:cubicBezTo>
                  <a:pt x="505" y="54"/>
                  <a:pt x="504" y="53"/>
                  <a:pt x="504" y="53"/>
                </a:cubicBezTo>
                <a:cubicBezTo>
                  <a:pt x="504" y="53"/>
                  <a:pt x="506" y="53"/>
                  <a:pt x="506" y="53"/>
                </a:cubicBezTo>
                <a:close/>
                <a:moveTo>
                  <a:pt x="504" y="64"/>
                </a:moveTo>
                <a:cubicBezTo>
                  <a:pt x="503" y="65"/>
                  <a:pt x="502" y="65"/>
                  <a:pt x="501" y="65"/>
                </a:cubicBezTo>
                <a:cubicBezTo>
                  <a:pt x="501" y="64"/>
                  <a:pt x="503" y="63"/>
                  <a:pt x="504" y="64"/>
                </a:cubicBezTo>
                <a:close/>
                <a:moveTo>
                  <a:pt x="501" y="64"/>
                </a:moveTo>
                <a:cubicBezTo>
                  <a:pt x="501" y="64"/>
                  <a:pt x="500" y="65"/>
                  <a:pt x="500" y="64"/>
                </a:cubicBezTo>
                <a:cubicBezTo>
                  <a:pt x="500" y="64"/>
                  <a:pt x="501" y="63"/>
                  <a:pt x="501" y="64"/>
                </a:cubicBezTo>
                <a:close/>
                <a:moveTo>
                  <a:pt x="501" y="123"/>
                </a:moveTo>
                <a:cubicBezTo>
                  <a:pt x="501" y="123"/>
                  <a:pt x="501" y="123"/>
                  <a:pt x="501" y="123"/>
                </a:cubicBezTo>
                <a:cubicBezTo>
                  <a:pt x="502" y="125"/>
                  <a:pt x="499" y="121"/>
                  <a:pt x="501" y="123"/>
                </a:cubicBezTo>
                <a:close/>
                <a:moveTo>
                  <a:pt x="499" y="65"/>
                </a:moveTo>
                <a:cubicBezTo>
                  <a:pt x="501" y="65"/>
                  <a:pt x="497" y="65"/>
                  <a:pt x="499" y="65"/>
                </a:cubicBezTo>
                <a:close/>
                <a:moveTo>
                  <a:pt x="498" y="38"/>
                </a:moveTo>
                <a:cubicBezTo>
                  <a:pt x="498" y="38"/>
                  <a:pt x="497" y="39"/>
                  <a:pt x="497" y="38"/>
                </a:cubicBezTo>
                <a:cubicBezTo>
                  <a:pt x="497" y="38"/>
                  <a:pt x="497" y="37"/>
                  <a:pt x="498" y="38"/>
                </a:cubicBezTo>
                <a:close/>
                <a:moveTo>
                  <a:pt x="497" y="31"/>
                </a:moveTo>
                <a:cubicBezTo>
                  <a:pt x="497" y="32"/>
                  <a:pt x="495" y="32"/>
                  <a:pt x="495" y="31"/>
                </a:cubicBezTo>
                <a:cubicBezTo>
                  <a:pt x="495" y="31"/>
                  <a:pt x="496" y="31"/>
                  <a:pt x="497" y="31"/>
                </a:cubicBezTo>
                <a:close/>
                <a:moveTo>
                  <a:pt x="496" y="40"/>
                </a:moveTo>
                <a:cubicBezTo>
                  <a:pt x="496" y="41"/>
                  <a:pt x="493" y="42"/>
                  <a:pt x="493" y="41"/>
                </a:cubicBezTo>
                <a:cubicBezTo>
                  <a:pt x="492" y="40"/>
                  <a:pt x="495" y="39"/>
                  <a:pt x="496" y="40"/>
                </a:cubicBezTo>
                <a:close/>
                <a:moveTo>
                  <a:pt x="492" y="44"/>
                </a:moveTo>
                <a:cubicBezTo>
                  <a:pt x="493" y="43"/>
                  <a:pt x="494" y="45"/>
                  <a:pt x="492" y="44"/>
                </a:cubicBezTo>
                <a:close/>
                <a:moveTo>
                  <a:pt x="488" y="29"/>
                </a:moveTo>
                <a:cubicBezTo>
                  <a:pt x="489" y="30"/>
                  <a:pt x="486" y="30"/>
                  <a:pt x="486" y="29"/>
                </a:cubicBezTo>
                <a:cubicBezTo>
                  <a:pt x="486" y="28"/>
                  <a:pt x="488" y="28"/>
                  <a:pt x="488" y="29"/>
                </a:cubicBezTo>
                <a:close/>
                <a:moveTo>
                  <a:pt x="487" y="31"/>
                </a:moveTo>
                <a:cubicBezTo>
                  <a:pt x="487" y="31"/>
                  <a:pt x="488" y="31"/>
                  <a:pt x="488" y="31"/>
                </a:cubicBezTo>
                <a:cubicBezTo>
                  <a:pt x="489" y="32"/>
                  <a:pt x="487" y="32"/>
                  <a:pt x="487" y="31"/>
                </a:cubicBezTo>
                <a:close/>
                <a:moveTo>
                  <a:pt x="488" y="40"/>
                </a:moveTo>
                <a:cubicBezTo>
                  <a:pt x="488" y="41"/>
                  <a:pt x="487" y="41"/>
                  <a:pt x="486" y="41"/>
                </a:cubicBezTo>
                <a:cubicBezTo>
                  <a:pt x="486" y="40"/>
                  <a:pt x="487" y="40"/>
                  <a:pt x="488" y="40"/>
                </a:cubicBezTo>
                <a:close/>
                <a:moveTo>
                  <a:pt x="484" y="41"/>
                </a:moveTo>
                <a:cubicBezTo>
                  <a:pt x="485" y="42"/>
                  <a:pt x="483" y="42"/>
                  <a:pt x="483" y="42"/>
                </a:cubicBezTo>
                <a:cubicBezTo>
                  <a:pt x="483" y="41"/>
                  <a:pt x="484" y="41"/>
                  <a:pt x="484" y="41"/>
                </a:cubicBezTo>
                <a:close/>
                <a:moveTo>
                  <a:pt x="483" y="38"/>
                </a:moveTo>
                <a:cubicBezTo>
                  <a:pt x="482" y="37"/>
                  <a:pt x="484" y="38"/>
                  <a:pt x="483" y="38"/>
                </a:cubicBezTo>
                <a:close/>
                <a:moveTo>
                  <a:pt x="483" y="51"/>
                </a:moveTo>
                <a:cubicBezTo>
                  <a:pt x="485" y="47"/>
                  <a:pt x="492" y="43"/>
                  <a:pt x="496" y="48"/>
                </a:cubicBezTo>
                <a:cubicBezTo>
                  <a:pt x="496" y="49"/>
                  <a:pt x="494" y="53"/>
                  <a:pt x="493" y="53"/>
                </a:cubicBezTo>
                <a:cubicBezTo>
                  <a:pt x="493" y="53"/>
                  <a:pt x="491" y="53"/>
                  <a:pt x="490" y="53"/>
                </a:cubicBezTo>
                <a:cubicBezTo>
                  <a:pt x="490" y="53"/>
                  <a:pt x="490" y="54"/>
                  <a:pt x="489" y="54"/>
                </a:cubicBezTo>
                <a:cubicBezTo>
                  <a:pt x="488" y="54"/>
                  <a:pt x="485" y="54"/>
                  <a:pt x="483" y="54"/>
                </a:cubicBezTo>
                <a:cubicBezTo>
                  <a:pt x="483" y="54"/>
                  <a:pt x="483" y="54"/>
                  <a:pt x="482" y="54"/>
                </a:cubicBezTo>
                <a:cubicBezTo>
                  <a:pt x="482" y="53"/>
                  <a:pt x="483" y="52"/>
                  <a:pt x="483" y="51"/>
                </a:cubicBezTo>
                <a:close/>
                <a:moveTo>
                  <a:pt x="482" y="56"/>
                </a:moveTo>
                <a:cubicBezTo>
                  <a:pt x="483" y="57"/>
                  <a:pt x="480" y="57"/>
                  <a:pt x="480" y="57"/>
                </a:cubicBezTo>
                <a:cubicBezTo>
                  <a:pt x="479" y="55"/>
                  <a:pt x="482" y="55"/>
                  <a:pt x="482" y="56"/>
                </a:cubicBezTo>
                <a:close/>
                <a:moveTo>
                  <a:pt x="479" y="43"/>
                </a:moveTo>
                <a:cubicBezTo>
                  <a:pt x="479" y="45"/>
                  <a:pt x="475" y="45"/>
                  <a:pt x="474" y="44"/>
                </a:cubicBezTo>
                <a:cubicBezTo>
                  <a:pt x="474" y="43"/>
                  <a:pt x="478" y="42"/>
                  <a:pt x="479" y="43"/>
                </a:cubicBezTo>
                <a:close/>
                <a:moveTo>
                  <a:pt x="473" y="28"/>
                </a:moveTo>
                <a:cubicBezTo>
                  <a:pt x="472" y="28"/>
                  <a:pt x="474" y="28"/>
                  <a:pt x="473" y="28"/>
                </a:cubicBezTo>
                <a:close/>
                <a:moveTo>
                  <a:pt x="471" y="33"/>
                </a:moveTo>
                <a:cubicBezTo>
                  <a:pt x="471" y="34"/>
                  <a:pt x="470" y="34"/>
                  <a:pt x="469" y="34"/>
                </a:cubicBezTo>
                <a:cubicBezTo>
                  <a:pt x="469" y="33"/>
                  <a:pt x="471" y="32"/>
                  <a:pt x="471" y="33"/>
                </a:cubicBezTo>
                <a:close/>
                <a:moveTo>
                  <a:pt x="467" y="32"/>
                </a:moveTo>
                <a:cubicBezTo>
                  <a:pt x="469" y="31"/>
                  <a:pt x="470" y="33"/>
                  <a:pt x="467" y="32"/>
                </a:cubicBezTo>
                <a:close/>
                <a:moveTo>
                  <a:pt x="467" y="46"/>
                </a:moveTo>
                <a:cubicBezTo>
                  <a:pt x="468" y="44"/>
                  <a:pt x="469" y="47"/>
                  <a:pt x="467" y="46"/>
                </a:cubicBezTo>
                <a:close/>
                <a:moveTo>
                  <a:pt x="467" y="52"/>
                </a:moveTo>
                <a:cubicBezTo>
                  <a:pt x="466" y="52"/>
                  <a:pt x="468" y="53"/>
                  <a:pt x="467" y="52"/>
                </a:cubicBezTo>
                <a:close/>
                <a:moveTo>
                  <a:pt x="467" y="30"/>
                </a:moveTo>
                <a:cubicBezTo>
                  <a:pt x="467" y="30"/>
                  <a:pt x="468" y="31"/>
                  <a:pt x="467" y="31"/>
                </a:cubicBezTo>
                <a:cubicBezTo>
                  <a:pt x="465" y="31"/>
                  <a:pt x="467" y="28"/>
                  <a:pt x="467" y="30"/>
                </a:cubicBezTo>
                <a:close/>
                <a:moveTo>
                  <a:pt x="468" y="38"/>
                </a:moveTo>
                <a:cubicBezTo>
                  <a:pt x="468" y="39"/>
                  <a:pt x="466" y="40"/>
                  <a:pt x="465" y="39"/>
                </a:cubicBezTo>
                <a:cubicBezTo>
                  <a:pt x="465" y="38"/>
                  <a:pt x="467" y="37"/>
                  <a:pt x="468" y="38"/>
                </a:cubicBezTo>
                <a:close/>
                <a:moveTo>
                  <a:pt x="464" y="49"/>
                </a:moveTo>
                <a:cubicBezTo>
                  <a:pt x="463" y="50"/>
                  <a:pt x="462" y="48"/>
                  <a:pt x="462" y="49"/>
                </a:cubicBezTo>
                <a:cubicBezTo>
                  <a:pt x="460" y="46"/>
                  <a:pt x="468" y="49"/>
                  <a:pt x="464" y="49"/>
                </a:cubicBezTo>
                <a:close/>
                <a:moveTo>
                  <a:pt x="463" y="51"/>
                </a:moveTo>
                <a:cubicBezTo>
                  <a:pt x="463" y="51"/>
                  <a:pt x="464" y="51"/>
                  <a:pt x="464" y="51"/>
                </a:cubicBezTo>
                <a:cubicBezTo>
                  <a:pt x="465" y="52"/>
                  <a:pt x="464" y="51"/>
                  <a:pt x="463" y="51"/>
                </a:cubicBezTo>
                <a:close/>
                <a:moveTo>
                  <a:pt x="447" y="79"/>
                </a:moveTo>
                <a:cubicBezTo>
                  <a:pt x="448" y="79"/>
                  <a:pt x="446" y="80"/>
                  <a:pt x="446" y="80"/>
                </a:cubicBezTo>
                <a:cubicBezTo>
                  <a:pt x="446" y="79"/>
                  <a:pt x="446" y="79"/>
                  <a:pt x="447" y="79"/>
                </a:cubicBezTo>
                <a:close/>
                <a:moveTo>
                  <a:pt x="446" y="189"/>
                </a:moveTo>
                <a:cubicBezTo>
                  <a:pt x="446" y="188"/>
                  <a:pt x="448" y="188"/>
                  <a:pt x="448" y="189"/>
                </a:cubicBezTo>
                <a:cubicBezTo>
                  <a:pt x="448" y="190"/>
                  <a:pt x="446" y="190"/>
                  <a:pt x="446" y="189"/>
                </a:cubicBezTo>
                <a:close/>
                <a:moveTo>
                  <a:pt x="449" y="610"/>
                </a:moveTo>
                <a:cubicBezTo>
                  <a:pt x="448" y="610"/>
                  <a:pt x="447" y="610"/>
                  <a:pt x="446" y="610"/>
                </a:cubicBezTo>
                <a:cubicBezTo>
                  <a:pt x="447" y="609"/>
                  <a:pt x="448" y="609"/>
                  <a:pt x="449" y="610"/>
                </a:cubicBezTo>
                <a:close/>
                <a:moveTo>
                  <a:pt x="447" y="145"/>
                </a:moveTo>
                <a:cubicBezTo>
                  <a:pt x="446" y="146"/>
                  <a:pt x="445" y="145"/>
                  <a:pt x="447" y="145"/>
                </a:cubicBezTo>
                <a:close/>
                <a:moveTo>
                  <a:pt x="447" y="126"/>
                </a:moveTo>
                <a:cubicBezTo>
                  <a:pt x="447" y="126"/>
                  <a:pt x="446" y="127"/>
                  <a:pt x="446" y="127"/>
                </a:cubicBezTo>
                <a:cubicBezTo>
                  <a:pt x="446" y="127"/>
                  <a:pt x="446" y="126"/>
                  <a:pt x="447" y="126"/>
                </a:cubicBezTo>
                <a:close/>
                <a:moveTo>
                  <a:pt x="446" y="180"/>
                </a:moveTo>
                <a:cubicBezTo>
                  <a:pt x="446" y="184"/>
                  <a:pt x="439" y="183"/>
                  <a:pt x="438" y="180"/>
                </a:cubicBezTo>
                <a:cubicBezTo>
                  <a:pt x="438" y="178"/>
                  <a:pt x="446" y="176"/>
                  <a:pt x="446" y="180"/>
                </a:cubicBezTo>
                <a:close/>
                <a:moveTo>
                  <a:pt x="441" y="175"/>
                </a:moveTo>
                <a:cubicBezTo>
                  <a:pt x="441" y="173"/>
                  <a:pt x="444" y="173"/>
                  <a:pt x="444" y="174"/>
                </a:cubicBezTo>
                <a:cubicBezTo>
                  <a:pt x="445" y="176"/>
                  <a:pt x="442" y="176"/>
                  <a:pt x="441" y="175"/>
                </a:cubicBezTo>
                <a:close/>
                <a:moveTo>
                  <a:pt x="446" y="135"/>
                </a:moveTo>
                <a:cubicBezTo>
                  <a:pt x="444" y="136"/>
                  <a:pt x="441" y="137"/>
                  <a:pt x="440" y="136"/>
                </a:cubicBezTo>
                <a:cubicBezTo>
                  <a:pt x="442" y="136"/>
                  <a:pt x="444" y="134"/>
                  <a:pt x="446" y="135"/>
                </a:cubicBezTo>
                <a:close/>
                <a:moveTo>
                  <a:pt x="443" y="79"/>
                </a:moveTo>
                <a:cubicBezTo>
                  <a:pt x="444" y="78"/>
                  <a:pt x="445" y="80"/>
                  <a:pt x="443" y="79"/>
                </a:cubicBezTo>
                <a:close/>
                <a:moveTo>
                  <a:pt x="443" y="79"/>
                </a:moveTo>
                <a:cubicBezTo>
                  <a:pt x="442" y="80"/>
                  <a:pt x="440" y="81"/>
                  <a:pt x="439" y="81"/>
                </a:cubicBezTo>
                <a:cubicBezTo>
                  <a:pt x="439" y="79"/>
                  <a:pt x="441" y="80"/>
                  <a:pt x="443" y="79"/>
                </a:cubicBezTo>
                <a:close/>
                <a:moveTo>
                  <a:pt x="438" y="137"/>
                </a:moveTo>
                <a:cubicBezTo>
                  <a:pt x="439" y="137"/>
                  <a:pt x="437" y="138"/>
                  <a:pt x="437" y="138"/>
                </a:cubicBezTo>
                <a:cubicBezTo>
                  <a:pt x="437" y="138"/>
                  <a:pt x="438" y="137"/>
                  <a:pt x="438" y="137"/>
                </a:cubicBezTo>
                <a:close/>
                <a:moveTo>
                  <a:pt x="437" y="228"/>
                </a:moveTo>
                <a:cubicBezTo>
                  <a:pt x="436" y="229"/>
                  <a:pt x="433" y="230"/>
                  <a:pt x="432" y="232"/>
                </a:cubicBezTo>
                <a:cubicBezTo>
                  <a:pt x="433" y="230"/>
                  <a:pt x="435" y="229"/>
                  <a:pt x="437" y="228"/>
                </a:cubicBezTo>
                <a:close/>
                <a:moveTo>
                  <a:pt x="431" y="647"/>
                </a:moveTo>
                <a:cubicBezTo>
                  <a:pt x="432" y="648"/>
                  <a:pt x="430" y="646"/>
                  <a:pt x="431" y="647"/>
                </a:cubicBezTo>
                <a:close/>
                <a:moveTo>
                  <a:pt x="430" y="190"/>
                </a:move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lose/>
                <a:moveTo>
                  <a:pt x="430" y="233"/>
                </a:moveTo>
                <a:cubicBezTo>
                  <a:pt x="428" y="236"/>
                  <a:pt x="427" y="233"/>
                  <a:pt x="430" y="233"/>
                </a:cubicBezTo>
                <a:close/>
                <a:moveTo>
                  <a:pt x="430" y="647"/>
                </a:moveTo>
                <a:cubicBezTo>
                  <a:pt x="430" y="648"/>
                  <a:pt x="428" y="648"/>
                  <a:pt x="428" y="648"/>
                </a:cubicBezTo>
                <a:cubicBezTo>
                  <a:pt x="428" y="647"/>
                  <a:pt x="429" y="647"/>
                  <a:pt x="430" y="647"/>
                </a:cubicBezTo>
                <a:close/>
                <a:moveTo>
                  <a:pt x="427" y="105"/>
                </a:moveTo>
                <a:cubicBezTo>
                  <a:pt x="426" y="104"/>
                  <a:pt x="428" y="106"/>
                  <a:pt x="427" y="105"/>
                </a:cubicBezTo>
                <a:close/>
                <a:moveTo>
                  <a:pt x="426" y="572"/>
                </a:moveTo>
                <a:cubicBezTo>
                  <a:pt x="427" y="571"/>
                  <a:pt x="427" y="574"/>
                  <a:pt x="426" y="573"/>
                </a:cubicBezTo>
                <a:cubicBezTo>
                  <a:pt x="426" y="573"/>
                  <a:pt x="426" y="572"/>
                  <a:pt x="426" y="572"/>
                </a:cubicBezTo>
                <a:close/>
                <a:moveTo>
                  <a:pt x="424" y="210"/>
                </a:moveTo>
                <a:cubicBezTo>
                  <a:pt x="425" y="209"/>
                  <a:pt x="426" y="211"/>
                  <a:pt x="424" y="210"/>
                </a:cubicBezTo>
                <a:close/>
                <a:moveTo>
                  <a:pt x="422" y="80"/>
                </a:moveTo>
                <a:cubicBezTo>
                  <a:pt x="423" y="81"/>
                  <a:pt x="421" y="81"/>
                  <a:pt x="420" y="81"/>
                </a:cubicBezTo>
                <a:cubicBezTo>
                  <a:pt x="420" y="80"/>
                  <a:pt x="422" y="80"/>
                  <a:pt x="422" y="80"/>
                </a:cubicBezTo>
                <a:close/>
                <a:moveTo>
                  <a:pt x="423" y="85"/>
                </a:moveTo>
                <a:cubicBezTo>
                  <a:pt x="423" y="85"/>
                  <a:pt x="420" y="86"/>
                  <a:pt x="420" y="85"/>
                </a:cubicBezTo>
                <a:cubicBezTo>
                  <a:pt x="419" y="85"/>
                  <a:pt x="424" y="83"/>
                  <a:pt x="423" y="85"/>
                </a:cubicBezTo>
                <a:close/>
                <a:moveTo>
                  <a:pt x="421" y="667"/>
                </a:moveTo>
                <a:cubicBezTo>
                  <a:pt x="423" y="666"/>
                  <a:pt x="422" y="668"/>
                  <a:pt x="421" y="667"/>
                </a:cubicBezTo>
                <a:close/>
                <a:moveTo>
                  <a:pt x="419" y="54"/>
                </a:moveTo>
                <a:cubicBezTo>
                  <a:pt x="420" y="54"/>
                  <a:pt x="419" y="55"/>
                  <a:pt x="419" y="55"/>
                </a:cubicBezTo>
                <a:cubicBezTo>
                  <a:pt x="418" y="55"/>
                  <a:pt x="418" y="54"/>
                  <a:pt x="419" y="54"/>
                </a:cubicBezTo>
                <a:close/>
                <a:moveTo>
                  <a:pt x="419" y="61"/>
                </a:moveTo>
                <a:cubicBezTo>
                  <a:pt x="419" y="61"/>
                  <a:pt x="417" y="61"/>
                  <a:pt x="417" y="60"/>
                </a:cubicBezTo>
                <a:cubicBezTo>
                  <a:pt x="417" y="60"/>
                  <a:pt x="418" y="60"/>
                  <a:pt x="419" y="61"/>
                </a:cubicBezTo>
                <a:close/>
                <a:moveTo>
                  <a:pt x="411" y="63"/>
                </a:moveTo>
                <a:cubicBezTo>
                  <a:pt x="411" y="63"/>
                  <a:pt x="410" y="64"/>
                  <a:pt x="410" y="63"/>
                </a:cubicBezTo>
                <a:cubicBezTo>
                  <a:pt x="409" y="63"/>
                  <a:pt x="411" y="62"/>
                  <a:pt x="411" y="63"/>
                </a:cubicBezTo>
                <a:close/>
                <a:moveTo>
                  <a:pt x="408" y="93"/>
                </a:moveTo>
                <a:cubicBezTo>
                  <a:pt x="408" y="94"/>
                  <a:pt x="407" y="94"/>
                  <a:pt x="407" y="94"/>
                </a:cubicBezTo>
                <a:cubicBezTo>
                  <a:pt x="406" y="93"/>
                  <a:pt x="408" y="93"/>
                  <a:pt x="408" y="93"/>
                </a:cubicBezTo>
                <a:close/>
                <a:moveTo>
                  <a:pt x="406" y="125"/>
                </a:moveTo>
                <a:cubicBezTo>
                  <a:pt x="406" y="126"/>
                  <a:pt x="404" y="125"/>
                  <a:pt x="406" y="125"/>
                </a:cubicBezTo>
                <a:close/>
                <a:moveTo>
                  <a:pt x="405" y="97"/>
                </a:moveTo>
                <a:cubicBezTo>
                  <a:pt x="404" y="97"/>
                  <a:pt x="404" y="97"/>
                  <a:pt x="404" y="96"/>
                </a:cubicBezTo>
                <a:cubicBezTo>
                  <a:pt x="403" y="95"/>
                  <a:pt x="406" y="97"/>
                  <a:pt x="405" y="97"/>
                </a:cubicBezTo>
                <a:close/>
                <a:moveTo>
                  <a:pt x="408" y="154"/>
                </a:moveTo>
                <a:cubicBezTo>
                  <a:pt x="406" y="156"/>
                  <a:pt x="402" y="158"/>
                  <a:pt x="399" y="158"/>
                </a:cubicBezTo>
                <a:cubicBezTo>
                  <a:pt x="402" y="157"/>
                  <a:pt x="405" y="156"/>
                  <a:pt x="408" y="154"/>
                </a:cubicBezTo>
                <a:close/>
                <a:moveTo>
                  <a:pt x="399" y="122"/>
                </a:moveTo>
                <a:cubicBezTo>
                  <a:pt x="399" y="122"/>
                  <a:pt x="400" y="121"/>
                  <a:pt x="400" y="122"/>
                </a:cubicBezTo>
                <a:cubicBezTo>
                  <a:pt x="400" y="122"/>
                  <a:pt x="400" y="123"/>
                  <a:pt x="399" y="122"/>
                </a:cubicBezTo>
                <a:close/>
                <a:moveTo>
                  <a:pt x="401" y="71"/>
                </a:moveTo>
                <a:cubicBezTo>
                  <a:pt x="402" y="72"/>
                  <a:pt x="400" y="73"/>
                  <a:pt x="399" y="72"/>
                </a:cubicBezTo>
                <a:cubicBezTo>
                  <a:pt x="399" y="71"/>
                  <a:pt x="401" y="70"/>
                  <a:pt x="401" y="71"/>
                </a:cubicBezTo>
                <a:close/>
                <a:moveTo>
                  <a:pt x="399" y="97"/>
                </a:moveTo>
                <a:cubicBezTo>
                  <a:pt x="399" y="97"/>
                  <a:pt x="398" y="98"/>
                  <a:pt x="397" y="97"/>
                </a:cubicBezTo>
                <a:cubicBezTo>
                  <a:pt x="398" y="97"/>
                  <a:pt x="398" y="97"/>
                  <a:pt x="399" y="97"/>
                </a:cubicBezTo>
                <a:close/>
                <a:moveTo>
                  <a:pt x="398" y="160"/>
                </a:moveTo>
                <a:cubicBezTo>
                  <a:pt x="398" y="160"/>
                  <a:pt x="398" y="159"/>
                  <a:pt x="399" y="159"/>
                </a:cubicBezTo>
                <a:cubicBezTo>
                  <a:pt x="399" y="159"/>
                  <a:pt x="398" y="160"/>
                  <a:pt x="398" y="160"/>
                </a:cubicBezTo>
                <a:close/>
                <a:moveTo>
                  <a:pt x="398" y="169"/>
                </a:moveTo>
                <a:cubicBezTo>
                  <a:pt x="399" y="170"/>
                  <a:pt x="397" y="171"/>
                  <a:pt x="397" y="170"/>
                </a:cubicBezTo>
                <a:cubicBezTo>
                  <a:pt x="397" y="169"/>
                  <a:pt x="398" y="169"/>
                  <a:pt x="398" y="169"/>
                </a:cubicBezTo>
                <a:close/>
                <a:moveTo>
                  <a:pt x="397" y="159"/>
                </a:moveTo>
                <a:cubicBezTo>
                  <a:pt x="397" y="160"/>
                  <a:pt x="395" y="162"/>
                  <a:pt x="395" y="161"/>
                </a:cubicBezTo>
                <a:cubicBezTo>
                  <a:pt x="395" y="160"/>
                  <a:pt x="397" y="160"/>
                  <a:pt x="397" y="159"/>
                </a:cubicBezTo>
                <a:close/>
                <a:moveTo>
                  <a:pt x="395" y="78"/>
                </a:moveTo>
                <a:cubicBezTo>
                  <a:pt x="395" y="78"/>
                  <a:pt x="394" y="78"/>
                  <a:pt x="394" y="78"/>
                </a:cubicBezTo>
                <a:cubicBezTo>
                  <a:pt x="393" y="78"/>
                  <a:pt x="395" y="78"/>
                  <a:pt x="395" y="78"/>
                </a:cubicBezTo>
                <a:close/>
                <a:moveTo>
                  <a:pt x="392" y="104"/>
                </a:moveTo>
                <a:cubicBezTo>
                  <a:pt x="393" y="106"/>
                  <a:pt x="390" y="105"/>
                  <a:pt x="390" y="104"/>
                </a:cubicBezTo>
                <a:cubicBezTo>
                  <a:pt x="390" y="102"/>
                  <a:pt x="392" y="103"/>
                  <a:pt x="392" y="104"/>
                </a:cubicBezTo>
                <a:close/>
                <a:moveTo>
                  <a:pt x="388" y="79"/>
                </a:moveTo>
                <a:cubicBezTo>
                  <a:pt x="387" y="80"/>
                  <a:pt x="386" y="79"/>
                  <a:pt x="385" y="80"/>
                </a:cubicBezTo>
                <a:cubicBezTo>
                  <a:pt x="385" y="79"/>
                  <a:pt x="387" y="79"/>
                  <a:pt x="388" y="79"/>
                </a:cubicBezTo>
                <a:close/>
                <a:moveTo>
                  <a:pt x="385" y="112"/>
                </a:moveTo>
                <a:cubicBezTo>
                  <a:pt x="385" y="112"/>
                  <a:pt x="387" y="111"/>
                  <a:pt x="387" y="112"/>
                </a:cubicBezTo>
                <a:cubicBezTo>
                  <a:pt x="388" y="114"/>
                  <a:pt x="384" y="114"/>
                  <a:pt x="385" y="112"/>
                </a:cubicBezTo>
                <a:close/>
                <a:moveTo>
                  <a:pt x="382" y="113"/>
                </a:moveTo>
                <a:cubicBezTo>
                  <a:pt x="384" y="111"/>
                  <a:pt x="385" y="114"/>
                  <a:pt x="382" y="113"/>
                </a:cubicBezTo>
                <a:close/>
                <a:moveTo>
                  <a:pt x="379" y="110"/>
                </a:moveTo>
                <a:cubicBezTo>
                  <a:pt x="380" y="111"/>
                  <a:pt x="376" y="111"/>
                  <a:pt x="376" y="110"/>
                </a:cubicBezTo>
                <a:cubicBezTo>
                  <a:pt x="375" y="109"/>
                  <a:pt x="378" y="108"/>
                  <a:pt x="379" y="110"/>
                </a:cubicBezTo>
                <a:close/>
                <a:moveTo>
                  <a:pt x="379" y="80"/>
                </a:moveTo>
                <a:cubicBezTo>
                  <a:pt x="379" y="80"/>
                  <a:pt x="377" y="81"/>
                  <a:pt x="377" y="81"/>
                </a:cubicBezTo>
                <a:cubicBezTo>
                  <a:pt x="377" y="80"/>
                  <a:pt x="378" y="80"/>
                  <a:pt x="379" y="80"/>
                </a:cubicBezTo>
                <a:close/>
                <a:moveTo>
                  <a:pt x="376" y="81"/>
                </a:moveTo>
                <a:cubicBezTo>
                  <a:pt x="375" y="81"/>
                  <a:pt x="374" y="81"/>
                  <a:pt x="374" y="81"/>
                </a:cubicBezTo>
                <a:cubicBezTo>
                  <a:pt x="373" y="81"/>
                  <a:pt x="375" y="81"/>
                  <a:pt x="376" y="81"/>
                </a:cubicBezTo>
                <a:close/>
                <a:moveTo>
                  <a:pt x="372" y="76"/>
                </a:moveTo>
                <a:cubicBezTo>
                  <a:pt x="372" y="76"/>
                  <a:pt x="372" y="76"/>
                  <a:pt x="372" y="76"/>
                </a:cubicBezTo>
                <a:cubicBezTo>
                  <a:pt x="372" y="76"/>
                  <a:pt x="371" y="76"/>
                  <a:pt x="371" y="76"/>
                </a:cubicBezTo>
                <a:cubicBezTo>
                  <a:pt x="371" y="76"/>
                  <a:pt x="371" y="76"/>
                  <a:pt x="372" y="76"/>
                </a:cubicBezTo>
                <a:close/>
                <a:moveTo>
                  <a:pt x="363" y="95"/>
                </a:moveTo>
                <a:cubicBezTo>
                  <a:pt x="362" y="96"/>
                  <a:pt x="361" y="94"/>
                  <a:pt x="363" y="95"/>
                </a:cubicBezTo>
                <a:close/>
                <a:moveTo>
                  <a:pt x="362" y="110"/>
                </a:moveTo>
                <a:cubicBezTo>
                  <a:pt x="362" y="112"/>
                  <a:pt x="358" y="112"/>
                  <a:pt x="357" y="111"/>
                </a:cubicBezTo>
                <a:cubicBezTo>
                  <a:pt x="357" y="111"/>
                  <a:pt x="357" y="111"/>
                  <a:pt x="356" y="110"/>
                </a:cubicBezTo>
                <a:cubicBezTo>
                  <a:pt x="357" y="111"/>
                  <a:pt x="355" y="112"/>
                  <a:pt x="355" y="111"/>
                </a:cubicBezTo>
                <a:cubicBezTo>
                  <a:pt x="354" y="110"/>
                  <a:pt x="363" y="106"/>
                  <a:pt x="362" y="110"/>
                </a:cubicBezTo>
                <a:close/>
                <a:moveTo>
                  <a:pt x="357" y="127"/>
                </a:moveTo>
                <a:cubicBezTo>
                  <a:pt x="362" y="124"/>
                  <a:pt x="368" y="124"/>
                  <a:pt x="374" y="121"/>
                </a:cubicBezTo>
                <a:cubicBezTo>
                  <a:pt x="379" y="119"/>
                  <a:pt x="384" y="116"/>
                  <a:pt x="389" y="116"/>
                </a:cubicBezTo>
                <a:cubicBezTo>
                  <a:pt x="389" y="116"/>
                  <a:pt x="390" y="117"/>
                  <a:pt x="390" y="117"/>
                </a:cubicBezTo>
                <a:cubicBezTo>
                  <a:pt x="390" y="118"/>
                  <a:pt x="381" y="121"/>
                  <a:pt x="378" y="122"/>
                </a:cubicBezTo>
                <a:cubicBezTo>
                  <a:pt x="373" y="123"/>
                  <a:pt x="369" y="124"/>
                  <a:pt x="364" y="125"/>
                </a:cubicBezTo>
                <a:cubicBezTo>
                  <a:pt x="363" y="126"/>
                  <a:pt x="357" y="129"/>
                  <a:pt x="355" y="129"/>
                </a:cubicBezTo>
                <a:cubicBezTo>
                  <a:pt x="352" y="129"/>
                  <a:pt x="356" y="127"/>
                  <a:pt x="357" y="127"/>
                </a:cubicBezTo>
                <a:close/>
                <a:moveTo>
                  <a:pt x="357" y="587"/>
                </a:moveTo>
                <a:cubicBezTo>
                  <a:pt x="365" y="583"/>
                  <a:pt x="375" y="580"/>
                  <a:pt x="384" y="576"/>
                </a:cubicBezTo>
                <a:cubicBezTo>
                  <a:pt x="385" y="576"/>
                  <a:pt x="387" y="575"/>
                  <a:pt x="387" y="576"/>
                </a:cubicBezTo>
                <a:cubicBezTo>
                  <a:pt x="388" y="577"/>
                  <a:pt x="384" y="578"/>
                  <a:pt x="386" y="577"/>
                </a:cubicBezTo>
                <a:cubicBezTo>
                  <a:pt x="377" y="581"/>
                  <a:pt x="366" y="585"/>
                  <a:pt x="357" y="587"/>
                </a:cubicBezTo>
                <a:close/>
                <a:moveTo>
                  <a:pt x="376" y="609"/>
                </a:moveTo>
                <a:cubicBezTo>
                  <a:pt x="376" y="610"/>
                  <a:pt x="374" y="610"/>
                  <a:pt x="374" y="610"/>
                </a:cubicBezTo>
                <a:cubicBezTo>
                  <a:pt x="373" y="609"/>
                  <a:pt x="376" y="608"/>
                  <a:pt x="376" y="609"/>
                </a:cubicBezTo>
                <a:close/>
                <a:moveTo>
                  <a:pt x="374" y="600"/>
                </a:moveTo>
                <a:cubicBezTo>
                  <a:pt x="373" y="599"/>
                  <a:pt x="375" y="599"/>
                  <a:pt x="375" y="600"/>
                </a:cubicBezTo>
                <a:cubicBezTo>
                  <a:pt x="375" y="601"/>
                  <a:pt x="374" y="600"/>
                  <a:pt x="374" y="600"/>
                </a:cubicBezTo>
                <a:close/>
                <a:moveTo>
                  <a:pt x="372" y="610"/>
                </a:moveTo>
                <a:cubicBezTo>
                  <a:pt x="371" y="610"/>
                  <a:pt x="373" y="609"/>
                  <a:pt x="373" y="610"/>
                </a:cubicBezTo>
                <a:cubicBezTo>
                  <a:pt x="373" y="610"/>
                  <a:pt x="373" y="611"/>
                  <a:pt x="372" y="610"/>
                </a:cubicBezTo>
                <a:close/>
                <a:moveTo>
                  <a:pt x="364" y="137"/>
                </a:moveTo>
                <a:cubicBezTo>
                  <a:pt x="364" y="138"/>
                  <a:pt x="364" y="137"/>
                  <a:pt x="363" y="138"/>
                </a:cubicBezTo>
                <a:cubicBezTo>
                  <a:pt x="363" y="137"/>
                  <a:pt x="364" y="137"/>
                  <a:pt x="364" y="137"/>
                </a:cubicBezTo>
                <a:close/>
                <a:moveTo>
                  <a:pt x="376" y="167"/>
                </a:moveTo>
                <a:cubicBezTo>
                  <a:pt x="377" y="168"/>
                  <a:pt x="373" y="170"/>
                  <a:pt x="371" y="170"/>
                </a:cubicBezTo>
                <a:cubicBezTo>
                  <a:pt x="371" y="170"/>
                  <a:pt x="368" y="169"/>
                  <a:pt x="367" y="169"/>
                </a:cubicBezTo>
                <a:cubicBezTo>
                  <a:pt x="367" y="168"/>
                  <a:pt x="371" y="165"/>
                  <a:pt x="373" y="168"/>
                </a:cubicBezTo>
                <a:cubicBezTo>
                  <a:pt x="373" y="168"/>
                  <a:pt x="373" y="169"/>
                  <a:pt x="373" y="169"/>
                </a:cubicBezTo>
                <a:cubicBezTo>
                  <a:pt x="374" y="169"/>
                  <a:pt x="375" y="168"/>
                  <a:pt x="376" y="167"/>
                </a:cubicBezTo>
                <a:close/>
                <a:moveTo>
                  <a:pt x="369" y="576"/>
                </a:moveTo>
                <a:cubicBezTo>
                  <a:pt x="369" y="574"/>
                  <a:pt x="371" y="574"/>
                  <a:pt x="369" y="576"/>
                </a:cubicBezTo>
                <a:close/>
                <a:moveTo>
                  <a:pt x="368" y="211"/>
                </a:moveTo>
                <a:cubicBezTo>
                  <a:pt x="367" y="211"/>
                  <a:pt x="368" y="209"/>
                  <a:pt x="369" y="210"/>
                </a:cubicBezTo>
                <a:cubicBezTo>
                  <a:pt x="369" y="210"/>
                  <a:pt x="368" y="211"/>
                  <a:pt x="368" y="211"/>
                </a:cubicBezTo>
                <a:close/>
                <a:moveTo>
                  <a:pt x="368" y="576"/>
                </a:moveTo>
                <a:cubicBezTo>
                  <a:pt x="370" y="575"/>
                  <a:pt x="366" y="578"/>
                  <a:pt x="368" y="576"/>
                </a:cubicBezTo>
                <a:close/>
                <a:moveTo>
                  <a:pt x="379" y="184"/>
                </a:moveTo>
                <a:cubicBezTo>
                  <a:pt x="379" y="183"/>
                  <a:pt x="380" y="182"/>
                  <a:pt x="380" y="183"/>
                </a:cubicBezTo>
                <a:cubicBezTo>
                  <a:pt x="380" y="184"/>
                  <a:pt x="379" y="184"/>
                  <a:pt x="379" y="184"/>
                </a:cubicBezTo>
                <a:close/>
                <a:moveTo>
                  <a:pt x="356" y="609"/>
                </a:moveTo>
                <a:cubicBezTo>
                  <a:pt x="355" y="611"/>
                  <a:pt x="353" y="609"/>
                  <a:pt x="356" y="609"/>
                </a:cubicBezTo>
                <a:close/>
                <a:moveTo>
                  <a:pt x="354" y="556"/>
                </a:moveTo>
                <a:cubicBezTo>
                  <a:pt x="353" y="557"/>
                  <a:pt x="352" y="555"/>
                  <a:pt x="354" y="556"/>
                </a:cubicBezTo>
                <a:close/>
                <a:moveTo>
                  <a:pt x="352" y="532"/>
                </a:moveTo>
                <a:cubicBezTo>
                  <a:pt x="354" y="530"/>
                  <a:pt x="354" y="533"/>
                  <a:pt x="352" y="532"/>
                </a:cubicBezTo>
                <a:close/>
                <a:moveTo>
                  <a:pt x="354" y="674"/>
                </a:moveTo>
                <a:cubicBezTo>
                  <a:pt x="354" y="673"/>
                  <a:pt x="355" y="673"/>
                  <a:pt x="355" y="673"/>
                </a:cubicBezTo>
                <a:cubicBezTo>
                  <a:pt x="355" y="674"/>
                  <a:pt x="354" y="674"/>
                  <a:pt x="354" y="674"/>
                </a:cubicBezTo>
                <a:close/>
                <a:moveTo>
                  <a:pt x="357" y="697"/>
                </a:moveTo>
                <a:cubicBezTo>
                  <a:pt x="357" y="696"/>
                  <a:pt x="359" y="695"/>
                  <a:pt x="359" y="696"/>
                </a:cubicBezTo>
                <a:cubicBezTo>
                  <a:pt x="359" y="697"/>
                  <a:pt x="357" y="698"/>
                  <a:pt x="357" y="697"/>
                </a:cubicBezTo>
                <a:close/>
                <a:moveTo>
                  <a:pt x="357" y="671"/>
                </a:moveTo>
                <a:cubicBezTo>
                  <a:pt x="358" y="671"/>
                  <a:pt x="358" y="671"/>
                  <a:pt x="358" y="672"/>
                </a:cubicBezTo>
                <a:cubicBezTo>
                  <a:pt x="358" y="673"/>
                  <a:pt x="356" y="671"/>
                  <a:pt x="357" y="671"/>
                </a:cubicBezTo>
                <a:close/>
                <a:moveTo>
                  <a:pt x="360" y="643"/>
                </a:moveTo>
                <a:cubicBezTo>
                  <a:pt x="360" y="642"/>
                  <a:pt x="362" y="643"/>
                  <a:pt x="360" y="643"/>
                </a:cubicBezTo>
                <a:close/>
                <a:moveTo>
                  <a:pt x="360" y="630"/>
                </a:moveTo>
                <a:cubicBezTo>
                  <a:pt x="358" y="633"/>
                  <a:pt x="350" y="631"/>
                  <a:pt x="351" y="627"/>
                </a:cubicBezTo>
                <a:cubicBezTo>
                  <a:pt x="352" y="621"/>
                  <a:pt x="365" y="624"/>
                  <a:pt x="360" y="630"/>
                </a:cubicBezTo>
                <a:close/>
                <a:moveTo>
                  <a:pt x="371" y="611"/>
                </a:moveTo>
                <a:cubicBezTo>
                  <a:pt x="368" y="612"/>
                  <a:pt x="365" y="612"/>
                  <a:pt x="362" y="613"/>
                </a:cubicBezTo>
                <a:cubicBezTo>
                  <a:pt x="364" y="612"/>
                  <a:pt x="368" y="611"/>
                  <a:pt x="371" y="611"/>
                </a:cubicBezTo>
                <a:close/>
                <a:moveTo>
                  <a:pt x="363" y="671"/>
                </a:moveTo>
                <a:cubicBezTo>
                  <a:pt x="363" y="671"/>
                  <a:pt x="364" y="671"/>
                  <a:pt x="365" y="671"/>
                </a:cubicBezTo>
                <a:cubicBezTo>
                  <a:pt x="364" y="672"/>
                  <a:pt x="363" y="672"/>
                  <a:pt x="363" y="671"/>
                </a:cubicBezTo>
                <a:close/>
                <a:moveTo>
                  <a:pt x="364" y="691"/>
                </a:moveTo>
                <a:cubicBezTo>
                  <a:pt x="364" y="690"/>
                  <a:pt x="365" y="691"/>
                  <a:pt x="365" y="691"/>
                </a:cubicBezTo>
                <a:cubicBezTo>
                  <a:pt x="366" y="691"/>
                  <a:pt x="364" y="691"/>
                  <a:pt x="364" y="691"/>
                </a:cubicBezTo>
                <a:close/>
                <a:moveTo>
                  <a:pt x="365" y="647"/>
                </a:moveTo>
                <a:cubicBezTo>
                  <a:pt x="365" y="646"/>
                  <a:pt x="366" y="646"/>
                  <a:pt x="366" y="646"/>
                </a:cubicBezTo>
                <a:cubicBezTo>
                  <a:pt x="367" y="647"/>
                  <a:pt x="365" y="647"/>
                  <a:pt x="365" y="647"/>
                </a:cubicBezTo>
                <a:close/>
                <a:moveTo>
                  <a:pt x="370" y="666"/>
                </a:moveTo>
                <a:cubicBezTo>
                  <a:pt x="370" y="664"/>
                  <a:pt x="373" y="665"/>
                  <a:pt x="372" y="666"/>
                </a:cubicBezTo>
                <a:cubicBezTo>
                  <a:pt x="372" y="667"/>
                  <a:pt x="370" y="667"/>
                  <a:pt x="370" y="666"/>
                </a:cubicBezTo>
                <a:close/>
                <a:moveTo>
                  <a:pt x="371" y="691"/>
                </a:moveTo>
                <a:cubicBezTo>
                  <a:pt x="372" y="690"/>
                  <a:pt x="373" y="691"/>
                  <a:pt x="374" y="691"/>
                </a:cubicBezTo>
                <a:cubicBezTo>
                  <a:pt x="374" y="692"/>
                  <a:pt x="372" y="691"/>
                  <a:pt x="371" y="691"/>
                </a:cubicBezTo>
                <a:close/>
                <a:moveTo>
                  <a:pt x="379" y="659"/>
                </a:moveTo>
                <a:cubicBezTo>
                  <a:pt x="379" y="658"/>
                  <a:pt x="377" y="660"/>
                  <a:pt x="377" y="658"/>
                </a:cubicBezTo>
                <a:cubicBezTo>
                  <a:pt x="376" y="657"/>
                  <a:pt x="380" y="657"/>
                  <a:pt x="379" y="659"/>
                </a:cubicBezTo>
                <a:close/>
                <a:moveTo>
                  <a:pt x="381" y="691"/>
                </a:moveTo>
                <a:cubicBezTo>
                  <a:pt x="380" y="691"/>
                  <a:pt x="382" y="690"/>
                  <a:pt x="383" y="691"/>
                </a:cubicBezTo>
                <a:cubicBezTo>
                  <a:pt x="382" y="691"/>
                  <a:pt x="381" y="691"/>
                  <a:pt x="381" y="691"/>
                </a:cubicBezTo>
                <a:close/>
                <a:moveTo>
                  <a:pt x="382" y="658"/>
                </a:moveTo>
                <a:cubicBezTo>
                  <a:pt x="380" y="659"/>
                  <a:pt x="379" y="657"/>
                  <a:pt x="382" y="658"/>
                </a:cubicBezTo>
                <a:close/>
                <a:moveTo>
                  <a:pt x="383" y="691"/>
                </a:moveTo>
                <a:cubicBezTo>
                  <a:pt x="384" y="691"/>
                  <a:pt x="385" y="691"/>
                  <a:pt x="386" y="691"/>
                </a:cubicBezTo>
                <a:cubicBezTo>
                  <a:pt x="386" y="691"/>
                  <a:pt x="384" y="691"/>
                  <a:pt x="383" y="691"/>
                </a:cubicBezTo>
                <a:close/>
                <a:moveTo>
                  <a:pt x="387" y="696"/>
                </a:move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lose/>
                <a:moveTo>
                  <a:pt x="384" y="662"/>
                </a:moveTo>
                <a:cubicBezTo>
                  <a:pt x="384" y="660"/>
                  <a:pt x="388" y="661"/>
                  <a:pt x="388" y="662"/>
                </a:cubicBezTo>
                <a:cubicBezTo>
                  <a:pt x="388" y="663"/>
                  <a:pt x="385" y="664"/>
                  <a:pt x="384" y="662"/>
                </a:cubicBezTo>
                <a:close/>
                <a:moveTo>
                  <a:pt x="398" y="679"/>
                </a:moveTo>
                <a:cubicBezTo>
                  <a:pt x="400" y="678"/>
                  <a:pt x="400" y="680"/>
                  <a:pt x="398" y="679"/>
                </a:cubicBezTo>
                <a:close/>
                <a:moveTo>
                  <a:pt x="401" y="664"/>
                </a:moveTo>
                <a:cubicBezTo>
                  <a:pt x="402" y="662"/>
                  <a:pt x="405" y="663"/>
                  <a:pt x="406" y="663"/>
                </a:cubicBezTo>
                <a:cubicBezTo>
                  <a:pt x="406" y="663"/>
                  <a:pt x="407" y="664"/>
                  <a:pt x="407" y="664"/>
                </a:cubicBezTo>
                <a:cubicBezTo>
                  <a:pt x="406" y="664"/>
                  <a:pt x="408" y="663"/>
                  <a:pt x="409" y="664"/>
                </a:cubicBezTo>
                <a:cubicBezTo>
                  <a:pt x="409" y="665"/>
                  <a:pt x="400" y="667"/>
                  <a:pt x="401" y="664"/>
                </a:cubicBezTo>
                <a:close/>
                <a:moveTo>
                  <a:pt x="411" y="704"/>
                </a:moveTo>
                <a:cubicBezTo>
                  <a:pt x="410" y="704"/>
                  <a:pt x="411" y="704"/>
                  <a:pt x="411" y="704"/>
                </a:cubicBezTo>
                <a:cubicBezTo>
                  <a:pt x="411" y="704"/>
                  <a:pt x="411" y="704"/>
                  <a:pt x="411" y="704"/>
                </a:cubicBezTo>
                <a:close/>
                <a:moveTo>
                  <a:pt x="409" y="648"/>
                </a:moveTo>
                <a:cubicBezTo>
                  <a:pt x="403" y="650"/>
                  <a:pt x="397" y="649"/>
                  <a:pt x="391" y="651"/>
                </a:cubicBezTo>
                <a:cubicBezTo>
                  <a:pt x="386" y="652"/>
                  <a:pt x="381" y="655"/>
                  <a:pt x="376" y="654"/>
                </a:cubicBezTo>
                <a:cubicBezTo>
                  <a:pt x="375" y="654"/>
                  <a:pt x="375" y="653"/>
                  <a:pt x="375" y="653"/>
                </a:cubicBezTo>
                <a:cubicBezTo>
                  <a:pt x="374" y="652"/>
                  <a:pt x="384" y="650"/>
                  <a:pt x="387" y="650"/>
                </a:cubicBezTo>
                <a:cubicBezTo>
                  <a:pt x="393" y="649"/>
                  <a:pt x="396" y="649"/>
                  <a:pt x="401" y="648"/>
                </a:cubicBezTo>
                <a:cubicBezTo>
                  <a:pt x="403" y="648"/>
                  <a:pt x="408" y="646"/>
                  <a:pt x="410" y="646"/>
                </a:cubicBezTo>
                <a:cubicBezTo>
                  <a:pt x="413" y="647"/>
                  <a:pt x="409" y="648"/>
                  <a:pt x="409" y="648"/>
                </a:cubicBezTo>
                <a:close/>
                <a:moveTo>
                  <a:pt x="394" y="589"/>
                </a:moveTo>
                <a:cubicBezTo>
                  <a:pt x="394" y="588"/>
                  <a:pt x="395" y="588"/>
                  <a:pt x="395" y="589"/>
                </a:cubicBezTo>
                <a:cubicBezTo>
                  <a:pt x="395" y="589"/>
                  <a:pt x="394" y="590"/>
                  <a:pt x="394" y="589"/>
                </a:cubicBezTo>
                <a:close/>
                <a:moveTo>
                  <a:pt x="398" y="605"/>
                </a:moveTo>
                <a:cubicBezTo>
                  <a:pt x="398" y="605"/>
                  <a:pt x="399" y="604"/>
                  <a:pt x="399" y="604"/>
                </a:cubicBezTo>
                <a:cubicBezTo>
                  <a:pt x="398" y="604"/>
                  <a:pt x="396" y="605"/>
                  <a:pt x="395" y="605"/>
                </a:cubicBezTo>
                <a:cubicBezTo>
                  <a:pt x="395" y="605"/>
                  <a:pt x="399" y="603"/>
                  <a:pt x="400" y="603"/>
                </a:cubicBezTo>
                <a:cubicBezTo>
                  <a:pt x="401" y="603"/>
                  <a:pt x="404" y="605"/>
                  <a:pt x="404" y="605"/>
                </a:cubicBezTo>
                <a:cubicBezTo>
                  <a:pt x="404" y="606"/>
                  <a:pt x="400" y="608"/>
                  <a:pt x="398" y="605"/>
                </a:cubicBezTo>
                <a:close/>
                <a:moveTo>
                  <a:pt x="403" y="636"/>
                </a:moveTo>
                <a:cubicBezTo>
                  <a:pt x="403" y="636"/>
                  <a:pt x="404" y="637"/>
                  <a:pt x="404" y="636"/>
                </a:cubicBezTo>
                <a:cubicBezTo>
                  <a:pt x="404" y="637"/>
                  <a:pt x="403" y="637"/>
                  <a:pt x="403" y="636"/>
                </a:cubicBezTo>
                <a:close/>
                <a:moveTo>
                  <a:pt x="406" y="193"/>
                </a:moveTo>
                <a:cubicBezTo>
                  <a:pt x="406" y="195"/>
                  <a:pt x="404" y="195"/>
                  <a:pt x="406" y="193"/>
                </a:cubicBezTo>
                <a:close/>
                <a:moveTo>
                  <a:pt x="407" y="192"/>
                </a:moveTo>
                <a:cubicBezTo>
                  <a:pt x="406" y="194"/>
                  <a:pt x="409" y="190"/>
                  <a:pt x="407" y="192"/>
                </a:cubicBezTo>
                <a:close/>
                <a:moveTo>
                  <a:pt x="410" y="563"/>
                </a:moveTo>
                <a:cubicBezTo>
                  <a:pt x="410" y="564"/>
                  <a:pt x="410" y="565"/>
                  <a:pt x="409" y="564"/>
                </a:cubicBezTo>
                <a:cubicBezTo>
                  <a:pt x="408" y="564"/>
                  <a:pt x="409" y="563"/>
                  <a:pt x="410" y="563"/>
                </a:cubicBezTo>
                <a:close/>
                <a:moveTo>
                  <a:pt x="412" y="687"/>
                </a:moveTo>
                <a:cubicBezTo>
                  <a:pt x="414" y="686"/>
                  <a:pt x="414" y="687"/>
                  <a:pt x="412" y="687"/>
                </a:cubicBezTo>
                <a:close/>
                <a:moveTo>
                  <a:pt x="391" y="194"/>
                </a:moveTo>
                <a:cubicBezTo>
                  <a:pt x="391" y="194"/>
                  <a:pt x="389" y="196"/>
                  <a:pt x="388" y="195"/>
                </a:cubicBezTo>
                <a:cubicBezTo>
                  <a:pt x="388" y="194"/>
                  <a:pt x="391" y="193"/>
                  <a:pt x="390" y="194"/>
                </a:cubicBezTo>
                <a:cubicBezTo>
                  <a:pt x="398" y="189"/>
                  <a:pt x="408" y="183"/>
                  <a:pt x="417" y="179"/>
                </a:cubicBezTo>
                <a:cubicBezTo>
                  <a:pt x="409" y="185"/>
                  <a:pt x="400" y="189"/>
                  <a:pt x="391" y="194"/>
                </a:cubicBezTo>
                <a:close/>
                <a:moveTo>
                  <a:pt x="414" y="158"/>
                </a:moveTo>
                <a:cubicBezTo>
                  <a:pt x="415" y="156"/>
                  <a:pt x="417" y="157"/>
                  <a:pt x="414" y="158"/>
                </a:cubicBezTo>
                <a:close/>
                <a:moveTo>
                  <a:pt x="407" y="137"/>
                </a:moveTo>
                <a:cubicBezTo>
                  <a:pt x="409" y="134"/>
                  <a:pt x="417" y="135"/>
                  <a:pt x="417" y="139"/>
                </a:cubicBezTo>
                <a:cubicBezTo>
                  <a:pt x="417" y="145"/>
                  <a:pt x="403" y="144"/>
                  <a:pt x="407" y="137"/>
                </a:cubicBezTo>
                <a:close/>
                <a:moveTo>
                  <a:pt x="418" y="140"/>
                </a:moveTo>
                <a:cubicBezTo>
                  <a:pt x="418" y="139"/>
                  <a:pt x="419" y="142"/>
                  <a:pt x="418" y="140"/>
                </a:cubicBezTo>
                <a:close/>
                <a:moveTo>
                  <a:pt x="420" y="672"/>
                </a:moveTo>
                <a:cubicBezTo>
                  <a:pt x="419" y="672"/>
                  <a:pt x="418" y="672"/>
                  <a:pt x="418" y="672"/>
                </a:cubicBezTo>
                <a:cubicBezTo>
                  <a:pt x="418" y="671"/>
                  <a:pt x="432" y="670"/>
                  <a:pt x="435" y="670"/>
                </a:cubicBezTo>
                <a:cubicBezTo>
                  <a:pt x="437" y="671"/>
                  <a:pt x="433" y="672"/>
                  <a:pt x="432" y="672"/>
                </a:cubicBezTo>
                <a:cubicBezTo>
                  <a:pt x="428" y="672"/>
                  <a:pt x="423" y="673"/>
                  <a:pt x="420" y="672"/>
                </a:cubicBezTo>
                <a:close/>
                <a:moveTo>
                  <a:pt x="425" y="681"/>
                </a:moveTo>
                <a:cubicBezTo>
                  <a:pt x="425" y="681"/>
                  <a:pt x="425" y="680"/>
                  <a:pt x="425" y="680"/>
                </a:cubicBezTo>
                <a:cubicBezTo>
                  <a:pt x="425" y="680"/>
                  <a:pt x="425" y="680"/>
                  <a:pt x="425" y="681"/>
                </a:cubicBezTo>
                <a:cubicBezTo>
                  <a:pt x="425" y="681"/>
                  <a:pt x="425" y="681"/>
                  <a:pt x="425" y="681"/>
                </a:cubicBezTo>
                <a:cubicBezTo>
                  <a:pt x="426" y="681"/>
                  <a:pt x="426" y="681"/>
                  <a:pt x="425" y="681"/>
                </a:cubicBezTo>
                <a:close/>
                <a:moveTo>
                  <a:pt x="429" y="674"/>
                </a:moveTo>
                <a:cubicBezTo>
                  <a:pt x="429" y="674"/>
                  <a:pt x="426" y="674"/>
                  <a:pt x="428" y="673"/>
                </a:cubicBezTo>
                <a:cubicBezTo>
                  <a:pt x="431" y="672"/>
                  <a:pt x="437" y="672"/>
                  <a:pt x="441" y="672"/>
                </a:cubicBezTo>
                <a:cubicBezTo>
                  <a:pt x="438" y="673"/>
                  <a:pt x="433" y="674"/>
                  <a:pt x="429" y="674"/>
                </a:cubicBezTo>
                <a:close/>
                <a:moveTo>
                  <a:pt x="442" y="672"/>
                </a:moveTo>
                <a:cubicBezTo>
                  <a:pt x="444" y="671"/>
                  <a:pt x="448" y="669"/>
                  <a:pt x="452" y="670"/>
                </a:cubicBezTo>
                <a:cubicBezTo>
                  <a:pt x="449" y="671"/>
                  <a:pt x="445" y="671"/>
                  <a:pt x="442" y="672"/>
                </a:cubicBezTo>
                <a:close/>
                <a:moveTo>
                  <a:pt x="449" y="142"/>
                </a:moveTo>
                <a:cubicBezTo>
                  <a:pt x="450" y="141"/>
                  <a:pt x="450" y="141"/>
                  <a:pt x="451" y="142"/>
                </a:cubicBezTo>
                <a:cubicBezTo>
                  <a:pt x="451" y="142"/>
                  <a:pt x="450" y="142"/>
                  <a:pt x="449" y="142"/>
                </a:cubicBezTo>
                <a:close/>
                <a:moveTo>
                  <a:pt x="451" y="148"/>
                </a:moveTo>
                <a:cubicBezTo>
                  <a:pt x="452" y="149"/>
                  <a:pt x="450" y="147"/>
                  <a:pt x="451" y="148"/>
                </a:cubicBezTo>
                <a:close/>
                <a:moveTo>
                  <a:pt x="446" y="79"/>
                </a:moveTo>
                <a:cubicBezTo>
                  <a:pt x="448" y="77"/>
                  <a:pt x="450" y="78"/>
                  <a:pt x="452" y="77"/>
                </a:cubicBezTo>
                <a:cubicBezTo>
                  <a:pt x="451" y="78"/>
                  <a:pt x="448" y="79"/>
                  <a:pt x="446" y="79"/>
                </a:cubicBezTo>
                <a:close/>
                <a:moveTo>
                  <a:pt x="454" y="644"/>
                </a:moveTo>
                <a:cubicBezTo>
                  <a:pt x="454" y="644"/>
                  <a:pt x="454" y="644"/>
                  <a:pt x="454" y="644"/>
                </a:cubicBezTo>
                <a:cubicBezTo>
                  <a:pt x="455" y="642"/>
                  <a:pt x="455" y="647"/>
                  <a:pt x="454" y="644"/>
                </a:cubicBezTo>
                <a:close/>
                <a:moveTo>
                  <a:pt x="449" y="66"/>
                </a:moveTo>
                <a:cubicBezTo>
                  <a:pt x="449" y="66"/>
                  <a:pt x="448" y="65"/>
                  <a:pt x="448" y="65"/>
                </a:cubicBezTo>
                <a:cubicBezTo>
                  <a:pt x="448" y="64"/>
                  <a:pt x="451" y="62"/>
                  <a:pt x="453" y="61"/>
                </a:cubicBezTo>
                <a:cubicBezTo>
                  <a:pt x="451" y="61"/>
                  <a:pt x="450" y="62"/>
                  <a:pt x="448" y="62"/>
                </a:cubicBezTo>
                <a:cubicBezTo>
                  <a:pt x="444" y="62"/>
                  <a:pt x="452" y="60"/>
                  <a:pt x="453" y="60"/>
                </a:cubicBezTo>
                <a:cubicBezTo>
                  <a:pt x="458" y="59"/>
                  <a:pt x="462" y="58"/>
                  <a:pt x="466" y="57"/>
                </a:cubicBezTo>
                <a:cubicBezTo>
                  <a:pt x="468" y="57"/>
                  <a:pt x="475" y="56"/>
                  <a:pt x="475" y="57"/>
                </a:cubicBezTo>
                <a:cubicBezTo>
                  <a:pt x="476" y="58"/>
                  <a:pt x="468" y="59"/>
                  <a:pt x="465" y="59"/>
                </a:cubicBezTo>
                <a:cubicBezTo>
                  <a:pt x="461" y="60"/>
                  <a:pt x="459" y="60"/>
                  <a:pt x="456" y="61"/>
                </a:cubicBezTo>
                <a:cubicBezTo>
                  <a:pt x="458" y="61"/>
                  <a:pt x="461" y="62"/>
                  <a:pt x="460" y="64"/>
                </a:cubicBezTo>
                <a:cubicBezTo>
                  <a:pt x="460" y="69"/>
                  <a:pt x="453" y="68"/>
                  <a:pt x="449" y="66"/>
                </a:cubicBezTo>
                <a:close/>
                <a:moveTo>
                  <a:pt x="467" y="66"/>
                </a:moveTo>
                <a:cubicBezTo>
                  <a:pt x="468" y="65"/>
                  <a:pt x="470" y="62"/>
                  <a:pt x="471" y="63"/>
                </a:cubicBezTo>
                <a:cubicBezTo>
                  <a:pt x="473" y="65"/>
                  <a:pt x="469" y="66"/>
                  <a:pt x="467" y="66"/>
                </a:cubicBezTo>
                <a:close/>
                <a:moveTo>
                  <a:pt x="459" y="100"/>
                </a:moveTo>
                <a:cubicBezTo>
                  <a:pt x="458" y="100"/>
                  <a:pt x="458" y="99"/>
                  <a:pt x="459" y="98"/>
                </a:cubicBezTo>
                <a:cubicBezTo>
                  <a:pt x="461" y="96"/>
                  <a:pt x="462" y="100"/>
                  <a:pt x="459" y="100"/>
                </a:cubicBezTo>
                <a:close/>
                <a:moveTo>
                  <a:pt x="456" y="149"/>
                </a:moveTo>
                <a:cubicBezTo>
                  <a:pt x="456" y="149"/>
                  <a:pt x="460" y="145"/>
                  <a:pt x="461" y="146"/>
                </a:cubicBezTo>
                <a:cubicBezTo>
                  <a:pt x="463" y="148"/>
                  <a:pt x="457" y="150"/>
                  <a:pt x="456" y="149"/>
                </a:cubicBezTo>
                <a:close/>
                <a:moveTo>
                  <a:pt x="462" y="681"/>
                </a:moveTo>
                <a:cubicBezTo>
                  <a:pt x="464" y="680"/>
                  <a:pt x="464" y="682"/>
                  <a:pt x="462" y="681"/>
                </a:cubicBezTo>
                <a:close/>
                <a:moveTo>
                  <a:pt x="464" y="170"/>
                </a:moveTo>
                <a:cubicBezTo>
                  <a:pt x="463" y="171"/>
                  <a:pt x="461" y="171"/>
                  <a:pt x="460" y="171"/>
                </a:cubicBezTo>
                <a:cubicBezTo>
                  <a:pt x="459" y="172"/>
                  <a:pt x="459" y="172"/>
                  <a:pt x="458" y="172"/>
                </a:cubicBezTo>
                <a:cubicBezTo>
                  <a:pt x="459" y="172"/>
                  <a:pt x="459" y="172"/>
                  <a:pt x="460" y="171"/>
                </a:cubicBezTo>
                <a:cubicBezTo>
                  <a:pt x="462" y="170"/>
                  <a:pt x="464" y="168"/>
                  <a:pt x="465" y="168"/>
                </a:cubicBezTo>
                <a:cubicBezTo>
                  <a:pt x="468" y="167"/>
                  <a:pt x="464" y="170"/>
                  <a:pt x="464" y="170"/>
                </a:cubicBezTo>
                <a:close/>
                <a:moveTo>
                  <a:pt x="466" y="68"/>
                </a:moveTo>
                <a:cubicBezTo>
                  <a:pt x="466" y="68"/>
                  <a:pt x="466" y="68"/>
                  <a:pt x="466" y="68"/>
                </a:cubicBezTo>
                <a:cubicBezTo>
                  <a:pt x="467" y="70"/>
                  <a:pt x="464" y="67"/>
                  <a:pt x="466" y="68"/>
                </a:cubicBezTo>
                <a:close/>
                <a:moveTo>
                  <a:pt x="468" y="241"/>
                </a:moveTo>
                <a:cubicBezTo>
                  <a:pt x="468" y="243"/>
                  <a:pt x="465" y="242"/>
                  <a:pt x="468" y="241"/>
                </a:cubicBezTo>
                <a:close/>
                <a:moveTo>
                  <a:pt x="470" y="75"/>
                </a:moveTo>
                <a:cubicBezTo>
                  <a:pt x="470" y="75"/>
                  <a:pt x="470" y="76"/>
                  <a:pt x="470" y="77"/>
                </a:cubicBezTo>
                <a:cubicBezTo>
                  <a:pt x="471" y="77"/>
                  <a:pt x="472" y="75"/>
                  <a:pt x="472" y="75"/>
                </a:cubicBezTo>
                <a:cubicBezTo>
                  <a:pt x="472" y="74"/>
                  <a:pt x="471" y="74"/>
                  <a:pt x="471" y="73"/>
                </a:cubicBezTo>
                <a:cubicBezTo>
                  <a:pt x="471" y="74"/>
                  <a:pt x="470" y="73"/>
                  <a:pt x="471" y="73"/>
                </a:cubicBezTo>
                <a:cubicBezTo>
                  <a:pt x="472" y="72"/>
                  <a:pt x="473" y="73"/>
                  <a:pt x="473" y="73"/>
                </a:cubicBezTo>
                <a:cubicBezTo>
                  <a:pt x="474" y="72"/>
                  <a:pt x="475" y="72"/>
                  <a:pt x="476" y="72"/>
                </a:cubicBezTo>
                <a:cubicBezTo>
                  <a:pt x="477" y="72"/>
                  <a:pt x="481" y="75"/>
                  <a:pt x="478" y="76"/>
                </a:cubicBezTo>
                <a:cubicBezTo>
                  <a:pt x="476" y="77"/>
                  <a:pt x="471" y="78"/>
                  <a:pt x="469" y="77"/>
                </a:cubicBezTo>
                <a:cubicBezTo>
                  <a:pt x="468" y="77"/>
                  <a:pt x="468" y="74"/>
                  <a:pt x="470" y="75"/>
                </a:cubicBezTo>
                <a:close/>
                <a:moveTo>
                  <a:pt x="478" y="117"/>
                </a:moveTo>
                <a:cubicBezTo>
                  <a:pt x="479" y="118"/>
                  <a:pt x="477" y="118"/>
                  <a:pt x="476" y="118"/>
                </a:cubicBezTo>
                <a:cubicBezTo>
                  <a:pt x="476" y="117"/>
                  <a:pt x="478" y="117"/>
                  <a:pt x="478" y="117"/>
                </a:cubicBezTo>
                <a:close/>
                <a:moveTo>
                  <a:pt x="478" y="100"/>
                </a:move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lose/>
                <a:moveTo>
                  <a:pt x="478" y="100"/>
                </a:moveTo>
                <a:cubicBezTo>
                  <a:pt x="479" y="100"/>
                  <a:pt x="478" y="100"/>
                  <a:pt x="478" y="100"/>
                </a:cubicBezTo>
                <a:close/>
                <a:moveTo>
                  <a:pt x="476" y="97"/>
                </a:moveTo>
                <a:cubicBezTo>
                  <a:pt x="475" y="96"/>
                  <a:pt x="478" y="96"/>
                  <a:pt x="478" y="96"/>
                </a:cubicBezTo>
                <a:cubicBezTo>
                  <a:pt x="479" y="96"/>
                  <a:pt x="476" y="97"/>
                  <a:pt x="476" y="97"/>
                </a:cubicBezTo>
                <a:close/>
                <a:moveTo>
                  <a:pt x="474" y="91"/>
                </a:moveTo>
                <a:cubicBezTo>
                  <a:pt x="474" y="90"/>
                  <a:pt x="475" y="90"/>
                  <a:pt x="476" y="90"/>
                </a:cubicBezTo>
                <a:cubicBezTo>
                  <a:pt x="477" y="92"/>
                  <a:pt x="474" y="92"/>
                  <a:pt x="474" y="91"/>
                </a:cubicBezTo>
                <a:close/>
                <a:moveTo>
                  <a:pt x="477" y="107"/>
                </a:moveTo>
                <a:cubicBezTo>
                  <a:pt x="477" y="109"/>
                  <a:pt x="474" y="111"/>
                  <a:pt x="473" y="109"/>
                </a:cubicBezTo>
                <a:cubicBezTo>
                  <a:pt x="469" y="106"/>
                  <a:pt x="477" y="104"/>
                  <a:pt x="477" y="107"/>
                </a:cubicBezTo>
                <a:close/>
                <a:moveTo>
                  <a:pt x="472" y="112"/>
                </a:moveTo>
                <a:cubicBezTo>
                  <a:pt x="475" y="114"/>
                  <a:pt x="468" y="116"/>
                  <a:pt x="470" y="113"/>
                </a:cubicBezTo>
                <a:cubicBezTo>
                  <a:pt x="471" y="112"/>
                  <a:pt x="472" y="112"/>
                  <a:pt x="472" y="112"/>
                </a:cubicBezTo>
                <a:close/>
                <a:moveTo>
                  <a:pt x="475" y="122"/>
                </a:moveTo>
                <a:cubicBezTo>
                  <a:pt x="474" y="122"/>
                  <a:pt x="473" y="123"/>
                  <a:pt x="472" y="123"/>
                </a:cubicBezTo>
                <a:cubicBezTo>
                  <a:pt x="472" y="123"/>
                  <a:pt x="473" y="121"/>
                  <a:pt x="475" y="122"/>
                </a:cubicBezTo>
                <a:close/>
                <a:moveTo>
                  <a:pt x="474" y="123"/>
                </a:moveTo>
                <a:cubicBezTo>
                  <a:pt x="474" y="123"/>
                  <a:pt x="475" y="123"/>
                  <a:pt x="475" y="124"/>
                </a:cubicBezTo>
                <a:cubicBezTo>
                  <a:pt x="475" y="124"/>
                  <a:pt x="474" y="124"/>
                  <a:pt x="474" y="123"/>
                </a:cubicBezTo>
                <a:close/>
                <a:moveTo>
                  <a:pt x="477" y="158"/>
                </a:moveTo>
                <a:cubicBezTo>
                  <a:pt x="477" y="158"/>
                  <a:pt x="476" y="159"/>
                  <a:pt x="475" y="159"/>
                </a:cubicBezTo>
                <a:cubicBezTo>
                  <a:pt x="475" y="159"/>
                  <a:pt x="476" y="158"/>
                  <a:pt x="477" y="158"/>
                </a:cubicBezTo>
                <a:close/>
                <a:moveTo>
                  <a:pt x="476" y="121"/>
                </a:moveTo>
                <a:cubicBezTo>
                  <a:pt x="477" y="121"/>
                  <a:pt x="478" y="119"/>
                  <a:pt x="479" y="120"/>
                </a:cubicBezTo>
                <a:cubicBezTo>
                  <a:pt x="478" y="121"/>
                  <a:pt x="477" y="121"/>
                  <a:pt x="476" y="121"/>
                </a:cubicBezTo>
                <a:close/>
                <a:moveTo>
                  <a:pt x="472" y="165"/>
                </a:moveTo>
                <a:cubicBezTo>
                  <a:pt x="472" y="166"/>
                  <a:pt x="470" y="167"/>
                  <a:pt x="469" y="168"/>
                </a:cubicBezTo>
                <a:cubicBezTo>
                  <a:pt x="469" y="166"/>
                  <a:pt x="471" y="166"/>
                  <a:pt x="472" y="165"/>
                </a:cubicBezTo>
                <a:close/>
                <a:moveTo>
                  <a:pt x="471" y="178"/>
                </a:moveTo>
                <a:cubicBezTo>
                  <a:pt x="471" y="175"/>
                  <a:pt x="476" y="174"/>
                  <a:pt x="477" y="177"/>
                </a:cubicBezTo>
                <a:cubicBezTo>
                  <a:pt x="477" y="181"/>
                  <a:pt x="471" y="180"/>
                  <a:pt x="471" y="178"/>
                </a:cubicBezTo>
                <a:close/>
                <a:moveTo>
                  <a:pt x="472" y="233"/>
                </a:moveTo>
                <a:cubicBezTo>
                  <a:pt x="472" y="232"/>
                  <a:pt x="475" y="230"/>
                  <a:pt x="475" y="232"/>
                </a:cubicBezTo>
                <a:cubicBezTo>
                  <a:pt x="476" y="234"/>
                  <a:pt x="473" y="234"/>
                  <a:pt x="472" y="233"/>
                </a:cubicBezTo>
                <a:close/>
                <a:moveTo>
                  <a:pt x="475" y="180"/>
                </a:moveTo>
                <a:cubicBezTo>
                  <a:pt x="475" y="180"/>
                  <a:pt x="476" y="179"/>
                  <a:pt x="477" y="180"/>
                </a:cubicBezTo>
                <a:cubicBezTo>
                  <a:pt x="478" y="181"/>
                  <a:pt x="475" y="181"/>
                  <a:pt x="475" y="180"/>
                </a:cubicBezTo>
                <a:close/>
                <a:moveTo>
                  <a:pt x="482" y="155"/>
                </a:moveTo>
                <a:cubicBezTo>
                  <a:pt x="482" y="156"/>
                  <a:pt x="480" y="157"/>
                  <a:pt x="479" y="157"/>
                </a:cubicBezTo>
                <a:cubicBezTo>
                  <a:pt x="479" y="156"/>
                  <a:pt x="481" y="156"/>
                  <a:pt x="482" y="155"/>
                </a:cubicBezTo>
                <a:close/>
                <a:moveTo>
                  <a:pt x="479" y="164"/>
                </a:moveTo>
                <a:cubicBezTo>
                  <a:pt x="479" y="162"/>
                  <a:pt x="481" y="163"/>
                  <a:pt x="479" y="164"/>
                </a:cubicBezTo>
                <a:close/>
                <a:moveTo>
                  <a:pt x="479" y="175"/>
                </a:moveTo>
                <a:cubicBezTo>
                  <a:pt x="478" y="174"/>
                  <a:pt x="480" y="173"/>
                  <a:pt x="480" y="174"/>
                </a:cubicBezTo>
                <a:cubicBezTo>
                  <a:pt x="480" y="175"/>
                  <a:pt x="480" y="175"/>
                  <a:pt x="479" y="175"/>
                </a:cubicBezTo>
                <a:close/>
                <a:moveTo>
                  <a:pt x="480" y="164"/>
                </a:moveTo>
                <a:cubicBezTo>
                  <a:pt x="480" y="163"/>
                  <a:pt x="484" y="161"/>
                  <a:pt x="484" y="164"/>
                </a:cubicBezTo>
                <a:cubicBezTo>
                  <a:pt x="484" y="166"/>
                  <a:pt x="480" y="166"/>
                  <a:pt x="480" y="164"/>
                </a:cubicBezTo>
                <a:close/>
                <a:moveTo>
                  <a:pt x="482" y="188"/>
                </a:moveTo>
                <a:cubicBezTo>
                  <a:pt x="482" y="187"/>
                  <a:pt x="483" y="187"/>
                  <a:pt x="484" y="187"/>
                </a:cubicBezTo>
                <a:cubicBezTo>
                  <a:pt x="484" y="187"/>
                  <a:pt x="482" y="189"/>
                  <a:pt x="482" y="188"/>
                </a:cubicBezTo>
                <a:close/>
                <a:moveTo>
                  <a:pt x="487" y="253"/>
                </a:moveTo>
                <a:cubicBezTo>
                  <a:pt x="487" y="255"/>
                  <a:pt x="485" y="254"/>
                  <a:pt x="487" y="253"/>
                </a:cubicBezTo>
                <a:close/>
                <a:moveTo>
                  <a:pt x="484" y="228"/>
                </a:moveTo>
                <a:cubicBezTo>
                  <a:pt x="482" y="226"/>
                  <a:pt x="488" y="223"/>
                  <a:pt x="488" y="227"/>
                </a:cubicBezTo>
                <a:cubicBezTo>
                  <a:pt x="488" y="228"/>
                  <a:pt x="485" y="230"/>
                  <a:pt x="484" y="228"/>
                </a:cubicBezTo>
                <a:close/>
                <a:moveTo>
                  <a:pt x="486" y="208"/>
                </a:moveTo>
                <a:cubicBezTo>
                  <a:pt x="486" y="207"/>
                  <a:pt x="488" y="206"/>
                  <a:pt x="488" y="207"/>
                </a:cubicBezTo>
                <a:cubicBezTo>
                  <a:pt x="488" y="208"/>
                  <a:pt x="487" y="209"/>
                  <a:pt x="486" y="208"/>
                </a:cubicBezTo>
                <a:close/>
                <a:moveTo>
                  <a:pt x="490" y="250"/>
                </a:moveTo>
                <a:cubicBezTo>
                  <a:pt x="490" y="248"/>
                  <a:pt x="492" y="246"/>
                  <a:pt x="493" y="245"/>
                </a:cubicBezTo>
                <a:cubicBezTo>
                  <a:pt x="493" y="246"/>
                  <a:pt x="491" y="248"/>
                  <a:pt x="490" y="250"/>
                </a:cubicBezTo>
                <a:close/>
                <a:moveTo>
                  <a:pt x="494" y="245"/>
                </a:moveTo>
                <a:cubicBezTo>
                  <a:pt x="494" y="244"/>
                  <a:pt x="495" y="243"/>
                  <a:pt x="495" y="243"/>
                </a:cubicBezTo>
                <a:cubicBezTo>
                  <a:pt x="496" y="243"/>
                  <a:pt x="494" y="245"/>
                  <a:pt x="494" y="245"/>
                </a:cubicBezTo>
                <a:close/>
                <a:moveTo>
                  <a:pt x="499" y="230"/>
                </a:moveTo>
                <a:cubicBezTo>
                  <a:pt x="499" y="229"/>
                  <a:pt x="501" y="229"/>
                  <a:pt x="501" y="229"/>
                </a:cubicBezTo>
                <a:cubicBezTo>
                  <a:pt x="502" y="229"/>
                  <a:pt x="500" y="230"/>
                  <a:pt x="499" y="230"/>
                </a:cubicBezTo>
                <a:close/>
                <a:moveTo>
                  <a:pt x="496" y="230"/>
                </a:moveTo>
                <a:cubicBezTo>
                  <a:pt x="496" y="230"/>
                  <a:pt x="491" y="233"/>
                  <a:pt x="492" y="231"/>
                </a:cubicBezTo>
                <a:cubicBezTo>
                  <a:pt x="492" y="230"/>
                  <a:pt x="497" y="229"/>
                  <a:pt x="497" y="229"/>
                </a:cubicBezTo>
                <a:cubicBezTo>
                  <a:pt x="500" y="228"/>
                  <a:pt x="503" y="225"/>
                  <a:pt x="506" y="225"/>
                </a:cubicBezTo>
                <a:cubicBezTo>
                  <a:pt x="505" y="228"/>
                  <a:pt x="498" y="229"/>
                  <a:pt x="496" y="230"/>
                </a:cubicBezTo>
                <a:close/>
                <a:moveTo>
                  <a:pt x="505" y="195"/>
                </a:moveTo>
                <a:cubicBezTo>
                  <a:pt x="505" y="194"/>
                  <a:pt x="507" y="192"/>
                  <a:pt x="508" y="193"/>
                </a:cubicBezTo>
                <a:cubicBezTo>
                  <a:pt x="508" y="194"/>
                  <a:pt x="506" y="196"/>
                  <a:pt x="505" y="195"/>
                </a:cubicBezTo>
                <a:close/>
                <a:moveTo>
                  <a:pt x="507" y="222"/>
                </a:moveTo>
                <a:cubicBezTo>
                  <a:pt x="507" y="222"/>
                  <a:pt x="508" y="222"/>
                  <a:pt x="508" y="222"/>
                </a:cubicBezTo>
                <a:cubicBezTo>
                  <a:pt x="510" y="223"/>
                  <a:pt x="504" y="225"/>
                  <a:pt x="507" y="222"/>
                </a:cubicBezTo>
                <a:close/>
                <a:moveTo>
                  <a:pt x="506" y="190"/>
                </a:moveTo>
                <a:cubicBezTo>
                  <a:pt x="506" y="189"/>
                  <a:pt x="507" y="188"/>
                  <a:pt x="509" y="188"/>
                </a:cubicBezTo>
                <a:cubicBezTo>
                  <a:pt x="508" y="189"/>
                  <a:pt x="507" y="190"/>
                  <a:pt x="506" y="190"/>
                </a:cubicBezTo>
                <a:close/>
                <a:moveTo>
                  <a:pt x="516" y="247"/>
                </a:moveTo>
                <a:cubicBezTo>
                  <a:pt x="514" y="248"/>
                  <a:pt x="511" y="250"/>
                  <a:pt x="509" y="250"/>
                </a:cubicBezTo>
                <a:cubicBezTo>
                  <a:pt x="510" y="249"/>
                  <a:pt x="514" y="248"/>
                  <a:pt x="516" y="247"/>
                </a:cubicBezTo>
                <a:close/>
                <a:moveTo>
                  <a:pt x="512" y="258"/>
                </a:moveTo>
                <a:cubicBezTo>
                  <a:pt x="512" y="255"/>
                  <a:pt x="516" y="256"/>
                  <a:pt x="516" y="257"/>
                </a:cubicBezTo>
                <a:cubicBezTo>
                  <a:pt x="517" y="258"/>
                  <a:pt x="512" y="260"/>
                  <a:pt x="512" y="258"/>
                </a:cubicBezTo>
                <a:close/>
                <a:moveTo>
                  <a:pt x="517" y="268"/>
                </a:moveTo>
                <a:cubicBezTo>
                  <a:pt x="516" y="269"/>
                  <a:pt x="517" y="268"/>
                  <a:pt x="517" y="268"/>
                </a:cubicBezTo>
                <a:cubicBezTo>
                  <a:pt x="517" y="268"/>
                  <a:pt x="517" y="268"/>
                  <a:pt x="517" y="268"/>
                </a:cubicBezTo>
                <a:close/>
                <a:moveTo>
                  <a:pt x="517" y="247"/>
                </a:moveTo>
                <a:cubicBezTo>
                  <a:pt x="517" y="247"/>
                  <a:pt x="517" y="247"/>
                  <a:pt x="517" y="247"/>
                </a:cubicBezTo>
                <a:cubicBezTo>
                  <a:pt x="518" y="247"/>
                  <a:pt x="517" y="247"/>
                  <a:pt x="517" y="247"/>
                </a:cubicBezTo>
                <a:close/>
                <a:moveTo>
                  <a:pt x="518" y="154"/>
                </a:moveTo>
                <a:cubicBezTo>
                  <a:pt x="517" y="151"/>
                  <a:pt x="524" y="153"/>
                  <a:pt x="524" y="154"/>
                </a:cubicBezTo>
                <a:cubicBezTo>
                  <a:pt x="524" y="154"/>
                  <a:pt x="523" y="155"/>
                  <a:pt x="523" y="155"/>
                </a:cubicBezTo>
                <a:cubicBezTo>
                  <a:pt x="523" y="156"/>
                  <a:pt x="522" y="158"/>
                  <a:pt x="521" y="156"/>
                </a:cubicBezTo>
                <a:cubicBezTo>
                  <a:pt x="521" y="156"/>
                  <a:pt x="521" y="155"/>
                  <a:pt x="521" y="155"/>
                </a:cubicBezTo>
                <a:cubicBezTo>
                  <a:pt x="520" y="155"/>
                  <a:pt x="518" y="155"/>
                  <a:pt x="518" y="154"/>
                </a:cubicBezTo>
                <a:close/>
                <a:moveTo>
                  <a:pt x="518" y="188"/>
                </a:moveTo>
                <a:cubicBezTo>
                  <a:pt x="518" y="186"/>
                  <a:pt x="524" y="185"/>
                  <a:pt x="524" y="188"/>
                </a:cubicBezTo>
                <a:cubicBezTo>
                  <a:pt x="524" y="190"/>
                  <a:pt x="519" y="190"/>
                  <a:pt x="518" y="188"/>
                </a:cubicBezTo>
                <a:close/>
                <a:moveTo>
                  <a:pt x="522" y="286"/>
                </a:moveTo>
                <a:cubicBezTo>
                  <a:pt x="522" y="285"/>
                  <a:pt x="522" y="285"/>
                  <a:pt x="522" y="285"/>
                </a:cubicBezTo>
                <a:cubicBezTo>
                  <a:pt x="523" y="285"/>
                  <a:pt x="522" y="286"/>
                  <a:pt x="522" y="286"/>
                </a:cubicBezTo>
                <a:close/>
                <a:moveTo>
                  <a:pt x="521" y="231"/>
                </a:moveTo>
                <a:cubicBezTo>
                  <a:pt x="518" y="232"/>
                  <a:pt x="522" y="229"/>
                  <a:pt x="523" y="228"/>
                </a:cubicBezTo>
                <a:cubicBezTo>
                  <a:pt x="524" y="226"/>
                  <a:pt x="526" y="223"/>
                  <a:pt x="528" y="220"/>
                </a:cubicBezTo>
                <a:cubicBezTo>
                  <a:pt x="528" y="221"/>
                  <a:pt x="527" y="221"/>
                  <a:pt x="527" y="220"/>
                </a:cubicBezTo>
                <a:cubicBezTo>
                  <a:pt x="527" y="220"/>
                  <a:pt x="528" y="220"/>
                  <a:pt x="528" y="220"/>
                </a:cubicBezTo>
                <a:cubicBezTo>
                  <a:pt x="528" y="220"/>
                  <a:pt x="528" y="220"/>
                  <a:pt x="528" y="220"/>
                </a:cubicBezTo>
                <a:cubicBezTo>
                  <a:pt x="529" y="219"/>
                  <a:pt x="529" y="218"/>
                  <a:pt x="530" y="218"/>
                </a:cubicBezTo>
                <a:cubicBezTo>
                  <a:pt x="530" y="218"/>
                  <a:pt x="531" y="218"/>
                  <a:pt x="531" y="218"/>
                </a:cubicBezTo>
                <a:cubicBezTo>
                  <a:pt x="531" y="218"/>
                  <a:pt x="529" y="220"/>
                  <a:pt x="528" y="222"/>
                </a:cubicBezTo>
                <a:cubicBezTo>
                  <a:pt x="527" y="223"/>
                  <a:pt x="523" y="230"/>
                  <a:pt x="521" y="231"/>
                </a:cubicBezTo>
                <a:close/>
                <a:moveTo>
                  <a:pt x="530" y="232"/>
                </a:moveTo>
                <a:cubicBezTo>
                  <a:pt x="530" y="232"/>
                  <a:pt x="530" y="232"/>
                  <a:pt x="531" y="232"/>
                </a:cubicBezTo>
                <a:cubicBezTo>
                  <a:pt x="531" y="232"/>
                  <a:pt x="530" y="233"/>
                  <a:pt x="530" y="232"/>
                </a:cubicBezTo>
                <a:close/>
                <a:moveTo>
                  <a:pt x="530" y="268"/>
                </a:move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lose/>
                <a:moveTo>
                  <a:pt x="530" y="256"/>
                </a:moveTo>
                <a:cubicBezTo>
                  <a:pt x="530" y="256"/>
                  <a:pt x="531" y="255"/>
                  <a:pt x="531" y="256"/>
                </a:cubicBezTo>
                <a:cubicBezTo>
                  <a:pt x="532" y="258"/>
                  <a:pt x="529" y="258"/>
                  <a:pt x="530" y="256"/>
                </a:cubicBezTo>
                <a:close/>
                <a:moveTo>
                  <a:pt x="533" y="312"/>
                </a:moveTo>
                <a:cubicBezTo>
                  <a:pt x="533" y="311"/>
                  <a:pt x="533" y="310"/>
                  <a:pt x="534" y="310"/>
                </a:cubicBezTo>
                <a:cubicBezTo>
                  <a:pt x="536" y="308"/>
                  <a:pt x="535" y="313"/>
                  <a:pt x="533" y="312"/>
                </a:cubicBezTo>
                <a:close/>
                <a:moveTo>
                  <a:pt x="533" y="230"/>
                </a:moveTo>
                <a:cubicBezTo>
                  <a:pt x="534" y="229"/>
                  <a:pt x="535" y="232"/>
                  <a:pt x="533" y="231"/>
                </a:cubicBezTo>
                <a:cubicBezTo>
                  <a:pt x="533" y="231"/>
                  <a:pt x="533" y="230"/>
                  <a:pt x="533" y="230"/>
                </a:cubicBezTo>
                <a:close/>
                <a:moveTo>
                  <a:pt x="531" y="215"/>
                </a:moveTo>
                <a:cubicBezTo>
                  <a:pt x="530" y="213"/>
                  <a:pt x="535" y="211"/>
                  <a:pt x="535" y="214"/>
                </a:cubicBezTo>
                <a:cubicBezTo>
                  <a:pt x="535" y="215"/>
                  <a:pt x="531" y="217"/>
                  <a:pt x="531" y="215"/>
                </a:cubicBezTo>
                <a:close/>
                <a:moveTo>
                  <a:pt x="530" y="135"/>
                </a:moveTo>
                <a:cubicBezTo>
                  <a:pt x="532" y="134"/>
                  <a:pt x="534" y="133"/>
                  <a:pt x="536" y="131"/>
                </a:cubicBezTo>
                <a:cubicBezTo>
                  <a:pt x="535" y="134"/>
                  <a:pt x="532" y="134"/>
                  <a:pt x="530" y="135"/>
                </a:cubicBezTo>
                <a:close/>
                <a:moveTo>
                  <a:pt x="598" y="198"/>
                </a:moveTo>
                <a:cubicBezTo>
                  <a:pt x="598" y="198"/>
                  <a:pt x="597" y="199"/>
                  <a:pt x="597" y="199"/>
                </a:cubicBezTo>
                <a:cubicBezTo>
                  <a:pt x="596" y="198"/>
                  <a:pt x="598" y="198"/>
                  <a:pt x="598" y="198"/>
                </a:cubicBezTo>
                <a:close/>
                <a:moveTo>
                  <a:pt x="596" y="204"/>
                </a:moveTo>
                <a:cubicBezTo>
                  <a:pt x="598" y="202"/>
                  <a:pt x="597" y="205"/>
                  <a:pt x="596" y="205"/>
                </a:cubicBezTo>
                <a:cubicBezTo>
                  <a:pt x="596" y="204"/>
                  <a:pt x="596" y="204"/>
                  <a:pt x="596" y="204"/>
                </a:cubicBezTo>
                <a:close/>
                <a:moveTo>
                  <a:pt x="596" y="235"/>
                </a:moveTo>
                <a:cubicBezTo>
                  <a:pt x="597" y="235"/>
                  <a:pt x="598" y="234"/>
                  <a:pt x="598" y="235"/>
                </a:cubicBezTo>
                <a:cubicBezTo>
                  <a:pt x="601" y="237"/>
                  <a:pt x="594" y="238"/>
                  <a:pt x="596" y="235"/>
                </a:cubicBezTo>
                <a:close/>
                <a:moveTo>
                  <a:pt x="599" y="282"/>
                </a:moveTo>
                <a:cubicBezTo>
                  <a:pt x="598" y="284"/>
                  <a:pt x="597" y="283"/>
                  <a:pt x="599" y="282"/>
                </a:cubicBezTo>
                <a:close/>
                <a:moveTo>
                  <a:pt x="594" y="323"/>
                </a:moveTo>
                <a:cubicBezTo>
                  <a:pt x="594" y="322"/>
                  <a:pt x="595" y="322"/>
                  <a:pt x="595" y="322"/>
                </a:cubicBezTo>
                <a:cubicBezTo>
                  <a:pt x="597" y="323"/>
                  <a:pt x="593" y="325"/>
                  <a:pt x="594" y="323"/>
                </a:cubicBezTo>
                <a:close/>
                <a:moveTo>
                  <a:pt x="596" y="370"/>
                </a:moveTo>
                <a:cubicBezTo>
                  <a:pt x="597" y="370"/>
                  <a:pt x="594" y="371"/>
                  <a:pt x="596" y="370"/>
                </a:cubicBezTo>
                <a:close/>
                <a:moveTo>
                  <a:pt x="594" y="263"/>
                </a:moveTo>
                <a:cubicBezTo>
                  <a:pt x="595" y="262"/>
                  <a:pt x="596" y="264"/>
                  <a:pt x="594" y="263"/>
                </a:cubicBezTo>
                <a:close/>
                <a:moveTo>
                  <a:pt x="594" y="231"/>
                </a:moveTo>
                <a:cubicBezTo>
                  <a:pt x="595" y="231"/>
                  <a:pt x="594" y="232"/>
                  <a:pt x="594" y="231"/>
                </a:cubicBezTo>
                <a:cubicBezTo>
                  <a:pt x="594" y="231"/>
                  <a:pt x="594" y="231"/>
                  <a:pt x="594" y="231"/>
                </a:cubicBezTo>
                <a:close/>
                <a:moveTo>
                  <a:pt x="592" y="198"/>
                </a:moveTo>
                <a:cubicBezTo>
                  <a:pt x="594" y="196"/>
                  <a:pt x="594" y="199"/>
                  <a:pt x="592" y="198"/>
                </a:cubicBezTo>
                <a:close/>
                <a:moveTo>
                  <a:pt x="594" y="244"/>
                </a:moveTo>
                <a:cubicBezTo>
                  <a:pt x="594" y="245"/>
                  <a:pt x="593" y="245"/>
                  <a:pt x="591" y="246"/>
                </a:cubicBezTo>
                <a:cubicBezTo>
                  <a:pt x="592" y="245"/>
                  <a:pt x="593" y="244"/>
                  <a:pt x="594" y="244"/>
                </a:cubicBezTo>
                <a:close/>
                <a:moveTo>
                  <a:pt x="589" y="200"/>
                </a:moveTo>
                <a:cubicBezTo>
                  <a:pt x="590" y="201"/>
                  <a:pt x="588" y="202"/>
                  <a:pt x="588" y="202"/>
                </a:cubicBezTo>
                <a:cubicBezTo>
                  <a:pt x="588" y="201"/>
                  <a:pt x="589" y="201"/>
                  <a:pt x="589" y="200"/>
                </a:cubicBezTo>
                <a:close/>
                <a:moveTo>
                  <a:pt x="591" y="200"/>
                </a:moveTo>
                <a:cubicBezTo>
                  <a:pt x="590" y="203"/>
                  <a:pt x="589" y="206"/>
                  <a:pt x="586" y="208"/>
                </a:cubicBezTo>
                <a:cubicBezTo>
                  <a:pt x="588" y="206"/>
                  <a:pt x="589" y="203"/>
                  <a:pt x="591" y="200"/>
                </a:cubicBezTo>
                <a:close/>
                <a:moveTo>
                  <a:pt x="590" y="339"/>
                </a:moveTo>
                <a:cubicBezTo>
                  <a:pt x="591" y="338"/>
                  <a:pt x="590" y="340"/>
                  <a:pt x="590" y="339"/>
                </a:cubicBezTo>
                <a:close/>
                <a:moveTo>
                  <a:pt x="590" y="246"/>
                </a:moveTo>
                <a:cubicBezTo>
                  <a:pt x="591" y="246"/>
                  <a:pt x="591" y="246"/>
                  <a:pt x="590" y="246"/>
                </a:cubicBezTo>
                <a:close/>
                <a:moveTo>
                  <a:pt x="590" y="246"/>
                </a:moveTo>
                <a:cubicBezTo>
                  <a:pt x="590" y="246"/>
                  <a:pt x="590" y="247"/>
                  <a:pt x="590" y="247"/>
                </a:cubicBezTo>
                <a:cubicBezTo>
                  <a:pt x="590" y="247"/>
                  <a:pt x="590" y="247"/>
                  <a:pt x="590" y="247"/>
                </a:cubicBezTo>
                <a:cubicBezTo>
                  <a:pt x="590" y="247"/>
                  <a:pt x="590" y="247"/>
                  <a:pt x="590" y="246"/>
                </a:cubicBezTo>
                <a:close/>
                <a:moveTo>
                  <a:pt x="587" y="206"/>
                </a:moveTo>
                <a:cubicBezTo>
                  <a:pt x="587" y="206"/>
                  <a:pt x="586" y="205"/>
                  <a:pt x="586" y="205"/>
                </a:cubicBezTo>
                <a:cubicBezTo>
                  <a:pt x="587" y="204"/>
                  <a:pt x="587" y="208"/>
                  <a:pt x="587" y="206"/>
                </a:cubicBezTo>
                <a:close/>
                <a:moveTo>
                  <a:pt x="586" y="210"/>
                </a:moveTo>
                <a:cubicBezTo>
                  <a:pt x="587" y="211"/>
                  <a:pt x="585" y="212"/>
                  <a:pt x="585" y="213"/>
                </a:cubicBezTo>
                <a:cubicBezTo>
                  <a:pt x="584" y="212"/>
                  <a:pt x="586" y="210"/>
                  <a:pt x="586" y="210"/>
                </a:cubicBezTo>
                <a:close/>
                <a:moveTo>
                  <a:pt x="585" y="229"/>
                </a:moveTo>
                <a:cubicBezTo>
                  <a:pt x="586" y="228"/>
                  <a:pt x="585" y="230"/>
                  <a:pt x="584" y="230"/>
                </a:cubicBezTo>
                <a:cubicBezTo>
                  <a:pt x="584" y="230"/>
                  <a:pt x="585" y="229"/>
                  <a:pt x="585" y="229"/>
                </a:cubicBezTo>
                <a:close/>
                <a:moveTo>
                  <a:pt x="584" y="214"/>
                </a:moveTo>
                <a:cubicBezTo>
                  <a:pt x="584" y="212"/>
                  <a:pt x="585" y="214"/>
                  <a:pt x="584" y="214"/>
                </a:cubicBezTo>
                <a:close/>
                <a:moveTo>
                  <a:pt x="583" y="250"/>
                </a:moveTo>
                <a:cubicBezTo>
                  <a:pt x="583" y="250"/>
                  <a:pt x="583" y="251"/>
                  <a:pt x="582" y="251"/>
                </a:cubicBezTo>
                <a:cubicBezTo>
                  <a:pt x="582" y="251"/>
                  <a:pt x="581" y="251"/>
                  <a:pt x="581" y="251"/>
                </a:cubicBezTo>
                <a:cubicBezTo>
                  <a:pt x="582" y="251"/>
                  <a:pt x="583" y="251"/>
                  <a:pt x="583" y="250"/>
                </a:cubicBezTo>
                <a:close/>
                <a:moveTo>
                  <a:pt x="579" y="195"/>
                </a:moveTo>
                <a:cubicBezTo>
                  <a:pt x="578" y="194"/>
                  <a:pt x="581" y="195"/>
                  <a:pt x="579" y="195"/>
                </a:cubicBezTo>
                <a:close/>
                <a:moveTo>
                  <a:pt x="578" y="186"/>
                </a:moveTo>
                <a:cubicBezTo>
                  <a:pt x="578" y="188"/>
                  <a:pt x="573" y="190"/>
                  <a:pt x="572" y="187"/>
                </a:cubicBezTo>
                <a:cubicBezTo>
                  <a:pt x="571" y="184"/>
                  <a:pt x="579" y="182"/>
                  <a:pt x="578" y="186"/>
                </a:cubicBezTo>
                <a:close/>
                <a:moveTo>
                  <a:pt x="576" y="196"/>
                </a:moveTo>
                <a:cubicBezTo>
                  <a:pt x="576" y="196"/>
                  <a:pt x="576" y="196"/>
                  <a:pt x="576" y="196"/>
                </a:cubicBezTo>
                <a:cubicBezTo>
                  <a:pt x="577" y="198"/>
                  <a:pt x="574" y="195"/>
                  <a:pt x="576" y="196"/>
                </a:cubicBezTo>
                <a:close/>
                <a:moveTo>
                  <a:pt x="573" y="191"/>
                </a:moveTo>
                <a:cubicBezTo>
                  <a:pt x="572" y="191"/>
                  <a:pt x="571" y="192"/>
                  <a:pt x="570" y="192"/>
                </a:cubicBezTo>
                <a:cubicBezTo>
                  <a:pt x="570" y="191"/>
                  <a:pt x="573" y="190"/>
                  <a:pt x="573" y="191"/>
                </a:cubicBezTo>
                <a:close/>
                <a:moveTo>
                  <a:pt x="565" y="201"/>
                </a:moveTo>
                <a:cubicBezTo>
                  <a:pt x="565" y="202"/>
                  <a:pt x="563" y="202"/>
                  <a:pt x="563" y="201"/>
                </a:cubicBezTo>
                <a:cubicBezTo>
                  <a:pt x="563" y="200"/>
                  <a:pt x="564" y="200"/>
                  <a:pt x="565" y="201"/>
                </a:cubicBezTo>
                <a:close/>
                <a:moveTo>
                  <a:pt x="569" y="202"/>
                </a:moveTo>
                <a:cubicBezTo>
                  <a:pt x="568" y="201"/>
                  <a:pt x="562" y="207"/>
                  <a:pt x="562" y="205"/>
                </a:cubicBezTo>
                <a:cubicBezTo>
                  <a:pt x="562" y="204"/>
                  <a:pt x="567" y="200"/>
                  <a:pt x="569" y="202"/>
                </a:cubicBezTo>
                <a:close/>
                <a:moveTo>
                  <a:pt x="563" y="247"/>
                </a:moveTo>
                <a:cubicBezTo>
                  <a:pt x="563" y="247"/>
                  <a:pt x="561" y="248"/>
                  <a:pt x="561" y="248"/>
                </a:cubicBezTo>
                <a:cubicBezTo>
                  <a:pt x="560" y="247"/>
                  <a:pt x="562" y="245"/>
                  <a:pt x="563" y="247"/>
                </a:cubicBezTo>
                <a:close/>
                <a:moveTo>
                  <a:pt x="562" y="189"/>
                </a:moveTo>
                <a:cubicBezTo>
                  <a:pt x="563" y="190"/>
                  <a:pt x="560" y="191"/>
                  <a:pt x="560" y="190"/>
                </a:cubicBezTo>
                <a:cubicBezTo>
                  <a:pt x="560" y="189"/>
                  <a:pt x="562" y="189"/>
                  <a:pt x="562" y="189"/>
                </a:cubicBezTo>
                <a:close/>
                <a:moveTo>
                  <a:pt x="560" y="205"/>
                </a:moveTo>
                <a:cubicBezTo>
                  <a:pt x="563" y="203"/>
                  <a:pt x="562" y="209"/>
                  <a:pt x="560" y="207"/>
                </a:cubicBezTo>
                <a:cubicBezTo>
                  <a:pt x="558" y="207"/>
                  <a:pt x="560" y="205"/>
                  <a:pt x="560" y="205"/>
                </a:cubicBezTo>
                <a:close/>
                <a:moveTo>
                  <a:pt x="560" y="264"/>
                </a:moveTo>
                <a:cubicBezTo>
                  <a:pt x="562" y="263"/>
                  <a:pt x="559" y="266"/>
                  <a:pt x="560" y="264"/>
                </a:cubicBezTo>
                <a:cubicBezTo>
                  <a:pt x="560" y="264"/>
                  <a:pt x="560" y="264"/>
                  <a:pt x="560" y="264"/>
                </a:cubicBezTo>
                <a:close/>
                <a:moveTo>
                  <a:pt x="556" y="180"/>
                </a:moveTo>
                <a:cubicBezTo>
                  <a:pt x="557" y="181"/>
                  <a:pt x="555" y="182"/>
                  <a:pt x="555" y="181"/>
                </a:cubicBezTo>
                <a:cubicBezTo>
                  <a:pt x="555" y="181"/>
                  <a:pt x="556" y="181"/>
                  <a:pt x="556" y="180"/>
                </a:cubicBezTo>
                <a:close/>
                <a:moveTo>
                  <a:pt x="554" y="138"/>
                </a:moveTo>
                <a:cubicBezTo>
                  <a:pt x="554" y="138"/>
                  <a:pt x="555" y="138"/>
                  <a:pt x="555" y="138"/>
                </a:cubicBezTo>
                <a:cubicBezTo>
                  <a:pt x="555" y="140"/>
                  <a:pt x="552" y="136"/>
                  <a:pt x="554" y="138"/>
                </a:cubicBezTo>
                <a:close/>
                <a:moveTo>
                  <a:pt x="555" y="219"/>
                </a:moveTo>
                <a:cubicBezTo>
                  <a:pt x="555" y="219"/>
                  <a:pt x="554" y="221"/>
                  <a:pt x="553" y="221"/>
                </a:cubicBezTo>
                <a:cubicBezTo>
                  <a:pt x="553" y="220"/>
                  <a:pt x="554" y="218"/>
                  <a:pt x="555" y="219"/>
                </a:cubicBezTo>
                <a:close/>
                <a:moveTo>
                  <a:pt x="553" y="245"/>
                </a:moveTo>
                <a:cubicBezTo>
                  <a:pt x="554" y="245"/>
                  <a:pt x="552" y="246"/>
                  <a:pt x="552" y="245"/>
                </a:cubicBezTo>
                <a:cubicBezTo>
                  <a:pt x="552" y="244"/>
                  <a:pt x="553" y="244"/>
                  <a:pt x="553" y="245"/>
                </a:cubicBezTo>
                <a:close/>
                <a:moveTo>
                  <a:pt x="552" y="182"/>
                </a:move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lose/>
                <a:moveTo>
                  <a:pt x="552" y="133"/>
                </a:moveTo>
                <a:cubicBezTo>
                  <a:pt x="552" y="133"/>
                  <a:pt x="551" y="135"/>
                  <a:pt x="551" y="134"/>
                </a:cubicBezTo>
                <a:cubicBezTo>
                  <a:pt x="550" y="133"/>
                  <a:pt x="552" y="133"/>
                  <a:pt x="552" y="133"/>
                </a:cubicBezTo>
                <a:close/>
                <a:moveTo>
                  <a:pt x="552" y="158"/>
                </a:moveTo>
                <a:cubicBezTo>
                  <a:pt x="552" y="159"/>
                  <a:pt x="550" y="160"/>
                  <a:pt x="550" y="159"/>
                </a:cubicBezTo>
                <a:cubicBezTo>
                  <a:pt x="550" y="158"/>
                  <a:pt x="551" y="158"/>
                  <a:pt x="552" y="158"/>
                </a:cubicBezTo>
                <a:close/>
                <a:moveTo>
                  <a:pt x="552" y="177"/>
                </a:moveTo>
                <a:cubicBezTo>
                  <a:pt x="552" y="179"/>
                  <a:pt x="548" y="179"/>
                  <a:pt x="548" y="177"/>
                </a:cubicBezTo>
                <a:cubicBezTo>
                  <a:pt x="548" y="176"/>
                  <a:pt x="551" y="175"/>
                  <a:pt x="552" y="177"/>
                </a:cubicBezTo>
                <a:close/>
                <a:moveTo>
                  <a:pt x="547" y="170"/>
                </a:moveTo>
                <a:cubicBezTo>
                  <a:pt x="548" y="170"/>
                  <a:pt x="547" y="171"/>
                  <a:pt x="546" y="171"/>
                </a:cubicBezTo>
                <a:cubicBezTo>
                  <a:pt x="546" y="170"/>
                  <a:pt x="547" y="170"/>
                  <a:pt x="547" y="170"/>
                </a:cubicBezTo>
                <a:close/>
                <a:moveTo>
                  <a:pt x="547" y="166"/>
                </a:moveTo>
                <a:cubicBezTo>
                  <a:pt x="548" y="167"/>
                  <a:pt x="547" y="165"/>
                  <a:pt x="547" y="166"/>
                </a:cubicBezTo>
                <a:close/>
                <a:moveTo>
                  <a:pt x="548" y="133"/>
                </a:moveTo>
                <a:cubicBezTo>
                  <a:pt x="548" y="134"/>
                  <a:pt x="547" y="134"/>
                  <a:pt x="546" y="134"/>
                </a:cubicBezTo>
                <a:cubicBezTo>
                  <a:pt x="546" y="133"/>
                  <a:pt x="547" y="134"/>
                  <a:pt x="548" y="133"/>
                </a:cubicBezTo>
                <a:close/>
                <a:moveTo>
                  <a:pt x="547" y="176"/>
                </a:moveTo>
                <a:cubicBezTo>
                  <a:pt x="547" y="177"/>
                  <a:pt x="545" y="176"/>
                  <a:pt x="547" y="176"/>
                </a:cubicBezTo>
                <a:close/>
                <a:moveTo>
                  <a:pt x="546" y="168"/>
                </a:moveTo>
                <a:cubicBezTo>
                  <a:pt x="546" y="169"/>
                  <a:pt x="544" y="170"/>
                  <a:pt x="544" y="168"/>
                </a:cubicBezTo>
                <a:cubicBezTo>
                  <a:pt x="545" y="168"/>
                  <a:pt x="545" y="168"/>
                  <a:pt x="546" y="168"/>
                </a:cubicBezTo>
                <a:close/>
                <a:moveTo>
                  <a:pt x="545" y="141"/>
                </a:moveTo>
                <a:cubicBezTo>
                  <a:pt x="546" y="143"/>
                  <a:pt x="542" y="142"/>
                  <a:pt x="542" y="141"/>
                </a:cubicBezTo>
                <a:cubicBezTo>
                  <a:pt x="543" y="140"/>
                  <a:pt x="545" y="140"/>
                  <a:pt x="545" y="141"/>
                </a:cubicBezTo>
                <a:close/>
                <a:moveTo>
                  <a:pt x="540" y="150"/>
                </a:moveTo>
                <a:cubicBezTo>
                  <a:pt x="540" y="150"/>
                  <a:pt x="538" y="151"/>
                  <a:pt x="537" y="150"/>
                </a:cubicBezTo>
                <a:cubicBezTo>
                  <a:pt x="537" y="149"/>
                  <a:pt x="539" y="148"/>
                  <a:pt x="540" y="150"/>
                </a:cubicBezTo>
                <a:close/>
                <a:moveTo>
                  <a:pt x="537" y="158"/>
                </a:moveTo>
                <a:cubicBezTo>
                  <a:pt x="537" y="158"/>
                  <a:pt x="538" y="157"/>
                  <a:pt x="538" y="157"/>
                </a:cubicBezTo>
                <a:cubicBezTo>
                  <a:pt x="539" y="157"/>
                  <a:pt x="537" y="159"/>
                  <a:pt x="537" y="158"/>
                </a:cubicBezTo>
                <a:close/>
                <a:moveTo>
                  <a:pt x="538" y="165"/>
                </a:moveTo>
                <a:cubicBezTo>
                  <a:pt x="538" y="165"/>
                  <a:pt x="540" y="163"/>
                  <a:pt x="540" y="165"/>
                </a:cubicBezTo>
                <a:cubicBezTo>
                  <a:pt x="540" y="164"/>
                  <a:pt x="539" y="166"/>
                  <a:pt x="538" y="165"/>
                </a:cubicBezTo>
                <a:close/>
                <a:moveTo>
                  <a:pt x="540" y="214"/>
                </a:moveTo>
                <a:cubicBezTo>
                  <a:pt x="541" y="215"/>
                  <a:pt x="540" y="215"/>
                  <a:pt x="540" y="215"/>
                </a:cubicBezTo>
                <a:cubicBezTo>
                  <a:pt x="539" y="214"/>
                  <a:pt x="540" y="214"/>
                  <a:pt x="540" y="214"/>
                </a:cubicBezTo>
                <a:close/>
                <a:moveTo>
                  <a:pt x="541" y="291"/>
                </a:moveTo>
                <a:cubicBezTo>
                  <a:pt x="540" y="291"/>
                  <a:pt x="539" y="291"/>
                  <a:pt x="540" y="290"/>
                </a:cubicBezTo>
                <a:cubicBezTo>
                  <a:pt x="540" y="289"/>
                  <a:pt x="541" y="290"/>
                  <a:pt x="541" y="291"/>
                </a:cubicBezTo>
                <a:close/>
                <a:moveTo>
                  <a:pt x="541" y="212"/>
                </a:moveTo>
                <a:cubicBezTo>
                  <a:pt x="541" y="212"/>
                  <a:pt x="541" y="212"/>
                  <a:pt x="541" y="212"/>
                </a:cubicBezTo>
                <a:cubicBezTo>
                  <a:pt x="541" y="212"/>
                  <a:pt x="541" y="212"/>
                  <a:pt x="541" y="212"/>
                </a:cubicBezTo>
                <a:cubicBezTo>
                  <a:pt x="540" y="212"/>
                  <a:pt x="540" y="211"/>
                  <a:pt x="541" y="210"/>
                </a:cubicBezTo>
                <a:cubicBezTo>
                  <a:pt x="542" y="209"/>
                  <a:pt x="542" y="210"/>
                  <a:pt x="542" y="211"/>
                </a:cubicBezTo>
                <a:cubicBezTo>
                  <a:pt x="543" y="211"/>
                  <a:pt x="544" y="211"/>
                  <a:pt x="544" y="210"/>
                </a:cubicBezTo>
                <a:cubicBezTo>
                  <a:pt x="545" y="210"/>
                  <a:pt x="550" y="204"/>
                  <a:pt x="551" y="205"/>
                </a:cubicBezTo>
                <a:cubicBezTo>
                  <a:pt x="553" y="207"/>
                  <a:pt x="544" y="211"/>
                  <a:pt x="543" y="212"/>
                </a:cubicBezTo>
                <a:cubicBezTo>
                  <a:pt x="542" y="212"/>
                  <a:pt x="542" y="214"/>
                  <a:pt x="541" y="212"/>
                </a:cubicBezTo>
                <a:close/>
                <a:moveTo>
                  <a:pt x="549" y="242"/>
                </a:moveTo>
                <a:cubicBezTo>
                  <a:pt x="549" y="242"/>
                  <a:pt x="547" y="242"/>
                  <a:pt x="547" y="241"/>
                </a:cubicBezTo>
                <a:cubicBezTo>
                  <a:pt x="547" y="241"/>
                  <a:pt x="549" y="240"/>
                  <a:pt x="549" y="242"/>
                </a:cubicBezTo>
                <a:close/>
                <a:moveTo>
                  <a:pt x="543" y="245"/>
                </a:moveTo>
                <a:cubicBezTo>
                  <a:pt x="544" y="247"/>
                  <a:pt x="541" y="246"/>
                  <a:pt x="543" y="245"/>
                </a:cubicBezTo>
                <a:close/>
                <a:moveTo>
                  <a:pt x="547" y="220"/>
                </a:moveTo>
                <a:cubicBezTo>
                  <a:pt x="546" y="220"/>
                  <a:pt x="546" y="220"/>
                  <a:pt x="546" y="220"/>
                </a:cubicBezTo>
                <a:cubicBezTo>
                  <a:pt x="545" y="220"/>
                  <a:pt x="547" y="219"/>
                  <a:pt x="547" y="220"/>
                </a:cubicBezTo>
                <a:close/>
                <a:moveTo>
                  <a:pt x="546" y="265"/>
                </a:moveTo>
                <a:cubicBezTo>
                  <a:pt x="546" y="265"/>
                  <a:pt x="547" y="264"/>
                  <a:pt x="547" y="264"/>
                </a:cubicBezTo>
                <a:cubicBezTo>
                  <a:pt x="547" y="265"/>
                  <a:pt x="546" y="266"/>
                  <a:pt x="546" y="265"/>
                </a:cubicBezTo>
                <a:close/>
                <a:moveTo>
                  <a:pt x="548" y="300"/>
                </a:moveTo>
                <a:cubicBezTo>
                  <a:pt x="548" y="299"/>
                  <a:pt x="548" y="299"/>
                  <a:pt x="548" y="299"/>
                </a:cubicBezTo>
                <a:cubicBezTo>
                  <a:pt x="549" y="299"/>
                  <a:pt x="548" y="301"/>
                  <a:pt x="548" y="300"/>
                </a:cubicBezTo>
                <a:close/>
                <a:moveTo>
                  <a:pt x="547" y="280"/>
                </a:moveTo>
                <a:cubicBezTo>
                  <a:pt x="549" y="276"/>
                  <a:pt x="551" y="272"/>
                  <a:pt x="552" y="269"/>
                </a:cubicBezTo>
                <a:cubicBezTo>
                  <a:pt x="552" y="271"/>
                  <a:pt x="549" y="278"/>
                  <a:pt x="547" y="280"/>
                </a:cubicBezTo>
                <a:close/>
                <a:moveTo>
                  <a:pt x="553" y="329"/>
                </a:moveTo>
                <a:cubicBezTo>
                  <a:pt x="553" y="329"/>
                  <a:pt x="553" y="329"/>
                  <a:pt x="553" y="329"/>
                </a:cubicBezTo>
                <a:cubicBezTo>
                  <a:pt x="553" y="329"/>
                  <a:pt x="553" y="329"/>
                  <a:pt x="553" y="329"/>
                </a:cubicBezTo>
                <a:close/>
                <a:moveTo>
                  <a:pt x="551" y="261"/>
                </a:moveTo>
                <a:cubicBezTo>
                  <a:pt x="553" y="257"/>
                  <a:pt x="553" y="254"/>
                  <a:pt x="555" y="252"/>
                </a:cubicBezTo>
                <a:cubicBezTo>
                  <a:pt x="554" y="254"/>
                  <a:pt x="553" y="259"/>
                  <a:pt x="551" y="261"/>
                </a:cubicBezTo>
                <a:close/>
                <a:moveTo>
                  <a:pt x="554" y="222"/>
                </a:moveTo>
                <a:cubicBezTo>
                  <a:pt x="555" y="221"/>
                  <a:pt x="556" y="222"/>
                  <a:pt x="554" y="222"/>
                </a:cubicBezTo>
                <a:close/>
                <a:moveTo>
                  <a:pt x="554" y="184"/>
                </a:moveTo>
                <a:cubicBezTo>
                  <a:pt x="554" y="183"/>
                  <a:pt x="556" y="182"/>
                  <a:pt x="556" y="183"/>
                </a:cubicBezTo>
                <a:cubicBezTo>
                  <a:pt x="556" y="185"/>
                  <a:pt x="554" y="185"/>
                  <a:pt x="554" y="184"/>
                </a:cubicBezTo>
                <a:close/>
                <a:moveTo>
                  <a:pt x="557" y="285"/>
                </a:moveTo>
                <a:cubicBezTo>
                  <a:pt x="557" y="283"/>
                  <a:pt x="556" y="286"/>
                  <a:pt x="557" y="285"/>
                </a:cubicBezTo>
                <a:close/>
                <a:moveTo>
                  <a:pt x="560" y="320"/>
                </a:moveTo>
                <a:cubicBezTo>
                  <a:pt x="560" y="321"/>
                  <a:pt x="561" y="319"/>
                  <a:pt x="560" y="320"/>
                </a:cubicBezTo>
                <a:close/>
                <a:moveTo>
                  <a:pt x="557" y="283"/>
                </a:moveTo>
                <a:cubicBezTo>
                  <a:pt x="556" y="281"/>
                  <a:pt x="561" y="279"/>
                  <a:pt x="561" y="281"/>
                </a:cubicBezTo>
                <a:cubicBezTo>
                  <a:pt x="562" y="283"/>
                  <a:pt x="558" y="284"/>
                  <a:pt x="557" y="283"/>
                </a:cubicBezTo>
                <a:close/>
                <a:moveTo>
                  <a:pt x="562" y="258"/>
                </a:moveTo>
                <a:cubicBezTo>
                  <a:pt x="562" y="258"/>
                  <a:pt x="563" y="257"/>
                  <a:pt x="563" y="257"/>
                </a:cubicBezTo>
                <a:cubicBezTo>
                  <a:pt x="564" y="258"/>
                  <a:pt x="561" y="259"/>
                  <a:pt x="562" y="258"/>
                </a:cubicBezTo>
                <a:close/>
                <a:moveTo>
                  <a:pt x="565" y="221"/>
                </a:moveTo>
                <a:cubicBezTo>
                  <a:pt x="564" y="221"/>
                  <a:pt x="564" y="219"/>
                  <a:pt x="565" y="220"/>
                </a:cubicBezTo>
                <a:cubicBezTo>
                  <a:pt x="565" y="220"/>
                  <a:pt x="565" y="221"/>
                  <a:pt x="565" y="221"/>
                </a:cubicBezTo>
                <a:close/>
                <a:moveTo>
                  <a:pt x="566" y="206"/>
                </a:moveTo>
                <a:cubicBezTo>
                  <a:pt x="565" y="211"/>
                  <a:pt x="567" y="204"/>
                  <a:pt x="568" y="203"/>
                </a:cubicBezTo>
                <a:cubicBezTo>
                  <a:pt x="569" y="202"/>
                  <a:pt x="574" y="202"/>
                  <a:pt x="576" y="203"/>
                </a:cubicBezTo>
                <a:cubicBezTo>
                  <a:pt x="579" y="205"/>
                  <a:pt x="577" y="210"/>
                  <a:pt x="574" y="212"/>
                </a:cubicBezTo>
                <a:cubicBezTo>
                  <a:pt x="573" y="213"/>
                  <a:pt x="570" y="213"/>
                  <a:pt x="569" y="213"/>
                </a:cubicBezTo>
                <a:cubicBezTo>
                  <a:pt x="566" y="214"/>
                  <a:pt x="567" y="214"/>
                  <a:pt x="565" y="212"/>
                </a:cubicBezTo>
                <a:cubicBezTo>
                  <a:pt x="562" y="210"/>
                  <a:pt x="562" y="205"/>
                  <a:pt x="566" y="206"/>
                </a:cubicBezTo>
                <a:close/>
                <a:moveTo>
                  <a:pt x="573" y="236"/>
                </a:moveTo>
                <a:cubicBezTo>
                  <a:pt x="575" y="234"/>
                  <a:pt x="572" y="237"/>
                  <a:pt x="573" y="236"/>
                </a:cubicBezTo>
                <a:close/>
                <a:moveTo>
                  <a:pt x="571" y="238"/>
                </a:moveTo>
                <a:cubicBezTo>
                  <a:pt x="573" y="236"/>
                  <a:pt x="569" y="239"/>
                  <a:pt x="571" y="238"/>
                </a:cubicBezTo>
                <a:close/>
                <a:moveTo>
                  <a:pt x="569" y="326"/>
                </a:moveTo>
                <a:cubicBezTo>
                  <a:pt x="568" y="326"/>
                  <a:pt x="569" y="325"/>
                  <a:pt x="569" y="325"/>
                </a:cubicBezTo>
                <a:cubicBezTo>
                  <a:pt x="570" y="324"/>
                  <a:pt x="570" y="327"/>
                  <a:pt x="569" y="326"/>
                </a:cubicBezTo>
                <a:close/>
                <a:moveTo>
                  <a:pt x="567" y="224"/>
                </a:moveTo>
                <a:cubicBezTo>
                  <a:pt x="566" y="223"/>
                  <a:pt x="567" y="222"/>
                  <a:pt x="567" y="222"/>
                </a:cubicBezTo>
                <a:cubicBezTo>
                  <a:pt x="568" y="222"/>
                  <a:pt x="567" y="223"/>
                  <a:pt x="567" y="224"/>
                </a:cubicBezTo>
                <a:close/>
                <a:moveTo>
                  <a:pt x="567" y="311"/>
                </a:moveTo>
                <a:cubicBezTo>
                  <a:pt x="568" y="312"/>
                  <a:pt x="566" y="312"/>
                  <a:pt x="567" y="311"/>
                </a:cubicBezTo>
                <a:close/>
                <a:moveTo>
                  <a:pt x="565" y="280"/>
                </a:moveTo>
                <a:cubicBezTo>
                  <a:pt x="565" y="277"/>
                  <a:pt x="567" y="277"/>
                  <a:pt x="565" y="280"/>
                </a:cubicBezTo>
                <a:close/>
                <a:moveTo>
                  <a:pt x="566" y="411"/>
                </a:moveTo>
                <a:cubicBezTo>
                  <a:pt x="568" y="409"/>
                  <a:pt x="569" y="406"/>
                  <a:pt x="572" y="405"/>
                </a:cubicBezTo>
                <a:cubicBezTo>
                  <a:pt x="570" y="407"/>
                  <a:pt x="568" y="410"/>
                  <a:pt x="566" y="411"/>
                </a:cubicBezTo>
                <a:close/>
                <a:moveTo>
                  <a:pt x="571" y="279"/>
                </a:moveTo>
                <a:cubicBezTo>
                  <a:pt x="571" y="279"/>
                  <a:pt x="573" y="279"/>
                  <a:pt x="572" y="279"/>
                </a:cubicBezTo>
                <a:cubicBezTo>
                  <a:pt x="572" y="280"/>
                  <a:pt x="571" y="280"/>
                  <a:pt x="571" y="279"/>
                </a:cubicBezTo>
                <a:close/>
                <a:moveTo>
                  <a:pt x="573" y="383"/>
                </a:moveTo>
                <a:cubicBezTo>
                  <a:pt x="571" y="382"/>
                  <a:pt x="573" y="380"/>
                  <a:pt x="574" y="379"/>
                </a:cubicBezTo>
                <a:cubicBezTo>
                  <a:pt x="577" y="377"/>
                  <a:pt x="575" y="384"/>
                  <a:pt x="573" y="383"/>
                </a:cubicBezTo>
                <a:close/>
                <a:moveTo>
                  <a:pt x="578" y="218"/>
                </a:moveTo>
                <a:cubicBezTo>
                  <a:pt x="583" y="216"/>
                  <a:pt x="584" y="224"/>
                  <a:pt x="580" y="226"/>
                </a:cubicBezTo>
                <a:cubicBezTo>
                  <a:pt x="573" y="230"/>
                  <a:pt x="572" y="220"/>
                  <a:pt x="578" y="218"/>
                </a:cubicBezTo>
                <a:close/>
                <a:moveTo>
                  <a:pt x="577" y="295"/>
                </a:moveTo>
                <a:cubicBezTo>
                  <a:pt x="577" y="295"/>
                  <a:pt x="577" y="295"/>
                  <a:pt x="577" y="296"/>
                </a:cubicBezTo>
                <a:cubicBezTo>
                  <a:pt x="576" y="296"/>
                  <a:pt x="577" y="295"/>
                  <a:pt x="577" y="295"/>
                </a:cubicBezTo>
                <a:close/>
                <a:moveTo>
                  <a:pt x="577" y="425"/>
                </a:moveTo>
                <a:cubicBezTo>
                  <a:pt x="576" y="426"/>
                  <a:pt x="578" y="423"/>
                  <a:pt x="577" y="425"/>
                </a:cubicBezTo>
                <a:close/>
                <a:moveTo>
                  <a:pt x="577" y="371"/>
                </a:moveTo>
                <a:cubicBezTo>
                  <a:pt x="576" y="370"/>
                  <a:pt x="578" y="370"/>
                  <a:pt x="577" y="371"/>
                </a:cubicBezTo>
                <a:close/>
                <a:moveTo>
                  <a:pt x="577" y="297"/>
                </a:moveTo>
                <a:cubicBezTo>
                  <a:pt x="578" y="296"/>
                  <a:pt x="578" y="297"/>
                  <a:pt x="578" y="297"/>
                </a:cubicBezTo>
                <a:cubicBezTo>
                  <a:pt x="579" y="299"/>
                  <a:pt x="576" y="297"/>
                  <a:pt x="577" y="297"/>
                </a:cubicBezTo>
                <a:close/>
                <a:moveTo>
                  <a:pt x="580" y="277"/>
                </a:moveTo>
                <a:cubicBezTo>
                  <a:pt x="580" y="277"/>
                  <a:pt x="580" y="277"/>
                  <a:pt x="580" y="277"/>
                </a:cubicBezTo>
                <a:cubicBezTo>
                  <a:pt x="581" y="277"/>
                  <a:pt x="579" y="278"/>
                  <a:pt x="580" y="277"/>
                </a:cubicBezTo>
                <a:close/>
                <a:moveTo>
                  <a:pt x="580" y="387"/>
                </a:moveTo>
                <a:cubicBezTo>
                  <a:pt x="580" y="386"/>
                  <a:pt x="582" y="385"/>
                  <a:pt x="582" y="384"/>
                </a:cubicBezTo>
                <a:cubicBezTo>
                  <a:pt x="583" y="385"/>
                  <a:pt x="581" y="386"/>
                  <a:pt x="580" y="387"/>
                </a:cubicBezTo>
                <a:close/>
                <a:moveTo>
                  <a:pt x="578" y="268"/>
                </a:moveTo>
                <a:cubicBezTo>
                  <a:pt x="578" y="266"/>
                  <a:pt x="584" y="266"/>
                  <a:pt x="582" y="269"/>
                </a:cubicBezTo>
                <a:cubicBezTo>
                  <a:pt x="582" y="271"/>
                  <a:pt x="578" y="270"/>
                  <a:pt x="578" y="268"/>
                </a:cubicBezTo>
                <a:close/>
                <a:moveTo>
                  <a:pt x="582" y="302"/>
                </a:moveTo>
                <a:cubicBezTo>
                  <a:pt x="582" y="302"/>
                  <a:pt x="582" y="301"/>
                  <a:pt x="583" y="301"/>
                </a:cubicBezTo>
                <a:cubicBezTo>
                  <a:pt x="585" y="299"/>
                  <a:pt x="584" y="304"/>
                  <a:pt x="582" y="302"/>
                </a:cubicBezTo>
                <a:close/>
                <a:moveTo>
                  <a:pt x="584" y="367"/>
                </a:moveTo>
                <a:cubicBezTo>
                  <a:pt x="584" y="369"/>
                  <a:pt x="582" y="368"/>
                  <a:pt x="584" y="367"/>
                </a:cubicBezTo>
                <a:close/>
                <a:moveTo>
                  <a:pt x="584" y="364"/>
                </a:moveTo>
                <a:cubicBezTo>
                  <a:pt x="584" y="363"/>
                  <a:pt x="584" y="363"/>
                  <a:pt x="585" y="363"/>
                </a:cubicBezTo>
                <a:cubicBezTo>
                  <a:pt x="586" y="363"/>
                  <a:pt x="583" y="365"/>
                  <a:pt x="584" y="364"/>
                </a:cubicBezTo>
                <a:close/>
                <a:moveTo>
                  <a:pt x="585" y="305"/>
                </a:moveTo>
                <a:cubicBezTo>
                  <a:pt x="585" y="305"/>
                  <a:pt x="586" y="304"/>
                  <a:pt x="586" y="305"/>
                </a:cubicBezTo>
                <a:cubicBezTo>
                  <a:pt x="587" y="305"/>
                  <a:pt x="585" y="306"/>
                  <a:pt x="585" y="305"/>
                </a:cubicBezTo>
                <a:close/>
                <a:moveTo>
                  <a:pt x="585" y="289"/>
                </a:moveTo>
                <a:cubicBezTo>
                  <a:pt x="585" y="288"/>
                  <a:pt x="586" y="288"/>
                  <a:pt x="586" y="288"/>
                </a:cubicBezTo>
                <a:cubicBezTo>
                  <a:pt x="586" y="288"/>
                  <a:pt x="585" y="289"/>
                  <a:pt x="585" y="289"/>
                </a:cubicBezTo>
                <a:close/>
                <a:moveTo>
                  <a:pt x="585" y="250"/>
                </a:moveTo>
                <a:cubicBezTo>
                  <a:pt x="586" y="249"/>
                  <a:pt x="587" y="248"/>
                  <a:pt x="589" y="247"/>
                </a:cubicBezTo>
                <a:cubicBezTo>
                  <a:pt x="588" y="248"/>
                  <a:pt x="586" y="249"/>
                  <a:pt x="585" y="250"/>
                </a:cubicBezTo>
                <a:close/>
                <a:moveTo>
                  <a:pt x="590" y="437"/>
                </a:moveTo>
                <a:cubicBezTo>
                  <a:pt x="589" y="435"/>
                  <a:pt x="591" y="433"/>
                  <a:pt x="593" y="431"/>
                </a:cubicBezTo>
                <a:cubicBezTo>
                  <a:pt x="592" y="433"/>
                  <a:pt x="591" y="435"/>
                  <a:pt x="590" y="437"/>
                </a:cubicBezTo>
                <a:close/>
                <a:moveTo>
                  <a:pt x="594" y="251"/>
                </a:moveTo>
                <a:cubicBezTo>
                  <a:pt x="596" y="250"/>
                  <a:pt x="595" y="255"/>
                  <a:pt x="593" y="253"/>
                </a:cubicBezTo>
                <a:cubicBezTo>
                  <a:pt x="593" y="253"/>
                  <a:pt x="593" y="252"/>
                  <a:pt x="594" y="251"/>
                </a:cubicBezTo>
                <a:close/>
                <a:moveTo>
                  <a:pt x="594" y="357"/>
                </a:moveTo>
                <a:cubicBezTo>
                  <a:pt x="594" y="357"/>
                  <a:pt x="594" y="356"/>
                  <a:pt x="595" y="356"/>
                </a:cubicBezTo>
                <a:cubicBezTo>
                  <a:pt x="596" y="357"/>
                  <a:pt x="592" y="359"/>
                  <a:pt x="594" y="357"/>
                </a:cubicBezTo>
                <a:close/>
                <a:moveTo>
                  <a:pt x="595" y="371"/>
                </a:moveTo>
                <a:cubicBezTo>
                  <a:pt x="595" y="372"/>
                  <a:pt x="594" y="373"/>
                  <a:pt x="593" y="373"/>
                </a:cubicBezTo>
                <a:cubicBezTo>
                  <a:pt x="593" y="372"/>
                  <a:pt x="594" y="371"/>
                  <a:pt x="595" y="371"/>
                </a:cubicBezTo>
                <a:close/>
                <a:moveTo>
                  <a:pt x="593" y="429"/>
                </a:move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lose/>
                <a:moveTo>
                  <a:pt x="594" y="472"/>
                </a:moveTo>
                <a:cubicBezTo>
                  <a:pt x="594" y="472"/>
                  <a:pt x="595" y="470"/>
                  <a:pt x="595" y="470"/>
                </a:cubicBezTo>
                <a:cubicBezTo>
                  <a:pt x="596" y="471"/>
                  <a:pt x="594" y="472"/>
                  <a:pt x="594" y="472"/>
                </a:cubicBezTo>
                <a:close/>
                <a:moveTo>
                  <a:pt x="598" y="422"/>
                </a:moveTo>
                <a:cubicBezTo>
                  <a:pt x="598" y="423"/>
                  <a:pt x="596" y="426"/>
                  <a:pt x="594" y="428"/>
                </a:cubicBezTo>
                <a:cubicBezTo>
                  <a:pt x="594" y="425"/>
                  <a:pt x="599" y="418"/>
                  <a:pt x="598" y="422"/>
                </a:cubicBezTo>
                <a:close/>
                <a:moveTo>
                  <a:pt x="595" y="356"/>
                </a:moveTo>
                <a:cubicBezTo>
                  <a:pt x="596" y="355"/>
                  <a:pt x="597" y="354"/>
                  <a:pt x="599" y="353"/>
                </a:cubicBezTo>
                <a:cubicBezTo>
                  <a:pt x="598" y="355"/>
                  <a:pt x="597" y="355"/>
                  <a:pt x="595" y="356"/>
                </a:cubicBezTo>
                <a:close/>
                <a:moveTo>
                  <a:pt x="686" y="310"/>
                </a:moveTo>
                <a:cubicBezTo>
                  <a:pt x="686" y="309"/>
                  <a:pt x="686" y="312"/>
                  <a:pt x="686" y="310"/>
                </a:cubicBezTo>
                <a:close/>
                <a:moveTo>
                  <a:pt x="679" y="298"/>
                </a:moveTo>
                <a:cubicBezTo>
                  <a:pt x="682" y="297"/>
                  <a:pt x="678" y="302"/>
                  <a:pt x="678" y="299"/>
                </a:cubicBezTo>
                <a:cubicBezTo>
                  <a:pt x="678" y="299"/>
                  <a:pt x="678" y="298"/>
                  <a:pt x="679" y="298"/>
                </a:cubicBezTo>
                <a:close/>
                <a:moveTo>
                  <a:pt x="676" y="297"/>
                </a:moveTo>
                <a:cubicBezTo>
                  <a:pt x="677" y="295"/>
                  <a:pt x="676" y="298"/>
                  <a:pt x="676" y="297"/>
                </a:cubicBezTo>
                <a:close/>
                <a:moveTo>
                  <a:pt x="671" y="307"/>
                </a:moveTo>
                <a:cubicBezTo>
                  <a:pt x="671" y="307"/>
                  <a:pt x="672" y="308"/>
                  <a:pt x="671" y="308"/>
                </a:cubicBezTo>
                <a:cubicBezTo>
                  <a:pt x="670" y="309"/>
                  <a:pt x="671" y="307"/>
                  <a:pt x="671" y="307"/>
                </a:cubicBezTo>
                <a:close/>
                <a:moveTo>
                  <a:pt x="672" y="331"/>
                </a:moveTo>
                <a:cubicBezTo>
                  <a:pt x="672" y="331"/>
                  <a:pt x="675" y="326"/>
                  <a:pt x="675" y="328"/>
                </a:cubicBezTo>
                <a:cubicBezTo>
                  <a:pt x="675" y="331"/>
                  <a:pt x="670" y="334"/>
                  <a:pt x="668" y="337"/>
                </a:cubicBezTo>
                <a:cubicBezTo>
                  <a:pt x="669" y="335"/>
                  <a:pt x="671" y="333"/>
                  <a:pt x="672" y="331"/>
                </a:cubicBezTo>
                <a:close/>
                <a:moveTo>
                  <a:pt x="669" y="271"/>
                </a:moveTo>
                <a:cubicBezTo>
                  <a:pt x="668" y="270"/>
                  <a:pt x="671" y="264"/>
                  <a:pt x="672" y="266"/>
                </a:cubicBezTo>
                <a:cubicBezTo>
                  <a:pt x="674" y="267"/>
                  <a:pt x="670" y="270"/>
                  <a:pt x="669" y="271"/>
                </a:cubicBezTo>
                <a:close/>
                <a:moveTo>
                  <a:pt x="674" y="235"/>
                </a:moveTo>
                <a:cubicBezTo>
                  <a:pt x="673" y="236"/>
                  <a:pt x="675" y="233"/>
                  <a:pt x="674" y="235"/>
                </a:cubicBezTo>
                <a:close/>
                <a:moveTo>
                  <a:pt x="676" y="252"/>
                </a:moveTo>
                <a:cubicBezTo>
                  <a:pt x="676" y="250"/>
                  <a:pt x="677" y="251"/>
                  <a:pt x="676" y="252"/>
                </a:cubicBezTo>
                <a:close/>
                <a:moveTo>
                  <a:pt x="673" y="222"/>
                </a:moveTo>
                <a:cubicBezTo>
                  <a:pt x="674" y="221"/>
                  <a:pt x="676" y="222"/>
                  <a:pt x="676" y="222"/>
                </a:cubicBezTo>
                <a:cubicBezTo>
                  <a:pt x="678" y="225"/>
                  <a:pt x="674" y="230"/>
                  <a:pt x="672" y="229"/>
                </a:cubicBezTo>
                <a:cubicBezTo>
                  <a:pt x="669" y="227"/>
                  <a:pt x="671" y="223"/>
                  <a:pt x="673" y="222"/>
                </a:cubicBezTo>
                <a:close/>
                <a:moveTo>
                  <a:pt x="669" y="233"/>
                </a:moveTo>
                <a:cubicBezTo>
                  <a:pt x="669" y="232"/>
                  <a:pt x="670" y="231"/>
                  <a:pt x="670" y="230"/>
                </a:cubicBezTo>
                <a:cubicBezTo>
                  <a:pt x="669" y="230"/>
                  <a:pt x="669" y="230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1" y="229"/>
                </a:cubicBezTo>
                <a:cubicBezTo>
                  <a:pt x="670" y="230"/>
                  <a:pt x="670" y="230"/>
                  <a:pt x="670" y="230"/>
                </a:cubicBezTo>
                <a:cubicBezTo>
                  <a:pt x="670" y="233"/>
                  <a:pt x="669" y="236"/>
                  <a:pt x="668" y="238"/>
                </a:cubicBezTo>
                <a:cubicBezTo>
                  <a:pt x="668" y="237"/>
                  <a:pt x="668" y="235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lose/>
                <a:moveTo>
                  <a:pt x="668" y="231"/>
                </a:moveTo>
                <a:cubicBezTo>
                  <a:pt x="668" y="233"/>
                  <a:pt x="666" y="231"/>
                  <a:pt x="668" y="231"/>
                </a:cubicBezTo>
                <a:close/>
                <a:moveTo>
                  <a:pt x="671" y="249"/>
                </a:moveTo>
                <a:cubicBezTo>
                  <a:pt x="670" y="250"/>
                  <a:pt x="668" y="251"/>
                  <a:pt x="666" y="252"/>
                </a:cubicBezTo>
                <a:cubicBezTo>
                  <a:pt x="667" y="250"/>
                  <a:pt x="669" y="250"/>
                  <a:pt x="671" y="249"/>
                </a:cubicBezTo>
                <a:close/>
                <a:moveTo>
                  <a:pt x="667" y="257"/>
                </a:moveTo>
                <a:cubicBezTo>
                  <a:pt x="667" y="258"/>
                  <a:pt x="666" y="260"/>
                  <a:pt x="665" y="261"/>
                </a:cubicBezTo>
                <a:cubicBezTo>
                  <a:pt x="665" y="259"/>
                  <a:pt x="667" y="259"/>
                  <a:pt x="667" y="257"/>
                </a:cubicBezTo>
                <a:close/>
                <a:moveTo>
                  <a:pt x="666" y="302"/>
                </a:moveTo>
                <a:cubicBezTo>
                  <a:pt x="666" y="302"/>
                  <a:pt x="666" y="302"/>
                  <a:pt x="666" y="301"/>
                </a:cubicBezTo>
                <a:cubicBezTo>
                  <a:pt x="666" y="300"/>
                  <a:pt x="667" y="302"/>
                  <a:pt x="666" y="302"/>
                </a:cubicBezTo>
                <a:close/>
                <a:moveTo>
                  <a:pt x="657" y="233"/>
                </a:moveTo>
                <a:cubicBezTo>
                  <a:pt x="657" y="233"/>
                  <a:pt x="657" y="233"/>
                  <a:pt x="657" y="233"/>
                </a:cubicBezTo>
                <a:cubicBezTo>
                  <a:pt x="657" y="235"/>
                  <a:pt x="655" y="233"/>
                  <a:pt x="657" y="233"/>
                </a:cubicBezTo>
                <a:close/>
                <a:moveTo>
                  <a:pt x="655" y="232"/>
                </a:moveTo>
                <a:cubicBezTo>
                  <a:pt x="656" y="232"/>
                  <a:pt x="656" y="234"/>
                  <a:pt x="655" y="234"/>
                </a:cubicBezTo>
                <a:cubicBezTo>
                  <a:pt x="654" y="233"/>
                  <a:pt x="655" y="232"/>
                  <a:pt x="655" y="232"/>
                </a:cubicBezTo>
                <a:close/>
                <a:moveTo>
                  <a:pt x="655" y="256"/>
                </a:moveTo>
                <a:cubicBezTo>
                  <a:pt x="657" y="254"/>
                  <a:pt x="657" y="259"/>
                  <a:pt x="655" y="259"/>
                </a:cubicBezTo>
                <a:cubicBezTo>
                  <a:pt x="654" y="258"/>
                  <a:pt x="654" y="256"/>
                  <a:pt x="655" y="256"/>
                </a:cubicBezTo>
                <a:close/>
                <a:moveTo>
                  <a:pt x="651" y="231"/>
                </a:moveTo>
                <a:cubicBezTo>
                  <a:pt x="651" y="231"/>
                  <a:pt x="652" y="230"/>
                  <a:pt x="653" y="231"/>
                </a:cubicBezTo>
                <a:cubicBezTo>
                  <a:pt x="654" y="232"/>
                  <a:pt x="650" y="234"/>
                  <a:pt x="651" y="231"/>
                </a:cubicBezTo>
                <a:close/>
                <a:moveTo>
                  <a:pt x="651" y="229"/>
                </a:moveTo>
                <a:cubicBezTo>
                  <a:pt x="651" y="228"/>
                  <a:pt x="650" y="231"/>
                  <a:pt x="651" y="229"/>
                </a:cubicBezTo>
                <a:close/>
                <a:moveTo>
                  <a:pt x="647" y="239"/>
                </a:moveTo>
                <a:cubicBezTo>
                  <a:pt x="648" y="237"/>
                  <a:pt x="650" y="241"/>
                  <a:pt x="647" y="241"/>
                </a:cubicBezTo>
                <a:cubicBezTo>
                  <a:pt x="647" y="240"/>
                  <a:pt x="646" y="239"/>
                  <a:pt x="647" y="239"/>
                </a:cubicBezTo>
                <a:close/>
                <a:moveTo>
                  <a:pt x="649" y="265"/>
                </a:moveTo>
                <a:cubicBezTo>
                  <a:pt x="650" y="264"/>
                  <a:pt x="651" y="260"/>
                  <a:pt x="653" y="260"/>
                </a:cubicBezTo>
                <a:cubicBezTo>
                  <a:pt x="657" y="258"/>
                  <a:pt x="649" y="267"/>
                  <a:pt x="648" y="268"/>
                </a:cubicBezTo>
                <a:cubicBezTo>
                  <a:pt x="650" y="266"/>
                  <a:pt x="648" y="270"/>
                  <a:pt x="647" y="269"/>
                </a:cubicBezTo>
                <a:cubicBezTo>
                  <a:pt x="646" y="269"/>
                  <a:pt x="648" y="266"/>
                  <a:pt x="649" y="265"/>
                </a:cubicBezTo>
                <a:close/>
                <a:moveTo>
                  <a:pt x="652" y="271"/>
                </a:moveTo>
                <a:cubicBezTo>
                  <a:pt x="653" y="272"/>
                  <a:pt x="651" y="272"/>
                  <a:pt x="651" y="272"/>
                </a:cubicBezTo>
                <a:cubicBezTo>
                  <a:pt x="651" y="271"/>
                  <a:pt x="652" y="270"/>
                  <a:pt x="652" y="271"/>
                </a:cubicBezTo>
                <a:close/>
                <a:moveTo>
                  <a:pt x="657" y="273"/>
                </a:moveTo>
                <a:cubicBezTo>
                  <a:pt x="653" y="278"/>
                  <a:pt x="649" y="282"/>
                  <a:pt x="643" y="286"/>
                </a:cubicBezTo>
                <a:cubicBezTo>
                  <a:pt x="648" y="281"/>
                  <a:pt x="652" y="277"/>
                  <a:pt x="657" y="273"/>
                </a:cubicBezTo>
                <a:close/>
                <a:moveTo>
                  <a:pt x="645" y="387"/>
                </a:moveTo>
                <a:cubicBezTo>
                  <a:pt x="645" y="389"/>
                  <a:pt x="643" y="388"/>
                  <a:pt x="645" y="387"/>
                </a:cubicBezTo>
                <a:close/>
                <a:moveTo>
                  <a:pt x="645" y="390"/>
                </a:moveTo>
                <a:cubicBezTo>
                  <a:pt x="645" y="388"/>
                  <a:pt x="644" y="391"/>
                  <a:pt x="645" y="390"/>
                </a:cubicBezTo>
                <a:close/>
                <a:moveTo>
                  <a:pt x="641" y="392"/>
                </a:moveTo>
                <a:cubicBezTo>
                  <a:pt x="642" y="391"/>
                  <a:pt x="642" y="390"/>
                  <a:pt x="643" y="389"/>
                </a:cubicBezTo>
                <a:cubicBezTo>
                  <a:pt x="643" y="390"/>
                  <a:pt x="643" y="391"/>
                  <a:pt x="641" y="392"/>
                </a:cubicBezTo>
                <a:close/>
                <a:moveTo>
                  <a:pt x="642" y="393"/>
                </a:moveTo>
                <a:cubicBezTo>
                  <a:pt x="643" y="393"/>
                  <a:pt x="640" y="395"/>
                  <a:pt x="642" y="393"/>
                </a:cubicBezTo>
                <a:close/>
                <a:moveTo>
                  <a:pt x="643" y="300"/>
                </a:moveTo>
                <a:cubicBezTo>
                  <a:pt x="642" y="300"/>
                  <a:pt x="643" y="299"/>
                  <a:pt x="643" y="299"/>
                </a:cubicBezTo>
                <a:cubicBezTo>
                  <a:pt x="644" y="297"/>
                  <a:pt x="644" y="301"/>
                  <a:pt x="643" y="300"/>
                </a:cubicBezTo>
                <a:close/>
                <a:moveTo>
                  <a:pt x="642" y="297"/>
                </a:moveTo>
                <a:cubicBezTo>
                  <a:pt x="642" y="296"/>
                  <a:pt x="643" y="296"/>
                  <a:pt x="644" y="295"/>
                </a:cubicBezTo>
                <a:cubicBezTo>
                  <a:pt x="644" y="296"/>
                  <a:pt x="643" y="297"/>
                  <a:pt x="642" y="297"/>
                </a:cubicBezTo>
                <a:close/>
                <a:moveTo>
                  <a:pt x="639" y="297"/>
                </a:moveTo>
                <a:cubicBezTo>
                  <a:pt x="638" y="296"/>
                  <a:pt x="644" y="290"/>
                  <a:pt x="645" y="290"/>
                </a:cubicBezTo>
                <a:cubicBezTo>
                  <a:pt x="645" y="289"/>
                  <a:pt x="646" y="289"/>
                  <a:pt x="647" y="289"/>
                </a:cubicBezTo>
                <a:cubicBezTo>
                  <a:pt x="647" y="289"/>
                  <a:pt x="640" y="298"/>
                  <a:pt x="639" y="297"/>
                </a:cubicBezTo>
                <a:close/>
                <a:moveTo>
                  <a:pt x="642" y="298"/>
                </a:moveTo>
                <a:cubicBezTo>
                  <a:pt x="641" y="300"/>
                  <a:pt x="639" y="299"/>
                  <a:pt x="642" y="298"/>
                </a:cubicBezTo>
                <a:close/>
                <a:moveTo>
                  <a:pt x="639" y="303"/>
                </a:moveTo>
                <a:cubicBezTo>
                  <a:pt x="639" y="303"/>
                  <a:pt x="639" y="302"/>
                  <a:pt x="639" y="302"/>
                </a:cubicBezTo>
                <a:cubicBezTo>
                  <a:pt x="641" y="300"/>
                  <a:pt x="640" y="304"/>
                  <a:pt x="639" y="303"/>
                </a:cubicBezTo>
                <a:close/>
                <a:moveTo>
                  <a:pt x="640" y="320"/>
                </a:moveTo>
                <a:cubicBezTo>
                  <a:pt x="640" y="320"/>
                  <a:pt x="639" y="321"/>
                  <a:pt x="639" y="321"/>
                </a:cubicBezTo>
                <a:cubicBezTo>
                  <a:pt x="638" y="321"/>
                  <a:pt x="639" y="320"/>
                  <a:pt x="640" y="320"/>
                </a:cubicBezTo>
                <a:close/>
                <a:moveTo>
                  <a:pt x="638" y="266"/>
                </a:moveTo>
                <a:cubicBezTo>
                  <a:pt x="637" y="266"/>
                  <a:pt x="639" y="265"/>
                  <a:pt x="638" y="264"/>
                </a:cubicBezTo>
                <a:cubicBezTo>
                  <a:pt x="639" y="264"/>
                  <a:pt x="638" y="266"/>
                  <a:pt x="638" y="266"/>
                </a:cubicBezTo>
                <a:close/>
                <a:moveTo>
                  <a:pt x="638" y="268"/>
                </a:moveTo>
                <a:cubicBezTo>
                  <a:pt x="638" y="268"/>
                  <a:pt x="638" y="269"/>
                  <a:pt x="638" y="269"/>
                </a:cubicBezTo>
                <a:cubicBezTo>
                  <a:pt x="638" y="269"/>
                  <a:pt x="638" y="269"/>
                  <a:pt x="638" y="269"/>
                </a:cubicBezTo>
                <a:cubicBezTo>
                  <a:pt x="638" y="269"/>
                  <a:pt x="638" y="269"/>
                  <a:pt x="638" y="268"/>
                </a:cubicBezTo>
                <a:close/>
                <a:moveTo>
                  <a:pt x="642" y="286"/>
                </a:moveTo>
                <a:cubicBezTo>
                  <a:pt x="642" y="287"/>
                  <a:pt x="639" y="289"/>
                  <a:pt x="638" y="290"/>
                </a:cubicBezTo>
                <a:cubicBezTo>
                  <a:pt x="638" y="288"/>
                  <a:pt x="641" y="288"/>
                  <a:pt x="642" y="286"/>
                </a:cubicBezTo>
                <a:close/>
                <a:moveTo>
                  <a:pt x="644" y="234"/>
                </a:moveTo>
                <a:cubicBezTo>
                  <a:pt x="643" y="235"/>
                  <a:pt x="643" y="234"/>
                  <a:pt x="644" y="234"/>
                </a:cubicBezTo>
                <a:close/>
                <a:moveTo>
                  <a:pt x="643" y="251"/>
                </a:moveTo>
                <a:cubicBezTo>
                  <a:pt x="643" y="252"/>
                  <a:pt x="642" y="253"/>
                  <a:pt x="642" y="253"/>
                </a:cubicBezTo>
                <a:cubicBezTo>
                  <a:pt x="642" y="253"/>
                  <a:pt x="642" y="251"/>
                  <a:pt x="643" y="251"/>
                </a:cubicBezTo>
                <a:close/>
                <a:moveTo>
                  <a:pt x="645" y="254"/>
                </a:moveTo>
                <a:cubicBezTo>
                  <a:pt x="643" y="257"/>
                  <a:pt x="641" y="258"/>
                  <a:pt x="638" y="260"/>
                </a:cubicBezTo>
                <a:cubicBezTo>
                  <a:pt x="640" y="258"/>
                  <a:pt x="642" y="256"/>
                  <a:pt x="645" y="254"/>
                </a:cubicBezTo>
                <a:close/>
                <a:moveTo>
                  <a:pt x="640" y="225"/>
                </a:moveTo>
                <a:cubicBezTo>
                  <a:pt x="640" y="225"/>
                  <a:pt x="640" y="225"/>
                  <a:pt x="640" y="225"/>
                </a:cubicBezTo>
                <a:cubicBezTo>
                  <a:pt x="640" y="225"/>
                  <a:pt x="640" y="225"/>
                  <a:pt x="640" y="226"/>
                </a:cubicBezTo>
                <a:cubicBezTo>
                  <a:pt x="640" y="226"/>
                  <a:pt x="640" y="226"/>
                  <a:pt x="640" y="225"/>
                </a:cubicBezTo>
                <a:close/>
                <a:moveTo>
                  <a:pt x="640" y="241"/>
                </a:moveTo>
                <a:cubicBezTo>
                  <a:pt x="641" y="243"/>
                  <a:pt x="638" y="244"/>
                  <a:pt x="638" y="242"/>
                </a:cubicBezTo>
                <a:cubicBezTo>
                  <a:pt x="637" y="241"/>
                  <a:pt x="640" y="239"/>
                  <a:pt x="640" y="241"/>
                </a:cubicBezTo>
                <a:close/>
                <a:moveTo>
                  <a:pt x="638" y="290"/>
                </a:moveTo>
                <a:cubicBezTo>
                  <a:pt x="639" y="291"/>
                  <a:pt x="635" y="292"/>
                  <a:pt x="636" y="290"/>
                </a:cubicBezTo>
                <a:cubicBezTo>
                  <a:pt x="637" y="289"/>
                  <a:pt x="637" y="289"/>
                  <a:pt x="638" y="290"/>
                </a:cubicBezTo>
                <a:close/>
                <a:moveTo>
                  <a:pt x="637" y="302"/>
                </a:move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lose/>
                <a:moveTo>
                  <a:pt x="632" y="265"/>
                </a:moveTo>
                <a:cubicBezTo>
                  <a:pt x="633" y="264"/>
                  <a:pt x="635" y="262"/>
                  <a:pt x="636" y="262"/>
                </a:cubicBezTo>
                <a:cubicBezTo>
                  <a:pt x="636" y="262"/>
                  <a:pt x="634" y="265"/>
                  <a:pt x="632" y="265"/>
                </a:cubicBezTo>
                <a:close/>
                <a:moveTo>
                  <a:pt x="637" y="219"/>
                </a:moveTo>
                <a:cubicBezTo>
                  <a:pt x="637" y="221"/>
                  <a:pt x="634" y="221"/>
                  <a:pt x="634" y="219"/>
                </a:cubicBezTo>
                <a:cubicBezTo>
                  <a:pt x="634" y="218"/>
                  <a:pt x="636" y="217"/>
                  <a:pt x="637" y="219"/>
                </a:cubicBezTo>
                <a:close/>
                <a:moveTo>
                  <a:pt x="633" y="221"/>
                </a:moveTo>
                <a:cubicBezTo>
                  <a:pt x="633" y="221"/>
                  <a:pt x="635" y="221"/>
                  <a:pt x="634" y="222"/>
                </a:cubicBezTo>
                <a:cubicBezTo>
                  <a:pt x="634" y="222"/>
                  <a:pt x="632" y="222"/>
                  <a:pt x="633" y="221"/>
                </a:cubicBezTo>
                <a:close/>
                <a:moveTo>
                  <a:pt x="633" y="253"/>
                </a:moveTo>
                <a:cubicBezTo>
                  <a:pt x="633" y="254"/>
                  <a:pt x="632" y="254"/>
                  <a:pt x="631" y="254"/>
                </a:cubicBezTo>
                <a:cubicBezTo>
                  <a:pt x="631" y="253"/>
                  <a:pt x="632" y="252"/>
                  <a:pt x="633" y="253"/>
                </a:cubicBezTo>
                <a:close/>
                <a:moveTo>
                  <a:pt x="630" y="260"/>
                </a:moveTo>
                <a:cubicBezTo>
                  <a:pt x="630" y="260"/>
                  <a:pt x="630" y="260"/>
                  <a:pt x="630" y="261"/>
                </a:cubicBezTo>
                <a:cubicBezTo>
                  <a:pt x="630" y="261"/>
                  <a:pt x="630" y="261"/>
                  <a:pt x="630" y="261"/>
                </a:cubicBezTo>
                <a:cubicBezTo>
                  <a:pt x="630" y="261"/>
                  <a:pt x="630" y="260"/>
                  <a:pt x="630" y="260"/>
                </a:cubicBezTo>
                <a:close/>
                <a:moveTo>
                  <a:pt x="632" y="277"/>
                </a:moveTo>
                <a:cubicBezTo>
                  <a:pt x="634" y="279"/>
                  <a:pt x="631" y="281"/>
                  <a:pt x="629" y="281"/>
                </a:cubicBezTo>
                <a:cubicBezTo>
                  <a:pt x="629" y="280"/>
                  <a:pt x="631" y="277"/>
                  <a:pt x="632" y="277"/>
                </a:cubicBezTo>
                <a:close/>
                <a:moveTo>
                  <a:pt x="632" y="347"/>
                </a:moveTo>
                <a:cubicBezTo>
                  <a:pt x="632" y="347"/>
                  <a:pt x="632" y="346"/>
                  <a:pt x="632" y="346"/>
                </a:cubicBezTo>
                <a:cubicBezTo>
                  <a:pt x="633" y="344"/>
                  <a:pt x="632" y="348"/>
                  <a:pt x="632" y="347"/>
                </a:cubicBezTo>
                <a:close/>
                <a:moveTo>
                  <a:pt x="630" y="294"/>
                </a:moveTo>
                <a:cubicBezTo>
                  <a:pt x="630" y="295"/>
                  <a:pt x="629" y="295"/>
                  <a:pt x="629" y="295"/>
                </a:cubicBezTo>
                <a:cubicBezTo>
                  <a:pt x="629" y="295"/>
                  <a:pt x="629" y="294"/>
                  <a:pt x="630" y="294"/>
                </a:cubicBezTo>
                <a:close/>
                <a:moveTo>
                  <a:pt x="627" y="314"/>
                </a:moveTo>
                <a:cubicBezTo>
                  <a:pt x="627" y="314"/>
                  <a:pt x="628" y="314"/>
                  <a:pt x="628" y="314"/>
                </a:cubicBezTo>
                <a:cubicBezTo>
                  <a:pt x="629" y="315"/>
                  <a:pt x="627" y="315"/>
                  <a:pt x="627" y="314"/>
                </a:cubicBezTo>
                <a:close/>
                <a:moveTo>
                  <a:pt x="628" y="256"/>
                </a:moveTo>
                <a:cubicBezTo>
                  <a:pt x="628" y="254"/>
                  <a:pt x="627" y="257"/>
                  <a:pt x="628" y="256"/>
                </a:cubicBezTo>
                <a:close/>
                <a:moveTo>
                  <a:pt x="626" y="201"/>
                </a:moveTo>
                <a:cubicBezTo>
                  <a:pt x="624" y="200"/>
                  <a:pt x="625" y="198"/>
                  <a:pt x="626" y="198"/>
                </a:cubicBezTo>
                <a:cubicBezTo>
                  <a:pt x="629" y="196"/>
                  <a:pt x="628" y="201"/>
                  <a:pt x="626" y="201"/>
                </a:cubicBezTo>
                <a:close/>
                <a:moveTo>
                  <a:pt x="625" y="187"/>
                </a:moveTo>
                <a:cubicBezTo>
                  <a:pt x="625" y="186"/>
                  <a:pt x="626" y="186"/>
                  <a:pt x="626" y="186"/>
                </a:cubicBezTo>
                <a:cubicBezTo>
                  <a:pt x="627" y="187"/>
                  <a:pt x="624" y="188"/>
                  <a:pt x="625" y="187"/>
                </a:cubicBezTo>
                <a:close/>
                <a:moveTo>
                  <a:pt x="622" y="226"/>
                </a:moveTo>
                <a:cubicBezTo>
                  <a:pt x="617" y="226"/>
                  <a:pt x="619" y="218"/>
                  <a:pt x="621" y="217"/>
                </a:cubicBezTo>
                <a:cubicBezTo>
                  <a:pt x="629" y="212"/>
                  <a:pt x="628" y="227"/>
                  <a:pt x="622" y="226"/>
                </a:cubicBezTo>
                <a:close/>
                <a:moveTo>
                  <a:pt x="619" y="233"/>
                </a:moveTo>
                <a:cubicBezTo>
                  <a:pt x="618" y="232"/>
                  <a:pt x="623" y="228"/>
                  <a:pt x="624" y="228"/>
                </a:cubicBezTo>
                <a:cubicBezTo>
                  <a:pt x="628" y="226"/>
                  <a:pt x="620" y="234"/>
                  <a:pt x="619" y="233"/>
                </a:cubicBezTo>
                <a:close/>
                <a:moveTo>
                  <a:pt x="625" y="235"/>
                </a:moveTo>
                <a:cubicBezTo>
                  <a:pt x="625" y="236"/>
                  <a:pt x="623" y="237"/>
                  <a:pt x="623" y="236"/>
                </a:cubicBezTo>
                <a:cubicBezTo>
                  <a:pt x="622" y="235"/>
                  <a:pt x="624" y="234"/>
                  <a:pt x="625" y="235"/>
                </a:cubicBezTo>
                <a:close/>
                <a:moveTo>
                  <a:pt x="622" y="357"/>
                </a:move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lose/>
                <a:moveTo>
                  <a:pt x="608" y="328"/>
                </a:moveTo>
                <a:cubicBezTo>
                  <a:pt x="608" y="327"/>
                  <a:pt x="611" y="326"/>
                  <a:pt x="612" y="324"/>
                </a:cubicBezTo>
                <a:cubicBezTo>
                  <a:pt x="615" y="321"/>
                  <a:pt x="617" y="315"/>
                  <a:pt x="621" y="313"/>
                </a:cubicBezTo>
                <a:cubicBezTo>
                  <a:pt x="621" y="317"/>
                  <a:pt x="615" y="319"/>
                  <a:pt x="614" y="322"/>
                </a:cubicBezTo>
                <a:cubicBezTo>
                  <a:pt x="613" y="324"/>
                  <a:pt x="610" y="329"/>
                  <a:pt x="607" y="331"/>
                </a:cubicBezTo>
                <a:cubicBezTo>
                  <a:pt x="607" y="331"/>
                  <a:pt x="607" y="333"/>
                  <a:pt x="606" y="332"/>
                </a:cubicBezTo>
                <a:cubicBezTo>
                  <a:pt x="605" y="331"/>
                  <a:pt x="608" y="328"/>
                  <a:pt x="608" y="328"/>
                </a:cubicBezTo>
                <a:close/>
                <a:moveTo>
                  <a:pt x="605" y="271"/>
                </a:moveTo>
                <a:cubicBezTo>
                  <a:pt x="604" y="270"/>
                  <a:pt x="605" y="269"/>
                  <a:pt x="605" y="269"/>
                </a:cubicBezTo>
                <a:cubicBezTo>
                  <a:pt x="608" y="267"/>
                  <a:pt x="606" y="272"/>
                  <a:pt x="605" y="271"/>
                </a:cubicBezTo>
                <a:close/>
                <a:moveTo>
                  <a:pt x="609" y="243"/>
                </a:moveTo>
                <a:cubicBezTo>
                  <a:pt x="608" y="242"/>
                  <a:pt x="610" y="241"/>
                  <a:pt x="611" y="243"/>
                </a:cubicBezTo>
                <a:cubicBezTo>
                  <a:pt x="611" y="244"/>
                  <a:pt x="609" y="244"/>
                  <a:pt x="609" y="243"/>
                </a:cubicBezTo>
                <a:close/>
                <a:moveTo>
                  <a:pt x="611" y="305"/>
                </a:moveTo>
                <a:cubicBezTo>
                  <a:pt x="610" y="306"/>
                  <a:pt x="611" y="304"/>
                  <a:pt x="611" y="305"/>
                </a:cubicBezTo>
                <a:close/>
                <a:moveTo>
                  <a:pt x="613" y="298"/>
                </a:moveTo>
                <a:cubicBezTo>
                  <a:pt x="613" y="298"/>
                  <a:pt x="613" y="298"/>
                  <a:pt x="613" y="298"/>
                </a:cubicBezTo>
                <a:cubicBezTo>
                  <a:pt x="614" y="295"/>
                  <a:pt x="613" y="300"/>
                  <a:pt x="613" y="298"/>
                </a:cubicBezTo>
                <a:close/>
                <a:moveTo>
                  <a:pt x="617" y="261"/>
                </a:moveTo>
                <a:cubicBezTo>
                  <a:pt x="617" y="262"/>
                  <a:pt x="616" y="262"/>
                  <a:pt x="615" y="263"/>
                </a:cubicBezTo>
                <a:cubicBezTo>
                  <a:pt x="615" y="262"/>
                  <a:pt x="616" y="261"/>
                  <a:pt x="617" y="261"/>
                </a:cubicBezTo>
                <a:close/>
                <a:moveTo>
                  <a:pt x="616" y="238"/>
                </a:moveTo>
                <a:cubicBezTo>
                  <a:pt x="616" y="238"/>
                  <a:pt x="616" y="239"/>
                  <a:pt x="615" y="239"/>
                </a:cubicBezTo>
                <a:cubicBezTo>
                  <a:pt x="615" y="238"/>
                  <a:pt x="615" y="238"/>
                  <a:pt x="616" y="238"/>
                </a:cubicBezTo>
                <a:close/>
                <a:moveTo>
                  <a:pt x="618" y="309"/>
                </a:moveTo>
                <a:cubicBezTo>
                  <a:pt x="618" y="309"/>
                  <a:pt x="618" y="308"/>
                  <a:pt x="618" y="308"/>
                </a:cubicBezTo>
                <a:cubicBezTo>
                  <a:pt x="619" y="306"/>
                  <a:pt x="618" y="311"/>
                  <a:pt x="618" y="309"/>
                </a:cubicBezTo>
                <a:close/>
                <a:moveTo>
                  <a:pt x="618" y="295"/>
                </a:moveTo>
                <a:cubicBezTo>
                  <a:pt x="619" y="293"/>
                  <a:pt x="618" y="296"/>
                  <a:pt x="618" y="295"/>
                </a:cubicBezTo>
                <a:close/>
                <a:moveTo>
                  <a:pt x="620" y="301"/>
                </a:moveTo>
                <a:cubicBezTo>
                  <a:pt x="619" y="302"/>
                  <a:pt x="621" y="300"/>
                  <a:pt x="620" y="301"/>
                </a:cubicBezTo>
                <a:close/>
                <a:moveTo>
                  <a:pt x="621" y="333"/>
                </a:moveTo>
                <a:cubicBezTo>
                  <a:pt x="620" y="335"/>
                  <a:pt x="619" y="336"/>
                  <a:pt x="618" y="337"/>
                </a:cubicBezTo>
                <a:cubicBezTo>
                  <a:pt x="619" y="336"/>
                  <a:pt x="620" y="334"/>
                  <a:pt x="621" y="333"/>
                </a:cubicBezTo>
                <a:close/>
                <a:moveTo>
                  <a:pt x="622" y="194"/>
                </a:moveTo>
                <a:cubicBezTo>
                  <a:pt x="621" y="194"/>
                  <a:pt x="622" y="192"/>
                  <a:pt x="623" y="193"/>
                </a:cubicBezTo>
                <a:cubicBezTo>
                  <a:pt x="623" y="194"/>
                  <a:pt x="622" y="195"/>
                  <a:pt x="622" y="194"/>
                </a:cubicBezTo>
                <a:close/>
                <a:moveTo>
                  <a:pt x="619" y="192"/>
                </a:moveTo>
                <a:cubicBezTo>
                  <a:pt x="619" y="192"/>
                  <a:pt x="619" y="192"/>
                  <a:pt x="620" y="191"/>
                </a:cubicBezTo>
                <a:cubicBezTo>
                  <a:pt x="620" y="192"/>
                  <a:pt x="620" y="192"/>
                  <a:pt x="620" y="192"/>
                </a:cubicBezTo>
                <a:cubicBezTo>
                  <a:pt x="621" y="191"/>
                  <a:pt x="622" y="190"/>
                  <a:pt x="623" y="190"/>
                </a:cubicBezTo>
                <a:cubicBezTo>
                  <a:pt x="622" y="192"/>
                  <a:pt x="620" y="193"/>
                  <a:pt x="617" y="194"/>
                </a:cubicBezTo>
                <a:cubicBezTo>
                  <a:pt x="618" y="193"/>
                  <a:pt x="618" y="193"/>
                  <a:pt x="619" y="192"/>
                </a:cubicBezTo>
                <a:close/>
                <a:moveTo>
                  <a:pt x="615" y="194"/>
                </a:moveTo>
                <a:cubicBezTo>
                  <a:pt x="616" y="194"/>
                  <a:pt x="617" y="193"/>
                  <a:pt x="617" y="194"/>
                </a:cubicBezTo>
                <a:cubicBezTo>
                  <a:pt x="618" y="195"/>
                  <a:pt x="613" y="196"/>
                  <a:pt x="615" y="194"/>
                </a:cubicBezTo>
                <a:close/>
                <a:moveTo>
                  <a:pt x="612" y="214"/>
                </a:moveTo>
                <a:cubicBezTo>
                  <a:pt x="613" y="215"/>
                  <a:pt x="612" y="215"/>
                  <a:pt x="611" y="214"/>
                </a:cubicBezTo>
                <a:cubicBezTo>
                  <a:pt x="611" y="214"/>
                  <a:pt x="612" y="213"/>
                  <a:pt x="612" y="214"/>
                </a:cubicBezTo>
                <a:close/>
                <a:moveTo>
                  <a:pt x="609" y="203"/>
                </a:moveTo>
                <a:cubicBezTo>
                  <a:pt x="611" y="201"/>
                  <a:pt x="611" y="205"/>
                  <a:pt x="609" y="205"/>
                </a:cubicBezTo>
                <a:cubicBezTo>
                  <a:pt x="609" y="204"/>
                  <a:pt x="609" y="204"/>
                  <a:pt x="609" y="203"/>
                </a:cubicBezTo>
                <a:close/>
                <a:moveTo>
                  <a:pt x="609" y="219"/>
                </a:moveTo>
                <a:cubicBezTo>
                  <a:pt x="612" y="218"/>
                  <a:pt x="616" y="215"/>
                  <a:pt x="620" y="214"/>
                </a:cubicBezTo>
                <a:cubicBezTo>
                  <a:pt x="617" y="216"/>
                  <a:pt x="611" y="220"/>
                  <a:pt x="608" y="221"/>
                </a:cubicBezTo>
                <a:cubicBezTo>
                  <a:pt x="609" y="221"/>
                  <a:pt x="607" y="222"/>
                  <a:pt x="607" y="221"/>
                </a:cubicBezTo>
                <a:cubicBezTo>
                  <a:pt x="606" y="220"/>
                  <a:pt x="609" y="220"/>
                  <a:pt x="609" y="219"/>
                </a:cubicBezTo>
                <a:close/>
                <a:moveTo>
                  <a:pt x="610" y="253"/>
                </a:moveTo>
                <a:cubicBezTo>
                  <a:pt x="610" y="255"/>
                  <a:pt x="605" y="256"/>
                  <a:pt x="605" y="255"/>
                </a:cubicBezTo>
                <a:cubicBezTo>
                  <a:pt x="604" y="252"/>
                  <a:pt x="610" y="249"/>
                  <a:pt x="610" y="253"/>
                </a:cubicBezTo>
                <a:close/>
                <a:moveTo>
                  <a:pt x="602" y="194"/>
                </a:moveTo>
                <a:cubicBezTo>
                  <a:pt x="602" y="194"/>
                  <a:pt x="603" y="194"/>
                  <a:pt x="603" y="194"/>
                </a:cubicBezTo>
                <a:cubicBezTo>
                  <a:pt x="604" y="196"/>
                  <a:pt x="601" y="196"/>
                  <a:pt x="602" y="194"/>
                </a:cubicBezTo>
                <a:close/>
                <a:moveTo>
                  <a:pt x="604" y="256"/>
                </a:moveTo>
                <a:cubicBezTo>
                  <a:pt x="604" y="257"/>
                  <a:pt x="606" y="258"/>
                  <a:pt x="606" y="259"/>
                </a:cubicBezTo>
                <a:cubicBezTo>
                  <a:pt x="605" y="261"/>
                  <a:pt x="604" y="259"/>
                  <a:pt x="603" y="260"/>
                </a:cubicBezTo>
                <a:cubicBezTo>
                  <a:pt x="601" y="262"/>
                  <a:pt x="602" y="267"/>
                  <a:pt x="600" y="270"/>
                </a:cubicBezTo>
                <a:cubicBezTo>
                  <a:pt x="600" y="265"/>
                  <a:pt x="602" y="261"/>
                  <a:pt x="604" y="256"/>
                </a:cubicBezTo>
                <a:close/>
                <a:moveTo>
                  <a:pt x="600" y="272"/>
                </a:moveTo>
                <a:cubicBezTo>
                  <a:pt x="600" y="271"/>
                  <a:pt x="602" y="269"/>
                  <a:pt x="603" y="271"/>
                </a:cubicBezTo>
                <a:cubicBezTo>
                  <a:pt x="603" y="273"/>
                  <a:pt x="601" y="273"/>
                  <a:pt x="600" y="272"/>
                </a:cubicBezTo>
                <a:close/>
                <a:moveTo>
                  <a:pt x="601" y="310"/>
                </a:moveTo>
                <a:cubicBezTo>
                  <a:pt x="600" y="310"/>
                  <a:pt x="601" y="310"/>
                  <a:pt x="601" y="310"/>
                </a:cubicBezTo>
                <a:cubicBezTo>
                  <a:pt x="602" y="310"/>
                  <a:pt x="601" y="310"/>
                  <a:pt x="601" y="310"/>
                </a:cubicBezTo>
                <a:close/>
                <a:moveTo>
                  <a:pt x="602" y="303"/>
                </a:moveTo>
                <a:cubicBezTo>
                  <a:pt x="602" y="302"/>
                  <a:pt x="603" y="302"/>
                  <a:pt x="603" y="302"/>
                </a:cubicBezTo>
                <a:cubicBezTo>
                  <a:pt x="604" y="302"/>
                  <a:pt x="602" y="304"/>
                  <a:pt x="602" y="303"/>
                </a:cubicBezTo>
                <a:close/>
                <a:moveTo>
                  <a:pt x="607" y="416"/>
                </a:moveTo>
                <a:cubicBezTo>
                  <a:pt x="607" y="415"/>
                  <a:pt x="607" y="415"/>
                  <a:pt x="608" y="414"/>
                </a:cubicBezTo>
                <a:cubicBezTo>
                  <a:pt x="607" y="415"/>
                  <a:pt x="607" y="416"/>
                  <a:pt x="607" y="416"/>
                </a:cubicBezTo>
                <a:close/>
                <a:moveTo>
                  <a:pt x="608" y="393"/>
                </a:moveTo>
                <a:cubicBezTo>
                  <a:pt x="608" y="392"/>
                  <a:pt x="609" y="391"/>
                  <a:pt x="610" y="390"/>
                </a:cubicBezTo>
                <a:cubicBezTo>
                  <a:pt x="610" y="390"/>
                  <a:pt x="609" y="392"/>
                  <a:pt x="608" y="393"/>
                </a:cubicBezTo>
                <a:close/>
                <a:moveTo>
                  <a:pt x="600" y="353"/>
                </a:moveTo>
                <a:cubicBezTo>
                  <a:pt x="601" y="350"/>
                  <a:pt x="607" y="346"/>
                  <a:pt x="610" y="343"/>
                </a:cubicBezTo>
                <a:cubicBezTo>
                  <a:pt x="608" y="347"/>
                  <a:pt x="603" y="350"/>
                  <a:pt x="600" y="353"/>
                </a:cubicBezTo>
                <a:close/>
                <a:moveTo>
                  <a:pt x="611" y="388"/>
                </a:moveTo>
                <a:cubicBezTo>
                  <a:pt x="610" y="388"/>
                  <a:pt x="612" y="387"/>
                  <a:pt x="611" y="388"/>
                </a:cubicBezTo>
                <a:close/>
                <a:moveTo>
                  <a:pt x="612" y="387"/>
                </a:moveTo>
                <a:cubicBezTo>
                  <a:pt x="612" y="386"/>
                  <a:pt x="612" y="386"/>
                  <a:pt x="613" y="385"/>
                </a:cubicBezTo>
                <a:cubicBezTo>
                  <a:pt x="613" y="386"/>
                  <a:pt x="612" y="387"/>
                  <a:pt x="612" y="387"/>
                </a:cubicBezTo>
                <a:close/>
                <a:moveTo>
                  <a:pt x="611" y="344"/>
                </a:moveTo>
                <a:cubicBezTo>
                  <a:pt x="612" y="342"/>
                  <a:pt x="613" y="341"/>
                  <a:pt x="616" y="339"/>
                </a:cubicBezTo>
                <a:cubicBezTo>
                  <a:pt x="614" y="341"/>
                  <a:pt x="613" y="343"/>
                  <a:pt x="611" y="344"/>
                </a:cubicBezTo>
                <a:close/>
                <a:moveTo>
                  <a:pt x="615" y="357"/>
                </a:moveTo>
                <a:cubicBezTo>
                  <a:pt x="615" y="357"/>
                  <a:pt x="616" y="356"/>
                  <a:pt x="617" y="356"/>
                </a:cubicBezTo>
                <a:cubicBezTo>
                  <a:pt x="616" y="357"/>
                  <a:pt x="615" y="357"/>
                  <a:pt x="615" y="357"/>
                </a:cubicBezTo>
                <a:close/>
                <a:moveTo>
                  <a:pt x="617" y="539"/>
                </a:moveTo>
                <a:cubicBezTo>
                  <a:pt x="616" y="539"/>
                  <a:pt x="617" y="537"/>
                  <a:pt x="618" y="537"/>
                </a:cubicBezTo>
                <a:cubicBezTo>
                  <a:pt x="618" y="538"/>
                  <a:pt x="617" y="539"/>
                  <a:pt x="617" y="539"/>
                </a:cubicBezTo>
                <a:close/>
                <a:moveTo>
                  <a:pt x="618" y="445"/>
                </a:moveTo>
                <a:cubicBezTo>
                  <a:pt x="617" y="445"/>
                  <a:pt x="618" y="443"/>
                  <a:pt x="618" y="443"/>
                </a:cubicBezTo>
                <a:cubicBezTo>
                  <a:pt x="620" y="441"/>
                  <a:pt x="619" y="446"/>
                  <a:pt x="618" y="445"/>
                </a:cubicBezTo>
                <a:close/>
                <a:moveTo>
                  <a:pt x="619" y="557"/>
                </a:moveTo>
                <a:cubicBezTo>
                  <a:pt x="619" y="557"/>
                  <a:pt x="619" y="556"/>
                  <a:pt x="619" y="557"/>
                </a:cubicBezTo>
                <a:cubicBezTo>
                  <a:pt x="620" y="557"/>
                  <a:pt x="619" y="558"/>
                  <a:pt x="619" y="557"/>
                </a:cubicBezTo>
                <a:close/>
                <a:moveTo>
                  <a:pt x="619" y="347"/>
                </a:moveTo>
                <a:cubicBezTo>
                  <a:pt x="618" y="347"/>
                  <a:pt x="619" y="345"/>
                  <a:pt x="619" y="345"/>
                </a:cubicBezTo>
                <a:cubicBezTo>
                  <a:pt x="621" y="342"/>
                  <a:pt x="620" y="348"/>
                  <a:pt x="619" y="347"/>
                </a:cubicBezTo>
                <a:close/>
                <a:moveTo>
                  <a:pt x="620" y="435"/>
                </a:moveTo>
                <a:cubicBezTo>
                  <a:pt x="621" y="434"/>
                  <a:pt x="619" y="437"/>
                  <a:pt x="620" y="435"/>
                </a:cubicBezTo>
                <a:close/>
                <a:moveTo>
                  <a:pt x="623" y="526"/>
                </a:moveTo>
                <a:cubicBezTo>
                  <a:pt x="624" y="527"/>
                  <a:pt x="622" y="529"/>
                  <a:pt x="621" y="530"/>
                </a:cubicBezTo>
                <a:cubicBezTo>
                  <a:pt x="621" y="529"/>
                  <a:pt x="623" y="527"/>
                  <a:pt x="623" y="526"/>
                </a:cubicBezTo>
                <a:close/>
                <a:moveTo>
                  <a:pt x="622" y="561"/>
                </a:moveTo>
                <a:cubicBezTo>
                  <a:pt x="621" y="560"/>
                  <a:pt x="622" y="558"/>
                  <a:pt x="622" y="558"/>
                </a:cubicBezTo>
                <a:cubicBezTo>
                  <a:pt x="625" y="555"/>
                  <a:pt x="624" y="562"/>
                  <a:pt x="622" y="561"/>
                </a:cubicBezTo>
                <a:close/>
                <a:moveTo>
                  <a:pt x="624" y="492"/>
                </a:moveTo>
                <a:cubicBezTo>
                  <a:pt x="624" y="490"/>
                  <a:pt x="623" y="493"/>
                  <a:pt x="624" y="492"/>
                </a:cubicBezTo>
                <a:close/>
                <a:moveTo>
                  <a:pt x="625" y="381"/>
                </a:moveTo>
                <a:cubicBezTo>
                  <a:pt x="625" y="381"/>
                  <a:pt x="624" y="381"/>
                  <a:pt x="624" y="381"/>
                </a:cubicBezTo>
                <a:cubicBezTo>
                  <a:pt x="625" y="379"/>
                  <a:pt x="626" y="381"/>
                  <a:pt x="625" y="381"/>
                </a:cubicBezTo>
                <a:close/>
                <a:moveTo>
                  <a:pt x="624" y="254"/>
                </a:moveTo>
                <a:cubicBezTo>
                  <a:pt x="624" y="254"/>
                  <a:pt x="625" y="253"/>
                  <a:pt x="625" y="253"/>
                </a:cubicBezTo>
                <a:cubicBezTo>
                  <a:pt x="626" y="252"/>
                  <a:pt x="625" y="255"/>
                  <a:pt x="624" y="254"/>
                </a:cubicBezTo>
                <a:close/>
                <a:moveTo>
                  <a:pt x="626" y="488"/>
                </a:moveTo>
                <a:cubicBezTo>
                  <a:pt x="626" y="488"/>
                  <a:pt x="627" y="486"/>
                  <a:pt x="627" y="486"/>
                </a:cubicBezTo>
                <a:cubicBezTo>
                  <a:pt x="627" y="487"/>
                  <a:pt x="626" y="487"/>
                  <a:pt x="626" y="488"/>
                </a:cubicBezTo>
                <a:close/>
                <a:moveTo>
                  <a:pt x="628" y="522"/>
                </a:moveTo>
                <a:cubicBezTo>
                  <a:pt x="626" y="521"/>
                  <a:pt x="628" y="521"/>
                  <a:pt x="628" y="522"/>
                </a:cubicBezTo>
                <a:close/>
                <a:moveTo>
                  <a:pt x="633" y="526"/>
                </a:moveTo>
                <a:cubicBezTo>
                  <a:pt x="634" y="528"/>
                  <a:pt x="631" y="529"/>
                  <a:pt x="633" y="526"/>
                </a:cubicBezTo>
                <a:close/>
                <a:moveTo>
                  <a:pt x="628" y="417"/>
                </a:moveTo>
                <a:cubicBezTo>
                  <a:pt x="630" y="415"/>
                  <a:pt x="631" y="410"/>
                  <a:pt x="634" y="409"/>
                </a:cubicBezTo>
                <a:cubicBezTo>
                  <a:pt x="633" y="409"/>
                  <a:pt x="631" y="417"/>
                  <a:pt x="628" y="417"/>
                </a:cubicBezTo>
                <a:close/>
                <a:moveTo>
                  <a:pt x="633" y="310"/>
                </a:moveTo>
                <a:cubicBezTo>
                  <a:pt x="632" y="309"/>
                  <a:pt x="634" y="305"/>
                  <a:pt x="634" y="305"/>
                </a:cubicBezTo>
                <a:cubicBezTo>
                  <a:pt x="638" y="302"/>
                  <a:pt x="636" y="311"/>
                  <a:pt x="633" y="310"/>
                </a:cubicBezTo>
                <a:close/>
                <a:moveTo>
                  <a:pt x="637" y="496"/>
                </a:moveTo>
                <a:cubicBezTo>
                  <a:pt x="636" y="497"/>
                  <a:pt x="637" y="495"/>
                  <a:pt x="637" y="496"/>
                </a:cubicBezTo>
                <a:close/>
                <a:moveTo>
                  <a:pt x="637" y="495"/>
                </a:moveTo>
                <a:cubicBezTo>
                  <a:pt x="635" y="495"/>
                  <a:pt x="637" y="490"/>
                  <a:pt x="638" y="490"/>
                </a:cubicBezTo>
                <a:cubicBezTo>
                  <a:pt x="640" y="489"/>
                  <a:pt x="639" y="496"/>
                  <a:pt x="637" y="495"/>
                </a:cubicBezTo>
                <a:close/>
                <a:moveTo>
                  <a:pt x="638" y="424"/>
                </a:move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lose/>
                <a:moveTo>
                  <a:pt x="634" y="368"/>
                </a:moveTo>
                <a:cubicBezTo>
                  <a:pt x="637" y="365"/>
                  <a:pt x="639" y="361"/>
                  <a:pt x="643" y="358"/>
                </a:cubicBezTo>
                <a:cubicBezTo>
                  <a:pt x="641" y="362"/>
                  <a:pt x="638" y="365"/>
                  <a:pt x="634" y="368"/>
                </a:cubicBezTo>
                <a:close/>
                <a:moveTo>
                  <a:pt x="641" y="395"/>
                </a:moveTo>
                <a:cubicBezTo>
                  <a:pt x="641" y="395"/>
                  <a:pt x="641" y="395"/>
                  <a:pt x="641" y="395"/>
                </a:cubicBezTo>
                <a:cubicBezTo>
                  <a:pt x="641" y="395"/>
                  <a:pt x="641" y="394"/>
                  <a:pt x="641" y="395"/>
                </a:cubicBezTo>
                <a:close/>
                <a:moveTo>
                  <a:pt x="640" y="430"/>
                </a:moveTo>
                <a:cubicBezTo>
                  <a:pt x="640" y="430"/>
                  <a:pt x="640" y="428"/>
                  <a:pt x="642" y="428"/>
                </a:cubicBezTo>
                <a:cubicBezTo>
                  <a:pt x="643" y="427"/>
                  <a:pt x="644" y="427"/>
                  <a:pt x="645" y="428"/>
                </a:cubicBezTo>
                <a:cubicBezTo>
                  <a:pt x="648" y="432"/>
                  <a:pt x="641" y="434"/>
                  <a:pt x="640" y="430"/>
                </a:cubicBezTo>
                <a:close/>
                <a:moveTo>
                  <a:pt x="645" y="387"/>
                </a:moveTo>
                <a:cubicBezTo>
                  <a:pt x="645" y="386"/>
                  <a:pt x="645" y="385"/>
                  <a:pt x="646" y="385"/>
                </a:cubicBezTo>
                <a:cubicBezTo>
                  <a:pt x="646" y="386"/>
                  <a:pt x="646" y="386"/>
                  <a:pt x="645" y="387"/>
                </a:cubicBezTo>
                <a:close/>
                <a:moveTo>
                  <a:pt x="647" y="552"/>
                </a:moveTo>
                <a:cubicBezTo>
                  <a:pt x="646" y="553"/>
                  <a:pt x="648" y="551"/>
                  <a:pt x="647" y="552"/>
                </a:cubicBezTo>
                <a:close/>
                <a:moveTo>
                  <a:pt x="647" y="429"/>
                </a:moveTo>
                <a:cubicBezTo>
                  <a:pt x="648" y="428"/>
                  <a:pt x="645" y="431"/>
                  <a:pt x="647" y="429"/>
                </a:cubicBezTo>
                <a:close/>
                <a:moveTo>
                  <a:pt x="646" y="388"/>
                </a:moveTo>
                <a:cubicBezTo>
                  <a:pt x="646" y="387"/>
                  <a:pt x="647" y="386"/>
                  <a:pt x="647" y="385"/>
                </a:cubicBezTo>
                <a:cubicBezTo>
                  <a:pt x="647" y="386"/>
                  <a:pt x="647" y="387"/>
                  <a:pt x="646" y="388"/>
                </a:cubicBezTo>
                <a:close/>
                <a:moveTo>
                  <a:pt x="646" y="385"/>
                </a:moveTo>
                <a:cubicBezTo>
                  <a:pt x="647" y="384"/>
                  <a:pt x="647" y="383"/>
                  <a:pt x="648" y="383"/>
                </a:cubicBezTo>
                <a:cubicBezTo>
                  <a:pt x="648" y="384"/>
                  <a:pt x="647" y="384"/>
                  <a:pt x="646" y="385"/>
                </a:cubicBezTo>
                <a:close/>
                <a:moveTo>
                  <a:pt x="647" y="345"/>
                </a:moveTo>
                <a:cubicBezTo>
                  <a:pt x="646" y="345"/>
                  <a:pt x="647" y="344"/>
                  <a:pt x="647" y="344"/>
                </a:cubicBezTo>
                <a:cubicBezTo>
                  <a:pt x="648" y="342"/>
                  <a:pt x="648" y="345"/>
                  <a:pt x="647" y="345"/>
                </a:cubicBezTo>
                <a:close/>
                <a:moveTo>
                  <a:pt x="648" y="529"/>
                </a:moveTo>
                <a:cubicBezTo>
                  <a:pt x="647" y="529"/>
                  <a:pt x="648" y="528"/>
                  <a:pt x="648" y="528"/>
                </a:cubicBezTo>
                <a:cubicBezTo>
                  <a:pt x="649" y="528"/>
                  <a:pt x="648" y="529"/>
                  <a:pt x="648" y="529"/>
                </a:cubicBezTo>
                <a:close/>
                <a:moveTo>
                  <a:pt x="648" y="382"/>
                </a:moveTo>
                <a:cubicBezTo>
                  <a:pt x="649" y="381"/>
                  <a:pt x="647" y="383"/>
                  <a:pt x="648" y="382"/>
                </a:cubicBezTo>
                <a:close/>
                <a:moveTo>
                  <a:pt x="650" y="335"/>
                </a:moveTo>
                <a:cubicBezTo>
                  <a:pt x="647" y="337"/>
                  <a:pt x="652" y="333"/>
                  <a:pt x="650" y="335"/>
                </a:cubicBezTo>
                <a:close/>
                <a:moveTo>
                  <a:pt x="651" y="357"/>
                </a:moveTo>
                <a:cubicBezTo>
                  <a:pt x="651" y="355"/>
                  <a:pt x="650" y="358"/>
                  <a:pt x="651" y="357"/>
                </a:cubicBezTo>
                <a:close/>
                <a:moveTo>
                  <a:pt x="651" y="299"/>
                </a:moveTo>
                <a:cubicBezTo>
                  <a:pt x="649" y="299"/>
                  <a:pt x="651" y="296"/>
                  <a:pt x="652" y="298"/>
                </a:cubicBezTo>
                <a:cubicBezTo>
                  <a:pt x="652" y="298"/>
                  <a:pt x="651" y="299"/>
                  <a:pt x="651" y="299"/>
                </a:cubicBezTo>
                <a:close/>
                <a:moveTo>
                  <a:pt x="651" y="291"/>
                </a:moveTo>
                <a:cubicBezTo>
                  <a:pt x="651" y="291"/>
                  <a:pt x="652" y="291"/>
                  <a:pt x="652" y="291"/>
                </a:cubicBezTo>
                <a:cubicBezTo>
                  <a:pt x="652" y="292"/>
                  <a:pt x="651" y="291"/>
                  <a:pt x="651" y="291"/>
                </a:cubicBezTo>
                <a:close/>
                <a:moveTo>
                  <a:pt x="652" y="333"/>
                </a:moveTo>
                <a:cubicBezTo>
                  <a:pt x="652" y="331"/>
                  <a:pt x="654" y="331"/>
                  <a:pt x="654" y="330"/>
                </a:cubicBezTo>
                <a:cubicBezTo>
                  <a:pt x="654" y="331"/>
                  <a:pt x="653" y="332"/>
                  <a:pt x="652" y="333"/>
                </a:cubicBezTo>
                <a:close/>
                <a:moveTo>
                  <a:pt x="654" y="302"/>
                </a:moveTo>
                <a:cubicBezTo>
                  <a:pt x="655" y="302"/>
                  <a:pt x="654" y="302"/>
                  <a:pt x="654" y="302"/>
                </a:cubicBezTo>
                <a:cubicBezTo>
                  <a:pt x="655" y="304"/>
                  <a:pt x="652" y="302"/>
                  <a:pt x="654" y="302"/>
                </a:cubicBezTo>
                <a:close/>
                <a:moveTo>
                  <a:pt x="654" y="370"/>
                </a:moveTo>
                <a:cubicBezTo>
                  <a:pt x="654" y="369"/>
                  <a:pt x="656" y="369"/>
                  <a:pt x="655" y="370"/>
                </a:cubicBezTo>
                <a:cubicBezTo>
                  <a:pt x="655" y="370"/>
                  <a:pt x="654" y="370"/>
                  <a:pt x="654" y="370"/>
                </a:cubicBezTo>
                <a:close/>
                <a:moveTo>
                  <a:pt x="648" y="287"/>
                </a:moveTo>
                <a:cubicBezTo>
                  <a:pt x="651" y="284"/>
                  <a:pt x="653" y="280"/>
                  <a:pt x="658" y="277"/>
                </a:cubicBezTo>
                <a:cubicBezTo>
                  <a:pt x="657" y="281"/>
                  <a:pt x="652" y="285"/>
                  <a:pt x="648" y="287"/>
                </a:cubicBezTo>
                <a:close/>
                <a:moveTo>
                  <a:pt x="657" y="286"/>
                </a:moveTo>
                <a:cubicBezTo>
                  <a:pt x="657" y="285"/>
                  <a:pt x="658" y="285"/>
                  <a:pt x="658" y="285"/>
                </a:cubicBezTo>
                <a:cubicBezTo>
                  <a:pt x="659" y="286"/>
                  <a:pt x="656" y="287"/>
                  <a:pt x="657" y="286"/>
                </a:cubicBezTo>
                <a:close/>
                <a:moveTo>
                  <a:pt x="658" y="318"/>
                </a:moveTo>
                <a:cubicBezTo>
                  <a:pt x="659" y="317"/>
                  <a:pt x="657" y="319"/>
                  <a:pt x="658" y="318"/>
                </a:cubicBezTo>
                <a:close/>
                <a:moveTo>
                  <a:pt x="658" y="348"/>
                </a:moveTo>
                <a:cubicBezTo>
                  <a:pt x="659" y="347"/>
                  <a:pt x="656" y="349"/>
                  <a:pt x="658" y="348"/>
                </a:cubicBezTo>
                <a:close/>
                <a:moveTo>
                  <a:pt x="658" y="477"/>
                </a:moveTo>
                <a:cubicBezTo>
                  <a:pt x="658" y="476"/>
                  <a:pt x="658" y="476"/>
                  <a:pt x="658" y="476"/>
                </a:cubicBezTo>
                <a:cubicBezTo>
                  <a:pt x="659" y="474"/>
                  <a:pt x="660" y="477"/>
                  <a:pt x="658" y="477"/>
                </a:cubicBezTo>
                <a:close/>
                <a:moveTo>
                  <a:pt x="658" y="376"/>
                </a:moveTo>
                <a:cubicBezTo>
                  <a:pt x="657" y="375"/>
                  <a:pt x="658" y="373"/>
                  <a:pt x="658" y="373"/>
                </a:cubicBezTo>
                <a:cubicBezTo>
                  <a:pt x="661" y="371"/>
                  <a:pt x="661" y="376"/>
                  <a:pt x="658" y="376"/>
                </a:cubicBezTo>
                <a:close/>
                <a:moveTo>
                  <a:pt x="660" y="413"/>
                </a:moveTo>
                <a:cubicBezTo>
                  <a:pt x="660" y="412"/>
                  <a:pt x="661" y="412"/>
                  <a:pt x="660" y="413"/>
                </a:cubicBezTo>
                <a:close/>
                <a:moveTo>
                  <a:pt x="658" y="347"/>
                </a:moveTo>
                <a:cubicBezTo>
                  <a:pt x="659" y="345"/>
                  <a:pt x="660" y="343"/>
                  <a:pt x="662" y="342"/>
                </a:cubicBezTo>
                <a:cubicBezTo>
                  <a:pt x="662" y="342"/>
                  <a:pt x="660" y="346"/>
                  <a:pt x="658" y="347"/>
                </a:cubicBezTo>
                <a:close/>
                <a:moveTo>
                  <a:pt x="663" y="312"/>
                </a:moveTo>
                <a:cubicBezTo>
                  <a:pt x="663" y="312"/>
                  <a:pt x="664" y="313"/>
                  <a:pt x="663" y="313"/>
                </a:cubicBezTo>
                <a:cubicBezTo>
                  <a:pt x="662" y="314"/>
                  <a:pt x="661" y="312"/>
                  <a:pt x="662" y="312"/>
                </a:cubicBezTo>
                <a:cubicBezTo>
                  <a:pt x="662" y="312"/>
                  <a:pt x="662" y="312"/>
                  <a:pt x="662" y="312"/>
                </a:cubicBezTo>
                <a:cubicBezTo>
                  <a:pt x="662" y="311"/>
                  <a:pt x="662" y="311"/>
                  <a:pt x="661" y="311"/>
                </a:cubicBezTo>
                <a:cubicBezTo>
                  <a:pt x="660" y="310"/>
                  <a:pt x="664" y="308"/>
                  <a:pt x="664" y="310"/>
                </a:cubicBezTo>
                <a:cubicBezTo>
                  <a:pt x="664" y="311"/>
                  <a:pt x="664" y="311"/>
                  <a:pt x="663" y="312"/>
                </a:cubicBezTo>
                <a:close/>
                <a:moveTo>
                  <a:pt x="662" y="277"/>
                </a:moveTo>
                <a:cubicBezTo>
                  <a:pt x="661" y="279"/>
                  <a:pt x="662" y="276"/>
                  <a:pt x="662" y="277"/>
                </a:cubicBezTo>
                <a:close/>
                <a:moveTo>
                  <a:pt x="662" y="261"/>
                </a:moveTo>
                <a:cubicBezTo>
                  <a:pt x="662" y="261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ubicBezTo>
                  <a:pt x="662" y="260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lose/>
                <a:moveTo>
                  <a:pt x="664" y="309"/>
                </a:moveTo>
                <a:cubicBezTo>
                  <a:pt x="663" y="309"/>
                  <a:pt x="663" y="308"/>
                  <a:pt x="664" y="308"/>
                </a:cubicBezTo>
                <a:cubicBezTo>
                  <a:pt x="664" y="307"/>
                  <a:pt x="665" y="309"/>
                  <a:pt x="664" y="309"/>
                </a:cubicBezTo>
                <a:close/>
                <a:moveTo>
                  <a:pt x="664" y="258"/>
                </a:moveTo>
                <a:cubicBezTo>
                  <a:pt x="664" y="260"/>
                  <a:pt x="662" y="259"/>
                  <a:pt x="664" y="258"/>
                </a:cubicBezTo>
                <a:close/>
                <a:moveTo>
                  <a:pt x="665" y="262"/>
                </a:moveTo>
                <a:cubicBezTo>
                  <a:pt x="663" y="263"/>
                  <a:pt x="666" y="260"/>
                  <a:pt x="665" y="262"/>
                </a:cubicBezTo>
                <a:close/>
                <a:moveTo>
                  <a:pt x="663" y="233"/>
                </a:moveTo>
                <a:cubicBezTo>
                  <a:pt x="665" y="234"/>
                  <a:pt x="663" y="240"/>
                  <a:pt x="660" y="239"/>
                </a:cubicBezTo>
                <a:cubicBezTo>
                  <a:pt x="657" y="239"/>
                  <a:pt x="659" y="230"/>
                  <a:pt x="663" y="233"/>
                </a:cubicBezTo>
                <a:cubicBezTo>
                  <a:pt x="662" y="232"/>
                  <a:pt x="662" y="229"/>
                  <a:pt x="664" y="230"/>
                </a:cubicBezTo>
                <a:cubicBezTo>
                  <a:pt x="666" y="230"/>
                  <a:pt x="665" y="234"/>
                  <a:pt x="663" y="233"/>
                </a:cubicBezTo>
                <a:close/>
                <a:moveTo>
                  <a:pt x="665" y="341"/>
                </a:moveTo>
                <a:cubicBezTo>
                  <a:pt x="665" y="340"/>
                  <a:pt x="667" y="338"/>
                  <a:pt x="668" y="337"/>
                </a:cubicBezTo>
                <a:cubicBezTo>
                  <a:pt x="667" y="339"/>
                  <a:pt x="667" y="340"/>
                  <a:pt x="665" y="341"/>
                </a:cubicBezTo>
                <a:close/>
                <a:moveTo>
                  <a:pt x="668" y="481"/>
                </a:moveTo>
                <a:cubicBezTo>
                  <a:pt x="668" y="481"/>
                  <a:pt x="668" y="480"/>
                  <a:pt x="668" y="481"/>
                </a:cubicBezTo>
                <a:cubicBezTo>
                  <a:pt x="669" y="481"/>
                  <a:pt x="668" y="482"/>
                  <a:pt x="668" y="481"/>
                </a:cubicBezTo>
                <a:close/>
                <a:moveTo>
                  <a:pt x="671" y="391"/>
                </a:moveTo>
                <a:cubicBezTo>
                  <a:pt x="671" y="390"/>
                  <a:pt x="672" y="389"/>
                  <a:pt x="672" y="388"/>
                </a:cubicBezTo>
                <a:cubicBezTo>
                  <a:pt x="673" y="389"/>
                  <a:pt x="672" y="391"/>
                  <a:pt x="671" y="391"/>
                </a:cubicBezTo>
                <a:close/>
                <a:moveTo>
                  <a:pt x="673" y="387"/>
                </a:moveTo>
                <a:cubicBezTo>
                  <a:pt x="673" y="385"/>
                  <a:pt x="675" y="383"/>
                  <a:pt x="675" y="381"/>
                </a:cubicBezTo>
                <a:cubicBezTo>
                  <a:pt x="676" y="383"/>
                  <a:pt x="674" y="385"/>
                  <a:pt x="673" y="387"/>
                </a:cubicBezTo>
                <a:close/>
                <a:moveTo>
                  <a:pt x="683" y="314"/>
                </a:moveTo>
                <a:cubicBezTo>
                  <a:pt x="681" y="318"/>
                  <a:pt x="678" y="322"/>
                  <a:pt x="676" y="326"/>
                </a:cubicBezTo>
                <a:cubicBezTo>
                  <a:pt x="678" y="322"/>
                  <a:pt x="679" y="317"/>
                  <a:pt x="683" y="314"/>
                </a:cubicBezTo>
                <a:close/>
                <a:moveTo>
                  <a:pt x="678" y="432"/>
                </a:moveTo>
                <a:cubicBezTo>
                  <a:pt x="678" y="434"/>
                  <a:pt x="676" y="433"/>
                  <a:pt x="678" y="432"/>
                </a:cubicBezTo>
                <a:close/>
                <a:moveTo>
                  <a:pt x="682" y="426"/>
                </a:moveTo>
                <a:cubicBezTo>
                  <a:pt x="681" y="426"/>
                  <a:pt x="681" y="425"/>
                  <a:pt x="682" y="424"/>
                </a:cubicBezTo>
                <a:cubicBezTo>
                  <a:pt x="683" y="423"/>
                  <a:pt x="684" y="427"/>
                  <a:pt x="682" y="426"/>
                </a:cubicBezTo>
                <a:close/>
                <a:moveTo>
                  <a:pt x="683" y="451"/>
                </a:moveTo>
                <a:cubicBezTo>
                  <a:pt x="683" y="450"/>
                  <a:pt x="685" y="451"/>
                  <a:pt x="683" y="451"/>
                </a:cubicBezTo>
                <a:close/>
                <a:moveTo>
                  <a:pt x="683" y="486"/>
                </a:moveTo>
                <a:cubicBezTo>
                  <a:pt x="684" y="486"/>
                  <a:pt x="682" y="487"/>
                  <a:pt x="683" y="486"/>
                </a:cubicBezTo>
                <a:close/>
                <a:moveTo>
                  <a:pt x="685" y="289"/>
                </a:moveTo>
                <a:cubicBezTo>
                  <a:pt x="686" y="289"/>
                  <a:pt x="684" y="290"/>
                  <a:pt x="684" y="290"/>
                </a:cubicBezTo>
                <a:cubicBezTo>
                  <a:pt x="684" y="290"/>
                  <a:pt x="685" y="290"/>
                  <a:pt x="685" y="289"/>
                </a:cubicBezTo>
                <a:close/>
                <a:moveTo>
                  <a:pt x="685" y="345"/>
                </a:moveTo>
                <a:cubicBezTo>
                  <a:pt x="684" y="344"/>
                  <a:pt x="685" y="344"/>
                  <a:pt x="685" y="343"/>
                </a:cubicBezTo>
                <a:cubicBezTo>
                  <a:pt x="686" y="343"/>
                  <a:pt x="685" y="345"/>
                  <a:pt x="685" y="345"/>
                </a:cubicBezTo>
                <a:close/>
                <a:moveTo>
                  <a:pt x="686" y="342"/>
                </a:moveTo>
                <a:cubicBezTo>
                  <a:pt x="685" y="341"/>
                  <a:pt x="686" y="341"/>
                  <a:pt x="686" y="340"/>
                </a:cubicBezTo>
                <a:cubicBezTo>
                  <a:pt x="687" y="340"/>
                  <a:pt x="686" y="342"/>
                  <a:pt x="686" y="342"/>
                </a:cubicBezTo>
                <a:close/>
                <a:moveTo>
                  <a:pt x="687" y="340"/>
                </a:moveTo>
                <a:cubicBezTo>
                  <a:pt x="686" y="339"/>
                  <a:pt x="687" y="337"/>
                  <a:pt x="688" y="336"/>
                </a:cubicBezTo>
                <a:cubicBezTo>
                  <a:pt x="688" y="337"/>
                  <a:pt x="687" y="339"/>
                  <a:pt x="687" y="340"/>
                </a:cubicBezTo>
                <a:close/>
                <a:moveTo>
                  <a:pt x="688" y="329"/>
                </a:moveTo>
                <a:cubicBezTo>
                  <a:pt x="688" y="329"/>
                  <a:pt x="688" y="329"/>
                  <a:pt x="688" y="329"/>
                </a:cubicBezTo>
                <a:cubicBezTo>
                  <a:pt x="688" y="329"/>
                  <a:pt x="687" y="330"/>
                  <a:pt x="688" y="329"/>
                </a:cubicBezTo>
                <a:close/>
                <a:moveTo>
                  <a:pt x="688" y="284"/>
                </a:moveTo>
                <a:cubicBezTo>
                  <a:pt x="689" y="283"/>
                  <a:pt x="686" y="286"/>
                  <a:pt x="688" y="284"/>
                </a:cubicBezTo>
                <a:close/>
                <a:moveTo>
                  <a:pt x="693" y="290"/>
                </a:moveTo>
                <a:cubicBezTo>
                  <a:pt x="697" y="288"/>
                  <a:pt x="695" y="297"/>
                  <a:pt x="692" y="296"/>
                </a:cubicBezTo>
                <a:cubicBezTo>
                  <a:pt x="690" y="295"/>
                  <a:pt x="692" y="291"/>
                  <a:pt x="693" y="290"/>
                </a:cubicBezTo>
                <a:close/>
                <a:moveTo>
                  <a:pt x="691" y="285"/>
                </a:moveTo>
                <a:cubicBezTo>
                  <a:pt x="691" y="286"/>
                  <a:pt x="692" y="284"/>
                  <a:pt x="691" y="285"/>
                </a:cubicBezTo>
                <a:close/>
                <a:moveTo>
                  <a:pt x="689" y="285"/>
                </a:moveTo>
                <a:cubicBezTo>
                  <a:pt x="690" y="285"/>
                  <a:pt x="690" y="284"/>
                  <a:pt x="691" y="284"/>
                </a:cubicBezTo>
                <a:cubicBezTo>
                  <a:pt x="693" y="285"/>
                  <a:pt x="688" y="288"/>
                  <a:pt x="689" y="285"/>
                </a:cubicBezTo>
                <a:close/>
                <a:moveTo>
                  <a:pt x="689" y="316"/>
                </a:moveTo>
                <a:cubicBezTo>
                  <a:pt x="690" y="317"/>
                  <a:pt x="688" y="316"/>
                  <a:pt x="689" y="316"/>
                </a:cubicBezTo>
                <a:close/>
                <a:moveTo>
                  <a:pt x="689" y="395"/>
                </a:moveTo>
                <a:cubicBezTo>
                  <a:pt x="689" y="395"/>
                  <a:pt x="689" y="394"/>
                  <a:pt x="689" y="394"/>
                </a:cubicBezTo>
                <a:cubicBezTo>
                  <a:pt x="690" y="394"/>
                  <a:pt x="688" y="397"/>
                  <a:pt x="689" y="395"/>
                </a:cubicBezTo>
                <a:close/>
                <a:moveTo>
                  <a:pt x="690" y="404"/>
                </a:moveTo>
                <a:cubicBezTo>
                  <a:pt x="690" y="403"/>
                  <a:pt x="691" y="404"/>
                  <a:pt x="691" y="404"/>
                </a:cubicBezTo>
                <a:cubicBezTo>
                  <a:pt x="691" y="405"/>
                  <a:pt x="689" y="405"/>
                  <a:pt x="690" y="404"/>
                </a:cubicBezTo>
                <a:close/>
                <a:moveTo>
                  <a:pt x="691" y="343"/>
                </a:moveTo>
                <a:cubicBezTo>
                  <a:pt x="691" y="342"/>
                  <a:pt x="691" y="341"/>
                  <a:pt x="691" y="341"/>
                </a:cubicBezTo>
                <a:cubicBezTo>
                  <a:pt x="692" y="340"/>
                  <a:pt x="692" y="343"/>
                  <a:pt x="691" y="343"/>
                </a:cubicBezTo>
                <a:close/>
                <a:moveTo>
                  <a:pt x="692" y="394"/>
                </a:moveTo>
                <a:cubicBezTo>
                  <a:pt x="691" y="395"/>
                  <a:pt x="693" y="393"/>
                  <a:pt x="692" y="394"/>
                </a:cubicBezTo>
                <a:close/>
                <a:moveTo>
                  <a:pt x="692" y="300"/>
                </a:moveTo>
                <a:cubicBezTo>
                  <a:pt x="690" y="300"/>
                  <a:pt x="691" y="299"/>
                  <a:pt x="692" y="298"/>
                </a:cubicBezTo>
                <a:cubicBezTo>
                  <a:pt x="693" y="297"/>
                  <a:pt x="693" y="300"/>
                  <a:pt x="692" y="300"/>
                </a:cubicBezTo>
                <a:close/>
                <a:moveTo>
                  <a:pt x="694" y="330"/>
                </a:moveTo>
                <a:cubicBezTo>
                  <a:pt x="695" y="329"/>
                  <a:pt x="695" y="332"/>
                  <a:pt x="694" y="331"/>
                </a:cubicBezTo>
                <a:cubicBezTo>
                  <a:pt x="693" y="331"/>
                  <a:pt x="694" y="330"/>
                  <a:pt x="694" y="330"/>
                </a:cubicBezTo>
                <a:close/>
                <a:moveTo>
                  <a:pt x="694" y="454"/>
                </a:moveTo>
                <a:cubicBezTo>
                  <a:pt x="694" y="454"/>
                  <a:pt x="694" y="454"/>
                  <a:pt x="695" y="454"/>
                </a:cubicBezTo>
                <a:cubicBezTo>
                  <a:pt x="696" y="454"/>
                  <a:pt x="693" y="455"/>
                  <a:pt x="694" y="454"/>
                </a:cubicBezTo>
                <a:close/>
                <a:moveTo>
                  <a:pt x="696" y="312"/>
                </a:moveTo>
                <a:cubicBezTo>
                  <a:pt x="694" y="313"/>
                  <a:pt x="694" y="308"/>
                  <a:pt x="695" y="307"/>
                </a:cubicBezTo>
                <a:cubicBezTo>
                  <a:pt x="700" y="304"/>
                  <a:pt x="697" y="312"/>
                  <a:pt x="696" y="312"/>
                </a:cubicBezTo>
                <a:close/>
                <a:moveTo>
                  <a:pt x="699" y="327"/>
                </a:moveTo>
                <a:cubicBezTo>
                  <a:pt x="699" y="327"/>
                  <a:pt x="700" y="326"/>
                  <a:pt x="700" y="326"/>
                </a:cubicBezTo>
                <a:cubicBezTo>
                  <a:pt x="702" y="327"/>
                  <a:pt x="698" y="329"/>
                  <a:pt x="699" y="327"/>
                </a:cubicBezTo>
                <a:close/>
                <a:moveTo>
                  <a:pt x="702" y="431"/>
                </a:moveTo>
                <a:cubicBezTo>
                  <a:pt x="702" y="430"/>
                  <a:pt x="704" y="429"/>
                  <a:pt x="704" y="428"/>
                </a:cubicBezTo>
                <a:cubicBezTo>
                  <a:pt x="704" y="429"/>
                  <a:pt x="704" y="431"/>
                  <a:pt x="702" y="431"/>
                </a:cubicBezTo>
                <a:close/>
                <a:moveTo>
                  <a:pt x="704" y="427"/>
                </a:moveTo>
                <a:cubicBezTo>
                  <a:pt x="705" y="425"/>
                  <a:pt x="705" y="423"/>
                  <a:pt x="706" y="421"/>
                </a:cubicBezTo>
                <a:cubicBezTo>
                  <a:pt x="707" y="422"/>
                  <a:pt x="705" y="426"/>
                  <a:pt x="704" y="427"/>
                </a:cubicBezTo>
                <a:close/>
                <a:moveTo>
                  <a:pt x="706" y="392"/>
                </a:moveTo>
                <a:cubicBezTo>
                  <a:pt x="706" y="393"/>
                  <a:pt x="706" y="393"/>
                  <a:pt x="706" y="392"/>
                </a:cubicBezTo>
                <a:close/>
                <a:moveTo>
                  <a:pt x="709" y="396"/>
                </a:moveTo>
                <a:cubicBezTo>
                  <a:pt x="710" y="397"/>
                  <a:pt x="708" y="397"/>
                  <a:pt x="709" y="396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257" name="Freeform 97">
            <a:extLst>
              <a:ext uri="{FF2B5EF4-FFF2-40B4-BE49-F238E27FC236}">
                <a16:creationId xmlns="" xmlns:a16="http://schemas.microsoft.com/office/drawing/2014/main" id="{E9C4A9B8-A88C-4163-8CE9-C465B4595F8C}"/>
              </a:ext>
            </a:extLst>
          </p:cNvPr>
          <p:cNvSpPr>
            <a:spLocks noEditPoints="1"/>
          </p:cNvSpPr>
          <p:nvPr/>
        </p:nvSpPr>
        <p:spPr bwMode="auto">
          <a:xfrm>
            <a:off x="5293559" y="3907810"/>
            <a:ext cx="1604882" cy="1604882"/>
          </a:xfrm>
          <a:custGeom>
            <a:avLst/>
            <a:gdLst>
              <a:gd name="T0" fmla="*/ 677 w 714"/>
              <a:gd name="T1" fmla="*/ 212 h 715"/>
              <a:gd name="T2" fmla="*/ 626 w 714"/>
              <a:gd name="T3" fmla="*/ 179 h 715"/>
              <a:gd name="T4" fmla="*/ 573 w 714"/>
              <a:gd name="T5" fmla="*/ 139 h 715"/>
              <a:gd name="T6" fmla="*/ 553 w 714"/>
              <a:gd name="T7" fmla="*/ 94 h 715"/>
              <a:gd name="T8" fmla="*/ 516 w 714"/>
              <a:gd name="T9" fmla="*/ 53 h 715"/>
              <a:gd name="T10" fmla="*/ 421 w 714"/>
              <a:gd name="T11" fmla="*/ 60 h 715"/>
              <a:gd name="T12" fmla="*/ 429 w 714"/>
              <a:gd name="T13" fmla="*/ 26 h 715"/>
              <a:gd name="T14" fmla="*/ 22 w 714"/>
              <a:gd name="T15" fmla="*/ 436 h 715"/>
              <a:gd name="T16" fmla="*/ 39 w 714"/>
              <a:gd name="T17" fmla="*/ 451 h 715"/>
              <a:gd name="T18" fmla="*/ 60 w 714"/>
              <a:gd name="T19" fmla="*/ 465 h 715"/>
              <a:gd name="T20" fmla="*/ 108 w 714"/>
              <a:gd name="T21" fmla="*/ 446 h 715"/>
              <a:gd name="T22" fmla="*/ 102 w 714"/>
              <a:gd name="T23" fmla="*/ 508 h 715"/>
              <a:gd name="T24" fmla="*/ 146 w 714"/>
              <a:gd name="T25" fmla="*/ 552 h 715"/>
              <a:gd name="T26" fmla="*/ 190 w 714"/>
              <a:gd name="T27" fmla="*/ 596 h 715"/>
              <a:gd name="T28" fmla="*/ 214 w 714"/>
              <a:gd name="T29" fmla="*/ 647 h 715"/>
              <a:gd name="T30" fmla="*/ 296 w 714"/>
              <a:gd name="T31" fmla="*/ 709 h 715"/>
              <a:gd name="T32" fmla="*/ 684 w 714"/>
              <a:gd name="T33" fmla="*/ 227 h 715"/>
              <a:gd name="T34" fmla="*/ 434 w 714"/>
              <a:gd name="T35" fmla="*/ 24 h 715"/>
              <a:gd name="T36" fmla="*/ 9 w 714"/>
              <a:gd name="T37" fmla="*/ 371 h 715"/>
              <a:gd name="T38" fmla="*/ 37 w 714"/>
              <a:gd name="T39" fmla="*/ 344 h 715"/>
              <a:gd name="T40" fmla="*/ 45 w 714"/>
              <a:gd name="T41" fmla="*/ 192 h 715"/>
              <a:gd name="T42" fmla="*/ 64 w 714"/>
              <a:gd name="T43" fmla="*/ 419 h 715"/>
              <a:gd name="T44" fmla="*/ 84 w 714"/>
              <a:gd name="T45" fmla="*/ 332 h 715"/>
              <a:gd name="T46" fmla="*/ 87 w 714"/>
              <a:gd name="T47" fmla="*/ 502 h 715"/>
              <a:gd name="T48" fmla="*/ 234 w 714"/>
              <a:gd name="T49" fmla="*/ 679 h 715"/>
              <a:gd name="T50" fmla="*/ 287 w 714"/>
              <a:gd name="T51" fmla="*/ 641 h 715"/>
              <a:gd name="T52" fmla="*/ 303 w 714"/>
              <a:gd name="T53" fmla="*/ 67 h 715"/>
              <a:gd name="T54" fmla="*/ 270 w 714"/>
              <a:gd name="T55" fmla="*/ 571 h 715"/>
              <a:gd name="T56" fmla="*/ 246 w 714"/>
              <a:gd name="T57" fmla="*/ 640 h 715"/>
              <a:gd name="T58" fmla="*/ 249 w 714"/>
              <a:gd name="T59" fmla="*/ 640 h 715"/>
              <a:gd name="T60" fmla="*/ 227 w 714"/>
              <a:gd name="T61" fmla="*/ 527 h 715"/>
              <a:gd name="T62" fmla="*/ 209 w 714"/>
              <a:gd name="T63" fmla="*/ 468 h 715"/>
              <a:gd name="T64" fmla="*/ 178 w 714"/>
              <a:gd name="T65" fmla="*/ 383 h 715"/>
              <a:gd name="T66" fmla="*/ 165 w 714"/>
              <a:gd name="T67" fmla="*/ 345 h 715"/>
              <a:gd name="T68" fmla="*/ 156 w 714"/>
              <a:gd name="T69" fmla="*/ 435 h 715"/>
              <a:gd name="T70" fmla="*/ 132 w 714"/>
              <a:gd name="T71" fmla="*/ 280 h 715"/>
              <a:gd name="T72" fmla="*/ 123 w 714"/>
              <a:gd name="T73" fmla="*/ 474 h 715"/>
              <a:gd name="T74" fmla="*/ 154 w 714"/>
              <a:gd name="T75" fmla="*/ 484 h 715"/>
              <a:gd name="T76" fmla="*/ 189 w 714"/>
              <a:gd name="T77" fmla="*/ 398 h 715"/>
              <a:gd name="T78" fmla="*/ 235 w 714"/>
              <a:gd name="T79" fmla="*/ 592 h 715"/>
              <a:gd name="T80" fmla="*/ 277 w 714"/>
              <a:gd name="T81" fmla="*/ 700 h 715"/>
              <a:gd name="T82" fmla="*/ 335 w 714"/>
              <a:gd name="T83" fmla="*/ 131 h 715"/>
              <a:gd name="T84" fmla="*/ 522 w 714"/>
              <a:gd name="T85" fmla="*/ 181 h 715"/>
              <a:gd name="T86" fmla="*/ 480 w 714"/>
              <a:gd name="T87" fmla="*/ 95 h 715"/>
              <a:gd name="T88" fmla="*/ 502 w 714"/>
              <a:gd name="T89" fmla="*/ 132 h 715"/>
              <a:gd name="T90" fmla="*/ 509 w 714"/>
              <a:gd name="T91" fmla="*/ 36 h 715"/>
              <a:gd name="T92" fmla="*/ 462 w 714"/>
              <a:gd name="T93" fmla="*/ 49 h 715"/>
              <a:gd name="T94" fmla="*/ 406 w 714"/>
              <a:gd name="T95" fmla="*/ 125 h 715"/>
              <a:gd name="T96" fmla="*/ 372 w 714"/>
              <a:gd name="T97" fmla="*/ 610 h 715"/>
              <a:gd name="T98" fmla="*/ 398 w 714"/>
              <a:gd name="T99" fmla="*/ 679 h 715"/>
              <a:gd name="T100" fmla="*/ 454 w 714"/>
              <a:gd name="T101" fmla="*/ 644 h 715"/>
              <a:gd name="T102" fmla="*/ 469 w 714"/>
              <a:gd name="T103" fmla="*/ 168 h 715"/>
              <a:gd name="T104" fmla="*/ 522 w 714"/>
              <a:gd name="T105" fmla="*/ 285 h 715"/>
              <a:gd name="T106" fmla="*/ 585 w 714"/>
              <a:gd name="T107" fmla="*/ 213 h 715"/>
              <a:gd name="T108" fmla="*/ 544 w 714"/>
              <a:gd name="T109" fmla="*/ 168 h 715"/>
              <a:gd name="T110" fmla="*/ 573 w 714"/>
              <a:gd name="T111" fmla="*/ 236 h 715"/>
              <a:gd name="T112" fmla="*/ 595 w 714"/>
              <a:gd name="T113" fmla="*/ 470 h 715"/>
              <a:gd name="T114" fmla="*/ 651 w 714"/>
              <a:gd name="T115" fmla="*/ 272 h 715"/>
              <a:gd name="T116" fmla="*/ 630 w 714"/>
              <a:gd name="T117" fmla="*/ 261 h 715"/>
              <a:gd name="T118" fmla="*/ 615 w 714"/>
              <a:gd name="T119" fmla="*/ 194 h 715"/>
              <a:gd name="T120" fmla="*/ 625 w 714"/>
              <a:gd name="T121" fmla="*/ 381 h 715"/>
              <a:gd name="T122" fmla="*/ 658 w 714"/>
              <a:gd name="T123" fmla="*/ 277 h 715"/>
              <a:gd name="T124" fmla="*/ 686 w 714"/>
              <a:gd name="T125" fmla="*/ 342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14" h="715">
                <a:moveTo>
                  <a:pt x="710" y="304"/>
                </a:moveTo>
                <a:cubicBezTo>
                  <a:pt x="710" y="305"/>
                  <a:pt x="710" y="305"/>
                  <a:pt x="709" y="305"/>
                </a:cubicBezTo>
                <a:cubicBezTo>
                  <a:pt x="709" y="304"/>
                  <a:pt x="710" y="303"/>
                  <a:pt x="710" y="303"/>
                </a:cubicBezTo>
                <a:cubicBezTo>
                  <a:pt x="710" y="303"/>
                  <a:pt x="710" y="303"/>
                  <a:pt x="710" y="303"/>
                </a:cubicBezTo>
                <a:cubicBezTo>
                  <a:pt x="709" y="297"/>
                  <a:pt x="708" y="292"/>
                  <a:pt x="707" y="286"/>
                </a:cubicBezTo>
                <a:cubicBezTo>
                  <a:pt x="707" y="287"/>
                  <a:pt x="707" y="288"/>
                  <a:pt x="706" y="290"/>
                </a:cubicBezTo>
                <a:cubicBezTo>
                  <a:pt x="706" y="289"/>
                  <a:pt x="707" y="289"/>
                  <a:pt x="707" y="289"/>
                </a:cubicBezTo>
                <a:cubicBezTo>
                  <a:pt x="707" y="290"/>
                  <a:pt x="706" y="290"/>
                  <a:pt x="706" y="290"/>
                </a:cubicBezTo>
                <a:cubicBezTo>
                  <a:pt x="706" y="292"/>
                  <a:pt x="706" y="294"/>
                  <a:pt x="705" y="295"/>
                </a:cubicBezTo>
                <a:cubicBezTo>
                  <a:pt x="703" y="298"/>
                  <a:pt x="703" y="301"/>
                  <a:pt x="703" y="301"/>
                </a:cubicBezTo>
                <a:cubicBezTo>
                  <a:pt x="702" y="302"/>
                  <a:pt x="700" y="300"/>
                  <a:pt x="699" y="300"/>
                </a:cubicBezTo>
                <a:cubicBezTo>
                  <a:pt x="697" y="301"/>
                  <a:pt x="697" y="303"/>
                  <a:pt x="696" y="300"/>
                </a:cubicBezTo>
                <a:cubicBezTo>
                  <a:pt x="696" y="299"/>
                  <a:pt x="696" y="301"/>
                  <a:pt x="695" y="298"/>
                </a:cubicBezTo>
                <a:cubicBezTo>
                  <a:pt x="695" y="297"/>
                  <a:pt x="697" y="291"/>
                  <a:pt x="700" y="292"/>
                </a:cubicBezTo>
                <a:cubicBezTo>
                  <a:pt x="701" y="293"/>
                  <a:pt x="702" y="295"/>
                  <a:pt x="703" y="292"/>
                </a:cubicBezTo>
                <a:cubicBezTo>
                  <a:pt x="703" y="291"/>
                  <a:pt x="703" y="290"/>
                  <a:pt x="703" y="289"/>
                </a:cubicBezTo>
                <a:cubicBezTo>
                  <a:pt x="703" y="287"/>
                  <a:pt x="705" y="284"/>
                  <a:pt x="706" y="282"/>
                </a:cubicBezTo>
                <a:cubicBezTo>
                  <a:pt x="705" y="276"/>
                  <a:pt x="704" y="270"/>
                  <a:pt x="702" y="264"/>
                </a:cubicBezTo>
                <a:cubicBezTo>
                  <a:pt x="701" y="268"/>
                  <a:pt x="695" y="273"/>
                  <a:pt x="691" y="270"/>
                </a:cubicBezTo>
                <a:cubicBezTo>
                  <a:pt x="691" y="271"/>
                  <a:pt x="691" y="270"/>
                  <a:pt x="690" y="270"/>
                </a:cubicBezTo>
                <a:cubicBezTo>
                  <a:pt x="690" y="270"/>
                  <a:pt x="690" y="270"/>
                  <a:pt x="690" y="270"/>
                </a:cubicBezTo>
                <a:cubicBezTo>
                  <a:pt x="690" y="271"/>
                  <a:pt x="690" y="270"/>
                  <a:pt x="690" y="270"/>
                </a:cubicBezTo>
                <a:cubicBezTo>
                  <a:pt x="690" y="270"/>
                  <a:pt x="690" y="270"/>
                  <a:pt x="690" y="269"/>
                </a:cubicBezTo>
                <a:cubicBezTo>
                  <a:pt x="689" y="270"/>
                  <a:pt x="688" y="271"/>
                  <a:pt x="688" y="271"/>
                </a:cubicBezTo>
                <a:cubicBezTo>
                  <a:pt x="686" y="270"/>
                  <a:pt x="686" y="273"/>
                  <a:pt x="685" y="274"/>
                </a:cubicBezTo>
                <a:cubicBezTo>
                  <a:pt x="684" y="274"/>
                  <a:pt x="682" y="273"/>
                  <a:pt x="682" y="275"/>
                </a:cubicBezTo>
                <a:cubicBezTo>
                  <a:pt x="681" y="270"/>
                  <a:pt x="674" y="279"/>
                  <a:pt x="674" y="281"/>
                </a:cubicBezTo>
                <a:cubicBezTo>
                  <a:pt x="675" y="280"/>
                  <a:pt x="681" y="280"/>
                  <a:pt x="680" y="280"/>
                </a:cubicBezTo>
                <a:cubicBezTo>
                  <a:pt x="680" y="280"/>
                  <a:pt x="681" y="280"/>
                  <a:pt x="681" y="280"/>
                </a:cubicBezTo>
                <a:cubicBezTo>
                  <a:pt x="681" y="280"/>
                  <a:pt x="681" y="280"/>
                  <a:pt x="681" y="280"/>
                </a:cubicBezTo>
                <a:cubicBezTo>
                  <a:pt x="681" y="279"/>
                  <a:pt x="682" y="278"/>
                  <a:pt x="682" y="279"/>
                </a:cubicBezTo>
                <a:cubicBezTo>
                  <a:pt x="684" y="280"/>
                  <a:pt x="681" y="280"/>
                  <a:pt x="681" y="281"/>
                </a:cubicBezTo>
                <a:cubicBezTo>
                  <a:pt x="681" y="282"/>
                  <a:pt x="681" y="282"/>
                  <a:pt x="681" y="282"/>
                </a:cubicBezTo>
                <a:cubicBezTo>
                  <a:pt x="682" y="282"/>
                  <a:pt x="683" y="282"/>
                  <a:pt x="683" y="284"/>
                </a:cubicBezTo>
                <a:cubicBezTo>
                  <a:pt x="683" y="284"/>
                  <a:pt x="683" y="284"/>
                  <a:pt x="683" y="284"/>
                </a:cubicBezTo>
                <a:cubicBezTo>
                  <a:pt x="683" y="284"/>
                  <a:pt x="684" y="285"/>
                  <a:pt x="684" y="286"/>
                </a:cubicBezTo>
                <a:cubicBezTo>
                  <a:pt x="684" y="286"/>
                  <a:pt x="681" y="289"/>
                  <a:pt x="681" y="290"/>
                </a:cubicBezTo>
                <a:cubicBezTo>
                  <a:pt x="680" y="290"/>
                  <a:pt x="679" y="295"/>
                  <a:pt x="678" y="295"/>
                </a:cubicBezTo>
                <a:cubicBezTo>
                  <a:pt x="676" y="295"/>
                  <a:pt x="679" y="293"/>
                  <a:pt x="677" y="292"/>
                </a:cubicBezTo>
                <a:cubicBezTo>
                  <a:pt x="677" y="291"/>
                  <a:pt x="675" y="293"/>
                  <a:pt x="674" y="293"/>
                </a:cubicBezTo>
                <a:cubicBezTo>
                  <a:pt x="673" y="292"/>
                  <a:pt x="674" y="291"/>
                  <a:pt x="673" y="290"/>
                </a:cubicBezTo>
                <a:cubicBezTo>
                  <a:pt x="673" y="290"/>
                  <a:pt x="671" y="292"/>
                  <a:pt x="670" y="290"/>
                </a:cubicBezTo>
                <a:cubicBezTo>
                  <a:pt x="669" y="288"/>
                  <a:pt x="672" y="289"/>
                  <a:pt x="672" y="288"/>
                </a:cubicBezTo>
                <a:cubicBezTo>
                  <a:pt x="672" y="287"/>
                  <a:pt x="671" y="287"/>
                  <a:pt x="671" y="287"/>
                </a:cubicBezTo>
                <a:cubicBezTo>
                  <a:pt x="671" y="286"/>
                  <a:pt x="672" y="285"/>
                  <a:pt x="672" y="283"/>
                </a:cubicBezTo>
                <a:cubicBezTo>
                  <a:pt x="672" y="283"/>
                  <a:pt x="672" y="282"/>
                  <a:pt x="672" y="282"/>
                </a:cubicBezTo>
                <a:cubicBezTo>
                  <a:pt x="673" y="279"/>
                  <a:pt x="678" y="276"/>
                  <a:pt x="677" y="271"/>
                </a:cubicBezTo>
                <a:cubicBezTo>
                  <a:pt x="676" y="270"/>
                  <a:pt x="675" y="271"/>
                  <a:pt x="674" y="272"/>
                </a:cubicBezTo>
                <a:cubicBezTo>
                  <a:pt x="675" y="269"/>
                  <a:pt x="676" y="260"/>
                  <a:pt x="681" y="259"/>
                </a:cubicBezTo>
                <a:cubicBezTo>
                  <a:pt x="681" y="259"/>
                  <a:pt x="684" y="259"/>
                  <a:pt x="685" y="259"/>
                </a:cubicBezTo>
                <a:cubicBezTo>
                  <a:pt x="685" y="259"/>
                  <a:pt x="686" y="260"/>
                  <a:pt x="687" y="261"/>
                </a:cubicBezTo>
                <a:cubicBezTo>
                  <a:pt x="687" y="261"/>
                  <a:pt x="687" y="261"/>
                  <a:pt x="688" y="261"/>
                </a:cubicBezTo>
                <a:cubicBezTo>
                  <a:pt x="688" y="261"/>
                  <a:pt x="688" y="261"/>
                  <a:pt x="688" y="261"/>
                </a:cubicBezTo>
                <a:cubicBezTo>
                  <a:pt x="688" y="262"/>
                  <a:pt x="688" y="262"/>
                  <a:pt x="689" y="262"/>
                </a:cubicBezTo>
                <a:cubicBezTo>
                  <a:pt x="690" y="261"/>
                  <a:pt x="691" y="259"/>
                  <a:pt x="692" y="258"/>
                </a:cubicBezTo>
                <a:cubicBezTo>
                  <a:pt x="691" y="257"/>
                  <a:pt x="690" y="258"/>
                  <a:pt x="689" y="259"/>
                </a:cubicBezTo>
                <a:cubicBezTo>
                  <a:pt x="689" y="258"/>
                  <a:pt x="689" y="258"/>
                  <a:pt x="689" y="258"/>
                </a:cubicBezTo>
                <a:cubicBezTo>
                  <a:pt x="688" y="258"/>
                  <a:pt x="687" y="258"/>
                  <a:pt x="687" y="257"/>
                </a:cubicBezTo>
                <a:cubicBezTo>
                  <a:pt x="686" y="256"/>
                  <a:pt x="688" y="256"/>
                  <a:pt x="688" y="256"/>
                </a:cubicBezTo>
                <a:cubicBezTo>
                  <a:pt x="689" y="254"/>
                  <a:pt x="687" y="255"/>
                  <a:pt x="688" y="253"/>
                </a:cubicBezTo>
                <a:cubicBezTo>
                  <a:pt x="689" y="252"/>
                  <a:pt x="692" y="252"/>
                  <a:pt x="692" y="251"/>
                </a:cubicBezTo>
                <a:cubicBezTo>
                  <a:pt x="692" y="251"/>
                  <a:pt x="692" y="250"/>
                  <a:pt x="692" y="250"/>
                </a:cubicBezTo>
                <a:cubicBezTo>
                  <a:pt x="692" y="250"/>
                  <a:pt x="691" y="249"/>
                  <a:pt x="691" y="249"/>
                </a:cubicBezTo>
                <a:cubicBezTo>
                  <a:pt x="691" y="249"/>
                  <a:pt x="692" y="247"/>
                  <a:pt x="691" y="246"/>
                </a:cubicBezTo>
                <a:cubicBezTo>
                  <a:pt x="690" y="245"/>
                  <a:pt x="690" y="246"/>
                  <a:pt x="690" y="246"/>
                </a:cubicBezTo>
                <a:cubicBezTo>
                  <a:pt x="689" y="246"/>
                  <a:pt x="688" y="242"/>
                  <a:pt x="688" y="242"/>
                </a:cubicBezTo>
                <a:cubicBezTo>
                  <a:pt x="689" y="240"/>
                  <a:pt x="691" y="242"/>
                  <a:pt x="693" y="241"/>
                </a:cubicBezTo>
                <a:cubicBezTo>
                  <a:pt x="692" y="241"/>
                  <a:pt x="693" y="239"/>
                  <a:pt x="694" y="239"/>
                </a:cubicBezTo>
                <a:cubicBezTo>
                  <a:pt x="693" y="235"/>
                  <a:pt x="691" y="231"/>
                  <a:pt x="690" y="227"/>
                </a:cubicBezTo>
                <a:cubicBezTo>
                  <a:pt x="690" y="227"/>
                  <a:pt x="689" y="227"/>
                  <a:pt x="689" y="227"/>
                </a:cubicBezTo>
                <a:cubicBezTo>
                  <a:pt x="688" y="227"/>
                  <a:pt x="689" y="225"/>
                  <a:pt x="688" y="224"/>
                </a:cubicBezTo>
                <a:cubicBezTo>
                  <a:pt x="688" y="223"/>
                  <a:pt x="688" y="223"/>
                  <a:pt x="688" y="223"/>
                </a:cubicBezTo>
                <a:cubicBezTo>
                  <a:pt x="688" y="222"/>
                  <a:pt x="688" y="222"/>
                  <a:pt x="688" y="221"/>
                </a:cubicBezTo>
                <a:cubicBezTo>
                  <a:pt x="685" y="222"/>
                  <a:pt x="682" y="222"/>
                  <a:pt x="681" y="222"/>
                </a:cubicBezTo>
                <a:cubicBezTo>
                  <a:pt x="679" y="222"/>
                  <a:pt x="680" y="219"/>
                  <a:pt x="678" y="220"/>
                </a:cubicBezTo>
                <a:cubicBezTo>
                  <a:pt x="680" y="218"/>
                  <a:pt x="676" y="218"/>
                  <a:pt x="676" y="216"/>
                </a:cubicBezTo>
                <a:cubicBezTo>
                  <a:pt x="675" y="215"/>
                  <a:pt x="677" y="215"/>
                  <a:pt x="677" y="215"/>
                </a:cubicBezTo>
                <a:cubicBezTo>
                  <a:pt x="678" y="214"/>
                  <a:pt x="676" y="213"/>
                  <a:pt x="677" y="212"/>
                </a:cubicBezTo>
                <a:cubicBezTo>
                  <a:pt x="677" y="212"/>
                  <a:pt x="677" y="212"/>
                  <a:pt x="677" y="212"/>
                </a:cubicBezTo>
                <a:cubicBezTo>
                  <a:pt x="676" y="212"/>
                  <a:pt x="675" y="210"/>
                  <a:pt x="675" y="209"/>
                </a:cubicBezTo>
                <a:cubicBezTo>
                  <a:pt x="674" y="209"/>
                  <a:pt x="674" y="209"/>
                  <a:pt x="673" y="209"/>
                </a:cubicBezTo>
                <a:cubicBezTo>
                  <a:pt x="674" y="210"/>
                  <a:pt x="674" y="210"/>
                  <a:pt x="674" y="211"/>
                </a:cubicBezTo>
                <a:cubicBezTo>
                  <a:pt x="674" y="212"/>
                  <a:pt x="674" y="212"/>
                  <a:pt x="673" y="213"/>
                </a:cubicBezTo>
                <a:cubicBezTo>
                  <a:pt x="673" y="214"/>
                  <a:pt x="673" y="214"/>
                  <a:pt x="673" y="215"/>
                </a:cubicBezTo>
                <a:cubicBezTo>
                  <a:pt x="673" y="215"/>
                  <a:pt x="673" y="215"/>
                  <a:pt x="673" y="215"/>
                </a:cubicBezTo>
                <a:cubicBezTo>
                  <a:pt x="673" y="215"/>
                  <a:pt x="672" y="216"/>
                  <a:pt x="672" y="216"/>
                </a:cubicBezTo>
                <a:cubicBezTo>
                  <a:pt x="671" y="217"/>
                  <a:pt x="669" y="218"/>
                  <a:pt x="669" y="220"/>
                </a:cubicBezTo>
                <a:cubicBezTo>
                  <a:pt x="670" y="217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7" y="219"/>
                </a:cubicBezTo>
                <a:cubicBezTo>
                  <a:pt x="668" y="220"/>
                  <a:pt x="668" y="224"/>
                  <a:pt x="667" y="225"/>
                </a:cubicBezTo>
                <a:cubicBezTo>
                  <a:pt x="667" y="225"/>
                  <a:pt x="667" y="224"/>
                  <a:pt x="666" y="224"/>
                </a:cubicBezTo>
                <a:cubicBezTo>
                  <a:pt x="665" y="225"/>
                  <a:pt x="663" y="228"/>
                  <a:pt x="660" y="228"/>
                </a:cubicBezTo>
                <a:cubicBezTo>
                  <a:pt x="661" y="226"/>
                  <a:pt x="663" y="226"/>
                  <a:pt x="663" y="225"/>
                </a:cubicBezTo>
                <a:cubicBezTo>
                  <a:pt x="663" y="224"/>
                  <a:pt x="662" y="225"/>
                  <a:pt x="661" y="224"/>
                </a:cubicBezTo>
                <a:cubicBezTo>
                  <a:pt x="660" y="223"/>
                  <a:pt x="662" y="219"/>
                  <a:pt x="665" y="218"/>
                </a:cubicBezTo>
                <a:cubicBezTo>
                  <a:pt x="665" y="217"/>
                  <a:pt x="665" y="216"/>
                  <a:pt x="665" y="216"/>
                </a:cubicBezTo>
                <a:cubicBezTo>
                  <a:pt x="665" y="215"/>
                  <a:pt x="664" y="215"/>
                  <a:pt x="664" y="215"/>
                </a:cubicBezTo>
                <a:cubicBezTo>
                  <a:pt x="663" y="217"/>
                  <a:pt x="661" y="218"/>
                  <a:pt x="660" y="220"/>
                </a:cubicBezTo>
                <a:cubicBezTo>
                  <a:pt x="660" y="221"/>
                  <a:pt x="661" y="222"/>
                  <a:pt x="660" y="223"/>
                </a:cubicBezTo>
                <a:cubicBezTo>
                  <a:pt x="660" y="223"/>
                  <a:pt x="659" y="224"/>
                  <a:pt x="659" y="225"/>
                </a:cubicBezTo>
                <a:cubicBezTo>
                  <a:pt x="659" y="226"/>
                  <a:pt x="661" y="225"/>
                  <a:pt x="660" y="226"/>
                </a:cubicBezTo>
                <a:cubicBezTo>
                  <a:pt x="660" y="227"/>
                  <a:pt x="659" y="228"/>
                  <a:pt x="659" y="227"/>
                </a:cubicBezTo>
                <a:cubicBezTo>
                  <a:pt x="658" y="227"/>
                  <a:pt x="658" y="225"/>
                  <a:pt x="657" y="224"/>
                </a:cubicBezTo>
                <a:cubicBezTo>
                  <a:pt x="657" y="223"/>
                  <a:pt x="656" y="224"/>
                  <a:pt x="655" y="223"/>
                </a:cubicBezTo>
                <a:cubicBezTo>
                  <a:pt x="653" y="223"/>
                  <a:pt x="653" y="221"/>
                  <a:pt x="650" y="224"/>
                </a:cubicBezTo>
                <a:cubicBezTo>
                  <a:pt x="653" y="220"/>
                  <a:pt x="649" y="222"/>
                  <a:pt x="648" y="221"/>
                </a:cubicBezTo>
                <a:cubicBezTo>
                  <a:pt x="648" y="222"/>
                  <a:pt x="647" y="215"/>
                  <a:pt x="647" y="215"/>
                </a:cubicBezTo>
                <a:cubicBezTo>
                  <a:pt x="647" y="214"/>
                  <a:pt x="648" y="211"/>
                  <a:pt x="648" y="209"/>
                </a:cubicBezTo>
                <a:cubicBezTo>
                  <a:pt x="648" y="210"/>
                  <a:pt x="648" y="210"/>
                  <a:pt x="647" y="210"/>
                </a:cubicBezTo>
                <a:cubicBezTo>
                  <a:pt x="647" y="210"/>
                  <a:pt x="647" y="209"/>
                  <a:pt x="648" y="208"/>
                </a:cubicBezTo>
                <a:cubicBezTo>
                  <a:pt x="648" y="208"/>
                  <a:pt x="648" y="208"/>
                  <a:pt x="648" y="208"/>
                </a:cubicBezTo>
                <a:cubicBezTo>
                  <a:pt x="647" y="208"/>
                  <a:pt x="647" y="209"/>
                  <a:pt x="647" y="209"/>
                </a:cubicBezTo>
                <a:cubicBezTo>
                  <a:pt x="647" y="209"/>
                  <a:pt x="647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4" y="211"/>
                  <a:pt x="639" y="212"/>
                  <a:pt x="635" y="212"/>
                </a:cubicBezTo>
                <a:cubicBezTo>
                  <a:pt x="635" y="213"/>
                  <a:pt x="635" y="214"/>
                  <a:pt x="635" y="214"/>
                </a:cubicBezTo>
                <a:cubicBezTo>
                  <a:pt x="634" y="214"/>
                  <a:pt x="634" y="213"/>
                  <a:pt x="634" y="212"/>
                </a:cubicBezTo>
                <a:cubicBezTo>
                  <a:pt x="633" y="212"/>
                  <a:pt x="633" y="212"/>
                  <a:pt x="633" y="212"/>
                </a:cubicBezTo>
                <a:cubicBezTo>
                  <a:pt x="633" y="211"/>
                  <a:pt x="633" y="210"/>
                  <a:pt x="635" y="210"/>
                </a:cubicBezTo>
                <a:cubicBezTo>
                  <a:pt x="634" y="210"/>
                  <a:pt x="634" y="209"/>
                  <a:pt x="634" y="209"/>
                </a:cubicBezTo>
                <a:cubicBezTo>
                  <a:pt x="633" y="208"/>
                  <a:pt x="634" y="207"/>
                  <a:pt x="635" y="206"/>
                </a:cubicBezTo>
                <a:cubicBezTo>
                  <a:pt x="634" y="205"/>
                  <a:pt x="634" y="204"/>
                  <a:pt x="635" y="203"/>
                </a:cubicBezTo>
                <a:cubicBezTo>
                  <a:pt x="636" y="203"/>
                  <a:pt x="636" y="203"/>
                  <a:pt x="637" y="203"/>
                </a:cubicBezTo>
                <a:cubicBezTo>
                  <a:pt x="637" y="202"/>
                  <a:pt x="636" y="202"/>
                  <a:pt x="635" y="203"/>
                </a:cubicBezTo>
                <a:cubicBezTo>
                  <a:pt x="634" y="203"/>
                  <a:pt x="632" y="206"/>
                  <a:pt x="632" y="206"/>
                </a:cubicBezTo>
                <a:cubicBezTo>
                  <a:pt x="632" y="207"/>
                  <a:pt x="632" y="207"/>
                  <a:pt x="633" y="207"/>
                </a:cubicBezTo>
                <a:cubicBezTo>
                  <a:pt x="629" y="209"/>
                  <a:pt x="629" y="201"/>
                  <a:pt x="631" y="201"/>
                </a:cubicBezTo>
                <a:cubicBezTo>
                  <a:pt x="631" y="201"/>
                  <a:pt x="632" y="203"/>
                  <a:pt x="632" y="203"/>
                </a:cubicBezTo>
                <a:cubicBezTo>
                  <a:pt x="633" y="203"/>
                  <a:pt x="636" y="199"/>
                  <a:pt x="638" y="198"/>
                </a:cubicBezTo>
                <a:cubicBezTo>
                  <a:pt x="638" y="198"/>
                  <a:pt x="638" y="197"/>
                  <a:pt x="639" y="197"/>
                </a:cubicBezTo>
                <a:cubicBezTo>
                  <a:pt x="639" y="196"/>
                  <a:pt x="637" y="195"/>
                  <a:pt x="637" y="194"/>
                </a:cubicBezTo>
                <a:cubicBezTo>
                  <a:pt x="637" y="193"/>
                  <a:pt x="639" y="193"/>
                  <a:pt x="639" y="193"/>
                </a:cubicBezTo>
                <a:cubicBezTo>
                  <a:pt x="639" y="192"/>
                  <a:pt x="640" y="189"/>
                  <a:pt x="639" y="189"/>
                </a:cubicBezTo>
                <a:cubicBezTo>
                  <a:pt x="639" y="188"/>
                  <a:pt x="637" y="189"/>
                  <a:pt x="638" y="190"/>
                </a:cubicBezTo>
                <a:cubicBezTo>
                  <a:pt x="638" y="190"/>
                  <a:pt x="636" y="188"/>
                  <a:pt x="637" y="187"/>
                </a:cubicBezTo>
                <a:cubicBezTo>
                  <a:pt x="637" y="187"/>
                  <a:pt x="637" y="187"/>
                  <a:pt x="637" y="187"/>
                </a:cubicBezTo>
                <a:cubicBezTo>
                  <a:pt x="637" y="186"/>
                  <a:pt x="637" y="186"/>
                  <a:pt x="636" y="186"/>
                </a:cubicBezTo>
                <a:cubicBezTo>
                  <a:pt x="636" y="187"/>
                  <a:pt x="636" y="188"/>
                  <a:pt x="636" y="188"/>
                </a:cubicBezTo>
                <a:cubicBezTo>
                  <a:pt x="636" y="188"/>
                  <a:pt x="636" y="188"/>
                  <a:pt x="637" y="188"/>
                </a:cubicBezTo>
                <a:cubicBezTo>
                  <a:pt x="637" y="189"/>
                  <a:pt x="637" y="189"/>
                  <a:pt x="636" y="189"/>
                </a:cubicBezTo>
                <a:cubicBezTo>
                  <a:pt x="637" y="190"/>
                  <a:pt x="636" y="191"/>
                  <a:pt x="635" y="190"/>
                </a:cubicBezTo>
                <a:cubicBezTo>
                  <a:pt x="635" y="190"/>
                  <a:pt x="635" y="190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4" y="190"/>
                  <a:pt x="633" y="190"/>
                  <a:pt x="632" y="189"/>
                </a:cubicBezTo>
                <a:cubicBezTo>
                  <a:pt x="631" y="188"/>
                  <a:pt x="631" y="186"/>
                  <a:pt x="632" y="185"/>
                </a:cubicBezTo>
                <a:cubicBezTo>
                  <a:pt x="632" y="185"/>
                  <a:pt x="632" y="185"/>
                  <a:pt x="631" y="185"/>
                </a:cubicBezTo>
                <a:cubicBezTo>
                  <a:pt x="630" y="186"/>
                  <a:pt x="632" y="185"/>
                  <a:pt x="631" y="184"/>
                </a:cubicBezTo>
                <a:cubicBezTo>
                  <a:pt x="630" y="184"/>
                  <a:pt x="630" y="185"/>
                  <a:pt x="630" y="185"/>
                </a:cubicBezTo>
                <a:cubicBezTo>
                  <a:pt x="629" y="185"/>
                  <a:pt x="630" y="185"/>
                  <a:pt x="630" y="185"/>
                </a:cubicBezTo>
                <a:cubicBezTo>
                  <a:pt x="629" y="185"/>
                  <a:pt x="629" y="186"/>
                  <a:pt x="628" y="185"/>
                </a:cubicBezTo>
                <a:cubicBezTo>
                  <a:pt x="625" y="185"/>
                  <a:pt x="628" y="181"/>
                  <a:pt x="626" y="179"/>
                </a:cubicBezTo>
                <a:cubicBezTo>
                  <a:pt x="625" y="180"/>
                  <a:pt x="624" y="180"/>
                  <a:pt x="624" y="180"/>
                </a:cubicBezTo>
                <a:cubicBezTo>
                  <a:pt x="623" y="181"/>
                  <a:pt x="623" y="182"/>
                  <a:pt x="623" y="183"/>
                </a:cubicBezTo>
                <a:cubicBezTo>
                  <a:pt x="624" y="184"/>
                  <a:pt x="625" y="185"/>
                  <a:pt x="624" y="186"/>
                </a:cubicBezTo>
                <a:cubicBezTo>
                  <a:pt x="624" y="191"/>
                  <a:pt x="618" y="190"/>
                  <a:pt x="617" y="188"/>
                </a:cubicBezTo>
                <a:cubicBezTo>
                  <a:pt x="616" y="188"/>
                  <a:pt x="615" y="188"/>
                  <a:pt x="615" y="189"/>
                </a:cubicBezTo>
                <a:cubicBezTo>
                  <a:pt x="615" y="189"/>
                  <a:pt x="616" y="188"/>
                  <a:pt x="615" y="188"/>
                </a:cubicBezTo>
                <a:cubicBezTo>
                  <a:pt x="614" y="189"/>
                  <a:pt x="612" y="190"/>
                  <a:pt x="610" y="190"/>
                </a:cubicBezTo>
                <a:cubicBezTo>
                  <a:pt x="609" y="191"/>
                  <a:pt x="607" y="191"/>
                  <a:pt x="607" y="191"/>
                </a:cubicBezTo>
                <a:cubicBezTo>
                  <a:pt x="607" y="190"/>
                  <a:pt x="608" y="190"/>
                  <a:pt x="609" y="189"/>
                </a:cubicBezTo>
                <a:cubicBezTo>
                  <a:pt x="609" y="189"/>
                  <a:pt x="608" y="189"/>
                  <a:pt x="608" y="189"/>
                </a:cubicBezTo>
                <a:cubicBezTo>
                  <a:pt x="608" y="188"/>
                  <a:pt x="607" y="187"/>
                  <a:pt x="607" y="186"/>
                </a:cubicBezTo>
                <a:cubicBezTo>
                  <a:pt x="606" y="186"/>
                  <a:pt x="604" y="186"/>
                  <a:pt x="605" y="183"/>
                </a:cubicBezTo>
                <a:cubicBezTo>
                  <a:pt x="606" y="181"/>
                  <a:pt x="605" y="180"/>
                  <a:pt x="605" y="179"/>
                </a:cubicBezTo>
                <a:cubicBezTo>
                  <a:pt x="605" y="179"/>
                  <a:pt x="606" y="178"/>
                  <a:pt x="605" y="177"/>
                </a:cubicBezTo>
                <a:cubicBezTo>
                  <a:pt x="604" y="179"/>
                  <a:pt x="603" y="181"/>
                  <a:pt x="601" y="183"/>
                </a:cubicBezTo>
                <a:cubicBezTo>
                  <a:pt x="604" y="184"/>
                  <a:pt x="606" y="186"/>
                  <a:pt x="602" y="189"/>
                </a:cubicBezTo>
                <a:cubicBezTo>
                  <a:pt x="602" y="189"/>
                  <a:pt x="601" y="189"/>
                  <a:pt x="600" y="190"/>
                </a:cubicBezTo>
                <a:cubicBezTo>
                  <a:pt x="602" y="190"/>
                  <a:pt x="602" y="194"/>
                  <a:pt x="599" y="193"/>
                </a:cubicBezTo>
                <a:cubicBezTo>
                  <a:pt x="598" y="192"/>
                  <a:pt x="599" y="191"/>
                  <a:pt x="599" y="191"/>
                </a:cubicBezTo>
                <a:cubicBezTo>
                  <a:pt x="600" y="190"/>
                  <a:pt x="600" y="190"/>
                  <a:pt x="600" y="190"/>
                </a:cubicBezTo>
                <a:cubicBezTo>
                  <a:pt x="598" y="190"/>
                  <a:pt x="596" y="191"/>
                  <a:pt x="595" y="192"/>
                </a:cubicBezTo>
                <a:cubicBezTo>
                  <a:pt x="593" y="194"/>
                  <a:pt x="594" y="195"/>
                  <a:pt x="592" y="194"/>
                </a:cubicBezTo>
                <a:cubicBezTo>
                  <a:pt x="592" y="193"/>
                  <a:pt x="591" y="192"/>
                  <a:pt x="590" y="193"/>
                </a:cubicBezTo>
                <a:cubicBezTo>
                  <a:pt x="590" y="193"/>
                  <a:pt x="587" y="198"/>
                  <a:pt x="587" y="195"/>
                </a:cubicBezTo>
                <a:cubicBezTo>
                  <a:pt x="587" y="194"/>
                  <a:pt x="588" y="194"/>
                  <a:pt x="588" y="194"/>
                </a:cubicBezTo>
                <a:cubicBezTo>
                  <a:pt x="587" y="193"/>
                  <a:pt x="584" y="194"/>
                  <a:pt x="583" y="193"/>
                </a:cubicBezTo>
                <a:cubicBezTo>
                  <a:pt x="583" y="192"/>
                  <a:pt x="587" y="190"/>
                  <a:pt x="584" y="189"/>
                </a:cubicBezTo>
                <a:cubicBezTo>
                  <a:pt x="583" y="188"/>
                  <a:pt x="583" y="188"/>
                  <a:pt x="583" y="188"/>
                </a:cubicBezTo>
                <a:cubicBezTo>
                  <a:pt x="583" y="188"/>
                  <a:pt x="583" y="188"/>
                  <a:pt x="583" y="187"/>
                </a:cubicBezTo>
                <a:cubicBezTo>
                  <a:pt x="584" y="186"/>
                  <a:pt x="584" y="185"/>
                  <a:pt x="583" y="185"/>
                </a:cubicBezTo>
                <a:cubicBezTo>
                  <a:pt x="582" y="186"/>
                  <a:pt x="581" y="186"/>
                  <a:pt x="580" y="185"/>
                </a:cubicBezTo>
                <a:cubicBezTo>
                  <a:pt x="580" y="184"/>
                  <a:pt x="581" y="184"/>
                  <a:pt x="581" y="183"/>
                </a:cubicBezTo>
                <a:cubicBezTo>
                  <a:pt x="582" y="183"/>
                  <a:pt x="582" y="183"/>
                  <a:pt x="582" y="183"/>
                </a:cubicBezTo>
                <a:cubicBezTo>
                  <a:pt x="581" y="182"/>
                  <a:pt x="580" y="182"/>
                  <a:pt x="579" y="182"/>
                </a:cubicBezTo>
                <a:cubicBezTo>
                  <a:pt x="578" y="181"/>
                  <a:pt x="580" y="179"/>
                  <a:pt x="580" y="178"/>
                </a:cubicBezTo>
                <a:cubicBezTo>
                  <a:pt x="578" y="176"/>
                  <a:pt x="577" y="179"/>
                  <a:pt x="574" y="179"/>
                </a:cubicBezTo>
                <a:cubicBezTo>
                  <a:pt x="574" y="179"/>
                  <a:pt x="572" y="177"/>
                  <a:pt x="570" y="179"/>
                </a:cubicBezTo>
                <a:cubicBezTo>
                  <a:pt x="569" y="180"/>
                  <a:pt x="571" y="182"/>
                  <a:pt x="568" y="184"/>
                </a:cubicBezTo>
                <a:cubicBezTo>
                  <a:pt x="567" y="184"/>
                  <a:pt x="562" y="186"/>
                  <a:pt x="562" y="185"/>
                </a:cubicBezTo>
                <a:cubicBezTo>
                  <a:pt x="561" y="184"/>
                  <a:pt x="563" y="184"/>
                  <a:pt x="563" y="184"/>
                </a:cubicBezTo>
                <a:cubicBezTo>
                  <a:pt x="564" y="182"/>
                  <a:pt x="562" y="180"/>
                  <a:pt x="562" y="181"/>
                </a:cubicBezTo>
                <a:cubicBezTo>
                  <a:pt x="563" y="179"/>
                  <a:pt x="565" y="179"/>
                  <a:pt x="565" y="178"/>
                </a:cubicBezTo>
                <a:cubicBezTo>
                  <a:pt x="565" y="178"/>
                  <a:pt x="565" y="178"/>
                  <a:pt x="564" y="178"/>
                </a:cubicBezTo>
                <a:cubicBezTo>
                  <a:pt x="564" y="177"/>
                  <a:pt x="565" y="177"/>
                  <a:pt x="565" y="177"/>
                </a:cubicBezTo>
                <a:cubicBezTo>
                  <a:pt x="565" y="176"/>
                  <a:pt x="564" y="174"/>
                  <a:pt x="565" y="173"/>
                </a:cubicBezTo>
                <a:cubicBezTo>
                  <a:pt x="565" y="173"/>
                  <a:pt x="565" y="173"/>
                  <a:pt x="565" y="173"/>
                </a:cubicBezTo>
                <a:cubicBezTo>
                  <a:pt x="565" y="173"/>
                  <a:pt x="565" y="172"/>
                  <a:pt x="565" y="172"/>
                </a:cubicBezTo>
                <a:cubicBezTo>
                  <a:pt x="564" y="172"/>
                  <a:pt x="564" y="171"/>
                  <a:pt x="566" y="170"/>
                </a:cubicBezTo>
                <a:cubicBezTo>
                  <a:pt x="566" y="170"/>
                  <a:pt x="566" y="170"/>
                  <a:pt x="566" y="170"/>
                </a:cubicBezTo>
                <a:cubicBezTo>
                  <a:pt x="566" y="170"/>
                  <a:pt x="565" y="170"/>
                  <a:pt x="565" y="170"/>
                </a:cubicBezTo>
                <a:cubicBezTo>
                  <a:pt x="564" y="170"/>
                  <a:pt x="563" y="170"/>
                  <a:pt x="563" y="169"/>
                </a:cubicBezTo>
                <a:cubicBezTo>
                  <a:pt x="562" y="169"/>
                  <a:pt x="562" y="169"/>
                  <a:pt x="562" y="169"/>
                </a:cubicBezTo>
                <a:cubicBezTo>
                  <a:pt x="562" y="169"/>
                  <a:pt x="562" y="168"/>
                  <a:pt x="563" y="167"/>
                </a:cubicBezTo>
                <a:cubicBezTo>
                  <a:pt x="563" y="167"/>
                  <a:pt x="563" y="166"/>
                  <a:pt x="562" y="166"/>
                </a:cubicBezTo>
                <a:cubicBezTo>
                  <a:pt x="563" y="165"/>
                  <a:pt x="566" y="165"/>
                  <a:pt x="568" y="164"/>
                </a:cubicBezTo>
                <a:cubicBezTo>
                  <a:pt x="567" y="165"/>
                  <a:pt x="568" y="167"/>
                  <a:pt x="569" y="165"/>
                </a:cubicBezTo>
                <a:cubicBezTo>
                  <a:pt x="571" y="164"/>
                  <a:pt x="569" y="164"/>
                  <a:pt x="569" y="164"/>
                </a:cubicBezTo>
                <a:cubicBezTo>
                  <a:pt x="569" y="164"/>
                  <a:pt x="570" y="163"/>
                  <a:pt x="569" y="162"/>
                </a:cubicBezTo>
                <a:cubicBezTo>
                  <a:pt x="569" y="162"/>
                  <a:pt x="569" y="162"/>
                  <a:pt x="569" y="162"/>
                </a:cubicBezTo>
                <a:cubicBezTo>
                  <a:pt x="567" y="163"/>
                  <a:pt x="565" y="164"/>
                  <a:pt x="563" y="163"/>
                </a:cubicBezTo>
                <a:cubicBezTo>
                  <a:pt x="563" y="163"/>
                  <a:pt x="563" y="163"/>
                  <a:pt x="563" y="164"/>
                </a:cubicBezTo>
                <a:cubicBezTo>
                  <a:pt x="563" y="164"/>
                  <a:pt x="564" y="164"/>
                  <a:pt x="564" y="164"/>
                </a:cubicBezTo>
                <a:cubicBezTo>
                  <a:pt x="563" y="165"/>
                  <a:pt x="563" y="164"/>
                  <a:pt x="563" y="163"/>
                </a:cubicBezTo>
                <a:cubicBezTo>
                  <a:pt x="562" y="163"/>
                  <a:pt x="562" y="162"/>
                  <a:pt x="562" y="161"/>
                </a:cubicBezTo>
                <a:cubicBezTo>
                  <a:pt x="562" y="160"/>
                  <a:pt x="564" y="158"/>
                  <a:pt x="567" y="158"/>
                </a:cubicBezTo>
                <a:cubicBezTo>
                  <a:pt x="566" y="157"/>
                  <a:pt x="565" y="156"/>
                  <a:pt x="566" y="155"/>
                </a:cubicBezTo>
                <a:cubicBezTo>
                  <a:pt x="566" y="153"/>
                  <a:pt x="570" y="153"/>
                  <a:pt x="569" y="152"/>
                </a:cubicBezTo>
                <a:cubicBezTo>
                  <a:pt x="570" y="152"/>
                  <a:pt x="572" y="151"/>
                  <a:pt x="574" y="151"/>
                </a:cubicBezTo>
                <a:cubicBezTo>
                  <a:pt x="576" y="153"/>
                  <a:pt x="575" y="153"/>
                  <a:pt x="579" y="152"/>
                </a:cubicBezTo>
                <a:cubicBezTo>
                  <a:pt x="579" y="152"/>
                  <a:pt x="580" y="151"/>
                  <a:pt x="581" y="151"/>
                </a:cubicBezTo>
                <a:cubicBezTo>
                  <a:pt x="584" y="150"/>
                  <a:pt x="583" y="150"/>
                  <a:pt x="582" y="148"/>
                </a:cubicBezTo>
                <a:cubicBezTo>
                  <a:pt x="584" y="150"/>
                  <a:pt x="583" y="148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0" y="147"/>
                  <a:pt x="580" y="147"/>
                </a:cubicBezTo>
                <a:cubicBezTo>
                  <a:pt x="580" y="147"/>
                  <a:pt x="579" y="149"/>
                  <a:pt x="578" y="148"/>
                </a:cubicBezTo>
                <a:cubicBezTo>
                  <a:pt x="577" y="147"/>
                  <a:pt x="581" y="144"/>
                  <a:pt x="577" y="144"/>
                </a:cubicBezTo>
                <a:cubicBezTo>
                  <a:pt x="583" y="142"/>
                  <a:pt x="575" y="140"/>
                  <a:pt x="573" y="139"/>
                </a:cubicBezTo>
                <a:cubicBezTo>
                  <a:pt x="572" y="138"/>
                  <a:pt x="571" y="137"/>
                  <a:pt x="570" y="135"/>
                </a:cubicBezTo>
                <a:cubicBezTo>
                  <a:pt x="570" y="135"/>
                  <a:pt x="569" y="134"/>
                  <a:pt x="569" y="134"/>
                </a:cubicBezTo>
                <a:cubicBezTo>
                  <a:pt x="569" y="134"/>
                  <a:pt x="569" y="134"/>
                  <a:pt x="569" y="133"/>
                </a:cubicBezTo>
                <a:cubicBezTo>
                  <a:pt x="569" y="133"/>
                  <a:pt x="568" y="132"/>
                  <a:pt x="568" y="132"/>
                </a:cubicBezTo>
                <a:cubicBezTo>
                  <a:pt x="567" y="132"/>
                  <a:pt x="567" y="132"/>
                  <a:pt x="567" y="132"/>
                </a:cubicBezTo>
                <a:cubicBezTo>
                  <a:pt x="567" y="132"/>
                  <a:pt x="566" y="133"/>
                  <a:pt x="566" y="133"/>
                </a:cubicBezTo>
                <a:cubicBezTo>
                  <a:pt x="566" y="134"/>
                  <a:pt x="564" y="135"/>
                  <a:pt x="563" y="135"/>
                </a:cubicBezTo>
                <a:cubicBezTo>
                  <a:pt x="562" y="135"/>
                  <a:pt x="561" y="134"/>
                  <a:pt x="561" y="133"/>
                </a:cubicBezTo>
                <a:cubicBezTo>
                  <a:pt x="560" y="134"/>
                  <a:pt x="559" y="134"/>
                  <a:pt x="558" y="134"/>
                </a:cubicBezTo>
                <a:cubicBezTo>
                  <a:pt x="557" y="134"/>
                  <a:pt x="559" y="133"/>
                  <a:pt x="560" y="133"/>
                </a:cubicBezTo>
                <a:cubicBezTo>
                  <a:pt x="560" y="132"/>
                  <a:pt x="560" y="131"/>
                  <a:pt x="561" y="131"/>
                </a:cubicBezTo>
                <a:cubicBezTo>
                  <a:pt x="560" y="131"/>
                  <a:pt x="558" y="131"/>
                  <a:pt x="557" y="131"/>
                </a:cubicBezTo>
                <a:cubicBezTo>
                  <a:pt x="557" y="131"/>
                  <a:pt x="557" y="131"/>
                  <a:pt x="557" y="131"/>
                </a:cubicBezTo>
                <a:cubicBezTo>
                  <a:pt x="558" y="131"/>
                  <a:pt x="559" y="131"/>
                  <a:pt x="559" y="132"/>
                </a:cubicBezTo>
                <a:cubicBezTo>
                  <a:pt x="558" y="132"/>
                  <a:pt x="557" y="132"/>
                  <a:pt x="556" y="132"/>
                </a:cubicBezTo>
                <a:cubicBezTo>
                  <a:pt x="555" y="132"/>
                  <a:pt x="555" y="132"/>
                  <a:pt x="555" y="133"/>
                </a:cubicBezTo>
                <a:cubicBezTo>
                  <a:pt x="556" y="133"/>
                  <a:pt x="555" y="135"/>
                  <a:pt x="554" y="134"/>
                </a:cubicBezTo>
                <a:cubicBezTo>
                  <a:pt x="553" y="135"/>
                  <a:pt x="552" y="135"/>
                  <a:pt x="552" y="135"/>
                </a:cubicBezTo>
                <a:cubicBezTo>
                  <a:pt x="552" y="134"/>
                  <a:pt x="552" y="134"/>
                  <a:pt x="553" y="133"/>
                </a:cubicBezTo>
                <a:cubicBezTo>
                  <a:pt x="552" y="133"/>
                  <a:pt x="551" y="131"/>
                  <a:pt x="553" y="132"/>
                </a:cubicBezTo>
                <a:cubicBezTo>
                  <a:pt x="553" y="132"/>
                  <a:pt x="553" y="132"/>
                  <a:pt x="553" y="132"/>
                </a:cubicBezTo>
                <a:cubicBezTo>
                  <a:pt x="553" y="133"/>
                  <a:pt x="553" y="133"/>
                  <a:pt x="553" y="133"/>
                </a:cubicBezTo>
                <a:cubicBezTo>
                  <a:pt x="554" y="133"/>
                  <a:pt x="554" y="132"/>
                  <a:pt x="554" y="132"/>
                </a:cubicBezTo>
                <a:cubicBezTo>
                  <a:pt x="553" y="132"/>
                  <a:pt x="552" y="131"/>
                  <a:pt x="552" y="131"/>
                </a:cubicBezTo>
                <a:cubicBezTo>
                  <a:pt x="552" y="131"/>
                  <a:pt x="553" y="131"/>
                  <a:pt x="555" y="131"/>
                </a:cubicBezTo>
                <a:cubicBezTo>
                  <a:pt x="554" y="130"/>
                  <a:pt x="554" y="130"/>
                  <a:pt x="554" y="130"/>
                </a:cubicBezTo>
                <a:cubicBezTo>
                  <a:pt x="553" y="130"/>
                  <a:pt x="552" y="131"/>
                  <a:pt x="552" y="131"/>
                </a:cubicBezTo>
                <a:cubicBezTo>
                  <a:pt x="551" y="130"/>
                  <a:pt x="550" y="127"/>
                  <a:pt x="548" y="129"/>
                </a:cubicBezTo>
                <a:cubicBezTo>
                  <a:pt x="548" y="130"/>
                  <a:pt x="549" y="131"/>
                  <a:pt x="549" y="130"/>
                </a:cubicBezTo>
                <a:cubicBezTo>
                  <a:pt x="549" y="131"/>
                  <a:pt x="549" y="131"/>
                  <a:pt x="549" y="131"/>
                </a:cubicBezTo>
                <a:cubicBezTo>
                  <a:pt x="549" y="131"/>
                  <a:pt x="549" y="131"/>
                  <a:pt x="550" y="131"/>
                </a:cubicBezTo>
                <a:cubicBezTo>
                  <a:pt x="551" y="131"/>
                  <a:pt x="549" y="133"/>
                  <a:pt x="549" y="132"/>
                </a:cubicBezTo>
                <a:cubicBezTo>
                  <a:pt x="549" y="132"/>
                  <a:pt x="549" y="132"/>
                  <a:pt x="549" y="132"/>
                </a:cubicBezTo>
                <a:cubicBezTo>
                  <a:pt x="548" y="133"/>
                  <a:pt x="544" y="131"/>
                  <a:pt x="543" y="131"/>
                </a:cubicBezTo>
                <a:cubicBezTo>
                  <a:pt x="545" y="130"/>
                  <a:pt x="543" y="130"/>
                  <a:pt x="542" y="129"/>
                </a:cubicBezTo>
                <a:cubicBezTo>
                  <a:pt x="540" y="130"/>
                  <a:pt x="539" y="131"/>
                  <a:pt x="537" y="132"/>
                </a:cubicBezTo>
                <a:cubicBezTo>
                  <a:pt x="538" y="130"/>
                  <a:pt x="540" y="129"/>
                  <a:pt x="542" y="129"/>
                </a:cubicBezTo>
                <a:cubicBezTo>
                  <a:pt x="541" y="128"/>
                  <a:pt x="541" y="127"/>
                  <a:pt x="541" y="127"/>
                </a:cubicBezTo>
                <a:cubicBezTo>
                  <a:pt x="542" y="125"/>
                  <a:pt x="546" y="126"/>
                  <a:pt x="546" y="124"/>
                </a:cubicBezTo>
                <a:cubicBezTo>
                  <a:pt x="547" y="123"/>
                  <a:pt x="545" y="124"/>
                  <a:pt x="545" y="124"/>
                </a:cubicBezTo>
                <a:cubicBezTo>
                  <a:pt x="546" y="122"/>
                  <a:pt x="547" y="121"/>
                  <a:pt x="545" y="120"/>
                </a:cubicBezTo>
                <a:cubicBezTo>
                  <a:pt x="545" y="120"/>
                  <a:pt x="540" y="120"/>
                  <a:pt x="538" y="120"/>
                </a:cubicBezTo>
                <a:cubicBezTo>
                  <a:pt x="536" y="120"/>
                  <a:pt x="534" y="121"/>
                  <a:pt x="531" y="119"/>
                </a:cubicBezTo>
                <a:cubicBezTo>
                  <a:pt x="534" y="119"/>
                  <a:pt x="535" y="117"/>
                  <a:pt x="537" y="117"/>
                </a:cubicBezTo>
                <a:cubicBezTo>
                  <a:pt x="537" y="117"/>
                  <a:pt x="537" y="116"/>
                  <a:pt x="537" y="116"/>
                </a:cubicBezTo>
                <a:cubicBezTo>
                  <a:pt x="537" y="116"/>
                  <a:pt x="537" y="117"/>
                  <a:pt x="537" y="117"/>
                </a:cubicBezTo>
                <a:cubicBezTo>
                  <a:pt x="538" y="116"/>
                  <a:pt x="538" y="116"/>
                  <a:pt x="539" y="116"/>
                </a:cubicBezTo>
                <a:cubicBezTo>
                  <a:pt x="542" y="115"/>
                  <a:pt x="545" y="118"/>
                  <a:pt x="548" y="117"/>
                </a:cubicBezTo>
                <a:cubicBezTo>
                  <a:pt x="548" y="117"/>
                  <a:pt x="551" y="114"/>
                  <a:pt x="552" y="114"/>
                </a:cubicBezTo>
                <a:cubicBezTo>
                  <a:pt x="553" y="114"/>
                  <a:pt x="554" y="115"/>
                  <a:pt x="554" y="114"/>
                </a:cubicBezTo>
                <a:cubicBezTo>
                  <a:pt x="553" y="114"/>
                  <a:pt x="553" y="113"/>
                  <a:pt x="553" y="113"/>
                </a:cubicBezTo>
                <a:cubicBezTo>
                  <a:pt x="553" y="113"/>
                  <a:pt x="552" y="113"/>
                  <a:pt x="552" y="113"/>
                </a:cubicBezTo>
                <a:cubicBezTo>
                  <a:pt x="552" y="114"/>
                  <a:pt x="551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8" y="114"/>
                  <a:pt x="547" y="114"/>
                  <a:pt x="547" y="114"/>
                </a:cubicBezTo>
                <a:cubicBezTo>
                  <a:pt x="547" y="114"/>
                  <a:pt x="547" y="113"/>
                  <a:pt x="547" y="113"/>
                </a:cubicBezTo>
                <a:cubicBezTo>
                  <a:pt x="547" y="112"/>
                  <a:pt x="548" y="111"/>
                  <a:pt x="549" y="110"/>
                </a:cubicBezTo>
                <a:cubicBezTo>
                  <a:pt x="550" y="110"/>
                  <a:pt x="552" y="111"/>
                  <a:pt x="552" y="112"/>
                </a:cubicBezTo>
                <a:cubicBezTo>
                  <a:pt x="552" y="112"/>
                  <a:pt x="552" y="112"/>
                  <a:pt x="553" y="112"/>
                </a:cubicBezTo>
                <a:cubicBezTo>
                  <a:pt x="552" y="111"/>
                  <a:pt x="554" y="110"/>
                  <a:pt x="555" y="111"/>
                </a:cubicBezTo>
                <a:cubicBezTo>
                  <a:pt x="555" y="110"/>
                  <a:pt x="555" y="110"/>
                  <a:pt x="554" y="109"/>
                </a:cubicBezTo>
                <a:cubicBezTo>
                  <a:pt x="554" y="110"/>
                  <a:pt x="554" y="110"/>
                  <a:pt x="554" y="110"/>
                </a:cubicBezTo>
                <a:cubicBezTo>
                  <a:pt x="554" y="110"/>
                  <a:pt x="554" y="109"/>
                  <a:pt x="554" y="109"/>
                </a:cubicBezTo>
                <a:cubicBezTo>
                  <a:pt x="553" y="108"/>
                  <a:pt x="550" y="108"/>
                  <a:pt x="549" y="107"/>
                </a:cubicBezTo>
                <a:cubicBezTo>
                  <a:pt x="550" y="106"/>
                  <a:pt x="551" y="106"/>
                  <a:pt x="550" y="105"/>
                </a:cubicBezTo>
                <a:cubicBezTo>
                  <a:pt x="549" y="106"/>
                  <a:pt x="546" y="106"/>
                  <a:pt x="548" y="104"/>
                </a:cubicBezTo>
                <a:cubicBezTo>
                  <a:pt x="548" y="104"/>
                  <a:pt x="548" y="104"/>
                  <a:pt x="548" y="104"/>
                </a:cubicBezTo>
                <a:cubicBezTo>
                  <a:pt x="548" y="104"/>
                  <a:pt x="547" y="103"/>
                  <a:pt x="547" y="103"/>
                </a:cubicBezTo>
                <a:cubicBezTo>
                  <a:pt x="545" y="104"/>
                  <a:pt x="543" y="105"/>
                  <a:pt x="541" y="106"/>
                </a:cubicBezTo>
                <a:cubicBezTo>
                  <a:pt x="537" y="107"/>
                  <a:pt x="541" y="104"/>
                  <a:pt x="543" y="103"/>
                </a:cubicBezTo>
                <a:cubicBezTo>
                  <a:pt x="544" y="103"/>
                  <a:pt x="546" y="102"/>
                  <a:pt x="548" y="101"/>
                </a:cubicBezTo>
                <a:cubicBezTo>
                  <a:pt x="548" y="101"/>
                  <a:pt x="548" y="101"/>
                  <a:pt x="548" y="100"/>
                </a:cubicBezTo>
                <a:cubicBezTo>
                  <a:pt x="549" y="100"/>
                  <a:pt x="549" y="100"/>
                  <a:pt x="550" y="100"/>
                </a:cubicBezTo>
                <a:cubicBezTo>
                  <a:pt x="552" y="99"/>
                  <a:pt x="553" y="99"/>
                  <a:pt x="554" y="98"/>
                </a:cubicBezTo>
                <a:cubicBezTo>
                  <a:pt x="555" y="97"/>
                  <a:pt x="555" y="95"/>
                  <a:pt x="555" y="94"/>
                </a:cubicBezTo>
                <a:cubicBezTo>
                  <a:pt x="554" y="95"/>
                  <a:pt x="554" y="94"/>
                  <a:pt x="553" y="94"/>
                </a:cubicBezTo>
                <a:cubicBezTo>
                  <a:pt x="553" y="94"/>
                  <a:pt x="553" y="94"/>
                  <a:pt x="553" y="94"/>
                </a:cubicBezTo>
                <a:cubicBezTo>
                  <a:pt x="553" y="94"/>
                  <a:pt x="553" y="94"/>
                  <a:pt x="552" y="94"/>
                </a:cubicBezTo>
                <a:cubicBezTo>
                  <a:pt x="552" y="94"/>
                  <a:pt x="550" y="93"/>
                  <a:pt x="550" y="93"/>
                </a:cubicBezTo>
                <a:cubicBezTo>
                  <a:pt x="550" y="93"/>
                  <a:pt x="550" y="93"/>
                  <a:pt x="550" y="92"/>
                </a:cubicBezTo>
                <a:cubicBezTo>
                  <a:pt x="549" y="91"/>
                  <a:pt x="551" y="90"/>
                  <a:pt x="552" y="90"/>
                </a:cubicBezTo>
                <a:cubicBezTo>
                  <a:pt x="552" y="89"/>
                  <a:pt x="552" y="89"/>
                  <a:pt x="553" y="88"/>
                </a:cubicBezTo>
                <a:cubicBezTo>
                  <a:pt x="553" y="88"/>
                  <a:pt x="553" y="88"/>
                  <a:pt x="553" y="88"/>
                </a:cubicBezTo>
                <a:cubicBezTo>
                  <a:pt x="552" y="87"/>
                  <a:pt x="550" y="87"/>
                  <a:pt x="549" y="87"/>
                </a:cubicBezTo>
                <a:cubicBezTo>
                  <a:pt x="548" y="87"/>
                  <a:pt x="546" y="87"/>
                  <a:pt x="546" y="86"/>
                </a:cubicBezTo>
                <a:cubicBezTo>
                  <a:pt x="545" y="86"/>
                  <a:pt x="544" y="85"/>
                  <a:pt x="544" y="84"/>
                </a:cubicBezTo>
                <a:cubicBezTo>
                  <a:pt x="543" y="85"/>
                  <a:pt x="542" y="85"/>
                  <a:pt x="542" y="84"/>
                </a:cubicBezTo>
                <a:cubicBezTo>
                  <a:pt x="541" y="84"/>
                  <a:pt x="540" y="82"/>
                  <a:pt x="542" y="81"/>
                </a:cubicBezTo>
                <a:cubicBezTo>
                  <a:pt x="542" y="81"/>
                  <a:pt x="542" y="81"/>
                  <a:pt x="542" y="81"/>
                </a:cubicBezTo>
                <a:cubicBezTo>
                  <a:pt x="541" y="80"/>
                  <a:pt x="542" y="80"/>
                  <a:pt x="542" y="79"/>
                </a:cubicBezTo>
                <a:cubicBezTo>
                  <a:pt x="541" y="80"/>
                  <a:pt x="540" y="80"/>
                  <a:pt x="539" y="80"/>
                </a:cubicBezTo>
                <a:cubicBezTo>
                  <a:pt x="539" y="80"/>
                  <a:pt x="538" y="81"/>
                  <a:pt x="539" y="82"/>
                </a:cubicBezTo>
                <a:cubicBezTo>
                  <a:pt x="538" y="82"/>
                  <a:pt x="536" y="83"/>
                  <a:pt x="535" y="84"/>
                </a:cubicBezTo>
                <a:cubicBezTo>
                  <a:pt x="534" y="85"/>
                  <a:pt x="533" y="85"/>
                  <a:pt x="532" y="86"/>
                </a:cubicBezTo>
                <a:cubicBezTo>
                  <a:pt x="532" y="86"/>
                  <a:pt x="532" y="87"/>
                  <a:pt x="532" y="87"/>
                </a:cubicBezTo>
                <a:cubicBezTo>
                  <a:pt x="531" y="87"/>
                  <a:pt x="530" y="86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8" y="87"/>
                </a:cubicBezTo>
                <a:cubicBezTo>
                  <a:pt x="527" y="87"/>
                  <a:pt x="527" y="88"/>
                  <a:pt x="526" y="88"/>
                </a:cubicBezTo>
                <a:cubicBezTo>
                  <a:pt x="526" y="88"/>
                  <a:pt x="526" y="87"/>
                  <a:pt x="526" y="87"/>
                </a:cubicBezTo>
                <a:cubicBezTo>
                  <a:pt x="525" y="85"/>
                  <a:pt x="521" y="83"/>
                  <a:pt x="520" y="81"/>
                </a:cubicBezTo>
                <a:cubicBezTo>
                  <a:pt x="520" y="79"/>
                  <a:pt x="524" y="78"/>
                  <a:pt x="525" y="76"/>
                </a:cubicBezTo>
                <a:cubicBezTo>
                  <a:pt x="526" y="76"/>
                  <a:pt x="524" y="74"/>
                  <a:pt x="525" y="74"/>
                </a:cubicBezTo>
                <a:cubicBezTo>
                  <a:pt x="526" y="73"/>
                  <a:pt x="526" y="75"/>
                  <a:pt x="527" y="75"/>
                </a:cubicBezTo>
                <a:cubicBezTo>
                  <a:pt x="528" y="76"/>
                  <a:pt x="533" y="76"/>
                  <a:pt x="535" y="76"/>
                </a:cubicBezTo>
                <a:cubicBezTo>
                  <a:pt x="536" y="76"/>
                  <a:pt x="537" y="76"/>
                  <a:pt x="538" y="77"/>
                </a:cubicBezTo>
                <a:cubicBezTo>
                  <a:pt x="539" y="75"/>
                  <a:pt x="543" y="75"/>
                  <a:pt x="543" y="74"/>
                </a:cubicBezTo>
                <a:cubicBezTo>
                  <a:pt x="544" y="74"/>
                  <a:pt x="542" y="74"/>
                  <a:pt x="542" y="73"/>
                </a:cubicBezTo>
                <a:cubicBezTo>
                  <a:pt x="543" y="73"/>
                  <a:pt x="544" y="73"/>
                  <a:pt x="545" y="74"/>
                </a:cubicBezTo>
                <a:cubicBezTo>
                  <a:pt x="547" y="73"/>
                  <a:pt x="550" y="72"/>
                  <a:pt x="553" y="72"/>
                </a:cubicBezTo>
                <a:cubicBezTo>
                  <a:pt x="552" y="71"/>
                  <a:pt x="552" y="70"/>
                  <a:pt x="551" y="70"/>
                </a:cubicBezTo>
                <a:cubicBezTo>
                  <a:pt x="551" y="70"/>
                  <a:pt x="550" y="71"/>
                  <a:pt x="550" y="71"/>
                </a:cubicBezTo>
                <a:cubicBezTo>
                  <a:pt x="550" y="71"/>
                  <a:pt x="547" y="70"/>
                  <a:pt x="545" y="69"/>
                </a:cubicBezTo>
                <a:cubicBezTo>
                  <a:pt x="544" y="69"/>
                  <a:pt x="543" y="69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2" y="67"/>
                  <a:pt x="543" y="66"/>
                  <a:pt x="542" y="66"/>
                </a:cubicBezTo>
                <a:cubicBezTo>
                  <a:pt x="540" y="64"/>
                  <a:pt x="537" y="66"/>
                  <a:pt x="535" y="66"/>
                </a:cubicBezTo>
                <a:cubicBezTo>
                  <a:pt x="535" y="66"/>
                  <a:pt x="534" y="65"/>
                  <a:pt x="534" y="65"/>
                </a:cubicBezTo>
                <a:cubicBezTo>
                  <a:pt x="534" y="65"/>
                  <a:pt x="534" y="65"/>
                  <a:pt x="534" y="65"/>
                </a:cubicBezTo>
                <a:cubicBezTo>
                  <a:pt x="534" y="67"/>
                  <a:pt x="529" y="69"/>
                  <a:pt x="528" y="68"/>
                </a:cubicBezTo>
                <a:cubicBezTo>
                  <a:pt x="527" y="66"/>
                  <a:pt x="528" y="64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2"/>
                  <a:pt x="529" y="62"/>
                </a:cubicBezTo>
                <a:cubicBezTo>
                  <a:pt x="529" y="62"/>
                  <a:pt x="529" y="62"/>
                  <a:pt x="529" y="62"/>
                </a:cubicBezTo>
                <a:cubicBezTo>
                  <a:pt x="528" y="62"/>
                  <a:pt x="527" y="63"/>
                  <a:pt x="526" y="63"/>
                </a:cubicBezTo>
                <a:cubicBezTo>
                  <a:pt x="526" y="63"/>
                  <a:pt x="526" y="63"/>
                  <a:pt x="526" y="63"/>
                </a:cubicBezTo>
                <a:cubicBezTo>
                  <a:pt x="526" y="64"/>
                  <a:pt x="526" y="64"/>
                  <a:pt x="526" y="65"/>
                </a:cubicBezTo>
                <a:cubicBezTo>
                  <a:pt x="525" y="66"/>
                  <a:pt x="522" y="66"/>
                  <a:pt x="520" y="68"/>
                </a:cubicBezTo>
                <a:cubicBezTo>
                  <a:pt x="519" y="69"/>
                  <a:pt x="517" y="72"/>
                  <a:pt x="515" y="72"/>
                </a:cubicBezTo>
                <a:cubicBezTo>
                  <a:pt x="514" y="71"/>
                  <a:pt x="514" y="70"/>
                  <a:pt x="513" y="70"/>
                </a:cubicBezTo>
                <a:cubicBezTo>
                  <a:pt x="513" y="69"/>
                  <a:pt x="513" y="70"/>
                  <a:pt x="512" y="70"/>
                </a:cubicBezTo>
                <a:cubicBezTo>
                  <a:pt x="511" y="71"/>
                  <a:pt x="510" y="70"/>
                  <a:pt x="510" y="69"/>
                </a:cubicBezTo>
                <a:cubicBezTo>
                  <a:pt x="509" y="69"/>
                  <a:pt x="508" y="69"/>
                  <a:pt x="508" y="68"/>
                </a:cubicBezTo>
                <a:cubicBezTo>
                  <a:pt x="508" y="68"/>
                  <a:pt x="509" y="67"/>
                  <a:pt x="510" y="66"/>
                </a:cubicBezTo>
                <a:cubicBezTo>
                  <a:pt x="510" y="65"/>
                  <a:pt x="511" y="65"/>
                  <a:pt x="512" y="66"/>
                </a:cubicBezTo>
                <a:cubicBezTo>
                  <a:pt x="513" y="67"/>
                  <a:pt x="513" y="66"/>
                  <a:pt x="513" y="65"/>
                </a:cubicBezTo>
                <a:cubicBezTo>
                  <a:pt x="512" y="64"/>
                  <a:pt x="511" y="64"/>
                  <a:pt x="511" y="63"/>
                </a:cubicBezTo>
                <a:cubicBezTo>
                  <a:pt x="511" y="63"/>
                  <a:pt x="511" y="62"/>
                  <a:pt x="513" y="61"/>
                </a:cubicBezTo>
                <a:cubicBezTo>
                  <a:pt x="511" y="61"/>
                  <a:pt x="510" y="60"/>
                  <a:pt x="509" y="59"/>
                </a:cubicBezTo>
                <a:cubicBezTo>
                  <a:pt x="509" y="59"/>
                  <a:pt x="510" y="56"/>
                  <a:pt x="511" y="55"/>
                </a:cubicBezTo>
                <a:cubicBezTo>
                  <a:pt x="512" y="54"/>
                  <a:pt x="515" y="54"/>
                  <a:pt x="515" y="53"/>
                </a:cubicBezTo>
                <a:cubicBezTo>
                  <a:pt x="515" y="53"/>
                  <a:pt x="514" y="53"/>
                  <a:pt x="514" y="53"/>
                </a:cubicBezTo>
                <a:cubicBezTo>
                  <a:pt x="514" y="53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2" y="54"/>
                  <a:pt x="511" y="55"/>
                  <a:pt x="510" y="54"/>
                </a:cubicBezTo>
                <a:cubicBezTo>
                  <a:pt x="510" y="54"/>
                  <a:pt x="510" y="53"/>
                  <a:pt x="510" y="53"/>
                </a:cubicBezTo>
                <a:cubicBezTo>
                  <a:pt x="510" y="53"/>
                  <a:pt x="510" y="53"/>
                  <a:pt x="510" y="53"/>
                </a:cubicBezTo>
                <a:cubicBezTo>
                  <a:pt x="510" y="53"/>
                  <a:pt x="510" y="52"/>
                  <a:pt x="510" y="52"/>
                </a:cubicBezTo>
                <a:cubicBezTo>
                  <a:pt x="510" y="52"/>
                  <a:pt x="510" y="52"/>
                  <a:pt x="510" y="52"/>
                </a:cubicBezTo>
                <a:cubicBezTo>
                  <a:pt x="511" y="51"/>
                  <a:pt x="513" y="51"/>
                  <a:pt x="513" y="52"/>
                </a:cubicBezTo>
                <a:cubicBezTo>
                  <a:pt x="515" y="52"/>
                  <a:pt x="517" y="52"/>
                  <a:pt x="516" y="53"/>
                </a:cubicBezTo>
                <a:cubicBezTo>
                  <a:pt x="516" y="53"/>
                  <a:pt x="515" y="54"/>
                  <a:pt x="515" y="54"/>
                </a:cubicBezTo>
                <a:cubicBezTo>
                  <a:pt x="516" y="54"/>
                  <a:pt x="517" y="54"/>
                  <a:pt x="517" y="54"/>
                </a:cubicBezTo>
                <a:cubicBezTo>
                  <a:pt x="518" y="54"/>
                  <a:pt x="519" y="55"/>
                  <a:pt x="520" y="55"/>
                </a:cubicBezTo>
                <a:cubicBezTo>
                  <a:pt x="521" y="55"/>
                  <a:pt x="522" y="55"/>
                  <a:pt x="522" y="56"/>
                </a:cubicBezTo>
                <a:cubicBezTo>
                  <a:pt x="522" y="57"/>
                  <a:pt x="522" y="57"/>
                  <a:pt x="521" y="57"/>
                </a:cubicBezTo>
                <a:cubicBezTo>
                  <a:pt x="521" y="57"/>
                  <a:pt x="521" y="58"/>
                  <a:pt x="521" y="58"/>
                </a:cubicBezTo>
                <a:cubicBezTo>
                  <a:pt x="522" y="57"/>
                  <a:pt x="523" y="57"/>
                  <a:pt x="525" y="58"/>
                </a:cubicBezTo>
                <a:cubicBezTo>
                  <a:pt x="525" y="59"/>
                  <a:pt x="524" y="59"/>
                  <a:pt x="524" y="59"/>
                </a:cubicBezTo>
                <a:cubicBezTo>
                  <a:pt x="525" y="59"/>
                  <a:pt x="526" y="58"/>
                  <a:pt x="528" y="58"/>
                </a:cubicBezTo>
                <a:cubicBezTo>
                  <a:pt x="528" y="58"/>
                  <a:pt x="528" y="57"/>
                  <a:pt x="528" y="57"/>
                </a:cubicBezTo>
                <a:cubicBezTo>
                  <a:pt x="528" y="57"/>
                  <a:pt x="527" y="57"/>
                  <a:pt x="527" y="56"/>
                </a:cubicBezTo>
                <a:cubicBezTo>
                  <a:pt x="527" y="54"/>
                  <a:pt x="532" y="55"/>
                  <a:pt x="530" y="57"/>
                </a:cubicBezTo>
                <a:cubicBezTo>
                  <a:pt x="530" y="57"/>
                  <a:pt x="530" y="57"/>
                  <a:pt x="530" y="57"/>
                </a:cubicBezTo>
                <a:cubicBezTo>
                  <a:pt x="531" y="56"/>
                  <a:pt x="533" y="55"/>
                  <a:pt x="533" y="55"/>
                </a:cubicBezTo>
                <a:cubicBezTo>
                  <a:pt x="532" y="54"/>
                  <a:pt x="530" y="55"/>
                  <a:pt x="529" y="54"/>
                </a:cubicBezTo>
                <a:cubicBezTo>
                  <a:pt x="529" y="53"/>
                  <a:pt x="532" y="51"/>
                  <a:pt x="532" y="51"/>
                </a:cubicBezTo>
                <a:cubicBezTo>
                  <a:pt x="532" y="51"/>
                  <a:pt x="532" y="50"/>
                  <a:pt x="532" y="50"/>
                </a:cubicBezTo>
                <a:cubicBezTo>
                  <a:pt x="530" y="52"/>
                  <a:pt x="527" y="52"/>
                  <a:pt x="525" y="52"/>
                </a:cubicBezTo>
                <a:cubicBezTo>
                  <a:pt x="523" y="51"/>
                  <a:pt x="522" y="48"/>
                  <a:pt x="521" y="48"/>
                </a:cubicBezTo>
                <a:cubicBezTo>
                  <a:pt x="520" y="48"/>
                  <a:pt x="518" y="48"/>
                  <a:pt x="516" y="49"/>
                </a:cubicBezTo>
                <a:cubicBezTo>
                  <a:pt x="517" y="48"/>
                  <a:pt x="518" y="48"/>
                  <a:pt x="519" y="47"/>
                </a:cubicBezTo>
                <a:cubicBezTo>
                  <a:pt x="519" y="47"/>
                  <a:pt x="520" y="47"/>
                  <a:pt x="520" y="47"/>
                </a:cubicBezTo>
                <a:cubicBezTo>
                  <a:pt x="521" y="46"/>
                  <a:pt x="521" y="46"/>
                  <a:pt x="521" y="45"/>
                </a:cubicBezTo>
                <a:cubicBezTo>
                  <a:pt x="520" y="45"/>
                  <a:pt x="520" y="45"/>
                  <a:pt x="519" y="45"/>
                </a:cubicBezTo>
                <a:cubicBezTo>
                  <a:pt x="519" y="44"/>
                  <a:pt x="520" y="44"/>
                  <a:pt x="521" y="44"/>
                </a:cubicBezTo>
                <a:cubicBezTo>
                  <a:pt x="521" y="44"/>
                  <a:pt x="521" y="44"/>
                  <a:pt x="521" y="44"/>
                </a:cubicBezTo>
                <a:cubicBezTo>
                  <a:pt x="521" y="43"/>
                  <a:pt x="521" y="41"/>
                  <a:pt x="521" y="40"/>
                </a:cubicBezTo>
                <a:cubicBezTo>
                  <a:pt x="521" y="40"/>
                  <a:pt x="520" y="40"/>
                  <a:pt x="520" y="40"/>
                </a:cubicBezTo>
                <a:cubicBezTo>
                  <a:pt x="520" y="40"/>
                  <a:pt x="520" y="40"/>
                  <a:pt x="520" y="40"/>
                </a:cubicBezTo>
                <a:cubicBezTo>
                  <a:pt x="520" y="40"/>
                  <a:pt x="520" y="40"/>
                  <a:pt x="520" y="39"/>
                </a:cubicBezTo>
                <a:cubicBezTo>
                  <a:pt x="520" y="39"/>
                  <a:pt x="520" y="39"/>
                  <a:pt x="520" y="39"/>
                </a:cubicBezTo>
                <a:cubicBezTo>
                  <a:pt x="510" y="34"/>
                  <a:pt x="501" y="30"/>
                  <a:pt x="491" y="26"/>
                </a:cubicBezTo>
                <a:cubicBezTo>
                  <a:pt x="491" y="26"/>
                  <a:pt x="489" y="27"/>
                  <a:pt x="489" y="27"/>
                </a:cubicBezTo>
                <a:cubicBezTo>
                  <a:pt x="489" y="26"/>
                  <a:pt x="489" y="26"/>
                  <a:pt x="490" y="26"/>
                </a:cubicBezTo>
                <a:cubicBezTo>
                  <a:pt x="487" y="24"/>
                  <a:pt x="483" y="23"/>
                  <a:pt x="480" y="22"/>
                </a:cubicBezTo>
                <a:cubicBezTo>
                  <a:pt x="480" y="22"/>
                  <a:pt x="480" y="22"/>
                  <a:pt x="480" y="22"/>
                </a:cubicBezTo>
                <a:cubicBezTo>
                  <a:pt x="478" y="22"/>
                  <a:pt x="476" y="25"/>
                  <a:pt x="474" y="25"/>
                </a:cubicBezTo>
                <a:cubicBezTo>
                  <a:pt x="472" y="25"/>
                  <a:pt x="473" y="25"/>
                  <a:pt x="471" y="25"/>
                </a:cubicBezTo>
                <a:cubicBezTo>
                  <a:pt x="471" y="25"/>
                  <a:pt x="469" y="26"/>
                  <a:pt x="468" y="27"/>
                </a:cubicBezTo>
                <a:cubicBezTo>
                  <a:pt x="467" y="27"/>
                  <a:pt x="464" y="29"/>
                  <a:pt x="464" y="29"/>
                </a:cubicBezTo>
                <a:cubicBezTo>
                  <a:pt x="462" y="30"/>
                  <a:pt x="464" y="30"/>
                  <a:pt x="462" y="30"/>
                </a:cubicBezTo>
                <a:cubicBezTo>
                  <a:pt x="461" y="30"/>
                  <a:pt x="461" y="30"/>
                  <a:pt x="460" y="30"/>
                </a:cubicBezTo>
                <a:cubicBezTo>
                  <a:pt x="461" y="30"/>
                  <a:pt x="461" y="30"/>
                  <a:pt x="461" y="30"/>
                </a:cubicBezTo>
                <a:cubicBezTo>
                  <a:pt x="462" y="31"/>
                  <a:pt x="459" y="32"/>
                  <a:pt x="459" y="31"/>
                </a:cubicBezTo>
                <a:cubicBezTo>
                  <a:pt x="459" y="31"/>
                  <a:pt x="458" y="32"/>
                  <a:pt x="458" y="32"/>
                </a:cubicBezTo>
                <a:cubicBezTo>
                  <a:pt x="458" y="32"/>
                  <a:pt x="458" y="33"/>
                  <a:pt x="458" y="33"/>
                </a:cubicBezTo>
                <a:cubicBezTo>
                  <a:pt x="461" y="34"/>
                  <a:pt x="463" y="32"/>
                  <a:pt x="461" y="36"/>
                </a:cubicBezTo>
                <a:cubicBezTo>
                  <a:pt x="461" y="37"/>
                  <a:pt x="462" y="37"/>
                  <a:pt x="461" y="37"/>
                </a:cubicBezTo>
                <a:cubicBezTo>
                  <a:pt x="460" y="39"/>
                  <a:pt x="459" y="37"/>
                  <a:pt x="459" y="36"/>
                </a:cubicBezTo>
                <a:cubicBezTo>
                  <a:pt x="458" y="37"/>
                  <a:pt x="458" y="38"/>
                  <a:pt x="460" y="39"/>
                </a:cubicBezTo>
                <a:cubicBezTo>
                  <a:pt x="460" y="39"/>
                  <a:pt x="457" y="39"/>
                  <a:pt x="456" y="39"/>
                </a:cubicBezTo>
                <a:cubicBezTo>
                  <a:pt x="456" y="39"/>
                  <a:pt x="454" y="36"/>
                  <a:pt x="453" y="35"/>
                </a:cubicBezTo>
                <a:cubicBezTo>
                  <a:pt x="452" y="35"/>
                  <a:pt x="451" y="36"/>
                  <a:pt x="451" y="36"/>
                </a:cubicBezTo>
                <a:cubicBezTo>
                  <a:pt x="449" y="37"/>
                  <a:pt x="446" y="38"/>
                  <a:pt x="444" y="39"/>
                </a:cubicBezTo>
                <a:cubicBezTo>
                  <a:pt x="443" y="40"/>
                  <a:pt x="443" y="40"/>
                  <a:pt x="442" y="40"/>
                </a:cubicBezTo>
                <a:cubicBezTo>
                  <a:pt x="441" y="40"/>
                  <a:pt x="440" y="41"/>
                  <a:pt x="439" y="41"/>
                </a:cubicBezTo>
                <a:cubicBezTo>
                  <a:pt x="437" y="42"/>
                  <a:pt x="435" y="43"/>
                  <a:pt x="432" y="44"/>
                </a:cubicBezTo>
                <a:cubicBezTo>
                  <a:pt x="433" y="44"/>
                  <a:pt x="433" y="44"/>
                  <a:pt x="433" y="44"/>
                </a:cubicBezTo>
                <a:cubicBezTo>
                  <a:pt x="433" y="44"/>
                  <a:pt x="433" y="44"/>
                  <a:pt x="432" y="44"/>
                </a:cubicBezTo>
                <a:cubicBezTo>
                  <a:pt x="432" y="44"/>
                  <a:pt x="431" y="44"/>
                  <a:pt x="431" y="44"/>
                </a:cubicBezTo>
                <a:cubicBezTo>
                  <a:pt x="430" y="44"/>
                  <a:pt x="427" y="45"/>
                  <a:pt x="427" y="46"/>
                </a:cubicBezTo>
                <a:cubicBezTo>
                  <a:pt x="427" y="46"/>
                  <a:pt x="433" y="44"/>
                  <a:pt x="432" y="48"/>
                </a:cubicBezTo>
                <a:cubicBezTo>
                  <a:pt x="432" y="49"/>
                  <a:pt x="431" y="49"/>
                  <a:pt x="431" y="49"/>
                </a:cubicBezTo>
                <a:cubicBezTo>
                  <a:pt x="435" y="49"/>
                  <a:pt x="440" y="49"/>
                  <a:pt x="444" y="50"/>
                </a:cubicBezTo>
                <a:cubicBezTo>
                  <a:pt x="444" y="47"/>
                  <a:pt x="436" y="48"/>
                  <a:pt x="436" y="45"/>
                </a:cubicBezTo>
                <a:cubicBezTo>
                  <a:pt x="436" y="42"/>
                  <a:pt x="442" y="45"/>
                  <a:pt x="444" y="43"/>
                </a:cubicBezTo>
                <a:cubicBezTo>
                  <a:pt x="445" y="43"/>
                  <a:pt x="444" y="42"/>
                  <a:pt x="445" y="42"/>
                </a:cubicBezTo>
                <a:cubicBezTo>
                  <a:pt x="446" y="42"/>
                  <a:pt x="449" y="43"/>
                  <a:pt x="448" y="41"/>
                </a:cubicBezTo>
                <a:cubicBezTo>
                  <a:pt x="448" y="38"/>
                  <a:pt x="459" y="43"/>
                  <a:pt x="460" y="46"/>
                </a:cubicBezTo>
                <a:cubicBezTo>
                  <a:pt x="460" y="48"/>
                  <a:pt x="459" y="52"/>
                  <a:pt x="458" y="52"/>
                </a:cubicBezTo>
                <a:cubicBezTo>
                  <a:pt x="458" y="53"/>
                  <a:pt x="452" y="54"/>
                  <a:pt x="452" y="54"/>
                </a:cubicBezTo>
                <a:cubicBezTo>
                  <a:pt x="451" y="53"/>
                  <a:pt x="449" y="53"/>
                  <a:pt x="448" y="53"/>
                </a:cubicBezTo>
                <a:cubicBezTo>
                  <a:pt x="449" y="53"/>
                  <a:pt x="449" y="53"/>
                  <a:pt x="449" y="54"/>
                </a:cubicBezTo>
                <a:cubicBezTo>
                  <a:pt x="450" y="55"/>
                  <a:pt x="450" y="57"/>
                  <a:pt x="450" y="58"/>
                </a:cubicBezTo>
                <a:cubicBezTo>
                  <a:pt x="447" y="62"/>
                  <a:pt x="436" y="61"/>
                  <a:pt x="432" y="59"/>
                </a:cubicBezTo>
                <a:cubicBezTo>
                  <a:pt x="432" y="60"/>
                  <a:pt x="432" y="61"/>
                  <a:pt x="432" y="62"/>
                </a:cubicBezTo>
                <a:cubicBezTo>
                  <a:pt x="431" y="65"/>
                  <a:pt x="423" y="63"/>
                  <a:pt x="423" y="60"/>
                </a:cubicBezTo>
                <a:cubicBezTo>
                  <a:pt x="423" y="61"/>
                  <a:pt x="421" y="60"/>
                  <a:pt x="421" y="60"/>
                </a:cubicBezTo>
                <a:cubicBezTo>
                  <a:pt x="421" y="59"/>
                  <a:pt x="423" y="59"/>
                  <a:pt x="423" y="60"/>
                </a:cubicBezTo>
                <a:cubicBezTo>
                  <a:pt x="424" y="58"/>
                  <a:pt x="427" y="58"/>
                  <a:pt x="429" y="58"/>
                </a:cubicBezTo>
                <a:cubicBezTo>
                  <a:pt x="430" y="58"/>
                  <a:pt x="431" y="57"/>
                  <a:pt x="432" y="55"/>
                </a:cubicBezTo>
                <a:cubicBezTo>
                  <a:pt x="432" y="55"/>
                  <a:pt x="432" y="53"/>
                  <a:pt x="432" y="54"/>
                </a:cubicBezTo>
                <a:cubicBezTo>
                  <a:pt x="432" y="53"/>
                  <a:pt x="434" y="52"/>
                  <a:pt x="435" y="52"/>
                </a:cubicBezTo>
                <a:cubicBezTo>
                  <a:pt x="435" y="50"/>
                  <a:pt x="431" y="50"/>
                  <a:pt x="429" y="50"/>
                </a:cubicBezTo>
                <a:cubicBezTo>
                  <a:pt x="427" y="50"/>
                  <a:pt x="423" y="49"/>
                  <a:pt x="422" y="48"/>
                </a:cubicBezTo>
                <a:cubicBezTo>
                  <a:pt x="422" y="48"/>
                  <a:pt x="422" y="47"/>
                  <a:pt x="422" y="47"/>
                </a:cubicBezTo>
                <a:cubicBezTo>
                  <a:pt x="422" y="47"/>
                  <a:pt x="421" y="47"/>
                  <a:pt x="421" y="48"/>
                </a:cubicBezTo>
                <a:cubicBezTo>
                  <a:pt x="420" y="48"/>
                  <a:pt x="419" y="49"/>
                  <a:pt x="417" y="50"/>
                </a:cubicBezTo>
                <a:cubicBezTo>
                  <a:pt x="417" y="50"/>
                  <a:pt x="416" y="50"/>
                  <a:pt x="416" y="51"/>
                </a:cubicBezTo>
                <a:cubicBezTo>
                  <a:pt x="418" y="53"/>
                  <a:pt x="416" y="54"/>
                  <a:pt x="414" y="54"/>
                </a:cubicBezTo>
                <a:cubicBezTo>
                  <a:pt x="413" y="54"/>
                  <a:pt x="412" y="54"/>
                  <a:pt x="412" y="54"/>
                </a:cubicBezTo>
                <a:cubicBezTo>
                  <a:pt x="412" y="54"/>
                  <a:pt x="412" y="54"/>
                  <a:pt x="412" y="53"/>
                </a:cubicBezTo>
                <a:cubicBezTo>
                  <a:pt x="411" y="53"/>
                  <a:pt x="411" y="53"/>
                  <a:pt x="411" y="53"/>
                </a:cubicBezTo>
                <a:cubicBezTo>
                  <a:pt x="410" y="53"/>
                  <a:pt x="410" y="53"/>
                  <a:pt x="410" y="53"/>
                </a:cubicBezTo>
                <a:cubicBezTo>
                  <a:pt x="409" y="53"/>
                  <a:pt x="409" y="54"/>
                  <a:pt x="409" y="54"/>
                </a:cubicBezTo>
                <a:cubicBezTo>
                  <a:pt x="408" y="55"/>
                  <a:pt x="407" y="54"/>
                  <a:pt x="407" y="55"/>
                </a:cubicBezTo>
                <a:cubicBezTo>
                  <a:pt x="406" y="55"/>
                  <a:pt x="405" y="56"/>
                  <a:pt x="404" y="57"/>
                </a:cubicBezTo>
                <a:cubicBezTo>
                  <a:pt x="404" y="57"/>
                  <a:pt x="404" y="58"/>
                  <a:pt x="402" y="58"/>
                </a:cubicBezTo>
                <a:cubicBezTo>
                  <a:pt x="401" y="59"/>
                  <a:pt x="401" y="59"/>
                  <a:pt x="400" y="60"/>
                </a:cubicBezTo>
                <a:cubicBezTo>
                  <a:pt x="396" y="62"/>
                  <a:pt x="392" y="63"/>
                  <a:pt x="388" y="64"/>
                </a:cubicBezTo>
                <a:cubicBezTo>
                  <a:pt x="387" y="65"/>
                  <a:pt x="387" y="65"/>
                  <a:pt x="387" y="65"/>
                </a:cubicBezTo>
                <a:cubicBezTo>
                  <a:pt x="387" y="65"/>
                  <a:pt x="388" y="65"/>
                  <a:pt x="388" y="65"/>
                </a:cubicBezTo>
                <a:cubicBezTo>
                  <a:pt x="389" y="65"/>
                  <a:pt x="391" y="66"/>
                  <a:pt x="392" y="67"/>
                </a:cubicBezTo>
                <a:cubicBezTo>
                  <a:pt x="392" y="67"/>
                  <a:pt x="393" y="68"/>
                  <a:pt x="392" y="68"/>
                </a:cubicBezTo>
                <a:cubicBezTo>
                  <a:pt x="393" y="69"/>
                  <a:pt x="394" y="70"/>
                  <a:pt x="393" y="71"/>
                </a:cubicBezTo>
                <a:cubicBezTo>
                  <a:pt x="393" y="78"/>
                  <a:pt x="380" y="78"/>
                  <a:pt x="374" y="76"/>
                </a:cubicBezTo>
                <a:cubicBezTo>
                  <a:pt x="373" y="75"/>
                  <a:pt x="371" y="73"/>
                  <a:pt x="370" y="72"/>
                </a:cubicBezTo>
                <a:cubicBezTo>
                  <a:pt x="368" y="73"/>
                  <a:pt x="366" y="74"/>
                  <a:pt x="366" y="73"/>
                </a:cubicBezTo>
                <a:cubicBezTo>
                  <a:pt x="365" y="72"/>
                  <a:pt x="367" y="71"/>
                  <a:pt x="369" y="70"/>
                </a:cubicBezTo>
                <a:cubicBezTo>
                  <a:pt x="369" y="70"/>
                  <a:pt x="369" y="70"/>
                  <a:pt x="369" y="70"/>
                </a:cubicBezTo>
                <a:cubicBezTo>
                  <a:pt x="368" y="69"/>
                  <a:pt x="366" y="69"/>
                  <a:pt x="366" y="69"/>
                </a:cubicBezTo>
                <a:cubicBezTo>
                  <a:pt x="366" y="67"/>
                  <a:pt x="370" y="65"/>
                  <a:pt x="374" y="64"/>
                </a:cubicBezTo>
                <a:cubicBezTo>
                  <a:pt x="369" y="65"/>
                  <a:pt x="362" y="65"/>
                  <a:pt x="358" y="66"/>
                </a:cubicBezTo>
                <a:cubicBezTo>
                  <a:pt x="358" y="66"/>
                  <a:pt x="351" y="68"/>
                  <a:pt x="351" y="67"/>
                </a:cubicBezTo>
                <a:cubicBezTo>
                  <a:pt x="350" y="66"/>
                  <a:pt x="356" y="66"/>
                  <a:pt x="357" y="65"/>
                </a:cubicBezTo>
                <a:cubicBezTo>
                  <a:pt x="363" y="65"/>
                  <a:pt x="372" y="62"/>
                  <a:pt x="379" y="62"/>
                </a:cubicBezTo>
                <a:cubicBezTo>
                  <a:pt x="379" y="62"/>
                  <a:pt x="379" y="62"/>
                  <a:pt x="379" y="62"/>
                </a:cubicBezTo>
                <a:cubicBezTo>
                  <a:pt x="379" y="62"/>
                  <a:pt x="380" y="62"/>
                  <a:pt x="379" y="62"/>
                </a:cubicBezTo>
                <a:cubicBezTo>
                  <a:pt x="379" y="63"/>
                  <a:pt x="379" y="63"/>
                  <a:pt x="378" y="63"/>
                </a:cubicBezTo>
                <a:cubicBezTo>
                  <a:pt x="379" y="63"/>
                  <a:pt x="381" y="63"/>
                  <a:pt x="382" y="63"/>
                </a:cubicBezTo>
                <a:cubicBezTo>
                  <a:pt x="382" y="62"/>
                  <a:pt x="383" y="61"/>
                  <a:pt x="383" y="61"/>
                </a:cubicBezTo>
                <a:cubicBezTo>
                  <a:pt x="384" y="61"/>
                  <a:pt x="384" y="62"/>
                  <a:pt x="384" y="62"/>
                </a:cubicBezTo>
                <a:cubicBezTo>
                  <a:pt x="385" y="61"/>
                  <a:pt x="385" y="60"/>
                  <a:pt x="386" y="60"/>
                </a:cubicBezTo>
                <a:cubicBezTo>
                  <a:pt x="387" y="59"/>
                  <a:pt x="389" y="59"/>
                  <a:pt x="390" y="59"/>
                </a:cubicBezTo>
                <a:cubicBezTo>
                  <a:pt x="392" y="58"/>
                  <a:pt x="393" y="57"/>
                  <a:pt x="395" y="56"/>
                </a:cubicBezTo>
                <a:cubicBezTo>
                  <a:pt x="396" y="56"/>
                  <a:pt x="396" y="56"/>
                  <a:pt x="396" y="56"/>
                </a:cubicBezTo>
                <a:cubicBezTo>
                  <a:pt x="398" y="55"/>
                  <a:pt x="399" y="53"/>
                  <a:pt x="400" y="52"/>
                </a:cubicBezTo>
                <a:cubicBezTo>
                  <a:pt x="401" y="52"/>
                  <a:pt x="402" y="53"/>
                  <a:pt x="402" y="52"/>
                </a:cubicBezTo>
                <a:cubicBezTo>
                  <a:pt x="404" y="52"/>
                  <a:pt x="405" y="51"/>
                  <a:pt x="407" y="50"/>
                </a:cubicBezTo>
                <a:cubicBezTo>
                  <a:pt x="409" y="50"/>
                  <a:pt x="411" y="48"/>
                  <a:pt x="411" y="48"/>
                </a:cubicBezTo>
                <a:cubicBezTo>
                  <a:pt x="412" y="48"/>
                  <a:pt x="412" y="49"/>
                  <a:pt x="412" y="49"/>
                </a:cubicBezTo>
                <a:cubicBezTo>
                  <a:pt x="413" y="48"/>
                  <a:pt x="413" y="48"/>
                  <a:pt x="413" y="47"/>
                </a:cubicBezTo>
                <a:cubicBezTo>
                  <a:pt x="414" y="47"/>
                  <a:pt x="414" y="48"/>
                  <a:pt x="415" y="48"/>
                </a:cubicBezTo>
                <a:cubicBezTo>
                  <a:pt x="415" y="47"/>
                  <a:pt x="415" y="47"/>
                  <a:pt x="416" y="46"/>
                </a:cubicBezTo>
                <a:cubicBezTo>
                  <a:pt x="416" y="46"/>
                  <a:pt x="416" y="47"/>
                  <a:pt x="417" y="47"/>
                </a:cubicBezTo>
                <a:cubicBezTo>
                  <a:pt x="417" y="47"/>
                  <a:pt x="417" y="46"/>
                  <a:pt x="418" y="45"/>
                </a:cubicBezTo>
                <a:cubicBezTo>
                  <a:pt x="419" y="45"/>
                  <a:pt x="419" y="46"/>
                  <a:pt x="420" y="45"/>
                </a:cubicBezTo>
                <a:cubicBezTo>
                  <a:pt x="420" y="45"/>
                  <a:pt x="420" y="44"/>
                  <a:pt x="421" y="44"/>
                </a:cubicBezTo>
                <a:cubicBezTo>
                  <a:pt x="422" y="43"/>
                  <a:pt x="424" y="43"/>
                  <a:pt x="425" y="42"/>
                </a:cubicBezTo>
                <a:cubicBezTo>
                  <a:pt x="427" y="40"/>
                  <a:pt x="432" y="39"/>
                  <a:pt x="435" y="36"/>
                </a:cubicBezTo>
                <a:cubicBezTo>
                  <a:pt x="438" y="35"/>
                  <a:pt x="441" y="33"/>
                  <a:pt x="444" y="32"/>
                </a:cubicBezTo>
                <a:cubicBezTo>
                  <a:pt x="444" y="32"/>
                  <a:pt x="443" y="32"/>
                  <a:pt x="443" y="32"/>
                </a:cubicBezTo>
                <a:cubicBezTo>
                  <a:pt x="440" y="31"/>
                  <a:pt x="439" y="28"/>
                  <a:pt x="438" y="28"/>
                </a:cubicBezTo>
                <a:cubicBezTo>
                  <a:pt x="437" y="28"/>
                  <a:pt x="437" y="28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5" y="30"/>
                  <a:pt x="434" y="30"/>
                  <a:pt x="433" y="31"/>
                </a:cubicBezTo>
                <a:cubicBezTo>
                  <a:pt x="432" y="31"/>
                  <a:pt x="431" y="31"/>
                  <a:pt x="431" y="30"/>
                </a:cubicBezTo>
                <a:cubicBezTo>
                  <a:pt x="431" y="30"/>
                  <a:pt x="431" y="30"/>
                  <a:pt x="431" y="30"/>
                </a:cubicBezTo>
                <a:cubicBezTo>
                  <a:pt x="430" y="30"/>
                  <a:pt x="430" y="31"/>
                  <a:pt x="429" y="31"/>
                </a:cubicBezTo>
                <a:cubicBezTo>
                  <a:pt x="428" y="32"/>
                  <a:pt x="425" y="32"/>
                  <a:pt x="424" y="31"/>
                </a:cubicBezTo>
                <a:cubicBezTo>
                  <a:pt x="424" y="31"/>
                  <a:pt x="425" y="30"/>
                  <a:pt x="426" y="30"/>
                </a:cubicBezTo>
                <a:cubicBezTo>
                  <a:pt x="426" y="30"/>
                  <a:pt x="425" y="29"/>
                  <a:pt x="425" y="29"/>
                </a:cubicBezTo>
                <a:cubicBezTo>
                  <a:pt x="424" y="30"/>
                  <a:pt x="423" y="30"/>
                  <a:pt x="423" y="30"/>
                </a:cubicBezTo>
                <a:cubicBezTo>
                  <a:pt x="418" y="29"/>
                  <a:pt x="416" y="25"/>
                  <a:pt x="419" y="23"/>
                </a:cubicBezTo>
                <a:cubicBezTo>
                  <a:pt x="421" y="21"/>
                  <a:pt x="429" y="22"/>
                  <a:pt x="429" y="26"/>
                </a:cubicBezTo>
                <a:cubicBezTo>
                  <a:pt x="429" y="29"/>
                  <a:pt x="428" y="27"/>
                  <a:pt x="431" y="27"/>
                </a:cubicBezTo>
                <a:cubicBezTo>
                  <a:pt x="434" y="26"/>
                  <a:pt x="435" y="27"/>
                  <a:pt x="436" y="25"/>
                </a:cubicBezTo>
                <a:cubicBezTo>
                  <a:pt x="439" y="21"/>
                  <a:pt x="442" y="21"/>
                  <a:pt x="446" y="22"/>
                </a:cubicBezTo>
                <a:cubicBezTo>
                  <a:pt x="446" y="21"/>
                  <a:pt x="448" y="21"/>
                  <a:pt x="449" y="22"/>
                </a:cubicBezTo>
                <a:cubicBezTo>
                  <a:pt x="450" y="22"/>
                  <a:pt x="450" y="21"/>
                  <a:pt x="451" y="21"/>
                </a:cubicBezTo>
                <a:cubicBezTo>
                  <a:pt x="452" y="22"/>
                  <a:pt x="451" y="23"/>
                  <a:pt x="450" y="24"/>
                </a:cubicBezTo>
                <a:cubicBezTo>
                  <a:pt x="451" y="25"/>
                  <a:pt x="452" y="26"/>
                  <a:pt x="452" y="28"/>
                </a:cubicBezTo>
                <a:cubicBezTo>
                  <a:pt x="451" y="28"/>
                  <a:pt x="451" y="29"/>
                  <a:pt x="451" y="30"/>
                </a:cubicBezTo>
                <a:cubicBezTo>
                  <a:pt x="451" y="29"/>
                  <a:pt x="451" y="29"/>
                  <a:pt x="452" y="29"/>
                </a:cubicBezTo>
                <a:cubicBezTo>
                  <a:pt x="453" y="29"/>
                  <a:pt x="455" y="29"/>
                  <a:pt x="457" y="29"/>
                </a:cubicBezTo>
                <a:cubicBezTo>
                  <a:pt x="458" y="28"/>
                  <a:pt x="458" y="27"/>
                  <a:pt x="460" y="27"/>
                </a:cubicBezTo>
                <a:cubicBezTo>
                  <a:pt x="461" y="26"/>
                  <a:pt x="463" y="26"/>
                  <a:pt x="465" y="26"/>
                </a:cubicBezTo>
                <a:cubicBezTo>
                  <a:pt x="463" y="25"/>
                  <a:pt x="462" y="25"/>
                  <a:pt x="460" y="25"/>
                </a:cubicBezTo>
                <a:cubicBezTo>
                  <a:pt x="462" y="25"/>
                  <a:pt x="462" y="23"/>
                  <a:pt x="461" y="23"/>
                </a:cubicBezTo>
                <a:cubicBezTo>
                  <a:pt x="461" y="23"/>
                  <a:pt x="462" y="21"/>
                  <a:pt x="463" y="20"/>
                </a:cubicBezTo>
                <a:cubicBezTo>
                  <a:pt x="464" y="20"/>
                  <a:pt x="465" y="20"/>
                  <a:pt x="466" y="20"/>
                </a:cubicBezTo>
                <a:cubicBezTo>
                  <a:pt x="466" y="20"/>
                  <a:pt x="467" y="20"/>
                  <a:pt x="468" y="20"/>
                </a:cubicBezTo>
                <a:cubicBezTo>
                  <a:pt x="468" y="21"/>
                  <a:pt x="467" y="21"/>
                  <a:pt x="466" y="21"/>
                </a:cubicBezTo>
                <a:cubicBezTo>
                  <a:pt x="468" y="22"/>
                  <a:pt x="468" y="23"/>
                  <a:pt x="468" y="24"/>
                </a:cubicBezTo>
                <a:cubicBezTo>
                  <a:pt x="469" y="23"/>
                  <a:pt x="470" y="23"/>
                  <a:pt x="471" y="22"/>
                </a:cubicBezTo>
                <a:cubicBezTo>
                  <a:pt x="471" y="22"/>
                  <a:pt x="470" y="22"/>
                  <a:pt x="470" y="21"/>
                </a:cubicBezTo>
                <a:cubicBezTo>
                  <a:pt x="469" y="20"/>
                  <a:pt x="471" y="19"/>
                  <a:pt x="473" y="19"/>
                </a:cubicBezTo>
                <a:cubicBezTo>
                  <a:pt x="473" y="19"/>
                  <a:pt x="473" y="19"/>
                  <a:pt x="473" y="19"/>
                </a:cubicBezTo>
                <a:cubicBezTo>
                  <a:pt x="456" y="13"/>
                  <a:pt x="438" y="9"/>
                  <a:pt x="419" y="5"/>
                </a:cubicBezTo>
                <a:cubicBezTo>
                  <a:pt x="427" y="10"/>
                  <a:pt x="416" y="16"/>
                  <a:pt x="410" y="12"/>
                </a:cubicBezTo>
                <a:cubicBezTo>
                  <a:pt x="408" y="10"/>
                  <a:pt x="409" y="9"/>
                  <a:pt x="407" y="7"/>
                </a:cubicBezTo>
                <a:cubicBezTo>
                  <a:pt x="408" y="6"/>
                  <a:pt x="410" y="5"/>
                  <a:pt x="412" y="4"/>
                </a:cubicBezTo>
                <a:cubicBezTo>
                  <a:pt x="408" y="4"/>
                  <a:pt x="405" y="3"/>
                  <a:pt x="401" y="3"/>
                </a:cubicBezTo>
                <a:cubicBezTo>
                  <a:pt x="401" y="3"/>
                  <a:pt x="401" y="3"/>
                  <a:pt x="401" y="3"/>
                </a:cubicBezTo>
                <a:cubicBezTo>
                  <a:pt x="398" y="2"/>
                  <a:pt x="396" y="2"/>
                  <a:pt x="393" y="2"/>
                </a:cubicBezTo>
                <a:cubicBezTo>
                  <a:pt x="392" y="6"/>
                  <a:pt x="385" y="4"/>
                  <a:pt x="382" y="1"/>
                </a:cubicBezTo>
                <a:cubicBezTo>
                  <a:pt x="374" y="0"/>
                  <a:pt x="366" y="0"/>
                  <a:pt x="357" y="0"/>
                </a:cubicBezTo>
                <a:cubicBezTo>
                  <a:pt x="343" y="0"/>
                  <a:pt x="328" y="1"/>
                  <a:pt x="314" y="3"/>
                </a:cubicBezTo>
                <a:cubicBezTo>
                  <a:pt x="314" y="3"/>
                  <a:pt x="314" y="3"/>
                  <a:pt x="315" y="3"/>
                </a:cubicBezTo>
                <a:cubicBezTo>
                  <a:pt x="315" y="3"/>
                  <a:pt x="315" y="3"/>
                  <a:pt x="315" y="3"/>
                </a:cubicBezTo>
                <a:cubicBezTo>
                  <a:pt x="315" y="4"/>
                  <a:pt x="314" y="3"/>
                  <a:pt x="314" y="3"/>
                </a:cubicBezTo>
                <a:cubicBezTo>
                  <a:pt x="138" y="24"/>
                  <a:pt x="1" y="173"/>
                  <a:pt x="0" y="354"/>
                </a:cubicBezTo>
                <a:cubicBezTo>
                  <a:pt x="0" y="354"/>
                  <a:pt x="0" y="353"/>
                  <a:pt x="1" y="353"/>
                </a:cubicBezTo>
                <a:cubicBezTo>
                  <a:pt x="1" y="353"/>
                  <a:pt x="2" y="356"/>
                  <a:pt x="1" y="356"/>
                </a:cubicBezTo>
                <a:cubicBezTo>
                  <a:pt x="0" y="357"/>
                  <a:pt x="0" y="356"/>
                  <a:pt x="0" y="356"/>
                </a:cubicBezTo>
                <a:cubicBezTo>
                  <a:pt x="0" y="356"/>
                  <a:pt x="0" y="357"/>
                  <a:pt x="0" y="357"/>
                </a:cubicBezTo>
                <a:cubicBezTo>
                  <a:pt x="0" y="375"/>
                  <a:pt x="1" y="392"/>
                  <a:pt x="4" y="409"/>
                </a:cubicBezTo>
                <a:cubicBezTo>
                  <a:pt x="4" y="409"/>
                  <a:pt x="4" y="409"/>
                  <a:pt x="4" y="409"/>
                </a:cubicBezTo>
                <a:cubicBezTo>
                  <a:pt x="5" y="409"/>
                  <a:pt x="5" y="412"/>
                  <a:pt x="5" y="412"/>
                </a:cubicBezTo>
                <a:cubicBezTo>
                  <a:pt x="4" y="413"/>
                  <a:pt x="4" y="413"/>
                  <a:pt x="4" y="413"/>
                </a:cubicBezTo>
                <a:cubicBezTo>
                  <a:pt x="5" y="418"/>
                  <a:pt x="6" y="424"/>
                  <a:pt x="7" y="429"/>
                </a:cubicBezTo>
                <a:cubicBezTo>
                  <a:pt x="8" y="429"/>
                  <a:pt x="8" y="429"/>
                  <a:pt x="8" y="429"/>
                </a:cubicBezTo>
                <a:cubicBezTo>
                  <a:pt x="9" y="430"/>
                  <a:pt x="8" y="430"/>
                  <a:pt x="7" y="431"/>
                </a:cubicBezTo>
                <a:cubicBezTo>
                  <a:pt x="8" y="433"/>
                  <a:pt x="8" y="435"/>
                  <a:pt x="9" y="438"/>
                </a:cubicBezTo>
                <a:cubicBezTo>
                  <a:pt x="9" y="438"/>
                  <a:pt x="9" y="438"/>
                  <a:pt x="9" y="438"/>
                </a:cubicBezTo>
                <a:cubicBezTo>
                  <a:pt x="9" y="440"/>
                  <a:pt x="10" y="441"/>
                  <a:pt x="10" y="443"/>
                </a:cubicBezTo>
                <a:cubicBezTo>
                  <a:pt x="10" y="443"/>
                  <a:pt x="10" y="443"/>
                  <a:pt x="10" y="442"/>
                </a:cubicBezTo>
                <a:cubicBezTo>
                  <a:pt x="10" y="442"/>
                  <a:pt x="10" y="442"/>
                  <a:pt x="10" y="441"/>
                </a:cubicBezTo>
                <a:cubicBezTo>
                  <a:pt x="10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2" y="441"/>
                  <a:pt x="13" y="440"/>
                  <a:pt x="14" y="440"/>
                </a:cubicBezTo>
                <a:cubicBezTo>
                  <a:pt x="14" y="439"/>
                  <a:pt x="15" y="438"/>
                  <a:pt x="16" y="439"/>
                </a:cubicBezTo>
                <a:cubicBezTo>
                  <a:pt x="17" y="439"/>
                  <a:pt x="17" y="439"/>
                  <a:pt x="18" y="440"/>
                </a:cubicBezTo>
                <a:cubicBezTo>
                  <a:pt x="20" y="443"/>
                  <a:pt x="19" y="438"/>
                  <a:pt x="18" y="438"/>
                </a:cubicBezTo>
                <a:cubicBezTo>
                  <a:pt x="18" y="438"/>
                  <a:pt x="18" y="438"/>
                  <a:pt x="17" y="437"/>
                </a:cubicBezTo>
                <a:cubicBezTo>
                  <a:pt x="17" y="437"/>
                  <a:pt x="17" y="437"/>
                  <a:pt x="17" y="436"/>
                </a:cubicBezTo>
                <a:cubicBezTo>
                  <a:pt x="17" y="435"/>
                  <a:pt x="17" y="432"/>
                  <a:pt x="17" y="431"/>
                </a:cubicBezTo>
                <a:cubicBezTo>
                  <a:pt x="17" y="433"/>
                  <a:pt x="18" y="434"/>
                  <a:pt x="19" y="435"/>
                </a:cubicBezTo>
                <a:cubicBezTo>
                  <a:pt x="19" y="435"/>
                  <a:pt x="19" y="435"/>
                  <a:pt x="19" y="435"/>
                </a:cubicBezTo>
                <a:cubicBezTo>
                  <a:pt x="20" y="435"/>
                  <a:pt x="19" y="436"/>
                  <a:pt x="19" y="436"/>
                </a:cubicBezTo>
                <a:cubicBezTo>
                  <a:pt x="19" y="437"/>
                  <a:pt x="19" y="437"/>
                  <a:pt x="19" y="438"/>
                </a:cubicBezTo>
                <a:cubicBezTo>
                  <a:pt x="20" y="437"/>
                  <a:pt x="19" y="435"/>
                  <a:pt x="21" y="434"/>
                </a:cubicBezTo>
                <a:cubicBezTo>
                  <a:pt x="20" y="436"/>
                  <a:pt x="20" y="437"/>
                  <a:pt x="21" y="438"/>
                </a:cubicBezTo>
                <a:cubicBezTo>
                  <a:pt x="21" y="438"/>
                  <a:pt x="22" y="438"/>
                  <a:pt x="22" y="438"/>
                </a:cubicBezTo>
                <a:cubicBezTo>
                  <a:pt x="22" y="438"/>
                  <a:pt x="22" y="438"/>
                  <a:pt x="22" y="438"/>
                </a:cubicBezTo>
                <a:cubicBezTo>
                  <a:pt x="23" y="438"/>
                  <a:pt x="23" y="438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3" y="435"/>
                  <a:pt x="23" y="434"/>
                  <a:pt x="23" y="434"/>
                </a:cubicBezTo>
                <a:cubicBezTo>
                  <a:pt x="23" y="433"/>
                  <a:pt x="22" y="433"/>
                  <a:pt x="21" y="434"/>
                </a:cubicBezTo>
                <a:cubicBezTo>
                  <a:pt x="20" y="434"/>
                  <a:pt x="20" y="435"/>
                  <a:pt x="19" y="434"/>
                </a:cubicBezTo>
                <a:cubicBezTo>
                  <a:pt x="19" y="434"/>
                  <a:pt x="19" y="434"/>
                  <a:pt x="19" y="433"/>
                </a:cubicBezTo>
                <a:cubicBezTo>
                  <a:pt x="19" y="433"/>
                  <a:pt x="19" y="433"/>
                  <a:pt x="19" y="433"/>
                </a:cubicBezTo>
                <a:cubicBezTo>
                  <a:pt x="18" y="433"/>
                  <a:pt x="19" y="431"/>
                  <a:pt x="18" y="429"/>
                </a:cubicBezTo>
                <a:cubicBezTo>
                  <a:pt x="17" y="430"/>
                  <a:pt x="16" y="429"/>
                  <a:pt x="16" y="426"/>
                </a:cubicBezTo>
                <a:cubicBezTo>
                  <a:pt x="16" y="426"/>
                  <a:pt x="16" y="426"/>
                  <a:pt x="16" y="426"/>
                </a:cubicBezTo>
                <a:cubicBezTo>
                  <a:pt x="16" y="427"/>
                  <a:pt x="14" y="432"/>
                  <a:pt x="15" y="433"/>
                </a:cubicBezTo>
                <a:cubicBezTo>
                  <a:pt x="15" y="433"/>
                  <a:pt x="16" y="437"/>
                  <a:pt x="14" y="435"/>
                </a:cubicBezTo>
                <a:cubicBezTo>
                  <a:pt x="12" y="434"/>
                  <a:pt x="15" y="429"/>
                  <a:pt x="15" y="426"/>
                </a:cubicBezTo>
                <a:cubicBezTo>
                  <a:pt x="14" y="426"/>
                  <a:pt x="14" y="426"/>
                  <a:pt x="14" y="425"/>
                </a:cubicBezTo>
                <a:cubicBezTo>
                  <a:pt x="13" y="424"/>
                  <a:pt x="14" y="424"/>
                  <a:pt x="14" y="423"/>
                </a:cubicBezTo>
                <a:cubicBezTo>
                  <a:pt x="14" y="423"/>
                  <a:pt x="14" y="422"/>
                  <a:pt x="15" y="422"/>
                </a:cubicBezTo>
                <a:cubicBezTo>
                  <a:pt x="14" y="421"/>
                  <a:pt x="13" y="422"/>
                  <a:pt x="12" y="421"/>
                </a:cubicBezTo>
                <a:cubicBezTo>
                  <a:pt x="13" y="421"/>
                  <a:pt x="11" y="419"/>
                  <a:pt x="11" y="420"/>
                </a:cubicBezTo>
                <a:cubicBezTo>
                  <a:pt x="11" y="417"/>
                  <a:pt x="14" y="417"/>
                  <a:pt x="15" y="419"/>
                </a:cubicBezTo>
                <a:cubicBezTo>
                  <a:pt x="14" y="418"/>
                  <a:pt x="16" y="419"/>
                  <a:pt x="17" y="418"/>
                </a:cubicBezTo>
                <a:cubicBezTo>
                  <a:pt x="16" y="418"/>
                  <a:pt x="17" y="413"/>
                  <a:pt x="19" y="413"/>
                </a:cubicBezTo>
                <a:cubicBezTo>
                  <a:pt x="19" y="413"/>
                  <a:pt x="18" y="416"/>
                  <a:pt x="19" y="417"/>
                </a:cubicBezTo>
                <a:cubicBezTo>
                  <a:pt x="19" y="417"/>
                  <a:pt x="19" y="417"/>
                  <a:pt x="19" y="417"/>
                </a:cubicBezTo>
                <a:cubicBezTo>
                  <a:pt x="19" y="417"/>
                  <a:pt x="19" y="416"/>
                  <a:pt x="20" y="417"/>
                </a:cubicBezTo>
                <a:cubicBezTo>
                  <a:pt x="20" y="417"/>
                  <a:pt x="21" y="418"/>
                  <a:pt x="20" y="419"/>
                </a:cubicBezTo>
                <a:cubicBezTo>
                  <a:pt x="20" y="419"/>
                  <a:pt x="20" y="419"/>
                  <a:pt x="20" y="419"/>
                </a:cubicBezTo>
                <a:cubicBezTo>
                  <a:pt x="21" y="419"/>
                  <a:pt x="20" y="420"/>
                  <a:pt x="19" y="420"/>
                </a:cubicBezTo>
                <a:cubicBezTo>
                  <a:pt x="17" y="421"/>
                  <a:pt x="19" y="421"/>
                  <a:pt x="20" y="422"/>
                </a:cubicBezTo>
                <a:cubicBezTo>
                  <a:pt x="20" y="422"/>
                  <a:pt x="20" y="422"/>
                  <a:pt x="21" y="422"/>
                </a:cubicBezTo>
                <a:cubicBezTo>
                  <a:pt x="21" y="422"/>
                  <a:pt x="21" y="422"/>
                  <a:pt x="21" y="422"/>
                </a:cubicBezTo>
                <a:cubicBezTo>
                  <a:pt x="22" y="423"/>
                  <a:pt x="22" y="423"/>
                  <a:pt x="22" y="424"/>
                </a:cubicBezTo>
                <a:cubicBezTo>
                  <a:pt x="22" y="424"/>
                  <a:pt x="23" y="423"/>
                  <a:pt x="24" y="423"/>
                </a:cubicBezTo>
                <a:cubicBezTo>
                  <a:pt x="25" y="423"/>
                  <a:pt x="24" y="425"/>
                  <a:pt x="26" y="425"/>
                </a:cubicBezTo>
                <a:cubicBezTo>
                  <a:pt x="26" y="425"/>
                  <a:pt x="26" y="425"/>
                  <a:pt x="26" y="425"/>
                </a:cubicBezTo>
                <a:cubicBezTo>
                  <a:pt x="27" y="422"/>
                  <a:pt x="30" y="417"/>
                  <a:pt x="26" y="418"/>
                </a:cubicBezTo>
                <a:cubicBezTo>
                  <a:pt x="29" y="416"/>
                  <a:pt x="25" y="414"/>
                  <a:pt x="24" y="414"/>
                </a:cubicBezTo>
                <a:cubicBezTo>
                  <a:pt x="23" y="412"/>
                  <a:pt x="25" y="415"/>
                  <a:pt x="25" y="414"/>
                </a:cubicBezTo>
                <a:cubicBezTo>
                  <a:pt x="27" y="413"/>
                  <a:pt x="24" y="411"/>
                  <a:pt x="24" y="408"/>
                </a:cubicBezTo>
                <a:cubicBezTo>
                  <a:pt x="24" y="408"/>
                  <a:pt x="26" y="406"/>
                  <a:pt x="26" y="406"/>
                </a:cubicBezTo>
                <a:cubicBezTo>
                  <a:pt x="27" y="404"/>
                  <a:pt x="24" y="405"/>
                  <a:pt x="27" y="404"/>
                </a:cubicBezTo>
                <a:cubicBezTo>
                  <a:pt x="29" y="404"/>
                  <a:pt x="29" y="400"/>
                  <a:pt x="30" y="399"/>
                </a:cubicBezTo>
                <a:cubicBezTo>
                  <a:pt x="30" y="399"/>
                  <a:pt x="34" y="398"/>
                  <a:pt x="34" y="396"/>
                </a:cubicBezTo>
                <a:cubicBezTo>
                  <a:pt x="30" y="400"/>
                  <a:pt x="28" y="395"/>
                  <a:pt x="29" y="394"/>
                </a:cubicBezTo>
                <a:cubicBezTo>
                  <a:pt x="29" y="394"/>
                  <a:pt x="28" y="391"/>
                  <a:pt x="31" y="391"/>
                </a:cubicBezTo>
                <a:cubicBezTo>
                  <a:pt x="33" y="390"/>
                  <a:pt x="32" y="391"/>
                  <a:pt x="34" y="389"/>
                </a:cubicBezTo>
                <a:cubicBezTo>
                  <a:pt x="35" y="388"/>
                  <a:pt x="34" y="396"/>
                  <a:pt x="35" y="396"/>
                </a:cubicBezTo>
                <a:cubicBezTo>
                  <a:pt x="36" y="398"/>
                  <a:pt x="36" y="395"/>
                  <a:pt x="37" y="398"/>
                </a:cubicBezTo>
                <a:cubicBezTo>
                  <a:pt x="38" y="404"/>
                  <a:pt x="42" y="414"/>
                  <a:pt x="34" y="417"/>
                </a:cubicBezTo>
                <a:cubicBezTo>
                  <a:pt x="32" y="418"/>
                  <a:pt x="31" y="417"/>
                  <a:pt x="30" y="418"/>
                </a:cubicBezTo>
                <a:cubicBezTo>
                  <a:pt x="28" y="420"/>
                  <a:pt x="28" y="422"/>
                  <a:pt x="27" y="425"/>
                </a:cubicBezTo>
                <a:cubicBezTo>
                  <a:pt x="27" y="425"/>
                  <a:pt x="27" y="425"/>
                  <a:pt x="27" y="425"/>
                </a:cubicBezTo>
                <a:cubicBezTo>
                  <a:pt x="28" y="425"/>
                  <a:pt x="27" y="426"/>
                  <a:pt x="28" y="427"/>
                </a:cubicBezTo>
                <a:cubicBezTo>
                  <a:pt x="28" y="427"/>
                  <a:pt x="29" y="427"/>
                  <a:pt x="30" y="427"/>
                </a:cubicBezTo>
                <a:cubicBezTo>
                  <a:pt x="30" y="426"/>
                  <a:pt x="30" y="426"/>
                  <a:pt x="31" y="426"/>
                </a:cubicBezTo>
                <a:cubicBezTo>
                  <a:pt x="31" y="426"/>
                  <a:pt x="31" y="426"/>
                  <a:pt x="31" y="427"/>
                </a:cubicBezTo>
                <a:cubicBezTo>
                  <a:pt x="31" y="427"/>
                  <a:pt x="32" y="427"/>
                  <a:pt x="32" y="427"/>
                </a:cubicBezTo>
                <a:cubicBezTo>
                  <a:pt x="32" y="428"/>
                  <a:pt x="31" y="430"/>
                  <a:pt x="33" y="429"/>
                </a:cubicBezTo>
                <a:cubicBezTo>
                  <a:pt x="33" y="430"/>
                  <a:pt x="33" y="432"/>
                  <a:pt x="33" y="433"/>
                </a:cubicBezTo>
                <a:cubicBezTo>
                  <a:pt x="33" y="433"/>
                  <a:pt x="33" y="433"/>
                  <a:pt x="33" y="433"/>
                </a:cubicBezTo>
                <a:cubicBezTo>
                  <a:pt x="34" y="433"/>
                  <a:pt x="36" y="432"/>
                  <a:pt x="35" y="432"/>
                </a:cubicBezTo>
                <a:cubicBezTo>
                  <a:pt x="36" y="432"/>
                  <a:pt x="35" y="435"/>
                  <a:pt x="34" y="436"/>
                </a:cubicBezTo>
                <a:cubicBezTo>
                  <a:pt x="34" y="437"/>
                  <a:pt x="34" y="437"/>
                  <a:pt x="35" y="437"/>
                </a:cubicBezTo>
                <a:cubicBezTo>
                  <a:pt x="34" y="437"/>
                  <a:pt x="38" y="431"/>
                  <a:pt x="39" y="435"/>
                </a:cubicBezTo>
                <a:cubicBezTo>
                  <a:pt x="39" y="434"/>
                  <a:pt x="39" y="434"/>
                  <a:pt x="39" y="434"/>
                </a:cubicBezTo>
                <a:cubicBezTo>
                  <a:pt x="39" y="434"/>
                  <a:pt x="41" y="432"/>
                  <a:pt x="41" y="432"/>
                </a:cubicBezTo>
                <a:cubicBezTo>
                  <a:pt x="43" y="433"/>
                  <a:pt x="41" y="437"/>
                  <a:pt x="40" y="439"/>
                </a:cubicBezTo>
                <a:cubicBezTo>
                  <a:pt x="42" y="439"/>
                  <a:pt x="43" y="440"/>
                  <a:pt x="42" y="441"/>
                </a:cubicBezTo>
                <a:cubicBezTo>
                  <a:pt x="42" y="441"/>
                  <a:pt x="42" y="442"/>
                  <a:pt x="42" y="442"/>
                </a:cubicBezTo>
                <a:cubicBezTo>
                  <a:pt x="42" y="442"/>
                  <a:pt x="42" y="443"/>
                  <a:pt x="41" y="443"/>
                </a:cubicBezTo>
                <a:cubicBezTo>
                  <a:pt x="41" y="443"/>
                  <a:pt x="40" y="444"/>
                  <a:pt x="40" y="444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5"/>
                  <a:pt x="39" y="447"/>
                  <a:pt x="38" y="448"/>
                </a:cubicBezTo>
                <a:cubicBezTo>
                  <a:pt x="38" y="449"/>
                  <a:pt x="38" y="449"/>
                  <a:pt x="38" y="450"/>
                </a:cubicBezTo>
                <a:cubicBezTo>
                  <a:pt x="38" y="450"/>
                  <a:pt x="38" y="450"/>
                  <a:pt x="39" y="450"/>
                </a:cubicBezTo>
                <a:cubicBezTo>
                  <a:pt x="39" y="449"/>
                  <a:pt x="40" y="448"/>
                  <a:pt x="41" y="447"/>
                </a:cubicBezTo>
                <a:cubicBezTo>
                  <a:pt x="41" y="448"/>
                  <a:pt x="40" y="450"/>
                  <a:pt x="39" y="451"/>
                </a:cubicBezTo>
                <a:cubicBezTo>
                  <a:pt x="39" y="451"/>
                  <a:pt x="39" y="451"/>
                  <a:pt x="39" y="451"/>
                </a:cubicBezTo>
                <a:cubicBezTo>
                  <a:pt x="39" y="451"/>
                  <a:pt x="40" y="451"/>
                  <a:pt x="40" y="451"/>
                </a:cubicBezTo>
                <a:cubicBezTo>
                  <a:pt x="40" y="451"/>
                  <a:pt x="39" y="452"/>
                  <a:pt x="39" y="451"/>
                </a:cubicBezTo>
                <a:cubicBezTo>
                  <a:pt x="38" y="453"/>
                  <a:pt x="35" y="455"/>
                  <a:pt x="35" y="457"/>
                </a:cubicBezTo>
                <a:cubicBezTo>
                  <a:pt x="35" y="456"/>
                  <a:pt x="35" y="456"/>
                  <a:pt x="35" y="456"/>
                </a:cubicBezTo>
                <a:cubicBezTo>
                  <a:pt x="36" y="456"/>
                  <a:pt x="36" y="458"/>
                  <a:pt x="36" y="459"/>
                </a:cubicBezTo>
                <a:cubicBezTo>
                  <a:pt x="36" y="459"/>
                  <a:pt x="37" y="459"/>
                  <a:pt x="37" y="460"/>
                </a:cubicBezTo>
                <a:cubicBezTo>
                  <a:pt x="37" y="461"/>
                  <a:pt x="35" y="463"/>
                  <a:pt x="34" y="463"/>
                </a:cubicBezTo>
                <a:cubicBezTo>
                  <a:pt x="34" y="463"/>
                  <a:pt x="34" y="462"/>
                  <a:pt x="34" y="462"/>
                </a:cubicBezTo>
                <a:cubicBezTo>
                  <a:pt x="34" y="462"/>
                  <a:pt x="34" y="462"/>
                  <a:pt x="34" y="462"/>
                </a:cubicBezTo>
                <a:cubicBezTo>
                  <a:pt x="34" y="462"/>
                  <a:pt x="33" y="463"/>
                  <a:pt x="33" y="463"/>
                </a:cubicBezTo>
                <a:cubicBezTo>
                  <a:pt x="31" y="462"/>
                  <a:pt x="33" y="461"/>
                  <a:pt x="34" y="461"/>
                </a:cubicBezTo>
                <a:cubicBezTo>
                  <a:pt x="34" y="461"/>
                  <a:pt x="34" y="460"/>
                  <a:pt x="33" y="460"/>
                </a:cubicBezTo>
                <a:cubicBezTo>
                  <a:pt x="33" y="460"/>
                  <a:pt x="33" y="460"/>
                  <a:pt x="33" y="461"/>
                </a:cubicBezTo>
                <a:cubicBezTo>
                  <a:pt x="32" y="462"/>
                  <a:pt x="31" y="461"/>
                  <a:pt x="32" y="460"/>
                </a:cubicBezTo>
                <a:cubicBezTo>
                  <a:pt x="29" y="460"/>
                  <a:pt x="23" y="461"/>
                  <a:pt x="24" y="461"/>
                </a:cubicBezTo>
                <a:cubicBezTo>
                  <a:pt x="23" y="461"/>
                  <a:pt x="21" y="469"/>
                  <a:pt x="21" y="464"/>
                </a:cubicBezTo>
                <a:cubicBezTo>
                  <a:pt x="21" y="464"/>
                  <a:pt x="21" y="465"/>
                  <a:pt x="20" y="465"/>
                </a:cubicBezTo>
                <a:cubicBezTo>
                  <a:pt x="20" y="465"/>
                  <a:pt x="20" y="465"/>
                  <a:pt x="20" y="465"/>
                </a:cubicBezTo>
                <a:cubicBezTo>
                  <a:pt x="20" y="465"/>
                  <a:pt x="20" y="466"/>
                  <a:pt x="19" y="465"/>
                </a:cubicBezTo>
                <a:cubicBezTo>
                  <a:pt x="19" y="465"/>
                  <a:pt x="19" y="466"/>
                  <a:pt x="19" y="466"/>
                </a:cubicBezTo>
                <a:cubicBezTo>
                  <a:pt x="19" y="467"/>
                  <a:pt x="18" y="465"/>
                  <a:pt x="18" y="465"/>
                </a:cubicBezTo>
                <a:cubicBezTo>
                  <a:pt x="17" y="464"/>
                  <a:pt x="17" y="464"/>
                  <a:pt x="16" y="464"/>
                </a:cubicBezTo>
                <a:cubicBezTo>
                  <a:pt x="16" y="464"/>
                  <a:pt x="16" y="463"/>
                  <a:pt x="16" y="463"/>
                </a:cubicBezTo>
                <a:cubicBezTo>
                  <a:pt x="17" y="466"/>
                  <a:pt x="17" y="468"/>
                  <a:pt x="18" y="470"/>
                </a:cubicBezTo>
                <a:cubicBezTo>
                  <a:pt x="18" y="471"/>
                  <a:pt x="19" y="471"/>
                  <a:pt x="18" y="471"/>
                </a:cubicBezTo>
                <a:cubicBezTo>
                  <a:pt x="18" y="472"/>
                  <a:pt x="19" y="472"/>
                  <a:pt x="19" y="472"/>
                </a:cubicBezTo>
                <a:cubicBezTo>
                  <a:pt x="19" y="472"/>
                  <a:pt x="19" y="472"/>
                  <a:pt x="19" y="471"/>
                </a:cubicBezTo>
                <a:cubicBezTo>
                  <a:pt x="20" y="470"/>
                  <a:pt x="21" y="470"/>
                  <a:pt x="22" y="469"/>
                </a:cubicBezTo>
                <a:cubicBezTo>
                  <a:pt x="21" y="468"/>
                  <a:pt x="22" y="466"/>
                  <a:pt x="23" y="467"/>
                </a:cubicBezTo>
                <a:cubicBezTo>
                  <a:pt x="24" y="467"/>
                  <a:pt x="24" y="468"/>
                  <a:pt x="23" y="469"/>
                </a:cubicBezTo>
                <a:cubicBezTo>
                  <a:pt x="23" y="469"/>
                  <a:pt x="23" y="469"/>
                  <a:pt x="24" y="469"/>
                </a:cubicBezTo>
                <a:cubicBezTo>
                  <a:pt x="24" y="469"/>
                  <a:pt x="24" y="469"/>
                  <a:pt x="24" y="469"/>
                </a:cubicBezTo>
                <a:cubicBezTo>
                  <a:pt x="26" y="468"/>
                  <a:pt x="28" y="469"/>
                  <a:pt x="29" y="470"/>
                </a:cubicBezTo>
                <a:cubicBezTo>
                  <a:pt x="29" y="470"/>
                  <a:pt x="30" y="470"/>
                  <a:pt x="30" y="470"/>
                </a:cubicBezTo>
                <a:cubicBezTo>
                  <a:pt x="30" y="470"/>
                  <a:pt x="30" y="470"/>
                  <a:pt x="30" y="470"/>
                </a:cubicBezTo>
                <a:cubicBezTo>
                  <a:pt x="30" y="470"/>
                  <a:pt x="31" y="471"/>
                  <a:pt x="30" y="471"/>
                </a:cubicBezTo>
                <a:cubicBezTo>
                  <a:pt x="32" y="472"/>
                  <a:pt x="33" y="475"/>
                  <a:pt x="33" y="477"/>
                </a:cubicBezTo>
                <a:cubicBezTo>
                  <a:pt x="33" y="477"/>
                  <a:pt x="32" y="480"/>
                  <a:pt x="31" y="480"/>
                </a:cubicBezTo>
                <a:cubicBezTo>
                  <a:pt x="31" y="480"/>
                  <a:pt x="30" y="479"/>
                  <a:pt x="30" y="480"/>
                </a:cubicBezTo>
                <a:cubicBezTo>
                  <a:pt x="30" y="480"/>
                  <a:pt x="30" y="480"/>
                  <a:pt x="30" y="480"/>
                </a:cubicBezTo>
                <a:cubicBezTo>
                  <a:pt x="29" y="480"/>
                  <a:pt x="29" y="481"/>
                  <a:pt x="29" y="481"/>
                </a:cubicBezTo>
                <a:cubicBezTo>
                  <a:pt x="29" y="481"/>
                  <a:pt x="30" y="481"/>
                  <a:pt x="30" y="482"/>
                </a:cubicBezTo>
                <a:cubicBezTo>
                  <a:pt x="30" y="482"/>
                  <a:pt x="29" y="483"/>
                  <a:pt x="28" y="482"/>
                </a:cubicBezTo>
                <a:cubicBezTo>
                  <a:pt x="28" y="482"/>
                  <a:pt x="28" y="482"/>
                  <a:pt x="28" y="482"/>
                </a:cubicBezTo>
                <a:cubicBezTo>
                  <a:pt x="28" y="483"/>
                  <a:pt x="28" y="484"/>
                  <a:pt x="28" y="485"/>
                </a:cubicBezTo>
                <a:cubicBezTo>
                  <a:pt x="29" y="485"/>
                  <a:pt x="31" y="483"/>
                  <a:pt x="32" y="485"/>
                </a:cubicBezTo>
                <a:cubicBezTo>
                  <a:pt x="29" y="485"/>
                  <a:pt x="31" y="486"/>
                  <a:pt x="31" y="489"/>
                </a:cubicBezTo>
                <a:cubicBezTo>
                  <a:pt x="31" y="493"/>
                  <a:pt x="30" y="491"/>
                  <a:pt x="32" y="488"/>
                </a:cubicBezTo>
                <a:cubicBezTo>
                  <a:pt x="33" y="487"/>
                  <a:pt x="33" y="489"/>
                  <a:pt x="35" y="487"/>
                </a:cubicBezTo>
                <a:cubicBezTo>
                  <a:pt x="35" y="486"/>
                  <a:pt x="35" y="484"/>
                  <a:pt x="35" y="482"/>
                </a:cubicBezTo>
                <a:cubicBezTo>
                  <a:pt x="35" y="482"/>
                  <a:pt x="35" y="482"/>
                  <a:pt x="35" y="482"/>
                </a:cubicBezTo>
                <a:cubicBezTo>
                  <a:pt x="35" y="481"/>
                  <a:pt x="35" y="481"/>
                  <a:pt x="35" y="480"/>
                </a:cubicBezTo>
                <a:cubicBezTo>
                  <a:pt x="35" y="482"/>
                  <a:pt x="31" y="480"/>
                  <a:pt x="33" y="479"/>
                </a:cubicBezTo>
                <a:cubicBezTo>
                  <a:pt x="33" y="479"/>
                  <a:pt x="33" y="479"/>
                  <a:pt x="34" y="478"/>
                </a:cubicBezTo>
                <a:cubicBezTo>
                  <a:pt x="34" y="477"/>
                  <a:pt x="35" y="474"/>
                  <a:pt x="36" y="473"/>
                </a:cubicBezTo>
                <a:cubicBezTo>
                  <a:pt x="36" y="470"/>
                  <a:pt x="37" y="470"/>
                  <a:pt x="36" y="473"/>
                </a:cubicBezTo>
                <a:cubicBezTo>
                  <a:pt x="36" y="475"/>
                  <a:pt x="36" y="477"/>
                  <a:pt x="35" y="478"/>
                </a:cubicBezTo>
                <a:cubicBezTo>
                  <a:pt x="37" y="477"/>
                  <a:pt x="35" y="476"/>
                  <a:pt x="36" y="475"/>
                </a:cubicBezTo>
                <a:cubicBezTo>
                  <a:pt x="36" y="474"/>
                  <a:pt x="38" y="473"/>
                  <a:pt x="39" y="472"/>
                </a:cubicBezTo>
                <a:cubicBezTo>
                  <a:pt x="39" y="472"/>
                  <a:pt x="39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39" y="469"/>
                  <a:pt x="43" y="469"/>
                  <a:pt x="42" y="470"/>
                </a:cubicBezTo>
                <a:cubicBezTo>
                  <a:pt x="43" y="470"/>
                  <a:pt x="43" y="470"/>
                  <a:pt x="43" y="470"/>
                </a:cubicBezTo>
                <a:cubicBezTo>
                  <a:pt x="43" y="470"/>
                  <a:pt x="44" y="470"/>
                  <a:pt x="44" y="471"/>
                </a:cubicBezTo>
                <a:cubicBezTo>
                  <a:pt x="44" y="471"/>
                  <a:pt x="44" y="471"/>
                  <a:pt x="44" y="471"/>
                </a:cubicBezTo>
                <a:cubicBezTo>
                  <a:pt x="44" y="471"/>
                  <a:pt x="45" y="473"/>
                  <a:pt x="46" y="474"/>
                </a:cubicBezTo>
                <a:cubicBezTo>
                  <a:pt x="46" y="474"/>
                  <a:pt x="47" y="474"/>
                  <a:pt x="47" y="474"/>
                </a:cubicBezTo>
                <a:cubicBezTo>
                  <a:pt x="47" y="474"/>
                  <a:pt x="47" y="475"/>
                  <a:pt x="47" y="475"/>
                </a:cubicBezTo>
                <a:cubicBezTo>
                  <a:pt x="47" y="475"/>
                  <a:pt x="48" y="475"/>
                  <a:pt x="48" y="474"/>
                </a:cubicBezTo>
                <a:cubicBezTo>
                  <a:pt x="48" y="474"/>
                  <a:pt x="48" y="473"/>
                  <a:pt x="48" y="473"/>
                </a:cubicBezTo>
                <a:cubicBezTo>
                  <a:pt x="49" y="473"/>
                  <a:pt x="56" y="472"/>
                  <a:pt x="53" y="470"/>
                </a:cubicBezTo>
                <a:cubicBezTo>
                  <a:pt x="52" y="470"/>
                  <a:pt x="52" y="471"/>
                  <a:pt x="52" y="471"/>
                </a:cubicBezTo>
                <a:cubicBezTo>
                  <a:pt x="52" y="471"/>
                  <a:pt x="52" y="470"/>
                  <a:pt x="51" y="470"/>
                </a:cubicBezTo>
                <a:cubicBezTo>
                  <a:pt x="50" y="470"/>
                  <a:pt x="49" y="472"/>
                  <a:pt x="48" y="472"/>
                </a:cubicBezTo>
                <a:cubicBezTo>
                  <a:pt x="50" y="471"/>
                  <a:pt x="48" y="468"/>
                  <a:pt x="49" y="467"/>
                </a:cubicBezTo>
                <a:cubicBezTo>
                  <a:pt x="51" y="467"/>
                  <a:pt x="53" y="470"/>
                  <a:pt x="55" y="470"/>
                </a:cubicBezTo>
                <a:cubicBezTo>
                  <a:pt x="58" y="469"/>
                  <a:pt x="59" y="467"/>
                  <a:pt x="60" y="465"/>
                </a:cubicBezTo>
                <a:cubicBezTo>
                  <a:pt x="59" y="466"/>
                  <a:pt x="57" y="466"/>
                  <a:pt x="56" y="465"/>
                </a:cubicBezTo>
                <a:cubicBezTo>
                  <a:pt x="55" y="466"/>
                  <a:pt x="54" y="467"/>
                  <a:pt x="53" y="465"/>
                </a:cubicBezTo>
                <a:cubicBezTo>
                  <a:pt x="52" y="463"/>
                  <a:pt x="48" y="460"/>
                  <a:pt x="50" y="458"/>
                </a:cubicBezTo>
                <a:cubicBezTo>
                  <a:pt x="53" y="455"/>
                  <a:pt x="58" y="451"/>
                  <a:pt x="59" y="445"/>
                </a:cubicBezTo>
                <a:cubicBezTo>
                  <a:pt x="55" y="450"/>
                  <a:pt x="54" y="444"/>
                  <a:pt x="59" y="443"/>
                </a:cubicBezTo>
                <a:cubicBezTo>
                  <a:pt x="58" y="445"/>
                  <a:pt x="60" y="444"/>
                  <a:pt x="61" y="445"/>
                </a:cubicBezTo>
                <a:cubicBezTo>
                  <a:pt x="61" y="445"/>
                  <a:pt x="61" y="446"/>
                  <a:pt x="61" y="446"/>
                </a:cubicBezTo>
                <a:cubicBezTo>
                  <a:pt x="61" y="446"/>
                  <a:pt x="61" y="446"/>
                  <a:pt x="61" y="446"/>
                </a:cubicBezTo>
                <a:cubicBezTo>
                  <a:pt x="63" y="446"/>
                  <a:pt x="60" y="450"/>
                  <a:pt x="60" y="447"/>
                </a:cubicBezTo>
                <a:cubicBezTo>
                  <a:pt x="60" y="447"/>
                  <a:pt x="60" y="447"/>
                  <a:pt x="60" y="447"/>
                </a:cubicBezTo>
                <a:cubicBezTo>
                  <a:pt x="60" y="448"/>
                  <a:pt x="59" y="448"/>
                  <a:pt x="59" y="449"/>
                </a:cubicBezTo>
                <a:cubicBezTo>
                  <a:pt x="59" y="452"/>
                  <a:pt x="59" y="456"/>
                  <a:pt x="60" y="459"/>
                </a:cubicBezTo>
                <a:cubicBezTo>
                  <a:pt x="61" y="459"/>
                  <a:pt x="61" y="459"/>
                  <a:pt x="62" y="460"/>
                </a:cubicBezTo>
                <a:cubicBezTo>
                  <a:pt x="62" y="460"/>
                  <a:pt x="62" y="460"/>
                  <a:pt x="62" y="461"/>
                </a:cubicBezTo>
                <a:cubicBezTo>
                  <a:pt x="63" y="462"/>
                  <a:pt x="64" y="461"/>
                  <a:pt x="66" y="457"/>
                </a:cubicBezTo>
                <a:cubicBezTo>
                  <a:pt x="67" y="464"/>
                  <a:pt x="71" y="455"/>
                  <a:pt x="70" y="453"/>
                </a:cubicBezTo>
                <a:cubicBezTo>
                  <a:pt x="70" y="453"/>
                  <a:pt x="68" y="453"/>
                  <a:pt x="68" y="452"/>
                </a:cubicBezTo>
                <a:cubicBezTo>
                  <a:pt x="67" y="452"/>
                  <a:pt x="68" y="449"/>
                  <a:pt x="68" y="447"/>
                </a:cubicBezTo>
                <a:cubicBezTo>
                  <a:pt x="69" y="446"/>
                  <a:pt x="73" y="440"/>
                  <a:pt x="72" y="445"/>
                </a:cubicBezTo>
                <a:cubicBezTo>
                  <a:pt x="71" y="446"/>
                  <a:pt x="71" y="448"/>
                  <a:pt x="71" y="449"/>
                </a:cubicBezTo>
                <a:cubicBezTo>
                  <a:pt x="72" y="449"/>
                  <a:pt x="72" y="449"/>
                  <a:pt x="71" y="449"/>
                </a:cubicBezTo>
                <a:cubicBezTo>
                  <a:pt x="71" y="449"/>
                  <a:pt x="71" y="449"/>
                  <a:pt x="71" y="449"/>
                </a:cubicBezTo>
                <a:cubicBezTo>
                  <a:pt x="71" y="450"/>
                  <a:pt x="71" y="452"/>
                  <a:pt x="71" y="453"/>
                </a:cubicBezTo>
                <a:cubicBezTo>
                  <a:pt x="71" y="455"/>
                  <a:pt x="70" y="457"/>
                  <a:pt x="70" y="458"/>
                </a:cubicBezTo>
                <a:cubicBezTo>
                  <a:pt x="70" y="458"/>
                  <a:pt x="70" y="458"/>
                  <a:pt x="71" y="459"/>
                </a:cubicBezTo>
                <a:cubicBezTo>
                  <a:pt x="71" y="459"/>
                  <a:pt x="72" y="459"/>
                  <a:pt x="72" y="460"/>
                </a:cubicBezTo>
                <a:cubicBezTo>
                  <a:pt x="71" y="460"/>
                  <a:pt x="71" y="460"/>
                  <a:pt x="71" y="460"/>
                </a:cubicBezTo>
                <a:cubicBezTo>
                  <a:pt x="71" y="461"/>
                  <a:pt x="72" y="461"/>
                  <a:pt x="72" y="461"/>
                </a:cubicBezTo>
                <a:cubicBezTo>
                  <a:pt x="74" y="461"/>
                  <a:pt x="74" y="453"/>
                  <a:pt x="73" y="450"/>
                </a:cubicBezTo>
                <a:cubicBezTo>
                  <a:pt x="73" y="450"/>
                  <a:pt x="73" y="451"/>
                  <a:pt x="73" y="450"/>
                </a:cubicBezTo>
                <a:cubicBezTo>
                  <a:pt x="72" y="450"/>
                  <a:pt x="73" y="449"/>
                  <a:pt x="73" y="449"/>
                </a:cubicBezTo>
                <a:cubicBezTo>
                  <a:pt x="73" y="449"/>
                  <a:pt x="73" y="449"/>
                  <a:pt x="73" y="449"/>
                </a:cubicBezTo>
                <a:cubicBezTo>
                  <a:pt x="73" y="449"/>
                  <a:pt x="74" y="448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5"/>
                  <a:pt x="74" y="442"/>
                  <a:pt x="75" y="442"/>
                </a:cubicBezTo>
                <a:cubicBezTo>
                  <a:pt x="78" y="440"/>
                  <a:pt x="73" y="455"/>
                  <a:pt x="78" y="450"/>
                </a:cubicBezTo>
                <a:cubicBezTo>
                  <a:pt x="79" y="450"/>
                  <a:pt x="83" y="445"/>
                  <a:pt x="83" y="445"/>
                </a:cubicBezTo>
                <a:cubicBezTo>
                  <a:pt x="82" y="444"/>
                  <a:pt x="81" y="445"/>
                  <a:pt x="80" y="445"/>
                </a:cubicBezTo>
                <a:cubicBezTo>
                  <a:pt x="78" y="444"/>
                  <a:pt x="79" y="441"/>
                  <a:pt x="80" y="441"/>
                </a:cubicBezTo>
                <a:cubicBezTo>
                  <a:pt x="82" y="440"/>
                  <a:pt x="82" y="442"/>
                  <a:pt x="83" y="442"/>
                </a:cubicBezTo>
                <a:cubicBezTo>
                  <a:pt x="85" y="441"/>
                  <a:pt x="85" y="439"/>
                  <a:pt x="86" y="437"/>
                </a:cubicBezTo>
                <a:cubicBezTo>
                  <a:pt x="86" y="438"/>
                  <a:pt x="85" y="438"/>
                  <a:pt x="85" y="438"/>
                </a:cubicBezTo>
                <a:cubicBezTo>
                  <a:pt x="85" y="437"/>
                  <a:pt x="86" y="437"/>
                  <a:pt x="86" y="437"/>
                </a:cubicBezTo>
                <a:cubicBezTo>
                  <a:pt x="86" y="435"/>
                  <a:pt x="87" y="434"/>
                  <a:pt x="88" y="432"/>
                </a:cubicBezTo>
                <a:cubicBezTo>
                  <a:pt x="90" y="430"/>
                  <a:pt x="91" y="426"/>
                  <a:pt x="91" y="426"/>
                </a:cubicBezTo>
                <a:cubicBezTo>
                  <a:pt x="91" y="426"/>
                  <a:pt x="93" y="428"/>
                  <a:pt x="95" y="428"/>
                </a:cubicBezTo>
                <a:cubicBezTo>
                  <a:pt x="97" y="428"/>
                  <a:pt x="96" y="426"/>
                  <a:pt x="97" y="428"/>
                </a:cubicBezTo>
                <a:cubicBezTo>
                  <a:pt x="97" y="430"/>
                  <a:pt x="98" y="428"/>
                  <a:pt x="98" y="430"/>
                </a:cubicBezTo>
                <a:cubicBezTo>
                  <a:pt x="98" y="432"/>
                  <a:pt x="95" y="437"/>
                  <a:pt x="92" y="435"/>
                </a:cubicBezTo>
                <a:cubicBezTo>
                  <a:pt x="91" y="435"/>
                  <a:pt x="91" y="433"/>
                  <a:pt x="89" y="435"/>
                </a:cubicBezTo>
                <a:cubicBezTo>
                  <a:pt x="89" y="436"/>
                  <a:pt x="90" y="437"/>
                  <a:pt x="89" y="439"/>
                </a:cubicBezTo>
                <a:cubicBezTo>
                  <a:pt x="88" y="441"/>
                  <a:pt x="84" y="445"/>
                  <a:pt x="83" y="448"/>
                </a:cubicBezTo>
                <a:cubicBezTo>
                  <a:pt x="82" y="450"/>
                  <a:pt x="83" y="453"/>
                  <a:pt x="81" y="456"/>
                </a:cubicBezTo>
                <a:cubicBezTo>
                  <a:pt x="80" y="458"/>
                  <a:pt x="75" y="461"/>
                  <a:pt x="75" y="463"/>
                </a:cubicBezTo>
                <a:cubicBezTo>
                  <a:pt x="75" y="463"/>
                  <a:pt x="76" y="464"/>
                  <a:pt x="76" y="464"/>
                </a:cubicBezTo>
                <a:cubicBezTo>
                  <a:pt x="77" y="464"/>
                  <a:pt x="77" y="464"/>
                  <a:pt x="77" y="464"/>
                </a:cubicBezTo>
                <a:cubicBezTo>
                  <a:pt x="77" y="465"/>
                  <a:pt x="77" y="465"/>
                  <a:pt x="77" y="465"/>
                </a:cubicBezTo>
                <a:cubicBezTo>
                  <a:pt x="79" y="466"/>
                  <a:pt x="83" y="467"/>
                  <a:pt x="86" y="467"/>
                </a:cubicBezTo>
                <a:cubicBezTo>
                  <a:pt x="86" y="467"/>
                  <a:pt x="86" y="466"/>
                  <a:pt x="86" y="466"/>
                </a:cubicBezTo>
                <a:cubicBezTo>
                  <a:pt x="86" y="465"/>
                  <a:pt x="86" y="465"/>
                  <a:pt x="86" y="464"/>
                </a:cubicBezTo>
                <a:cubicBezTo>
                  <a:pt x="87" y="460"/>
                  <a:pt x="94" y="456"/>
                  <a:pt x="98" y="458"/>
                </a:cubicBezTo>
                <a:cubicBezTo>
                  <a:pt x="98" y="458"/>
                  <a:pt x="98" y="459"/>
                  <a:pt x="99" y="459"/>
                </a:cubicBezTo>
                <a:cubicBezTo>
                  <a:pt x="99" y="459"/>
                  <a:pt x="99" y="459"/>
                  <a:pt x="99" y="459"/>
                </a:cubicBezTo>
                <a:cubicBezTo>
                  <a:pt x="100" y="458"/>
                  <a:pt x="99" y="459"/>
                  <a:pt x="99" y="459"/>
                </a:cubicBezTo>
                <a:cubicBezTo>
                  <a:pt x="99" y="459"/>
                  <a:pt x="99" y="459"/>
                  <a:pt x="99" y="460"/>
                </a:cubicBezTo>
                <a:cubicBezTo>
                  <a:pt x="100" y="459"/>
                  <a:pt x="101" y="459"/>
                  <a:pt x="101" y="458"/>
                </a:cubicBezTo>
                <a:cubicBezTo>
                  <a:pt x="103" y="459"/>
                  <a:pt x="103" y="456"/>
                  <a:pt x="105" y="456"/>
                </a:cubicBezTo>
                <a:cubicBezTo>
                  <a:pt x="106" y="455"/>
                  <a:pt x="108" y="458"/>
                  <a:pt x="108" y="455"/>
                </a:cubicBezTo>
                <a:cubicBezTo>
                  <a:pt x="108" y="460"/>
                  <a:pt x="116" y="452"/>
                  <a:pt x="116" y="451"/>
                </a:cubicBezTo>
                <a:cubicBezTo>
                  <a:pt x="116" y="451"/>
                  <a:pt x="110" y="450"/>
                  <a:pt x="110" y="450"/>
                </a:cubicBezTo>
                <a:cubicBezTo>
                  <a:pt x="110" y="450"/>
                  <a:pt x="110" y="450"/>
                  <a:pt x="110" y="450"/>
                </a:cubicBezTo>
                <a:cubicBezTo>
                  <a:pt x="110" y="451"/>
                  <a:pt x="110" y="451"/>
                  <a:pt x="110" y="451"/>
                </a:cubicBezTo>
                <a:cubicBezTo>
                  <a:pt x="109" y="451"/>
                  <a:pt x="109" y="452"/>
                  <a:pt x="108" y="451"/>
                </a:cubicBezTo>
                <a:cubicBezTo>
                  <a:pt x="107" y="450"/>
                  <a:pt x="109" y="450"/>
                  <a:pt x="110" y="449"/>
                </a:cubicBezTo>
                <a:cubicBezTo>
                  <a:pt x="110" y="449"/>
                  <a:pt x="110" y="449"/>
                  <a:pt x="109" y="449"/>
                </a:cubicBezTo>
                <a:cubicBezTo>
                  <a:pt x="109" y="449"/>
                  <a:pt x="108" y="448"/>
                  <a:pt x="108" y="447"/>
                </a:cubicBezTo>
                <a:cubicBezTo>
                  <a:pt x="108" y="447"/>
                  <a:pt x="108" y="446"/>
                  <a:pt x="108" y="446"/>
                </a:cubicBezTo>
                <a:cubicBezTo>
                  <a:pt x="108" y="446"/>
                  <a:pt x="108" y="445"/>
                  <a:pt x="108" y="444"/>
                </a:cubicBezTo>
                <a:cubicBezTo>
                  <a:pt x="108" y="444"/>
                  <a:pt x="110" y="441"/>
                  <a:pt x="111" y="441"/>
                </a:cubicBezTo>
                <a:cubicBezTo>
                  <a:pt x="112" y="440"/>
                  <a:pt x="114" y="435"/>
                  <a:pt x="115" y="436"/>
                </a:cubicBezTo>
                <a:cubicBezTo>
                  <a:pt x="116" y="436"/>
                  <a:pt x="114" y="438"/>
                  <a:pt x="115" y="439"/>
                </a:cubicBezTo>
                <a:cubicBezTo>
                  <a:pt x="115" y="440"/>
                  <a:pt x="117" y="439"/>
                  <a:pt x="118" y="439"/>
                </a:cubicBezTo>
                <a:cubicBezTo>
                  <a:pt x="119" y="439"/>
                  <a:pt x="118" y="441"/>
                  <a:pt x="119" y="442"/>
                </a:cubicBezTo>
                <a:cubicBezTo>
                  <a:pt x="119" y="441"/>
                  <a:pt x="121" y="440"/>
                  <a:pt x="122" y="442"/>
                </a:cubicBezTo>
                <a:cubicBezTo>
                  <a:pt x="122" y="444"/>
                  <a:pt x="120" y="443"/>
                  <a:pt x="120" y="444"/>
                </a:cubicBezTo>
                <a:cubicBezTo>
                  <a:pt x="119" y="444"/>
                  <a:pt x="120" y="445"/>
                  <a:pt x="120" y="445"/>
                </a:cubicBezTo>
                <a:cubicBezTo>
                  <a:pt x="121" y="446"/>
                  <a:pt x="119" y="447"/>
                  <a:pt x="118" y="448"/>
                </a:cubicBezTo>
                <a:cubicBezTo>
                  <a:pt x="118" y="449"/>
                  <a:pt x="119" y="450"/>
                  <a:pt x="119" y="450"/>
                </a:cubicBezTo>
                <a:cubicBezTo>
                  <a:pt x="117" y="453"/>
                  <a:pt x="112" y="455"/>
                  <a:pt x="113" y="460"/>
                </a:cubicBezTo>
                <a:cubicBezTo>
                  <a:pt x="113" y="461"/>
                  <a:pt x="114" y="460"/>
                  <a:pt x="115" y="460"/>
                </a:cubicBezTo>
                <a:cubicBezTo>
                  <a:pt x="114" y="463"/>
                  <a:pt x="112" y="471"/>
                  <a:pt x="107" y="472"/>
                </a:cubicBezTo>
                <a:cubicBezTo>
                  <a:pt x="106" y="472"/>
                  <a:pt x="104" y="471"/>
                  <a:pt x="103" y="471"/>
                </a:cubicBezTo>
                <a:cubicBezTo>
                  <a:pt x="102" y="471"/>
                  <a:pt x="102" y="470"/>
                  <a:pt x="101" y="469"/>
                </a:cubicBezTo>
                <a:cubicBezTo>
                  <a:pt x="101" y="469"/>
                  <a:pt x="100" y="469"/>
                  <a:pt x="100" y="468"/>
                </a:cubicBezTo>
                <a:cubicBezTo>
                  <a:pt x="100" y="468"/>
                  <a:pt x="100" y="468"/>
                  <a:pt x="100" y="468"/>
                </a:cubicBezTo>
                <a:cubicBezTo>
                  <a:pt x="100" y="468"/>
                  <a:pt x="100" y="467"/>
                  <a:pt x="99" y="467"/>
                </a:cubicBezTo>
                <a:cubicBezTo>
                  <a:pt x="98" y="468"/>
                  <a:pt x="96" y="470"/>
                  <a:pt x="95" y="470"/>
                </a:cubicBezTo>
                <a:cubicBezTo>
                  <a:pt x="96" y="472"/>
                  <a:pt x="98" y="470"/>
                  <a:pt x="99" y="470"/>
                </a:cubicBezTo>
                <a:cubicBezTo>
                  <a:pt x="98" y="471"/>
                  <a:pt x="98" y="471"/>
                  <a:pt x="98" y="472"/>
                </a:cubicBezTo>
                <a:cubicBezTo>
                  <a:pt x="99" y="472"/>
                  <a:pt x="100" y="472"/>
                  <a:pt x="100" y="472"/>
                </a:cubicBezTo>
                <a:cubicBezTo>
                  <a:pt x="101" y="473"/>
                  <a:pt x="99" y="473"/>
                  <a:pt x="99" y="473"/>
                </a:cubicBezTo>
                <a:cubicBezTo>
                  <a:pt x="98" y="475"/>
                  <a:pt x="100" y="474"/>
                  <a:pt x="99" y="476"/>
                </a:cubicBezTo>
                <a:cubicBezTo>
                  <a:pt x="98" y="478"/>
                  <a:pt x="95" y="477"/>
                  <a:pt x="94" y="478"/>
                </a:cubicBezTo>
                <a:cubicBezTo>
                  <a:pt x="94" y="478"/>
                  <a:pt x="94" y="478"/>
                  <a:pt x="94" y="479"/>
                </a:cubicBezTo>
                <a:cubicBezTo>
                  <a:pt x="95" y="479"/>
                  <a:pt x="95" y="479"/>
                  <a:pt x="96" y="479"/>
                </a:cubicBezTo>
                <a:cubicBezTo>
                  <a:pt x="96" y="480"/>
                  <a:pt x="94" y="481"/>
                  <a:pt x="95" y="483"/>
                </a:cubicBezTo>
                <a:cubicBezTo>
                  <a:pt x="95" y="483"/>
                  <a:pt x="96" y="483"/>
                  <a:pt x="96" y="483"/>
                </a:cubicBezTo>
                <a:cubicBezTo>
                  <a:pt x="96" y="483"/>
                  <a:pt x="97" y="487"/>
                  <a:pt x="97" y="487"/>
                </a:cubicBezTo>
                <a:cubicBezTo>
                  <a:pt x="96" y="489"/>
                  <a:pt x="94" y="487"/>
                  <a:pt x="92" y="488"/>
                </a:cubicBezTo>
                <a:cubicBezTo>
                  <a:pt x="93" y="488"/>
                  <a:pt x="90" y="490"/>
                  <a:pt x="90" y="490"/>
                </a:cubicBezTo>
                <a:cubicBezTo>
                  <a:pt x="90" y="491"/>
                  <a:pt x="91" y="491"/>
                  <a:pt x="91" y="492"/>
                </a:cubicBezTo>
                <a:cubicBezTo>
                  <a:pt x="90" y="495"/>
                  <a:pt x="89" y="494"/>
                  <a:pt x="89" y="497"/>
                </a:cubicBezTo>
                <a:cubicBezTo>
                  <a:pt x="89" y="498"/>
                  <a:pt x="86" y="502"/>
                  <a:pt x="84" y="502"/>
                </a:cubicBezTo>
                <a:cubicBezTo>
                  <a:pt x="80" y="502"/>
                  <a:pt x="82" y="494"/>
                  <a:pt x="76" y="496"/>
                </a:cubicBezTo>
                <a:cubicBezTo>
                  <a:pt x="75" y="491"/>
                  <a:pt x="70" y="501"/>
                  <a:pt x="69" y="501"/>
                </a:cubicBezTo>
                <a:cubicBezTo>
                  <a:pt x="69" y="501"/>
                  <a:pt x="69" y="501"/>
                  <a:pt x="69" y="501"/>
                </a:cubicBezTo>
                <a:cubicBezTo>
                  <a:pt x="69" y="501"/>
                  <a:pt x="69" y="502"/>
                  <a:pt x="68" y="501"/>
                </a:cubicBezTo>
                <a:cubicBezTo>
                  <a:pt x="68" y="501"/>
                  <a:pt x="68" y="501"/>
                  <a:pt x="68" y="501"/>
                </a:cubicBezTo>
                <a:cubicBezTo>
                  <a:pt x="68" y="500"/>
                  <a:pt x="69" y="500"/>
                  <a:pt x="69" y="501"/>
                </a:cubicBezTo>
                <a:cubicBezTo>
                  <a:pt x="69" y="499"/>
                  <a:pt x="73" y="494"/>
                  <a:pt x="68" y="496"/>
                </a:cubicBezTo>
                <a:cubicBezTo>
                  <a:pt x="67" y="497"/>
                  <a:pt x="69" y="499"/>
                  <a:pt x="68" y="500"/>
                </a:cubicBezTo>
                <a:cubicBezTo>
                  <a:pt x="67" y="501"/>
                  <a:pt x="64" y="500"/>
                  <a:pt x="62" y="500"/>
                </a:cubicBezTo>
                <a:cubicBezTo>
                  <a:pt x="62" y="500"/>
                  <a:pt x="61" y="504"/>
                  <a:pt x="61" y="505"/>
                </a:cubicBezTo>
                <a:cubicBezTo>
                  <a:pt x="62" y="506"/>
                  <a:pt x="63" y="506"/>
                  <a:pt x="62" y="508"/>
                </a:cubicBezTo>
                <a:cubicBezTo>
                  <a:pt x="62" y="508"/>
                  <a:pt x="62" y="507"/>
                  <a:pt x="63" y="507"/>
                </a:cubicBezTo>
                <a:cubicBezTo>
                  <a:pt x="62" y="508"/>
                  <a:pt x="62" y="509"/>
                  <a:pt x="65" y="508"/>
                </a:cubicBezTo>
                <a:cubicBezTo>
                  <a:pt x="63" y="511"/>
                  <a:pt x="60" y="511"/>
                  <a:pt x="61" y="514"/>
                </a:cubicBezTo>
                <a:cubicBezTo>
                  <a:pt x="61" y="514"/>
                  <a:pt x="67" y="516"/>
                  <a:pt x="66" y="517"/>
                </a:cubicBezTo>
                <a:cubicBezTo>
                  <a:pt x="70" y="515"/>
                  <a:pt x="64" y="513"/>
                  <a:pt x="65" y="510"/>
                </a:cubicBezTo>
                <a:cubicBezTo>
                  <a:pt x="66" y="507"/>
                  <a:pt x="68" y="514"/>
                  <a:pt x="69" y="514"/>
                </a:cubicBezTo>
                <a:cubicBezTo>
                  <a:pt x="70" y="515"/>
                  <a:pt x="69" y="514"/>
                  <a:pt x="70" y="514"/>
                </a:cubicBezTo>
                <a:cubicBezTo>
                  <a:pt x="72" y="513"/>
                  <a:pt x="73" y="516"/>
                  <a:pt x="74" y="514"/>
                </a:cubicBezTo>
                <a:cubicBezTo>
                  <a:pt x="74" y="514"/>
                  <a:pt x="71" y="514"/>
                  <a:pt x="72" y="512"/>
                </a:cubicBezTo>
                <a:cubicBezTo>
                  <a:pt x="73" y="511"/>
                  <a:pt x="75" y="513"/>
                  <a:pt x="75" y="513"/>
                </a:cubicBezTo>
                <a:cubicBezTo>
                  <a:pt x="76" y="513"/>
                  <a:pt x="77" y="513"/>
                  <a:pt x="78" y="514"/>
                </a:cubicBezTo>
                <a:cubicBezTo>
                  <a:pt x="78" y="513"/>
                  <a:pt x="78" y="513"/>
                  <a:pt x="78" y="513"/>
                </a:cubicBezTo>
                <a:cubicBezTo>
                  <a:pt x="78" y="513"/>
                  <a:pt x="78" y="514"/>
                  <a:pt x="78" y="515"/>
                </a:cubicBezTo>
                <a:cubicBezTo>
                  <a:pt x="78" y="517"/>
                  <a:pt x="78" y="519"/>
                  <a:pt x="78" y="520"/>
                </a:cubicBezTo>
                <a:cubicBezTo>
                  <a:pt x="78" y="520"/>
                  <a:pt x="78" y="520"/>
                  <a:pt x="78" y="520"/>
                </a:cubicBezTo>
                <a:cubicBezTo>
                  <a:pt x="79" y="520"/>
                  <a:pt x="78" y="519"/>
                  <a:pt x="79" y="519"/>
                </a:cubicBezTo>
                <a:cubicBezTo>
                  <a:pt x="80" y="520"/>
                  <a:pt x="80" y="520"/>
                  <a:pt x="81" y="520"/>
                </a:cubicBezTo>
                <a:cubicBezTo>
                  <a:pt x="81" y="518"/>
                  <a:pt x="82" y="515"/>
                  <a:pt x="82" y="515"/>
                </a:cubicBezTo>
                <a:cubicBezTo>
                  <a:pt x="84" y="514"/>
                  <a:pt x="85" y="516"/>
                  <a:pt x="86" y="514"/>
                </a:cubicBezTo>
                <a:cubicBezTo>
                  <a:pt x="86" y="513"/>
                  <a:pt x="84" y="512"/>
                  <a:pt x="84" y="511"/>
                </a:cubicBezTo>
                <a:cubicBezTo>
                  <a:pt x="84" y="511"/>
                  <a:pt x="83" y="509"/>
                  <a:pt x="84" y="509"/>
                </a:cubicBezTo>
                <a:cubicBezTo>
                  <a:pt x="82" y="509"/>
                  <a:pt x="80" y="511"/>
                  <a:pt x="80" y="510"/>
                </a:cubicBezTo>
                <a:cubicBezTo>
                  <a:pt x="79" y="510"/>
                  <a:pt x="80" y="508"/>
                  <a:pt x="81" y="507"/>
                </a:cubicBezTo>
                <a:cubicBezTo>
                  <a:pt x="82" y="510"/>
                  <a:pt x="84" y="506"/>
                  <a:pt x="85" y="505"/>
                </a:cubicBezTo>
                <a:cubicBezTo>
                  <a:pt x="86" y="504"/>
                  <a:pt x="89" y="504"/>
                  <a:pt x="89" y="504"/>
                </a:cubicBezTo>
                <a:cubicBezTo>
                  <a:pt x="90" y="503"/>
                  <a:pt x="88" y="501"/>
                  <a:pt x="90" y="501"/>
                </a:cubicBezTo>
                <a:cubicBezTo>
                  <a:pt x="91" y="501"/>
                  <a:pt x="90" y="502"/>
                  <a:pt x="90" y="502"/>
                </a:cubicBezTo>
                <a:cubicBezTo>
                  <a:pt x="91" y="503"/>
                  <a:pt x="93" y="501"/>
                  <a:pt x="94" y="502"/>
                </a:cubicBezTo>
                <a:cubicBezTo>
                  <a:pt x="95" y="502"/>
                  <a:pt x="94" y="504"/>
                  <a:pt x="94" y="505"/>
                </a:cubicBezTo>
                <a:cubicBezTo>
                  <a:pt x="94" y="506"/>
                  <a:pt x="94" y="507"/>
                  <a:pt x="94" y="508"/>
                </a:cubicBezTo>
                <a:cubicBezTo>
                  <a:pt x="97" y="507"/>
                  <a:pt x="101" y="507"/>
                  <a:pt x="102" y="508"/>
                </a:cubicBezTo>
                <a:cubicBezTo>
                  <a:pt x="103" y="509"/>
                  <a:pt x="101" y="511"/>
                  <a:pt x="104" y="510"/>
                </a:cubicBezTo>
                <a:cubicBezTo>
                  <a:pt x="102" y="512"/>
                  <a:pt x="106" y="513"/>
                  <a:pt x="106" y="514"/>
                </a:cubicBezTo>
                <a:cubicBezTo>
                  <a:pt x="106" y="515"/>
                  <a:pt x="104" y="516"/>
                  <a:pt x="104" y="516"/>
                </a:cubicBezTo>
                <a:cubicBezTo>
                  <a:pt x="104" y="516"/>
                  <a:pt x="105" y="517"/>
                  <a:pt x="104" y="518"/>
                </a:cubicBezTo>
                <a:cubicBezTo>
                  <a:pt x="104" y="518"/>
                  <a:pt x="104" y="518"/>
                  <a:pt x="104" y="518"/>
                </a:cubicBezTo>
                <a:cubicBezTo>
                  <a:pt x="105" y="519"/>
                  <a:pt x="106" y="520"/>
                  <a:pt x="106" y="522"/>
                </a:cubicBezTo>
                <a:cubicBezTo>
                  <a:pt x="106" y="522"/>
                  <a:pt x="107" y="522"/>
                  <a:pt x="107" y="522"/>
                </a:cubicBezTo>
                <a:cubicBezTo>
                  <a:pt x="107" y="521"/>
                  <a:pt x="106" y="521"/>
                  <a:pt x="106" y="520"/>
                </a:cubicBezTo>
                <a:cubicBezTo>
                  <a:pt x="106" y="519"/>
                  <a:pt x="107" y="518"/>
                  <a:pt x="108" y="518"/>
                </a:cubicBezTo>
                <a:cubicBezTo>
                  <a:pt x="108" y="517"/>
                  <a:pt x="108" y="517"/>
                  <a:pt x="109" y="516"/>
                </a:cubicBezTo>
                <a:cubicBezTo>
                  <a:pt x="109" y="516"/>
                  <a:pt x="108" y="516"/>
                  <a:pt x="108" y="516"/>
                </a:cubicBezTo>
                <a:cubicBezTo>
                  <a:pt x="108" y="515"/>
                  <a:pt x="109" y="515"/>
                  <a:pt x="109" y="515"/>
                </a:cubicBezTo>
                <a:cubicBezTo>
                  <a:pt x="111" y="514"/>
                  <a:pt x="112" y="513"/>
                  <a:pt x="113" y="512"/>
                </a:cubicBezTo>
                <a:cubicBezTo>
                  <a:pt x="112" y="514"/>
                  <a:pt x="115" y="514"/>
                  <a:pt x="115" y="514"/>
                </a:cubicBezTo>
                <a:cubicBezTo>
                  <a:pt x="115" y="514"/>
                  <a:pt x="116" y="514"/>
                  <a:pt x="116" y="514"/>
                </a:cubicBezTo>
                <a:cubicBezTo>
                  <a:pt x="116" y="514"/>
                  <a:pt x="116" y="514"/>
                  <a:pt x="116" y="514"/>
                </a:cubicBezTo>
                <a:cubicBezTo>
                  <a:pt x="115" y="514"/>
                  <a:pt x="115" y="513"/>
                  <a:pt x="115" y="513"/>
                </a:cubicBezTo>
                <a:cubicBezTo>
                  <a:pt x="114" y="512"/>
                  <a:pt x="115" y="508"/>
                  <a:pt x="115" y="507"/>
                </a:cubicBezTo>
                <a:cubicBezTo>
                  <a:pt x="116" y="507"/>
                  <a:pt x="116" y="508"/>
                  <a:pt x="117" y="508"/>
                </a:cubicBezTo>
                <a:cubicBezTo>
                  <a:pt x="118" y="507"/>
                  <a:pt x="120" y="504"/>
                  <a:pt x="123" y="505"/>
                </a:cubicBezTo>
                <a:cubicBezTo>
                  <a:pt x="122" y="507"/>
                  <a:pt x="120" y="506"/>
                  <a:pt x="120" y="507"/>
                </a:cubicBezTo>
                <a:cubicBezTo>
                  <a:pt x="119" y="508"/>
                  <a:pt x="121" y="508"/>
                  <a:pt x="121" y="508"/>
                </a:cubicBezTo>
                <a:cubicBezTo>
                  <a:pt x="122" y="510"/>
                  <a:pt x="120" y="514"/>
                  <a:pt x="117" y="514"/>
                </a:cubicBezTo>
                <a:cubicBezTo>
                  <a:pt x="117" y="515"/>
                  <a:pt x="117" y="516"/>
                  <a:pt x="116" y="517"/>
                </a:cubicBezTo>
                <a:cubicBezTo>
                  <a:pt x="117" y="517"/>
                  <a:pt x="117" y="517"/>
                  <a:pt x="117" y="517"/>
                </a:cubicBezTo>
                <a:cubicBezTo>
                  <a:pt x="118" y="515"/>
                  <a:pt x="121" y="515"/>
                  <a:pt x="122" y="513"/>
                </a:cubicBezTo>
                <a:cubicBezTo>
                  <a:pt x="122" y="512"/>
                  <a:pt x="122" y="511"/>
                  <a:pt x="122" y="510"/>
                </a:cubicBezTo>
                <a:cubicBezTo>
                  <a:pt x="122" y="510"/>
                  <a:pt x="123" y="509"/>
                  <a:pt x="123" y="508"/>
                </a:cubicBezTo>
                <a:cubicBezTo>
                  <a:pt x="123" y="507"/>
                  <a:pt x="122" y="508"/>
                  <a:pt x="122" y="507"/>
                </a:cubicBezTo>
                <a:cubicBezTo>
                  <a:pt x="123" y="506"/>
                  <a:pt x="124" y="505"/>
                  <a:pt x="124" y="506"/>
                </a:cubicBezTo>
                <a:cubicBezTo>
                  <a:pt x="125" y="506"/>
                  <a:pt x="124" y="508"/>
                  <a:pt x="125" y="510"/>
                </a:cubicBezTo>
                <a:cubicBezTo>
                  <a:pt x="125" y="510"/>
                  <a:pt x="127" y="510"/>
                  <a:pt x="128" y="510"/>
                </a:cubicBezTo>
                <a:cubicBezTo>
                  <a:pt x="129" y="511"/>
                  <a:pt x="129" y="513"/>
                  <a:pt x="132" y="511"/>
                </a:cubicBezTo>
                <a:cubicBezTo>
                  <a:pt x="129" y="514"/>
                  <a:pt x="133" y="512"/>
                  <a:pt x="134" y="513"/>
                </a:cubicBezTo>
                <a:cubicBezTo>
                  <a:pt x="133" y="513"/>
                  <a:pt x="134" y="519"/>
                  <a:pt x="134" y="520"/>
                </a:cubicBezTo>
                <a:cubicBezTo>
                  <a:pt x="134" y="521"/>
                  <a:pt x="132" y="523"/>
                  <a:pt x="132" y="525"/>
                </a:cubicBezTo>
                <a:cubicBezTo>
                  <a:pt x="132" y="525"/>
                  <a:pt x="133" y="524"/>
                  <a:pt x="133" y="524"/>
                </a:cubicBezTo>
                <a:cubicBezTo>
                  <a:pt x="133" y="525"/>
                  <a:pt x="133" y="525"/>
                  <a:pt x="132" y="526"/>
                </a:cubicBezTo>
                <a:cubicBezTo>
                  <a:pt x="132" y="526"/>
                  <a:pt x="132" y="526"/>
                  <a:pt x="132" y="527"/>
                </a:cubicBezTo>
                <a:cubicBezTo>
                  <a:pt x="133" y="526"/>
                  <a:pt x="133" y="526"/>
                  <a:pt x="133" y="526"/>
                </a:cubicBezTo>
                <a:cubicBezTo>
                  <a:pt x="133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6" y="524"/>
                  <a:pt x="142" y="524"/>
                  <a:pt x="145" y="524"/>
                </a:cubicBezTo>
                <a:cubicBezTo>
                  <a:pt x="145" y="523"/>
                  <a:pt x="146" y="522"/>
                  <a:pt x="146" y="522"/>
                </a:cubicBezTo>
                <a:cubicBezTo>
                  <a:pt x="147" y="522"/>
                  <a:pt x="147" y="523"/>
                  <a:pt x="147" y="524"/>
                </a:cubicBezTo>
                <a:cubicBezTo>
                  <a:pt x="147" y="524"/>
                  <a:pt x="148" y="524"/>
                  <a:pt x="148" y="525"/>
                </a:cubicBezTo>
                <a:cubicBezTo>
                  <a:pt x="148" y="526"/>
                  <a:pt x="147" y="526"/>
                  <a:pt x="145" y="527"/>
                </a:cubicBezTo>
                <a:cubicBezTo>
                  <a:pt x="146" y="527"/>
                  <a:pt x="146" y="527"/>
                  <a:pt x="146" y="527"/>
                </a:cubicBezTo>
                <a:cubicBezTo>
                  <a:pt x="146" y="529"/>
                  <a:pt x="146" y="530"/>
                  <a:pt x="145" y="530"/>
                </a:cubicBezTo>
                <a:cubicBezTo>
                  <a:pt x="145" y="531"/>
                  <a:pt x="145" y="532"/>
                  <a:pt x="144" y="533"/>
                </a:cubicBezTo>
                <a:cubicBezTo>
                  <a:pt x="144" y="533"/>
                  <a:pt x="143" y="533"/>
                  <a:pt x="142" y="533"/>
                </a:cubicBezTo>
                <a:cubicBezTo>
                  <a:pt x="142" y="534"/>
                  <a:pt x="143" y="534"/>
                  <a:pt x="144" y="533"/>
                </a:cubicBezTo>
                <a:cubicBezTo>
                  <a:pt x="145" y="533"/>
                  <a:pt x="147" y="530"/>
                  <a:pt x="147" y="530"/>
                </a:cubicBezTo>
                <a:cubicBezTo>
                  <a:pt x="148" y="530"/>
                  <a:pt x="148" y="529"/>
                  <a:pt x="147" y="529"/>
                </a:cubicBezTo>
                <a:cubicBezTo>
                  <a:pt x="151" y="528"/>
                  <a:pt x="150" y="537"/>
                  <a:pt x="148" y="535"/>
                </a:cubicBezTo>
                <a:cubicBezTo>
                  <a:pt x="148" y="535"/>
                  <a:pt x="147" y="533"/>
                  <a:pt x="147" y="533"/>
                </a:cubicBezTo>
                <a:cubicBezTo>
                  <a:pt x="146" y="533"/>
                  <a:pt x="143" y="537"/>
                  <a:pt x="141" y="538"/>
                </a:cubicBezTo>
                <a:cubicBezTo>
                  <a:pt x="140" y="538"/>
                  <a:pt x="140" y="538"/>
                  <a:pt x="139" y="539"/>
                </a:cubicBezTo>
                <a:cubicBezTo>
                  <a:pt x="140" y="540"/>
                  <a:pt x="141" y="541"/>
                  <a:pt x="140" y="542"/>
                </a:cubicBezTo>
                <a:cubicBezTo>
                  <a:pt x="140" y="542"/>
                  <a:pt x="139" y="543"/>
                  <a:pt x="139" y="543"/>
                </a:cubicBezTo>
                <a:cubicBezTo>
                  <a:pt x="139" y="543"/>
                  <a:pt x="138" y="546"/>
                  <a:pt x="138" y="547"/>
                </a:cubicBezTo>
                <a:cubicBezTo>
                  <a:pt x="138" y="547"/>
                  <a:pt x="140" y="546"/>
                  <a:pt x="139" y="546"/>
                </a:cubicBezTo>
                <a:cubicBezTo>
                  <a:pt x="139" y="546"/>
                  <a:pt x="141" y="548"/>
                  <a:pt x="140" y="549"/>
                </a:cubicBezTo>
                <a:cubicBezTo>
                  <a:pt x="140" y="549"/>
                  <a:pt x="140" y="549"/>
                  <a:pt x="139" y="549"/>
                </a:cubicBezTo>
                <a:cubicBezTo>
                  <a:pt x="140" y="549"/>
                  <a:pt x="140" y="550"/>
                  <a:pt x="141" y="550"/>
                </a:cubicBezTo>
                <a:cubicBezTo>
                  <a:pt x="141" y="549"/>
                  <a:pt x="141" y="548"/>
                  <a:pt x="142" y="548"/>
                </a:cubicBezTo>
                <a:cubicBezTo>
                  <a:pt x="141" y="548"/>
                  <a:pt x="141" y="548"/>
                  <a:pt x="140" y="548"/>
                </a:cubicBezTo>
                <a:cubicBezTo>
                  <a:pt x="140" y="547"/>
                  <a:pt x="140" y="547"/>
                  <a:pt x="141" y="547"/>
                </a:cubicBezTo>
                <a:cubicBezTo>
                  <a:pt x="141" y="546"/>
                  <a:pt x="142" y="544"/>
                  <a:pt x="142" y="546"/>
                </a:cubicBezTo>
                <a:cubicBezTo>
                  <a:pt x="143" y="546"/>
                  <a:pt x="142" y="546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3" y="546"/>
                  <a:pt x="144" y="546"/>
                  <a:pt x="145" y="548"/>
                </a:cubicBezTo>
                <a:cubicBezTo>
                  <a:pt x="146" y="549"/>
                  <a:pt x="145" y="550"/>
                  <a:pt x="145" y="551"/>
                </a:cubicBezTo>
                <a:cubicBezTo>
                  <a:pt x="145" y="551"/>
                  <a:pt x="145" y="551"/>
                  <a:pt x="145" y="551"/>
                </a:cubicBezTo>
                <a:cubicBezTo>
                  <a:pt x="147" y="551"/>
                  <a:pt x="145" y="551"/>
                  <a:pt x="146" y="552"/>
                </a:cubicBezTo>
                <a:cubicBezTo>
                  <a:pt x="146" y="552"/>
                  <a:pt x="146" y="552"/>
                  <a:pt x="147" y="552"/>
                </a:cubicBezTo>
                <a:cubicBezTo>
                  <a:pt x="147" y="552"/>
                  <a:pt x="147" y="552"/>
                  <a:pt x="147" y="552"/>
                </a:cubicBezTo>
                <a:cubicBezTo>
                  <a:pt x="147" y="551"/>
                  <a:pt x="148" y="551"/>
                  <a:pt x="148" y="551"/>
                </a:cubicBezTo>
                <a:cubicBezTo>
                  <a:pt x="151" y="552"/>
                  <a:pt x="148" y="556"/>
                  <a:pt x="149" y="558"/>
                </a:cubicBezTo>
                <a:cubicBezTo>
                  <a:pt x="150" y="558"/>
                  <a:pt x="152" y="558"/>
                  <a:pt x="152" y="557"/>
                </a:cubicBezTo>
                <a:cubicBezTo>
                  <a:pt x="153" y="557"/>
                  <a:pt x="153" y="556"/>
                  <a:pt x="154" y="555"/>
                </a:cubicBezTo>
                <a:cubicBezTo>
                  <a:pt x="152" y="554"/>
                  <a:pt x="152" y="553"/>
                  <a:pt x="152" y="551"/>
                </a:cubicBezTo>
                <a:cubicBezTo>
                  <a:pt x="154" y="547"/>
                  <a:pt x="159" y="548"/>
                  <a:pt x="160" y="551"/>
                </a:cubicBezTo>
                <a:cubicBezTo>
                  <a:pt x="161" y="551"/>
                  <a:pt x="161" y="551"/>
                  <a:pt x="162" y="550"/>
                </a:cubicBezTo>
                <a:cubicBezTo>
                  <a:pt x="161" y="550"/>
                  <a:pt x="161" y="551"/>
                  <a:pt x="161" y="551"/>
                </a:cubicBezTo>
                <a:cubicBezTo>
                  <a:pt x="163" y="550"/>
                  <a:pt x="165" y="549"/>
                  <a:pt x="167" y="550"/>
                </a:cubicBezTo>
                <a:cubicBezTo>
                  <a:pt x="169" y="549"/>
                  <a:pt x="170" y="549"/>
                  <a:pt x="170" y="549"/>
                </a:cubicBezTo>
                <a:cubicBezTo>
                  <a:pt x="171" y="550"/>
                  <a:pt x="170" y="550"/>
                  <a:pt x="168" y="551"/>
                </a:cubicBezTo>
                <a:cubicBezTo>
                  <a:pt x="168" y="551"/>
                  <a:pt x="169" y="551"/>
                  <a:pt x="169" y="551"/>
                </a:cubicBezTo>
                <a:cubicBezTo>
                  <a:pt x="169" y="552"/>
                  <a:pt x="169" y="553"/>
                  <a:pt x="169" y="554"/>
                </a:cubicBezTo>
                <a:cubicBezTo>
                  <a:pt x="171" y="554"/>
                  <a:pt x="172" y="555"/>
                  <a:pt x="171" y="557"/>
                </a:cubicBezTo>
                <a:cubicBezTo>
                  <a:pt x="170" y="559"/>
                  <a:pt x="171" y="560"/>
                  <a:pt x="171" y="561"/>
                </a:cubicBezTo>
                <a:cubicBezTo>
                  <a:pt x="171" y="561"/>
                  <a:pt x="170" y="562"/>
                  <a:pt x="170" y="563"/>
                </a:cubicBezTo>
                <a:cubicBezTo>
                  <a:pt x="172" y="561"/>
                  <a:pt x="173" y="559"/>
                  <a:pt x="175" y="558"/>
                </a:cubicBezTo>
                <a:cubicBezTo>
                  <a:pt x="173" y="556"/>
                  <a:pt x="171" y="554"/>
                  <a:pt x="175" y="552"/>
                </a:cubicBezTo>
                <a:cubicBezTo>
                  <a:pt x="175" y="551"/>
                  <a:pt x="176" y="551"/>
                  <a:pt x="177" y="551"/>
                </a:cubicBezTo>
                <a:cubicBezTo>
                  <a:pt x="175" y="551"/>
                  <a:pt x="176" y="547"/>
                  <a:pt x="178" y="548"/>
                </a:cubicBezTo>
                <a:cubicBezTo>
                  <a:pt x="179" y="549"/>
                  <a:pt x="178" y="550"/>
                  <a:pt x="178" y="550"/>
                </a:cubicBezTo>
                <a:cubicBezTo>
                  <a:pt x="177" y="551"/>
                  <a:pt x="177" y="551"/>
                  <a:pt x="177" y="551"/>
                </a:cubicBezTo>
                <a:cubicBezTo>
                  <a:pt x="179" y="551"/>
                  <a:pt x="181" y="550"/>
                  <a:pt x="182" y="550"/>
                </a:cubicBezTo>
                <a:cubicBezTo>
                  <a:pt x="184" y="548"/>
                  <a:pt x="183" y="547"/>
                  <a:pt x="185" y="549"/>
                </a:cubicBezTo>
                <a:cubicBezTo>
                  <a:pt x="186" y="549"/>
                  <a:pt x="186" y="550"/>
                  <a:pt x="188" y="549"/>
                </a:cubicBezTo>
                <a:cubicBezTo>
                  <a:pt x="188" y="549"/>
                  <a:pt x="191" y="545"/>
                  <a:pt x="191" y="548"/>
                </a:cubicBezTo>
                <a:cubicBezTo>
                  <a:pt x="191" y="549"/>
                  <a:pt x="189" y="549"/>
                  <a:pt x="189" y="549"/>
                </a:cubicBezTo>
                <a:cubicBezTo>
                  <a:pt x="190" y="550"/>
                  <a:pt x="194" y="550"/>
                  <a:pt x="194" y="550"/>
                </a:cubicBezTo>
                <a:cubicBezTo>
                  <a:pt x="194" y="551"/>
                  <a:pt x="190" y="553"/>
                  <a:pt x="192" y="555"/>
                </a:cubicBezTo>
                <a:cubicBezTo>
                  <a:pt x="193" y="555"/>
                  <a:pt x="194" y="555"/>
                  <a:pt x="194" y="555"/>
                </a:cubicBezTo>
                <a:cubicBezTo>
                  <a:pt x="194" y="555"/>
                  <a:pt x="193" y="556"/>
                  <a:pt x="193" y="556"/>
                </a:cubicBezTo>
                <a:cubicBezTo>
                  <a:pt x="192" y="558"/>
                  <a:pt x="192" y="558"/>
                  <a:pt x="193" y="558"/>
                </a:cubicBezTo>
                <a:cubicBezTo>
                  <a:pt x="194" y="558"/>
                  <a:pt x="195" y="558"/>
                  <a:pt x="196" y="559"/>
                </a:cubicBezTo>
                <a:cubicBezTo>
                  <a:pt x="196" y="560"/>
                  <a:pt x="195" y="560"/>
                  <a:pt x="194" y="560"/>
                </a:cubicBezTo>
                <a:cubicBezTo>
                  <a:pt x="194" y="561"/>
                  <a:pt x="194" y="561"/>
                  <a:pt x="194" y="561"/>
                </a:cubicBezTo>
                <a:cubicBezTo>
                  <a:pt x="194" y="562"/>
                  <a:pt x="196" y="561"/>
                  <a:pt x="196" y="562"/>
                </a:cubicBezTo>
                <a:cubicBezTo>
                  <a:pt x="197" y="563"/>
                  <a:pt x="195" y="565"/>
                  <a:pt x="195" y="566"/>
                </a:cubicBezTo>
                <a:cubicBezTo>
                  <a:pt x="197" y="568"/>
                  <a:pt x="199" y="565"/>
                  <a:pt x="201" y="566"/>
                </a:cubicBezTo>
                <a:cubicBezTo>
                  <a:pt x="201" y="566"/>
                  <a:pt x="203" y="568"/>
                  <a:pt x="205" y="566"/>
                </a:cubicBezTo>
                <a:cubicBezTo>
                  <a:pt x="206" y="565"/>
                  <a:pt x="204" y="563"/>
                  <a:pt x="208" y="562"/>
                </a:cubicBezTo>
                <a:cubicBezTo>
                  <a:pt x="209" y="561"/>
                  <a:pt x="214" y="560"/>
                  <a:pt x="214" y="562"/>
                </a:cubicBezTo>
                <a:cubicBezTo>
                  <a:pt x="214" y="563"/>
                  <a:pt x="213" y="562"/>
                  <a:pt x="212" y="563"/>
                </a:cubicBezTo>
                <a:cubicBezTo>
                  <a:pt x="211" y="563"/>
                  <a:pt x="213" y="566"/>
                  <a:pt x="213" y="566"/>
                </a:cubicBezTo>
                <a:cubicBezTo>
                  <a:pt x="212" y="567"/>
                  <a:pt x="210" y="567"/>
                  <a:pt x="210" y="568"/>
                </a:cubicBezTo>
                <a:cubicBezTo>
                  <a:pt x="210" y="568"/>
                  <a:pt x="210" y="568"/>
                  <a:pt x="210" y="568"/>
                </a:cubicBezTo>
                <a:cubicBezTo>
                  <a:pt x="210" y="569"/>
                  <a:pt x="210" y="569"/>
                  <a:pt x="210" y="569"/>
                </a:cubicBezTo>
                <a:cubicBezTo>
                  <a:pt x="210" y="570"/>
                  <a:pt x="211" y="572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10" y="574"/>
                  <a:pt x="210" y="575"/>
                  <a:pt x="208" y="576"/>
                </a:cubicBezTo>
                <a:cubicBezTo>
                  <a:pt x="208" y="576"/>
                  <a:pt x="208" y="576"/>
                  <a:pt x="208" y="576"/>
                </a:cubicBezTo>
                <a:cubicBezTo>
                  <a:pt x="208" y="576"/>
                  <a:pt x="209" y="576"/>
                  <a:pt x="209" y="576"/>
                </a:cubicBezTo>
                <a:cubicBezTo>
                  <a:pt x="210" y="576"/>
                  <a:pt x="210" y="576"/>
                  <a:pt x="211" y="577"/>
                </a:cubicBezTo>
                <a:cubicBezTo>
                  <a:pt x="211" y="577"/>
                  <a:pt x="212" y="577"/>
                  <a:pt x="212" y="577"/>
                </a:cubicBezTo>
                <a:cubicBezTo>
                  <a:pt x="212" y="578"/>
                  <a:pt x="211" y="578"/>
                  <a:pt x="211" y="579"/>
                </a:cubicBezTo>
                <a:cubicBezTo>
                  <a:pt x="211" y="579"/>
                  <a:pt x="211" y="580"/>
                  <a:pt x="211" y="580"/>
                </a:cubicBezTo>
                <a:cubicBezTo>
                  <a:pt x="210" y="581"/>
                  <a:pt x="207" y="580"/>
                  <a:pt x="205" y="581"/>
                </a:cubicBezTo>
                <a:cubicBezTo>
                  <a:pt x="206" y="580"/>
                  <a:pt x="206" y="578"/>
                  <a:pt x="204" y="580"/>
                </a:cubicBezTo>
                <a:cubicBezTo>
                  <a:pt x="202" y="581"/>
                  <a:pt x="204" y="581"/>
                  <a:pt x="204" y="582"/>
                </a:cubicBezTo>
                <a:cubicBezTo>
                  <a:pt x="204" y="582"/>
                  <a:pt x="203" y="582"/>
                  <a:pt x="204" y="583"/>
                </a:cubicBezTo>
                <a:cubicBezTo>
                  <a:pt x="204" y="583"/>
                  <a:pt x="204" y="583"/>
                  <a:pt x="204" y="583"/>
                </a:cubicBezTo>
                <a:cubicBezTo>
                  <a:pt x="206" y="582"/>
                  <a:pt x="208" y="582"/>
                  <a:pt x="210" y="583"/>
                </a:cubicBezTo>
                <a:cubicBezTo>
                  <a:pt x="209" y="583"/>
                  <a:pt x="209" y="582"/>
                  <a:pt x="209" y="582"/>
                </a:cubicBezTo>
                <a:cubicBezTo>
                  <a:pt x="209" y="582"/>
                  <a:pt x="209" y="582"/>
                  <a:pt x="209" y="582"/>
                </a:cubicBezTo>
                <a:cubicBezTo>
                  <a:pt x="210" y="581"/>
                  <a:pt x="210" y="582"/>
                  <a:pt x="210" y="583"/>
                </a:cubicBezTo>
                <a:cubicBezTo>
                  <a:pt x="210" y="583"/>
                  <a:pt x="211" y="584"/>
                  <a:pt x="210" y="585"/>
                </a:cubicBezTo>
                <a:cubicBezTo>
                  <a:pt x="210" y="586"/>
                  <a:pt x="208" y="588"/>
                  <a:pt x="205" y="588"/>
                </a:cubicBezTo>
                <a:cubicBezTo>
                  <a:pt x="206" y="588"/>
                  <a:pt x="206" y="590"/>
                  <a:pt x="206" y="591"/>
                </a:cubicBezTo>
                <a:cubicBezTo>
                  <a:pt x="205" y="592"/>
                  <a:pt x="201" y="592"/>
                  <a:pt x="202" y="593"/>
                </a:cubicBezTo>
                <a:cubicBezTo>
                  <a:pt x="201" y="593"/>
                  <a:pt x="199" y="594"/>
                  <a:pt x="198" y="593"/>
                </a:cubicBezTo>
                <a:cubicBezTo>
                  <a:pt x="195" y="591"/>
                  <a:pt x="196" y="591"/>
                  <a:pt x="192" y="592"/>
                </a:cubicBezTo>
                <a:cubicBezTo>
                  <a:pt x="192" y="592"/>
                  <a:pt x="191" y="592"/>
                  <a:pt x="190" y="592"/>
                </a:cubicBezTo>
                <a:cubicBezTo>
                  <a:pt x="188" y="592"/>
                  <a:pt x="189" y="593"/>
                  <a:pt x="189" y="595"/>
                </a:cubicBezTo>
                <a:cubicBezTo>
                  <a:pt x="187" y="593"/>
                  <a:pt x="188" y="595"/>
                  <a:pt x="189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1" y="597"/>
                  <a:pt x="191" y="596"/>
                </a:cubicBezTo>
                <a:cubicBezTo>
                  <a:pt x="190" y="597"/>
                  <a:pt x="192" y="594"/>
                  <a:pt x="193" y="596"/>
                </a:cubicBezTo>
                <a:cubicBezTo>
                  <a:pt x="193" y="596"/>
                  <a:pt x="190" y="600"/>
                  <a:pt x="193" y="600"/>
                </a:cubicBezTo>
                <a:cubicBezTo>
                  <a:pt x="187" y="601"/>
                  <a:pt x="195" y="604"/>
                  <a:pt x="197" y="605"/>
                </a:cubicBezTo>
                <a:cubicBezTo>
                  <a:pt x="198" y="606"/>
                  <a:pt x="198" y="608"/>
                  <a:pt x="198" y="609"/>
                </a:cubicBezTo>
                <a:cubicBezTo>
                  <a:pt x="199" y="610"/>
                  <a:pt x="200" y="610"/>
                  <a:pt x="199" y="611"/>
                </a:cubicBezTo>
                <a:cubicBezTo>
                  <a:pt x="199" y="611"/>
                  <a:pt x="199" y="611"/>
                  <a:pt x="199" y="611"/>
                </a:cubicBezTo>
                <a:cubicBezTo>
                  <a:pt x="200" y="612"/>
                  <a:pt x="200" y="613"/>
                  <a:pt x="201" y="613"/>
                </a:cubicBezTo>
                <a:cubicBezTo>
                  <a:pt x="201" y="613"/>
                  <a:pt x="201" y="613"/>
                  <a:pt x="202" y="613"/>
                </a:cubicBezTo>
                <a:cubicBezTo>
                  <a:pt x="202" y="613"/>
                  <a:pt x="202" y="613"/>
                  <a:pt x="202" y="612"/>
                </a:cubicBezTo>
                <a:cubicBezTo>
                  <a:pt x="203" y="611"/>
                  <a:pt x="204" y="611"/>
                  <a:pt x="206" y="611"/>
                </a:cubicBezTo>
                <a:cubicBezTo>
                  <a:pt x="207" y="611"/>
                  <a:pt x="208" y="612"/>
                  <a:pt x="208" y="613"/>
                </a:cubicBezTo>
                <a:cubicBezTo>
                  <a:pt x="209" y="613"/>
                  <a:pt x="209" y="612"/>
                  <a:pt x="211" y="612"/>
                </a:cubicBezTo>
                <a:cubicBezTo>
                  <a:pt x="211" y="613"/>
                  <a:pt x="210" y="613"/>
                  <a:pt x="208" y="613"/>
                </a:cubicBezTo>
                <a:cubicBezTo>
                  <a:pt x="208" y="614"/>
                  <a:pt x="208" y="615"/>
                  <a:pt x="207" y="615"/>
                </a:cubicBezTo>
                <a:cubicBezTo>
                  <a:pt x="209" y="616"/>
                  <a:pt x="211" y="616"/>
                  <a:pt x="211" y="616"/>
                </a:cubicBezTo>
                <a:cubicBezTo>
                  <a:pt x="211" y="616"/>
                  <a:pt x="211" y="616"/>
                  <a:pt x="212" y="616"/>
                </a:cubicBezTo>
                <a:cubicBezTo>
                  <a:pt x="211" y="615"/>
                  <a:pt x="210" y="615"/>
                  <a:pt x="209" y="615"/>
                </a:cubicBezTo>
                <a:cubicBezTo>
                  <a:pt x="210" y="614"/>
                  <a:pt x="211" y="614"/>
                  <a:pt x="213" y="615"/>
                </a:cubicBezTo>
                <a:cubicBezTo>
                  <a:pt x="213" y="614"/>
                  <a:pt x="213" y="614"/>
                  <a:pt x="213" y="614"/>
                </a:cubicBezTo>
                <a:cubicBezTo>
                  <a:pt x="213" y="614"/>
                  <a:pt x="214" y="612"/>
                  <a:pt x="215" y="613"/>
                </a:cubicBezTo>
                <a:cubicBezTo>
                  <a:pt x="216" y="612"/>
                  <a:pt x="216" y="612"/>
                  <a:pt x="217" y="613"/>
                </a:cubicBezTo>
                <a:cubicBezTo>
                  <a:pt x="217" y="613"/>
                  <a:pt x="216" y="613"/>
                  <a:pt x="216" y="614"/>
                </a:cubicBezTo>
                <a:cubicBezTo>
                  <a:pt x="216" y="614"/>
                  <a:pt x="217" y="616"/>
                  <a:pt x="216" y="615"/>
                </a:cubicBezTo>
                <a:cubicBezTo>
                  <a:pt x="216" y="615"/>
                  <a:pt x="215" y="615"/>
                  <a:pt x="215" y="615"/>
                </a:cubicBezTo>
                <a:cubicBezTo>
                  <a:pt x="215" y="614"/>
                  <a:pt x="215" y="614"/>
                  <a:pt x="215" y="614"/>
                </a:cubicBezTo>
                <a:cubicBezTo>
                  <a:pt x="215" y="614"/>
                  <a:pt x="214" y="615"/>
                  <a:pt x="214" y="615"/>
                </a:cubicBezTo>
                <a:cubicBezTo>
                  <a:pt x="215" y="615"/>
                  <a:pt x="216" y="616"/>
                  <a:pt x="216" y="616"/>
                </a:cubicBezTo>
                <a:cubicBezTo>
                  <a:pt x="216" y="617"/>
                  <a:pt x="215" y="616"/>
                  <a:pt x="214" y="616"/>
                </a:cubicBezTo>
                <a:cubicBezTo>
                  <a:pt x="214" y="616"/>
                  <a:pt x="214" y="617"/>
                  <a:pt x="214" y="617"/>
                </a:cubicBezTo>
                <a:cubicBezTo>
                  <a:pt x="215" y="617"/>
                  <a:pt x="216" y="616"/>
                  <a:pt x="216" y="616"/>
                </a:cubicBezTo>
                <a:cubicBezTo>
                  <a:pt x="217" y="617"/>
                  <a:pt x="218" y="620"/>
                  <a:pt x="220" y="618"/>
                </a:cubicBezTo>
                <a:cubicBezTo>
                  <a:pt x="220" y="618"/>
                  <a:pt x="219" y="617"/>
                  <a:pt x="219" y="617"/>
                </a:cubicBezTo>
                <a:cubicBezTo>
                  <a:pt x="219" y="617"/>
                  <a:pt x="219" y="617"/>
                  <a:pt x="219" y="617"/>
                </a:cubicBezTo>
                <a:cubicBezTo>
                  <a:pt x="219" y="617"/>
                  <a:pt x="219" y="617"/>
                  <a:pt x="218" y="617"/>
                </a:cubicBezTo>
                <a:cubicBezTo>
                  <a:pt x="218" y="616"/>
                  <a:pt x="219" y="615"/>
                  <a:pt x="220" y="616"/>
                </a:cubicBezTo>
                <a:cubicBezTo>
                  <a:pt x="220" y="616"/>
                  <a:pt x="220" y="616"/>
                  <a:pt x="220" y="616"/>
                </a:cubicBezTo>
                <a:cubicBezTo>
                  <a:pt x="221" y="615"/>
                  <a:pt x="224" y="617"/>
                  <a:pt x="225" y="617"/>
                </a:cubicBezTo>
                <a:cubicBezTo>
                  <a:pt x="223" y="618"/>
                  <a:pt x="225" y="619"/>
                  <a:pt x="226" y="620"/>
                </a:cubicBezTo>
                <a:cubicBezTo>
                  <a:pt x="227" y="619"/>
                  <a:pt x="229" y="618"/>
                  <a:pt x="231" y="618"/>
                </a:cubicBezTo>
                <a:cubicBezTo>
                  <a:pt x="230" y="619"/>
                  <a:pt x="228" y="620"/>
                  <a:pt x="226" y="620"/>
                </a:cubicBezTo>
                <a:cubicBezTo>
                  <a:pt x="227" y="621"/>
                  <a:pt x="227" y="621"/>
                  <a:pt x="226" y="622"/>
                </a:cubicBezTo>
                <a:cubicBezTo>
                  <a:pt x="225" y="624"/>
                  <a:pt x="222" y="622"/>
                  <a:pt x="221" y="624"/>
                </a:cubicBezTo>
                <a:cubicBezTo>
                  <a:pt x="220" y="624"/>
                  <a:pt x="222" y="624"/>
                  <a:pt x="222" y="624"/>
                </a:cubicBezTo>
                <a:cubicBezTo>
                  <a:pt x="221" y="626"/>
                  <a:pt x="219" y="627"/>
                  <a:pt x="222" y="628"/>
                </a:cubicBezTo>
                <a:cubicBezTo>
                  <a:pt x="222" y="628"/>
                  <a:pt x="227" y="629"/>
                  <a:pt x="228" y="629"/>
                </a:cubicBezTo>
                <a:cubicBezTo>
                  <a:pt x="231" y="629"/>
                  <a:pt x="233" y="629"/>
                  <a:pt x="235" y="631"/>
                </a:cubicBezTo>
                <a:cubicBezTo>
                  <a:pt x="232" y="631"/>
                  <a:pt x="231" y="632"/>
                  <a:pt x="228" y="633"/>
                </a:cubicBezTo>
                <a:cubicBezTo>
                  <a:pt x="228" y="633"/>
                  <a:pt x="229" y="633"/>
                  <a:pt x="229" y="633"/>
                </a:cubicBezTo>
                <a:cubicBezTo>
                  <a:pt x="229" y="633"/>
                  <a:pt x="228" y="633"/>
                  <a:pt x="228" y="633"/>
                </a:cubicBezTo>
                <a:cubicBezTo>
                  <a:pt x="228" y="633"/>
                  <a:pt x="228" y="633"/>
                  <a:pt x="227" y="633"/>
                </a:cubicBezTo>
                <a:cubicBezTo>
                  <a:pt x="224" y="633"/>
                  <a:pt x="221" y="630"/>
                  <a:pt x="218" y="630"/>
                </a:cubicBezTo>
                <a:cubicBezTo>
                  <a:pt x="218" y="630"/>
                  <a:pt x="215" y="633"/>
                  <a:pt x="214" y="633"/>
                </a:cubicBezTo>
                <a:cubicBezTo>
                  <a:pt x="213" y="633"/>
                  <a:pt x="212" y="632"/>
                  <a:pt x="212" y="633"/>
                </a:cubicBezTo>
                <a:cubicBezTo>
                  <a:pt x="212" y="633"/>
                  <a:pt x="213" y="633"/>
                  <a:pt x="213" y="634"/>
                </a:cubicBezTo>
                <a:cubicBezTo>
                  <a:pt x="213" y="634"/>
                  <a:pt x="213" y="634"/>
                  <a:pt x="214" y="634"/>
                </a:cubicBezTo>
                <a:cubicBezTo>
                  <a:pt x="214" y="633"/>
                  <a:pt x="215" y="633"/>
                  <a:pt x="216" y="633"/>
                </a:cubicBezTo>
                <a:cubicBezTo>
                  <a:pt x="216" y="633"/>
                  <a:pt x="217" y="633"/>
                  <a:pt x="217" y="633"/>
                </a:cubicBezTo>
                <a:cubicBezTo>
                  <a:pt x="217" y="633"/>
                  <a:pt x="217" y="633"/>
                  <a:pt x="217" y="633"/>
                </a:cubicBezTo>
                <a:cubicBezTo>
                  <a:pt x="218" y="633"/>
                  <a:pt x="219" y="633"/>
                  <a:pt x="219" y="634"/>
                </a:cubicBezTo>
                <a:cubicBezTo>
                  <a:pt x="219" y="634"/>
                  <a:pt x="219" y="635"/>
                  <a:pt x="218" y="635"/>
                </a:cubicBezTo>
                <a:cubicBezTo>
                  <a:pt x="218" y="636"/>
                  <a:pt x="217" y="637"/>
                  <a:pt x="216" y="637"/>
                </a:cubicBezTo>
                <a:cubicBezTo>
                  <a:pt x="215" y="637"/>
                  <a:pt x="213" y="636"/>
                  <a:pt x="213" y="635"/>
                </a:cubicBezTo>
                <a:cubicBezTo>
                  <a:pt x="213" y="635"/>
                  <a:pt x="213" y="635"/>
                  <a:pt x="213" y="635"/>
                </a:cubicBezTo>
                <a:cubicBezTo>
                  <a:pt x="213" y="636"/>
                  <a:pt x="211" y="636"/>
                  <a:pt x="210" y="636"/>
                </a:cubicBezTo>
                <a:cubicBezTo>
                  <a:pt x="210" y="636"/>
                  <a:pt x="210" y="637"/>
                  <a:pt x="211" y="637"/>
                </a:cubicBezTo>
                <a:cubicBezTo>
                  <a:pt x="211" y="637"/>
                  <a:pt x="211" y="637"/>
                  <a:pt x="211" y="637"/>
                </a:cubicBezTo>
                <a:cubicBezTo>
                  <a:pt x="212" y="637"/>
                  <a:pt x="211" y="637"/>
                  <a:pt x="211" y="637"/>
                </a:cubicBezTo>
                <a:cubicBezTo>
                  <a:pt x="212" y="639"/>
                  <a:pt x="215" y="640"/>
                  <a:pt x="216" y="641"/>
                </a:cubicBezTo>
                <a:cubicBezTo>
                  <a:pt x="214" y="641"/>
                  <a:pt x="214" y="642"/>
                  <a:pt x="214" y="642"/>
                </a:cubicBezTo>
                <a:cubicBezTo>
                  <a:pt x="216" y="641"/>
                  <a:pt x="219" y="642"/>
                  <a:pt x="216" y="643"/>
                </a:cubicBezTo>
                <a:cubicBezTo>
                  <a:pt x="216" y="643"/>
                  <a:pt x="216" y="644"/>
                  <a:pt x="216" y="644"/>
                </a:cubicBezTo>
                <a:cubicBezTo>
                  <a:pt x="216" y="644"/>
                  <a:pt x="217" y="644"/>
                  <a:pt x="217" y="645"/>
                </a:cubicBezTo>
                <a:cubicBezTo>
                  <a:pt x="219" y="644"/>
                  <a:pt x="222" y="643"/>
                  <a:pt x="224" y="643"/>
                </a:cubicBezTo>
                <a:cubicBezTo>
                  <a:pt x="228" y="642"/>
                  <a:pt x="223" y="645"/>
                  <a:pt x="221" y="645"/>
                </a:cubicBezTo>
                <a:cubicBezTo>
                  <a:pt x="220" y="645"/>
                  <a:pt x="218" y="646"/>
                  <a:pt x="216" y="646"/>
                </a:cubicBezTo>
                <a:cubicBezTo>
                  <a:pt x="216" y="647"/>
                  <a:pt x="216" y="647"/>
                  <a:pt x="215" y="647"/>
                </a:cubicBezTo>
                <a:cubicBezTo>
                  <a:pt x="215" y="647"/>
                  <a:pt x="214" y="647"/>
                  <a:pt x="214" y="647"/>
                </a:cubicBezTo>
                <a:cubicBezTo>
                  <a:pt x="212" y="648"/>
                  <a:pt x="211" y="648"/>
                  <a:pt x="210" y="649"/>
                </a:cubicBezTo>
                <a:cubicBezTo>
                  <a:pt x="209" y="650"/>
                  <a:pt x="208" y="651"/>
                  <a:pt x="208" y="652"/>
                </a:cubicBezTo>
                <a:cubicBezTo>
                  <a:pt x="209" y="652"/>
                  <a:pt x="209" y="652"/>
                  <a:pt x="210" y="653"/>
                </a:cubicBezTo>
                <a:cubicBezTo>
                  <a:pt x="210" y="653"/>
                  <a:pt x="210" y="653"/>
                  <a:pt x="210" y="653"/>
                </a:cubicBezTo>
                <a:cubicBezTo>
                  <a:pt x="210" y="653"/>
                  <a:pt x="210" y="653"/>
                  <a:pt x="211" y="653"/>
                </a:cubicBezTo>
                <a:cubicBezTo>
                  <a:pt x="211" y="653"/>
                  <a:pt x="213" y="654"/>
                  <a:pt x="213" y="654"/>
                </a:cubicBezTo>
                <a:cubicBezTo>
                  <a:pt x="213" y="654"/>
                  <a:pt x="213" y="655"/>
                  <a:pt x="213" y="655"/>
                </a:cubicBezTo>
                <a:cubicBezTo>
                  <a:pt x="213" y="656"/>
                  <a:pt x="212" y="657"/>
                  <a:pt x="210" y="657"/>
                </a:cubicBezTo>
                <a:cubicBezTo>
                  <a:pt x="210" y="658"/>
                  <a:pt x="210" y="658"/>
                  <a:pt x="209" y="659"/>
                </a:cubicBezTo>
                <a:cubicBezTo>
                  <a:pt x="209" y="659"/>
                  <a:pt x="209" y="659"/>
                  <a:pt x="209" y="659"/>
                </a:cubicBezTo>
                <a:cubicBezTo>
                  <a:pt x="210" y="660"/>
                  <a:pt x="212" y="660"/>
                  <a:pt x="213" y="660"/>
                </a:cubicBezTo>
                <a:cubicBezTo>
                  <a:pt x="214" y="660"/>
                  <a:pt x="216" y="660"/>
                  <a:pt x="216" y="661"/>
                </a:cubicBezTo>
                <a:cubicBezTo>
                  <a:pt x="217" y="662"/>
                  <a:pt x="218" y="663"/>
                  <a:pt x="218" y="663"/>
                </a:cubicBezTo>
                <a:cubicBezTo>
                  <a:pt x="218" y="663"/>
                  <a:pt x="219" y="663"/>
                  <a:pt x="220" y="664"/>
                </a:cubicBezTo>
                <a:cubicBezTo>
                  <a:pt x="221" y="665"/>
                  <a:pt x="221" y="667"/>
                  <a:pt x="219" y="667"/>
                </a:cubicBezTo>
                <a:cubicBezTo>
                  <a:pt x="219" y="667"/>
                  <a:pt x="219" y="667"/>
                  <a:pt x="219" y="667"/>
                </a:cubicBezTo>
                <a:cubicBezTo>
                  <a:pt x="219" y="668"/>
                  <a:pt x="219" y="668"/>
                  <a:pt x="219" y="669"/>
                </a:cubicBezTo>
                <a:cubicBezTo>
                  <a:pt x="220" y="669"/>
                  <a:pt x="221" y="668"/>
                  <a:pt x="222" y="669"/>
                </a:cubicBezTo>
                <a:cubicBezTo>
                  <a:pt x="222" y="668"/>
                  <a:pt x="223" y="667"/>
                  <a:pt x="223" y="667"/>
                </a:cubicBezTo>
                <a:cubicBezTo>
                  <a:pt x="223" y="667"/>
                  <a:pt x="225" y="666"/>
                  <a:pt x="226" y="666"/>
                </a:cubicBezTo>
                <a:cubicBezTo>
                  <a:pt x="227" y="664"/>
                  <a:pt x="228" y="664"/>
                  <a:pt x="229" y="664"/>
                </a:cubicBezTo>
                <a:cubicBezTo>
                  <a:pt x="230" y="664"/>
                  <a:pt x="229" y="663"/>
                  <a:pt x="230" y="663"/>
                </a:cubicBezTo>
                <a:cubicBezTo>
                  <a:pt x="231" y="662"/>
                  <a:pt x="232" y="664"/>
                  <a:pt x="232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4" y="663"/>
                </a:cubicBezTo>
                <a:cubicBezTo>
                  <a:pt x="235" y="664"/>
                  <a:pt x="235" y="662"/>
                  <a:pt x="236" y="663"/>
                </a:cubicBezTo>
                <a:cubicBezTo>
                  <a:pt x="236" y="663"/>
                  <a:pt x="235" y="664"/>
                  <a:pt x="235" y="664"/>
                </a:cubicBezTo>
                <a:cubicBezTo>
                  <a:pt x="236" y="665"/>
                  <a:pt x="241" y="668"/>
                  <a:pt x="241" y="670"/>
                </a:cubicBezTo>
                <a:cubicBezTo>
                  <a:pt x="241" y="672"/>
                  <a:pt x="236" y="672"/>
                  <a:pt x="235" y="674"/>
                </a:cubicBezTo>
                <a:cubicBezTo>
                  <a:pt x="235" y="675"/>
                  <a:pt x="236" y="676"/>
                  <a:pt x="235" y="677"/>
                </a:cubicBezTo>
                <a:cubicBezTo>
                  <a:pt x="233" y="677"/>
                  <a:pt x="234" y="675"/>
                  <a:pt x="233" y="675"/>
                </a:cubicBezTo>
                <a:cubicBezTo>
                  <a:pt x="232" y="674"/>
                  <a:pt x="227" y="674"/>
                  <a:pt x="225" y="673"/>
                </a:cubicBezTo>
                <a:cubicBezTo>
                  <a:pt x="225" y="673"/>
                  <a:pt x="224" y="672"/>
                  <a:pt x="223" y="672"/>
                </a:cubicBezTo>
                <a:cubicBezTo>
                  <a:pt x="221" y="673"/>
                  <a:pt x="217" y="673"/>
                  <a:pt x="217" y="674"/>
                </a:cubicBezTo>
                <a:cubicBezTo>
                  <a:pt x="216" y="674"/>
                  <a:pt x="218" y="674"/>
                  <a:pt x="218" y="675"/>
                </a:cubicBezTo>
                <a:cubicBezTo>
                  <a:pt x="217" y="675"/>
                  <a:pt x="216" y="674"/>
                  <a:pt x="215" y="674"/>
                </a:cubicBezTo>
                <a:cubicBezTo>
                  <a:pt x="213" y="674"/>
                  <a:pt x="210" y="675"/>
                  <a:pt x="207" y="675"/>
                </a:cubicBezTo>
                <a:cubicBezTo>
                  <a:pt x="208" y="676"/>
                  <a:pt x="208" y="677"/>
                  <a:pt x="208" y="677"/>
                </a:cubicBezTo>
                <a:cubicBezTo>
                  <a:pt x="209" y="677"/>
                  <a:pt x="209" y="676"/>
                  <a:pt x="209" y="676"/>
                </a:cubicBezTo>
                <a:cubicBezTo>
                  <a:pt x="210" y="676"/>
                  <a:pt x="212" y="677"/>
                  <a:pt x="214" y="679"/>
                </a:cubicBezTo>
                <a:cubicBezTo>
                  <a:pt x="215" y="679"/>
                  <a:pt x="216" y="679"/>
                  <a:pt x="216" y="679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7" y="681"/>
                  <a:pt x="216" y="682"/>
                  <a:pt x="216" y="682"/>
                </a:cubicBezTo>
                <a:cubicBezTo>
                  <a:pt x="218" y="684"/>
                  <a:pt x="222" y="683"/>
                  <a:pt x="224" y="683"/>
                </a:cubicBezTo>
                <a:cubicBezTo>
                  <a:pt x="224" y="683"/>
                  <a:pt x="224" y="684"/>
                  <a:pt x="225" y="684"/>
                </a:cubicBezTo>
                <a:cubicBezTo>
                  <a:pt x="225" y="684"/>
                  <a:pt x="225" y="684"/>
                  <a:pt x="225" y="684"/>
                </a:cubicBezTo>
                <a:cubicBezTo>
                  <a:pt x="225" y="683"/>
                  <a:pt x="230" y="681"/>
                  <a:pt x="231" y="682"/>
                </a:cubicBezTo>
                <a:cubicBezTo>
                  <a:pt x="232" y="684"/>
                  <a:pt x="231" y="686"/>
                  <a:pt x="229" y="686"/>
                </a:cubicBezTo>
                <a:cubicBezTo>
                  <a:pt x="229" y="686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30" y="688"/>
                  <a:pt x="231" y="688"/>
                  <a:pt x="232" y="687"/>
                </a:cubicBezTo>
                <a:cubicBezTo>
                  <a:pt x="232" y="687"/>
                  <a:pt x="232" y="687"/>
                  <a:pt x="232" y="687"/>
                </a:cubicBezTo>
                <a:cubicBezTo>
                  <a:pt x="232" y="687"/>
                  <a:pt x="233" y="686"/>
                  <a:pt x="233" y="686"/>
                </a:cubicBezTo>
                <a:cubicBezTo>
                  <a:pt x="234" y="685"/>
                  <a:pt x="237" y="685"/>
                  <a:pt x="239" y="683"/>
                </a:cubicBezTo>
                <a:cubicBezTo>
                  <a:pt x="240" y="682"/>
                  <a:pt x="243" y="680"/>
                  <a:pt x="244" y="680"/>
                </a:cubicBezTo>
                <a:cubicBezTo>
                  <a:pt x="245" y="681"/>
                  <a:pt x="245" y="682"/>
                  <a:pt x="246" y="683"/>
                </a:cubicBezTo>
                <a:cubicBezTo>
                  <a:pt x="246" y="683"/>
                  <a:pt x="246" y="682"/>
                  <a:pt x="247" y="682"/>
                </a:cubicBezTo>
                <a:cubicBezTo>
                  <a:pt x="248" y="682"/>
                  <a:pt x="249" y="683"/>
                  <a:pt x="249" y="684"/>
                </a:cubicBezTo>
                <a:cubicBezTo>
                  <a:pt x="250" y="684"/>
                  <a:pt x="251" y="684"/>
                  <a:pt x="251" y="685"/>
                </a:cubicBezTo>
                <a:cubicBezTo>
                  <a:pt x="251" y="685"/>
                  <a:pt x="250" y="686"/>
                  <a:pt x="249" y="686"/>
                </a:cubicBezTo>
                <a:cubicBezTo>
                  <a:pt x="248" y="687"/>
                  <a:pt x="247" y="688"/>
                  <a:pt x="246" y="686"/>
                </a:cubicBezTo>
                <a:cubicBezTo>
                  <a:pt x="246" y="685"/>
                  <a:pt x="246" y="686"/>
                  <a:pt x="246" y="687"/>
                </a:cubicBezTo>
                <a:cubicBezTo>
                  <a:pt x="247" y="688"/>
                  <a:pt x="248" y="688"/>
                  <a:pt x="248" y="689"/>
                </a:cubicBezTo>
                <a:cubicBezTo>
                  <a:pt x="248" y="690"/>
                  <a:pt x="247" y="690"/>
                  <a:pt x="245" y="691"/>
                </a:cubicBezTo>
                <a:cubicBezTo>
                  <a:pt x="247" y="692"/>
                  <a:pt x="248" y="693"/>
                  <a:pt x="248" y="694"/>
                </a:cubicBezTo>
                <a:cubicBezTo>
                  <a:pt x="248" y="694"/>
                  <a:pt x="247" y="696"/>
                  <a:pt x="246" y="697"/>
                </a:cubicBezTo>
                <a:cubicBezTo>
                  <a:pt x="252" y="699"/>
                  <a:pt x="257" y="700"/>
                  <a:pt x="263" y="702"/>
                </a:cubicBezTo>
                <a:cubicBezTo>
                  <a:pt x="263" y="702"/>
                  <a:pt x="263" y="702"/>
                  <a:pt x="264" y="701"/>
                </a:cubicBezTo>
                <a:cubicBezTo>
                  <a:pt x="264" y="701"/>
                  <a:pt x="265" y="702"/>
                  <a:pt x="266" y="702"/>
                </a:cubicBezTo>
                <a:cubicBezTo>
                  <a:pt x="267" y="702"/>
                  <a:pt x="267" y="701"/>
                  <a:pt x="268" y="701"/>
                </a:cubicBezTo>
                <a:cubicBezTo>
                  <a:pt x="269" y="701"/>
                  <a:pt x="271" y="702"/>
                  <a:pt x="273" y="702"/>
                </a:cubicBezTo>
                <a:cubicBezTo>
                  <a:pt x="274" y="703"/>
                  <a:pt x="274" y="702"/>
                  <a:pt x="274" y="703"/>
                </a:cubicBezTo>
                <a:cubicBezTo>
                  <a:pt x="275" y="703"/>
                  <a:pt x="274" y="704"/>
                  <a:pt x="274" y="705"/>
                </a:cubicBezTo>
                <a:cubicBezTo>
                  <a:pt x="281" y="707"/>
                  <a:pt x="289" y="708"/>
                  <a:pt x="296" y="709"/>
                </a:cubicBezTo>
                <a:cubicBezTo>
                  <a:pt x="297" y="708"/>
                  <a:pt x="297" y="708"/>
                  <a:pt x="298" y="707"/>
                </a:cubicBezTo>
                <a:cubicBezTo>
                  <a:pt x="298" y="707"/>
                  <a:pt x="304" y="707"/>
                  <a:pt x="305" y="707"/>
                </a:cubicBezTo>
                <a:cubicBezTo>
                  <a:pt x="306" y="707"/>
                  <a:pt x="307" y="708"/>
                  <a:pt x="308" y="708"/>
                </a:cubicBezTo>
                <a:cubicBezTo>
                  <a:pt x="307" y="708"/>
                  <a:pt x="307" y="708"/>
                  <a:pt x="307" y="707"/>
                </a:cubicBezTo>
                <a:cubicBezTo>
                  <a:pt x="306" y="706"/>
                  <a:pt x="306" y="704"/>
                  <a:pt x="307" y="703"/>
                </a:cubicBezTo>
                <a:cubicBezTo>
                  <a:pt x="311" y="699"/>
                  <a:pt x="321" y="702"/>
                  <a:pt x="325" y="704"/>
                </a:cubicBezTo>
                <a:cubicBezTo>
                  <a:pt x="325" y="703"/>
                  <a:pt x="325" y="703"/>
                  <a:pt x="325" y="702"/>
                </a:cubicBezTo>
                <a:cubicBezTo>
                  <a:pt x="326" y="699"/>
                  <a:pt x="334" y="701"/>
                  <a:pt x="334" y="704"/>
                </a:cubicBezTo>
                <a:cubicBezTo>
                  <a:pt x="334" y="704"/>
                  <a:pt x="336" y="705"/>
                  <a:pt x="336" y="705"/>
                </a:cubicBezTo>
                <a:cubicBezTo>
                  <a:pt x="336" y="706"/>
                  <a:pt x="334" y="706"/>
                  <a:pt x="334" y="705"/>
                </a:cubicBezTo>
                <a:cubicBezTo>
                  <a:pt x="333" y="706"/>
                  <a:pt x="330" y="707"/>
                  <a:pt x="328" y="706"/>
                </a:cubicBezTo>
                <a:cubicBezTo>
                  <a:pt x="327" y="706"/>
                  <a:pt x="325" y="706"/>
                  <a:pt x="324" y="708"/>
                </a:cubicBezTo>
                <a:cubicBezTo>
                  <a:pt x="324" y="708"/>
                  <a:pt x="324" y="710"/>
                  <a:pt x="324" y="710"/>
                </a:cubicBezTo>
                <a:cubicBezTo>
                  <a:pt x="323" y="711"/>
                  <a:pt x="321" y="711"/>
                  <a:pt x="321" y="711"/>
                </a:cubicBezTo>
                <a:cubicBezTo>
                  <a:pt x="321" y="712"/>
                  <a:pt x="322" y="713"/>
                  <a:pt x="323" y="713"/>
                </a:cubicBezTo>
                <a:cubicBezTo>
                  <a:pt x="328" y="713"/>
                  <a:pt x="334" y="714"/>
                  <a:pt x="339" y="714"/>
                </a:cubicBezTo>
                <a:cubicBezTo>
                  <a:pt x="338" y="712"/>
                  <a:pt x="340" y="712"/>
                  <a:pt x="342" y="712"/>
                </a:cubicBezTo>
                <a:cubicBezTo>
                  <a:pt x="342" y="712"/>
                  <a:pt x="343" y="712"/>
                  <a:pt x="344" y="712"/>
                </a:cubicBezTo>
                <a:cubicBezTo>
                  <a:pt x="344" y="712"/>
                  <a:pt x="344" y="713"/>
                  <a:pt x="344" y="713"/>
                </a:cubicBezTo>
                <a:cubicBezTo>
                  <a:pt x="344" y="713"/>
                  <a:pt x="345" y="713"/>
                  <a:pt x="345" y="714"/>
                </a:cubicBezTo>
                <a:cubicBezTo>
                  <a:pt x="345" y="714"/>
                  <a:pt x="346" y="714"/>
                  <a:pt x="346" y="714"/>
                </a:cubicBezTo>
                <a:cubicBezTo>
                  <a:pt x="346" y="713"/>
                  <a:pt x="347" y="712"/>
                  <a:pt x="347" y="712"/>
                </a:cubicBezTo>
                <a:cubicBezTo>
                  <a:pt x="348" y="712"/>
                  <a:pt x="349" y="712"/>
                  <a:pt x="349" y="712"/>
                </a:cubicBezTo>
                <a:cubicBezTo>
                  <a:pt x="350" y="712"/>
                  <a:pt x="351" y="711"/>
                  <a:pt x="352" y="711"/>
                </a:cubicBezTo>
                <a:cubicBezTo>
                  <a:pt x="352" y="710"/>
                  <a:pt x="352" y="710"/>
                  <a:pt x="354" y="709"/>
                </a:cubicBezTo>
                <a:cubicBezTo>
                  <a:pt x="355" y="709"/>
                  <a:pt x="355" y="708"/>
                  <a:pt x="357" y="708"/>
                </a:cubicBezTo>
                <a:cubicBezTo>
                  <a:pt x="360" y="707"/>
                  <a:pt x="365" y="706"/>
                  <a:pt x="369" y="705"/>
                </a:cubicBezTo>
                <a:cubicBezTo>
                  <a:pt x="370" y="705"/>
                  <a:pt x="370" y="705"/>
                  <a:pt x="370" y="705"/>
                </a:cubicBezTo>
                <a:cubicBezTo>
                  <a:pt x="370" y="705"/>
                  <a:pt x="369" y="705"/>
                  <a:pt x="369" y="705"/>
                </a:cubicBezTo>
                <a:cubicBezTo>
                  <a:pt x="368" y="705"/>
                  <a:pt x="367" y="704"/>
                  <a:pt x="366" y="702"/>
                </a:cubicBezTo>
                <a:cubicBezTo>
                  <a:pt x="365" y="702"/>
                  <a:pt x="365" y="702"/>
                  <a:pt x="365" y="701"/>
                </a:cubicBezTo>
                <a:cubicBezTo>
                  <a:pt x="365" y="700"/>
                  <a:pt x="364" y="699"/>
                  <a:pt x="365" y="698"/>
                </a:cubicBezTo>
                <a:cubicBezTo>
                  <a:pt x="366" y="692"/>
                  <a:pt x="379" y="693"/>
                  <a:pt x="384" y="696"/>
                </a:cubicBezTo>
                <a:cubicBezTo>
                  <a:pt x="386" y="697"/>
                  <a:pt x="387" y="699"/>
                  <a:pt x="388" y="701"/>
                </a:cubicBezTo>
                <a:cubicBezTo>
                  <a:pt x="390" y="700"/>
                  <a:pt x="392" y="699"/>
                  <a:pt x="392" y="700"/>
                </a:cubicBezTo>
                <a:cubicBezTo>
                  <a:pt x="393" y="701"/>
                  <a:pt x="391" y="702"/>
                  <a:pt x="389" y="702"/>
                </a:cubicBezTo>
                <a:cubicBezTo>
                  <a:pt x="389" y="702"/>
                  <a:pt x="389" y="702"/>
                  <a:pt x="389" y="702"/>
                </a:cubicBezTo>
                <a:cubicBezTo>
                  <a:pt x="390" y="703"/>
                  <a:pt x="391" y="704"/>
                  <a:pt x="391" y="704"/>
                </a:cubicBezTo>
                <a:cubicBezTo>
                  <a:pt x="391" y="706"/>
                  <a:pt x="387" y="707"/>
                  <a:pt x="383" y="708"/>
                </a:cubicBezTo>
                <a:cubicBezTo>
                  <a:pt x="388" y="708"/>
                  <a:pt x="395" y="708"/>
                  <a:pt x="399" y="708"/>
                </a:cubicBezTo>
                <a:cubicBezTo>
                  <a:pt x="399" y="708"/>
                  <a:pt x="406" y="707"/>
                  <a:pt x="406" y="708"/>
                </a:cubicBezTo>
                <a:cubicBezTo>
                  <a:pt x="407" y="710"/>
                  <a:pt x="401" y="709"/>
                  <a:pt x="400" y="709"/>
                </a:cubicBezTo>
                <a:cubicBezTo>
                  <a:pt x="394" y="709"/>
                  <a:pt x="384" y="709"/>
                  <a:pt x="378" y="709"/>
                </a:cubicBezTo>
                <a:cubicBezTo>
                  <a:pt x="378" y="709"/>
                  <a:pt x="377" y="709"/>
                  <a:pt x="377" y="709"/>
                </a:cubicBezTo>
                <a:cubicBezTo>
                  <a:pt x="377" y="709"/>
                  <a:pt x="377" y="709"/>
                  <a:pt x="377" y="708"/>
                </a:cubicBezTo>
                <a:cubicBezTo>
                  <a:pt x="378" y="708"/>
                  <a:pt x="378" y="708"/>
                  <a:pt x="379" y="708"/>
                </a:cubicBezTo>
                <a:cubicBezTo>
                  <a:pt x="377" y="708"/>
                  <a:pt x="376" y="708"/>
                  <a:pt x="375" y="708"/>
                </a:cubicBezTo>
                <a:cubicBezTo>
                  <a:pt x="374" y="708"/>
                  <a:pt x="374" y="709"/>
                  <a:pt x="373" y="709"/>
                </a:cubicBezTo>
                <a:cubicBezTo>
                  <a:pt x="373" y="709"/>
                  <a:pt x="372" y="709"/>
                  <a:pt x="372" y="709"/>
                </a:cubicBezTo>
                <a:cubicBezTo>
                  <a:pt x="372" y="709"/>
                  <a:pt x="371" y="710"/>
                  <a:pt x="370" y="710"/>
                </a:cubicBezTo>
                <a:cubicBezTo>
                  <a:pt x="369" y="710"/>
                  <a:pt x="367" y="710"/>
                  <a:pt x="366" y="711"/>
                </a:cubicBezTo>
                <a:cubicBezTo>
                  <a:pt x="364" y="711"/>
                  <a:pt x="363" y="712"/>
                  <a:pt x="361" y="713"/>
                </a:cubicBezTo>
                <a:cubicBezTo>
                  <a:pt x="360" y="713"/>
                  <a:pt x="360" y="713"/>
                  <a:pt x="360" y="713"/>
                </a:cubicBezTo>
                <a:cubicBezTo>
                  <a:pt x="359" y="713"/>
                  <a:pt x="358" y="714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554" y="715"/>
                  <a:pt x="714" y="555"/>
                  <a:pt x="714" y="357"/>
                </a:cubicBezTo>
                <a:cubicBezTo>
                  <a:pt x="714" y="339"/>
                  <a:pt x="713" y="322"/>
                  <a:pt x="710" y="304"/>
                </a:cubicBezTo>
                <a:close/>
                <a:moveTo>
                  <a:pt x="703" y="277"/>
                </a:moveTo>
                <a:cubicBezTo>
                  <a:pt x="704" y="277"/>
                  <a:pt x="703" y="279"/>
                  <a:pt x="702" y="279"/>
                </a:cubicBezTo>
                <a:cubicBezTo>
                  <a:pt x="702" y="278"/>
                  <a:pt x="703" y="278"/>
                  <a:pt x="703" y="277"/>
                </a:cubicBezTo>
                <a:close/>
                <a:moveTo>
                  <a:pt x="702" y="292"/>
                </a:moveTo>
                <a:cubicBezTo>
                  <a:pt x="702" y="292"/>
                  <a:pt x="702" y="292"/>
                  <a:pt x="702" y="292"/>
                </a:cubicBezTo>
                <a:cubicBezTo>
                  <a:pt x="702" y="292"/>
                  <a:pt x="701" y="293"/>
                  <a:pt x="701" y="293"/>
                </a:cubicBezTo>
                <a:cubicBezTo>
                  <a:pt x="701" y="293"/>
                  <a:pt x="701" y="292"/>
                  <a:pt x="702" y="292"/>
                </a:cubicBezTo>
                <a:close/>
                <a:moveTo>
                  <a:pt x="699" y="271"/>
                </a:moveTo>
                <a:cubicBezTo>
                  <a:pt x="697" y="274"/>
                  <a:pt x="700" y="270"/>
                  <a:pt x="699" y="271"/>
                </a:cubicBezTo>
                <a:close/>
                <a:moveTo>
                  <a:pt x="681" y="279"/>
                </a:moveTo>
                <a:cubicBezTo>
                  <a:pt x="681" y="277"/>
                  <a:pt x="683" y="278"/>
                  <a:pt x="681" y="279"/>
                </a:cubicBezTo>
                <a:close/>
                <a:moveTo>
                  <a:pt x="682" y="275"/>
                </a:moveTo>
                <a:cubicBezTo>
                  <a:pt x="683" y="276"/>
                  <a:pt x="681" y="277"/>
                  <a:pt x="682" y="275"/>
                </a:cubicBezTo>
                <a:close/>
                <a:moveTo>
                  <a:pt x="686" y="247"/>
                </a:moveTo>
                <a:cubicBezTo>
                  <a:pt x="687" y="248"/>
                  <a:pt x="687" y="250"/>
                  <a:pt x="687" y="252"/>
                </a:cubicBezTo>
                <a:cubicBezTo>
                  <a:pt x="686" y="251"/>
                  <a:pt x="686" y="249"/>
                  <a:pt x="686" y="247"/>
                </a:cubicBezTo>
                <a:close/>
                <a:moveTo>
                  <a:pt x="680" y="254"/>
                </a:moveTo>
                <a:cubicBezTo>
                  <a:pt x="680" y="255"/>
                  <a:pt x="681" y="252"/>
                  <a:pt x="680" y="254"/>
                </a:cubicBezTo>
                <a:close/>
                <a:moveTo>
                  <a:pt x="684" y="227"/>
                </a:moveTo>
                <a:cubicBezTo>
                  <a:pt x="687" y="230"/>
                  <a:pt x="682" y="233"/>
                  <a:pt x="680" y="234"/>
                </a:cubicBezTo>
                <a:cubicBezTo>
                  <a:pt x="678" y="231"/>
                  <a:pt x="681" y="225"/>
                  <a:pt x="684" y="227"/>
                </a:cubicBezTo>
                <a:close/>
                <a:moveTo>
                  <a:pt x="634" y="190"/>
                </a:moveTo>
                <a:cubicBezTo>
                  <a:pt x="634" y="190"/>
                  <a:pt x="634" y="191"/>
                  <a:pt x="634" y="191"/>
                </a:cubicBezTo>
                <a:cubicBezTo>
                  <a:pt x="635" y="194"/>
                  <a:pt x="630" y="192"/>
                  <a:pt x="634" y="190"/>
                </a:cubicBezTo>
                <a:close/>
                <a:moveTo>
                  <a:pt x="574" y="146"/>
                </a:moveTo>
                <a:cubicBezTo>
                  <a:pt x="575" y="147"/>
                  <a:pt x="573" y="147"/>
                  <a:pt x="573" y="146"/>
                </a:cubicBezTo>
                <a:cubicBezTo>
                  <a:pt x="572" y="146"/>
                  <a:pt x="574" y="145"/>
                  <a:pt x="574" y="146"/>
                </a:cubicBezTo>
                <a:close/>
                <a:moveTo>
                  <a:pt x="571" y="138"/>
                </a:moveTo>
                <a:cubicBezTo>
                  <a:pt x="571" y="138"/>
                  <a:pt x="571" y="138"/>
                  <a:pt x="571" y="138"/>
                </a:cubicBezTo>
                <a:cubicBezTo>
                  <a:pt x="572" y="140"/>
                  <a:pt x="569" y="137"/>
                  <a:pt x="571" y="138"/>
                </a:cubicBezTo>
                <a:close/>
                <a:moveTo>
                  <a:pt x="566" y="136"/>
                </a:moveTo>
                <a:cubicBezTo>
                  <a:pt x="566" y="137"/>
                  <a:pt x="564" y="137"/>
                  <a:pt x="564" y="137"/>
                </a:cubicBezTo>
                <a:cubicBezTo>
                  <a:pt x="564" y="136"/>
                  <a:pt x="566" y="135"/>
                  <a:pt x="566" y="136"/>
                </a:cubicBezTo>
                <a:close/>
                <a:moveTo>
                  <a:pt x="562" y="145"/>
                </a:moveTo>
                <a:cubicBezTo>
                  <a:pt x="563" y="146"/>
                  <a:pt x="562" y="146"/>
                  <a:pt x="562" y="146"/>
                </a:cubicBezTo>
                <a:cubicBezTo>
                  <a:pt x="561" y="145"/>
                  <a:pt x="562" y="145"/>
                  <a:pt x="562" y="145"/>
                </a:cubicBezTo>
                <a:close/>
                <a:moveTo>
                  <a:pt x="549" y="88"/>
                </a:moveTo>
                <a:cubicBezTo>
                  <a:pt x="549" y="88"/>
                  <a:pt x="549" y="88"/>
                  <a:pt x="549" y="88"/>
                </a:cubicBezTo>
                <a:cubicBezTo>
                  <a:pt x="549" y="88"/>
                  <a:pt x="549" y="88"/>
                  <a:pt x="549" y="88"/>
                </a:cubicBezTo>
                <a:close/>
                <a:moveTo>
                  <a:pt x="549" y="88"/>
                </a:moveTo>
                <a:cubicBezTo>
                  <a:pt x="549" y="88"/>
                  <a:pt x="548" y="88"/>
                  <a:pt x="549" y="88"/>
                </a:cubicBezTo>
                <a:close/>
                <a:moveTo>
                  <a:pt x="549" y="90"/>
                </a:moveTo>
                <a:cubicBezTo>
                  <a:pt x="549" y="91"/>
                  <a:pt x="548" y="91"/>
                  <a:pt x="548" y="91"/>
                </a:cubicBezTo>
                <a:cubicBezTo>
                  <a:pt x="548" y="91"/>
                  <a:pt x="549" y="90"/>
                  <a:pt x="549" y="90"/>
                </a:cubicBezTo>
                <a:close/>
                <a:moveTo>
                  <a:pt x="547" y="89"/>
                </a:moveTo>
                <a:cubicBezTo>
                  <a:pt x="546" y="89"/>
                  <a:pt x="546" y="90"/>
                  <a:pt x="545" y="90"/>
                </a:cubicBezTo>
                <a:cubicBezTo>
                  <a:pt x="546" y="90"/>
                  <a:pt x="544" y="88"/>
                  <a:pt x="544" y="88"/>
                </a:cubicBezTo>
                <a:cubicBezTo>
                  <a:pt x="545" y="87"/>
                  <a:pt x="547" y="87"/>
                  <a:pt x="547" y="89"/>
                </a:cubicBezTo>
                <a:close/>
                <a:moveTo>
                  <a:pt x="540" y="94"/>
                </a:moveTo>
                <a:cubicBezTo>
                  <a:pt x="541" y="94"/>
                  <a:pt x="539" y="94"/>
                  <a:pt x="539" y="94"/>
                </a:cubicBezTo>
                <a:cubicBezTo>
                  <a:pt x="539" y="93"/>
                  <a:pt x="540" y="93"/>
                  <a:pt x="540" y="94"/>
                </a:cubicBezTo>
                <a:close/>
                <a:moveTo>
                  <a:pt x="540" y="97"/>
                </a:moveTo>
                <a:cubicBezTo>
                  <a:pt x="540" y="96"/>
                  <a:pt x="538" y="98"/>
                  <a:pt x="539" y="97"/>
                </a:cubicBezTo>
                <a:cubicBezTo>
                  <a:pt x="539" y="96"/>
                  <a:pt x="542" y="93"/>
                  <a:pt x="544" y="93"/>
                </a:cubicBezTo>
                <a:cubicBezTo>
                  <a:pt x="546" y="93"/>
                  <a:pt x="549" y="94"/>
                  <a:pt x="548" y="96"/>
                </a:cubicBezTo>
                <a:cubicBezTo>
                  <a:pt x="548" y="98"/>
                  <a:pt x="544" y="100"/>
                  <a:pt x="542" y="100"/>
                </a:cubicBezTo>
                <a:cubicBezTo>
                  <a:pt x="541" y="100"/>
                  <a:pt x="540" y="99"/>
                  <a:pt x="540" y="99"/>
                </a:cubicBezTo>
                <a:cubicBezTo>
                  <a:pt x="539" y="99"/>
                  <a:pt x="538" y="101"/>
                  <a:pt x="538" y="99"/>
                </a:cubicBezTo>
                <a:cubicBezTo>
                  <a:pt x="538" y="99"/>
                  <a:pt x="540" y="97"/>
                  <a:pt x="540" y="97"/>
                </a:cubicBezTo>
                <a:close/>
                <a:moveTo>
                  <a:pt x="535" y="95"/>
                </a:moveTo>
                <a:cubicBezTo>
                  <a:pt x="536" y="96"/>
                  <a:pt x="533" y="95"/>
                  <a:pt x="535" y="95"/>
                </a:cubicBezTo>
                <a:close/>
                <a:moveTo>
                  <a:pt x="535" y="97"/>
                </a:moveTo>
                <a:cubicBezTo>
                  <a:pt x="535" y="97"/>
                  <a:pt x="535" y="96"/>
                  <a:pt x="535" y="96"/>
                </a:cubicBezTo>
                <a:cubicBezTo>
                  <a:pt x="535" y="97"/>
                  <a:pt x="536" y="97"/>
                  <a:pt x="535" y="97"/>
                </a:cubicBezTo>
                <a:close/>
                <a:moveTo>
                  <a:pt x="534" y="111"/>
                </a:moveTo>
                <a:cubicBezTo>
                  <a:pt x="534" y="110"/>
                  <a:pt x="535" y="109"/>
                  <a:pt x="536" y="110"/>
                </a:cubicBezTo>
                <a:cubicBezTo>
                  <a:pt x="537" y="111"/>
                  <a:pt x="535" y="111"/>
                  <a:pt x="534" y="111"/>
                </a:cubicBezTo>
                <a:close/>
                <a:moveTo>
                  <a:pt x="535" y="84"/>
                </a:moveTo>
                <a:cubicBezTo>
                  <a:pt x="538" y="83"/>
                  <a:pt x="536" y="88"/>
                  <a:pt x="534" y="87"/>
                </a:cubicBezTo>
                <a:cubicBezTo>
                  <a:pt x="532" y="86"/>
                  <a:pt x="534" y="85"/>
                  <a:pt x="535" y="84"/>
                </a:cubicBezTo>
                <a:close/>
                <a:moveTo>
                  <a:pt x="545" y="73"/>
                </a:moveTo>
                <a:cubicBezTo>
                  <a:pt x="544" y="74"/>
                  <a:pt x="544" y="72"/>
                  <a:pt x="545" y="73"/>
                </a:cubicBezTo>
                <a:close/>
                <a:moveTo>
                  <a:pt x="541" y="72"/>
                </a:moveTo>
                <a:cubicBezTo>
                  <a:pt x="540" y="73"/>
                  <a:pt x="539" y="73"/>
                  <a:pt x="537" y="73"/>
                </a:cubicBezTo>
                <a:cubicBezTo>
                  <a:pt x="539" y="73"/>
                  <a:pt x="539" y="71"/>
                  <a:pt x="541" y="72"/>
                </a:cubicBezTo>
                <a:close/>
                <a:moveTo>
                  <a:pt x="534" y="73"/>
                </a:moveTo>
                <a:cubicBezTo>
                  <a:pt x="534" y="74"/>
                  <a:pt x="532" y="75"/>
                  <a:pt x="532" y="74"/>
                </a:cubicBezTo>
                <a:cubicBezTo>
                  <a:pt x="531" y="74"/>
                  <a:pt x="534" y="73"/>
                  <a:pt x="534" y="73"/>
                </a:cubicBezTo>
                <a:close/>
                <a:moveTo>
                  <a:pt x="531" y="74"/>
                </a:moveTo>
                <a:cubicBezTo>
                  <a:pt x="532" y="75"/>
                  <a:pt x="530" y="74"/>
                  <a:pt x="530" y="74"/>
                </a:cubicBezTo>
                <a:cubicBezTo>
                  <a:pt x="529" y="73"/>
                  <a:pt x="531" y="73"/>
                  <a:pt x="531" y="74"/>
                </a:cubicBezTo>
                <a:close/>
                <a:moveTo>
                  <a:pt x="458" y="41"/>
                </a:moveTo>
                <a:cubicBezTo>
                  <a:pt x="458" y="42"/>
                  <a:pt x="458" y="42"/>
                  <a:pt x="458" y="42"/>
                </a:cubicBezTo>
                <a:cubicBezTo>
                  <a:pt x="458" y="41"/>
                  <a:pt x="457" y="40"/>
                  <a:pt x="458" y="41"/>
                </a:cubicBezTo>
                <a:close/>
                <a:moveTo>
                  <a:pt x="421" y="34"/>
                </a:moveTo>
                <a:cubicBezTo>
                  <a:pt x="420" y="34"/>
                  <a:pt x="420" y="33"/>
                  <a:pt x="421" y="34"/>
                </a:cubicBezTo>
                <a:close/>
                <a:moveTo>
                  <a:pt x="421" y="29"/>
                </a:moveTo>
                <a:cubicBezTo>
                  <a:pt x="422" y="30"/>
                  <a:pt x="420" y="30"/>
                  <a:pt x="420" y="30"/>
                </a:cubicBezTo>
                <a:cubicBezTo>
                  <a:pt x="419" y="29"/>
                  <a:pt x="421" y="29"/>
                  <a:pt x="421" y="29"/>
                </a:cubicBezTo>
                <a:close/>
                <a:moveTo>
                  <a:pt x="461" y="19"/>
                </a:moveTo>
                <a:cubicBezTo>
                  <a:pt x="461" y="20"/>
                  <a:pt x="458" y="20"/>
                  <a:pt x="458" y="19"/>
                </a:cubicBezTo>
                <a:cubicBezTo>
                  <a:pt x="457" y="18"/>
                  <a:pt x="461" y="17"/>
                  <a:pt x="461" y="19"/>
                </a:cubicBezTo>
                <a:close/>
                <a:moveTo>
                  <a:pt x="456" y="20"/>
                </a:moveTo>
                <a:cubicBezTo>
                  <a:pt x="457" y="21"/>
                  <a:pt x="454" y="22"/>
                  <a:pt x="454" y="20"/>
                </a:cubicBezTo>
                <a:cubicBezTo>
                  <a:pt x="454" y="20"/>
                  <a:pt x="456" y="20"/>
                  <a:pt x="456" y="20"/>
                </a:cubicBezTo>
                <a:close/>
                <a:moveTo>
                  <a:pt x="455" y="23"/>
                </a:moveTo>
                <a:cubicBezTo>
                  <a:pt x="456" y="24"/>
                  <a:pt x="453" y="23"/>
                  <a:pt x="453" y="23"/>
                </a:cubicBezTo>
                <a:cubicBezTo>
                  <a:pt x="453" y="22"/>
                  <a:pt x="455" y="22"/>
                  <a:pt x="455" y="23"/>
                </a:cubicBezTo>
                <a:close/>
                <a:moveTo>
                  <a:pt x="434" y="24"/>
                </a:moveTo>
                <a:cubicBezTo>
                  <a:pt x="434" y="25"/>
                  <a:pt x="430" y="24"/>
                  <a:pt x="430" y="23"/>
                </a:cubicBezTo>
                <a:cubicBezTo>
                  <a:pt x="430" y="22"/>
                  <a:pt x="433" y="22"/>
                  <a:pt x="434" y="24"/>
                </a:cubicBezTo>
                <a:close/>
                <a:moveTo>
                  <a:pt x="427" y="20"/>
                </a:moveTo>
                <a:cubicBezTo>
                  <a:pt x="427" y="21"/>
                  <a:pt x="425" y="20"/>
                  <a:pt x="425" y="20"/>
                </a:cubicBezTo>
                <a:cubicBezTo>
                  <a:pt x="425" y="20"/>
                  <a:pt x="427" y="19"/>
                  <a:pt x="427" y="20"/>
                </a:cubicBezTo>
                <a:close/>
                <a:moveTo>
                  <a:pt x="418" y="41"/>
                </a:moveTo>
                <a:cubicBezTo>
                  <a:pt x="418" y="41"/>
                  <a:pt x="418" y="40"/>
                  <a:pt x="418" y="40"/>
                </a:cubicBezTo>
                <a:cubicBezTo>
                  <a:pt x="416" y="39"/>
                  <a:pt x="420" y="40"/>
                  <a:pt x="418" y="41"/>
                </a:cubicBezTo>
                <a:close/>
                <a:moveTo>
                  <a:pt x="415" y="43"/>
                </a:moveTo>
                <a:cubicBezTo>
                  <a:pt x="416" y="44"/>
                  <a:pt x="414" y="44"/>
                  <a:pt x="414" y="44"/>
                </a:cubicBezTo>
                <a:cubicBezTo>
                  <a:pt x="414" y="44"/>
                  <a:pt x="414" y="43"/>
                  <a:pt x="415" y="43"/>
                </a:cubicBezTo>
                <a:close/>
                <a:moveTo>
                  <a:pt x="388" y="45"/>
                </a:moveTo>
                <a:cubicBezTo>
                  <a:pt x="388" y="43"/>
                  <a:pt x="393" y="43"/>
                  <a:pt x="393" y="45"/>
                </a:cubicBezTo>
                <a:cubicBezTo>
                  <a:pt x="393" y="48"/>
                  <a:pt x="388" y="46"/>
                  <a:pt x="388" y="45"/>
                </a:cubicBezTo>
                <a:close/>
                <a:moveTo>
                  <a:pt x="394" y="10"/>
                </a:moveTo>
                <a:cubicBezTo>
                  <a:pt x="394" y="11"/>
                  <a:pt x="393" y="11"/>
                  <a:pt x="392" y="11"/>
                </a:cubicBezTo>
                <a:cubicBezTo>
                  <a:pt x="393" y="10"/>
                  <a:pt x="394" y="10"/>
                  <a:pt x="394" y="10"/>
                </a:cubicBezTo>
                <a:close/>
                <a:moveTo>
                  <a:pt x="389" y="10"/>
                </a:moveTo>
                <a:cubicBezTo>
                  <a:pt x="391" y="9"/>
                  <a:pt x="391" y="12"/>
                  <a:pt x="389" y="10"/>
                </a:cubicBezTo>
                <a:close/>
                <a:moveTo>
                  <a:pt x="387" y="32"/>
                </a:moveTo>
                <a:cubicBezTo>
                  <a:pt x="393" y="30"/>
                  <a:pt x="399" y="30"/>
                  <a:pt x="404" y="30"/>
                </a:cubicBezTo>
                <a:cubicBezTo>
                  <a:pt x="399" y="31"/>
                  <a:pt x="391" y="32"/>
                  <a:pt x="384" y="33"/>
                </a:cubicBezTo>
                <a:cubicBezTo>
                  <a:pt x="379" y="35"/>
                  <a:pt x="386" y="32"/>
                  <a:pt x="387" y="32"/>
                </a:cubicBezTo>
                <a:close/>
                <a:moveTo>
                  <a:pt x="380" y="25"/>
                </a:moveTo>
                <a:cubicBezTo>
                  <a:pt x="381" y="24"/>
                  <a:pt x="382" y="26"/>
                  <a:pt x="380" y="25"/>
                </a:cubicBezTo>
                <a:close/>
                <a:moveTo>
                  <a:pt x="355" y="52"/>
                </a:moveTo>
                <a:cubicBezTo>
                  <a:pt x="355" y="51"/>
                  <a:pt x="357" y="50"/>
                  <a:pt x="357" y="51"/>
                </a:cubicBezTo>
                <a:cubicBezTo>
                  <a:pt x="358" y="53"/>
                  <a:pt x="356" y="52"/>
                  <a:pt x="355" y="52"/>
                </a:cubicBezTo>
                <a:close/>
                <a:moveTo>
                  <a:pt x="375" y="42"/>
                </a:move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lose/>
                <a:moveTo>
                  <a:pt x="371" y="6"/>
                </a:moveTo>
                <a:cubicBezTo>
                  <a:pt x="372" y="5"/>
                  <a:pt x="373" y="7"/>
                  <a:pt x="371" y="6"/>
                </a:cubicBezTo>
                <a:close/>
                <a:moveTo>
                  <a:pt x="367" y="52"/>
                </a:moveTo>
                <a:cubicBezTo>
                  <a:pt x="366" y="53"/>
                  <a:pt x="365" y="53"/>
                  <a:pt x="364" y="53"/>
                </a:cubicBezTo>
                <a:cubicBezTo>
                  <a:pt x="365" y="52"/>
                  <a:pt x="366" y="52"/>
                  <a:pt x="367" y="52"/>
                </a:cubicBezTo>
                <a:close/>
                <a:moveTo>
                  <a:pt x="360" y="41"/>
                </a:moveTo>
                <a:cubicBezTo>
                  <a:pt x="358" y="42"/>
                  <a:pt x="354" y="43"/>
                  <a:pt x="351" y="41"/>
                </a:cubicBezTo>
                <a:cubicBezTo>
                  <a:pt x="351" y="40"/>
                  <a:pt x="360" y="41"/>
                  <a:pt x="360" y="41"/>
                </a:cubicBezTo>
                <a:close/>
                <a:moveTo>
                  <a:pt x="2" y="391"/>
                </a:moveTo>
                <a:cubicBezTo>
                  <a:pt x="2" y="392"/>
                  <a:pt x="2" y="389"/>
                  <a:pt x="2" y="391"/>
                </a:cubicBezTo>
                <a:close/>
                <a:moveTo>
                  <a:pt x="2" y="338"/>
                </a:moveTo>
                <a:cubicBezTo>
                  <a:pt x="1" y="339"/>
                  <a:pt x="1" y="336"/>
                  <a:pt x="2" y="337"/>
                </a:cubicBezTo>
                <a:cubicBezTo>
                  <a:pt x="2" y="337"/>
                  <a:pt x="2" y="337"/>
                  <a:pt x="2" y="338"/>
                </a:cubicBezTo>
                <a:close/>
                <a:moveTo>
                  <a:pt x="6" y="411"/>
                </a:moveTo>
                <a:cubicBezTo>
                  <a:pt x="7" y="410"/>
                  <a:pt x="8" y="410"/>
                  <a:pt x="6" y="411"/>
                </a:cubicBezTo>
                <a:close/>
                <a:moveTo>
                  <a:pt x="7" y="377"/>
                </a:moveTo>
                <a:cubicBezTo>
                  <a:pt x="8" y="377"/>
                  <a:pt x="8" y="378"/>
                  <a:pt x="7" y="379"/>
                </a:cubicBezTo>
                <a:cubicBezTo>
                  <a:pt x="6" y="380"/>
                  <a:pt x="7" y="377"/>
                  <a:pt x="7" y="377"/>
                </a:cubicBezTo>
                <a:close/>
                <a:moveTo>
                  <a:pt x="7" y="415"/>
                </a:moveTo>
                <a:cubicBezTo>
                  <a:pt x="7" y="416"/>
                  <a:pt x="7" y="413"/>
                  <a:pt x="8" y="414"/>
                </a:cubicBezTo>
                <a:cubicBezTo>
                  <a:pt x="9" y="414"/>
                  <a:pt x="8" y="415"/>
                  <a:pt x="7" y="415"/>
                </a:cubicBezTo>
                <a:close/>
                <a:moveTo>
                  <a:pt x="7" y="368"/>
                </a:moveTo>
                <a:cubicBezTo>
                  <a:pt x="6" y="367"/>
                  <a:pt x="7" y="364"/>
                  <a:pt x="8" y="363"/>
                </a:cubicBezTo>
                <a:cubicBezTo>
                  <a:pt x="8" y="365"/>
                  <a:pt x="7" y="366"/>
                  <a:pt x="7" y="368"/>
                </a:cubicBezTo>
                <a:close/>
                <a:moveTo>
                  <a:pt x="13" y="438"/>
                </a:moveTo>
                <a:cubicBezTo>
                  <a:pt x="13" y="438"/>
                  <a:pt x="13" y="439"/>
                  <a:pt x="13" y="439"/>
                </a:cubicBezTo>
                <a:cubicBezTo>
                  <a:pt x="13" y="441"/>
                  <a:pt x="12" y="437"/>
                  <a:pt x="13" y="438"/>
                </a:cubicBezTo>
                <a:close/>
                <a:moveTo>
                  <a:pt x="12" y="423"/>
                </a:moveTo>
                <a:cubicBezTo>
                  <a:pt x="13" y="423"/>
                  <a:pt x="11" y="425"/>
                  <a:pt x="12" y="423"/>
                </a:cubicBezTo>
                <a:close/>
                <a:moveTo>
                  <a:pt x="15" y="295"/>
                </a:moveTo>
                <a:cubicBezTo>
                  <a:pt x="15" y="298"/>
                  <a:pt x="13" y="296"/>
                  <a:pt x="15" y="295"/>
                </a:cubicBezTo>
                <a:close/>
                <a:moveTo>
                  <a:pt x="13" y="368"/>
                </a:moveTo>
                <a:cubicBezTo>
                  <a:pt x="14" y="368"/>
                  <a:pt x="13" y="369"/>
                  <a:pt x="13" y="369"/>
                </a:cubicBezTo>
                <a:cubicBezTo>
                  <a:pt x="12" y="370"/>
                  <a:pt x="12" y="367"/>
                  <a:pt x="13" y="368"/>
                </a:cubicBezTo>
                <a:close/>
                <a:moveTo>
                  <a:pt x="12" y="352"/>
                </a:moveTo>
                <a:cubicBezTo>
                  <a:pt x="11" y="353"/>
                  <a:pt x="11" y="350"/>
                  <a:pt x="12" y="351"/>
                </a:cubicBezTo>
                <a:cubicBezTo>
                  <a:pt x="13" y="351"/>
                  <a:pt x="12" y="352"/>
                  <a:pt x="12" y="352"/>
                </a:cubicBezTo>
                <a:close/>
                <a:moveTo>
                  <a:pt x="10" y="333"/>
                </a:moveTo>
                <a:cubicBezTo>
                  <a:pt x="12" y="332"/>
                  <a:pt x="14" y="337"/>
                  <a:pt x="12" y="338"/>
                </a:cubicBezTo>
                <a:cubicBezTo>
                  <a:pt x="9" y="339"/>
                  <a:pt x="9" y="334"/>
                  <a:pt x="10" y="333"/>
                </a:cubicBezTo>
                <a:close/>
                <a:moveTo>
                  <a:pt x="10" y="355"/>
                </a:moveTo>
                <a:cubicBezTo>
                  <a:pt x="9" y="356"/>
                  <a:pt x="10" y="353"/>
                  <a:pt x="10" y="353"/>
                </a:cubicBezTo>
                <a:cubicBezTo>
                  <a:pt x="11" y="354"/>
                  <a:pt x="10" y="355"/>
                  <a:pt x="10" y="355"/>
                </a:cubicBezTo>
                <a:close/>
                <a:moveTo>
                  <a:pt x="9" y="371"/>
                </a:moveTo>
                <a:cubicBezTo>
                  <a:pt x="8" y="372"/>
                  <a:pt x="8" y="369"/>
                  <a:pt x="9" y="370"/>
                </a:cubicBezTo>
                <a:cubicBezTo>
                  <a:pt x="9" y="370"/>
                  <a:pt x="9" y="371"/>
                  <a:pt x="9" y="371"/>
                </a:cubicBezTo>
                <a:close/>
                <a:moveTo>
                  <a:pt x="9" y="359"/>
                </a:moveTo>
                <a:cubicBezTo>
                  <a:pt x="8" y="359"/>
                  <a:pt x="9" y="357"/>
                  <a:pt x="10" y="357"/>
                </a:cubicBezTo>
                <a:cubicBezTo>
                  <a:pt x="9" y="358"/>
                  <a:pt x="9" y="358"/>
                  <a:pt x="9" y="359"/>
                </a:cubicBezTo>
                <a:close/>
                <a:moveTo>
                  <a:pt x="10" y="438"/>
                </a:moveTo>
                <a:cubicBezTo>
                  <a:pt x="9" y="439"/>
                  <a:pt x="10" y="436"/>
                  <a:pt x="11" y="436"/>
                </a:cubicBezTo>
                <a:cubicBezTo>
                  <a:pt x="12" y="437"/>
                  <a:pt x="11" y="437"/>
                  <a:pt x="10" y="438"/>
                </a:cubicBezTo>
                <a:close/>
                <a:moveTo>
                  <a:pt x="10" y="424"/>
                </a:moveTo>
                <a:cubicBezTo>
                  <a:pt x="9" y="425"/>
                  <a:pt x="10" y="422"/>
                  <a:pt x="11" y="423"/>
                </a:cubicBezTo>
                <a:cubicBezTo>
                  <a:pt x="12" y="424"/>
                  <a:pt x="11" y="424"/>
                  <a:pt x="10" y="424"/>
                </a:cubicBezTo>
                <a:close/>
                <a:moveTo>
                  <a:pt x="11" y="386"/>
                </a:moveTo>
                <a:cubicBezTo>
                  <a:pt x="10" y="386"/>
                  <a:pt x="10" y="387"/>
                  <a:pt x="10" y="385"/>
                </a:cubicBezTo>
                <a:cubicBezTo>
                  <a:pt x="10" y="383"/>
                  <a:pt x="14" y="374"/>
                  <a:pt x="14" y="374"/>
                </a:cubicBezTo>
                <a:cubicBezTo>
                  <a:pt x="16" y="374"/>
                  <a:pt x="13" y="377"/>
                  <a:pt x="13" y="378"/>
                </a:cubicBezTo>
                <a:cubicBezTo>
                  <a:pt x="12" y="381"/>
                  <a:pt x="14" y="385"/>
                  <a:pt x="11" y="386"/>
                </a:cubicBezTo>
                <a:close/>
                <a:moveTo>
                  <a:pt x="14" y="394"/>
                </a:moveTo>
                <a:cubicBezTo>
                  <a:pt x="13" y="396"/>
                  <a:pt x="14" y="393"/>
                  <a:pt x="14" y="393"/>
                </a:cubicBezTo>
                <a:cubicBezTo>
                  <a:pt x="15" y="393"/>
                  <a:pt x="15" y="394"/>
                  <a:pt x="14" y="394"/>
                </a:cubicBezTo>
                <a:close/>
                <a:moveTo>
                  <a:pt x="15" y="388"/>
                </a:moveTo>
                <a:cubicBezTo>
                  <a:pt x="14" y="388"/>
                  <a:pt x="15" y="387"/>
                  <a:pt x="15" y="387"/>
                </a:cubicBezTo>
                <a:cubicBezTo>
                  <a:pt x="15" y="387"/>
                  <a:pt x="15" y="388"/>
                  <a:pt x="15" y="388"/>
                </a:cubicBezTo>
                <a:close/>
                <a:moveTo>
                  <a:pt x="15" y="300"/>
                </a:moveTo>
                <a:cubicBezTo>
                  <a:pt x="16" y="302"/>
                  <a:pt x="14" y="301"/>
                  <a:pt x="15" y="300"/>
                </a:cubicBezTo>
                <a:close/>
                <a:moveTo>
                  <a:pt x="16" y="366"/>
                </a:moveTo>
                <a:cubicBezTo>
                  <a:pt x="15" y="367"/>
                  <a:pt x="17" y="364"/>
                  <a:pt x="16" y="366"/>
                </a:cubicBezTo>
                <a:close/>
                <a:moveTo>
                  <a:pt x="17" y="380"/>
                </a:moveTo>
                <a:cubicBezTo>
                  <a:pt x="16" y="381"/>
                  <a:pt x="16" y="379"/>
                  <a:pt x="17" y="379"/>
                </a:cubicBezTo>
                <a:cubicBezTo>
                  <a:pt x="17" y="378"/>
                  <a:pt x="17" y="380"/>
                  <a:pt x="17" y="380"/>
                </a:cubicBezTo>
                <a:close/>
                <a:moveTo>
                  <a:pt x="27" y="420"/>
                </a:move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lose/>
                <a:moveTo>
                  <a:pt x="23" y="346"/>
                </a:moveTo>
                <a:cubicBezTo>
                  <a:pt x="23" y="346"/>
                  <a:pt x="23" y="347"/>
                  <a:pt x="23" y="347"/>
                </a:cubicBezTo>
                <a:cubicBezTo>
                  <a:pt x="22" y="347"/>
                  <a:pt x="22" y="346"/>
                  <a:pt x="23" y="346"/>
                </a:cubicBezTo>
                <a:close/>
                <a:moveTo>
                  <a:pt x="19" y="405"/>
                </a:moveTo>
                <a:cubicBezTo>
                  <a:pt x="19" y="405"/>
                  <a:pt x="18" y="404"/>
                  <a:pt x="18" y="404"/>
                </a:cubicBezTo>
                <a:cubicBezTo>
                  <a:pt x="18" y="404"/>
                  <a:pt x="20" y="404"/>
                  <a:pt x="19" y="405"/>
                </a:cubicBezTo>
                <a:close/>
                <a:moveTo>
                  <a:pt x="20" y="406"/>
                </a:moveTo>
                <a:cubicBezTo>
                  <a:pt x="19" y="406"/>
                  <a:pt x="20" y="405"/>
                  <a:pt x="20" y="404"/>
                </a:cubicBezTo>
                <a:cubicBezTo>
                  <a:pt x="21" y="404"/>
                  <a:pt x="20" y="405"/>
                  <a:pt x="20" y="406"/>
                </a:cubicBezTo>
                <a:close/>
                <a:moveTo>
                  <a:pt x="20" y="360"/>
                </a:moveTo>
                <a:cubicBezTo>
                  <a:pt x="19" y="359"/>
                  <a:pt x="21" y="359"/>
                  <a:pt x="20" y="360"/>
                </a:cubicBezTo>
                <a:close/>
                <a:moveTo>
                  <a:pt x="22" y="268"/>
                </a:moveTo>
                <a:cubicBezTo>
                  <a:pt x="23" y="268"/>
                  <a:pt x="22" y="270"/>
                  <a:pt x="22" y="271"/>
                </a:cubicBezTo>
                <a:cubicBezTo>
                  <a:pt x="19" y="273"/>
                  <a:pt x="19" y="267"/>
                  <a:pt x="22" y="268"/>
                </a:cubicBezTo>
                <a:close/>
                <a:moveTo>
                  <a:pt x="21" y="397"/>
                </a:moveTo>
                <a:cubicBezTo>
                  <a:pt x="21" y="396"/>
                  <a:pt x="22" y="397"/>
                  <a:pt x="22" y="398"/>
                </a:cubicBezTo>
                <a:cubicBezTo>
                  <a:pt x="21" y="399"/>
                  <a:pt x="20" y="397"/>
                  <a:pt x="21" y="397"/>
                </a:cubicBezTo>
                <a:close/>
                <a:moveTo>
                  <a:pt x="21" y="415"/>
                </a:moveTo>
                <a:cubicBezTo>
                  <a:pt x="22" y="416"/>
                  <a:pt x="21" y="417"/>
                  <a:pt x="21" y="415"/>
                </a:cubicBezTo>
                <a:close/>
                <a:moveTo>
                  <a:pt x="21" y="413"/>
                </a:moveTo>
                <a:cubicBezTo>
                  <a:pt x="21" y="413"/>
                  <a:pt x="23" y="413"/>
                  <a:pt x="23" y="413"/>
                </a:cubicBezTo>
                <a:cubicBezTo>
                  <a:pt x="23" y="414"/>
                  <a:pt x="20" y="414"/>
                  <a:pt x="21" y="413"/>
                </a:cubicBezTo>
                <a:close/>
                <a:moveTo>
                  <a:pt x="24" y="367"/>
                </a:moveTo>
                <a:cubicBezTo>
                  <a:pt x="25" y="368"/>
                  <a:pt x="23" y="369"/>
                  <a:pt x="24" y="367"/>
                </a:cubicBezTo>
                <a:close/>
                <a:moveTo>
                  <a:pt x="24" y="412"/>
                </a:moveTo>
                <a:cubicBezTo>
                  <a:pt x="24" y="413"/>
                  <a:pt x="24" y="410"/>
                  <a:pt x="24" y="412"/>
                </a:cubicBezTo>
                <a:close/>
                <a:moveTo>
                  <a:pt x="25" y="401"/>
                </a:moveTo>
                <a:cubicBezTo>
                  <a:pt x="24" y="402"/>
                  <a:pt x="24" y="400"/>
                  <a:pt x="24" y="399"/>
                </a:cubicBezTo>
                <a:cubicBezTo>
                  <a:pt x="25" y="399"/>
                  <a:pt x="25" y="401"/>
                  <a:pt x="25" y="401"/>
                </a:cubicBezTo>
                <a:close/>
                <a:moveTo>
                  <a:pt x="27" y="397"/>
                </a:moveTo>
                <a:cubicBezTo>
                  <a:pt x="27" y="398"/>
                  <a:pt x="28" y="396"/>
                  <a:pt x="27" y="397"/>
                </a:cubicBezTo>
                <a:close/>
                <a:moveTo>
                  <a:pt x="25" y="343"/>
                </a:moveTo>
                <a:cubicBezTo>
                  <a:pt x="23" y="342"/>
                  <a:pt x="25" y="340"/>
                  <a:pt x="25" y="338"/>
                </a:cubicBezTo>
                <a:cubicBezTo>
                  <a:pt x="25" y="340"/>
                  <a:pt x="26" y="339"/>
                  <a:pt x="27" y="340"/>
                </a:cubicBezTo>
                <a:cubicBezTo>
                  <a:pt x="29" y="342"/>
                  <a:pt x="26" y="345"/>
                  <a:pt x="25" y="343"/>
                </a:cubicBezTo>
                <a:close/>
                <a:moveTo>
                  <a:pt x="31" y="233"/>
                </a:moveTo>
                <a:cubicBezTo>
                  <a:pt x="30" y="234"/>
                  <a:pt x="30" y="231"/>
                  <a:pt x="30" y="231"/>
                </a:cubicBezTo>
                <a:cubicBezTo>
                  <a:pt x="32" y="231"/>
                  <a:pt x="31" y="233"/>
                  <a:pt x="31" y="233"/>
                </a:cubicBezTo>
                <a:close/>
                <a:moveTo>
                  <a:pt x="33" y="290"/>
                </a:moveTo>
                <a:cubicBezTo>
                  <a:pt x="32" y="291"/>
                  <a:pt x="32" y="288"/>
                  <a:pt x="33" y="289"/>
                </a:cubicBezTo>
                <a:cubicBezTo>
                  <a:pt x="34" y="289"/>
                  <a:pt x="33" y="290"/>
                  <a:pt x="33" y="290"/>
                </a:cubicBezTo>
                <a:close/>
                <a:moveTo>
                  <a:pt x="34" y="385"/>
                </a:moveTo>
                <a:cubicBezTo>
                  <a:pt x="33" y="386"/>
                  <a:pt x="34" y="383"/>
                  <a:pt x="35" y="383"/>
                </a:cubicBezTo>
                <a:cubicBezTo>
                  <a:pt x="35" y="384"/>
                  <a:pt x="34" y="385"/>
                  <a:pt x="34" y="385"/>
                </a:cubicBezTo>
                <a:close/>
                <a:moveTo>
                  <a:pt x="36" y="305"/>
                </a:moveTo>
                <a:cubicBezTo>
                  <a:pt x="35" y="307"/>
                  <a:pt x="37" y="303"/>
                  <a:pt x="36" y="305"/>
                </a:cubicBezTo>
                <a:close/>
                <a:moveTo>
                  <a:pt x="37" y="344"/>
                </a:moveTo>
                <a:cubicBezTo>
                  <a:pt x="37" y="344"/>
                  <a:pt x="38" y="344"/>
                  <a:pt x="38" y="344"/>
                </a:cubicBezTo>
                <a:cubicBezTo>
                  <a:pt x="38" y="345"/>
                  <a:pt x="37" y="345"/>
                  <a:pt x="37" y="344"/>
                </a:cubicBezTo>
                <a:close/>
                <a:moveTo>
                  <a:pt x="29" y="469"/>
                </a:moveTo>
                <a:cubicBezTo>
                  <a:pt x="25" y="471"/>
                  <a:pt x="25" y="463"/>
                  <a:pt x="29" y="464"/>
                </a:cubicBezTo>
                <a:cubicBezTo>
                  <a:pt x="31" y="464"/>
                  <a:pt x="31" y="468"/>
                  <a:pt x="29" y="469"/>
                </a:cubicBezTo>
                <a:close/>
                <a:moveTo>
                  <a:pt x="34" y="484"/>
                </a:moveTo>
                <a:cubicBezTo>
                  <a:pt x="34" y="485"/>
                  <a:pt x="34" y="485"/>
                  <a:pt x="33" y="485"/>
                </a:cubicBezTo>
                <a:cubicBezTo>
                  <a:pt x="32" y="486"/>
                  <a:pt x="33" y="483"/>
                  <a:pt x="34" y="484"/>
                </a:cubicBezTo>
                <a:close/>
                <a:moveTo>
                  <a:pt x="36" y="466"/>
                </a:moveTo>
                <a:cubicBezTo>
                  <a:pt x="34" y="467"/>
                  <a:pt x="34" y="464"/>
                  <a:pt x="35" y="463"/>
                </a:cubicBezTo>
                <a:cubicBezTo>
                  <a:pt x="36" y="463"/>
                  <a:pt x="37" y="465"/>
                  <a:pt x="36" y="466"/>
                </a:cubicBezTo>
                <a:close/>
                <a:moveTo>
                  <a:pt x="38" y="455"/>
                </a:moveTo>
                <a:cubicBezTo>
                  <a:pt x="38" y="455"/>
                  <a:pt x="38" y="456"/>
                  <a:pt x="38" y="456"/>
                </a:cubicBezTo>
                <a:cubicBezTo>
                  <a:pt x="37" y="458"/>
                  <a:pt x="36" y="454"/>
                  <a:pt x="38" y="455"/>
                </a:cubicBezTo>
                <a:close/>
                <a:moveTo>
                  <a:pt x="38" y="461"/>
                </a:moveTo>
                <a:cubicBezTo>
                  <a:pt x="36" y="462"/>
                  <a:pt x="38" y="459"/>
                  <a:pt x="39" y="459"/>
                </a:cubicBezTo>
                <a:cubicBezTo>
                  <a:pt x="39" y="460"/>
                  <a:pt x="38" y="461"/>
                  <a:pt x="38" y="461"/>
                </a:cubicBezTo>
                <a:close/>
                <a:moveTo>
                  <a:pt x="66" y="337"/>
                </a:moveTo>
                <a:cubicBezTo>
                  <a:pt x="66" y="337"/>
                  <a:pt x="66" y="338"/>
                  <a:pt x="66" y="338"/>
                </a:cubicBezTo>
                <a:cubicBezTo>
                  <a:pt x="65" y="339"/>
                  <a:pt x="65" y="336"/>
                  <a:pt x="66" y="337"/>
                </a:cubicBezTo>
                <a:close/>
                <a:moveTo>
                  <a:pt x="66" y="380"/>
                </a:moveTo>
                <a:cubicBezTo>
                  <a:pt x="67" y="380"/>
                  <a:pt x="67" y="382"/>
                  <a:pt x="66" y="382"/>
                </a:cubicBezTo>
                <a:cubicBezTo>
                  <a:pt x="65" y="384"/>
                  <a:pt x="65" y="379"/>
                  <a:pt x="66" y="380"/>
                </a:cubicBezTo>
                <a:close/>
                <a:moveTo>
                  <a:pt x="63" y="330"/>
                </a:moveTo>
                <a:cubicBezTo>
                  <a:pt x="62" y="331"/>
                  <a:pt x="64" y="329"/>
                  <a:pt x="63" y="330"/>
                </a:cubicBezTo>
                <a:close/>
                <a:moveTo>
                  <a:pt x="64" y="346"/>
                </a:moveTo>
                <a:cubicBezTo>
                  <a:pt x="66" y="346"/>
                  <a:pt x="65" y="351"/>
                  <a:pt x="62" y="351"/>
                </a:cubicBezTo>
                <a:cubicBezTo>
                  <a:pt x="62" y="351"/>
                  <a:pt x="62" y="345"/>
                  <a:pt x="64" y="346"/>
                </a:cubicBezTo>
                <a:close/>
                <a:moveTo>
                  <a:pt x="64" y="393"/>
                </a:moveTo>
                <a:cubicBezTo>
                  <a:pt x="64" y="392"/>
                  <a:pt x="65" y="394"/>
                  <a:pt x="64" y="393"/>
                </a:cubicBezTo>
                <a:close/>
                <a:moveTo>
                  <a:pt x="61" y="364"/>
                </a:moveTo>
                <a:cubicBezTo>
                  <a:pt x="61" y="362"/>
                  <a:pt x="62" y="363"/>
                  <a:pt x="61" y="364"/>
                </a:cubicBezTo>
                <a:close/>
                <a:moveTo>
                  <a:pt x="61" y="403"/>
                </a:moveTo>
                <a:cubicBezTo>
                  <a:pt x="61" y="403"/>
                  <a:pt x="61" y="403"/>
                  <a:pt x="62" y="403"/>
                </a:cubicBezTo>
                <a:cubicBezTo>
                  <a:pt x="63" y="402"/>
                  <a:pt x="61" y="403"/>
                  <a:pt x="61" y="403"/>
                </a:cubicBezTo>
                <a:close/>
                <a:moveTo>
                  <a:pt x="61" y="365"/>
                </a:moveTo>
                <a:cubicBezTo>
                  <a:pt x="61" y="366"/>
                  <a:pt x="59" y="365"/>
                  <a:pt x="61" y="365"/>
                </a:cubicBezTo>
                <a:close/>
                <a:moveTo>
                  <a:pt x="58" y="357"/>
                </a:moveTo>
                <a:cubicBezTo>
                  <a:pt x="59" y="357"/>
                  <a:pt x="58" y="359"/>
                  <a:pt x="58" y="359"/>
                </a:cubicBezTo>
                <a:cubicBezTo>
                  <a:pt x="56" y="361"/>
                  <a:pt x="55" y="356"/>
                  <a:pt x="58" y="357"/>
                </a:cubicBezTo>
                <a:close/>
                <a:moveTo>
                  <a:pt x="56" y="405"/>
                </a:moveTo>
                <a:cubicBezTo>
                  <a:pt x="56" y="405"/>
                  <a:pt x="56" y="406"/>
                  <a:pt x="56" y="406"/>
                </a:cubicBezTo>
                <a:cubicBezTo>
                  <a:pt x="55" y="407"/>
                  <a:pt x="55" y="405"/>
                  <a:pt x="56" y="405"/>
                </a:cubicBezTo>
                <a:close/>
                <a:moveTo>
                  <a:pt x="54" y="374"/>
                </a:moveTo>
                <a:cubicBezTo>
                  <a:pt x="55" y="374"/>
                  <a:pt x="55" y="375"/>
                  <a:pt x="54" y="375"/>
                </a:cubicBezTo>
                <a:cubicBezTo>
                  <a:pt x="53" y="376"/>
                  <a:pt x="53" y="374"/>
                  <a:pt x="54" y="374"/>
                </a:cubicBezTo>
                <a:close/>
                <a:moveTo>
                  <a:pt x="49" y="398"/>
                </a:moveTo>
                <a:cubicBezTo>
                  <a:pt x="51" y="396"/>
                  <a:pt x="52" y="393"/>
                  <a:pt x="54" y="390"/>
                </a:cubicBezTo>
                <a:cubicBezTo>
                  <a:pt x="53" y="393"/>
                  <a:pt x="51" y="396"/>
                  <a:pt x="49" y="398"/>
                </a:cubicBezTo>
                <a:close/>
                <a:moveTo>
                  <a:pt x="51" y="408"/>
                </a:moveTo>
                <a:cubicBezTo>
                  <a:pt x="50" y="407"/>
                  <a:pt x="52" y="406"/>
                  <a:pt x="52" y="407"/>
                </a:cubicBezTo>
                <a:cubicBezTo>
                  <a:pt x="54" y="408"/>
                  <a:pt x="52" y="410"/>
                  <a:pt x="51" y="408"/>
                </a:cubicBezTo>
                <a:close/>
                <a:moveTo>
                  <a:pt x="46" y="404"/>
                </a:moveTo>
                <a:cubicBezTo>
                  <a:pt x="46" y="404"/>
                  <a:pt x="47" y="400"/>
                  <a:pt x="48" y="399"/>
                </a:cubicBezTo>
                <a:cubicBezTo>
                  <a:pt x="48" y="400"/>
                  <a:pt x="47" y="404"/>
                  <a:pt x="46" y="404"/>
                </a:cubicBezTo>
                <a:close/>
                <a:moveTo>
                  <a:pt x="47" y="409"/>
                </a:moveTo>
                <a:cubicBezTo>
                  <a:pt x="48" y="408"/>
                  <a:pt x="47" y="410"/>
                  <a:pt x="47" y="409"/>
                </a:cubicBezTo>
                <a:close/>
                <a:moveTo>
                  <a:pt x="48" y="392"/>
                </a:moveTo>
                <a:cubicBezTo>
                  <a:pt x="46" y="393"/>
                  <a:pt x="46" y="388"/>
                  <a:pt x="49" y="389"/>
                </a:cubicBezTo>
                <a:cubicBezTo>
                  <a:pt x="50" y="389"/>
                  <a:pt x="49" y="392"/>
                  <a:pt x="48" y="392"/>
                </a:cubicBezTo>
                <a:close/>
                <a:moveTo>
                  <a:pt x="53" y="323"/>
                </a:moveTo>
                <a:cubicBezTo>
                  <a:pt x="54" y="323"/>
                  <a:pt x="54" y="325"/>
                  <a:pt x="53" y="325"/>
                </a:cubicBezTo>
                <a:cubicBezTo>
                  <a:pt x="52" y="326"/>
                  <a:pt x="52" y="323"/>
                  <a:pt x="53" y="323"/>
                </a:cubicBezTo>
                <a:close/>
                <a:moveTo>
                  <a:pt x="50" y="354"/>
                </a:moveTo>
                <a:cubicBezTo>
                  <a:pt x="53" y="355"/>
                  <a:pt x="51" y="360"/>
                  <a:pt x="50" y="360"/>
                </a:cubicBezTo>
                <a:cubicBezTo>
                  <a:pt x="45" y="362"/>
                  <a:pt x="47" y="352"/>
                  <a:pt x="50" y="354"/>
                </a:cubicBezTo>
                <a:close/>
                <a:moveTo>
                  <a:pt x="47" y="328"/>
                </a:moveTo>
                <a:cubicBezTo>
                  <a:pt x="47" y="328"/>
                  <a:pt x="48" y="328"/>
                  <a:pt x="48" y="327"/>
                </a:cubicBezTo>
                <a:cubicBezTo>
                  <a:pt x="49" y="327"/>
                  <a:pt x="49" y="328"/>
                  <a:pt x="47" y="328"/>
                </a:cubicBezTo>
                <a:close/>
                <a:moveTo>
                  <a:pt x="48" y="267"/>
                </a:moveTo>
                <a:cubicBezTo>
                  <a:pt x="47" y="267"/>
                  <a:pt x="47" y="267"/>
                  <a:pt x="47" y="266"/>
                </a:cubicBezTo>
                <a:cubicBezTo>
                  <a:pt x="47" y="266"/>
                  <a:pt x="49" y="266"/>
                  <a:pt x="48" y="267"/>
                </a:cubicBezTo>
                <a:close/>
                <a:moveTo>
                  <a:pt x="46" y="377"/>
                </a:moveTo>
                <a:cubicBezTo>
                  <a:pt x="45" y="378"/>
                  <a:pt x="45" y="376"/>
                  <a:pt x="46" y="376"/>
                </a:cubicBezTo>
                <a:cubicBezTo>
                  <a:pt x="47" y="376"/>
                  <a:pt x="46" y="377"/>
                  <a:pt x="46" y="377"/>
                </a:cubicBezTo>
                <a:close/>
                <a:moveTo>
                  <a:pt x="45" y="192"/>
                </a:moveTo>
                <a:cubicBezTo>
                  <a:pt x="46" y="192"/>
                  <a:pt x="46" y="193"/>
                  <a:pt x="46" y="193"/>
                </a:cubicBezTo>
                <a:cubicBezTo>
                  <a:pt x="44" y="195"/>
                  <a:pt x="44" y="191"/>
                  <a:pt x="45" y="192"/>
                </a:cubicBezTo>
                <a:close/>
                <a:moveTo>
                  <a:pt x="45" y="207"/>
                </a:moveTo>
                <a:cubicBezTo>
                  <a:pt x="46" y="207"/>
                  <a:pt x="45" y="208"/>
                  <a:pt x="45" y="209"/>
                </a:cubicBezTo>
                <a:cubicBezTo>
                  <a:pt x="44" y="210"/>
                  <a:pt x="44" y="207"/>
                  <a:pt x="45" y="207"/>
                </a:cubicBezTo>
                <a:close/>
                <a:moveTo>
                  <a:pt x="44" y="360"/>
                </a:moveTo>
                <a:cubicBezTo>
                  <a:pt x="45" y="361"/>
                  <a:pt x="44" y="363"/>
                  <a:pt x="44" y="363"/>
                </a:cubicBezTo>
                <a:cubicBezTo>
                  <a:pt x="42" y="364"/>
                  <a:pt x="43" y="360"/>
                  <a:pt x="44" y="360"/>
                </a:cubicBezTo>
                <a:close/>
                <a:moveTo>
                  <a:pt x="43" y="227"/>
                </a:moveTo>
                <a:cubicBezTo>
                  <a:pt x="43" y="227"/>
                  <a:pt x="43" y="228"/>
                  <a:pt x="43" y="228"/>
                </a:cubicBezTo>
                <a:cubicBezTo>
                  <a:pt x="42" y="229"/>
                  <a:pt x="43" y="226"/>
                  <a:pt x="43" y="227"/>
                </a:cubicBezTo>
                <a:close/>
                <a:moveTo>
                  <a:pt x="40" y="322"/>
                </a:moveTo>
                <a:cubicBezTo>
                  <a:pt x="41" y="320"/>
                  <a:pt x="39" y="322"/>
                  <a:pt x="40" y="322"/>
                </a:cubicBezTo>
                <a:close/>
                <a:moveTo>
                  <a:pt x="36" y="429"/>
                </a:moveTo>
                <a:cubicBezTo>
                  <a:pt x="35" y="431"/>
                  <a:pt x="35" y="428"/>
                  <a:pt x="36" y="428"/>
                </a:cubicBezTo>
                <a:cubicBezTo>
                  <a:pt x="36" y="429"/>
                  <a:pt x="36" y="429"/>
                  <a:pt x="36" y="429"/>
                </a:cubicBezTo>
                <a:close/>
                <a:moveTo>
                  <a:pt x="35" y="428"/>
                </a:moveTo>
                <a:cubicBezTo>
                  <a:pt x="34" y="427"/>
                  <a:pt x="36" y="425"/>
                  <a:pt x="36" y="426"/>
                </a:cubicBezTo>
                <a:cubicBezTo>
                  <a:pt x="37" y="428"/>
                  <a:pt x="35" y="429"/>
                  <a:pt x="35" y="428"/>
                </a:cubicBezTo>
                <a:close/>
                <a:moveTo>
                  <a:pt x="38" y="424"/>
                </a:moveTo>
                <a:cubicBezTo>
                  <a:pt x="35" y="427"/>
                  <a:pt x="33" y="418"/>
                  <a:pt x="37" y="417"/>
                </a:cubicBezTo>
                <a:cubicBezTo>
                  <a:pt x="35" y="420"/>
                  <a:pt x="39" y="419"/>
                  <a:pt x="39" y="420"/>
                </a:cubicBezTo>
                <a:cubicBezTo>
                  <a:pt x="39" y="421"/>
                  <a:pt x="39" y="423"/>
                  <a:pt x="38" y="424"/>
                </a:cubicBezTo>
                <a:close/>
                <a:moveTo>
                  <a:pt x="40" y="358"/>
                </a:moveTo>
                <a:cubicBezTo>
                  <a:pt x="38" y="358"/>
                  <a:pt x="41" y="356"/>
                  <a:pt x="40" y="357"/>
                </a:cubicBezTo>
                <a:cubicBezTo>
                  <a:pt x="40" y="357"/>
                  <a:pt x="40" y="358"/>
                  <a:pt x="40" y="358"/>
                </a:cubicBezTo>
                <a:close/>
                <a:moveTo>
                  <a:pt x="41" y="431"/>
                </a:moveTo>
                <a:cubicBezTo>
                  <a:pt x="42" y="430"/>
                  <a:pt x="43" y="432"/>
                  <a:pt x="41" y="431"/>
                </a:cubicBezTo>
                <a:close/>
                <a:moveTo>
                  <a:pt x="42" y="382"/>
                </a:moveTo>
                <a:cubicBezTo>
                  <a:pt x="42" y="380"/>
                  <a:pt x="43" y="381"/>
                  <a:pt x="44" y="380"/>
                </a:cubicBezTo>
                <a:cubicBezTo>
                  <a:pt x="44" y="379"/>
                  <a:pt x="44" y="378"/>
                  <a:pt x="46" y="378"/>
                </a:cubicBezTo>
                <a:cubicBezTo>
                  <a:pt x="50" y="378"/>
                  <a:pt x="48" y="384"/>
                  <a:pt x="45" y="385"/>
                </a:cubicBezTo>
                <a:cubicBezTo>
                  <a:pt x="43" y="385"/>
                  <a:pt x="41" y="385"/>
                  <a:pt x="42" y="382"/>
                </a:cubicBezTo>
                <a:close/>
                <a:moveTo>
                  <a:pt x="44" y="391"/>
                </a:moveTo>
                <a:cubicBezTo>
                  <a:pt x="43" y="392"/>
                  <a:pt x="45" y="389"/>
                  <a:pt x="44" y="391"/>
                </a:cubicBezTo>
                <a:close/>
                <a:moveTo>
                  <a:pt x="42" y="449"/>
                </a:moveTo>
                <a:cubicBezTo>
                  <a:pt x="42" y="450"/>
                  <a:pt x="43" y="447"/>
                  <a:pt x="42" y="449"/>
                </a:cubicBezTo>
                <a:close/>
                <a:moveTo>
                  <a:pt x="44" y="465"/>
                </a:moveTo>
                <a:cubicBezTo>
                  <a:pt x="45" y="464"/>
                  <a:pt x="43" y="466"/>
                  <a:pt x="44" y="465"/>
                </a:cubicBezTo>
                <a:close/>
                <a:moveTo>
                  <a:pt x="45" y="462"/>
                </a:moveTo>
                <a:cubicBezTo>
                  <a:pt x="45" y="462"/>
                  <a:pt x="45" y="462"/>
                  <a:pt x="46" y="462"/>
                </a:cubicBezTo>
                <a:cubicBezTo>
                  <a:pt x="46" y="462"/>
                  <a:pt x="46" y="462"/>
                  <a:pt x="46" y="462"/>
                </a:cubicBezTo>
                <a:cubicBezTo>
                  <a:pt x="46" y="462"/>
                  <a:pt x="45" y="462"/>
                  <a:pt x="45" y="462"/>
                </a:cubicBezTo>
                <a:close/>
                <a:moveTo>
                  <a:pt x="43" y="445"/>
                </a:moveTo>
                <a:cubicBezTo>
                  <a:pt x="43" y="443"/>
                  <a:pt x="45" y="441"/>
                  <a:pt x="47" y="439"/>
                </a:cubicBezTo>
                <a:cubicBezTo>
                  <a:pt x="47" y="442"/>
                  <a:pt x="44" y="443"/>
                  <a:pt x="43" y="445"/>
                </a:cubicBezTo>
                <a:close/>
                <a:moveTo>
                  <a:pt x="46" y="434"/>
                </a:moveTo>
                <a:cubicBezTo>
                  <a:pt x="46" y="434"/>
                  <a:pt x="47" y="433"/>
                  <a:pt x="46" y="434"/>
                </a:cubicBezTo>
                <a:cubicBezTo>
                  <a:pt x="46" y="434"/>
                  <a:pt x="46" y="434"/>
                  <a:pt x="46" y="434"/>
                </a:cubicBezTo>
                <a:close/>
                <a:moveTo>
                  <a:pt x="47" y="432"/>
                </a:moveTo>
                <a:cubicBezTo>
                  <a:pt x="48" y="430"/>
                  <a:pt x="50" y="431"/>
                  <a:pt x="47" y="432"/>
                </a:cubicBezTo>
                <a:close/>
                <a:moveTo>
                  <a:pt x="50" y="418"/>
                </a:moveTo>
                <a:cubicBezTo>
                  <a:pt x="50" y="419"/>
                  <a:pt x="52" y="419"/>
                  <a:pt x="51" y="420"/>
                </a:cubicBezTo>
                <a:cubicBezTo>
                  <a:pt x="52" y="419"/>
                  <a:pt x="48" y="420"/>
                  <a:pt x="49" y="421"/>
                </a:cubicBezTo>
                <a:cubicBezTo>
                  <a:pt x="48" y="420"/>
                  <a:pt x="48" y="419"/>
                  <a:pt x="49" y="418"/>
                </a:cubicBezTo>
                <a:cubicBezTo>
                  <a:pt x="47" y="418"/>
                  <a:pt x="45" y="417"/>
                  <a:pt x="45" y="416"/>
                </a:cubicBezTo>
                <a:cubicBezTo>
                  <a:pt x="44" y="413"/>
                  <a:pt x="47" y="411"/>
                  <a:pt x="49" y="410"/>
                </a:cubicBezTo>
                <a:cubicBezTo>
                  <a:pt x="49" y="410"/>
                  <a:pt x="49" y="409"/>
                  <a:pt x="49" y="409"/>
                </a:cubicBezTo>
                <a:cubicBezTo>
                  <a:pt x="50" y="409"/>
                  <a:pt x="51" y="411"/>
                  <a:pt x="51" y="411"/>
                </a:cubicBezTo>
                <a:cubicBezTo>
                  <a:pt x="53" y="412"/>
                  <a:pt x="52" y="407"/>
                  <a:pt x="54" y="407"/>
                </a:cubicBezTo>
                <a:cubicBezTo>
                  <a:pt x="56" y="408"/>
                  <a:pt x="54" y="410"/>
                  <a:pt x="54" y="411"/>
                </a:cubicBezTo>
                <a:cubicBezTo>
                  <a:pt x="54" y="413"/>
                  <a:pt x="55" y="413"/>
                  <a:pt x="53" y="414"/>
                </a:cubicBezTo>
                <a:cubicBezTo>
                  <a:pt x="52" y="415"/>
                  <a:pt x="51" y="418"/>
                  <a:pt x="50" y="418"/>
                </a:cubicBezTo>
                <a:close/>
                <a:moveTo>
                  <a:pt x="58" y="443"/>
                </a:moveTo>
                <a:cubicBezTo>
                  <a:pt x="57" y="444"/>
                  <a:pt x="57" y="442"/>
                  <a:pt x="58" y="441"/>
                </a:cubicBezTo>
                <a:cubicBezTo>
                  <a:pt x="59" y="441"/>
                  <a:pt x="58" y="442"/>
                  <a:pt x="58" y="443"/>
                </a:cubicBezTo>
                <a:close/>
                <a:moveTo>
                  <a:pt x="59" y="440"/>
                </a:moveTo>
                <a:cubicBezTo>
                  <a:pt x="57" y="441"/>
                  <a:pt x="59" y="437"/>
                  <a:pt x="60" y="439"/>
                </a:cubicBezTo>
                <a:cubicBezTo>
                  <a:pt x="60" y="439"/>
                  <a:pt x="59" y="440"/>
                  <a:pt x="59" y="440"/>
                </a:cubicBezTo>
                <a:close/>
                <a:moveTo>
                  <a:pt x="63" y="454"/>
                </a:moveTo>
                <a:cubicBezTo>
                  <a:pt x="64" y="455"/>
                  <a:pt x="62" y="456"/>
                  <a:pt x="63" y="454"/>
                </a:cubicBezTo>
                <a:close/>
                <a:moveTo>
                  <a:pt x="60" y="436"/>
                </a:moveTo>
                <a:cubicBezTo>
                  <a:pt x="60" y="435"/>
                  <a:pt x="64" y="434"/>
                  <a:pt x="64" y="437"/>
                </a:cubicBezTo>
                <a:cubicBezTo>
                  <a:pt x="64" y="439"/>
                  <a:pt x="58" y="440"/>
                  <a:pt x="60" y="436"/>
                </a:cubicBezTo>
                <a:close/>
                <a:moveTo>
                  <a:pt x="63" y="432"/>
                </a:moveTo>
                <a:cubicBezTo>
                  <a:pt x="62" y="431"/>
                  <a:pt x="64" y="430"/>
                  <a:pt x="63" y="432"/>
                </a:cubicBezTo>
                <a:close/>
                <a:moveTo>
                  <a:pt x="64" y="427"/>
                </a:moveTo>
                <a:cubicBezTo>
                  <a:pt x="64" y="427"/>
                  <a:pt x="64" y="428"/>
                  <a:pt x="64" y="428"/>
                </a:cubicBezTo>
                <a:cubicBezTo>
                  <a:pt x="63" y="429"/>
                  <a:pt x="63" y="426"/>
                  <a:pt x="64" y="427"/>
                </a:cubicBezTo>
                <a:close/>
                <a:moveTo>
                  <a:pt x="64" y="419"/>
                </a:moveTo>
                <a:cubicBezTo>
                  <a:pt x="62" y="420"/>
                  <a:pt x="59" y="423"/>
                  <a:pt x="58" y="424"/>
                </a:cubicBezTo>
                <a:cubicBezTo>
                  <a:pt x="57" y="426"/>
                  <a:pt x="56" y="428"/>
                  <a:pt x="54" y="429"/>
                </a:cubicBezTo>
                <a:cubicBezTo>
                  <a:pt x="57" y="423"/>
                  <a:pt x="63" y="418"/>
                  <a:pt x="66" y="413"/>
                </a:cubicBezTo>
                <a:cubicBezTo>
                  <a:pt x="69" y="409"/>
                  <a:pt x="65" y="417"/>
                  <a:pt x="64" y="419"/>
                </a:cubicBezTo>
                <a:close/>
                <a:moveTo>
                  <a:pt x="66" y="423"/>
                </a:moveTo>
                <a:cubicBezTo>
                  <a:pt x="66" y="423"/>
                  <a:pt x="65" y="423"/>
                  <a:pt x="65" y="423"/>
                </a:cubicBezTo>
                <a:cubicBezTo>
                  <a:pt x="64" y="423"/>
                  <a:pt x="66" y="422"/>
                  <a:pt x="66" y="423"/>
                </a:cubicBezTo>
                <a:close/>
                <a:moveTo>
                  <a:pt x="67" y="443"/>
                </a:moveTo>
                <a:cubicBezTo>
                  <a:pt x="67" y="443"/>
                  <a:pt x="67" y="443"/>
                  <a:pt x="67" y="443"/>
                </a:cubicBezTo>
                <a:cubicBezTo>
                  <a:pt x="67" y="441"/>
                  <a:pt x="69" y="445"/>
                  <a:pt x="67" y="443"/>
                </a:cubicBezTo>
                <a:close/>
                <a:moveTo>
                  <a:pt x="67" y="430"/>
                </a:moveTo>
                <a:cubicBezTo>
                  <a:pt x="67" y="431"/>
                  <a:pt x="66" y="432"/>
                  <a:pt x="66" y="431"/>
                </a:cubicBezTo>
                <a:cubicBezTo>
                  <a:pt x="62" y="428"/>
                  <a:pt x="71" y="428"/>
                  <a:pt x="67" y="430"/>
                </a:cubicBezTo>
                <a:close/>
                <a:moveTo>
                  <a:pt x="68" y="358"/>
                </a:moveTo>
                <a:cubicBezTo>
                  <a:pt x="65" y="360"/>
                  <a:pt x="65" y="354"/>
                  <a:pt x="67" y="355"/>
                </a:cubicBezTo>
                <a:cubicBezTo>
                  <a:pt x="69" y="355"/>
                  <a:pt x="68" y="357"/>
                  <a:pt x="68" y="358"/>
                </a:cubicBezTo>
                <a:close/>
                <a:moveTo>
                  <a:pt x="80" y="396"/>
                </a:moveTo>
                <a:cubicBezTo>
                  <a:pt x="79" y="397"/>
                  <a:pt x="80" y="395"/>
                  <a:pt x="80" y="396"/>
                </a:cubicBezTo>
                <a:close/>
                <a:moveTo>
                  <a:pt x="76" y="428"/>
                </a:moveTo>
                <a:cubicBezTo>
                  <a:pt x="76" y="428"/>
                  <a:pt x="76" y="428"/>
                  <a:pt x="76" y="428"/>
                </a:cubicBezTo>
                <a:cubicBezTo>
                  <a:pt x="77" y="427"/>
                  <a:pt x="76" y="428"/>
                  <a:pt x="76" y="428"/>
                </a:cubicBezTo>
                <a:close/>
                <a:moveTo>
                  <a:pt x="76" y="353"/>
                </a:moveTo>
                <a:cubicBezTo>
                  <a:pt x="76" y="355"/>
                  <a:pt x="75" y="355"/>
                  <a:pt x="75" y="356"/>
                </a:cubicBezTo>
                <a:cubicBezTo>
                  <a:pt x="74" y="355"/>
                  <a:pt x="76" y="354"/>
                  <a:pt x="76" y="353"/>
                </a:cubicBezTo>
                <a:close/>
                <a:moveTo>
                  <a:pt x="75" y="387"/>
                </a:moveTo>
                <a:cubicBezTo>
                  <a:pt x="74" y="387"/>
                  <a:pt x="77" y="386"/>
                  <a:pt x="75" y="387"/>
                </a:cubicBezTo>
                <a:close/>
                <a:moveTo>
                  <a:pt x="73" y="290"/>
                </a:moveTo>
                <a:cubicBezTo>
                  <a:pt x="73" y="291"/>
                  <a:pt x="73" y="292"/>
                  <a:pt x="72" y="293"/>
                </a:cubicBezTo>
                <a:cubicBezTo>
                  <a:pt x="72" y="292"/>
                  <a:pt x="73" y="290"/>
                  <a:pt x="73" y="290"/>
                </a:cubicBezTo>
                <a:close/>
                <a:moveTo>
                  <a:pt x="69" y="327"/>
                </a:moveTo>
                <a:cubicBezTo>
                  <a:pt x="69" y="326"/>
                  <a:pt x="71" y="325"/>
                  <a:pt x="72" y="324"/>
                </a:cubicBezTo>
                <a:cubicBezTo>
                  <a:pt x="72" y="326"/>
                  <a:pt x="70" y="326"/>
                  <a:pt x="69" y="327"/>
                </a:cubicBezTo>
                <a:close/>
                <a:moveTo>
                  <a:pt x="72" y="428"/>
                </a:moveTo>
                <a:cubicBezTo>
                  <a:pt x="70" y="430"/>
                  <a:pt x="71" y="426"/>
                  <a:pt x="72" y="427"/>
                </a:cubicBezTo>
                <a:cubicBezTo>
                  <a:pt x="73" y="427"/>
                  <a:pt x="73" y="428"/>
                  <a:pt x="72" y="428"/>
                </a:cubicBezTo>
                <a:close/>
                <a:moveTo>
                  <a:pt x="72" y="367"/>
                </a:moveTo>
                <a:cubicBezTo>
                  <a:pt x="72" y="367"/>
                  <a:pt x="72" y="368"/>
                  <a:pt x="72" y="368"/>
                </a:cubicBezTo>
                <a:cubicBezTo>
                  <a:pt x="71" y="369"/>
                  <a:pt x="71" y="366"/>
                  <a:pt x="72" y="367"/>
                </a:cubicBezTo>
                <a:close/>
                <a:moveTo>
                  <a:pt x="73" y="356"/>
                </a:moveTo>
                <a:cubicBezTo>
                  <a:pt x="70" y="358"/>
                  <a:pt x="71" y="351"/>
                  <a:pt x="73" y="352"/>
                </a:cubicBezTo>
                <a:cubicBezTo>
                  <a:pt x="75" y="353"/>
                  <a:pt x="73" y="356"/>
                  <a:pt x="73" y="356"/>
                </a:cubicBezTo>
                <a:close/>
                <a:moveTo>
                  <a:pt x="75" y="401"/>
                </a:moveTo>
                <a:cubicBezTo>
                  <a:pt x="73" y="402"/>
                  <a:pt x="73" y="397"/>
                  <a:pt x="75" y="398"/>
                </a:cubicBezTo>
                <a:cubicBezTo>
                  <a:pt x="76" y="399"/>
                  <a:pt x="76" y="400"/>
                  <a:pt x="75" y="401"/>
                </a:cubicBezTo>
                <a:close/>
                <a:moveTo>
                  <a:pt x="76" y="434"/>
                </a:moveTo>
                <a:cubicBezTo>
                  <a:pt x="77" y="432"/>
                  <a:pt x="79" y="430"/>
                  <a:pt x="80" y="429"/>
                </a:cubicBezTo>
                <a:cubicBezTo>
                  <a:pt x="79" y="431"/>
                  <a:pt x="78" y="432"/>
                  <a:pt x="76" y="434"/>
                </a:cubicBezTo>
                <a:close/>
                <a:moveTo>
                  <a:pt x="81" y="418"/>
                </a:moveTo>
                <a:cubicBezTo>
                  <a:pt x="80" y="418"/>
                  <a:pt x="82" y="417"/>
                  <a:pt x="81" y="418"/>
                </a:cubicBezTo>
                <a:close/>
                <a:moveTo>
                  <a:pt x="81" y="339"/>
                </a:moveTo>
                <a:cubicBezTo>
                  <a:pt x="80" y="339"/>
                  <a:pt x="81" y="337"/>
                  <a:pt x="82" y="337"/>
                </a:cubicBezTo>
                <a:cubicBezTo>
                  <a:pt x="82" y="338"/>
                  <a:pt x="81" y="338"/>
                  <a:pt x="81" y="339"/>
                </a:cubicBezTo>
                <a:close/>
                <a:moveTo>
                  <a:pt x="87" y="450"/>
                </a:moveTo>
                <a:cubicBezTo>
                  <a:pt x="87" y="450"/>
                  <a:pt x="88" y="449"/>
                  <a:pt x="89" y="449"/>
                </a:cubicBezTo>
                <a:cubicBezTo>
                  <a:pt x="89" y="449"/>
                  <a:pt x="88" y="450"/>
                  <a:pt x="87" y="450"/>
                </a:cubicBezTo>
                <a:close/>
                <a:moveTo>
                  <a:pt x="90" y="457"/>
                </a:moveTo>
                <a:cubicBezTo>
                  <a:pt x="90" y="457"/>
                  <a:pt x="90" y="457"/>
                  <a:pt x="90" y="456"/>
                </a:cubicBezTo>
                <a:cubicBezTo>
                  <a:pt x="92" y="455"/>
                  <a:pt x="91" y="456"/>
                  <a:pt x="90" y="457"/>
                </a:cubicBezTo>
                <a:close/>
                <a:moveTo>
                  <a:pt x="91" y="435"/>
                </a:moveTo>
                <a:cubicBezTo>
                  <a:pt x="89" y="437"/>
                  <a:pt x="92" y="434"/>
                  <a:pt x="91" y="435"/>
                </a:cubicBezTo>
                <a:close/>
                <a:moveTo>
                  <a:pt x="109" y="452"/>
                </a:moveTo>
                <a:cubicBezTo>
                  <a:pt x="109" y="453"/>
                  <a:pt x="108" y="452"/>
                  <a:pt x="109" y="452"/>
                </a:cubicBezTo>
                <a:close/>
                <a:moveTo>
                  <a:pt x="104" y="235"/>
                </a:moveTo>
                <a:cubicBezTo>
                  <a:pt x="103" y="236"/>
                  <a:pt x="105" y="234"/>
                  <a:pt x="104" y="235"/>
                </a:cubicBezTo>
                <a:close/>
                <a:moveTo>
                  <a:pt x="100" y="336"/>
                </a:moveTo>
                <a:cubicBezTo>
                  <a:pt x="101" y="335"/>
                  <a:pt x="101" y="335"/>
                  <a:pt x="100" y="336"/>
                </a:cubicBezTo>
                <a:close/>
                <a:moveTo>
                  <a:pt x="98" y="332"/>
                </a:moveTo>
                <a:cubicBezTo>
                  <a:pt x="97" y="331"/>
                  <a:pt x="100" y="331"/>
                  <a:pt x="98" y="332"/>
                </a:cubicBezTo>
                <a:close/>
                <a:moveTo>
                  <a:pt x="96" y="215"/>
                </a:moveTo>
                <a:cubicBezTo>
                  <a:pt x="97" y="215"/>
                  <a:pt x="97" y="216"/>
                  <a:pt x="96" y="217"/>
                </a:cubicBezTo>
                <a:cubicBezTo>
                  <a:pt x="95" y="219"/>
                  <a:pt x="95" y="214"/>
                  <a:pt x="96" y="215"/>
                </a:cubicBezTo>
                <a:close/>
                <a:moveTo>
                  <a:pt x="87" y="329"/>
                </a:moveTo>
                <a:cubicBezTo>
                  <a:pt x="87" y="330"/>
                  <a:pt x="86" y="330"/>
                  <a:pt x="86" y="331"/>
                </a:cubicBezTo>
                <a:cubicBezTo>
                  <a:pt x="85" y="331"/>
                  <a:pt x="86" y="329"/>
                  <a:pt x="87" y="329"/>
                </a:cubicBezTo>
                <a:close/>
                <a:moveTo>
                  <a:pt x="85" y="293"/>
                </a:moveTo>
                <a:cubicBezTo>
                  <a:pt x="85" y="293"/>
                  <a:pt x="85" y="294"/>
                  <a:pt x="85" y="294"/>
                </a:cubicBezTo>
                <a:cubicBezTo>
                  <a:pt x="83" y="296"/>
                  <a:pt x="83" y="291"/>
                  <a:pt x="85" y="293"/>
                </a:cubicBezTo>
                <a:close/>
                <a:moveTo>
                  <a:pt x="84" y="332"/>
                </a:moveTo>
                <a:cubicBezTo>
                  <a:pt x="86" y="333"/>
                  <a:pt x="84" y="335"/>
                  <a:pt x="82" y="336"/>
                </a:cubicBezTo>
                <a:cubicBezTo>
                  <a:pt x="83" y="334"/>
                  <a:pt x="85" y="333"/>
                  <a:pt x="84" y="332"/>
                </a:cubicBezTo>
                <a:close/>
                <a:moveTo>
                  <a:pt x="83" y="441"/>
                </a:moveTo>
                <a:cubicBezTo>
                  <a:pt x="82" y="442"/>
                  <a:pt x="84" y="440"/>
                  <a:pt x="83" y="441"/>
                </a:cubicBezTo>
                <a:close/>
                <a:moveTo>
                  <a:pt x="84" y="423"/>
                </a:moveTo>
                <a:cubicBezTo>
                  <a:pt x="83" y="424"/>
                  <a:pt x="84" y="421"/>
                  <a:pt x="85" y="422"/>
                </a:cubicBezTo>
                <a:cubicBezTo>
                  <a:pt x="86" y="422"/>
                  <a:pt x="85" y="423"/>
                  <a:pt x="84" y="423"/>
                </a:cubicBezTo>
                <a:close/>
                <a:moveTo>
                  <a:pt x="88" y="356"/>
                </a:moveTo>
                <a:cubicBezTo>
                  <a:pt x="86" y="358"/>
                  <a:pt x="87" y="353"/>
                  <a:pt x="88" y="354"/>
                </a:cubicBezTo>
                <a:cubicBezTo>
                  <a:pt x="89" y="355"/>
                  <a:pt x="88" y="356"/>
                  <a:pt x="88" y="356"/>
                </a:cubicBezTo>
                <a:close/>
                <a:moveTo>
                  <a:pt x="96" y="325"/>
                </a:moveTo>
                <a:cubicBezTo>
                  <a:pt x="96" y="326"/>
                  <a:pt x="95" y="326"/>
                  <a:pt x="94" y="328"/>
                </a:cubicBezTo>
                <a:cubicBezTo>
                  <a:pt x="92" y="330"/>
                  <a:pt x="89" y="335"/>
                  <a:pt x="87" y="340"/>
                </a:cubicBezTo>
                <a:cubicBezTo>
                  <a:pt x="85" y="344"/>
                  <a:pt x="85" y="347"/>
                  <a:pt x="83" y="350"/>
                </a:cubicBezTo>
                <a:cubicBezTo>
                  <a:pt x="83" y="350"/>
                  <a:pt x="82" y="350"/>
                  <a:pt x="82" y="350"/>
                </a:cubicBezTo>
                <a:cubicBezTo>
                  <a:pt x="81" y="350"/>
                  <a:pt x="84" y="344"/>
                  <a:pt x="85" y="342"/>
                </a:cubicBezTo>
                <a:cubicBezTo>
                  <a:pt x="86" y="339"/>
                  <a:pt x="87" y="337"/>
                  <a:pt x="89" y="334"/>
                </a:cubicBezTo>
                <a:cubicBezTo>
                  <a:pt x="90" y="332"/>
                  <a:pt x="93" y="329"/>
                  <a:pt x="93" y="326"/>
                </a:cubicBezTo>
                <a:cubicBezTo>
                  <a:pt x="93" y="326"/>
                  <a:pt x="92" y="325"/>
                  <a:pt x="92" y="324"/>
                </a:cubicBezTo>
                <a:cubicBezTo>
                  <a:pt x="92" y="320"/>
                  <a:pt x="99" y="320"/>
                  <a:pt x="96" y="325"/>
                </a:cubicBezTo>
                <a:close/>
                <a:moveTo>
                  <a:pt x="96" y="227"/>
                </a:moveTo>
                <a:cubicBezTo>
                  <a:pt x="97" y="227"/>
                  <a:pt x="97" y="228"/>
                  <a:pt x="97" y="229"/>
                </a:cubicBezTo>
                <a:cubicBezTo>
                  <a:pt x="96" y="230"/>
                  <a:pt x="96" y="227"/>
                  <a:pt x="96" y="227"/>
                </a:cubicBezTo>
                <a:close/>
                <a:moveTo>
                  <a:pt x="98" y="402"/>
                </a:moveTo>
                <a:cubicBezTo>
                  <a:pt x="98" y="402"/>
                  <a:pt x="98" y="402"/>
                  <a:pt x="97" y="402"/>
                </a:cubicBezTo>
                <a:cubicBezTo>
                  <a:pt x="95" y="401"/>
                  <a:pt x="100" y="400"/>
                  <a:pt x="98" y="402"/>
                </a:cubicBezTo>
                <a:close/>
                <a:moveTo>
                  <a:pt x="99" y="416"/>
                </a:moveTo>
                <a:cubicBezTo>
                  <a:pt x="101" y="416"/>
                  <a:pt x="100" y="421"/>
                  <a:pt x="99" y="422"/>
                </a:cubicBezTo>
                <a:cubicBezTo>
                  <a:pt x="94" y="424"/>
                  <a:pt x="98" y="416"/>
                  <a:pt x="99" y="416"/>
                </a:cubicBezTo>
                <a:close/>
                <a:moveTo>
                  <a:pt x="101" y="433"/>
                </a:moveTo>
                <a:cubicBezTo>
                  <a:pt x="103" y="434"/>
                  <a:pt x="100" y="438"/>
                  <a:pt x="100" y="439"/>
                </a:cubicBezTo>
                <a:cubicBezTo>
                  <a:pt x="94" y="441"/>
                  <a:pt x="98" y="431"/>
                  <a:pt x="101" y="433"/>
                </a:cubicBezTo>
                <a:close/>
                <a:moveTo>
                  <a:pt x="100" y="444"/>
                </a:moveTo>
                <a:cubicBezTo>
                  <a:pt x="101" y="443"/>
                  <a:pt x="99" y="445"/>
                  <a:pt x="100" y="444"/>
                </a:cubicBezTo>
                <a:close/>
                <a:moveTo>
                  <a:pt x="102" y="444"/>
                </a:moveTo>
                <a:cubicBezTo>
                  <a:pt x="102" y="445"/>
                  <a:pt x="101" y="445"/>
                  <a:pt x="101" y="445"/>
                </a:cubicBezTo>
                <a:cubicBezTo>
                  <a:pt x="99" y="443"/>
                  <a:pt x="104" y="442"/>
                  <a:pt x="102" y="444"/>
                </a:cubicBezTo>
                <a:close/>
                <a:moveTo>
                  <a:pt x="102" y="431"/>
                </a:moveTo>
                <a:cubicBezTo>
                  <a:pt x="100" y="432"/>
                  <a:pt x="100" y="428"/>
                  <a:pt x="102" y="429"/>
                </a:cubicBezTo>
                <a:cubicBezTo>
                  <a:pt x="103" y="429"/>
                  <a:pt x="103" y="430"/>
                  <a:pt x="102" y="431"/>
                </a:cubicBezTo>
                <a:close/>
                <a:moveTo>
                  <a:pt x="103" y="445"/>
                </a:moveTo>
                <a:cubicBezTo>
                  <a:pt x="102" y="447"/>
                  <a:pt x="105" y="444"/>
                  <a:pt x="103" y="445"/>
                </a:cubicBezTo>
                <a:close/>
                <a:moveTo>
                  <a:pt x="104" y="399"/>
                </a:moveTo>
                <a:cubicBezTo>
                  <a:pt x="103" y="399"/>
                  <a:pt x="103" y="397"/>
                  <a:pt x="104" y="398"/>
                </a:cubicBezTo>
                <a:cubicBezTo>
                  <a:pt x="104" y="398"/>
                  <a:pt x="104" y="399"/>
                  <a:pt x="104" y="399"/>
                </a:cubicBezTo>
                <a:close/>
                <a:moveTo>
                  <a:pt x="104" y="288"/>
                </a:moveTo>
                <a:cubicBezTo>
                  <a:pt x="103" y="290"/>
                  <a:pt x="105" y="287"/>
                  <a:pt x="104" y="288"/>
                </a:cubicBezTo>
                <a:close/>
                <a:moveTo>
                  <a:pt x="105" y="307"/>
                </a:moveTo>
                <a:cubicBezTo>
                  <a:pt x="104" y="306"/>
                  <a:pt x="106" y="303"/>
                  <a:pt x="107" y="302"/>
                </a:cubicBezTo>
                <a:cubicBezTo>
                  <a:pt x="107" y="304"/>
                  <a:pt x="106" y="306"/>
                  <a:pt x="105" y="307"/>
                </a:cubicBezTo>
                <a:close/>
                <a:moveTo>
                  <a:pt x="106" y="414"/>
                </a:moveTo>
                <a:cubicBezTo>
                  <a:pt x="106" y="413"/>
                  <a:pt x="108" y="413"/>
                  <a:pt x="106" y="414"/>
                </a:cubicBezTo>
                <a:close/>
                <a:moveTo>
                  <a:pt x="108" y="455"/>
                </a:moveTo>
                <a:cubicBezTo>
                  <a:pt x="107" y="454"/>
                  <a:pt x="109" y="454"/>
                  <a:pt x="108" y="455"/>
                </a:cubicBezTo>
                <a:close/>
                <a:moveTo>
                  <a:pt x="107" y="441"/>
                </a:moveTo>
                <a:cubicBezTo>
                  <a:pt x="106" y="441"/>
                  <a:pt x="108" y="440"/>
                  <a:pt x="108" y="440"/>
                </a:cubicBezTo>
                <a:cubicBezTo>
                  <a:pt x="108" y="440"/>
                  <a:pt x="107" y="440"/>
                  <a:pt x="107" y="441"/>
                </a:cubicBezTo>
                <a:close/>
                <a:moveTo>
                  <a:pt x="108" y="388"/>
                </a:moveTo>
                <a:cubicBezTo>
                  <a:pt x="107" y="390"/>
                  <a:pt x="107" y="386"/>
                  <a:pt x="108" y="387"/>
                </a:cubicBezTo>
                <a:cubicBezTo>
                  <a:pt x="109" y="387"/>
                  <a:pt x="108" y="388"/>
                  <a:pt x="108" y="388"/>
                </a:cubicBezTo>
                <a:close/>
                <a:moveTo>
                  <a:pt x="109" y="420"/>
                </a:moveTo>
                <a:cubicBezTo>
                  <a:pt x="109" y="421"/>
                  <a:pt x="109" y="418"/>
                  <a:pt x="109" y="420"/>
                </a:cubicBezTo>
                <a:close/>
                <a:moveTo>
                  <a:pt x="108" y="301"/>
                </a:moveTo>
                <a:cubicBezTo>
                  <a:pt x="107" y="300"/>
                  <a:pt x="108" y="298"/>
                  <a:pt x="110" y="298"/>
                </a:cubicBezTo>
                <a:cubicBezTo>
                  <a:pt x="110" y="299"/>
                  <a:pt x="108" y="300"/>
                  <a:pt x="108" y="301"/>
                </a:cubicBezTo>
                <a:close/>
                <a:moveTo>
                  <a:pt x="110" y="401"/>
                </a:moveTo>
                <a:cubicBezTo>
                  <a:pt x="110" y="401"/>
                  <a:pt x="110" y="401"/>
                  <a:pt x="110" y="401"/>
                </a:cubicBezTo>
                <a:cubicBezTo>
                  <a:pt x="110" y="401"/>
                  <a:pt x="110" y="400"/>
                  <a:pt x="110" y="401"/>
                </a:cubicBezTo>
                <a:close/>
                <a:moveTo>
                  <a:pt x="69" y="513"/>
                </a:moveTo>
                <a:cubicBezTo>
                  <a:pt x="69" y="513"/>
                  <a:pt x="70" y="512"/>
                  <a:pt x="70" y="512"/>
                </a:cubicBezTo>
                <a:cubicBezTo>
                  <a:pt x="70" y="513"/>
                  <a:pt x="69" y="513"/>
                  <a:pt x="69" y="513"/>
                </a:cubicBezTo>
                <a:close/>
                <a:moveTo>
                  <a:pt x="73" y="498"/>
                </a:moveTo>
                <a:cubicBezTo>
                  <a:pt x="73" y="497"/>
                  <a:pt x="74" y="496"/>
                  <a:pt x="75" y="496"/>
                </a:cubicBezTo>
                <a:cubicBezTo>
                  <a:pt x="75" y="497"/>
                  <a:pt x="74" y="498"/>
                  <a:pt x="73" y="498"/>
                </a:cubicBezTo>
                <a:close/>
                <a:moveTo>
                  <a:pt x="76" y="499"/>
                </a:moveTo>
                <a:cubicBezTo>
                  <a:pt x="76" y="500"/>
                  <a:pt x="77" y="498"/>
                  <a:pt x="76" y="499"/>
                </a:cubicBezTo>
                <a:close/>
                <a:moveTo>
                  <a:pt x="87" y="502"/>
                </a:moveTo>
                <a:cubicBezTo>
                  <a:pt x="86" y="500"/>
                  <a:pt x="89" y="499"/>
                  <a:pt x="87" y="502"/>
                </a:cubicBezTo>
                <a:close/>
                <a:moveTo>
                  <a:pt x="100" y="477"/>
                </a:moveTo>
                <a:cubicBezTo>
                  <a:pt x="101" y="479"/>
                  <a:pt x="100" y="481"/>
                  <a:pt x="100" y="483"/>
                </a:cubicBezTo>
                <a:cubicBezTo>
                  <a:pt x="99" y="481"/>
                  <a:pt x="99" y="479"/>
                  <a:pt x="100" y="477"/>
                </a:cubicBezTo>
                <a:close/>
                <a:moveTo>
                  <a:pt x="100" y="502"/>
                </a:moveTo>
                <a:cubicBezTo>
                  <a:pt x="97" y="499"/>
                  <a:pt x="102" y="497"/>
                  <a:pt x="104" y="496"/>
                </a:cubicBezTo>
                <a:cubicBezTo>
                  <a:pt x="105" y="499"/>
                  <a:pt x="102" y="505"/>
                  <a:pt x="100" y="502"/>
                </a:cubicBezTo>
                <a:close/>
                <a:moveTo>
                  <a:pt x="144" y="546"/>
                </a:moveTo>
                <a:cubicBezTo>
                  <a:pt x="143" y="546"/>
                  <a:pt x="144" y="546"/>
                  <a:pt x="144" y="545"/>
                </a:cubicBezTo>
                <a:cubicBezTo>
                  <a:pt x="143" y="542"/>
                  <a:pt x="147" y="545"/>
                  <a:pt x="144" y="546"/>
                </a:cubicBezTo>
                <a:close/>
                <a:moveTo>
                  <a:pt x="196" y="598"/>
                </a:moveTo>
                <a:cubicBezTo>
                  <a:pt x="196" y="598"/>
                  <a:pt x="198" y="597"/>
                  <a:pt x="198" y="598"/>
                </a:cubicBezTo>
                <a:cubicBezTo>
                  <a:pt x="198" y="599"/>
                  <a:pt x="197" y="599"/>
                  <a:pt x="196" y="598"/>
                </a:cubicBezTo>
                <a:close/>
                <a:moveTo>
                  <a:pt x="199" y="607"/>
                </a:moveTo>
                <a:cubicBezTo>
                  <a:pt x="198" y="607"/>
                  <a:pt x="198" y="607"/>
                  <a:pt x="198" y="607"/>
                </a:cubicBezTo>
                <a:cubicBezTo>
                  <a:pt x="198" y="605"/>
                  <a:pt x="200" y="608"/>
                  <a:pt x="199" y="607"/>
                </a:cubicBezTo>
                <a:close/>
                <a:moveTo>
                  <a:pt x="203" y="609"/>
                </a:moveTo>
                <a:cubicBezTo>
                  <a:pt x="203" y="608"/>
                  <a:pt x="205" y="608"/>
                  <a:pt x="205" y="609"/>
                </a:cubicBezTo>
                <a:cubicBezTo>
                  <a:pt x="205" y="609"/>
                  <a:pt x="203" y="610"/>
                  <a:pt x="203" y="609"/>
                </a:cubicBezTo>
                <a:close/>
                <a:moveTo>
                  <a:pt x="208" y="600"/>
                </a:moveTo>
                <a:cubicBezTo>
                  <a:pt x="207" y="600"/>
                  <a:pt x="209" y="600"/>
                  <a:pt x="209" y="600"/>
                </a:cubicBezTo>
                <a:cubicBezTo>
                  <a:pt x="209" y="601"/>
                  <a:pt x="208" y="601"/>
                  <a:pt x="208" y="600"/>
                </a:cubicBezTo>
                <a:close/>
                <a:moveTo>
                  <a:pt x="226" y="627"/>
                </a:moveTo>
                <a:cubicBezTo>
                  <a:pt x="225" y="627"/>
                  <a:pt x="223" y="627"/>
                  <a:pt x="224" y="625"/>
                </a:cubicBezTo>
                <a:cubicBezTo>
                  <a:pt x="225" y="624"/>
                  <a:pt x="229" y="624"/>
                  <a:pt x="229" y="625"/>
                </a:cubicBezTo>
                <a:cubicBezTo>
                  <a:pt x="229" y="626"/>
                  <a:pt x="229" y="626"/>
                  <a:pt x="228" y="627"/>
                </a:cubicBezTo>
                <a:cubicBezTo>
                  <a:pt x="229" y="627"/>
                  <a:pt x="229" y="627"/>
                  <a:pt x="229" y="627"/>
                </a:cubicBezTo>
                <a:cubicBezTo>
                  <a:pt x="228" y="628"/>
                  <a:pt x="227" y="628"/>
                  <a:pt x="226" y="627"/>
                </a:cubicBezTo>
                <a:close/>
                <a:moveTo>
                  <a:pt x="229" y="628"/>
                </a:moveTo>
                <a:cubicBezTo>
                  <a:pt x="229" y="628"/>
                  <a:pt x="231" y="628"/>
                  <a:pt x="231" y="628"/>
                </a:cubicBezTo>
                <a:cubicBezTo>
                  <a:pt x="231" y="629"/>
                  <a:pt x="229" y="628"/>
                  <a:pt x="229" y="628"/>
                </a:cubicBezTo>
                <a:close/>
                <a:moveTo>
                  <a:pt x="228" y="653"/>
                </a:moveTo>
                <a:cubicBezTo>
                  <a:pt x="228" y="653"/>
                  <a:pt x="228" y="653"/>
                  <a:pt x="228" y="653"/>
                </a:cubicBezTo>
                <a:cubicBezTo>
                  <a:pt x="228" y="653"/>
                  <a:pt x="228" y="652"/>
                  <a:pt x="228" y="653"/>
                </a:cubicBezTo>
                <a:close/>
                <a:moveTo>
                  <a:pt x="213" y="659"/>
                </a:moveTo>
                <a:cubicBezTo>
                  <a:pt x="213" y="659"/>
                  <a:pt x="213" y="659"/>
                  <a:pt x="213" y="659"/>
                </a:cubicBezTo>
                <a:cubicBezTo>
                  <a:pt x="213" y="659"/>
                  <a:pt x="213" y="659"/>
                  <a:pt x="213" y="659"/>
                </a:cubicBezTo>
                <a:close/>
                <a:moveTo>
                  <a:pt x="213" y="659"/>
                </a:moveTo>
                <a:cubicBezTo>
                  <a:pt x="214" y="659"/>
                  <a:pt x="213" y="659"/>
                  <a:pt x="213" y="659"/>
                </a:cubicBezTo>
                <a:close/>
                <a:moveTo>
                  <a:pt x="213" y="657"/>
                </a:moveTo>
                <a:cubicBezTo>
                  <a:pt x="213" y="656"/>
                  <a:pt x="214" y="656"/>
                  <a:pt x="214" y="656"/>
                </a:cubicBezTo>
                <a:cubicBezTo>
                  <a:pt x="215" y="657"/>
                  <a:pt x="214" y="657"/>
                  <a:pt x="213" y="657"/>
                </a:cubicBezTo>
                <a:close/>
                <a:moveTo>
                  <a:pt x="216" y="659"/>
                </a:moveTo>
                <a:cubicBezTo>
                  <a:pt x="216" y="658"/>
                  <a:pt x="216" y="657"/>
                  <a:pt x="217" y="658"/>
                </a:cubicBezTo>
                <a:cubicBezTo>
                  <a:pt x="216" y="658"/>
                  <a:pt x="218" y="660"/>
                  <a:pt x="218" y="660"/>
                </a:cubicBezTo>
                <a:cubicBezTo>
                  <a:pt x="217" y="661"/>
                  <a:pt x="215" y="661"/>
                  <a:pt x="216" y="659"/>
                </a:cubicBezTo>
                <a:close/>
                <a:moveTo>
                  <a:pt x="223" y="655"/>
                </a:moveTo>
                <a:cubicBezTo>
                  <a:pt x="222" y="654"/>
                  <a:pt x="224" y="654"/>
                  <a:pt x="224" y="655"/>
                </a:cubicBezTo>
                <a:cubicBezTo>
                  <a:pt x="224" y="655"/>
                  <a:pt x="223" y="655"/>
                  <a:pt x="223" y="655"/>
                </a:cubicBezTo>
                <a:close/>
                <a:moveTo>
                  <a:pt x="218" y="655"/>
                </a:moveTo>
                <a:cubicBezTo>
                  <a:pt x="217" y="655"/>
                  <a:pt x="214" y="653"/>
                  <a:pt x="215" y="651"/>
                </a:cubicBezTo>
                <a:cubicBezTo>
                  <a:pt x="216" y="650"/>
                  <a:pt x="220" y="648"/>
                  <a:pt x="222" y="648"/>
                </a:cubicBezTo>
                <a:cubicBezTo>
                  <a:pt x="223" y="649"/>
                  <a:pt x="224" y="649"/>
                  <a:pt x="224" y="650"/>
                </a:cubicBezTo>
                <a:cubicBezTo>
                  <a:pt x="224" y="650"/>
                  <a:pt x="226" y="648"/>
                  <a:pt x="225" y="650"/>
                </a:cubicBezTo>
                <a:cubicBezTo>
                  <a:pt x="225" y="650"/>
                  <a:pt x="223" y="651"/>
                  <a:pt x="223" y="652"/>
                </a:cubicBezTo>
                <a:cubicBezTo>
                  <a:pt x="224" y="652"/>
                  <a:pt x="225" y="651"/>
                  <a:pt x="225" y="652"/>
                </a:cubicBezTo>
                <a:cubicBezTo>
                  <a:pt x="224" y="652"/>
                  <a:pt x="221" y="655"/>
                  <a:pt x="218" y="655"/>
                </a:cubicBezTo>
                <a:close/>
                <a:moveTo>
                  <a:pt x="227" y="665"/>
                </a:moveTo>
                <a:cubicBezTo>
                  <a:pt x="223" y="666"/>
                  <a:pt x="226" y="661"/>
                  <a:pt x="228" y="662"/>
                </a:cubicBezTo>
                <a:cubicBezTo>
                  <a:pt x="229" y="664"/>
                  <a:pt x="228" y="664"/>
                  <a:pt x="227" y="665"/>
                </a:cubicBezTo>
                <a:close/>
                <a:moveTo>
                  <a:pt x="228" y="654"/>
                </a:moveTo>
                <a:cubicBezTo>
                  <a:pt x="227" y="653"/>
                  <a:pt x="230" y="655"/>
                  <a:pt x="228" y="654"/>
                </a:cubicBezTo>
                <a:close/>
                <a:moveTo>
                  <a:pt x="229" y="639"/>
                </a:moveTo>
                <a:cubicBezTo>
                  <a:pt x="228" y="638"/>
                  <a:pt x="231" y="638"/>
                  <a:pt x="231" y="639"/>
                </a:cubicBezTo>
                <a:cubicBezTo>
                  <a:pt x="231" y="639"/>
                  <a:pt x="230" y="640"/>
                  <a:pt x="229" y="639"/>
                </a:cubicBezTo>
                <a:close/>
                <a:moveTo>
                  <a:pt x="215" y="675"/>
                </a:moveTo>
                <a:cubicBezTo>
                  <a:pt x="216" y="673"/>
                  <a:pt x="216" y="675"/>
                  <a:pt x="215" y="675"/>
                </a:cubicBezTo>
                <a:close/>
                <a:moveTo>
                  <a:pt x="219" y="676"/>
                </a:moveTo>
                <a:cubicBezTo>
                  <a:pt x="220" y="675"/>
                  <a:pt x="221" y="676"/>
                  <a:pt x="223" y="676"/>
                </a:cubicBezTo>
                <a:cubicBezTo>
                  <a:pt x="221" y="676"/>
                  <a:pt x="220" y="677"/>
                  <a:pt x="219" y="676"/>
                </a:cubicBezTo>
                <a:close/>
                <a:moveTo>
                  <a:pt x="226" y="676"/>
                </a:moveTo>
                <a:cubicBezTo>
                  <a:pt x="226" y="675"/>
                  <a:pt x="228" y="675"/>
                  <a:pt x="228" y="675"/>
                </a:cubicBezTo>
                <a:cubicBezTo>
                  <a:pt x="228" y="676"/>
                  <a:pt x="226" y="676"/>
                  <a:pt x="226" y="676"/>
                </a:cubicBezTo>
                <a:close/>
                <a:moveTo>
                  <a:pt x="229" y="676"/>
                </a:moveTo>
                <a:cubicBezTo>
                  <a:pt x="229" y="675"/>
                  <a:pt x="230" y="676"/>
                  <a:pt x="230" y="676"/>
                </a:cubicBezTo>
                <a:cubicBezTo>
                  <a:pt x="230" y="676"/>
                  <a:pt x="229" y="677"/>
                  <a:pt x="229" y="676"/>
                </a:cubicBezTo>
                <a:close/>
                <a:moveTo>
                  <a:pt x="234" y="679"/>
                </a:moveTo>
                <a:cubicBezTo>
                  <a:pt x="234" y="678"/>
                  <a:pt x="235" y="678"/>
                  <a:pt x="235" y="678"/>
                </a:cubicBezTo>
                <a:cubicBezTo>
                  <a:pt x="236" y="679"/>
                  <a:pt x="234" y="679"/>
                  <a:pt x="234" y="679"/>
                </a:cubicBezTo>
                <a:close/>
                <a:moveTo>
                  <a:pt x="248" y="692"/>
                </a:moveTo>
                <a:cubicBezTo>
                  <a:pt x="248" y="691"/>
                  <a:pt x="250" y="691"/>
                  <a:pt x="250" y="691"/>
                </a:cubicBezTo>
                <a:cubicBezTo>
                  <a:pt x="251" y="692"/>
                  <a:pt x="249" y="692"/>
                  <a:pt x="248" y="692"/>
                </a:cubicBezTo>
                <a:close/>
                <a:moveTo>
                  <a:pt x="349" y="41"/>
                </a:moveTo>
                <a:cubicBezTo>
                  <a:pt x="348" y="41"/>
                  <a:pt x="345" y="42"/>
                  <a:pt x="344" y="41"/>
                </a:cubicBezTo>
                <a:cubicBezTo>
                  <a:pt x="344" y="40"/>
                  <a:pt x="348" y="40"/>
                  <a:pt x="349" y="41"/>
                </a:cubicBezTo>
                <a:close/>
                <a:moveTo>
                  <a:pt x="343" y="7"/>
                </a:moveTo>
                <a:cubicBezTo>
                  <a:pt x="344" y="6"/>
                  <a:pt x="345" y="8"/>
                  <a:pt x="343" y="7"/>
                </a:cubicBezTo>
                <a:close/>
                <a:moveTo>
                  <a:pt x="342" y="38"/>
                </a:moveTo>
                <a:cubicBezTo>
                  <a:pt x="341" y="38"/>
                  <a:pt x="340" y="37"/>
                  <a:pt x="339" y="38"/>
                </a:cubicBezTo>
                <a:cubicBezTo>
                  <a:pt x="339" y="37"/>
                  <a:pt x="341" y="37"/>
                  <a:pt x="342" y="38"/>
                </a:cubicBezTo>
                <a:close/>
                <a:moveTo>
                  <a:pt x="335" y="37"/>
                </a:moveTo>
                <a:cubicBezTo>
                  <a:pt x="336" y="36"/>
                  <a:pt x="337" y="39"/>
                  <a:pt x="335" y="37"/>
                </a:cubicBezTo>
                <a:close/>
                <a:moveTo>
                  <a:pt x="336" y="97"/>
                </a:move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5" y="96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lose/>
                <a:moveTo>
                  <a:pt x="316" y="49"/>
                </a:moveTo>
                <a:cubicBezTo>
                  <a:pt x="316" y="49"/>
                  <a:pt x="313" y="50"/>
                  <a:pt x="313" y="49"/>
                </a:cubicBezTo>
                <a:cubicBezTo>
                  <a:pt x="312" y="49"/>
                  <a:pt x="315" y="48"/>
                  <a:pt x="316" y="49"/>
                </a:cubicBezTo>
                <a:close/>
                <a:moveTo>
                  <a:pt x="321" y="108"/>
                </a:moveTo>
                <a:cubicBezTo>
                  <a:pt x="319" y="109"/>
                  <a:pt x="315" y="112"/>
                  <a:pt x="311" y="111"/>
                </a:cubicBezTo>
                <a:cubicBezTo>
                  <a:pt x="314" y="109"/>
                  <a:pt x="317" y="109"/>
                  <a:pt x="321" y="108"/>
                </a:cubicBezTo>
                <a:close/>
                <a:moveTo>
                  <a:pt x="320" y="636"/>
                </a:moveTo>
                <a:cubicBezTo>
                  <a:pt x="319" y="636"/>
                  <a:pt x="320" y="635"/>
                  <a:pt x="320" y="635"/>
                </a:cubicBezTo>
                <a:cubicBezTo>
                  <a:pt x="321" y="635"/>
                  <a:pt x="320" y="636"/>
                  <a:pt x="320" y="636"/>
                </a:cubicBezTo>
                <a:close/>
                <a:moveTo>
                  <a:pt x="319" y="620"/>
                </a:moveTo>
                <a:cubicBezTo>
                  <a:pt x="319" y="620"/>
                  <a:pt x="318" y="620"/>
                  <a:pt x="317" y="620"/>
                </a:cubicBezTo>
                <a:cubicBezTo>
                  <a:pt x="318" y="620"/>
                  <a:pt x="319" y="619"/>
                  <a:pt x="319" y="620"/>
                </a:cubicBezTo>
                <a:close/>
                <a:moveTo>
                  <a:pt x="318" y="614"/>
                </a:moveTo>
                <a:cubicBezTo>
                  <a:pt x="317" y="613"/>
                  <a:pt x="319" y="615"/>
                  <a:pt x="318" y="614"/>
                </a:cubicBezTo>
                <a:close/>
                <a:moveTo>
                  <a:pt x="313" y="137"/>
                </a:moveTo>
                <a:cubicBezTo>
                  <a:pt x="312" y="140"/>
                  <a:pt x="312" y="135"/>
                  <a:pt x="312" y="137"/>
                </a:cubicBezTo>
                <a:cubicBezTo>
                  <a:pt x="312" y="137"/>
                  <a:pt x="313" y="137"/>
                  <a:pt x="313" y="137"/>
                </a:cubicBezTo>
                <a:close/>
                <a:moveTo>
                  <a:pt x="311" y="41"/>
                </a:moveTo>
                <a:cubicBezTo>
                  <a:pt x="310" y="42"/>
                  <a:pt x="309" y="40"/>
                  <a:pt x="311" y="41"/>
                </a:cubicBezTo>
                <a:close/>
                <a:moveTo>
                  <a:pt x="309" y="527"/>
                </a:moveTo>
                <a:cubicBezTo>
                  <a:pt x="309" y="528"/>
                  <a:pt x="306" y="529"/>
                  <a:pt x="306" y="527"/>
                </a:cubicBezTo>
                <a:cubicBezTo>
                  <a:pt x="306" y="525"/>
                  <a:pt x="309" y="526"/>
                  <a:pt x="309" y="527"/>
                </a:cubicBezTo>
                <a:close/>
                <a:moveTo>
                  <a:pt x="307" y="61"/>
                </a:moveTo>
                <a:cubicBezTo>
                  <a:pt x="306" y="60"/>
                  <a:pt x="308" y="61"/>
                  <a:pt x="307" y="61"/>
                </a:cubicBezTo>
                <a:close/>
                <a:moveTo>
                  <a:pt x="293" y="53"/>
                </a:moveTo>
                <a:cubicBezTo>
                  <a:pt x="298" y="52"/>
                  <a:pt x="304" y="52"/>
                  <a:pt x="309" y="51"/>
                </a:cubicBezTo>
                <a:cubicBezTo>
                  <a:pt x="304" y="53"/>
                  <a:pt x="299" y="53"/>
                  <a:pt x="293" y="53"/>
                </a:cubicBezTo>
                <a:close/>
                <a:moveTo>
                  <a:pt x="282" y="662"/>
                </a:moveTo>
                <a:cubicBezTo>
                  <a:pt x="281" y="662"/>
                  <a:pt x="279" y="663"/>
                  <a:pt x="277" y="663"/>
                </a:cubicBezTo>
                <a:cubicBezTo>
                  <a:pt x="279" y="662"/>
                  <a:pt x="281" y="661"/>
                  <a:pt x="282" y="662"/>
                </a:cubicBezTo>
                <a:close/>
                <a:moveTo>
                  <a:pt x="278" y="582"/>
                </a:moveTo>
                <a:cubicBezTo>
                  <a:pt x="278" y="581"/>
                  <a:pt x="280" y="581"/>
                  <a:pt x="279" y="582"/>
                </a:cubicBezTo>
                <a:cubicBezTo>
                  <a:pt x="279" y="582"/>
                  <a:pt x="279" y="582"/>
                  <a:pt x="278" y="582"/>
                </a:cubicBezTo>
                <a:close/>
                <a:moveTo>
                  <a:pt x="282" y="582"/>
                </a:moveTo>
                <a:cubicBezTo>
                  <a:pt x="282" y="582"/>
                  <a:pt x="280" y="583"/>
                  <a:pt x="280" y="581"/>
                </a:cubicBezTo>
                <a:cubicBezTo>
                  <a:pt x="280" y="580"/>
                  <a:pt x="282" y="581"/>
                  <a:pt x="282" y="582"/>
                </a:cubicBezTo>
                <a:close/>
                <a:moveTo>
                  <a:pt x="281" y="574"/>
                </a:moveTo>
                <a:cubicBezTo>
                  <a:pt x="281" y="575"/>
                  <a:pt x="280" y="575"/>
                  <a:pt x="280" y="574"/>
                </a:cubicBezTo>
                <a:cubicBezTo>
                  <a:pt x="279" y="574"/>
                  <a:pt x="281" y="573"/>
                  <a:pt x="281" y="574"/>
                </a:cubicBezTo>
                <a:close/>
                <a:moveTo>
                  <a:pt x="294" y="551"/>
                </a:moveTo>
                <a:cubicBezTo>
                  <a:pt x="291" y="553"/>
                  <a:pt x="287" y="555"/>
                  <a:pt x="285" y="556"/>
                </a:cubicBezTo>
                <a:cubicBezTo>
                  <a:pt x="285" y="556"/>
                  <a:pt x="283" y="557"/>
                  <a:pt x="284" y="556"/>
                </a:cubicBezTo>
                <a:cubicBezTo>
                  <a:pt x="286" y="553"/>
                  <a:pt x="291" y="553"/>
                  <a:pt x="294" y="551"/>
                </a:cubicBezTo>
                <a:close/>
                <a:moveTo>
                  <a:pt x="286" y="536"/>
                </a:moveTo>
                <a:cubicBezTo>
                  <a:pt x="286" y="535"/>
                  <a:pt x="286" y="536"/>
                  <a:pt x="286" y="536"/>
                </a:cubicBezTo>
                <a:cubicBezTo>
                  <a:pt x="285" y="536"/>
                  <a:pt x="286" y="535"/>
                  <a:pt x="286" y="536"/>
                </a:cubicBezTo>
                <a:close/>
                <a:moveTo>
                  <a:pt x="287" y="536"/>
                </a:moveTo>
                <a:cubicBezTo>
                  <a:pt x="287" y="534"/>
                  <a:pt x="289" y="534"/>
                  <a:pt x="289" y="536"/>
                </a:cubicBezTo>
                <a:cubicBezTo>
                  <a:pt x="289" y="537"/>
                  <a:pt x="287" y="536"/>
                  <a:pt x="287" y="536"/>
                </a:cubicBezTo>
                <a:close/>
                <a:moveTo>
                  <a:pt x="290" y="512"/>
                </a:moveTo>
                <a:cubicBezTo>
                  <a:pt x="291" y="510"/>
                  <a:pt x="293" y="509"/>
                  <a:pt x="294" y="508"/>
                </a:cubicBezTo>
                <a:cubicBezTo>
                  <a:pt x="294" y="509"/>
                  <a:pt x="292" y="510"/>
                  <a:pt x="290" y="512"/>
                </a:cubicBezTo>
                <a:close/>
                <a:moveTo>
                  <a:pt x="290" y="550"/>
                </a:moveTo>
                <a:cubicBezTo>
                  <a:pt x="290" y="549"/>
                  <a:pt x="291" y="548"/>
                  <a:pt x="292" y="549"/>
                </a:cubicBezTo>
                <a:cubicBezTo>
                  <a:pt x="292" y="550"/>
                  <a:pt x="290" y="551"/>
                  <a:pt x="290" y="550"/>
                </a:cubicBezTo>
                <a:close/>
                <a:moveTo>
                  <a:pt x="287" y="638"/>
                </a:moveTo>
                <a:cubicBezTo>
                  <a:pt x="288" y="637"/>
                  <a:pt x="289" y="637"/>
                  <a:pt x="290" y="637"/>
                </a:cubicBezTo>
                <a:cubicBezTo>
                  <a:pt x="289" y="637"/>
                  <a:pt x="288" y="638"/>
                  <a:pt x="287" y="638"/>
                </a:cubicBezTo>
                <a:close/>
                <a:moveTo>
                  <a:pt x="290" y="640"/>
                </a:moveTo>
                <a:cubicBezTo>
                  <a:pt x="289" y="641"/>
                  <a:pt x="288" y="640"/>
                  <a:pt x="287" y="641"/>
                </a:cubicBezTo>
                <a:cubicBezTo>
                  <a:pt x="287" y="640"/>
                  <a:pt x="289" y="639"/>
                  <a:pt x="290" y="640"/>
                </a:cubicBezTo>
                <a:close/>
                <a:moveTo>
                  <a:pt x="292" y="594"/>
                </a:moveTo>
                <a:cubicBezTo>
                  <a:pt x="292" y="595"/>
                  <a:pt x="288" y="596"/>
                  <a:pt x="288" y="593"/>
                </a:cubicBezTo>
                <a:cubicBezTo>
                  <a:pt x="288" y="591"/>
                  <a:pt x="292" y="592"/>
                  <a:pt x="292" y="594"/>
                </a:cubicBezTo>
                <a:close/>
                <a:moveTo>
                  <a:pt x="288" y="573"/>
                </a:moveTo>
                <a:cubicBezTo>
                  <a:pt x="288" y="572"/>
                  <a:pt x="290" y="571"/>
                  <a:pt x="291" y="571"/>
                </a:cubicBezTo>
                <a:cubicBezTo>
                  <a:pt x="290" y="572"/>
                  <a:pt x="289" y="572"/>
                  <a:pt x="288" y="573"/>
                </a:cubicBezTo>
                <a:close/>
                <a:moveTo>
                  <a:pt x="292" y="571"/>
                </a:moveTo>
                <a:cubicBezTo>
                  <a:pt x="292" y="570"/>
                  <a:pt x="293" y="569"/>
                  <a:pt x="294" y="570"/>
                </a:cubicBezTo>
                <a:cubicBezTo>
                  <a:pt x="294" y="571"/>
                  <a:pt x="292" y="571"/>
                  <a:pt x="292" y="571"/>
                </a:cubicBezTo>
                <a:close/>
                <a:moveTo>
                  <a:pt x="293" y="594"/>
                </a:moveTo>
                <a:cubicBezTo>
                  <a:pt x="293" y="596"/>
                  <a:pt x="291" y="595"/>
                  <a:pt x="293" y="594"/>
                </a:cubicBezTo>
                <a:close/>
                <a:moveTo>
                  <a:pt x="291" y="595"/>
                </a:moveTo>
                <a:cubicBezTo>
                  <a:pt x="290" y="597"/>
                  <a:pt x="288" y="596"/>
                  <a:pt x="291" y="595"/>
                </a:cubicBezTo>
                <a:close/>
                <a:moveTo>
                  <a:pt x="290" y="625"/>
                </a:moveTo>
                <a:cubicBezTo>
                  <a:pt x="291" y="626"/>
                  <a:pt x="290" y="625"/>
                  <a:pt x="290" y="625"/>
                </a:cubicBezTo>
                <a:cubicBezTo>
                  <a:pt x="290" y="625"/>
                  <a:pt x="290" y="625"/>
                  <a:pt x="290" y="625"/>
                </a:cubicBezTo>
                <a:close/>
                <a:moveTo>
                  <a:pt x="289" y="602"/>
                </a:moveTo>
                <a:cubicBezTo>
                  <a:pt x="289" y="601"/>
                  <a:pt x="292" y="601"/>
                  <a:pt x="293" y="601"/>
                </a:cubicBezTo>
                <a:cubicBezTo>
                  <a:pt x="292" y="602"/>
                  <a:pt x="290" y="602"/>
                  <a:pt x="289" y="602"/>
                </a:cubicBezTo>
                <a:close/>
                <a:moveTo>
                  <a:pt x="291" y="634"/>
                </a:moveTo>
                <a:cubicBezTo>
                  <a:pt x="292" y="634"/>
                  <a:pt x="293" y="634"/>
                  <a:pt x="292" y="635"/>
                </a:cubicBezTo>
                <a:cubicBezTo>
                  <a:pt x="292" y="636"/>
                  <a:pt x="291" y="635"/>
                  <a:pt x="291" y="634"/>
                </a:cubicBezTo>
                <a:close/>
                <a:moveTo>
                  <a:pt x="295" y="635"/>
                </a:moveTo>
                <a:cubicBezTo>
                  <a:pt x="294" y="636"/>
                  <a:pt x="293" y="637"/>
                  <a:pt x="291" y="636"/>
                </a:cubicBezTo>
                <a:cubicBezTo>
                  <a:pt x="292" y="636"/>
                  <a:pt x="294" y="636"/>
                  <a:pt x="295" y="635"/>
                </a:cubicBezTo>
                <a:close/>
                <a:moveTo>
                  <a:pt x="293" y="583"/>
                </a:moveTo>
                <a:cubicBezTo>
                  <a:pt x="293" y="583"/>
                  <a:pt x="294" y="583"/>
                  <a:pt x="294" y="583"/>
                </a:cubicBezTo>
                <a:cubicBezTo>
                  <a:pt x="295" y="584"/>
                  <a:pt x="293" y="585"/>
                  <a:pt x="293" y="583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538"/>
                </a:moveTo>
                <a:cubicBezTo>
                  <a:pt x="283" y="538"/>
                  <a:pt x="284" y="537"/>
                  <a:pt x="284" y="537"/>
                </a:cubicBezTo>
                <a:cubicBezTo>
                  <a:pt x="285" y="537"/>
                  <a:pt x="284" y="538"/>
                  <a:pt x="284" y="538"/>
                </a:cubicBezTo>
                <a:close/>
                <a:moveTo>
                  <a:pt x="285" y="588"/>
                </a:moveTo>
                <a:cubicBezTo>
                  <a:pt x="284" y="589"/>
                  <a:pt x="283" y="589"/>
                  <a:pt x="282" y="590"/>
                </a:cubicBezTo>
                <a:cubicBezTo>
                  <a:pt x="282" y="590"/>
                  <a:pt x="284" y="588"/>
                  <a:pt x="285" y="588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612"/>
                </a:moveTo>
                <a:cubicBezTo>
                  <a:pt x="281" y="614"/>
                  <a:pt x="281" y="612"/>
                  <a:pt x="284" y="612"/>
                </a:cubicBezTo>
                <a:close/>
                <a:moveTo>
                  <a:pt x="283" y="648"/>
                </a:moveTo>
                <a:cubicBezTo>
                  <a:pt x="284" y="645"/>
                  <a:pt x="286" y="647"/>
                  <a:pt x="283" y="648"/>
                </a:cubicBezTo>
                <a:close/>
                <a:moveTo>
                  <a:pt x="287" y="661"/>
                </a:moveTo>
                <a:cubicBezTo>
                  <a:pt x="287" y="661"/>
                  <a:pt x="285" y="662"/>
                  <a:pt x="284" y="662"/>
                </a:cubicBezTo>
                <a:cubicBezTo>
                  <a:pt x="284" y="661"/>
                  <a:pt x="287" y="660"/>
                  <a:pt x="287" y="661"/>
                </a:cubicBezTo>
                <a:close/>
                <a:moveTo>
                  <a:pt x="288" y="667"/>
                </a:moveTo>
                <a:cubicBezTo>
                  <a:pt x="288" y="668"/>
                  <a:pt x="286" y="668"/>
                  <a:pt x="286" y="667"/>
                </a:cubicBezTo>
                <a:cubicBezTo>
                  <a:pt x="285" y="666"/>
                  <a:pt x="288" y="666"/>
                  <a:pt x="288" y="667"/>
                </a:cubicBezTo>
                <a:close/>
                <a:moveTo>
                  <a:pt x="287" y="650"/>
                </a:moveTo>
                <a:cubicBezTo>
                  <a:pt x="287" y="648"/>
                  <a:pt x="290" y="647"/>
                  <a:pt x="291" y="649"/>
                </a:cubicBezTo>
                <a:cubicBezTo>
                  <a:pt x="295" y="653"/>
                  <a:pt x="286" y="654"/>
                  <a:pt x="287" y="650"/>
                </a:cubicBezTo>
                <a:close/>
                <a:moveTo>
                  <a:pt x="292" y="691"/>
                </a:moveTo>
                <a:cubicBezTo>
                  <a:pt x="292" y="691"/>
                  <a:pt x="292" y="691"/>
                  <a:pt x="292" y="691"/>
                </a:cubicBezTo>
                <a:cubicBezTo>
                  <a:pt x="292" y="689"/>
                  <a:pt x="294" y="692"/>
                  <a:pt x="292" y="691"/>
                </a:cubicBezTo>
                <a:close/>
                <a:moveTo>
                  <a:pt x="292" y="646"/>
                </a:moveTo>
                <a:cubicBezTo>
                  <a:pt x="290" y="644"/>
                  <a:pt x="297" y="643"/>
                  <a:pt x="294" y="646"/>
                </a:cubicBezTo>
                <a:cubicBezTo>
                  <a:pt x="294" y="646"/>
                  <a:pt x="293" y="646"/>
                  <a:pt x="292" y="646"/>
                </a:cubicBezTo>
                <a:close/>
                <a:moveTo>
                  <a:pt x="294" y="600"/>
                </a:moveTo>
                <a:cubicBezTo>
                  <a:pt x="294" y="600"/>
                  <a:pt x="296" y="599"/>
                  <a:pt x="297" y="599"/>
                </a:cubicBezTo>
                <a:cubicBezTo>
                  <a:pt x="296" y="600"/>
                  <a:pt x="295" y="600"/>
                  <a:pt x="294" y="600"/>
                </a:cubicBezTo>
                <a:close/>
                <a:moveTo>
                  <a:pt x="293" y="530"/>
                </a:moveTo>
                <a:cubicBezTo>
                  <a:pt x="294" y="529"/>
                  <a:pt x="296" y="528"/>
                  <a:pt x="297" y="530"/>
                </a:cubicBezTo>
                <a:cubicBezTo>
                  <a:pt x="298" y="532"/>
                  <a:pt x="293" y="534"/>
                  <a:pt x="293" y="530"/>
                </a:cubicBezTo>
                <a:close/>
                <a:moveTo>
                  <a:pt x="303" y="581"/>
                </a:moveTo>
                <a:cubicBezTo>
                  <a:pt x="303" y="584"/>
                  <a:pt x="298" y="584"/>
                  <a:pt x="297" y="581"/>
                </a:cubicBezTo>
                <a:cubicBezTo>
                  <a:pt x="297" y="578"/>
                  <a:pt x="303" y="579"/>
                  <a:pt x="303" y="581"/>
                </a:cubicBezTo>
                <a:close/>
                <a:moveTo>
                  <a:pt x="298" y="504"/>
                </a:moveTo>
                <a:cubicBezTo>
                  <a:pt x="298" y="503"/>
                  <a:pt x="300" y="504"/>
                  <a:pt x="298" y="504"/>
                </a:cubicBezTo>
                <a:close/>
                <a:moveTo>
                  <a:pt x="300" y="102"/>
                </a:moveTo>
                <a:cubicBezTo>
                  <a:pt x="298" y="103"/>
                  <a:pt x="297" y="101"/>
                  <a:pt x="300" y="102"/>
                </a:cubicBezTo>
                <a:close/>
                <a:moveTo>
                  <a:pt x="299" y="578"/>
                </a:moveTo>
                <a:cubicBezTo>
                  <a:pt x="299" y="578"/>
                  <a:pt x="298" y="579"/>
                  <a:pt x="298" y="578"/>
                </a:cubicBezTo>
                <a:cubicBezTo>
                  <a:pt x="297" y="577"/>
                  <a:pt x="300" y="577"/>
                  <a:pt x="299" y="578"/>
                </a:cubicBezTo>
                <a:close/>
                <a:moveTo>
                  <a:pt x="303" y="67"/>
                </a:moveTo>
                <a:cubicBezTo>
                  <a:pt x="302" y="69"/>
                  <a:pt x="302" y="67"/>
                  <a:pt x="303" y="67"/>
                </a:cubicBezTo>
                <a:close/>
                <a:moveTo>
                  <a:pt x="304" y="592"/>
                </a:moveTo>
                <a:cubicBezTo>
                  <a:pt x="304" y="593"/>
                  <a:pt x="301" y="593"/>
                  <a:pt x="300" y="594"/>
                </a:cubicBezTo>
                <a:cubicBezTo>
                  <a:pt x="301" y="593"/>
                  <a:pt x="303" y="592"/>
                  <a:pt x="304" y="592"/>
                </a:cubicBezTo>
                <a:close/>
                <a:moveTo>
                  <a:pt x="304" y="660"/>
                </a:moveTo>
                <a:cubicBezTo>
                  <a:pt x="304" y="661"/>
                  <a:pt x="304" y="662"/>
                  <a:pt x="304" y="662"/>
                </a:cubicBezTo>
                <a:cubicBezTo>
                  <a:pt x="302" y="664"/>
                  <a:pt x="301" y="659"/>
                  <a:pt x="304" y="660"/>
                </a:cubicBezTo>
                <a:close/>
                <a:moveTo>
                  <a:pt x="308" y="41"/>
                </a:moveTo>
                <a:cubicBezTo>
                  <a:pt x="308" y="41"/>
                  <a:pt x="307" y="42"/>
                  <a:pt x="307" y="42"/>
                </a:cubicBezTo>
                <a:cubicBezTo>
                  <a:pt x="306" y="42"/>
                  <a:pt x="307" y="41"/>
                  <a:pt x="308" y="41"/>
                </a:cubicBezTo>
                <a:close/>
                <a:moveTo>
                  <a:pt x="298" y="26"/>
                </a:moveTo>
                <a:cubicBezTo>
                  <a:pt x="300" y="25"/>
                  <a:pt x="300" y="27"/>
                  <a:pt x="298" y="26"/>
                </a:cubicBezTo>
                <a:close/>
                <a:moveTo>
                  <a:pt x="299" y="30"/>
                </a:moveTo>
                <a:cubicBezTo>
                  <a:pt x="297" y="31"/>
                  <a:pt x="295" y="30"/>
                  <a:pt x="293" y="30"/>
                </a:cubicBezTo>
                <a:cubicBezTo>
                  <a:pt x="295" y="29"/>
                  <a:pt x="297" y="29"/>
                  <a:pt x="299" y="30"/>
                </a:cubicBezTo>
                <a:close/>
                <a:moveTo>
                  <a:pt x="291" y="53"/>
                </a:moveTo>
                <a:cubicBezTo>
                  <a:pt x="287" y="54"/>
                  <a:pt x="283" y="55"/>
                  <a:pt x="279" y="55"/>
                </a:cubicBezTo>
                <a:cubicBezTo>
                  <a:pt x="283" y="54"/>
                  <a:pt x="287" y="53"/>
                  <a:pt x="291" y="53"/>
                </a:cubicBezTo>
                <a:close/>
                <a:moveTo>
                  <a:pt x="288" y="513"/>
                </a:moveTo>
                <a:cubicBezTo>
                  <a:pt x="287" y="513"/>
                  <a:pt x="290" y="512"/>
                  <a:pt x="289" y="512"/>
                </a:cubicBezTo>
                <a:cubicBezTo>
                  <a:pt x="290" y="512"/>
                  <a:pt x="289" y="514"/>
                  <a:pt x="288" y="513"/>
                </a:cubicBezTo>
                <a:close/>
                <a:moveTo>
                  <a:pt x="282" y="526"/>
                </a:moveTo>
                <a:cubicBezTo>
                  <a:pt x="282" y="526"/>
                  <a:pt x="281" y="527"/>
                  <a:pt x="280" y="526"/>
                </a:cubicBezTo>
                <a:cubicBezTo>
                  <a:pt x="280" y="526"/>
                  <a:pt x="282" y="525"/>
                  <a:pt x="282" y="526"/>
                </a:cubicBezTo>
                <a:close/>
                <a:moveTo>
                  <a:pt x="286" y="526"/>
                </a:moveTo>
                <a:cubicBezTo>
                  <a:pt x="286" y="526"/>
                  <a:pt x="291" y="524"/>
                  <a:pt x="290" y="526"/>
                </a:cubicBezTo>
                <a:cubicBezTo>
                  <a:pt x="290" y="527"/>
                  <a:pt x="285" y="527"/>
                  <a:pt x="284" y="527"/>
                </a:cubicBezTo>
                <a:cubicBezTo>
                  <a:pt x="281" y="527"/>
                  <a:pt x="278" y="530"/>
                  <a:pt x="275" y="529"/>
                </a:cubicBezTo>
                <a:cubicBezTo>
                  <a:pt x="276" y="527"/>
                  <a:pt x="284" y="527"/>
                  <a:pt x="286" y="526"/>
                </a:cubicBezTo>
                <a:close/>
                <a:moveTo>
                  <a:pt x="277" y="694"/>
                </a:moveTo>
                <a:cubicBezTo>
                  <a:pt x="277" y="695"/>
                  <a:pt x="275" y="695"/>
                  <a:pt x="275" y="694"/>
                </a:cubicBezTo>
                <a:cubicBezTo>
                  <a:pt x="275" y="693"/>
                  <a:pt x="277" y="694"/>
                  <a:pt x="277" y="694"/>
                </a:cubicBezTo>
                <a:close/>
                <a:moveTo>
                  <a:pt x="266" y="653"/>
                </a:moveTo>
                <a:cubicBezTo>
                  <a:pt x="266" y="653"/>
                  <a:pt x="266" y="652"/>
                  <a:pt x="266" y="651"/>
                </a:cubicBezTo>
                <a:cubicBezTo>
                  <a:pt x="267" y="648"/>
                  <a:pt x="270" y="649"/>
                  <a:pt x="271" y="650"/>
                </a:cubicBezTo>
                <a:cubicBezTo>
                  <a:pt x="271" y="650"/>
                  <a:pt x="271" y="650"/>
                  <a:pt x="271" y="650"/>
                </a:cubicBezTo>
                <a:cubicBezTo>
                  <a:pt x="271" y="650"/>
                  <a:pt x="271" y="650"/>
                  <a:pt x="272" y="650"/>
                </a:cubicBezTo>
                <a:cubicBezTo>
                  <a:pt x="275" y="651"/>
                  <a:pt x="270" y="659"/>
                  <a:pt x="266" y="653"/>
                </a:cubicBezTo>
                <a:close/>
                <a:moveTo>
                  <a:pt x="268" y="657"/>
                </a:moveTo>
                <a:cubicBezTo>
                  <a:pt x="267" y="656"/>
                  <a:pt x="269" y="657"/>
                  <a:pt x="268" y="657"/>
                </a:cubicBezTo>
                <a:close/>
                <a:moveTo>
                  <a:pt x="264" y="633"/>
                </a:moveTo>
                <a:cubicBezTo>
                  <a:pt x="263" y="633"/>
                  <a:pt x="264" y="632"/>
                  <a:pt x="265" y="632"/>
                </a:cubicBezTo>
                <a:cubicBezTo>
                  <a:pt x="265" y="633"/>
                  <a:pt x="264" y="632"/>
                  <a:pt x="264" y="633"/>
                </a:cubicBezTo>
                <a:close/>
                <a:moveTo>
                  <a:pt x="263" y="663"/>
                </a:moveTo>
                <a:cubicBezTo>
                  <a:pt x="265" y="662"/>
                  <a:pt x="265" y="664"/>
                  <a:pt x="263" y="663"/>
                </a:cubicBezTo>
                <a:close/>
                <a:moveTo>
                  <a:pt x="265" y="623"/>
                </a:moveTo>
                <a:cubicBezTo>
                  <a:pt x="267" y="623"/>
                  <a:pt x="269" y="624"/>
                  <a:pt x="269" y="627"/>
                </a:cubicBezTo>
                <a:cubicBezTo>
                  <a:pt x="268" y="625"/>
                  <a:pt x="267" y="628"/>
                  <a:pt x="265" y="629"/>
                </a:cubicBezTo>
                <a:cubicBezTo>
                  <a:pt x="258" y="631"/>
                  <a:pt x="258" y="621"/>
                  <a:pt x="265" y="623"/>
                </a:cubicBezTo>
                <a:close/>
                <a:moveTo>
                  <a:pt x="271" y="560"/>
                </a:moveTo>
                <a:cubicBezTo>
                  <a:pt x="272" y="561"/>
                  <a:pt x="269" y="562"/>
                  <a:pt x="269" y="561"/>
                </a:cubicBezTo>
                <a:cubicBezTo>
                  <a:pt x="269" y="560"/>
                  <a:pt x="271" y="559"/>
                  <a:pt x="271" y="560"/>
                </a:cubicBezTo>
                <a:close/>
                <a:moveTo>
                  <a:pt x="271" y="507"/>
                </a:moveTo>
                <a:cubicBezTo>
                  <a:pt x="271" y="505"/>
                  <a:pt x="271" y="509"/>
                  <a:pt x="271" y="507"/>
                </a:cubicBezTo>
                <a:close/>
                <a:moveTo>
                  <a:pt x="273" y="532"/>
                </a:moveTo>
                <a:cubicBezTo>
                  <a:pt x="273" y="532"/>
                  <a:pt x="273" y="533"/>
                  <a:pt x="273" y="533"/>
                </a:cubicBezTo>
                <a:cubicBezTo>
                  <a:pt x="270" y="531"/>
                  <a:pt x="277" y="530"/>
                  <a:pt x="273" y="532"/>
                </a:cubicBezTo>
                <a:close/>
                <a:moveTo>
                  <a:pt x="273" y="556"/>
                </a:moveTo>
                <a:cubicBezTo>
                  <a:pt x="273" y="555"/>
                  <a:pt x="274" y="555"/>
                  <a:pt x="274" y="555"/>
                </a:cubicBezTo>
                <a:cubicBezTo>
                  <a:pt x="277" y="555"/>
                  <a:pt x="274" y="558"/>
                  <a:pt x="273" y="556"/>
                </a:cubicBezTo>
                <a:close/>
                <a:moveTo>
                  <a:pt x="270" y="624"/>
                </a:moveTo>
                <a:cubicBezTo>
                  <a:pt x="270" y="624"/>
                  <a:pt x="269" y="624"/>
                  <a:pt x="269" y="624"/>
                </a:cubicBezTo>
                <a:cubicBezTo>
                  <a:pt x="269" y="623"/>
                  <a:pt x="271" y="623"/>
                  <a:pt x="270" y="624"/>
                </a:cubicBezTo>
                <a:close/>
                <a:moveTo>
                  <a:pt x="266" y="617"/>
                </a:moveTo>
                <a:cubicBezTo>
                  <a:pt x="266" y="615"/>
                  <a:pt x="269" y="616"/>
                  <a:pt x="269" y="617"/>
                </a:cubicBezTo>
                <a:cubicBezTo>
                  <a:pt x="269" y="618"/>
                  <a:pt x="267" y="618"/>
                  <a:pt x="266" y="617"/>
                </a:cubicBezTo>
                <a:close/>
                <a:moveTo>
                  <a:pt x="271" y="647"/>
                </a:moveTo>
                <a:cubicBezTo>
                  <a:pt x="271" y="648"/>
                  <a:pt x="269" y="648"/>
                  <a:pt x="269" y="647"/>
                </a:cubicBezTo>
                <a:cubicBezTo>
                  <a:pt x="269" y="647"/>
                  <a:pt x="270" y="646"/>
                  <a:pt x="271" y="647"/>
                </a:cubicBezTo>
                <a:close/>
                <a:moveTo>
                  <a:pt x="270" y="628"/>
                </a:moveTo>
                <a:cubicBezTo>
                  <a:pt x="270" y="627"/>
                  <a:pt x="273" y="626"/>
                  <a:pt x="273" y="628"/>
                </a:cubicBezTo>
                <a:cubicBezTo>
                  <a:pt x="273" y="628"/>
                  <a:pt x="270" y="630"/>
                  <a:pt x="270" y="628"/>
                </a:cubicBezTo>
                <a:close/>
                <a:moveTo>
                  <a:pt x="273" y="613"/>
                </a:moveTo>
                <a:cubicBezTo>
                  <a:pt x="273" y="614"/>
                  <a:pt x="271" y="614"/>
                  <a:pt x="271" y="614"/>
                </a:cubicBezTo>
                <a:cubicBezTo>
                  <a:pt x="270" y="613"/>
                  <a:pt x="272" y="613"/>
                  <a:pt x="273" y="613"/>
                </a:cubicBezTo>
                <a:close/>
                <a:moveTo>
                  <a:pt x="270" y="571"/>
                </a:moveTo>
                <a:cubicBezTo>
                  <a:pt x="270" y="571"/>
                  <a:pt x="270" y="571"/>
                  <a:pt x="270" y="571"/>
                </a:cubicBezTo>
                <a:cubicBezTo>
                  <a:pt x="270" y="569"/>
                  <a:pt x="272" y="572"/>
                  <a:pt x="270" y="571"/>
                </a:cubicBezTo>
                <a:close/>
                <a:moveTo>
                  <a:pt x="271" y="564"/>
                </a:moveTo>
                <a:cubicBezTo>
                  <a:pt x="269" y="565"/>
                  <a:pt x="268" y="566"/>
                  <a:pt x="267" y="566"/>
                </a:cubicBezTo>
                <a:cubicBezTo>
                  <a:pt x="268" y="565"/>
                  <a:pt x="269" y="564"/>
                  <a:pt x="271" y="564"/>
                </a:cubicBezTo>
                <a:close/>
                <a:moveTo>
                  <a:pt x="271" y="572"/>
                </a:moveTo>
                <a:cubicBezTo>
                  <a:pt x="269" y="573"/>
                  <a:pt x="269" y="574"/>
                  <a:pt x="271" y="574"/>
                </a:cubicBezTo>
                <a:cubicBezTo>
                  <a:pt x="270" y="576"/>
                  <a:pt x="266" y="579"/>
                  <a:pt x="263" y="577"/>
                </a:cubicBezTo>
                <a:cubicBezTo>
                  <a:pt x="258" y="573"/>
                  <a:pt x="266" y="568"/>
                  <a:pt x="271" y="572"/>
                </a:cubicBezTo>
                <a:close/>
                <a:moveTo>
                  <a:pt x="264" y="612"/>
                </a:moveTo>
                <a:cubicBezTo>
                  <a:pt x="265" y="612"/>
                  <a:pt x="263" y="612"/>
                  <a:pt x="263" y="612"/>
                </a:cubicBezTo>
                <a:cubicBezTo>
                  <a:pt x="263" y="611"/>
                  <a:pt x="264" y="611"/>
                  <a:pt x="264" y="612"/>
                </a:cubicBezTo>
                <a:close/>
                <a:moveTo>
                  <a:pt x="266" y="632"/>
                </a:moveTo>
                <a:cubicBezTo>
                  <a:pt x="266" y="632"/>
                  <a:pt x="266" y="632"/>
                  <a:pt x="266" y="632"/>
                </a:cubicBezTo>
                <a:cubicBezTo>
                  <a:pt x="265" y="630"/>
                  <a:pt x="268" y="633"/>
                  <a:pt x="266" y="632"/>
                </a:cubicBezTo>
                <a:close/>
                <a:moveTo>
                  <a:pt x="276" y="663"/>
                </a:moveTo>
                <a:cubicBezTo>
                  <a:pt x="274" y="664"/>
                  <a:pt x="273" y="665"/>
                  <a:pt x="271" y="665"/>
                </a:cubicBezTo>
                <a:cubicBezTo>
                  <a:pt x="272" y="663"/>
                  <a:pt x="274" y="663"/>
                  <a:pt x="276" y="663"/>
                </a:cubicBezTo>
                <a:close/>
                <a:moveTo>
                  <a:pt x="270" y="486"/>
                </a:moveTo>
                <a:cubicBezTo>
                  <a:pt x="270" y="486"/>
                  <a:pt x="270" y="486"/>
                  <a:pt x="270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0" y="485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lose/>
                <a:moveTo>
                  <a:pt x="274" y="496"/>
                </a:moveTo>
                <a:cubicBezTo>
                  <a:pt x="274" y="499"/>
                  <a:pt x="269" y="498"/>
                  <a:pt x="269" y="496"/>
                </a:cubicBezTo>
                <a:cubicBezTo>
                  <a:pt x="269" y="496"/>
                  <a:pt x="274" y="494"/>
                  <a:pt x="274" y="496"/>
                </a:cubicBezTo>
                <a:close/>
                <a:moveTo>
                  <a:pt x="276" y="504"/>
                </a:moveTo>
                <a:cubicBezTo>
                  <a:pt x="274" y="506"/>
                  <a:pt x="271" y="506"/>
                  <a:pt x="269" y="507"/>
                </a:cubicBezTo>
                <a:cubicBezTo>
                  <a:pt x="270" y="506"/>
                  <a:pt x="274" y="504"/>
                  <a:pt x="276" y="504"/>
                </a:cubicBezTo>
                <a:close/>
                <a:moveTo>
                  <a:pt x="268" y="467"/>
                </a:moveTo>
                <a:cubicBezTo>
                  <a:pt x="268" y="468"/>
                  <a:pt x="268" y="468"/>
                  <a:pt x="267" y="468"/>
                </a:cubicBezTo>
                <a:cubicBezTo>
                  <a:pt x="267" y="468"/>
                  <a:pt x="268" y="467"/>
                  <a:pt x="268" y="467"/>
                </a:cubicBezTo>
                <a:close/>
                <a:moveTo>
                  <a:pt x="267" y="506"/>
                </a:moveTo>
                <a:cubicBezTo>
                  <a:pt x="268" y="506"/>
                  <a:pt x="267" y="507"/>
                  <a:pt x="267" y="507"/>
                </a:cubicBezTo>
                <a:cubicBezTo>
                  <a:pt x="266" y="506"/>
                  <a:pt x="267" y="506"/>
                  <a:pt x="267" y="506"/>
                </a:cubicBezTo>
                <a:close/>
                <a:moveTo>
                  <a:pt x="264" y="562"/>
                </a:moveTo>
                <a:cubicBezTo>
                  <a:pt x="265" y="562"/>
                  <a:pt x="262" y="562"/>
                  <a:pt x="262" y="562"/>
                </a:cubicBezTo>
                <a:cubicBezTo>
                  <a:pt x="262" y="562"/>
                  <a:pt x="264" y="561"/>
                  <a:pt x="264" y="562"/>
                </a:cubicBezTo>
                <a:close/>
                <a:moveTo>
                  <a:pt x="262" y="562"/>
                </a:moveTo>
                <a:cubicBezTo>
                  <a:pt x="261" y="563"/>
                  <a:pt x="260" y="561"/>
                  <a:pt x="262" y="562"/>
                </a:cubicBezTo>
                <a:close/>
                <a:moveTo>
                  <a:pt x="260" y="440"/>
                </a:moveTo>
                <a:cubicBezTo>
                  <a:pt x="261" y="440"/>
                  <a:pt x="260" y="441"/>
                  <a:pt x="260" y="441"/>
                </a:cubicBezTo>
                <a:cubicBezTo>
                  <a:pt x="257" y="443"/>
                  <a:pt x="259" y="439"/>
                  <a:pt x="260" y="440"/>
                </a:cubicBezTo>
                <a:close/>
                <a:moveTo>
                  <a:pt x="257" y="484"/>
                </a:moveTo>
                <a:cubicBezTo>
                  <a:pt x="257" y="484"/>
                  <a:pt x="257" y="483"/>
                  <a:pt x="257" y="483"/>
                </a:cubicBezTo>
                <a:cubicBezTo>
                  <a:pt x="257" y="484"/>
                  <a:pt x="257" y="484"/>
                  <a:pt x="257" y="484"/>
                </a:cubicBezTo>
                <a:cubicBezTo>
                  <a:pt x="257" y="484"/>
                  <a:pt x="257" y="484"/>
                  <a:pt x="257" y="484"/>
                </a:cubicBezTo>
                <a:close/>
                <a:moveTo>
                  <a:pt x="256" y="495"/>
                </a:moveTo>
                <a:cubicBezTo>
                  <a:pt x="255" y="496"/>
                  <a:pt x="255" y="496"/>
                  <a:pt x="254" y="495"/>
                </a:cubicBezTo>
                <a:cubicBezTo>
                  <a:pt x="254" y="494"/>
                  <a:pt x="257" y="494"/>
                  <a:pt x="256" y="495"/>
                </a:cubicBezTo>
                <a:close/>
                <a:moveTo>
                  <a:pt x="252" y="519"/>
                </a:moveTo>
                <a:cubicBezTo>
                  <a:pt x="252" y="519"/>
                  <a:pt x="252" y="520"/>
                  <a:pt x="252" y="520"/>
                </a:cubicBezTo>
                <a:cubicBezTo>
                  <a:pt x="251" y="519"/>
                  <a:pt x="252" y="518"/>
                  <a:pt x="252" y="519"/>
                </a:cubicBezTo>
                <a:close/>
                <a:moveTo>
                  <a:pt x="250" y="460"/>
                </a:moveTo>
                <a:cubicBezTo>
                  <a:pt x="251" y="459"/>
                  <a:pt x="251" y="460"/>
                  <a:pt x="251" y="461"/>
                </a:cubicBezTo>
                <a:cubicBezTo>
                  <a:pt x="250" y="462"/>
                  <a:pt x="249" y="460"/>
                  <a:pt x="250" y="460"/>
                </a:cubicBezTo>
                <a:close/>
                <a:moveTo>
                  <a:pt x="253" y="530"/>
                </a:moveTo>
                <a:cubicBezTo>
                  <a:pt x="254" y="528"/>
                  <a:pt x="259" y="522"/>
                  <a:pt x="261" y="522"/>
                </a:cubicBezTo>
                <a:cubicBezTo>
                  <a:pt x="264" y="521"/>
                  <a:pt x="260" y="524"/>
                  <a:pt x="259" y="524"/>
                </a:cubicBezTo>
                <a:cubicBezTo>
                  <a:pt x="257" y="526"/>
                  <a:pt x="255" y="529"/>
                  <a:pt x="253" y="531"/>
                </a:cubicBezTo>
                <a:cubicBezTo>
                  <a:pt x="253" y="531"/>
                  <a:pt x="253" y="531"/>
                  <a:pt x="253" y="531"/>
                </a:cubicBezTo>
                <a:cubicBezTo>
                  <a:pt x="253" y="531"/>
                  <a:pt x="253" y="532"/>
                  <a:pt x="252" y="532"/>
                </a:cubicBezTo>
                <a:cubicBezTo>
                  <a:pt x="252" y="532"/>
                  <a:pt x="252" y="532"/>
                  <a:pt x="252" y="532"/>
                </a:cubicBezTo>
                <a:cubicBezTo>
                  <a:pt x="251" y="533"/>
                  <a:pt x="251" y="533"/>
                  <a:pt x="250" y="534"/>
                </a:cubicBezTo>
                <a:cubicBezTo>
                  <a:pt x="250" y="534"/>
                  <a:pt x="249" y="533"/>
                  <a:pt x="249" y="533"/>
                </a:cubicBezTo>
                <a:cubicBezTo>
                  <a:pt x="249" y="533"/>
                  <a:pt x="251" y="531"/>
                  <a:pt x="253" y="530"/>
                </a:cubicBezTo>
                <a:close/>
                <a:moveTo>
                  <a:pt x="253" y="640"/>
                </a:moveTo>
                <a:cubicBezTo>
                  <a:pt x="253" y="638"/>
                  <a:pt x="257" y="638"/>
                  <a:pt x="258" y="639"/>
                </a:cubicBezTo>
                <a:cubicBezTo>
                  <a:pt x="259" y="641"/>
                  <a:pt x="254" y="642"/>
                  <a:pt x="253" y="640"/>
                </a:cubicBezTo>
                <a:close/>
                <a:moveTo>
                  <a:pt x="255" y="652"/>
                </a:moveTo>
                <a:cubicBezTo>
                  <a:pt x="256" y="653"/>
                  <a:pt x="254" y="653"/>
                  <a:pt x="254" y="652"/>
                </a:cubicBezTo>
                <a:cubicBezTo>
                  <a:pt x="253" y="651"/>
                  <a:pt x="255" y="651"/>
                  <a:pt x="255" y="652"/>
                </a:cubicBezTo>
                <a:close/>
                <a:moveTo>
                  <a:pt x="240" y="645"/>
                </a:moveTo>
                <a:cubicBezTo>
                  <a:pt x="238" y="644"/>
                  <a:pt x="237" y="642"/>
                  <a:pt x="239" y="640"/>
                </a:cubicBezTo>
                <a:cubicBezTo>
                  <a:pt x="240" y="639"/>
                  <a:pt x="242" y="639"/>
                  <a:pt x="244" y="639"/>
                </a:cubicBezTo>
                <a:cubicBezTo>
                  <a:pt x="245" y="639"/>
                  <a:pt x="247" y="639"/>
                  <a:pt x="247" y="640"/>
                </a:cubicBezTo>
                <a:cubicBezTo>
                  <a:pt x="247" y="640"/>
                  <a:pt x="247" y="640"/>
                  <a:pt x="246" y="640"/>
                </a:cubicBezTo>
                <a:cubicBezTo>
                  <a:pt x="246" y="640"/>
                  <a:pt x="247" y="640"/>
                  <a:pt x="247" y="640"/>
                </a:cubicBezTo>
                <a:cubicBezTo>
                  <a:pt x="247" y="640"/>
                  <a:pt x="247" y="641"/>
                  <a:pt x="247" y="641"/>
                </a:cubicBezTo>
                <a:cubicBezTo>
                  <a:pt x="248" y="642"/>
                  <a:pt x="242" y="646"/>
                  <a:pt x="240" y="645"/>
                </a:cubicBezTo>
                <a:close/>
                <a:moveTo>
                  <a:pt x="241" y="660"/>
                </a:moveTo>
                <a:cubicBezTo>
                  <a:pt x="240" y="661"/>
                  <a:pt x="239" y="660"/>
                  <a:pt x="240" y="659"/>
                </a:cubicBezTo>
                <a:cubicBezTo>
                  <a:pt x="240" y="659"/>
                  <a:pt x="242" y="659"/>
                  <a:pt x="241" y="660"/>
                </a:cubicBezTo>
                <a:close/>
                <a:moveTo>
                  <a:pt x="250" y="593"/>
                </a:moveTo>
                <a:cubicBezTo>
                  <a:pt x="247" y="595"/>
                  <a:pt x="244" y="594"/>
                  <a:pt x="240" y="596"/>
                </a:cubicBezTo>
                <a:cubicBezTo>
                  <a:pt x="243" y="594"/>
                  <a:pt x="247" y="594"/>
                  <a:pt x="250" y="593"/>
                </a:cubicBezTo>
                <a:close/>
                <a:moveTo>
                  <a:pt x="245" y="578"/>
                </a:moveTo>
                <a:cubicBezTo>
                  <a:pt x="246" y="579"/>
                  <a:pt x="245" y="579"/>
                  <a:pt x="245" y="579"/>
                </a:cubicBezTo>
                <a:cubicBezTo>
                  <a:pt x="243" y="581"/>
                  <a:pt x="244" y="577"/>
                  <a:pt x="245" y="578"/>
                </a:cubicBezTo>
                <a:close/>
                <a:moveTo>
                  <a:pt x="253" y="551"/>
                </a:moveTo>
                <a:cubicBezTo>
                  <a:pt x="254" y="550"/>
                  <a:pt x="255" y="549"/>
                  <a:pt x="257" y="549"/>
                </a:cubicBezTo>
                <a:cubicBezTo>
                  <a:pt x="256" y="550"/>
                  <a:pt x="254" y="551"/>
                  <a:pt x="253" y="551"/>
                </a:cubicBezTo>
                <a:close/>
                <a:moveTo>
                  <a:pt x="255" y="555"/>
                </a:moveTo>
                <a:cubicBezTo>
                  <a:pt x="253" y="557"/>
                  <a:pt x="254" y="552"/>
                  <a:pt x="256" y="554"/>
                </a:cubicBezTo>
                <a:cubicBezTo>
                  <a:pt x="257" y="554"/>
                  <a:pt x="256" y="555"/>
                  <a:pt x="255" y="555"/>
                </a:cubicBezTo>
                <a:close/>
                <a:moveTo>
                  <a:pt x="258" y="564"/>
                </a:moveTo>
                <a:cubicBezTo>
                  <a:pt x="258" y="566"/>
                  <a:pt x="252" y="567"/>
                  <a:pt x="252" y="564"/>
                </a:cubicBezTo>
                <a:cubicBezTo>
                  <a:pt x="252" y="561"/>
                  <a:pt x="258" y="562"/>
                  <a:pt x="258" y="564"/>
                </a:cubicBezTo>
                <a:close/>
                <a:moveTo>
                  <a:pt x="257" y="589"/>
                </a:moveTo>
                <a:cubicBezTo>
                  <a:pt x="256" y="590"/>
                  <a:pt x="258" y="588"/>
                  <a:pt x="257" y="589"/>
                </a:cubicBezTo>
                <a:close/>
                <a:moveTo>
                  <a:pt x="254" y="619"/>
                </a:moveTo>
                <a:cubicBezTo>
                  <a:pt x="254" y="619"/>
                  <a:pt x="253" y="619"/>
                  <a:pt x="254" y="619"/>
                </a:cubicBezTo>
                <a:close/>
                <a:moveTo>
                  <a:pt x="254" y="612"/>
                </a:moveTo>
                <a:cubicBezTo>
                  <a:pt x="254" y="612"/>
                  <a:pt x="254" y="613"/>
                  <a:pt x="254" y="613"/>
                </a:cubicBezTo>
                <a:cubicBezTo>
                  <a:pt x="253" y="613"/>
                  <a:pt x="254" y="612"/>
                  <a:pt x="254" y="612"/>
                </a:cubicBezTo>
                <a:close/>
                <a:moveTo>
                  <a:pt x="254" y="619"/>
                </a:moveTo>
                <a:cubicBezTo>
                  <a:pt x="257" y="616"/>
                  <a:pt x="255" y="621"/>
                  <a:pt x="254" y="620"/>
                </a:cubicBezTo>
                <a:cubicBezTo>
                  <a:pt x="254" y="620"/>
                  <a:pt x="254" y="619"/>
                  <a:pt x="254" y="619"/>
                </a:cubicBezTo>
                <a:close/>
                <a:moveTo>
                  <a:pt x="253" y="608"/>
                </a:moveTo>
                <a:cubicBezTo>
                  <a:pt x="250" y="609"/>
                  <a:pt x="255" y="604"/>
                  <a:pt x="257" y="605"/>
                </a:cubicBezTo>
                <a:cubicBezTo>
                  <a:pt x="256" y="605"/>
                  <a:pt x="254" y="607"/>
                  <a:pt x="253" y="608"/>
                </a:cubicBezTo>
                <a:close/>
                <a:moveTo>
                  <a:pt x="255" y="600"/>
                </a:moveTo>
                <a:cubicBezTo>
                  <a:pt x="254" y="602"/>
                  <a:pt x="252" y="601"/>
                  <a:pt x="255" y="600"/>
                </a:cubicBezTo>
                <a:close/>
                <a:moveTo>
                  <a:pt x="256" y="599"/>
                </a:moveTo>
                <a:cubicBezTo>
                  <a:pt x="255" y="599"/>
                  <a:pt x="256" y="598"/>
                  <a:pt x="256" y="599"/>
                </a:cubicBezTo>
                <a:cubicBezTo>
                  <a:pt x="256" y="599"/>
                  <a:pt x="256" y="599"/>
                  <a:pt x="256" y="599"/>
                </a:cubicBezTo>
                <a:close/>
                <a:moveTo>
                  <a:pt x="253" y="571"/>
                </a:moveTo>
                <a:cubicBezTo>
                  <a:pt x="253" y="571"/>
                  <a:pt x="252" y="572"/>
                  <a:pt x="252" y="571"/>
                </a:cubicBezTo>
                <a:cubicBezTo>
                  <a:pt x="251" y="570"/>
                  <a:pt x="253" y="570"/>
                  <a:pt x="253" y="571"/>
                </a:cubicBezTo>
                <a:close/>
                <a:moveTo>
                  <a:pt x="251" y="558"/>
                </a:moveTo>
                <a:cubicBezTo>
                  <a:pt x="251" y="557"/>
                  <a:pt x="253" y="556"/>
                  <a:pt x="253" y="557"/>
                </a:cubicBezTo>
                <a:cubicBezTo>
                  <a:pt x="253" y="558"/>
                  <a:pt x="252" y="558"/>
                  <a:pt x="251" y="558"/>
                </a:cubicBezTo>
                <a:close/>
                <a:moveTo>
                  <a:pt x="246" y="555"/>
                </a:moveTo>
                <a:cubicBezTo>
                  <a:pt x="247" y="553"/>
                  <a:pt x="251" y="552"/>
                  <a:pt x="253" y="551"/>
                </a:cubicBezTo>
                <a:cubicBezTo>
                  <a:pt x="251" y="553"/>
                  <a:pt x="248" y="554"/>
                  <a:pt x="246" y="555"/>
                </a:cubicBezTo>
                <a:close/>
                <a:moveTo>
                  <a:pt x="245" y="613"/>
                </a:moveTo>
                <a:cubicBezTo>
                  <a:pt x="244" y="615"/>
                  <a:pt x="242" y="615"/>
                  <a:pt x="240" y="615"/>
                </a:cubicBezTo>
                <a:cubicBezTo>
                  <a:pt x="241" y="614"/>
                  <a:pt x="243" y="613"/>
                  <a:pt x="244" y="613"/>
                </a:cubicBezTo>
                <a:cubicBezTo>
                  <a:pt x="244" y="613"/>
                  <a:pt x="243" y="613"/>
                  <a:pt x="244" y="612"/>
                </a:cubicBezTo>
                <a:cubicBezTo>
                  <a:pt x="244" y="611"/>
                  <a:pt x="247" y="612"/>
                  <a:pt x="247" y="612"/>
                </a:cubicBezTo>
                <a:cubicBezTo>
                  <a:pt x="247" y="613"/>
                  <a:pt x="246" y="613"/>
                  <a:pt x="245" y="613"/>
                </a:cubicBezTo>
                <a:cubicBezTo>
                  <a:pt x="245" y="613"/>
                  <a:pt x="245" y="613"/>
                  <a:pt x="245" y="613"/>
                </a:cubicBezTo>
                <a:close/>
                <a:moveTo>
                  <a:pt x="241" y="634"/>
                </a:moveTo>
                <a:cubicBezTo>
                  <a:pt x="241" y="634"/>
                  <a:pt x="241" y="634"/>
                  <a:pt x="242" y="634"/>
                </a:cubicBezTo>
                <a:cubicBezTo>
                  <a:pt x="242" y="634"/>
                  <a:pt x="242" y="635"/>
                  <a:pt x="241" y="634"/>
                </a:cubicBezTo>
                <a:close/>
                <a:moveTo>
                  <a:pt x="240" y="485"/>
                </a:moveTo>
                <a:cubicBezTo>
                  <a:pt x="240" y="485"/>
                  <a:pt x="241" y="484"/>
                  <a:pt x="241" y="484"/>
                </a:cubicBezTo>
                <a:cubicBezTo>
                  <a:pt x="241" y="485"/>
                  <a:pt x="240" y="485"/>
                  <a:pt x="240" y="485"/>
                </a:cubicBezTo>
                <a:close/>
                <a:moveTo>
                  <a:pt x="240" y="535"/>
                </a:moveTo>
                <a:cubicBezTo>
                  <a:pt x="240" y="535"/>
                  <a:pt x="240" y="535"/>
                  <a:pt x="239" y="535"/>
                </a:cubicBezTo>
                <a:cubicBezTo>
                  <a:pt x="239" y="535"/>
                  <a:pt x="240" y="534"/>
                  <a:pt x="240" y="535"/>
                </a:cubicBezTo>
                <a:close/>
                <a:moveTo>
                  <a:pt x="243" y="647"/>
                </a:moveTo>
                <a:cubicBezTo>
                  <a:pt x="243" y="646"/>
                  <a:pt x="244" y="647"/>
                  <a:pt x="243" y="647"/>
                </a:cubicBezTo>
                <a:close/>
                <a:moveTo>
                  <a:pt x="243" y="664"/>
                </a:moveTo>
                <a:cubicBezTo>
                  <a:pt x="242" y="665"/>
                  <a:pt x="242" y="663"/>
                  <a:pt x="243" y="664"/>
                </a:cubicBezTo>
                <a:close/>
                <a:moveTo>
                  <a:pt x="244" y="665"/>
                </a:moveTo>
                <a:cubicBezTo>
                  <a:pt x="244" y="666"/>
                  <a:pt x="243" y="666"/>
                  <a:pt x="243" y="666"/>
                </a:cubicBezTo>
                <a:cubicBezTo>
                  <a:pt x="242" y="665"/>
                  <a:pt x="244" y="665"/>
                  <a:pt x="244" y="665"/>
                </a:cubicBezTo>
                <a:close/>
                <a:moveTo>
                  <a:pt x="244" y="658"/>
                </a:moveTo>
                <a:cubicBezTo>
                  <a:pt x="244" y="656"/>
                  <a:pt x="249" y="657"/>
                  <a:pt x="247" y="659"/>
                </a:cubicBezTo>
                <a:cubicBezTo>
                  <a:pt x="247" y="660"/>
                  <a:pt x="244" y="659"/>
                  <a:pt x="244" y="658"/>
                </a:cubicBezTo>
                <a:close/>
                <a:moveTo>
                  <a:pt x="248" y="619"/>
                </a:moveTo>
                <a:cubicBezTo>
                  <a:pt x="246" y="620"/>
                  <a:pt x="246" y="618"/>
                  <a:pt x="248" y="619"/>
                </a:cubicBezTo>
                <a:close/>
                <a:moveTo>
                  <a:pt x="249" y="639"/>
                </a:moveTo>
                <a:cubicBezTo>
                  <a:pt x="250" y="640"/>
                  <a:pt x="249" y="640"/>
                  <a:pt x="249" y="640"/>
                </a:cubicBezTo>
                <a:cubicBezTo>
                  <a:pt x="247" y="642"/>
                  <a:pt x="248" y="638"/>
                  <a:pt x="249" y="639"/>
                </a:cubicBezTo>
                <a:close/>
                <a:moveTo>
                  <a:pt x="249" y="606"/>
                </a:moveTo>
                <a:cubicBezTo>
                  <a:pt x="248" y="605"/>
                  <a:pt x="251" y="605"/>
                  <a:pt x="251" y="605"/>
                </a:cubicBezTo>
                <a:cubicBezTo>
                  <a:pt x="251" y="606"/>
                  <a:pt x="249" y="606"/>
                  <a:pt x="249" y="606"/>
                </a:cubicBezTo>
                <a:close/>
                <a:moveTo>
                  <a:pt x="247" y="598"/>
                </a:moveTo>
                <a:cubicBezTo>
                  <a:pt x="247" y="598"/>
                  <a:pt x="248" y="596"/>
                  <a:pt x="248" y="596"/>
                </a:cubicBezTo>
                <a:cubicBezTo>
                  <a:pt x="249" y="595"/>
                  <a:pt x="250" y="594"/>
                  <a:pt x="251" y="596"/>
                </a:cubicBezTo>
                <a:cubicBezTo>
                  <a:pt x="251" y="596"/>
                  <a:pt x="251" y="596"/>
                  <a:pt x="250" y="597"/>
                </a:cubicBezTo>
                <a:cubicBezTo>
                  <a:pt x="251" y="597"/>
                  <a:pt x="253" y="598"/>
                  <a:pt x="253" y="598"/>
                </a:cubicBezTo>
                <a:cubicBezTo>
                  <a:pt x="254" y="602"/>
                  <a:pt x="247" y="599"/>
                  <a:pt x="247" y="598"/>
                </a:cubicBezTo>
                <a:close/>
                <a:moveTo>
                  <a:pt x="253" y="601"/>
                </a:moveTo>
                <a:cubicBezTo>
                  <a:pt x="253" y="602"/>
                  <a:pt x="252" y="602"/>
                  <a:pt x="251" y="602"/>
                </a:cubicBezTo>
                <a:cubicBezTo>
                  <a:pt x="251" y="602"/>
                  <a:pt x="252" y="601"/>
                  <a:pt x="253" y="601"/>
                </a:cubicBezTo>
                <a:close/>
                <a:moveTo>
                  <a:pt x="253" y="609"/>
                </a:moveTo>
                <a:cubicBezTo>
                  <a:pt x="254" y="609"/>
                  <a:pt x="252" y="610"/>
                  <a:pt x="252" y="610"/>
                </a:cubicBezTo>
                <a:cubicBezTo>
                  <a:pt x="251" y="609"/>
                  <a:pt x="253" y="608"/>
                  <a:pt x="253" y="609"/>
                </a:cubicBezTo>
                <a:close/>
                <a:moveTo>
                  <a:pt x="254" y="650"/>
                </a:moveTo>
                <a:cubicBezTo>
                  <a:pt x="253" y="652"/>
                  <a:pt x="252" y="649"/>
                  <a:pt x="254" y="650"/>
                </a:cubicBezTo>
                <a:close/>
                <a:moveTo>
                  <a:pt x="256" y="592"/>
                </a:moveTo>
                <a:cubicBezTo>
                  <a:pt x="255" y="590"/>
                  <a:pt x="259" y="590"/>
                  <a:pt x="260" y="591"/>
                </a:cubicBezTo>
                <a:cubicBezTo>
                  <a:pt x="260" y="592"/>
                  <a:pt x="256" y="594"/>
                  <a:pt x="256" y="592"/>
                </a:cubicBezTo>
                <a:close/>
                <a:moveTo>
                  <a:pt x="249" y="520"/>
                </a:moveTo>
                <a:cubicBezTo>
                  <a:pt x="249" y="520"/>
                  <a:pt x="249" y="521"/>
                  <a:pt x="249" y="521"/>
                </a:cubicBezTo>
                <a:cubicBezTo>
                  <a:pt x="248" y="522"/>
                  <a:pt x="248" y="519"/>
                  <a:pt x="249" y="520"/>
                </a:cubicBezTo>
                <a:close/>
                <a:moveTo>
                  <a:pt x="249" y="536"/>
                </a:moveTo>
                <a:cubicBezTo>
                  <a:pt x="249" y="538"/>
                  <a:pt x="244" y="540"/>
                  <a:pt x="244" y="536"/>
                </a:cubicBezTo>
                <a:cubicBezTo>
                  <a:pt x="244" y="535"/>
                  <a:pt x="249" y="534"/>
                  <a:pt x="249" y="536"/>
                </a:cubicBezTo>
                <a:close/>
                <a:moveTo>
                  <a:pt x="244" y="450"/>
                </a:moveTo>
                <a:cubicBezTo>
                  <a:pt x="244" y="450"/>
                  <a:pt x="244" y="450"/>
                  <a:pt x="244" y="450"/>
                </a:cubicBezTo>
                <a:cubicBezTo>
                  <a:pt x="243" y="450"/>
                  <a:pt x="244" y="449"/>
                  <a:pt x="244" y="450"/>
                </a:cubicBezTo>
                <a:close/>
                <a:moveTo>
                  <a:pt x="243" y="420"/>
                </a:moveTo>
                <a:cubicBezTo>
                  <a:pt x="243" y="420"/>
                  <a:pt x="243" y="420"/>
                  <a:pt x="243" y="420"/>
                </a:cubicBezTo>
                <a:cubicBezTo>
                  <a:pt x="244" y="420"/>
                  <a:pt x="244" y="420"/>
                  <a:pt x="243" y="420"/>
                </a:cubicBezTo>
                <a:close/>
                <a:moveTo>
                  <a:pt x="241" y="504"/>
                </a:moveTo>
                <a:cubicBezTo>
                  <a:pt x="240" y="502"/>
                  <a:pt x="243" y="504"/>
                  <a:pt x="241" y="504"/>
                </a:cubicBezTo>
                <a:close/>
                <a:moveTo>
                  <a:pt x="235" y="479"/>
                </a:moveTo>
                <a:cubicBezTo>
                  <a:pt x="236" y="477"/>
                  <a:pt x="240" y="471"/>
                  <a:pt x="242" y="470"/>
                </a:cubicBezTo>
                <a:cubicBezTo>
                  <a:pt x="240" y="473"/>
                  <a:pt x="238" y="476"/>
                  <a:pt x="235" y="479"/>
                </a:cubicBezTo>
                <a:close/>
                <a:moveTo>
                  <a:pt x="236" y="507"/>
                </a:moveTo>
                <a:cubicBezTo>
                  <a:pt x="236" y="508"/>
                  <a:pt x="235" y="508"/>
                  <a:pt x="235" y="507"/>
                </a:cubicBezTo>
                <a:cubicBezTo>
                  <a:pt x="235" y="506"/>
                  <a:pt x="236" y="507"/>
                  <a:pt x="236" y="507"/>
                </a:cubicBezTo>
                <a:close/>
                <a:moveTo>
                  <a:pt x="242" y="337"/>
                </a:moveTo>
                <a:cubicBezTo>
                  <a:pt x="240" y="339"/>
                  <a:pt x="238" y="341"/>
                  <a:pt x="235" y="343"/>
                </a:cubicBezTo>
                <a:cubicBezTo>
                  <a:pt x="237" y="341"/>
                  <a:pt x="240" y="338"/>
                  <a:pt x="242" y="337"/>
                </a:cubicBezTo>
                <a:close/>
                <a:moveTo>
                  <a:pt x="235" y="428"/>
                </a:moveTo>
                <a:cubicBezTo>
                  <a:pt x="235" y="427"/>
                  <a:pt x="234" y="429"/>
                  <a:pt x="235" y="428"/>
                </a:cubicBezTo>
                <a:close/>
                <a:moveTo>
                  <a:pt x="236" y="488"/>
                </a:moveTo>
                <a:cubicBezTo>
                  <a:pt x="233" y="491"/>
                  <a:pt x="233" y="494"/>
                  <a:pt x="230" y="496"/>
                </a:cubicBezTo>
                <a:cubicBezTo>
                  <a:pt x="231" y="494"/>
                  <a:pt x="233" y="489"/>
                  <a:pt x="236" y="488"/>
                </a:cubicBezTo>
                <a:close/>
                <a:moveTo>
                  <a:pt x="235" y="529"/>
                </a:moveTo>
                <a:cubicBezTo>
                  <a:pt x="235" y="529"/>
                  <a:pt x="234" y="529"/>
                  <a:pt x="234" y="529"/>
                </a:cubicBezTo>
                <a:cubicBezTo>
                  <a:pt x="234" y="528"/>
                  <a:pt x="235" y="529"/>
                  <a:pt x="235" y="529"/>
                </a:cubicBezTo>
                <a:close/>
                <a:moveTo>
                  <a:pt x="232" y="503"/>
                </a:moveTo>
                <a:cubicBezTo>
                  <a:pt x="232" y="504"/>
                  <a:pt x="231" y="504"/>
                  <a:pt x="231" y="504"/>
                </a:cubicBezTo>
                <a:cubicBezTo>
                  <a:pt x="231" y="503"/>
                  <a:pt x="232" y="502"/>
                  <a:pt x="232" y="503"/>
                </a:cubicBezTo>
                <a:close/>
                <a:moveTo>
                  <a:pt x="233" y="322"/>
                </a:moveTo>
                <a:cubicBezTo>
                  <a:pt x="234" y="320"/>
                  <a:pt x="232" y="323"/>
                  <a:pt x="233" y="322"/>
                </a:cubicBezTo>
                <a:close/>
                <a:moveTo>
                  <a:pt x="233" y="463"/>
                </a:moveTo>
                <a:cubicBezTo>
                  <a:pt x="232" y="465"/>
                  <a:pt x="234" y="462"/>
                  <a:pt x="233" y="463"/>
                </a:cubicBezTo>
                <a:close/>
                <a:moveTo>
                  <a:pt x="232" y="465"/>
                </a:moveTo>
                <a:cubicBezTo>
                  <a:pt x="233" y="467"/>
                  <a:pt x="229" y="469"/>
                  <a:pt x="228" y="466"/>
                </a:cubicBezTo>
                <a:cubicBezTo>
                  <a:pt x="228" y="464"/>
                  <a:pt x="231" y="463"/>
                  <a:pt x="232" y="465"/>
                </a:cubicBezTo>
                <a:close/>
                <a:moveTo>
                  <a:pt x="231" y="364"/>
                </a:moveTo>
                <a:cubicBezTo>
                  <a:pt x="232" y="365"/>
                  <a:pt x="230" y="367"/>
                  <a:pt x="230" y="367"/>
                </a:cubicBezTo>
                <a:cubicBezTo>
                  <a:pt x="226" y="369"/>
                  <a:pt x="229" y="363"/>
                  <a:pt x="231" y="364"/>
                </a:cubicBezTo>
                <a:close/>
                <a:moveTo>
                  <a:pt x="227" y="421"/>
                </a:moveTo>
                <a:cubicBezTo>
                  <a:pt x="228" y="421"/>
                  <a:pt x="227" y="422"/>
                  <a:pt x="227" y="422"/>
                </a:cubicBezTo>
                <a:cubicBezTo>
                  <a:pt x="225" y="423"/>
                  <a:pt x="226" y="420"/>
                  <a:pt x="227" y="421"/>
                </a:cubicBezTo>
                <a:close/>
                <a:moveTo>
                  <a:pt x="227" y="484"/>
                </a:moveTo>
                <a:cubicBezTo>
                  <a:pt x="225" y="484"/>
                  <a:pt x="228" y="482"/>
                  <a:pt x="227" y="483"/>
                </a:cubicBezTo>
                <a:cubicBezTo>
                  <a:pt x="227" y="483"/>
                  <a:pt x="227" y="484"/>
                  <a:pt x="227" y="484"/>
                </a:cubicBezTo>
                <a:close/>
                <a:moveTo>
                  <a:pt x="227" y="436"/>
                </a:moveTo>
                <a:cubicBezTo>
                  <a:pt x="226" y="435"/>
                  <a:pt x="228" y="435"/>
                  <a:pt x="227" y="436"/>
                </a:cubicBezTo>
                <a:close/>
                <a:moveTo>
                  <a:pt x="227" y="526"/>
                </a:moveTo>
                <a:cubicBezTo>
                  <a:pt x="226" y="527"/>
                  <a:pt x="225" y="526"/>
                  <a:pt x="227" y="526"/>
                </a:cubicBezTo>
                <a:close/>
                <a:moveTo>
                  <a:pt x="227" y="527"/>
                </a:moveTo>
                <a:cubicBezTo>
                  <a:pt x="228" y="528"/>
                  <a:pt x="226" y="529"/>
                  <a:pt x="226" y="529"/>
                </a:cubicBezTo>
                <a:cubicBezTo>
                  <a:pt x="225" y="529"/>
                  <a:pt x="227" y="527"/>
                  <a:pt x="227" y="527"/>
                </a:cubicBezTo>
                <a:close/>
                <a:moveTo>
                  <a:pt x="225" y="375"/>
                </a:moveTo>
                <a:cubicBezTo>
                  <a:pt x="227" y="376"/>
                  <a:pt x="225" y="376"/>
                  <a:pt x="225" y="375"/>
                </a:cubicBezTo>
                <a:close/>
                <a:moveTo>
                  <a:pt x="224" y="359"/>
                </a:moveTo>
                <a:cubicBezTo>
                  <a:pt x="224" y="360"/>
                  <a:pt x="223" y="360"/>
                  <a:pt x="223" y="361"/>
                </a:cubicBezTo>
                <a:cubicBezTo>
                  <a:pt x="222" y="360"/>
                  <a:pt x="224" y="360"/>
                  <a:pt x="224" y="359"/>
                </a:cubicBezTo>
                <a:close/>
                <a:moveTo>
                  <a:pt x="222" y="500"/>
                </a:moveTo>
                <a:cubicBezTo>
                  <a:pt x="222" y="499"/>
                  <a:pt x="223" y="499"/>
                  <a:pt x="224" y="499"/>
                </a:cubicBezTo>
                <a:cubicBezTo>
                  <a:pt x="224" y="500"/>
                  <a:pt x="222" y="501"/>
                  <a:pt x="222" y="500"/>
                </a:cubicBezTo>
                <a:close/>
                <a:moveTo>
                  <a:pt x="222" y="564"/>
                </a:moveTo>
                <a:cubicBezTo>
                  <a:pt x="222" y="565"/>
                  <a:pt x="219" y="565"/>
                  <a:pt x="219" y="564"/>
                </a:cubicBezTo>
                <a:cubicBezTo>
                  <a:pt x="219" y="562"/>
                  <a:pt x="222" y="563"/>
                  <a:pt x="222" y="564"/>
                </a:cubicBezTo>
                <a:close/>
                <a:moveTo>
                  <a:pt x="224" y="489"/>
                </a:moveTo>
                <a:cubicBezTo>
                  <a:pt x="224" y="489"/>
                  <a:pt x="223" y="490"/>
                  <a:pt x="223" y="490"/>
                </a:cubicBezTo>
                <a:cubicBezTo>
                  <a:pt x="222" y="489"/>
                  <a:pt x="225" y="488"/>
                  <a:pt x="224" y="489"/>
                </a:cubicBezTo>
                <a:close/>
                <a:moveTo>
                  <a:pt x="224" y="467"/>
                </a:moveTo>
                <a:cubicBezTo>
                  <a:pt x="224" y="470"/>
                  <a:pt x="222" y="469"/>
                  <a:pt x="224" y="467"/>
                </a:cubicBezTo>
                <a:close/>
                <a:moveTo>
                  <a:pt x="223" y="272"/>
                </a:moveTo>
                <a:cubicBezTo>
                  <a:pt x="223" y="273"/>
                  <a:pt x="222" y="274"/>
                  <a:pt x="221" y="275"/>
                </a:cubicBezTo>
                <a:cubicBezTo>
                  <a:pt x="221" y="273"/>
                  <a:pt x="222" y="273"/>
                  <a:pt x="223" y="272"/>
                </a:cubicBezTo>
                <a:close/>
                <a:moveTo>
                  <a:pt x="222" y="308"/>
                </a:moveTo>
                <a:cubicBezTo>
                  <a:pt x="222" y="310"/>
                  <a:pt x="220" y="312"/>
                  <a:pt x="218" y="313"/>
                </a:cubicBezTo>
                <a:cubicBezTo>
                  <a:pt x="220" y="312"/>
                  <a:pt x="220" y="310"/>
                  <a:pt x="222" y="308"/>
                </a:cubicBezTo>
                <a:close/>
                <a:moveTo>
                  <a:pt x="218" y="378"/>
                </a:moveTo>
                <a:cubicBezTo>
                  <a:pt x="218" y="376"/>
                  <a:pt x="220" y="378"/>
                  <a:pt x="218" y="378"/>
                </a:cubicBezTo>
                <a:close/>
                <a:moveTo>
                  <a:pt x="218" y="467"/>
                </a:moveTo>
                <a:cubicBezTo>
                  <a:pt x="218" y="467"/>
                  <a:pt x="217" y="467"/>
                  <a:pt x="217" y="466"/>
                </a:cubicBezTo>
                <a:cubicBezTo>
                  <a:pt x="217" y="466"/>
                  <a:pt x="218" y="466"/>
                  <a:pt x="218" y="467"/>
                </a:cubicBezTo>
                <a:close/>
                <a:moveTo>
                  <a:pt x="217" y="315"/>
                </a:move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lose/>
                <a:moveTo>
                  <a:pt x="218" y="382"/>
                </a:moveTo>
                <a:cubicBezTo>
                  <a:pt x="217" y="382"/>
                  <a:pt x="217" y="382"/>
                  <a:pt x="217" y="382"/>
                </a:cubicBezTo>
                <a:cubicBezTo>
                  <a:pt x="216" y="381"/>
                  <a:pt x="219" y="380"/>
                  <a:pt x="218" y="382"/>
                </a:cubicBezTo>
                <a:close/>
                <a:moveTo>
                  <a:pt x="212" y="322"/>
                </a:moveTo>
                <a:cubicBezTo>
                  <a:pt x="212" y="321"/>
                  <a:pt x="215" y="318"/>
                  <a:pt x="216" y="316"/>
                </a:cubicBezTo>
                <a:cubicBezTo>
                  <a:pt x="216" y="319"/>
                  <a:pt x="210" y="325"/>
                  <a:pt x="212" y="322"/>
                </a:cubicBezTo>
                <a:close/>
                <a:moveTo>
                  <a:pt x="215" y="450"/>
                </a:moveTo>
                <a:cubicBezTo>
                  <a:pt x="215" y="450"/>
                  <a:pt x="215" y="450"/>
                  <a:pt x="215" y="450"/>
                </a:cubicBezTo>
                <a:cubicBezTo>
                  <a:pt x="215" y="450"/>
                  <a:pt x="215" y="450"/>
                  <a:pt x="215" y="450"/>
                </a:cubicBezTo>
                <a:close/>
                <a:moveTo>
                  <a:pt x="214" y="449"/>
                </a:moveTo>
                <a:cubicBezTo>
                  <a:pt x="214" y="449"/>
                  <a:pt x="214" y="448"/>
                  <a:pt x="214" y="448"/>
                </a:cubicBezTo>
                <a:cubicBezTo>
                  <a:pt x="214" y="446"/>
                  <a:pt x="216" y="448"/>
                  <a:pt x="214" y="449"/>
                </a:cubicBezTo>
                <a:close/>
                <a:moveTo>
                  <a:pt x="214" y="524"/>
                </a:moveTo>
                <a:cubicBezTo>
                  <a:pt x="213" y="523"/>
                  <a:pt x="214" y="523"/>
                  <a:pt x="215" y="522"/>
                </a:cubicBezTo>
                <a:cubicBezTo>
                  <a:pt x="215" y="523"/>
                  <a:pt x="214" y="523"/>
                  <a:pt x="214" y="524"/>
                </a:cubicBezTo>
                <a:close/>
                <a:moveTo>
                  <a:pt x="212" y="508"/>
                </a:moveTo>
                <a:cubicBezTo>
                  <a:pt x="210" y="509"/>
                  <a:pt x="214" y="507"/>
                  <a:pt x="212" y="508"/>
                </a:cubicBezTo>
                <a:close/>
                <a:moveTo>
                  <a:pt x="202" y="518"/>
                </a:moveTo>
                <a:cubicBezTo>
                  <a:pt x="210" y="516"/>
                  <a:pt x="209" y="525"/>
                  <a:pt x="203" y="526"/>
                </a:cubicBezTo>
                <a:cubicBezTo>
                  <a:pt x="198" y="527"/>
                  <a:pt x="197" y="520"/>
                  <a:pt x="202" y="518"/>
                </a:cubicBezTo>
                <a:close/>
                <a:moveTo>
                  <a:pt x="201" y="548"/>
                </a:moveTo>
                <a:cubicBezTo>
                  <a:pt x="201" y="548"/>
                  <a:pt x="201" y="548"/>
                  <a:pt x="201" y="548"/>
                </a:cubicBezTo>
                <a:cubicBezTo>
                  <a:pt x="201" y="546"/>
                  <a:pt x="203" y="550"/>
                  <a:pt x="201" y="548"/>
                </a:cubicBezTo>
                <a:close/>
                <a:moveTo>
                  <a:pt x="199" y="549"/>
                </a:moveTo>
                <a:cubicBezTo>
                  <a:pt x="199" y="551"/>
                  <a:pt x="197" y="549"/>
                  <a:pt x="199" y="549"/>
                </a:cubicBezTo>
                <a:close/>
                <a:moveTo>
                  <a:pt x="200" y="494"/>
                </a:moveTo>
                <a:cubicBezTo>
                  <a:pt x="199" y="495"/>
                  <a:pt x="198" y="496"/>
                  <a:pt x="196" y="496"/>
                </a:cubicBezTo>
                <a:cubicBezTo>
                  <a:pt x="197" y="495"/>
                  <a:pt x="199" y="495"/>
                  <a:pt x="200" y="494"/>
                </a:cubicBezTo>
                <a:close/>
                <a:moveTo>
                  <a:pt x="202" y="420"/>
                </a:moveTo>
                <a:cubicBezTo>
                  <a:pt x="201" y="421"/>
                  <a:pt x="201" y="421"/>
                  <a:pt x="200" y="421"/>
                </a:cubicBezTo>
                <a:cubicBezTo>
                  <a:pt x="199" y="420"/>
                  <a:pt x="203" y="418"/>
                  <a:pt x="202" y="420"/>
                </a:cubicBezTo>
                <a:close/>
                <a:moveTo>
                  <a:pt x="203" y="493"/>
                </a:moveTo>
                <a:cubicBezTo>
                  <a:pt x="204" y="493"/>
                  <a:pt x="204" y="493"/>
                  <a:pt x="204" y="493"/>
                </a:cubicBezTo>
                <a:cubicBezTo>
                  <a:pt x="204" y="493"/>
                  <a:pt x="200" y="494"/>
                  <a:pt x="203" y="493"/>
                </a:cubicBezTo>
                <a:close/>
                <a:moveTo>
                  <a:pt x="206" y="456"/>
                </a:moveTo>
                <a:cubicBezTo>
                  <a:pt x="206" y="456"/>
                  <a:pt x="205" y="456"/>
                  <a:pt x="205" y="456"/>
                </a:cubicBezTo>
                <a:cubicBezTo>
                  <a:pt x="204" y="456"/>
                  <a:pt x="206" y="455"/>
                  <a:pt x="206" y="456"/>
                </a:cubicBezTo>
                <a:close/>
                <a:moveTo>
                  <a:pt x="206" y="475"/>
                </a:moveTo>
                <a:cubicBezTo>
                  <a:pt x="206" y="473"/>
                  <a:pt x="210" y="475"/>
                  <a:pt x="210" y="477"/>
                </a:cubicBezTo>
                <a:cubicBezTo>
                  <a:pt x="209" y="479"/>
                  <a:pt x="204" y="479"/>
                  <a:pt x="206" y="475"/>
                </a:cubicBezTo>
                <a:close/>
                <a:moveTo>
                  <a:pt x="208" y="439"/>
                </a:moveTo>
                <a:cubicBezTo>
                  <a:pt x="208" y="440"/>
                  <a:pt x="207" y="440"/>
                  <a:pt x="207" y="440"/>
                </a:cubicBezTo>
                <a:cubicBezTo>
                  <a:pt x="207" y="439"/>
                  <a:pt x="208" y="439"/>
                  <a:pt x="208" y="439"/>
                </a:cubicBezTo>
                <a:close/>
                <a:moveTo>
                  <a:pt x="208" y="405"/>
                </a:moveTo>
                <a:cubicBezTo>
                  <a:pt x="207" y="406"/>
                  <a:pt x="208" y="404"/>
                  <a:pt x="208" y="405"/>
                </a:cubicBezTo>
                <a:close/>
                <a:moveTo>
                  <a:pt x="209" y="467"/>
                </a:moveTo>
                <a:cubicBezTo>
                  <a:pt x="209" y="467"/>
                  <a:pt x="209" y="468"/>
                  <a:pt x="209" y="468"/>
                </a:cubicBezTo>
                <a:cubicBezTo>
                  <a:pt x="208" y="467"/>
                  <a:pt x="210" y="466"/>
                  <a:pt x="209" y="467"/>
                </a:cubicBezTo>
                <a:close/>
                <a:moveTo>
                  <a:pt x="210" y="509"/>
                </a:moveTo>
                <a:cubicBezTo>
                  <a:pt x="208" y="511"/>
                  <a:pt x="211" y="508"/>
                  <a:pt x="210" y="509"/>
                </a:cubicBezTo>
                <a:close/>
                <a:moveTo>
                  <a:pt x="210" y="444"/>
                </a:moveTo>
                <a:cubicBezTo>
                  <a:pt x="207" y="445"/>
                  <a:pt x="209" y="441"/>
                  <a:pt x="210" y="443"/>
                </a:cubicBezTo>
                <a:cubicBezTo>
                  <a:pt x="211" y="443"/>
                  <a:pt x="210" y="443"/>
                  <a:pt x="210" y="444"/>
                </a:cubicBezTo>
                <a:close/>
                <a:moveTo>
                  <a:pt x="210" y="185"/>
                </a:moveTo>
                <a:cubicBezTo>
                  <a:pt x="210" y="185"/>
                  <a:pt x="210" y="185"/>
                  <a:pt x="210" y="185"/>
                </a:cubicBezTo>
                <a:cubicBezTo>
                  <a:pt x="209" y="185"/>
                  <a:pt x="211" y="184"/>
                  <a:pt x="210" y="185"/>
                </a:cubicBezTo>
                <a:close/>
                <a:moveTo>
                  <a:pt x="210" y="203"/>
                </a:moveTo>
                <a:cubicBezTo>
                  <a:pt x="211" y="203"/>
                  <a:pt x="209" y="205"/>
                  <a:pt x="209" y="205"/>
                </a:cubicBezTo>
                <a:cubicBezTo>
                  <a:pt x="209" y="204"/>
                  <a:pt x="209" y="204"/>
                  <a:pt x="210" y="203"/>
                </a:cubicBezTo>
                <a:close/>
                <a:moveTo>
                  <a:pt x="210" y="371"/>
                </a:moveTo>
                <a:cubicBezTo>
                  <a:pt x="209" y="372"/>
                  <a:pt x="209" y="372"/>
                  <a:pt x="208" y="372"/>
                </a:cubicBezTo>
                <a:cubicBezTo>
                  <a:pt x="208" y="372"/>
                  <a:pt x="208" y="371"/>
                  <a:pt x="210" y="371"/>
                </a:cubicBezTo>
                <a:close/>
                <a:moveTo>
                  <a:pt x="208" y="181"/>
                </a:moveTo>
                <a:cubicBezTo>
                  <a:pt x="209" y="181"/>
                  <a:pt x="207" y="184"/>
                  <a:pt x="207" y="184"/>
                </a:cubicBezTo>
                <a:cubicBezTo>
                  <a:pt x="204" y="186"/>
                  <a:pt x="206" y="180"/>
                  <a:pt x="208" y="181"/>
                </a:cubicBezTo>
                <a:close/>
                <a:moveTo>
                  <a:pt x="207" y="374"/>
                </a:moveTo>
                <a:cubicBezTo>
                  <a:pt x="206" y="373"/>
                  <a:pt x="208" y="373"/>
                  <a:pt x="207" y="374"/>
                </a:cubicBezTo>
                <a:close/>
                <a:moveTo>
                  <a:pt x="207" y="387"/>
                </a:moveTo>
                <a:cubicBezTo>
                  <a:pt x="206" y="387"/>
                  <a:pt x="206" y="388"/>
                  <a:pt x="206" y="387"/>
                </a:cubicBezTo>
                <a:cubicBezTo>
                  <a:pt x="205" y="386"/>
                  <a:pt x="209" y="385"/>
                  <a:pt x="207" y="387"/>
                </a:cubicBezTo>
                <a:close/>
                <a:moveTo>
                  <a:pt x="204" y="211"/>
                </a:moveTo>
                <a:cubicBezTo>
                  <a:pt x="204" y="213"/>
                  <a:pt x="202" y="214"/>
                  <a:pt x="201" y="216"/>
                </a:cubicBezTo>
                <a:cubicBezTo>
                  <a:pt x="201" y="214"/>
                  <a:pt x="203" y="213"/>
                  <a:pt x="204" y="211"/>
                </a:cubicBezTo>
                <a:close/>
                <a:moveTo>
                  <a:pt x="202" y="326"/>
                </a:moveTo>
                <a:cubicBezTo>
                  <a:pt x="202" y="327"/>
                  <a:pt x="202" y="328"/>
                  <a:pt x="201" y="328"/>
                </a:cubicBezTo>
                <a:cubicBezTo>
                  <a:pt x="201" y="327"/>
                  <a:pt x="202" y="327"/>
                  <a:pt x="202" y="326"/>
                </a:cubicBezTo>
                <a:close/>
                <a:moveTo>
                  <a:pt x="205" y="387"/>
                </a:moveTo>
                <a:cubicBezTo>
                  <a:pt x="205" y="388"/>
                  <a:pt x="203" y="389"/>
                  <a:pt x="201" y="390"/>
                </a:cubicBezTo>
                <a:cubicBezTo>
                  <a:pt x="202" y="388"/>
                  <a:pt x="204" y="388"/>
                  <a:pt x="205" y="387"/>
                </a:cubicBezTo>
                <a:close/>
                <a:moveTo>
                  <a:pt x="196" y="218"/>
                </a:moveTo>
                <a:cubicBezTo>
                  <a:pt x="198" y="219"/>
                  <a:pt x="196" y="220"/>
                  <a:pt x="196" y="218"/>
                </a:cubicBezTo>
                <a:close/>
                <a:moveTo>
                  <a:pt x="196" y="249"/>
                </a:moveTo>
                <a:cubicBezTo>
                  <a:pt x="195" y="251"/>
                  <a:pt x="197" y="248"/>
                  <a:pt x="196" y="249"/>
                </a:cubicBezTo>
                <a:close/>
                <a:moveTo>
                  <a:pt x="198" y="349"/>
                </a:moveTo>
                <a:cubicBezTo>
                  <a:pt x="198" y="350"/>
                  <a:pt x="196" y="351"/>
                  <a:pt x="196" y="352"/>
                </a:cubicBezTo>
                <a:cubicBezTo>
                  <a:pt x="195" y="351"/>
                  <a:pt x="197" y="350"/>
                  <a:pt x="198" y="349"/>
                </a:cubicBezTo>
                <a:close/>
                <a:moveTo>
                  <a:pt x="196" y="296"/>
                </a:moveTo>
                <a:cubicBezTo>
                  <a:pt x="196" y="296"/>
                  <a:pt x="195" y="298"/>
                  <a:pt x="195" y="298"/>
                </a:cubicBezTo>
                <a:cubicBezTo>
                  <a:pt x="193" y="300"/>
                  <a:pt x="194" y="295"/>
                  <a:pt x="196" y="296"/>
                </a:cubicBezTo>
                <a:close/>
                <a:moveTo>
                  <a:pt x="194" y="353"/>
                </a:moveTo>
                <a:cubicBezTo>
                  <a:pt x="195" y="354"/>
                  <a:pt x="193" y="354"/>
                  <a:pt x="194" y="353"/>
                </a:cubicBezTo>
                <a:close/>
                <a:moveTo>
                  <a:pt x="192" y="213"/>
                </a:moveTo>
                <a:cubicBezTo>
                  <a:pt x="192" y="212"/>
                  <a:pt x="194" y="211"/>
                  <a:pt x="192" y="213"/>
                </a:cubicBezTo>
                <a:close/>
                <a:moveTo>
                  <a:pt x="193" y="252"/>
                </a:moveTo>
                <a:cubicBezTo>
                  <a:pt x="194" y="253"/>
                  <a:pt x="193" y="254"/>
                  <a:pt x="192" y="254"/>
                </a:cubicBezTo>
                <a:cubicBezTo>
                  <a:pt x="192" y="253"/>
                  <a:pt x="193" y="253"/>
                  <a:pt x="193" y="252"/>
                </a:cubicBezTo>
                <a:close/>
                <a:moveTo>
                  <a:pt x="193" y="354"/>
                </a:moveTo>
                <a:cubicBezTo>
                  <a:pt x="193" y="355"/>
                  <a:pt x="193" y="356"/>
                  <a:pt x="192" y="356"/>
                </a:cubicBezTo>
                <a:cubicBezTo>
                  <a:pt x="192" y="355"/>
                  <a:pt x="193" y="355"/>
                  <a:pt x="193" y="354"/>
                </a:cubicBezTo>
                <a:close/>
                <a:moveTo>
                  <a:pt x="192" y="305"/>
                </a:moveTo>
                <a:cubicBezTo>
                  <a:pt x="190" y="307"/>
                  <a:pt x="193" y="304"/>
                  <a:pt x="192" y="305"/>
                </a:cubicBezTo>
                <a:close/>
                <a:moveTo>
                  <a:pt x="188" y="397"/>
                </a:moveTo>
                <a:cubicBezTo>
                  <a:pt x="187" y="398"/>
                  <a:pt x="185" y="400"/>
                  <a:pt x="183" y="401"/>
                </a:cubicBezTo>
                <a:cubicBezTo>
                  <a:pt x="184" y="399"/>
                  <a:pt x="186" y="398"/>
                  <a:pt x="188" y="397"/>
                </a:cubicBezTo>
                <a:close/>
                <a:moveTo>
                  <a:pt x="184" y="384"/>
                </a:moveTo>
                <a:cubicBezTo>
                  <a:pt x="185" y="384"/>
                  <a:pt x="185" y="383"/>
                  <a:pt x="186" y="383"/>
                </a:cubicBezTo>
                <a:cubicBezTo>
                  <a:pt x="185" y="384"/>
                  <a:pt x="185" y="384"/>
                  <a:pt x="184" y="384"/>
                </a:cubicBezTo>
                <a:close/>
                <a:moveTo>
                  <a:pt x="184" y="243"/>
                </a:moveTo>
                <a:cubicBezTo>
                  <a:pt x="185" y="242"/>
                  <a:pt x="183" y="244"/>
                  <a:pt x="184" y="243"/>
                </a:cubicBezTo>
                <a:close/>
                <a:moveTo>
                  <a:pt x="182" y="186"/>
                </a:moveTo>
                <a:cubicBezTo>
                  <a:pt x="182" y="185"/>
                  <a:pt x="181" y="187"/>
                  <a:pt x="182" y="186"/>
                </a:cubicBezTo>
                <a:close/>
                <a:moveTo>
                  <a:pt x="184" y="243"/>
                </a:moveTo>
                <a:cubicBezTo>
                  <a:pt x="185" y="244"/>
                  <a:pt x="183" y="249"/>
                  <a:pt x="182" y="249"/>
                </a:cubicBezTo>
                <a:cubicBezTo>
                  <a:pt x="180" y="249"/>
                  <a:pt x="182" y="243"/>
                  <a:pt x="184" y="243"/>
                </a:cubicBezTo>
                <a:close/>
                <a:moveTo>
                  <a:pt x="177" y="208"/>
                </a:moveTo>
                <a:cubicBezTo>
                  <a:pt x="178" y="209"/>
                  <a:pt x="177" y="209"/>
                  <a:pt x="177" y="210"/>
                </a:cubicBezTo>
                <a:cubicBezTo>
                  <a:pt x="176" y="210"/>
                  <a:pt x="177" y="209"/>
                  <a:pt x="177" y="208"/>
                </a:cubicBezTo>
                <a:close/>
                <a:moveTo>
                  <a:pt x="182" y="322"/>
                </a:moveTo>
                <a:cubicBezTo>
                  <a:pt x="179" y="324"/>
                  <a:pt x="177" y="329"/>
                  <a:pt x="175" y="329"/>
                </a:cubicBezTo>
                <a:cubicBezTo>
                  <a:pt x="175" y="329"/>
                  <a:pt x="179" y="322"/>
                  <a:pt x="182" y="322"/>
                </a:cubicBezTo>
                <a:close/>
                <a:moveTo>
                  <a:pt x="180" y="403"/>
                </a:moveTo>
                <a:cubicBezTo>
                  <a:pt x="179" y="404"/>
                  <a:pt x="178" y="406"/>
                  <a:pt x="176" y="406"/>
                </a:cubicBezTo>
                <a:cubicBezTo>
                  <a:pt x="177" y="405"/>
                  <a:pt x="179" y="404"/>
                  <a:pt x="180" y="403"/>
                </a:cubicBezTo>
                <a:close/>
                <a:moveTo>
                  <a:pt x="178" y="383"/>
                </a:move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2"/>
                  <a:pt x="178" y="382"/>
                </a:cubicBezTo>
                <a:cubicBezTo>
                  <a:pt x="178" y="382"/>
                  <a:pt x="178" y="382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lose/>
                <a:moveTo>
                  <a:pt x="181" y="393"/>
                </a:moveTo>
                <a:cubicBezTo>
                  <a:pt x="181" y="393"/>
                  <a:pt x="180" y="395"/>
                  <a:pt x="180" y="395"/>
                </a:cubicBezTo>
                <a:cubicBezTo>
                  <a:pt x="178" y="397"/>
                  <a:pt x="179" y="392"/>
                  <a:pt x="181" y="393"/>
                </a:cubicBezTo>
                <a:close/>
                <a:moveTo>
                  <a:pt x="179" y="358"/>
                </a:moveTo>
                <a:cubicBezTo>
                  <a:pt x="179" y="358"/>
                  <a:pt x="180" y="359"/>
                  <a:pt x="180" y="359"/>
                </a:cubicBezTo>
                <a:cubicBezTo>
                  <a:pt x="180" y="360"/>
                  <a:pt x="178" y="359"/>
                  <a:pt x="179" y="358"/>
                </a:cubicBezTo>
                <a:close/>
                <a:moveTo>
                  <a:pt x="182" y="418"/>
                </a:moveTo>
                <a:cubicBezTo>
                  <a:pt x="183" y="416"/>
                  <a:pt x="187" y="412"/>
                  <a:pt x="190" y="410"/>
                </a:cubicBezTo>
                <a:cubicBezTo>
                  <a:pt x="190" y="410"/>
                  <a:pt x="190" y="408"/>
                  <a:pt x="191" y="409"/>
                </a:cubicBezTo>
                <a:cubicBezTo>
                  <a:pt x="192" y="410"/>
                  <a:pt x="189" y="414"/>
                  <a:pt x="189" y="414"/>
                </a:cubicBezTo>
                <a:cubicBezTo>
                  <a:pt x="188" y="415"/>
                  <a:pt x="186" y="415"/>
                  <a:pt x="184" y="417"/>
                </a:cubicBezTo>
                <a:cubicBezTo>
                  <a:pt x="180" y="419"/>
                  <a:pt x="178" y="424"/>
                  <a:pt x="174" y="426"/>
                </a:cubicBezTo>
                <a:cubicBezTo>
                  <a:pt x="174" y="422"/>
                  <a:pt x="180" y="421"/>
                  <a:pt x="182" y="418"/>
                </a:cubicBezTo>
                <a:close/>
                <a:moveTo>
                  <a:pt x="193" y="479"/>
                </a:moveTo>
                <a:cubicBezTo>
                  <a:pt x="192" y="481"/>
                  <a:pt x="192" y="479"/>
                  <a:pt x="193" y="479"/>
                </a:cubicBezTo>
                <a:close/>
                <a:moveTo>
                  <a:pt x="193" y="432"/>
                </a:moveTo>
                <a:cubicBezTo>
                  <a:pt x="194" y="432"/>
                  <a:pt x="193" y="433"/>
                  <a:pt x="193" y="432"/>
                </a:cubicBezTo>
                <a:cubicBezTo>
                  <a:pt x="192" y="432"/>
                  <a:pt x="193" y="432"/>
                  <a:pt x="193" y="432"/>
                </a:cubicBezTo>
                <a:close/>
                <a:moveTo>
                  <a:pt x="191" y="460"/>
                </a:moveTo>
                <a:cubicBezTo>
                  <a:pt x="192" y="458"/>
                  <a:pt x="193" y="460"/>
                  <a:pt x="191" y="460"/>
                </a:cubicBezTo>
                <a:close/>
                <a:moveTo>
                  <a:pt x="193" y="489"/>
                </a:moveTo>
                <a:cubicBezTo>
                  <a:pt x="193" y="490"/>
                  <a:pt x="192" y="491"/>
                  <a:pt x="191" y="491"/>
                </a:cubicBezTo>
                <a:cubicBezTo>
                  <a:pt x="189" y="492"/>
                  <a:pt x="191" y="487"/>
                  <a:pt x="193" y="489"/>
                </a:cubicBezTo>
                <a:close/>
                <a:moveTo>
                  <a:pt x="190" y="440"/>
                </a:moveTo>
                <a:cubicBezTo>
                  <a:pt x="189" y="439"/>
                  <a:pt x="191" y="438"/>
                  <a:pt x="191" y="439"/>
                </a:cubicBezTo>
                <a:cubicBezTo>
                  <a:pt x="191" y="439"/>
                  <a:pt x="190" y="440"/>
                  <a:pt x="190" y="440"/>
                </a:cubicBezTo>
                <a:close/>
                <a:moveTo>
                  <a:pt x="189" y="511"/>
                </a:moveTo>
                <a:cubicBezTo>
                  <a:pt x="189" y="511"/>
                  <a:pt x="189" y="512"/>
                  <a:pt x="188" y="511"/>
                </a:cubicBezTo>
                <a:cubicBezTo>
                  <a:pt x="188" y="511"/>
                  <a:pt x="189" y="510"/>
                  <a:pt x="189" y="511"/>
                </a:cubicBezTo>
                <a:close/>
                <a:moveTo>
                  <a:pt x="186" y="470"/>
                </a:moveTo>
                <a:cubicBezTo>
                  <a:pt x="185" y="469"/>
                  <a:pt x="188" y="469"/>
                  <a:pt x="188" y="470"/>
                </a:cubicBezTo>
                <a:cubicBezTo>
                  <a:pt x="189" y="471"/>
                  <a:pt x="186" y="472"/>
                  <a:pt x="186" y="470"/>
                </a:cubicBezTo>
                <a:close/>
                <a:moveTo>
                  <a:pt x="184" y="470"/>
                </a:moveTo>
                <a:cubicBezTo>
                  <a:pt x="185" y="471"/>
                  <a:pt x="184" y="472"/>
                  <a:pt x="183" y="472"/>
                </a:cubicBezTo>
                <a:cubicBezTo>
                  <a:pt x="180" y="474"/>
                  <a:pt x="182" y="469"/>
                  <a:pt x="184" y="470"/>
                </a:cubicBezTo>
                <a:close/>
                <a:moveTo>
                  <a:pt x="183" y="435"/>
                </a:moveTo>
                <a:cubicBezTo>
                  <a:pt x="183" y="434"/>
                  <a:pt x="182" y="436"/>
                  <a:pt x="183" y="435"/>
                </a:cubicBezTo>
                <a:close/>
                <a:moveTo>
                  <a:pt x="180" y="443"/>
                </a:moveTo>
                <a:cubicBezTo>
                  <a:pt x="180" y="443"/>
                  <a:pt x="179" y="443"/>
                  <a:pt x="179" y="443"/>
                </a:cubicBezTo>
                <a:cubicBezTo>
                  <a:pt x="178" y="445"/>
                  <a:pt x="180" y="440"/>
                  <a:pt x="180" y="443"/>
                </a:cubicBezTo>
                <a:close/>
                <a:moveTo>
                  <a:pt x="174" y="445"/>
                </a:moveTo>
                <a:cubicBezTo>
                  <a:pt x="173" y="446"/>
                  <a:pt x="174" y="444"/>
                  <a:pt x="174" y="445"/>
                </a:cubicBezTo>
                <a:close/>
                <a:moveTo>
                  <a:pt x="173" y="182"/>
                </a:moveTo>
                <a:cubicBezTo>
                  <a:pt x="172" y="182"/>
                  <a:pt x="174" y="180"/>
                  <a:pt x="173" y="182"/>
                </a:cubicBezTo>
                <a:close/>
                <a:moveTo>
                  <a:pt x="173" y="438"/>
                </a:moveTo>
                <a:cubicBezTo>
                  <a:pt x="174" y="437"/>
                  <a:pt x="172" y="440"/>
                  <a:pt x="173" y="438"/>
                </a:cubicBezTo>
                <a:close/>
                <a:moveTo>
                  <a:pt x="173" y="477"/>
                </a:moveTo>
                <a:cubicBezTo>
                  <a:pt x="172" y="478"/>
                  <a:pt x="172" y="478"/>
                  <a:pt x="170" y="478"/>
                </a:cubicBezTo>
                <a:cubicBezTo>
                  <a:pt x="171" y="478"/>
                  <a:pt x="171" y="477"/>
                  <a:pt x="173" y="477"/>
                </a:cubicBezTo>
                <a:close/>
                <a:moveTo>
                  <a:pt x="173" y="314"/>
                </a:move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lose/>
                <a:moveTo>
                  <a:pt x="171" y="307"/>
                </a:moveTo>
                <a:cubicBezTo>
                  <a:pt x="171" y="308"/>
                  <a:pt x="171" y="309"/>
                  <a:pt x="169" y="310"/>
                </a:cubicBezTo>
                <a:cubicBezTo>
                  <a:pt x="168" y="310"/>
                  <a:pt x="167" y="310"/>
                  <a:pt x="166" y="309"/>
                </a:cubicBezTo>
                <a:cubicBezTo>
                  <a:pt x="164" y="305"/>
                  <a:pt x="171" y="303"/>
                  <a:pt x="171" y="307"/>
                </a:cubicBezTo>
                <a:close/>
                <a:moveTo>
                  <a:pt x="168" y="501"/>
                </a:moveTo>
                <a:cubicBezTo>
                  <a:pt x="168" y="501"/>
                  <a:pt x="168" y="501"/>
                  <a:pt x="169" y="501"/>
                </a:cubicBezTo>
                <a:cubicBezTo>
                  <a:pt x="169" y="501"/>
                  <a:pt x="168" y="502"/>
                  <a:pt x="168" y="501"/>
                </a:cubicBezTo>
                <a:close/>
                <a:moveTo>
                  <a:pt x="166" y="342"/>
                </a:moveTo>
                <a:cubicBezTo>
                  <a:pt x="166" y="342"/>
                  <a:pt x="166" y="342"/>
                  <a:pt x="166" y="342"/>
                </a:cubicBezTo>
                <a:cubicBezTo>
                  <a:pt x="166" y="342"/>
                  <a:pt x="166" y="343"/>
                  <a:pt x="165" y="343"/>
                </a:cubicBezTo>
                <a:cubicBezTo>
                  <a:pt x="165" y="343"/>
                  <a:pt x="165" y="343"/>
                  <a:pt x="165" y="343"/>
                </a:cubicBezTo>
                <a:cubicBezTo>
                  <a:pt x="165" y="343"/>
                  <a:pt x="166" y="342"/>
                  <a:pt x="166" y="342"/>
                </a:cubicBezTo>
                <a:close/>
                <a:moveTo>
                  <a:pt x="165" y="307"/>
                </a:moveTo>
                <a:cubicBezTo>
                  <a:pt x="163" y="308"/>
                  <a:pt x="167" y="306"/>
                  <a:pt x="165" y="307"/>
                </a:cubicBezTo>
                <a:close/>
                <a:moveTo>
                  <a:pt x="164" y="344"/>
                </a:moveTo>
                <a:cubicBezTo>
                  <a:pt x="163" y="344"/>
                  <a:pt x="166" y="342"/>
                  <a:pt x="164" y="344"/>
                </a:cubicBezTo>
                <a:close/>
                <a:moveTo>
                  <a:pt x="165" y="345"/>
                </a:moveTo>
                <a:cubicBezTo>
                  <a:pt x="164" y="346"/>
                  <a:pt x="164" y="347"/>
                  <a:pt x="162" y="347"/>
                </a:cubicBezTo>
                <a:cubicBezTo>
                  <a:pt x="163" y="347"/>
                  <a:pt x="163" y="346"/>
                  <a:pt x="165" y="345"/>
                </a:cubicBezTo>
                <a:close/>
                <a:moveTo>
                  <a:pt x="161" y="347"/>
                </a:moveTo>
                <a:cubicBezTo>
                  <a:pt x="160" y="348"/>
                  <a:pt x="162" y="346"/>
                  <a:pt x="161" y="347"/>
                </a:cubicBezTo>
                <a:close/>
                <a:moveTo>
                  <a:pt x="160" y="350"/>
                </a:moveTo>
                <a:cubicBezTo>
                  <a:pt x="161" y="348"/>
                  <a:pt x="162" y="349"/>
                  <a:pt x="160" y="350"/>
                </a:cubicBezTo>
                <a:close/>
                <a:moveTo>
                  <a:pt x="168" y="370"/>
                </a:moveTo>
                <a:cubicBezTo>
                  <a:pt x="165" y="373"/>
                  <a:pt x="163" y="376"/>
                  <a:pt x="158" y="378"/>
                </a:cubicBezTo>
                <a:cubicBezTo>
                  <a:pt x="161" y="375"/>
                  <a:pt x="164" y="372"/>
                  <a:pt x="168" y="370"/>
                </a:cubicBezTo>
                <a:close/>
                <a:moveTo>
                  <a:pt x="167" y="392"/>
                </a:moveTo>
                <a:cubicBezTo>
                  <a:pt x="166" y="393"/>
                  <a:pt x="168" y="390"/>
                  <a:pt x="167" y="391"/>
                </a:cubicBezTo>
                <a:cubicBezTo>
                  <a:pt x="167" y="391"/>
                  <a:pt x="167" y="392"/>
                  <a:pt x="167" y="392"/>
                </a:cubicBezTo>
                <a:close/>
                <a:moveTo>
                  <a:pt x="168" y="424"/>
                </a:moveTo>
                <a:cubicBezTo>
                  <a:pt x="168" y="424"/>
                  <a:pt x="167" y="424"/>
                  <a:pt x="167" y="424"/>
                </a:cubicBezTo>
                <a:cubicBezTo>
                  <a:pt x="166" y="423"/>
                  <a:pt x="168" y="423"/>
                  <a:pt x="168" y="424"/>
                </a:cubicBezTo>
                <a:close/>
                <a:moveTo>
                  <a:pt x="161" y="457"/>
                </a:moveTo>
                <a:cubicBezTo>
                  <a:pt x="161" y="458"/>
                  <a:pt x="158" y="461"/>
                  <a:pt x="157" y="460"/>
                </a:cubicBezTo>
                <a:cubicBezTo>
                  <a:pt x="156" y="458"/>
                  <a:pt x="159" y="456"/>
                  <a:pt x="161" y="457"/>
                </a:cubicBezTo>
                <a:close/>
                <a:moveTo>
                  <a:pt x="157" y="477"/>
                </a:move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lose/>
                <a:moveTo>
                  <a:pt x="161" y="502"/>
                </a:moveTo>
                <a:cubicBezTo>
                  <a:pt x="161" y="503"/>
                  <a:pt x="159" y="504"/>
                  <a:pt x="159" y="503"/>
                </a:cubicBezTo>
                <a:cubicBezTo>
                  <a:pt x="159" y="502"/>
                  <a:pt x="160" y="501"/>
                  <a:pt x="161" y="502"/>
                </a:cubicBezTo>
                <a:close/>
                <a:moveTo>
                  <a:pt x="159" y="482"/>
                </a:moveTo>
                <a:cubicBezTo>
                  <a:pt x="158" y="483"/>
                  <a:pt x="160" y="481"/>
                  <a:pt x="159" y="482"/>
                </a:cubicBezTo>
                <a:close/>
                <a:moveTo>
                  <a:pt x="162" y="484"/>
                </a:moveTo>
                <a:cubicBezTo>
                  <a:pt x="163" y="484"/>
                  <a:pt x="162" y="485"/>
                  <a:pt x="161" y="485"/>
                </a:cubicBezTo>
                <a:cubicBezTo>
                  <a:pt x="160" y="486"/>
                  <a:pt x="161" y="483"/>
                  <a:pt x="162" y="484"/>
                </a:cubicBezTo>
                <a:close/>
                <a:moveTo>
                  <a:pt x="161" y="428"/>
                </a:moveTo>
                <a:cubicBezTo>
                  <a:pt x="162" y="429"/>
                  <a:pt x="160" y="432"/>
                  <a:pt x="160" y="432"/>
                </a:cubicBezTo>
                <a:cubicBezTo>
                  <a:pt x="155" y="435"/>
                  <a:pt x="158" y="426"/>
                  <a:pt x="161" y="428"/>
                </a:cubicBezTo>
                <a:close/>
                <a:moveTo>
                  <a:pt x="164" y="506"/>
                </a:moveTo>
                <a:cubicBezTo>
                  <a:pt x="165" y="507"/>
                  <a:pt x="160" y="510"/>
                  <a:pt x="159" y="510"/>
                </a:cubicBezTo>
                <a:cubicBezTo>
                  <a:pt x="154" y="511"/>
                  <a:pt x="163" y="505"/>
                  <a:pt x="164" y="506"/>
                </a:cubicBezTo>
                <a:close/>
                <a:moveTo>
                  <a:pt x="163" y="443"/>
                </a:moveTo>
                <a:cubicBezTo>
                  <a:pt x="163" y="443"/>
                  <a:pt x="163" y="444"/>
                  <a:pt x="162" y="444"/>
                </a:cubicBezTo>
                <a:cubicBezTo>
                  <a:pt x="162" y="443"/>
                  <a:pt x="163" y="443"/>
                  <a:pt x="163" y="443"/>
                </a:cubicBezTo>
                <a:close/>
                <a:moveTo>
                  <a:pt x="159" y="351"/>
                </a:moveTo>
                <a:cubicBezTo>
                  <a:pt x="159" y="351"/>
                  <a:pt x="159" y="350"/>
                  <a:pt x="160" y="350"/>
                </a:cubicBezTo>
                <a:cubicBezTo>
                  <a:pt x="160" y="350"/>
                  <a:pt x="160" y="351"/>
                  <a:pt x="159" y="351"/>
                </a:cubicBezTo>
                <a:close/>
                <a:moveTo>
                  <a:pt x="160" y="259"/>
                </a:moveTo>
                <a:cubicBezTo>
                  <a:pt x="160" y="259"/>
                  <a:pt x="160" y="260"/>
                  <a:pt x="160" y="260"/>
                </a:cubicBezTo>
                <a:cubicBezTo>
                  <a:pt x="159" y="261"/>
                  <a:pt x="158" y="258"/>
                  <a:pt x="160" y="259"/>
                </a:cubicBezTo>
                <a:close/>
                <a:moveTo>
                  <a:pt x="160" y="349"/>
                </a:moveTo>
                <a:cubicBezTo>
                  <a:pt x="159" y="350"/>
                  <a:pt x="159" y="350"/>
                  <a:pt x="158" y="351"/>
                </a:cubicBezTo>
                <a:cubicBezTo>
                  <a:pt x="158" y="350"/>
                  <a:pt x="159" y="349"/>
                  <a:pt x="160" y="349"/>
                </a:cubicBezTo>
                <a:close/>
                <a:moveTo>
                  <a:pt x="159" y="352"/>
                </a:moveTo>
                <a:cubicBezTo>
                  <a:pt x="158" y="352"/>
                  <a:pt x="158" y="353"/>
                  <a:pt x="157" y="353"/>
                </a:cubicBezTo>
                <a:cubicBezTo>
                  <a:pt x="157" y="352"/>
                  <a:pt x="158" y="352"/>
                  <a:pt x="159" y="352"/>
                </a:cubicBezTo>
                <a:close/>
                <a:moveTo>
                  <a:pt x="156" y="354"/>
                </a:moveTo>
                <a:cubicBezTo>
                  <a:pt x="155" y="355"/>
                  <a:pt x="158" y="353"/>
                  <a:pt x="156" y="354"/>
                </a:cubicBezTo>
                <a:close/>
                <a:moveTo>
                  <a:pt x="157" y="415"/>
                </a:moveTo>
                <a:cubicBezTo>
                  <a:pt x="158" y="416"/>
                  <a:pt x="157" y="417"/>
                  <a:pt x="156" y="417"/>
                </a:cubicBezTo>
                <a:cubicBezTo>
                  <a:pt x="156" y="416"/>
                  <a:pt x="157" y="416"/>
                  <a:pt x="157" y="415"/>
                </a:cubicBezTo>
                <a:close/>
                <a:moveTo>
                  <a:pt x="133" y="461"/>
                </a:moveTo>
                <a:cubicBezTo>
                  <a:pt x="137" y="457"/>
                  <a:pt x="142" y="453"/>
                  <a:pt x="148" y="450"/>
                </a:cubicBezTo>
                <a:cubicBezTo>
                  <a:pt x="143" y="454"/>
                  <a:pt x="138" y="457"/>
                  <a:pt x="133" y="461"/>
                </a:cubicBezTo>
                <a:close/>
                <a:moveTo>
                  <a:pt x="138" y="463"/>
                </a:moveTo>
                <a:cubicBezTo>
                  <a:pt x="138" y="464"/>
                  <a:pt x="137" y="464"/>
                  <a:pt x="137" y="463"/>
                </a:cubicBezTo>
                <a:cubicBezTo>
                  <a:pt x="136" y="462"/>
                  <a:pt x="138" y="463"/>
                  <a:pt x="138" y="463"/>
                </a:cubicBezTo>
                <a:close/>
                <a:moveTo>
                  <a:pt x="147" y="446"/>
                </a:moveTo>
                <a:cubicBezTo>
                  <a:pt x="146" y="446"/>
                  <a:pt x="145" y="447"/>
                  <a:pt x="145" y="447"/>
                </a:cubicBezTo>
                <a:cubicBezTo>
                  <a:pt x="144" y="446"/>
                  <a:pt x="152" y="439"/>
                  <a:pt x="153" y="440"/>
                </a:cubicBezTo>
                <a:cubicBezTo>
                  <a:pt x="154" y="440"/>
                  <a:pt x="147" y="446"/>
                  <a:pt x="147" y="446"/>
                </a:cubicBezTo>
                <a:close/>
                <a:moveTo>
                  <a:pt x="148" y="401"/>
                </a:moveTo>
                <a:cubicBezTo>
                  <a:pt x="151" y="399"/>
                  <a:pt x="146" y="402"/>
                  <a:pt x="148" y="401"/>
                </a:cubicBezTo>
                <a:close/>
                <a:moveTo>
                  <a:pt x="150" y="439"/>
                </a:moveTo>
                <a:cubicBezTo>
                  <a:pt x="150" y="440"/>
                  <a:pt x="149" y="440"/>
                  <a:pt x="148" y="440"/>
                </a:cubicBezTo>
                <a:cubicBezTo>
                  <a:pt x="148" y="439"/>
                  <a:pt x="149" y="439"/>
                  <a:pt x="150" y="439"/>
                </a:cubicBezTo>
                <a:close/>
                <a:moveTo>
                  <a:pt x="151" y="379"/>
                </a:moveTo>
                <a:cubicBezTo>
                  <a:pt x="150" y="380"/>
                  <a:pt x="151" y="378"/>
                  <a:pt x="151" y="379"/>
                </a:cubicBezTo>
                <a:close/>
                <a:moveTo>
                  <a:pt x="153" y="447"/>
                </a:moveTo>
                <a:cubicBezTo>
                  <a:pt x="153" y="449"/>
                  <a:pt x="150" y="449"/>
                  <a:pt x="149" y="450"/>
                </a:cubicBezTo>
                <a:cubicBezTo>
                  <a:pt x="149" y="449"/>
                  <a:pt x="152" y="448"/>
                  <a:pt x="153" y="447"/>
                </a:cubicBezTo>
                <a:close/>
                <a:moveTo>
                  <a:pt x="156" y="472"/>
                </a:moveTo>
                <a:cubicBezTo>
                  <a:pt x="155" y="473"/>
                  <a:pt x="152" y="475"/>
                  <a:pt x="151" y="475"/>
                </a:cubicBezTo>
                <a:cubicBezTo>
                  <a:pt x="151" y="475"/>
                  <a:pt x="154" y="471"/>
                  <a:pt x="156" y="472"/>
                </a:cubicBezTo>
                <a:close/>
                <a:moveTo>
                  <a:pt x="156" y="435"/>
                </a:moveTo>
                <a:cubicBezTo>
                  <a:pt x="156" y="435"/>
                  <a:pt x="156" y="435"/>
                  <a:pt x="157" y="435"/>
                </a:cubicBezTo>
                <a:cubicBezTo>
                  <a:pt x="156" y="435"/>
                  <a:pt x="156" y="435"/>
                  <a:pt x="156" y="435"/>
                </a:cubicBezTo>
                <a:cubicBezTo>
                  <a:pt x="156" y="435"/>
                  <a:pt x="156" y="435"/>
                  <a:pt x="156" y="435"/>
                </a:cubicBezTo>
                <a:close/>
                <a:moveTo>
                  <a:pt x="155" y="447"/>
                </a:moveTo>
                <a:cubicBezTo>
                  <a:pt x="155" y="447"/>
                  <a:pt x="154" y="448"/>
                  <a:pt x="154" y="447"/>
                </a:cubicBezTo>
                <a:cubicBezTo>
                  <a:pt x="153" y="446"/>
                  <a:pt x="156" y="445"/>
                  <a:pt x="155" y="447"/>
                </a:cubicBezTo>
                <a:close/>
                <a:moveTo>
                  <a:pt x="155" y="434"/>
                </a:moveTo>
                <a:cubicBezTo>
                  <a:pt x="155" y="434"/>
                  <a:pt x="154" y="435"/>
                  <a:pt x="154" y="435"/>
                </a:cubicBezTo>
                <a:cubicBezTo>
                  <a:pt x="152" y="437"/>
                  <a:pt x="153" y="432"/>
                  <a:pt x="155" y="434"/>
                </a:cubicBezTo>
                <a:close/>
                <a:moveTo>
                  <a:pt x="152" y="391"/>
                </a:moveTo>
                <a:cubicBezTo>
                  <a:pt x="153" y="391"/>
                  <a:pt x="152" y="392"/>
                  <a:pt x="152" y="392"/>
                </a:cubicBezTo>
                <a:cubicBezTo>
                  <a:pt x="151" y="393"/>
                  <a:pt x="151" y="390"/>
                  <a:pt x="152" y="391"/>
                </a:cubicBezTo>
                <a:close/>
                <a:moveTo>
                  <a:pt x="151" y="438"/>
                </a:moveTo>
                <a:cubicBezTo>
                  <a:pt x="152" y="436"/>
                  <a:pt x="154" y="438"/>
                  <a:pt x="151" y="438"/>
                </a:cubicBezTo>
                <a:close/>
                <a:moveTo>
                  <a:pt x="151" y="253"/>
                </a:moveTo>
                <a:cubicBezTo>
                  <a:pt x="151" y="253"/>
                  <a:pt x="151" y="254"/>
                  <a:pt x="150" y="254"/>
                </a:cubicBezTo>
                <a:cubicBezTo>
                  <a:pt x="150" y="253"/>
                  <a:pt x="151" y="252"/>
                  <a:pt x="151" y="253"/>
                </a:cubicBezTo>
                <a:close/>
                <a:moveTo>
                  <a:pt x="150" y="436"/>
                </a:moveTo>
                <a:cubicBezTo>
                  <a:pt x="151" y="436"/>
                  <a:pt x="150" y="437"/>
                  <a:pt x="150" y="437"/>
                </a:cubicBezTo>
                <a:cubicBezTo>
                  <a:pt x="149" y="439"/>
                  <a:pt x="149" y="435"/>
                  <a:pt x="150" y="436"/>
                </a:cubicBezTo>
                <a:close/>
                <a:moveTo>
                  <a:pt x="149" y="322"/>
                </a:moveTo>
                <a:cubicBezTo>
                  <a:pt x="149" y="323"/>
                  <a:pt x="148" y="322"/>
                  <a:pt x="149" y="322"/>
                </a:cubicBezTo>
                <a:close/>
                <a:moveTo>
                  <a:pt x="149" y="365"/>
                </a:moveTo>
                <a:cubicBezTo>
                  <a:pt x="149" y="366"/>
                  <a:pt x="147" y="366"/>
                  <a:pt x="148" y="365"/>
                </a:cubicBezTo>
                <a:cubicBezTo>
                  <a:pt x="148" y="365"/>
                  <a:pt x="149" y="365"/>
                  <a:pt x="149" y="365"/>
                </a:cubicBezTo>
                <a:close/>
                <a:moveTo>
                  <a:pt x="147" y="197"/>
                </a:moveTo>
                <a:cubicBezTo>
                  <a:pt x="146" y="198"/>
                  <a:pt x="146" y="198"/>
                  <a:pt x="145" y="197"/>
                </a:cubicBezTo>
                <a:cubicBezTo>
                  <a:pt x="142" y="194"/>
                  <a:pt x="150" y="194"/>
                  <a:pt x="147" y="197"/>
                </a:cubicBezTo>
                <a:close/>
                <a:moveTo>
                  <a:pt x="145" y="359"/>
                </a:moveTo>
                <a:cubicBezTo>
                  <a:pt x="147" y="359"/>
                  <a:pt x="145" y="362"/>
                  <a:pt x="145" y="362"/>
                </a:cubicBezTo>
                <a:cubicBezTo>
                  <a:pt x="143" y="363"/>
                  <a:pt x="143" y="358"/>
                  <a:pt x="145" y="359"/>
                </a:cubicBezTo>
                <a:close/>
                <a:moveTo>
                  <a:pt x="145" y="402"/>
                </a:moveTo>
                <a:cubicBezTo>
                  <a:pt x="145" y="404"/>
                  <a:pt x="144" y="404"/>
                  <a:pt x="143" y="405"/>
                </a:cubicBezTo>
                <a:cubicBezTo>
                  <a:pt x="143" y="404"/>
                  <a:pt x="144" y="403"/>
                  <a:pt x="145" y="402"/>
                </a:cubicBezTo>
                <a:close/>
                <a:moveTo>
                  <a:pt x="132" y="456"/>
                </a:moveTo>
                <a:cubicBezTo>
                  <a:pt x="134" y="453"/>
                  <a:pt x="139" y="450"/>
                  <a:pt x="143" y="448"/>
                </a:cubicBezTo>
                <a:cubicBezTo>
                  <a:pt x="139" y="451"/>
                  <a:pt x="137" y="455"/>
                  <a:pt x="132" y="456"/>
                </a:cubicBezTo>
                <a:close/>
                <a:moveTo>
                  <a:pt x="131" y="395"/>
                </a:moveTo>
                <a:cubicBezTo>
                  <a:pt x="132" y="394"/>
                  <a:pt x="132" y="393"/>
                  <a:pt x="134" y="393"/>
                </a:cubicBezTo>
                <a:cubicBezTo>
                  <a:pt x="134" y="393"/>
                  <a:pt x="132" y="395"/>
                  <a:pt x="131" y="395"/>
                </a:cubicBezTo>
                <a:close/>
                <a:moveTo>
                  <a:pt x="134" y="448"/>
                </a:moveTo>
                <a:cubicBezTo>
                  <a:pt x="134" y="448"/>
                  <a:pt x="133" y="449"/>
                  <a:pt x="133" y="448"/>
                </a:cubicBezTo>
                <a:cubicBezTo>
                  <a:pt x="132" y="447"/>
                  <a:pt x="135" y="447"/>
                  <a:pt x="134" y="448"/>
                </a:cubicBezTo>
                <a:close/>
                <a:moveTo>
                  <a:pt x="132" y="422"/>
                </a:moveTo>
                <a:cubicBezTo>
                  <a:pt x="131" y="421"/>
                  <a:pt x="131" y="420"/>
                  <a:pt x="132" y="420"/>
                </a:cubicBezTo>
                <a:cubicBezTo>
                  <a:pt x="133" y="420"/>
                  <a:pt x="134" y="421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5" y="424"/>
                  <a:pt x="130" y="426"/>
                  <a:pt x="130" y="423"/>
                </a:cubicBezTo>
                <a:cubicBezTo>
                  <a:pt x="130" y="422"/>
                  <a:pt x="131" y="422"/>
                  <a:pt x="132" y="422"/>
                </a:cubicBezTo>
                <a:close/>
                <a:moveTo>
                  <a:pt x="138" y="416"/>
                </a:moveTo>
                <a:cubicBezTo>
                  <a:pt x="137" y="417"/>
                  <a:pt x="139" y="415"/>
                  <a:pt x="138" y="416"/>
                </a:cubicBezTo>
                <a:close/>
                <a:moveTo>
                  <a:pt x="139" y="433"/>
                </a:moveTo>
                <a:cubicBezTo>
                  <a:pt x="139" y="432"/>
                  <a:pt x="139" y="432"/>
                  <a:pt x="139" y="432"/>
                </a:cubicBezTo>
                <a:cubicBezTo>
                  <a:pt x="139" y="430"/>
                  <a:pt x="141" y="433"/>
                  <a:pt x="139" y="433"/>
                </a:cubicBezTo>
                <a:close/>
                <a:moveTo>
                  <a:pt x="140" y="443"/>
                </a:moveTo>
                <a:cubicBezTo>
                  <a:pt x="140" y="443"/>
                  <a:pt x="141" y="443"/>
                  <a:pt x="141" y="444"/>
                </a:cubicBezTo>
                <a:cubicBezTo>
                  <a:pt x="141" y="444"/>
                  <a:pt x="140" y="444"/>
                  <a:pt x="140" y="443"/>
                </a:cubicBezTo>
                <a:close/>
                <a:moveTo>
                  <a:pt x="142" y="387"/>
                </a:moveTo>
                <a:cubicBezTo>
                  <a:pt x="141" y="387"/>
                  <a:pt x="144" y="386"/>
                  <a:pt x="142" y="387"/>
                </a:cubicBezTo>
                <a:close/>
                <a:moveTo>
                  <a:pt x="142" y="436"/>
                </a:moveTo>
                <a:cubicBezTo>
                  <a:pt x="143" y="436"/>
                  <a:pt x="142" y="439"/>
                  <a:pt x="141" y="437"/>
                </a:cubicBezTo>
                <a:cubicBezTo>
                  <a:pt x="141" y="436"/>
                  <a:pt x="142" y="436"/>
                  <a:pt x="142" y="436"/>
                </a:cubicBezTo>
                <a:close/>
                <a:moveTo>
                  <a:pt x="142" y="387"/>
                </a:moveTo>
                <a:cubicBezTo>
                  <a:pt x="141" y="389"/>
                  <a:pt x="139" y="391"/>
                  <a:pt x="137" y="392"/>
                </a:cubicBezTo>
                <a:cubicBezTo>
                  <a:pt x="137" y="392"/>
                  <a:pt x="139" y="388"/>
                  <a:pt x="142" y="387"/>
                </a:cubicBezTo>
                <a:close/>
                <a:moveTo>
                  <a:pt x="136" y="246"/>
                </a:moveTo>
                <a:cubicBezTo>
                  <a:pt x="135" y="246"/>
                  <a:pt x="137" y="245"/>
                  <a:pt x="136" y="246"/>
                </a:cubicBezTo>
                <a:close/>
                <a:moveTo>
                  <a:pt x="134" y="301"/>
                </a:moveTo>
                <a:cubicBezTo>
                  <a:pt x="134" y="298"/>
                  <a:pt x="136" y="300"/>
                  <a:pt x="134" y="301"/>
                </a:cubicBezTo>
                <a:close/>
                <a:moveTo>
                  <a:pt x="135" y="342"/>
                </a:moveTo>
                <a:cubicBezTo>
                  <a:pt x="135" y="343"/>
                  <a:pt x="134" y="344"/>
                  <a:pt x="134" y="345"/>
                </a:cubicBezTo>
                <a:cubicBezTo>
                  <a:pt x="133" y="344"/>
                  <a:pt x="134" y="342"/>
                  <a:pt x="135" y="342"/>
                </a:cubicBezTo>
                <a:close/>
                <a:moveTo>
                  <a:pt x="129" y="351"/>
                </a:moveTo>
                <a:cubicBezTo>
                  <a:pt x="129" y="350"/>
                  <a:pt x="132" y="348"/>
                  <a:pt x="132" y="346"/>
                </a:cubicBezTo>
                <a:cubicBezTo>
                  <a:pt x="133" y="347"/>
                  <a:pt x="130" y="349"/>
                  <a:pt x="129" y="351"/>
                </a:cubicBezTo>
                <a:close/>
                <a:moveTo>
                  <a:pt x="132" y="280"/>
                </a:moveTo>
                <a:cubicBezTo>
                  <a:pt x="132" y="282"/>
                  <a:pt x="130" y="281"/>
                  <a:pt x="132" y="280"/>
                </a:cubicBezTo>
                <a:close/>
                <a:moveTo>
                  <a:pt x="129" y="305"/>
                </a:moveTo>
                <a:cubicBezTo>
                  <a:pt x="131" y="306"/>
                  <a:pt x="130" y="307"/>
                  <a:pt x="129" y="307"/>
                </a:cubicBezTo>
                <a:cubicBezTo>
                  <a:pt x="127" y="309"/>
                  <a:pt x="128" y="305"/>
                  <a:pt x="129" y="305"/>
                </a:cubicBezTo>
                <a:close/>
                <a:moveTo>
                  <a:pt x="118" y="327"/>
                </a:moveTo>
                <a:cubicBezTo>
                  <a:pt x="118" y="327"/>
                  <a:pt x="117" y="327"/>
                  <a:pt x="117" y="326"/>
                </a:cubicBezTo>
                <a:cubicBezTo>
                  <a:pt x="117" y="326"/>
                  <a:pt x="119" y="326"/>
                  <a:pt x="118" y="327"/>
                </a:cubicBezTo>
                <a:close/>
                <a:moveTo>
                  <a:pt x="118" y="336"/>
                </a:moveTo>
                <a:cubicBezTo>
                  <a:pt x="118" y="336"/>
                  <a:pt x="118" y="337"/>
                  <a:pt x="117" y="336"/>
                </a:cubicBezTo>
                <a:cubicBezTo>
                  <a:pt x="117" y="336"/>
                  <a:pt x="119" y="334"/>
                  <a:pt x="118" y="336"/>
                </a:cubicBezTo>
                <a:close/>
                <a:moveTo>
                  <a:pt x="115" y="336"/>
                </a:moveTo>
                <a:cubicBezTo>
                  <a:pt x="116" y="335"/>
                  <a:pt x="114" y="337"/>
                  <a:pt x="115" y="336"/>
                </a:cubicBezTo>
                <a:close/>
                <a:moveTo>
                  <a:pt x="115" y="386"/>
                </a:moveTo>
                <a:cubicBezTo>
                  <a:pt x="116" y="387"/>
                  <a:pt x="115" y="387"/>
                  <a:pt x="114" y="387"/>
                </a:cubicBezTo>
                <a:cubicBezTo>
                  <a:pt x="114" y="388"/>
                  <a:pt x="115" y="386"/>
                  <a:pt x="115" y="386"/>
                </a:cubicBezTo>
                <a:close/>
                <a:moveTo>
                  <a:pt x="114" y="388"/>
                </a:moveTo>
                <a:cubicBezTo>
                  <a:pt x="114" y="389"/>
                  <a:pt x="113" y="389"/>
                  <a:pt x="113" y="390"/>
                </a:cubicBezTo>
                <a:cubicBezTo>
                  <a:pt x="112" y="390"/>
                  <a:pt x="113" y="388"/>
                  <a:pt x="114" y="388"/>
                </a:cubicBezTo>
                <a:close/>
                <a:moveTo>
                  <a:pt x="111" y="394"/>
                </a:moveTo>
                <a:cubicBezTo>
                  <a:pt x="110" y="393"/>
                  <a:pt x="112" y="392"/>
                  <a:pt x="112" y="391"/>
                </a:cubicBezTo>
                <a:cubicBezTo>
                  <a:pt x="113" y="392"/>
                  <a:pt x="111" y="393"/>
                  <a:pt x="111" y="394"/>
                </a:cubicBezTo>
                <a:close/>
                <a:moveTo>
                  <a:pt x="112" y="243"/>
                </a:moveTo>
                <a:cubicBezTo>
                  <a:pt x="111" y="245"/>
                  <a:pt x="111" y="241"/>
                  <a:pt x="112" y="242"/>
                </a:cubicBezTo>
                <a:cubicBezTo>
                  <a:pt x="113" y="242"/>
                  <a:pt x="112" y="243"/>
                  <a:pt x="112" y="243"/>
                </a:cubicBezTo>
                <a:close/>
                <a:moveTo>
                  <a:pt x="115" y="433"/>
                </a:moveTo>
                <a:cubicBezTo>
                  <a:pt x="111" y="434"/>
                  <a:pt x="116" y="429"/>
                  <a:pt x="116" y="432"/>
                </a:cubicBezTo>
                <a:cubicBezTo>
                  <a:pt x="116" y="432"/>
                  <a:pt x="115" y="433"/>
                  <a:pt x="115" y="433"/>
                </a:cubicBezTo>
                <a:close/>
                <a:moveTo>
                  <a:pt x="116" y="435"/>
                </a:moveTo>
                <a:cubicBezTo>
                  <a:pt x="115" y="436"/>
                  <a:pt x="117" y="434"/>
                  <a:pt x="116" y="435"/>
                </a:cubicBezTo>
                <a:close/>
                <a:moveTo>
                  <a:pt x="113" y="417"/>
                </a:moveTo>
                <a:cubicBezTo>
                  <a:pt x="115" y="413"/>
                  <a:pt x="118" y="409"/>
                  <a:pt x="121" y="406"/>
                </a:cubicBezTo>
                <a:cubicBezTo>
                  <a:pt x="119" y="410"/>
                  <a:pt x="117" y="414"/>
                  <a:pt x="113" y="417"/>
                </a:cubicBezTo>
                <a:close/>
                <a:moveTo>
                  <a:pt x="121" y="276"/>
                </a:moveTo>
                <a:cubicBezTo>
                  <a:pt x="121" y="276"/>
                  <a:pt x="121" y="277"/>
                  <a:pt x="121" y="277"/>
                </a:cubicBezTo>
                <a:cubicBezTo>
                  <a:pt x="120" y="276"/>
                  <a:pt x="122" y="275"/>
                  <a:pt x="121" y="276"/>
                </a:cubicBezTo>
                <a:close/>
                <a:moveTo>
                  <a:pt x="122" y="193"/>
                </a:moveTo>
                <a:cubicBezTo>
                  <a:pt x="123" y="193"/>
                  <a:pt x="123" y="195"/>
                  <a:pt x="122" y="195"/>
                </a:cubicBezTo>
                <a:cubicBezTo>
                  <a:pt x="121" y="197"/>
                  <a:pt x="121" y="192"/>
                  <a:pt x="122" y="193"/>
                </a:cubicBezTo>
                <a:close/>
                <a:moveTo>
                  <a:pt x="122" y="472"/>
                </a:moveTo>
                <a:cubicBezTo>
                  <a:pt x="122" y="473"/>
                  <a:pt x="121" y="474"/>
                  <a:pt x="120" y="475"/>
                </a:cubicBezTo>
                <a:cubicBezTo>
                  <a:pt x="120" y="474"/>
                  <a:pt x="121" y="472"/>
                  <a:pt x="122" y="472"/>
                </a:cubicBezTo>
                <a:close/>
                <a:moveTo>
                  <a:pt x="120" y="461"/>
                </a:moveTo>
                <a:cubicBezTo>
                  <a:pt x="121" y="463"/>
                  <a:pt x="118" y="467"/>
                  <a:pt x="116" y="466"/>
                </a:cubicBezTo>
                <a:cubicBezTo>
                  <a:pt x="115" y="464"/>
                  <a:pt x="119" y="462"/>
                  <a:pt x="120" y="461"/>
                </a:cubicBezTo>
                <a:close/>
                <a:moveTo>
                  <a:pt x="111" y="479"/>
                </a:moveTo>
                <a:cubicBezTo>
                  <a:pt x="110" y="481"/>
                  <a:pt x="109" y="480"/>
                  <a:pt x="111" y="479"/>
                </a:cubicBezTo>
                <a:close/>
                <a:moveTo>
                  <a:pt x="110" y="496"/>
                </a:moveTo>
                <a:cubicBezTo>
                  <a:pt x="111" y="495"/>
                  <a:pt x="109" y="497"/>
                  <a:pt x="110" y="496"/>
                </a:cubicBezTo>
                <a:close/>
                <a:moveTo>
                  <a:pt x="107" y="477"/>
                </a:moveTo>
                <a:cubicBezTo>
                  <a:pt x="107" y="476"/>
                  <a:pt x="106" y="478"/>
                  <a:pt x="107" y="477"/>
                </a:cubicBezTo>
                <a:close/>
                <a:moveTo>
                  <a:pt x="109" y="509"/>
                </a:moveTo>
                <a:cubicBezTo>
                  <a:pt x="108" y="510"/>
                  <a:pt x="107" y="509"/>
                  <a:pt x="106" y="508"/>
                </a:cubicBezTo>
                <a:cubicBezTo>
                  <a:pt x="104" y="505"/>
                  <a:pt x="110" y="501"/>
                  <a:pt x="111" y="503"/>
                </a:cubicBezTo>
                <a:cubicBezTo>
                  <a:pt x="114" y="504"/>
                  <a:pt x="111" y="509"/>
                  <a:pt x="109" y="509"/>
                </a:cubicBezTo>
                <a:close/>
                <a:moveTo>
                  <a:pt x="115" y="501"/>
                </a:moveTo>
                <a:cubicBezTo>
                  <a:pt x="115" y="499"/>
                  <a:pt x="117" y="501"/>
                  <a:pt x="115" y="501"/>
                </a:cubicBezTo>
                <a:close/>
                <a:moveTo>
                  <a:pt x="115" y="498"/>
                </a:moveTo>
                <a:cubicBezTo>
                  <a:pt x="115" y="498"/>
                  <a:pt x="115" y="498"/>
                  <a:pt x="115" y="498"/>
                </a:cubicBezTo>
                <a:cubicBezTo>
                  <a:pt x="115" y="499"/>
                  <a:pt x="115" y="499"/>
                  <a:pt x="115" y="499"/>
                </a:cubicBezTo>
                <a:cubicBezTo>
                  <a:pt x="114" y="500"/>
                  <a:pt x="114" y="500"/>
                  <a:pt x="114" y="501"/>
                </a:cubicBezTo>
                <a:cubicBezTo>
                  <a:pt x="114" y="501"/>
                  <a:pt x="114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1"/>
                  <a:pt x="113" y="501"/>
                </a:cubicBezTo>
                <a:cubicBezTo>
                  <a:pt x="114" y="499"/>
                  <a:pt x="115" y="496"/>
                  <a:pt x="116" y="494"/>
                </a:cubicBezTo>
                <a:cubicBezTo>
                  <a:pt x="116" y="495"/>
                  <a:pt x="116" y="497"/>
                  <a:pt x="115" y="498"/>
                </a:cubicBezTo>
                <a:close/>
                <a:moveTo>
                  <a:pt x="115" y="482"/>
                </a:moveTo>
                <a:cubicBezTo>
                  <a:pt x="116" y="481"/>
                  <a:pt x="118" y="481"/>
                  <a:pt x="120" y="480"/>
                </a:cubicBezTo>
                <a:cubicBezTo>
                  <a:pt x="119" y="482"/>
                  <a:pt x="117" y="482"/>
                  <a:pt x="115" y="482"/>
                </a:cubicBezTo>
                <a:close/>
                <a:moveTo>
                  <a:pt x="121" y="500"/>
                </a:moveTo>
                <a:cubicBezTo>
                  <a:pt x="122" y="501"/>
                  <a:pt x="121" y="503"/>
                  <a:pt x="119" y="503"/>
                </a:cubicBezTo>
                <a:cubicBezTo>
                  <a:pt x="117" y="502"/>
                  <a:pt x="119" y="499"/>
                  <a:pt x="121" y="500"/>
                </a:cubicBezTo>
                <a:cubicBezTo>
                  <a:pt x="119" y="498"/>
                  <a:pt x="121" y="493"/>
                  <a:pt x="124" y="494"/>
                </a:cubicBezTo>
                <a:cubicBezTo>
                  <a:pt x="128" y="495"/>
                  <a:pt x="124" y="503"/>
                  <a:pt x="121" y="500"/>
                </a:cubicBezTo>
                <a:close/>
                <a:moveTo>
                  <a:pt x="123" y="425"/>
                </a:moveTo>
                <a:cubicBezTo>
                  <a:pt x="123" y="425"/>
                  <a:pt x="123" y="424"/>
                  <a:pt x="124" y="424"/>
                </a:cubicBezTo>
                <a:cubicBezTo>
                  <a:pt x="124" y="424"/>
                  <a:pt x="123" y="425"/>
                  <a:pt x="123" y="425"/>
                </a:cubicBezTo>
                <a:close/>
                <a:moveTo>
                  <a:pt x="123" y="474"/>
                </a:moveTo>
                <a:cubicBezTo>
                  <a:pt x="123" y="472"/>
                  <a:pt x="125" y="474"/>
                  <a:pt x="123" y="474"/>
                </a:cubicBezTo>
                <a:close/>
                <a:moveTo>
                  <a:pt x="123" y="471"/>
                </a:moveTo>
                <a:cubicBezTo>
                  <a:pt x="125" y="469"/>
                  <a:pt x="122" y="472"/>
                  <a:pt x="123" y="471"/>
                </a:cubicBezTo>
                <a:close/>
                <a:moveTo>
                  <a:pt x="126" y="472"/>
                </a:moveTo>
                <a:cubicBezTo>
                  <a:pt x="126" y="472"/>
                  <a:pt x="126" y="472"/>
                  <a:pt x="126" y="472"/>
                </a:cubicBezTo>
                <a:cubicBezTo>
                  <a:pt x="125" y="472"/>
                  <a:pt x="125" y="473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lose/>
                <a:moveTo>
                  <a:pt x="127" y="431"/>
                </a:moveTo>
                <a:cubicBezTo>
                  <a:pt x="127" y="431"/>
                  <a:pt x="128" y="431"/>
                  <a:pt x="127" y="432"/>
                </a:cubicBezTo>
                <a:cubicBezTo>
                  <a:pt x="127" y="433"/>
                  <a:pt x="126" y="431"/>
                  <a:pt x="127" y="431"/>
                </a:cubicBezTo>
                <a:close/>
                <a:moveTo>
                  <a:pt x="127" y="501"/>
                </a:moveTo>
                <a:cubicBezTo>
                  <a:pt x="127" y="500"/>
                  <a:pt x="127" y="500"/>
                  <a:pt x="127" y="500"/>
                </a:cubicBezTo>
                <a:cubicBezTo>
                  <a:pt x="127" y="498"/>
                  <a:pt x="129" y="501"/>
                  <a:pt x="127" y="501"/>
                </a:cubicBezTo>
                <a:close/>
                <a:moveTo>
                  <a:pt x="128" y="501"/>
                </a:moveTo>
                <a:cubicBezTo>
                  <a:pt x="127" y="502"/>
                  <a:pt x="128" y="499"/>
                  <a:pt x="129" y="500"/>
                </a:cubicBezTo>
                <a:cubicBezTo>
                  <a:pt x="130" y="501"/>
                  <a:pt x="129" y="501"/>
                  <a:pt x="128" y="501"/>
                </a:cubicBezTo>
                <a:close/>
                <a:moveTo>
                  <a:pt x="128" y="456"/>
                </a:moveTo>
                <a:cubicBezTo>
                  <a:pt x="129" y="455"/>
                  <a:pt x="127" y="457"/>
                  <a:pt x="128" y="456"/>
                </a:cubicBezTo>
                <a:close/>
                <a:moveTo>
                  <a:pt x="125" y="401"/>
                </a:moveTo>
                <a:cubicBezTo>
                  <a:pt x="125" y="401"/>
                  <a:pt x="122" y="406"/>
                  <a:pt x="123" y="403"/>
                </a:cubicBezTo>
                <a:cubicBezTo>
                  <a:pt x="123" y="401"/>
                  <a:pt x="128" y="398"/>
                  <a:pt x="130" y="396"/>
                </a:cubicBezTo>
                <a:cubicBezTo>
                  <a:pt x="129" y="398"/>
                  <a:pt x="127" y="399"/>
                  <a:pt x="125" y="401"/>
                </a:cubicBezTo>
                <a:close/>
                <a:moveTo>
                  <a:pt x="131" y="424"/>
                </a:moveTo>
                <a:cubicBezTo>
                  <a:pt x="131" y="424"/>
                  <a:pt x="131" y="425"/>
                  <a:pt x="130" y="426"/>
                </a:cubicBezTo>
                <a:cubicBezTo>
                  <a:pt x="130" y="426"/>
                  <a:pt x="130" y="424"/>
                  <a:pt x="131" y="424"/>
                </a:cubicBezTo>
                <a:close/>
                <a:moveTo>
                  <a:pt x="131" y="503"/>
                </a:moveTo>
                <a:cubicBezTo>
                  <a:pt x="129" y="502"/>
                  <a:pt x="134" y="500"/>
                  <a:pt x="132" y="503"/>
                </a:cubicBezTo>
                <a:cubicBezTo>
                  <a:pt x="132" y="503"/>
                  <a:pt x="131" y="504"/>
                  <a:pt x="131" y="503"/>
                </a:cubicBezTo>
                <a:close/>
                <a:moveTo>
                  <a:pt x="132" y="505"/>
                </a:moveTo>
                <a:cubicBezTo>
                  <a:pt x="132" y="506"/>
                  <a:pt x="133" y="504"/>
                  <a:pt x="132" y="505"/>
                </a:cubicBezTo>
                <a:close/>
                <a:moveTo>
                  <a:pt x="132" y="478"/>
                </a:moveTo>
                <a:cubicBezTo>
                  <a:pt x="130" y="480"/>
                  <a:pt x="130" y="474"/>
                  <a:pt x="132" y="475"/>
                </a:cubicBezTo>
                <a:cubicBezTo>
                  <a:pt x="134" y="476"/>
                  <a:pt x="133" y="478"/>
                  <a:pt x="132" y="478"/>
                </a:cubicBezTo>
                <a:close/>
                <a:moveTo>
                  <a:pt x="138" y="496"/>
                </a:moveTo>
                <a:cubicBezTo>
                  <a:pt x="136" y="498"/>
                  <a:pt x="135" y="493"/>
                  <a:pt x="137" y="494"/>
                </a:cubicBezTo>
                <a:cubicBezTo>
                  <a:pt x="138" y="494"/>
                  <a:pt x="138" y="496"/>
                  <a:pt x="138" y="496"/>
                </a:cubicBezTo>
                <a:close/>
                <a:moveTo>
                  <a:pt x="140" y="501"/>
                </a:moveTo>
                <a:cubicBezTo>
                  <a:pt x="141" y="500"/>
                  <a:pt x="141" y="502"/>
                  <a:pt x="140" y="501"/>
                </a:cubicBezTo>
                <a:close/>
                <a:moveTo>
                  <a:pt x="139" y="469"/>
                </a:moveTo>
                <a:cubicBezTo>
                  <a:pt x="138" y="471"/>
                  <a:pt x="136" y="474"/>
                  <a:pt x="135" y="475"/>
                </a:cubicBezTo>
                <a:cubicBezTo>
                  <a:pt x="130" y="476"/>
                  <a:pt x="139" y="468"/>
                  <a:pt x="141" y="467"/>
                </a:cubicBezTo>
                <a:cubicBezTo>
                  <a:pt x="138" y="469"/>
                  <a:pt x="141" y="465"/>
                  <a:pt x="142" y="466"/>
                </a:cubicBezTo>
                <a:cubicBezTo>
                  <a:pt x="143" y="467"/>
                  <a:pt x="140" y="469"/>
                  <a:pt x="139" y="469"/>
                </a:cubicBezTo>
                <a:close/>
                <a:moveTo>
                  <a:pt x="143" y="510"/>
                </a:moveTo>
                <a:cubicBezTo>
                  <a:pt x="142" y="510"/>
                  <a:pt x="142" y="511"/>
                  <a:pt x="142" y="511"/>
                </a:cubicBezTo>
                <a:cubicBezTo>
                  <a:pt x="143" y="510"/>
                  <a:pt x="143" y="509"/>
                  <a:pt x="143" y="510"/>
                </a:cubicBezTo>
                <a:close/>
                <a:moveTo>
                  <a:pt x="143" y="484"/>
                </a:moveTo>
                <a:cubicBezTo>
                  <a:pt x="143" y="484"/>
                  <a:pt x="144" y="483"/>
                  <a:pt x="144" y="483"/>
                </a:cubicBezTo>
                <a:cubicBezTo>
                  <a:pt x="144" y="483"/>
                  <a:pt x="144" y="484"/>
                  <a:pt x="143" y="484"/>
                </a:cubicBezTo>
                <a:close/>
                <a:moveTo>
                  <a:pt x="144" y="494"/>
                </a:moveTo>
                <a:cubicBezTo>
                  <a:pt x="144" y="493"/>
                  <a:pt x="147" y="493"/>
                  <a:pt x="147" y="494"/>
                </a:cubicBezTo>
                <a:cubicBezTo>
                  <a:pt x="147" y="495"/>
                  <a:pt x="144" y="497"/>
                  <a:pt x="144" y="494"/>
                </a:cubicBezTo>
                <a:close/>
                <a:moveTo>
                  <a:pt x="145" y="517"/>
                </a:moveTo>
                <a:cubicBezTo>
                  <a:pt x="144" y="515"/>
                  <a:pt x="148" y="516"/>
                  <a:pt x="148" y="517"/>
                </a:cubicBezTo>
                <a:cubicBezTo>
                  <a:pt x="147" y="518"/>
                  <a:pt x="145" y="519"/>
                  <a:pt x="145" y="517"/>
                </a:cubicBezTo>
                <a:close/>
                <a:moveTo>
                  <a:pt x="142" y="481"/>
                </a:moveTo>
                <a:cubicBezTo>
                  <a:pt x="144" y="479"/>
                  <a:pt x="146" y="477"/>
                  <a:pt x="149" y="476"/>
                </a:cubicBezTo>
                <a:cubicBezTo>
                  <a:pt x="147" y="478"/>
                  <a:pt x="145" y="480"/>
                  <a:pt x="142" y="481"/>
                </a:cubicBezTo>
                <a:close/>
                <a:moveTo>
                  <a:pt x="149" y="515"/>
                </a:moveTo>
                <a:cubicBezTo>
                  <a:pt x="149" y="515"/>
                  <a:pt x="147" y="515"/>
                  <a:pt x="148" y="514"/>
                </a:cubicBezTo>
                <a:cubicBezTo>
                  <a:pt x="148" y="514"/>
                  <a:pt x="150" y="515"/>
                  <a:pt x="149" y="515"/>
                </a:cubicBezTo>
                <a:close/>
                <a:moveTo>
                  <a:pt x="150" y="472"/>
                </a:moveTo>
                <a:cubicBezTo>
                  <a:pt x="149" y="472"/>
                  <a:pt x="150" y="470"/>
                  <a:pt x="150" y="470"/>
                </a:cubicBezTo>
                <a:cubicBezTo>
                  <a:pt x="151" y="471"/>
                  <a:pt x="149" y="472"/>
                  <a:pt x="150" y="472"/>
                </a:cubicBezTo>
                <a:close/>
                <a:moveTo>
                  <a:pt x="150" y="468"/>
                </a:moveTo>
                <a:cubicBezTo>
                  <a:pt x="150" y="468"/>
                  <a:pt x="150" y="468"/>
                  <a:pt x="151" y="468"/>
                </a:cubicBezTo>
                <a:cubicBezTo>
                  <a:pt x="151" y="468"/>
                  <a:pt x="151" y="467"/>
                  <a:pt x="151" y="467"/>
                </a:cubicBezTo>
                <a:cubicBezTo>
                  <a:pt x="151" y="467"/>
                  <a:pt x="151" y="467"/>
                  <a:pt x="151" y="467"/>
                </a:cubicBezTo>
                <a:cubicBezTo>
                  <a:pt x="151" y="468"/>
                  <a:pt x="151" y="468"/>
                  <a:pt x="151" y="468"/>
                </a:cubicBezTo>
                <a:cubicBezTo>
                  <a:pt x="150" y="468"/>
                  <a:pt x="150" y="468"/>
                  <a:pt x="150" y="468"/>
                </a:cubicBezTo>
                <a:close/>
                <a:moveTo>
                  <a:pt x="152" y="551"/>
                </a:moveTo>
                <a:cubicBezTo>
                  <a:pt x="151" y="551"/>
                  <a:pt x="151" y="551"/>
                  <a:pt x="151" y="551"/>
                </a:cubicBezTo>
                <a:cubicBezTo>
                  <a:pt x="150" y="550"/>
                  <a:pt x="153" y="549"/>
                  <a:pt x="152" y="551"/>
                </a:cubicBezTo>
                <a:close/>
                <a:moveTo>
                  <a:pt x="152" y="540"/>
                </a:moveTo>
                <a:cubicBezTo>
                  <a:pt x="150" y="541"/>
                  <a:pt x="150" y="536"/>
                  <a:pt x="153" y="537"/>
                </a:cubicBezTo>
                <a:cubicBezTo>
                  <a:pt x="154" y="537"/>
                  <a:pt x="153" y="539"/>
                  <a:pt x="152" y="540"/>
                </a:cubicBezTo>
                <a:close/>
                <a:moveTo>
                  <a:pt x="154" y="484"/>
                </a:moveTo>
                <a:cubicBezTo>
                  <a:pt x="153" y="483"/>
                  <a:pt x="155" y="483"/>
                  <a:pt x="155" y="484"/>
                </a:cubicBezTo>
                <a:cubicBezTo>
                  <a:pt x="155" y="484"/>
                  <a:pt x="154" y="485"/>
                  <a:pt x="154" y="484"/>
                </a:cubicBezTo>
                <a:close/>
                <a:moveTo>
                  <a:pt x="158" y="546"/>
                </a:moveTo>
                <a:cubicBezTo>
                  <a:pt x="158" y="546"/>
                  <a:pt x="158" y="547"/>
                  <a:pt x="158" y="547"/>
                </a:cubicBezTo>
                <a:cubicBezTo>
                  <a:pt x="158" y="547"/>
                  <a:pt x="158" y="547"/>
                  <a:pt x="158" y="547"/>
                </a:cubicBezTo>
                <a:cubicBezTo>
                  <a:pt x="157" y="547"/>
                  <a:pt x="155" y="548"/>
                  <a:pt x="154" y="548"/>
                </a:cubicBezTo>
                <a:cubicBezTo>
                  <a:pt x="155" y="546"/>
                  <a:pt x="158" y="546"/>
                  <a:pt x="160" y="545"/>
                </a:cubicBezTo>
                <a:cubicBezTo>
                  <a:pt x="160" y="545"/>
                  <a:pt x="159" y="546"/>
                  <a:pt x="158" y="546"/>
                </a:cubicBezTo>
                <a:close/>
                <a:moveTo>
                  <a:pt x="155" y="544"/>
                </a:moveTo>
                <a:cubicBezTo>
                  <a:pt x="155" y="544"/>
                  <a:pt x="156" y="543"/>
                  <a:pt x="156" y="544"/>
                </a:cubicBezTo>
                <a:cubicBezTo>
                  <a:pt x="156" y="544"/>
                  <a:pt x="155" y="546"/>
                  <a:pt x="155" y="544"/>
                </a:cubicBezTo>
                <a:close/>
                <a:moveTo>
                  <a:pt x="160" y="521"/>
                </a:moveTo>
                <a:cubicBezTo>
                  <a:pt x="151" y="525"/>
                  <a:pt x="154" y="511"/>
                  <a:pt x="161" y="512"/>
                </a:cubicBezTo>
                <a:cubicBezTo>
                  <a:pt x="165" y="513"/>
                  <a:pt x="162" y="520"/>
                  <a:pt x="160" y="521"/>
                </a:cubicBezTo>
                <a:close/>
                <a:moveTo>
                  <a:pt x="162" y="544"/>
                </a:moveTo>
                <a:cubicBezTo>
                  <a:pt x="162" y="545"/>
                  <a:pt x="161" y="545"/>
                  <a:pt x="161" y="545"/>
                </a:cubicBezTo>
                <a:cubicBezTo>
                  <a:pt x="160" y="544"/>
                  <a:pt x="165" y="543"/>
                  <a:pt x="162" y="544"/>
                </a:cubicBezTo>
                <a:close/>
                <a:moveTo>
                  <a:pt x="168" y="525"/>
                </a:moveTo>
                <a:cubicBezTo>
                  <a:pt x="168" y="525"/>
                  <a:pt x="169" y="525"/>
                  <a:pt x="169" y="525"/>
                </a:cubicBezTo>
                <a:cubicBezTo>
                  <a:pt x="169" y="526"/>
                  <a:pt x="168" y="526"/>
                  <a:pt x="168" y="525"/>
                </a:cubicBezTo>
                <a:close/>
                <a:moveTo>
                  <a:pt x="170" y="537"/>
                </a:moveTo>
                <a:cubicBezTo>
                  <a:pt x="168" y="538"/>
                  <a:pt x="168" y="535"/>
                  <a:pt x="170" y="535"/>
                </a:cubicBezTo>
                <a:cubicBezTo>
                  <a:pt x="171" y="536"/>
                  <a:pt x="170" y="536"/>
                  <a:pt x="170" y="537"/>
                </a:cubicBezTo>
                <a:close/>
                <a:moveTo>
                  <a:pt x="172" y="521"/>
                </a:moveTo>
                <a:cubicBezTo>
                  <a:pt x="170" y="522"/>
                  <a:pt x="165" y="524"/>
                  <a:pt x="161" y="525"/>
                </a:cubicBezTo>
                <a:cubicBezTo>
                  <a:pt x="164" y="523"/>
                  <a:pt x="170" y="520"/>
                  <a:pt x="173" y="519"/>
                </a:cubicBezTo>
                <a:cubicBezTo>
                  <a:pt x="172" y="519"/>
                  <a:pt x="175" y="519"/>
                  <a:pt x="175" y="519"/>
                </a:cubicBezTo>
                <a:cubicBezTo>
                  <a:pt x="175" y="520"/>
                  <a:pt x="173" y="520"/>
                  <a:pt x="172" y="521"/>
                </a:cubicBezTo>
                <a:close/>
                <a:moveTo>
                  <a:pt x="176" y="546"/>
                </a:moveTo>
                <a:cubicBezTo>
                  <a:pt x="175" y="547"/>
                  <a:pt x="175" y="547"/>
                  <a:pt x="175" y="546"/>
                </a:cubicBezTo>
                <a:cubicBezTo>
                  <a:pt x="174" y="545"/>
                  <a:pt x="177" y="545"/>
                  <a:pt x="176" y="546"/>
                </a:cubicBezTo>
                <a:close/>
                <a:moveTo>
                  <a:pt x="174" y="497"/>
                </a:moveTo>
                <a:cubicBezTo>
                  <a:pt x="174" y="496"/>
                  <a:pt x="176" y="497"/>
                  <a:pt x="176" y="497"/>
                </a:cubicBezTo>
                <a:cubicBezTo>
                  <a:pt x="176" y="498"/>
                  <a:pt x="174" y="499"/>
                  <a:pt x="174" y="497"/>
                </a:cubicBezTo>
                <a:close/>
                <a:moveTo>
                  <a:pt x="176" y="431"/>
                </a:moveTo>
                <a:cubicBezTo>
                  <a:pt x="176" y="431"/>
                  <a:pt x="176" y="431"/>
                  <a:pt x="176" y="431"/>
                </a:cubicBezTo>
                <a:cubicBezTo>
                  <a:pt x="175" y="433"/>
                  <a:pt x="176" y="429"/>
                  <a:pt x="176" y="431"/>
                </a:cubicBezTo>
                <a:close/>
                <a:moveTo>
                  <a:pt x="176" y="487"/>
                </a:moveTo>
                <a:cubicBezTo>
                  <a:pt x="176" y="485"/>
                  <a:pt x="181" y="484"/>
                  <a:pt x="181" y="486"/>
                </a:cubicBezTo>
                <a:cubicBezTo>
                  <a:pt x="182" y="489"/>
                  <a:pt x="176" y="491"/>
                  <a:pt x="176" y="487"/>
                </a:cubicBezTo>
                <a:close/>
                <a:moveTo>
                  <a:pt x="180" y="543"/>
                </a:moveTo>
                <a:cubicBezTo>
                  <a:pt x="180" y="543"/>
                  <a:pt x="181" y="542"/>
                  <a:pt x="182" y="543"/>
                </a:cubicBezTo>
                <a:cubicBezTo>
                  <a:pt x="182" y="544"/>
                  <a:pt x="180" y="544"/>
                  <a:pt x="180" y="543"/>
                </a:cubicBezTo>
                <a:close/>
                <a:moveTo>
                  <a:pt x="182" y="538"/>
                </a:moveTo>
                <a:cubicBezTo>
                  <a:pt x="181" y="539"/>
                  <a:pt x="182" y="536"/>
                  <a:pt x="183" y="537"/>
                </a:cubicBezTo>
                <a:cubicBezTo>
                  <a:pt x="183" y="537"/>
                  <a:pt x="183" y="538"/>
                  <a:pt x="182" y="538"/>
                </a:cubicBezTo>
                <a:close/>
                <a:moveTo>
                  <a:pt x="183" y="485"/>
                </a:moveTo>
                <a:cubicBezTo>
                  <a:pt x="183" y="484"/>
                  <a:pt x="181" y="483"/>
                  <a:pt x="181" y="482"/>
                </a:cubicBezTo>
                <a:cubicBezTo>
                  <a:pt x="182" y="480"/>
                  <a:pt x="183" y="482"/>
                  <a:pt x="184" y="481"/>
                </a:cubicBezTo>
                <a:cubicBezTo>
                  <a:pt x="186" y="479"/>
                  <a:pt x="186" y="475"/>
                  <a:pt x="189" y="472"/>
                </a:cubicBezTo>
                <a:cubicBezTo>
                  <a:pt x="188" y="476"/>
                  <a:pt x="185" y="481"/>
                  <a:pt x="183" y="485"/>
                </a:cubicBezTo>
                <a:close/>
                <a:moveTo>
                  <a:pt x="186" y="544"/>
                </a:moveTo>
                <a:cubicBezTo>
                  <a:pt x="184" y="546"/>
                  <a:pt x="184" y="543"/>
                  <a:pt x="186" y="544"/>
                </a:cubicBezTo>
                <a:close/>
                <a:moveTo>
                  <a:pt x="185" y="507"/>
                </a:moveTo>
                <a:cubicBezTo>
                  <a:pt x="183" y="504"/>
                  <a:pt x="190" y="504"/>
                  <a:pt x="187" y="507"/>
                </a:cubicBezTo>
                <a:cubicBezTo>
                  <a:pt x="187" y="507"/>
                  <a:pt x="186" y="507"/>
                  <a:pt x="185" y="507"/>
                </a:cubicBezTo>
                <a:close/>
                <a:moveTo>
                  <a:pt x="189" y="542"/>
                </a:moveTo>
                <a:cubicBezTo>
                  <a:pt x="189" y="542"/>
                  <a:pt x="190" y="541"/>
                  <a:pt x="190" y="541"/>
                </a:cubicBezTo>
                <a:cubicBezTo>
                  <a:pt x="191" y="541"/>
                  <a:pt x="190" y="541"/>
                  <a:pt x="189" y="542"/>
                </a:cubicBezTo>
                <a:close/>
                <a:moveTo>
                  <a:pt x="193" y="537"/>
                </a:moveTo>
                <a:cubicBezTo>
                  <a:pt x="193" y="537"/>
                  <a:pt x="193" y="538"/>
                  <a:pt x="193" y="538"/>
                </a:cubicBezTo>
                <a:cubicBezTo>
                  <a:pt x="191" y="539"/>
                  <a:pt x="193" y="535"/>
                  <a:pt x="193" y="537"/>
                </a:cubicBezTo>
                <a:close/>
                <a:moveTo>
                  <a:pt x="188" y="542"/>
                </a:moveTo>
                <a:cubicBezTo>
                  <a:pt x="188" y="540"/>
                  <a:pt x="191" y="536"/>
                  <a:pt x="193" y="535"/>
                </a:cubicBezTo>
                <a:cubicBezTo>
                  <a:pt x="191" y="537"/>
                  <a:pt x="190" y="540"/>
                  <a:pt x="188" y="542"/>
                </a:cubicBezTo>
                <a:close/>
                <a:moveTo>
                  <a:pt x="190" y="499"/>
                </a:moveTo>
                <a:cubicBezTo>
                  <a:pt x="191" y="498"/>
                  <a:pt x="192" y="497"/>
                  <a:pt x="194" y="497"/>
                </a:cubicBezTo>
                <a:cubicBezTo>
                  <a:pt x="193" y="498"/>
                  <a:pt x="192" y="499"/>
                  <a:pt x="190" y="499"/>
                </a:cubicBezTo>
                <a:close/>
                <a:moveTo>
                  <a:pt x="194" y="533"/>
                </a:moveTo>
                <a:cubicBezTo>
                  <a:pt x="193" y="533"/>
                  <a:pt x="195" y="531"/>
                  <a:pt x="195" y="531"/>
                </a:cubicBezTo>
                <a:cubicBezTo>
                  <a:pt x="196" y="531"/>
                  <a:pt x="194" y="533"/>
                  <a:pt x="194" y="533"/>
                </a:cubicBezTo>
                <a:close/>
                <a:moveTo>
                  <a:pt x="194" y="497"/>
                </a:moveTo>
                <a:cubicBezTo>
                  <a:pt x="194" y="497"/>
                  <a:pt x="194" y="497"/>
                  <a:pt x="194" y="497"/>
                </a:cubicBezTo>
                <a:close/>
                <a:moveTo>
                  <a:pt x="195" y="497"/>
                </a:move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7"/>
                </a:cubicBezTo>
                <a:close/>
                <a:moveTo>
                  <a:pt x="189" y="398"/>
                </a:moveTo>
                <a:cubicBezTo>
                  <a:pt x="192" y="394"/>
                  <a:pt x="196" y="392"/>
                  <a:pt x="201" y="389"/>
                </a:cubicBezTo>
                <a:cubicBezTo>
                  <a:pt x="198" y="392"/>
                  <a:pt x="192" y="395"/>
                  <a:pt x="189" y="398"/>
                </a:cubicBezTo>
                <a:close/>
                <a:moveTo>
                  <a:pt x="196" y="530"/>
                </a:moveTo>
                <a:cubicBezTo>
                  <a:pt x="196" y="531"/>
                  <a:pt x="195" y="529"/>
                  <a:pt x="196" y="530"/>
                </a:cubicBezTo>
                <a:close/>
                <a:moveTo>
                  <a:pt x="198" y="514"/>
                </a:moveTo>
                <a:cubicBezTo>
                  <a:pt x="198" y="514"/>
                  <a:pt x="198" y="515"/>
                  <a:pt x="197" y="515"/>
                </a:cubicBezTo>
                <a:cubicBezTo>
                  <a:pt x="196" y="516"/>
                  <a:pt x="197" y="513"/>
                  <a:pt x="198" y="514"/>
                </a:cubicBezTo>
                <a:close/>
                <a:moveTo>
                  <a:pt x="198" y="558"/>
                </a:moveTo>
                <a:cubicBezTo>
                  <a:pt x="198" y="556"/>
                  <a:pt x="204" y="555"/>
                  <a:pt x="204" y="558"/>
                </a:cubicBezTo>
                <a:cubicBezTo>
                  <a:pt x="205" y="561"/>
                  <a:pt x="197" y="562"/>
                  <a:pt x="198" y="558"/>
                </a:cubicBezTo>
                <a:close/>
                <a:moveTo>
                  <a:pt x="204" y="554"/>
                </a:moveTo>
                <a:cubicBezTo>
                  <a:pt x="205" y="554"/>
                  <a:pt x="206" y="553"/>
                  <a:pt x="207" y="553"/>
                </a:cubicBezTo>
                <a:cubicBezTo>
                  <a:pt x="207" y="554"/>
                  <a:pt x="204" y="555"/>
                  <a:pt x="204" y="554"/>
                </a:cubicBezTo>
                <a:close/>
                <a:moveTo>
                  <a:pt x="203" y="542"/>
                </a:moveTo>
                <a:cubicBezTo>
                  <a:pt x="200" y="539"/>
                  <a:pt x="203" y="534"/>
                  <a:pt x="205" y="533"/>
                </a:cubicBezTo>
                <a:cubicBezTo>
                  <a:pt x="207" y="532"/>
                  <a:pt x="210" y="533"/>
                  <a:pt x="211" y="532"/>
                </a:cubicBezTo>
                <a:cubicBezTo>
                  <a:pt x="215" y="532"/>
                  <a:pt x="213" y="532"/>
                  <a:pt x="215" y="534"/>
                </a:cubicBezTo>
                <a:cubicBezTo>
                  <a:pt x="217" y="537"/>
                  <a:pt x="216" y="541"/>
                  <a:pt x="213" y="540"/>
                </a:cubicBezTo>
                <a:cubicBezTo>
                  <a:pt x="214" y="535"/>
                  <a:pt x="211" y="542"/>
                  <a:pt x="210" y="543"/>
                </a:cubicBezTo>
                <a:cubicBezTo>
                  <a:pt x="209" y="543"/>
                  <a:pt x="204" y="543"/>
                  <a:pt x="203" y="542"/>
                </a:cubicBezTo>
                <a:close/>
                <a:moveTo>
                  <a:pt x="213" y="545"/>
                </a:moveTo>
                <a:cubicBezTo>
                  <a:pt x="213" y="544"/>
                  <a:pt x="216" y="545"/>
                  <a:pt x="215" y="546"/>
                </a:cubicBezTo>
                <a:cubicBezTo>
                  <a:pt x="215" y="546"/>
                  <a:pt x="214" y="546"/>
                  <a:pt x="213" y="545"/>
                </a:cubicBezTo>
                <a:close/>
                <a:moveTo>
                  <a:pt x="215" y="609"/>
                </a:moveTo>
                <a:cubicBezTo>
                  <a:pt x="215" y="609"/>
                  <a:pt x="215" y="609"/>
                  <a:pt x="215" y="609"/>
                </a:cubicBezTo>
                <a:cubicBezTo>
                  <a:pt x="214" y="607"/>
                  <a:pt x="217" y="611"/>
                  <a:pt x="215" y="609"/>
                </a:cubicBezTo>
                <a:close/>
                <a:moveTo>
                  <a:pt x="214" y="557"/>
                </a:moveTo>
                <a:cubicBezTo>
                  <a:pt x="214" y="556"/>
                  <a:pt x="216" y="555"/>
                  <a:pt x="217" y="556"/>
                </a:cubicBezTo>
                <a:cubicBezTo>
                  <a:pt x="217" y="558"/>
                  <a:pt x="214" y="557"/>
                  <a:pt x="214" y="557"/>
                </a:cubicBezTo>
                <a:close/>
                <a:moveTo>
                  <a:pt x="209" y="544"/>
                </a:moveTo>
                <a:cubicBezTo>
                  <a:pt x="210" y="544"/>
                  <a:pt x="217" y="540"/>
                  <a:pt x="217" y="542"/>
                </a:cubicBezTo>
                <a:cubicBezTo>
                  <a:pt x="217" y="543"/>
                  <a:pt x="211" y="545"/>
                  <a:pt x="209" y="544"/>
                </a:cubicBezTo>
                <a:close/>
                <a:moveTo>
                  <a:pt x="216" y="527"/>
                </a:moveTo>
                <a:cubicBezTo>
                  <a:pt x="216" y="526"/>
                  <a:pt x="216" y="526"/>
                  <a:pt x="216" y="526"/>
                </a:cubicBezTo>
                <a:cubicBezTo>
                  <a:pt x="217" y="525"/>
                  <a:pt x="217" y="527"/>
                  <a:pt x="216" y="527"/>
                </a:cubicBezTo>
                <a:close/>
                <a:moveTo>
                  <a:pt x="217" y="615"/>
                </a:moveTo>
                <a:cubicBezTo>
                  <a:pt x="216" y="614"/>
                  <a:pt x="218" y="613"/>
                  <a:pt x="218" y="614"/>
                </a:cubicBezTo>
                <a:cubicBezTo>
                  <a:pt x="218" y="614"/>
                  <a:pt x="217" y="614"/>
                  <a:pt x="217" y="615"/>
                </a:cubicBezTo>
                <a:close/>
                <a:moveTo>
                  <a:pt x="219" y="542"/>
                </a:moveTo>
                <a:cubicBezTo>
                  <a:pt x="216" y="544"/>
                  <a:pt x="217" y="538"/>
                  <a:pt x="219" y="539"/>
                </a:cubicBezTo>
                <a:cubicBezTo>
                  <a:pt x="221" y="540"/>
                  <a:pt x="219" y="542"/>
                  <a:pt x="219" y="542"/>
                </a:cubicBezTo>
                <a:close/>
                <a:moveTo>
                  <a:pt x="219" y="567"/>
                </a:moveTo>
                <a:cubicBezTo>
                  <a:pt x="219" y="566"/>
                  <a:pt x="220" y="566"/>
                  <a:pt x="221" y="566"/>
                </a:cubicBezTo>
                <a:cubicBezTo>
                  <a:pt x="220" y="567"/>
                  <a:pt x="220" y="567"/>
                  <a:pt x="219" y="567"/>
                </a:cubicBezTo>
                <a:close/>
                <a:moveTo>
                  <a:pt x="222" y="589"/>
                </a:moveTo>
                <a:cubicBezTo>
                  <a:pt x="222" y="589"/>
                  <a:pt x="221" y="589"/>
                  <a:pt x="220" y="589"/>
                </a:cubicBezTo>
                <a:cubicBezTo>
                  <a:pt x="220" y="589"/>
                  <a:pt x="222" y="588"/>
                  <a:pt x="222" y="589"/>
                </a:cubicBezTo>
                <a:close/>
                <a:moveTo>
                  <a:pt x="221" y="615"/>
                </a:moveTo>
                <a:cubicBezTo>
                  <a:pt x="221" y="614"/>
                  <a:pt x="222" y="614"/>
                  <a:pt x="223" y="614"/>
                </a:cubicBezTo>
                <a:cubicBezTo>
                  <a:pt x="222" y="615"/>
                  <a:pt x="221" y="614"/>
                  <a:pt x="221" y="615"/>
                </a:cubicBezTo>
                <a:close/>
                <a:moveTo>
                  <a:pt x="223" y="565"/>
                </a:moveTo>
                <a:cubicBezTo>
                  <a:pt x="223" y="565"/>
                  <a:pt x="223" y="565"/>
                  <a:pt x="223" y="566"/>
                </a:cubicBezTo>
                <a:cubicBezTo>
                  <a:pt x="223" y="566"/>
                  <a:pt x="223" y="566"/>
                  <a:pt x="223" y="566"/>
                </a:cubicBezTo>
                <a:cubicBezTo>
                  <a:pt x="223" y="567"/>
                  <a:pt x="223" y="566"/>
                  <a:pt x="223" y="566"/>
                </a:cubicBezTo>
                <a:cubicBezTo>
                  <a:pt x="223" y="565"/>
                  <a:pt x="223" y="565"/>
                  <a:pt x="223" y="565"/>
                </a:cubicBezTo>
                <a:close/>
                <a:moveTo>
                  <a:pt x="223" y="571"/>
                </a:moveTo>
                <a:cubicBezTo>
                  <a:pt x="223" y="569"/>
                  <a:pt x="227" y="570"/>
                  <a:pt x="226" y="571"/>
                </a:cubicBezTo>
                <a:cubicBezTo>
                  <a:pt x="226" y="572"/>
                  <a:pt x="223" y="572"/>
                  <a:pt x="223" y="571"/>
                </a:cubicBezTo>
                <a:close/>
                <a:moveTo>
                  <a:pt x="226" y="582"/>
                </a:moveTo>
                <a:cubicBezTo>
                  <a:pt x="226" y="581"/>
                  <a:pt x="226" y="583"/>
                  <a:pt x="226" y="582"/>
                </a:cubicBezTo>
                <a:close/>
                <a:moveTo>
                  <a:pt x="227" y="608"/>
                </a:moveTo>
                <a:cubicBezTo>
                  <a:pt x="227" y="608"/>
                  <a:pt x="225" y="608"/>
                  <a:pt x="224" y="607"/>
                </a:cubicBezTo>
                <a:cubicBezTo>
                  <a:pt x="224" y="606"/>
                  <a:pt x="228" y="607"/>
                  <a:pt x="227" y="608"/>
                </a:cubicBezTo>
                <a:close/>
                <a:moveTo>
                  <a:pt x="226" y="578"/>
                </a:moveTo>
                <a:cubicBezTo>
                  <a:pt x="226" y="578"/>
                  <a:pt x="227" y="577"/>
                  <a:pt x="227" y="578"/>
                </a:cubicBezTo>
                <a:cubicBezTo>
                  <a:pt x="227" y="578"/>
                  <a:pt x="226" y="578"/>
                  <a:pt x="226" y="578"/>
                </a:cubicBezTo>
                <a:close/>
                <a:moveTo>
                  <a:pt x="236" y="538"/>
                </a:moveTo>
                <a:cubicBezTo>
                  <a:pt x="237" y="537"/>
                  <a:pt x="238" y="536"/>
                  <a:pt x="239" y="537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40" y="538"/>
                  <a:pt x="239" y="539"/>
                  <a:pt x="239" y="539"/>
                </a:cubicBezTo>
                <a:cubicBezTo>
                  <a:pt x="238" y="540"/>
                  <a:pt x="237" y="539"/>
                  <a:pt x="237" y="539"/>
                </a:cubicBezTo>
                <a:cubicBezTo>
                  <a:pt x="236" y="539"/>
                  <a:pt x="236" y="538"/>
                  <a:pt x="235" y="539"/>
                </a:cubicBezTo>
                <a:cubicBezTo>
                  <a:pt x="234" y="539"/>
                  <a:pt x="228" y="544"/>
                  <a:pt x="227" y="543"/>
                </a:cubicBezTo>
                <a:cubicBezTo>
                  <a:pt x="226" y="541"/>
                  <a:pt x="235" y="538"/>
                  <a:pt x="236" y="538"/>
                </a:cubicBezTo>
                <a:close/>
                <a:moveTo>
                  <a:pt x="235" y="592"/>
                </a:moveTo>
                <a:cubicBezTo>
                  <a:pt x="235" y="592"/>
                  <a:pt x="234" y="593"/>
                  <a:pt x="234" y="592"/>
                </a:cubicBezTo>
                <a:cubicBezTo>
                  <a:pt x="233" y="592"/>
                  <a:pt x="235" y="591"/>
                  <a:pt x="235" y="592"/>
                </a:cubicBezTo>
                <a:close/>
                <a:moveTo>
                  <a:pt x="233" y="585"/>
                </a:moveTo>
                <a:cubicBezTo>
                  <a:pt x="233" y="585"/>
                  <a:pt x="234" y="583"/>
                  <a:pt x="235" y="584"/>
                </a:cubicBezTo>
                <a:cubicBezTo>
                  <a:pt x="235" y="585"/>
                  <a:pt x="233" y="586"/>
                  <a:pt x="233" y="585"/>
                </a:cubicBezTo>
                <a:close/>
                <a:moveTo>
                  <a:pt x="228" y="573"/>
                </a:moveTo>
                <a:cubicBezTo>
                  <a:pt x="228" y="571"/>
                  <a:pt x="230" y="572"/>
                  <a:pt x="228" y="573"/>
                </a:cubicBezTo>
                <a:close/>
                <a:moveTo>
                  <a:pt x="229" y="580"/>
                </a:moveTo>
                <a:cubicBezTo>
                  <a:pt x="229" y="581"/>
                  <a:pt x="228" y="581"/>
                  <a:pt x="228" y="581"/>
                </a:cubicBezTo>
                <a:cubicBezTo>
                  <a:pt x="227" y="579"/>
                  <a:pt x="230" y="579"/>
                  <a:pt x="229" y="580"/>
                </a:cubicBezTo>
                <a:close/>
                <a:moveTo>
                  <a:pt x="231" y="599"/>
                </a:moveTo>
                <a:cubicBezTo>
                  <a:pt x="231" y="599"/>
                  <a:pt x="233" y="598"/>
                  <a:pt x="233" y="599"/>
                </a:cubicBezTo>
                <a:cubicBezTo>
                  <a:pt x="233" y="600"/>
                  <a:pt x="231" y="601"/>
                  <a:pt x="231" y="599"/>
                </a:cubicBezTo>
                <a:close/>
                <a:moveTo>
                  <a:pt x="236" y="624"/>
                </a:moveTo>
                <a:cubicBezTo>
                  <a:pt x="236" y="624"/>
                  <a:pt x="237" y="623"/>
                  <a:pt x="237" y="623"/>
                </a:cubicBezTo>
                <a:cubicBezTo>
                  <a:pt x="237" y="623"/>
                  <a:pt x="237" y="624"/>
                  <a:pt x="236" y="624"/>
                </a:cubicBezTo>
                <a:close/>
                <a:moveTo>
                  <a:pt x="232" y="618"/>
                </a:moveTo>
                <a:cubicBezTo>
                  <a:pt x="233" y="616"/>
                  <a:pt x="237" y="616"/>
                  <a:pt x="239" y="615"/>
                </a:cubicBezTo>
                <a:cubicBezTo>
                  <a:pt x="237" y="617"/>
                  <a:pt x="234" y="617"/>
                  <a:pt x="232" y="618"/>
                </a:cubicBezTo>
                <a:close/>
                <a:moveTo>
                  <a:pt x="238" y="665"/>
                </a:moveTo>
                <a:cubicBezTo>
                  <a:pt x="238" y="664"/>
                  <a:pt x="239" y="665"/>
                  <a:pt x="240" y="665"/>
                </a:cubicBezTo>
                <a:cubicBezTo>
                  <a:pt x="240" y="666"/>
                  <a:pt x="239" y="665"/>
                  <a:pt x="238" y="665"/>
                </a:cubicBezTo>
                <a:close/>
                <a:moveTo>
                  <a:pt x="240" y="664"/>
                </a:moveTo>
                <a:cubicBezTo>
                  <a:pt x="240" y="664"/>
                  <a:pt x="239" y="663"/>
                  <a:pt x="239" y="663"/>
                </a:cubicBezTo>
                <a:cubicBezTo>
                  <a:pt x="239" y="662"/>
                  <a:pt x="241" y="663"/>
                  <a:pt x="240" y="664"/>
                </a:cubicBezTo>
                <a:close/>
                <a:moveTo>
                  <a:pt x="251" y="679"/>
                </a:moveTo>
                <a:cubicBezTo>
                  <a:pt x="249" y="681"/>
                  <a:pt x="247" y="678"/>
                  <a:pt x="244" y="678"/>
                </a:cubicBezTo>
                <a:cubicBezTo>
                  <a:pt x="242" y="678"/>
                  <a:pt x="238" y="679"/>
                  <a:pt x="237" y="677"/>
                </a:cubicBezTo>
                <a:cubicBezTo>
                  <a:pt x="237" y="676"/>
                  <a:pt x="243" y="677"/>
                  <a:pt x="243" y="677"/>
                </a:cubicBezTo>
                <a:cubicBezTo>
                  <a:pt x="243" y="676"/>
                  <a:pt x="241" y="672"/>
                  <a:pt x="241" y="672"/>
                </a:cubicBezTo>
                <a:cubicBezTo>
                  <a:pt x="240" y="664"/>
                  <a:pt x="252" y="669"/>
                  <a:pt x="255" y="671"/>
                </a:cubicBezTo>
                <a:cubicBezTo>
                  <a:pt x="259" y="674"/>
                  <a:pt x="250" y="671"/>
                  <a:pt x="253" y="676"/>
                </a:cubicBezTo>
                <a:cubicBezTo>
                  <a:pt x="250" y="674"/>
                  <a:pt x="251" y="679"/>
                  <a:pt x="251" y="679"/>
                </a:cubicBezTo>
                <a:close/>
                <a:moveTo>
                  <a:pt x="254" y="687"/>
                </a:moveTo>
                <a:cubicBezTo>
                  <a:pt x="254" y="686"/>
                  <a:pt x="254" y="685"/>
                  <a:pt x="255" y="686"/>
                </a:cubicBezTo>
                <a:cubicBezTo>
                  <a:pt x="257" y="686"/>
                  <a:pt x="254" y="689"/>
                  <a:pt x="254" y="687"/>
                </a:cubicBezTo>
                <a:close/>
                <a:moveTo>
                  <a:pt x="254" y="690"/>
                </a:moveTo>
                <a:cubicBezTo>
                  <a:pt x="255" y="689"/>
                  <a:pt x="256" y="689"/>
                  <a:pt x="258" y="689"/>
                </a:cubicBezTo>
                <a:cubicBezTo>
                  <a:pt x="257" y="690"/>
                  <a:pt x="255" y="690"/>
                  <a:pt x="254" y="690"/>
                </a:cubicBezTo>
                <a:close/>
                <a:moveTo>
                  <a:pt x="257" y="690"/>
                </a:moveTo>
                <a:cubicBezTo>
                  <a:pt x="257" y="689"/>
                  <a:pt x="258" y="689"/>
                  <a:pt x="258" y="690"/>
                </a:cubicBezTo>
                <a:cubicBezTo>
                  <a:pt x="258" y="689"/>
                  <a:pt x="258" y="691"/>
                  <a:pt x="257" y="690"/>
                </a:cubicBezTo>
                <a:close/>
                <a:moveTo>
                  <a:pt x="259" y="689"/>
                </a:moveTo>
                <a:cubicBezTo>
                  <a:pt x="258" y="689"/>
                  <a:pt x="261" y="689"/>
                  <a:pt x="259" y="689"/>
                </a:cubicBezTo>
                <a:close/>
                <a:moveTo>
                  <a:pt x="260" y="660"/>
                </a:moveTo>
                <a:cubicBezTo>
                  <a:pt x="259" y="660"/>
                  <a:pt x="259" y="659"/>
                  <a:pt x="260" y="660"/>
                </a:cubicBezTo>
                <a:close/>
                <a:moveTo>
                  <a:pt x="261" y="631"/>
                </a:moveTo>
                <a:cubicBezTo>
                  <a:pt x="260" y="631"/>
                  <a:pt x="261" y="630"/>
                  <a:pt x="261" y="630"/>
                </a:cubicBezTo>
                <a:cubicBezTo>
                  <a:pt x="262" y="630"/>
                  <a:pt x="261" y="631"/>
                  <a:pt x="261" y="631"/>
                </a:cubicBezTo>
                <a:close/>
                <a:moveTo>
                  <a:pt x="263" y="682"/>
                </a:moveTo>
                <a:cubicBezTo>
                  <a:pt x="263" y="681"/>
                  <a:pt x="265" y="681"/>
                  <a:pt x="265" y="682"/>
                </a:cubicBezTo>
                <a:cubicBezTo>
                  <a:pt x="266" y="682"/>
                  <a:pt x="263" y="683"/>
                  <a:pt x="263" y="682"/>
                </a:cubicBezTo>
                <a:close/>
                <a:moveTo>
                  <a:pt x="264" y="690"/>
                </a:moveTo>
                <a:cubicBezTo>
                  <a:pt x="263" y="689"/>
                  <a:pt x="265" y="690"/>
                  <a:pt x="265" y="690"/>
                </a:cubicBezTo>
                <a:cubicBezTo>
                  <a:pt x="265" y="691"/>
                  <a:pt x="264" y="691"/>
                  <a:pt x="264" y="690"/>
                </a:cubicBezTo>
                <a:close/>
                <a:moveTo>
                  <a:pt x="265" y="694"/>
                </a:moveTo>
                <a:cubicBezTo>
                  <a:pt x="266" y="694"/>
                  <a:pt x="266" y="694"/>
                  <a:pt x="267" y="694"/>
                </a:cubicBezTo>
                <a:cubicBezTo>
                  <a:pt x="266" y="695"/>
                  <a:pt x="266" y="695"/>
                  <a:pt x="265" y="694"/>
                </a:cubicBezTo>
                <a:close/>
                <a:moveTo>
                  <a:pt x="263" y="667"/>
                </a:moveTo>
                <a:cubicBezTo>
                  <a:pt x="264" y="666"/>
                  <a:pt x="273" y="668"/>
                  <a:pt x="273" y="668"/>
                </a:cubicBezTo>
                <a:cubicBezTo>
                  <a:pt x="272" y="669"/>
                  <a:pt x="265" y="667"/>
                  <a:pt x="263" y="667"/>
                </a:cubicBezTo>
                <a:close/>
                <a:moveTo>
                  <a:pt x="270" y="681"/>
                </a:moveTo>
                <a:cubicBezTo>
                  <a:pt x="269" y="683"/>
                  <a:pt x="268" y="680"/>
                  <a:pt x="270" y="681"/>
                </a:cubicBezTo>
                <a:close/>
                <a:moveTo>
                  <a:pt x="268" y="696"/>
                </a:moveTo>
                <a:cubicBezTo>
                  <a:pt x="268" y="695"/>
                  <a:pt x="269" y="695"/>
                  <a:pt x="269" y="695"/>
                </a:cubicBezTo>
                <a:cubicBezTo>
                  <a:pt x="270" y="695"/>
                  <a:pt x="269" y="696"/>
                  <a:pt x="268" y="696"/>
                </a:cubicBezTo>
                <a:close/>
                <a:moveTo>
                  <a:pt x="269" y="689"/>
                </a:moveTo>
                <a:cubicBezTo>
                  <a:pt x="268" y="688"/>
                  <a:pt x="270" y="688"/>
                  <a:pt x="270" y="688"/>
                </a:cubicBezTo>
                <a:cubicBezTo>
                  <a:pt x="270" y="689"/>
                  <a:pt x="269" y="689"/>
                  <a:pt x="269" y="689"/>
                </a:cubicBezTo>
                <a:close/>
                <a:moveTo>
                  <a:pt x="269" y="673"/>
                </a:moveTo>
                <a:cubicBezTo>
                  <a:pt x="269" y="671"/>
                  <a:pt x="274" y="673"/>
                  <a:pt x="273" y="674"/>
                </a:cubicBezTo>
                <a:cubicBezTo>
                  <a:pt x="273" y="676"/>
                  <a:pt x="268" y="676"/>
                  <a:pt x="269" y="673"/>
                </a:cubicBezTo>
                <a:close/>
                <a:moveTo>
                  <a:pt x="272" y="683"/>
                </a:moveTo>
                <a:cubicBezTo>
                  <a:pt x="271" y="681"/>
                  <a:pt x="276" y="682"/>
                  <a:pt x="276" y="683"/>
                </a:cubicBezTo>
                <a:cubicBezTo>
                  <a:pt x="277" y="685"/>
                  <a:pt x="272" y="686"/>
                  <a:pt x="272" y="683"/>
                </a:cubicBezTo>
                <a:close/>
                <a:moveTo>
                  <a:pt x="275" y="696"/>
                </a:moveTo>
                <a:cubicBezTo>
                  <a:pt x="275" y="696"/>
                  <a:pt x="274" y="696"/>
                  <a:pt x="274" y="696"/>
                </a:cubicBezTo>
                <a:cubicBezTo>
                  <a:pt x="274" y="694"/>
                  <a:pt x="277" y="698"/>
                  <a:pt x="275" y="696"/>
                </a:cubicBezTo>
                <a:close/>
                <a:moveTo>
                  <a:pt x="274" y="701"/>
                </a:moveTo>
                <a:cubicBezTo>
                  <a:pt x="274" y="699"/>
                  <a:pt x="277" y="699"/>
                  <a:pt x="277" y="700"/>
                </a:cubicBezTo>
                <a:cubicBezTo>
                  <a:pt x="278" y="701"/>
                  <a:pt x="274" y="701"/>
                  <a:pt x="274" y="701"/>
                </a:cubicBezTo>
                <a:close/>
                <a:moveTo>
                  <a:pt x="282" y="681"/>
                </a:moveTo>
                <a:cubicBezTo>
                  <a:pt x="284" y="680"/>
                  <a:pt x="289" y="680"/>
                  <a:pt x="291" y="681"/>
                </a:cubicBezTo>
                <a:cubicBezTo>
                  <a:pt x="292" y="682"/>
                  <a:pt x="291" y="684"/>
                  <a:pt x="290" y="683"/>
                </a:cubicBezTo>
                <a:cubicBezTo>
                  <a:pt x="289" y="683"/>
                  <a:pt x="289" y="682"/>
                  <a:pt x="289" y="682"/>
                </a:cubicBezTo>
                <a:cubicBezTo>
                  <a:pt x="288" y="681"/>
                  <a:pt x="287" y="683"/>
                  <a:pt x="287" y="683"/>
                </a:cubicBezTo>
                <a:cubicBezTo>
                  <a:pt x="287" y="684"/>
                  <a:pt x="288" y="684"/>
                  <a:pt x="288" y="685"/>
                </a:cubicBezTo>
                <a:cubicBezTo>
                  <a:pt x="289" y="684"/>
                  <a:pt x="289" y="685"/>
                  <a:pt x="288" y="685"/>
                </a:cubicBezTo>
                <a:cubicBezTo>
                  <a:pt x="287" y="686"/>
                  <a:pt x="286" y="685"/>
                  <a:pt x="286" y="685"/>
                </a:cubicBezTo>
                <a:cubicBezTo>
                  <a:pt x="285" y="685"/>
                  <a:pt x="284" y="686"/>
                  <a:pt x="283" y="685"/>
                </a:cubicBezTo>
                <a:cubicBezTo>
                  <a:pt x="282" y="685"/>
                  <a:pt x="278" y="682"/>
                  <a:pt x="282" y="681"/>
                </a:cubicBezTo>
                <a:close/>
                <a:moveTo>
                  <a:pt x="291" y="693"/>
                </a:moveTo>
                <a:cubicBezTo>
                  <a:pt x="290" y="694"/>
                  <a:pt x="288" y="696"/>
                  <a:pt x="287" y="694"/>
                </a:cubicBezTo>
                <a:cubicBezTo>
                  <a:pt x="285" y="693"/>
                  <a:pt x="290" y="692"/>
                  <a:pt x="291" y="693"/>
                </a:cubicBezTo>
                <a:close/>
                <a:moveTo>
                  <a:pt x="289" y="706"/>
                </a:moveTo>
                <a:cubicBezTo>
                  <a:pt x="290" y="707"/>
                  <a:pt x="288" y="706"/>
                  <a:pt x="289" y="706"/>
                </a:cubicBezTo>
                <a:close/>
                <a:moveTo>
                  <a:pt x="292" y="708"/>
                </a:moveTo>
                <a:cubicBezTo>
                  <a:pt x="291" y="707"/>
                  <a:pt x="292" y="708"/>
                  <a:pt x="293" y="708"/>
                </a:cubicBezTo>
                <a:cubicBezTo>
                  <a:pt x="293" y="708"/>
                  <a:pt x="292" y="708"/>
                  <a:pt x="292" y="708"/>
                </a:cubicBezTo>
                <a:close/>
                <a:moveTo>
                  <a:pt x="304" y="701"/>
                </a:moveTo>
                <a:cubicBezTo>
                  <a:pt x="299" y="701"/>
                  <a:pt x="295" y="701"/>
                  <a:pt x="290" y="702"/>
                </a:cubicBezTo>
                <a:cubicBezTo>
                  <a:pt x="289" y="702"/>
                  <a:pt x="282" y="702"/>
                  <a:pt x="282" y="700"/>
                </a:cubicBezTo>
                <a:cubicBezTo>
                  <a:pt x="281" y="699"/>
                  <a:pt x="290" y="699"/>
                  <a:pt x="292" y="700"/>
                </a:cubicBezTo>
                <a:cubicBezTo>
                  <a:pt x="296" y="700"/>
                  <a:pt x="299" y="700"/>
                  <a:pt x="301" y="699"/>
                </a:cubicBezTo>
                <a:cubicBezTo>
                  <a:pt x="299" y="699"/>
                  <a:pt x="297" y="697"/>
                  <a:pt x="297" y="695"/>
                </a:cubicBezTo>
                <a:cubicBezTo>
                  <a:pt x="299" y="690"/>
                  <a:pt x="306" y="693"/>
                  <a:pt x="309" y="695"/>
                </a:cubicBezTo>
                <a:cubicBezTo>
                  <a:pt x="309" y="695"/>
                  <a:pt x="309" y="696"/>
                  <a:pt x="310" y="696"/>
                </a:cubicBezTo>
                <a:cubicBezTo>
                  <a:pt x="310" y="697"/>
                  <a:pt x="307" y="699"/>
                  <a:pt x="305" y="699"/>
                </a:cubicBezTo>
                <a:cubicBezTo>
                  <a:pt x="306" y="699"/>
                  <a:pt x="307" y="699"/>
                  <a:pt x="309" y="700"/>
                </a:cubicBezTo>
                <a:cubicBezTo>
                  <a:pt x="313" y="700"/>
                  <a:pt x="305" y="701"/>
                  <a:pt x="304" y="701"/>
                </a:cubicBezTo>
                <a:close/>
                <a:moveTo>
                  <a:pt x="308" y="684"/>
                </a:moveTo>
                <a:cubicBezTo>
                  <a:pt x="309" y="683"/>
                  <a:pt x="312" y="683"/>
                  <a:pt x="314" y="683"/>
                </a:cubicBezTo>
                <a:cubicBezTo>
                  <a:pt x="312" y="684"/>
                  <a:pt x="310" y="684"/>
                  <a:pt x="308" y="684"/>
                </a:cubicBezTo>
                <a:close/>
                <a:moveTo>
                  <a:pt x="313" y="612"/>
                </a:moveTo>
                <a:cubicBezTo>
                  <a:pt x="314" y="612"/>
                  <a:pt x="309" y="616"/>
                  <a:pt x="308" y="614"/>
                </a:cubicBezTo>
                <a:cubicBezTo>
                  <a:pt x="307" y="612"/>
                  <a:pt x="313" y="611"/>
                  <a:pt x="313" y="612"/>
                </a:cubicBezTo>
                <a:close/>
                <a:moveTo>
                  <a:pt x="313" y="683"/>
                </a:moveTo>
                <a:cubicBezTo>
                  <a:pt x="312" y="682"/>
                  <a:pt x="314" y="681"/>
                  <a:pt x="314" y="682"/>
                </a:cubicBezTo>
                <a:cubicBezTo>
                  <a:pt x="314" y="682"/>
                  <a:pt x="313" y="683"/>
                  <a:pt x="313" y="683"/>
                </a:cubicBezTo>
                <a:close/>
                <a:moveTo>
                  <a:pt x="313" y="589"/>
                </a:moveTo>
                <a:cubicBezTo>
                  <a:pt x="311" y="590"/>
                  <a:pt x="308" y="592"/>
                  <a:pt x="307" y="592"/>
                </a:cubicBezTo>
                <a:cubicBezTo>
                  <a:pt x="304" y="593"/>
                  <a:pt x="309" y="590"/>
                  <a:pt x="309" y="590"/>
                </a:cubicBezTo>
                <a:cubicBezTo>
                  <a:pt x="310" y="590"/>
                  <a:pt x="312" y="589"/>
                  <a:pt x="313" y="589"/>
                </a:cubicBezTo>
                <a:cubicBezTo>
                  <a:pt x="314" y="589"/>
                  <a:pt x="314" y="589"/>
                  <a:pt x="315" y="589"/>
                </a:cubicBezTo>
                <a:cubicBezTo>
                  <a:pt x="314" y="589"/>
                  <a:pt x="314" y="589"/>
                  <a:pt x="313" y="589"/>
                </a:cubicBezTo>
                <a:close/>
                <a:moveTo>
                  <a:pt x="315" y="519"/>
                </a:moveTo>
                <a:cubicBezTo>
                  <a:pt x="315" y="517"/>
                  <a:pt x="318" y="518"/>
                  <a:pt x="315" y="519"/>
                </a:cubicBezTo>
                <a:close/>
                <a:moveTo>
                  <a:pt x="317" y="683"/>
                </a:moveTo>
                <a:cubicBezTo>
                  <a:pt x="315" y="684"/>
                  <a:pt x="315" y="682"/>
                  <a:pt x="317" y="683"/>
                </a:cubicBezTo>
                <a:close/>
                <a:moveTo>
                  <a:pt x="317" y="683"/>
                </a:moveTo>
                <a:cubicBezTo>
                  <a:pt x="318" y="682"/>
                  <a:pt x="319" y="682"/>
                  <a:pt x="321" y="682"/>
                </a:cubicBezTo>
                <a:cubicBezTo>
                  <a:pt x="321" y="683"/>
                  <a:pt x="318" y="683"/>
                  <a:pt x="317" y="683"/>
                </a:cubicBezTo>
                <a:close/>
                <a:moveTo>
                  <a:pt x="333" y="104"/>
                </a:moveTo>
                <a:cubicBezTo>
                  <a:pt x="333" y="104"/>
                  <a:pt x="336" y="103"/>
                  <a:pt x="334" y="104"/>
                </a:cubicBezTo>
                <a:cubicBezTo>
                  <a:pt x="331" y="106"/>
                  <a:pt x="326" y="107"/>
                  <a:pt x="322" y="108"/>
                </a:cubicBezTo>
                <a:cubicBezTo>
                  <a:pt x="325" y="106"/>
                  <a:pt x="329" y="104"/>
                  <a:pt x="333" y="104"/>
                </a:cubicBezTo>
                <a:close/>
                <a:moveTo>
                  <a:pt x="323" y="170"/>
                </a:moveTo>
                <a:cubicBezTo>
                  <a:pt x="324" y="170"/>
                  <a:pt x="324" y="170"/>
                  <a:pt x="325" y="170"/>
                </a:cubicBezTo>
                <a:cubicBezTo>
                  <a:pt x="325" y="171"/>
                  <a:pt x="324" y="171"/>
                  <a:pt x="323" y="170"/>
                </a:cubicBezTo>
                <a:close/>
                <a:moveTo>
                  <a:pt x="322" y="617"/>
                </a:moveTo>
                <a:cubicBezTo>
                  <a:pt x="323" y="616"/>
                  <a:pt x="324" y="618"/>
                  <a:pt x="322" y="617"/>
                </a:cubicBezTo>
                <a:close/>
                <a:moveTo>
                  <a:pt x="322" y="627"/>
                </a:moveTo>
                <a:cubicBezTo>
                  <a:pt x="323" y="627"/>
                  <a:pt x="327" y="626"/>
                  <a:pt x="327" y="627"/>
                </a:cubicBezTo>
                <a:cubicBezTo>
                  <a:pt x="326" y="626"/>
                  <a:pt x="324" y="628"/>
                  <a:pt x="322" y="627"/>
                </a:cubicBezTo>
                <a:close/>
                <a:moveTo>
                  <a:pt x="327" y="574"/>
                </a:moveTo>
                <a:cubicBezTo>
                  <a:pt x="327" y="572"/>
                  <a:pt x="330" y="573"/>
                  <a:pt x="329" y="574"/>
                </a:cubicBezTo>
                <a:cubicBezTo>
                  <a:pt x="329" y="575"/>
                  <a:pt x="328" y="574"/>
                  <a:pt x="327" y="574"/>
                </a:cubicBezTo>
                <a:close/>
                <a:moveTo>
                  <a:pt x="329" y="627"/>
                </a:moveTo>
                <a:cubicBezTo>
                  <a:pt x="329" y="626"/>
                  <a:pt x="331" y="626"/>
                  <a:pt x="331" y="626"/>
                </a:cubicBezTo>
                <a:cubicBezTo>
                  <a:pt x="331" y="626"/>
                  <a:pt x="330" y="627"/>
                  <a:pt x="329" y="627"/>
                </a:cubicBezTo>
                <a:close/>
                <a:moveTo>
                  <a:pt x="329" y="589"/>
                </a:moveTo>
                <a:cubicBezTo>
                  <a:pt x="328" y="587"/>
                  <a:pt x="332" y="588"/>
                  <a:pt x="332" y="589"/>
                </a:cubicBezTo>
                <a:cubicBezTo>
                  <a:pt x="332" y="590"/>
                  <a:pt x="329" y="590"/>
                  <a:pt x="329" y="589"/>
                </a:cubicBezTo>
                <a:close/>
                <a:moveTo>
                  <a:pt x="328" y="583"/>
                </a:moveTo>
                <a:cubicBezTo>
                  <a:pt x="329" y="579"/>
                  <a:pt x="336" y="581"/>
                  <a:pt x="336" y="583"/>
                </a:cubicBezTo>
                <a:cubicBezTo>
                  <a:pt x="335" y="586"/>
                  <a:pt x="328" y="587"/>
                  <a:pt x="328" y="583"/>
                </a:cubicBezTo>
                <a:close/>
                <a:moveTo>
                  <a:pt x="335" y="131"/>
                </a:moveTo>
                <a:cubicBezTo>
                  <a:pt x="334" y="130"/>
                  <a:pt x="336" y="131"/>
                  <a:pt x="335" y="131"/>
                </a:cubicBezTo>
                <a:close/>
                <a:moveTo>
                  <a:pt x="336" y="659"/>
                </a:moveTo>
                <a:cubicBezTo>
                  <a:pt x="337" y="661"/>
                  <a:pt x="335" y="659"/>
                  <a:pt x="336" y="659"/>
                </a:cubicBezTo>
                <a:close/>
                <a:moveTo>
                  <a:pt x="336" y="131"/>
                </a:moveTo>
                <a:cubicBezTo>
                  <a:pt x="336" y="130"/>
                  <a:pt x="338" y="130"/>
                  <a:pt x="338" y="130"/>
                </a:cubicBezTo>
                <a:cubicBezTo>
                  <a:pt x="338" y="131"/>
                  <a:pt x="337" y="130"/>
                  <a:pt x="336" y="131"/>
                </a:cubicBezTo>
                <a:close/>
                <a:moveTo>
                  <a:pt x="337" y="711"/>
                </a:moveTo>
                <a:cubicBezTo>
                  <a:pt x="336" y="711"/>
                  <a:pt x="337" y="710"/>
                  <a:pt x="337" y="710"/>
                </a:cubicBezTo>
                <a:cubicBezTo>
                  <a:pt x="338" y="711"/>
                  <a:pt x="338" y="712"/>
                  <a:pt x="337" y="711"/>
                </a:cubicBezTo>
                <a:close/>
                <a:moveTo>
                  <a:pt x="337" y="685"/>
                </a:moveTo>
                <a:cubicBezTo>
                  <a:pt x="337" y="684"/>
                  <a:pt x="339" y="684"/>
                  <a:pt x="339" y="685"/>
                </a:cubicBezTo>
                <a:cubicBezTo>
                  <a:pt x="340" y="685"/>
                  <a:pt x="338" y="686"/>
                  <a:pt x="337" y="685"/>
                </a:cubicBezTo>
                <a:close/>
                <a:moveTo>
                  <a:pt x="338" y="705"/>
                </a:moveTo>
                <a:cubicBezTo>
                  <a:pt x="338" y="704"/>
                  <a:pt x="340" y="704"/>
                  <a:pt x="340" y="705"/>
                </a:cubicBezTo>
                <a:cubicBezTo>
                  <a:pt x="340" y="705"/>
                  <a:pt x="339" y="706"/>
                  <a:pt x="338" y="705"/>
                </a:cubicBezTo>
                <a:close/>
                <a:moveTo>
                  <a:pt x="338" y="680"/>
                </a:moveTo>
                <a:cubicBezTo>
                  <a:pt x="338" y="680"/>
                  <a:pt x="341" y="680"/>
                  <a:pt x="341" y="680"/>
                </a:cubicBezTo>
                <a:cubicBezTo>
                  <a:pt x="341" y="681"/>
                  <a:pt x="337" y="682"/>
                  <a:pt x="338" y="680"/>
                </a:cubicBezTo>
                <a:close/>
                <a:moveTo>
                  <a:pt x="342" y="110"/>
                </a:moveTo>
                <a:cubicBezTo>
                  <a:pt x="341" y="111"/>
                  <a:pt x="341" y="109"/>
                  <a:pt x="342" y="110"/>
                </a:cubicBezTo>
                <a:close/>
                <a:moveTo>
                  <a:pt x="328" y="108"/>
                </a:moveTo>
                <a:cubicBezTo>
                  <a:pt x="326" y="108"/>
                  <a:pt x="329" y="107"/>
                  <a:pt x="331" y="106"/>
                </a:cubicBezTo>
                <a:cubicBezTo>
                  <a:pt x="334" y="106"/>
                  <a:pt x="339" y="104"/>
                  <a:pt x="342" y="104"/>
                </a:cubicBezTo>
                <a:cubicBezTo>
                  <a:pt x="343" y="104"/>
                  <a:pt x="344" y="105"/>
                  <a:pt x="344" y="105"/>
                </a:cubicBezTo>
                <a:cubicBezTo>
                  <a:pt x="344" y="105"/>
                  <a:pt x="330" y="108"/>
                  <a:pt x="328" y="108"/>
                </a:cubicBezTo>
                <a:close/>
                <a:moveTo>
                  <a:pt x="345" y="576"/>
                </a:moveTo>
                <a:cubicBezTo>
                  <a:pt x="345" y="576"/>
                  <a:pt x="345" y="576"/>
                  <a:pt x="345" y="576"/>
                </a:cubicBezTo>
                <a:cubicBezTo>
                  <a:pt x="346" y="576"/>
                  <a:pt x="346" y="576"/>
                  <a:pt x="346" y="576"/>
                </a:cubicBezTo>
                <a:cubicBezTo>
                  <a:pt x="346" y="576"/>
                  <a:pt x="345" y="576"/>
                  <a:pt x="345" y="576"/>
                </a:cubicBezTo>
                <a:close/>
                <a:moveTo>
                  <a:pt x="346" y="704"/>
                </a:moveTo>
                <a:cubicBezTo>
                  <a:pt x="346" y="703"/>
                  <a:pt x="347" y="703"/>
                  <a:pt x="347" y="703"/>
                </a:cubicBezTo>
                <a:cubicBezTo>
                  <a:pt x="348" y="704"/>
                  <a:pt x="346" y="704"/>
                  <a:pt x="346" y="704"/>
                </a:cubicBezTo>
                <a:close/>
                <a:moveTo>
                  <a:pt x="344" y="537"/>
                </a:moveTo>
                <a:cubicBezTo>
                  <a:pt x="345" y="535"/>
                  <a:pt x="348" y="535"/>
                  <a:pt x="349" y="534"/>
                </a:cubicBezTo>
                <a:cubicBezTo>
                  <a:pt x="348" y="535"/>
                  <a:pt x="345" y="536"/>
                  <a:pt x="344" y="537"/>
                </a:cubicBezTo>
                <a:close/>
                <a:moveTo>
                  <a:pt x="348" y="89"/>
                </a:moveTo>
                <a:cubicBezTo>
                  <a:pt x="347" y="90"/>
                  <a:pt x="346" y="89"/>
                  <a:pt x="348" y="89"/>
                </a:cubicBezTo>
                <a:close/>
                <a:moveTo>
                  <a:pt x="347" y="71"/>
                </a:moveTo>
                <a:cubicBezTo>
                  <a:pt x="347" y="72"/>
                  <a:pt x="348" y="72"/>
                  <a:pt x="347" y="72"/>
                </a:cubicBezTo>
                <a:cubicBezTo>
                  <a:pt x="347" y="72"/>
                  <a:pt x="347" y="72"/>
                  <a:pt x="347" y="71"/>
                </a:cubicBezTo>
                <a:close/>
                <a:moveTo>
                  <a:pt x="345" y="44"/>
                </a:moveTo>
                <a:cubicBezTo>
                  <a:pt x="346" y="42"/>
                  <a:pt x="350" y="42"/>
                  <a:pt x="350" y="45"/>
                </a:cubicBezTo>
                <a:cubicBezTo>
                  <a:pt x="349" y="47"/>
                  <a:pt x="345" y="46"/>
                  <a:pt x="345" y="44"/>
                </a:cubicBezTo>
                <a:close/>
                <a:moveTo>
                  <a:pt x="350" y="626"/>
                </a:moveTo>
                <a:cubicBezTo>
                  <a:pt x="350" y="627"/>
                  <a:pt x="349" y="625"/>
                  <a:pt x="350" y="626"/>
                </a:cubicBezTo>
                <a:close/>
                <a:moveTo>
                  <a:pt x="350" y="205"/>
                </a:moveTo>
                <a:cubicBezTo>
                  <a:pt x="349" y="205"/>
                  <a:pt x="350" y="203"/>
                  <a:pt x="350" y="204"/>
                </a:cubicBezTo>
                <a:cubicBezTo>
                  <a:pt x="351" y="204"/>
                  <a:pt x="351" y="205"/>
                  <a:pt x="350" y="205"/>
                </a:cubicBezTo>
                <a:close/>
                <a:moveTo>
                  <a:pt x="538" y="122"/>
                </a:moveTo>
                <a:cubicBezTo>
                  <a:pt x="538" y="121"/>
                  <a:pt x="540" y="121"/>
                  <a:pt x="540" y="122"/>
                </a:cubicBezTo>
                <a:cubicBezTo>
                  <a:pt x="542" y="121"/>
                  <a:pt x="543" y="121"/>
                  <a:pt x="543" y="123"/>
                </a:cubicBezTo>
                <a:cubicBezTo>
                  <a:pt x="543" y="124"/>
                  <a:pt x="539" y="125"/>
                  <a:pt x="538" y="124"/>
                </a:cubicBezTo>
                <a:cubicBezTo>
                  <a:pt x="538" y="123"/>
                  <a:pt x="538" y="123"/>
                  <a:pt x="538" y="122"/>
                </a:cubicBezTo>
                <a:cubicBezTo>
                  <a:pt x="538" y="122"/>
                  <a:pt x="538" y="122"/>
                  <a:pt x="538" y="122"/>
                </a:cubicBezTo>
                <a:close/>
                <a:moveTo>
                  <a:pt x="538" y="121"/>
                </a:moveTo>
                <a:cubicBezTo>
                  <a:pt x="538" y="121"/>
                  <a:pt x="536" y="122"/>
                  <a:pt x="536" y="121"/>
                </a:cubicBezTo>
                <a:cubicBezTo>
                  <a:pt x="536" y="121"/>
                  <a:pt x="537" y="121"/>
                  <a:pt x="538" y="121"/>
                </a:cubicBezTo>
                <a:close/>
                <a:moveTo>
                  <a:pt x="531" y="126"/>
                </a:moveTo>
                <a:cubicBezTo>
                  <a:pt x="531" y="126"/>
                  <a:pt x="531" y="127"/>
                  <a:pt x="530" y="127"/>
                </a:cubicBezTo>
                <a:cubicBezTo>
                  <a:pt x="530" y="127"/>
                  <a:pt x="531" y="126"/>
                  <a:pt x="531" y="126"/>
                </a:cubicBezTo>
                <a:close/>
                <a:moveTo>
                  <a:pt x="531" y="154"/>
                </a:moveTo>
                <a:cubicBezTo>
                  <a:pt x="529" y="157"/>
                  <a:pt x="525" y="158"/>
                  <a:pt x="522" y="159"/>
                </a:cubicBezTo>
                <a:cubicBezTo>
                  <a:pt x="524" y="156"/>
                  <a:pt x="528" y="156"/>
                  <a:pt x="531" y="154"/>
                </a:cubicBezTo>
                <a:close/>
                <a:moveTo>
                  <a:pt x="525" y="201"/>
                </a:moveTo>
                <a:cubicBezTo>
                  <a:pt x="524" y="202"/>
                  <a:pt x="523" y="203"/>
                  <a:pt x="521" y="203"/>
                </a:cubicBezTo>
                <a:cubicBezTo>
                  <a:pt x="522" y="202"/>
                  <a:pt x="523" y="201"/>
                  <a:pt x="525" y="201"/>
                </a:cubicBezTo>
                <a:close/>
                <a:moveTo>
                  <a:pt x="521" y="198"/>
                </a:moveTo>
                <a:cubicBezTo>
                  <a:pt x="521" y="198"/>
                  <a:pt x="521" y="197"/>
                  <a:pt x="522" y="197"/>
                </a:cubicBezTo>
                <a:cubicBezTo>
                  <a:pt x="524" y="195"/>
                  <a:pt x="523" y="200"/>
                  <a:pt x="521" y="198"/>
                </a:cubicBezTo>
                <a:close/>
                <a:moveTo>
                  <a:pt x="524" y="195"/>
                </a:moveTo>
                <a:cubicBezTo>
                  <a:pt x="524" y="194"/>
                  <a:pt x="525" y="194"/>
                  <a:pt x="525" y="194"/>
                </a:cubicBezTo>
                <a:cubicBezTo>
                  <a:pt x="526" y="195"/>
                  <a:pt x="524" y="195"/>
                  <a:pt x="524" y="195"/>
                </a:cubicBezTo>
                <a:close/>
                <a:moveTo>
                  <a:pt x="531" y="196"/>
                </a:moveTo>
                <a:cubicBezTo>
                  <a:pt x="530" y="198"/>
                  <a:pt x="527" y="199"/>
                  <a:pt x="525" y="201"/>
                </a:cubicBezTo>
                <a:cubicBezTo>
                  <a:pt x="526" y="199"/>
                  <a:pt x="529" y="197"/>
                  <a:pt x="531" y="196"/>
                </a:cubicBezTo>
                <a:close/>
                <a:moveTo>
                  <a:pt x="529" y="172"/>
                </a:moveTo>
                <a:cubicBezTo>
                  <a:pt x="531" y="170"/>
                  <a:pt x="530" y="174"/>
                  <a:pt x="528" y="173"/>
                </a:cubicBezTo>
                <a:cubicBezTo>
                  <a:pt x="528" y="173"/>
                  <a:pt x="529" y="172"/>
                  <a:pt x="529" y="172"/>
                </a:cubicBezTo>
                <a:close/>
                <a:moveTo>
                  <a:pt x="522" y="181"/>
                </a:moveTo>
                <a:cubicBezTo>
                  <a:pt x="521" y="181"/>
                  <a:pt x="523" y="180"/>
                  <a:pt x="523" y="181"/>
                </a:cubicBezTo>
                <a:cubicBezTo>
                  <a:pt x="524" y="181"/>
                  <a:pt x="522" y="182"/>
                  <a:pt x="522" y="181"/>
                </a:cubicBezTo>
                <a:close/>
                <a:moveTo>
                  <a:pt x="529" y="135"/>
                </a:moveTo>
                <a:cubicBezTo>
                  <a:pt x="528" y="136"/>
                  <a:pt x="526" y="138"/>
                  <a:pt x="524" y="138"/>
                </a:cubicBezTo>
                <a:cubicBezTo>
                  <a:pt x="525" y="138"/>
                  <a:pt x="526" y="138"/>
                  <a:pt x="525" y="139"/>
                </a:cubicBezTo>
                <a:cubicBezTo>
                  <a:pt x="525" y="140"/>
                  <a:pt x="522" y="140"/>
                  <a:pt x="522" y="139"/>
                </a:cubicBezTo>
                <a:cubicBezTo>
                  <a:pt x="522" y="139"/>
                  <a:pt x="523" y="138"/>
                  <a:pt x="524" y="138"/>
                </a:cubicBezTo>
                <a:cubicBezTo>
                  <a:pt x="524" y="138"/>
                  <a:pt x="524" y="138"/>
                  <a:pt x="524" y="138"/>
                </a:cubicBezTo>
                <a:cubicBezTo>
                  <a:pt x="525" y="136"/>
                  <a:pt x="527" y="136"/>
                  <a:pt x="529" y="135"/>
                </a:cubicBezTo>
                <a:close/>
                <a:moveTo>
                  <a:pt x="525" y="117"/>
                </a:moveTo>
                <a:cubicBezTo>
                  <a:pt x="525" y="117"/>
                  <a:pt x="525" y="117"/>
                  <a:pt x="524" y="117"/>
                </a:cubicBezTo>
                <a:cubicBezTo>
                  <a:pt x="524" y="117"/>
                  <a:pt x="524" y="116"/>
                  <a:pt x="525" y="117"/>
                </a:cubicBezTo>
                <a:close/>
                <a:moveTo>
                  <a:pt x="524" y="86"/>
                </a:moveTo>
                <a:cubicBezTo>
                  <a:pt x="523" y="86"/>
                  <a:pt x="522" y="86"/>
                  <a:pt x="521" y="86"/>
                </a:cubicBezTo>
                <a:cubicBezTo>
                  <a:pt x="522" y="85"/>
                  <a:pt x="523" y="85"/>
                  <a:pt x="524" y="86"/>
                </a:cubicBezTo>
                <a:close/>
                <a:moveTo>
                  <a:pt x="521" y="87"/>
                </a:moveTo>
                <a:cubicBezTo>
                  <a:pt x="521" y="87"/>
                  <a:pt x="523" y="88"/>
                  <a:pt x="523" y="88"/>
                </a:cubicBezTo>
                <a:cubicBezTo>
                  <a:pt x="523" y="88"/>
                  <a:pt x="520" y="88"/>
                  <a:pt x="521" y="87"/>
                </a:cubicBezTo>
                <a:close/>
                <a:moveTo>
                  <a:pt x="523" y="92"/>
                </a:moveTo>
                <a:cubicBezTo>
                  <a:pt x="523" y="92"/>
                  <a:pt x="521" y="92"/>
                  <a:pt x="521" y="91"/>
                </a:cubicBezTo>
                <a:cubicBezTo>
                  <a:pt x="522" y="90"/>
                  <a:pt x="523" y="91"/>
                  <a:pt x="523" y="92"/>
                </a:cubicBezTo>
                <a:close/>
                <a:moveTo>
                  <a:pt x="521" y="105"/>
                </a:moveTo>
                <a:cubicBezTo>
                  <a:pt x="521" y="106"/>
                  <a:pt x="520" y="104"/>
                  <a:pt x="521" y="105"/>
                </a:cubicBezTo>
                <a:close/>
                <a:moveTo>
                  <a:pt x="525" y="106"/>
                </a:moveTo>
                <a:cubicBezTo>
                  <a:pt x="527" y="106"/>
                  <a:pt x="528" y="108"/>
                  <a:pt x="526" y="111"/>
                </a:cubicBezTo>
                <a:cubicBezTo>
                  <a:pt x="525" y="112"/>
                  <a:pt x="523" y="112"/>
                  <a:pt x="522" y="112"/>
                </a:cubicBezTo>
                <a:cubicBezTo>
                  <a:pt x="520" y="112"/>
                  <a:pt x="518" y="112"/>
                  <a:pt x="518" y="112"/>
                </a:cubicBezTo>
                <a:cubicBezTo>
                  <a:pt x="518" y="112"/>
                  <a:pt x="519" y="112"/>
                  <a:pt x="519" y="112"/>
                </a:cubicBezTo>
                <a:cubicBezTo>
                  <a:pt x="519" y="112"/>
                  <a:pt x="518" y="112"/>
                  <a:pt x="518" y="112"/>
                </a:cubicBezTo>
                <a:cubicBezTo>
                  <a:pt x="518" y="112"/>
                  <a:pt x="518" y="111"/>
                  <a:pt x="518" y="111"/>
                </a:cubicBezTo>
                <a:cubicBezTo>
                  <a:pt x="517" y="110"/>
                  <a:pt x="522" y="106"/>
                  <a:pt x="525" y="106"/>
                </a:cubicBezTo>
                <a:close/>
                <a:moveTo>
                  <a:pt x="520" y="133"/>
                </a:moveTo>
                <a:cubicBezTo>
                  <a:pt x="522" y="131"/>
                  <a:pt x="522" y="133"/>
                  <a:pt x="520" y="133"/>
                </a:cubicBezTo>
                <a:close/>
                <a:moveTo>
                  <a:pt x="519" y="147"/>
                </a:moveTo>
                <a:cubicBezTo>
                  <a:pt x="519" y="146"/>
                  <a:pt x="521" y="145"/>
                  <a:pt x="521" y="146"/>
                </a:cubicBezTo>
                <a:cubicBezTo>
                  <a:pt x="522" y="147"/>
                  <a:pt x="520" y="147"/>
                  <a:pt x="519" y="147"/>
                </a:cubicBezTo>
                <a:close/>
                <a:moveTo>
                  <a:pt x="513" y="162"/>
                </a:moveTo>
                <a:cubicBezTo>
                  <a:pt x="512" y="161"/>
                  <a:pt x="516" y="159"/>
                  <a:pt x="516" y="161"/>
                </a:cubicBezTo>
                <a:cubicBezTo>
                  <a:pt x="517" y="162"/>
                  <a:pt x="513" y="163"/>
                  <a:pt x="513" y="162"/>
                </a:cubicBezTo>
                <a:close/>
                <a:moveTo>
                  <a:pt x="516" y="163"/>
                </a:moveTo>
                <a:cubicBezTo>
                  <a:pt x="516" y="164"/>
                  <a:pt x="515" y="165"/>
                  <a:pt x="516" y="164"/>
                </a:cubicBezTo>
                <a:cubicBezTo>
                  <a:pt x="516" y="164"/>
                  <a:pt x="516" y="164"/>
                  <a:pt x="516" y="163"/>
                </a:cubicBezTo>
                <a:close/>
                <a:moveTo>
                  <a:pt x="514" y="191"/>
                </a:moveTo>
                <a:cubicBezTo>
                  <a:pt x="515" y="190"/>
                  <a:pt x="516" y="192"/>
                  <a:pt x="514" y="191"/>
                </a:cubicBezTo>
                <a:close/>
                <a:moveTo>
                  <a:pt x="512" y="192"/>
                </a:moveTo>
                <a:cubicBezTo>
                  <a:pt x="512" y="191"/>
                  <a:pt x="514" y="191"/>
                  <a:pt x="514" y="191"/>
                </a:cubicBezTo>
                <a:cubicBezTo>
                  <a:pt x="514" y="192"/>
                  <a:pt x="512" y="192"/>
                  <a:pt x="512" y="192"/>
                </a:cubicBezTo>
                <a:close/>
                <a:moveTo>
                  <a:pt x="514" y="247"/>
                </a:moveTo>
                <a:cubicBezTo>
                  <a:pt x="514" y="248"/>
                  <a:pt x="513" y="245"/>
                  <a:pt x="514" y="247"/>
                </a:cubicBezTo>
                <a:close/>
                <a:moveTo>
                  <a:pt x="504" y="183"/>
                </a:moveTo>
                <a:cubicBezTo>
                  <a:pt x="506" y="182"/>
                  <a:pt x="506" y="181"/>
                  <a:pt x="504" y="181"/>
                </a:cubicBezTo>
                <a:cubicBezTo>
                  <a:pt x="505" y="178"/>
                  <a:pt x="508" y="175"/>
                  <a:pt x="511" y="176"/>
                </a:cubicBezTo>
                <a:cubicBezTo>
                  <a:pt x="517" y="179"/>
                  <a:pt x="509" y="186"/>
                  <a:pt x="504" y="183"/>
                </a:cubicBezTo>
                <a:close/>
                <a:moveTo>
                  <a:pt x="505" y="184"/>
                </a:moveTo>
                <a:cubicBezTo>
                  <a:pt x="505" y="184"/>
                  <a:pt x="505" y="184"/>
                  <a:pt x="505" y="184"/>
                </a:cubicBezTo>
                <a:cubicBezTo>
                  <a:pt x="506" y="186"/>
                  <a:pt x="503" y="183"/>
                  <a:pt x="505" y="184"/>
                </a:cubicBezTo>
                <a:close/>
                <a:moveTo>
                  <a:pt x="494" y="127"/>
                </a:moveTo>
                <a:cubicBezTo>
                  <a:pt x="494" y="127"/>
                  <a:pt x="497" y="125"/>
                  <a:pt x="498" y="127"/>
                </a:cubicBezTo>
                <a:cubicBezTo>
                  <a:pt x="498" y="128"/>
                  <a:pt x="494" y="129"/>
                  <a:pt x="494" y="127"/>
                </a:cubicBezTo>
                <a:close/>
                <a:moveTo>
                  <a:pt x="496" y="219"/>
                </a:moveTo>
                <a:cubicBezTo>
                  <a:pt x="495" y="219"/>
                  <a:pt x="496" y="218"/>
                  <a:pt x="496" y="218"/>
                </a:cubicBezTo>
                <a:cubicBezTo>
                  <a:pt x="497" y="218"/>
                  <a:pt x="496" y="219"/>
                  <a:pt x="496" y="219"/>
                </a:cubicBezTo>
                <a:close/>
                <a:moveTo>
                  <a:pt x="493" y="182"/>
                </a:moveTo>
                <a:cubicBezTo>
                  <a:pt x="493" y="181"/>
                  <a:pt x="495" y="181"/>
                  <a:pt x="495" y="181"/>
                </a:cubicBezTo>
                <a:cubicBezTo>
                  <a:pt x="496" y="182"/>
                  <a:pt x="494" y="183"/>
                  <a:pt x="493" y="182"/>
                </a:cubicBezTo>
                <a:close/>
                <a:moveTo>
                  <a:pt x="494" y="221"/>
                </a:moveTo>
                <a:cubicBezTo>
                  <a:pt x="494" y="221"/>
                  <a:pt x="495" y="220"/>
                  <a:pt x="495" y="220"/>
                </a:cubicBezTo>
                <a:cubicBezTo>
                  <a:pt x="495" y="220"/>
                  <a:pt x="494" y="222"/>
                  <a:pt x="494" y="221"/>
                </a:cubicBezTo>
                <a:close/>
                <a:moveTo>
                  <a:pt x="484" y="206"/>
                </a:moveTo>
                <a:cubicBezTo>
                  <a:pt x="487" y="204"/>
                  <a:pt x="490" y="201"/>
                  <a:pt x="492" y="200"/>
                </a:cubicBezTo>
                <a:cubicBezTo>
                  <a:pt x="492" y="200"/>
                  <a:pt x="494" y="199"/>
                  <a:pt x="493" y="200"/>
                </a:cubicBezTo>
                <a:cubicBezTo>
                  <a:pt x="492" y="203"/>
                  <a:pt x="487" y="205"/>
                  <a:pt x="484" y="206"/>
                </a:cubicBezTo>
                <a:close/>
                <a:moveTo>
                  <a:pt x="491" y="221"/>
                </a:moveTo>
                <a:cubicBezTo>
                  <a:pt x="491" y="220"/>
                  <a:pt x="493" y="220"/>
                  <a:pt x="493" y="221"/>
                </a:cubicBezTo>
                <a:cubicBezTo>
                  <a:pt x="493" y="222"/>
                  <a:pt x="491" y="222"/>
                  <a:pt x="491" y="221"/>
                </a:cubicBezTo>
                <a:close/>
                <a:moveTo>
                  <a:pt x="480" y="95"/>
                </a:moveTo>
                <a:cubicBezTo>
                  <a:pt x="482" y="94"/>
                  <a:pt x="483" y="93"/>
                  <a:pt x="485" y="93"/>
                </a:cubicBezTo>
                <a:cubicBezTo>
                  <a:pt x="483" y="94"/>
                  <a:pt x="482" y="95"/>
                  <a:pt x="480" y="95"/>
                </a:cubicBezTo>
                <a:close/>
                <a:moveTo>
                  <a:pt x="481" y="162"/>
                </a:moveTo>
                <a:cubicBezTo>
                  <a:pt x="481" y="160"/>
                  <a:pt x="484" y="161"/>
                  <a:pt x="481" y="162"/>
                </a:cubicBezTo>
                <a:close/>
                <a:moveTo>
                  <a:pt x="482" y="109"/>
                </a:moveTo>
                <a:cubicBezTo>
                  <a:pt x="481" y="112"/>
                  <a:pt x="478" y="110"/>
                  <a:pt x="482" y="109"/>
                </a:cubicBezTo>
                <a:close/>
                <a:moveTo>
                  <a:pt x="496" y="72"/>
                </a:moveTo>
                <a:cubicBezTo>
                  <a:pt x="496" y="73"/>
                  <a:pt x="495" y="73"/>
                  <a:pt x="494" y="73"/>
                </a:cubicBezTo>
                <a:cubicBezTo>
                  <a:pt x="494" y="73"/>
                  <a:pt x="496" y="71"/>
                  <a:pt x="496" y="72"/>
                </a:cubicBezTo>
                <a:close/>
                <a:moveTo>
                  <a:pt x="494" y="43"/>
                </a:moveTo>
                <a:cubicBezTo>
                  <a:pt x="494" y="43"/>
                  <a:pt x="496" y="43"/>
                  <a:pt x="496" y="43"/>
                </a:cubicBezTo>
                <a:cubicBezTo>
                  <a:pt x="497" y="45"/>
                  <a:pt x="494" y="44"/>
                  <a:pt x="494" y="43"/>
                </a:cubicBezTo>
                <a:close/>
                <a:moveTo>
                  <a:pt x="493" y="64"/>
                </a:moveTo>
                <a:cubicBezTo>
                  <a:pt x="493" y="64"/>
                  <a:pt x="494" y="64"/>
                  <a:pt x="495" y="65"/>
                </a:cubicBezTo>
                <a:cubicBezTo>
                  <a:pt x="495" y="66"/>
                  <a:pt x="493" y="65"/>
                  <a:pt x="493" y="64"/>
                </a:cubicBezTo>
                <a:close/>
                <a:moveTo>
                  <a:pt x="499" y="87"/>
                </a:moveTo>
                <a:cubicBezTo>
                  <a:pt x="498" y="89"/>
                  <a:pt x="488" y="88"/>
                  <a:pt x="488" y="87"/>
                </a:cubicBezTo>
                <a:cubicBezTo>
                  <a:pt x="489" y="86"/>
                  <a:pt x="496" y="88"/>
                  <a:pt x="499" y="87"/>
                </a:cubicBezTo>
                <a:close/>
                <a:moveTo>
                  <a:pt x="493" y="105"/>
                </a:moveTo>
                <a:cubicBezTo>
                  <a:pt x="493" y="105"/>
                  <a:pt x="493" y="105"/>
                  <a:pt x="493" y="105"/>
                </a:cubicBezTo>
                <a:cubicBezTo>
                  <a:pt x="493" y="105"/>
                  <a:pt x="493" y="105"/>
                  <a:pt x="492" y="105"/>
                </a:cubicBezTo>
                <a:cubicBezTo>
                  <a:pt x="489" y="105"/>
                  <a:pt x="493" y="97"/>
                  <a:pt x="497" y="101"/>
                </a:cubicBezTo>
                <a:cubicBezTo>
                  <a:pt x="498" y="102"/>
                  <a:pt x="498" y="102"/>
                  <a:pt x="498" y="103"/>
                </a:cubicBezTo>
                <a:cubicBezTo>
                  <a:pt x="498" y="106"/>
                  <a:pt x="494" y="107"/>
                  <a:pt x="493" y="105"/>
                </a:cubicBezTo>
                <a:close/>
                <a:moveTo>
                  <a:pt x="495" y="108"/>
                </a:moveTo>
                <a:cubicBezTo>
                  <a:pt x="495" y="108"/>
                  <a:pt x="494" y="109"/>
                  <a:pt x="494" y="108"/>
                </a:cubicBezTo>
                <a:cubicBezTo>
                  <a:pt x="493" y="108"/>
                  <a:pt x="495" y="107"/>
                  <a:pt x="495" y="108"/>
                </a:cubicBezTo>
                <a:close/>
                <a:moveTo>
                  <a:pt x="494" y="174"/>
                </a:moveTo>
                <a:cubicBezTo>
                  <a:pt x="494" y="175"/>
                  <a:pt x="492" y="176"/>
                  <a:pt x="492" y="175"/>
                </a:cubicBezTo>
                <a:cubicBezTo>
                  <a:pt x="492" y="174"/>
                  <a:pt x="494" y="173"/>
                  <a:pt x="494" y="174"/>
                </a:cubicBezTo>
                <a:close/>
                <a:moveTo>
                  <a:pt x="495" y="98"/>
                </a:moveTo>
                <a:cubicBezTo>
                  <a:pt x="496" y="99"/>
                  <a:pt x="494" y="98"/>
                  <a:pt x="495" y="98"/>
                </a:cubicBezTo>
                <a:close/>
                <a:moveTo>
                  <a:pt x="499" y="91"/>
                </a:moveTo>
                <a:cubicBezTo>
                  <a:pt x="498" y="92"/>
                  <a:pt x="497" y="91"/>
                  <a:pt x="499" y="91"/>
                </a:cubicBezTo>
                <a:close/>
                <a:moveTo>
                  <a:pt x="491" y="166"/>
                </a:moveTo>
                <a:cubicBezTo>
                  <a:pt x="491" y="167"/>
                  <a:pt x="489" y="169"/>
                  <a:pt x="488" y="169"/>
                </a:cubicBezTo>
                <a:cubicBezTo>
                  <a:pt x="488" y="167"/>
                  <a:pt x="490" y="167"/>
                  <a:pt x="491" y="166"/>
                </a:cubicBezTo>
                <a:close/>
                <a:moveTo>
                  <a:pt x="485" y="144"/>
                </a:moveTo>
                <a:cubicBezTo>
                  <a:pt x="488" y="143"/>
                  <a:pt x="489" y="145"/>
                  <a:pt x="485" y="144"/>
                </a:cubicBezTo>
                <a:close/>
                <a:moveTo>
                  <a:pt x="486" y="93"/>
                </a:moveTo>
                <a:cubicBezTo>
                  <a:pt x="488" y="92"/>
                  <a:pt x="489" y="91"/>
                  <a:pt x="491" y="90"/>
                </a:cubicBezTo>
                <a:cubicBezTo>
                  <a:pt x="490" y="92"/>
                  <a:pt x="488" y="92"/>
                  <a:pt x="486" y="93"/>
                </a:cubicBezTo>
                <a:close/>
                <a:moveTo>
                  <a:pt x="491" y="61"/>
                </a:moveTo>
                <a:cubicBezTo>
                  <a:pt x="491" y="60"/>
                  <a:pt x="492" y="60"/>
                  <a:pt x="493" y="61"/>
                </a:cubicBezTo>
                <a:cubicBezTo>
                  <a:pt x="492" y="61"/>
                  <a:pt x="492" y="61"/>
                  <a:pt x="491" y="61"/>
                </a:cubicBezTo>
                <a:close/>
                <a:moveTo>
                  <a:pt x="490" y="74"/>
                </a:moveTo>
                <a:cubicBezTo>
                  <a:pt x="491" y="73"/>
                  <a:pt x="491" y="75"/>
                  <a:pt x="490" y="74"/>
                </a:cubicBezTo>
                <a:close/>
                <a:moveTo>
                  <a:pt x="489" y="67"/>
                </a:moveTo>
                <a:cubicBezTo>
                  <a:pt x="488" y="66"/>
                  <a:pt x="490" y="66"/>
                  <a:pt x="490" y="66"/>
                </a:cubicBezTo>
                <a:cubicBezTo>
                  <a:pt x="491" y="67"/>
                  <a:pt x="489" y="68"/>
                  <a:pt x="489" y="67"/>
                </a:cubicBezTo>
                <a:close/>
                <a:moveTo>
                  <a:pt x="488" y="60"/>
                </a:moveTo>
                <a:cubicBezTo>
                  <a:pt x="488" y="60"/>
                  <a:pt x="489" y="60"/>
                  <a:pt x="489" y="60"/>
                </a:cubicBezTo>
                <a:cubicBezTo>
                  <a:pt x="489" y="60"/>
                  <a:pt x="489" y="61"/>
                  <a:pt x="488" y="60"/>
                </a:cubicBezTo>
                <a:close/>
                <a:moveTo>
                  <a:pt x="492" y="82"/>
                </a:moveTo>
                <a:cubicBezTo>
                  <a:pt x="492" y="84"/>
                  <a:pt x="487" y="83"/>
                  <a:pt x="487" y="81"/>
                </a:cubicBezTo>
                <a:cubicBezTo>
                  <a:pt x="487" y="79"/>
                  <a:pt x="492" y="79"/>
                  <a:pt x="492" y="82"/>
                </a:cubicBezTo>
                <a:close/>
                <a:moveTo>
                  <a:pt x="483" y="73"/>
                </a:moveTo>
                <a:cubicBezTo>
                  <a:pt x="482" y="71"/>
                  <a:pt x="487" y="70"/>
                  <a:pt x="487" y="72"/>
                </a:cubicBezTo>
                <a:cubicBezTo>
                  <a:pt x="488" y="75"/>
                  <a:pt x="483" y="74"/>
                  <a:pt x="483" y="73"/>
                </a:cubicBezTo>
                <a:close/>
                <a:moveTo>
                  <a:pt x="483" y="60"/>
                </a:moveTo>
                <a:cubicBezTo>
                  <a:pt x="483" y="60"/>
                  <a:pt x="483" y="60"/>
                  <a:pt x="483" y="60"/>
                </a:cubicBezTo>
                <a:cubicBezTo>
                  <a:pt x="484" y="62"/>
                  <a:pt x="481" y="59"/>
                  <a:pt x="483" y="60"/>
                </a:cubicBezTo>
                <a:close/>
                <a:moveTo>
                  <a:pt x="482" y="62"/>
                </a:moveTo>
                <a:cubicBezTo>
                  <a:pt x="483" y="63"/>
                  <a:pt x="481" y="63"/>
                  <a:pt x="481" y="62"/>
                </a:cubicBezTo>
                <a:cubicBezTo>
                  <a:pt x="481" y="62"/>
                  <a:pt x="482" y="62"/>
                  <a:pt x="482" y="62"/>
                </a:cubicBezTo>
                <a:close/>
                <a:moveTo>
                  <a:pt x="487" y="184"/>
                </a:moveTo>
                <a:cubicBezTo>
                  <a:pt x="487" y="185"/>
                  <a:pt x="485" y="186"/>
                  <a:pt x="484" y="186"/>
                </a:cubicBezTo>
                <a:cubicBezTo>
                  <a:pt x="485" y="185"/>
                  <a:pt x="486" y="185"/>
                  <a:pt x="487" y="184"/>
                </a:cubicBezTo>
                <a:close/>
                <a:moveTo>
                  <a:pt x="495" y="174"/>
                </a:moveTo>
                <a:cubicBezTo>
                  <a:pt x="495" y="174"/>
                  <a:pt x="495" y="174"/>
                  <a:pt x="495" y="174"/>
                </a:cubicBezTo>
                <a:cubicBezTo>
                  <a:pt x="495" y="175"/>
                  <a:pt x="494" y="175"/>
                  <a:pt x="495" y="174"/>
                </a:cubicBezTo>
                <a:close/>
                <a:moveTo>
                  <a:pt x="498" y="141"/>
                </a:moveTo>
                <a:cubicBezTo>
                  <a:pt x="499" y="142"/>
                  <a:pt x="497" y="143"/>
                  <a:pt x="497" y="142"/>
                </a:cubicBezTo>
                <a:cubicBezTo>
                  <a:pt x="496" y="141"/>
                  <a:pt x="498" y="141"/>
                  <a:pt x="498" y="141"/>
                </a:cubicBezTo>
                <a:close/>
                <a:moveTo>
                  <a:pt x="497" y="131"/>
                </a:moveTo>
                <a:cubicBezTo>
                  <a:pt x="497" y="131"/>
                  <a:pt x="498" y="131"/>
                  <a:pt x="498" y="131"/>
                </a:cubicBezTo>
                <a:cubicBezTo>
                  <a:pt x="499" y="132"/>
                  <a:pt x="497" y="132"/>
                  <a:pt x="497" y="131"/>
                </a:cubicBezTo>
                <a:close/>
                <a:moveTo>
                  <a:pt x="498" y="128"/>
                </a:moveTo>
                <a:cubicBezTo>
                  <a:pt x="499" y="129"/>
                  <a:pt x="500" y="126"/>
                  <a:pt x="501" y="126"/>
                </a:cubicBezTo>
                <a:cubicBezTo>
                  <a:pt x="508" y="122"/>
                  <a:pt x="510" y="132"/>
                  <a:pt x="502" y="132"/>
                </a:cubicBezTo>
                <a:cubicBezTo>
                  <a:pt x="501" y="132"/>
                  <a:pt x="498" y="131"/>
                  <a:pt x="498" y="128"/>
                </a:cubicBezTo>
                <a:close/>
                <a:moveTo>
                  <a:pt x="502" y="94"/>
                </a:moveTo>
                <a:cubicBezTo>
                  <a:pt x="503" y="93"/>
                  <a:pt x="504" y="95"/>
                  <a:pt x="502" y="94"/>
                </a:cubicBezTo>
                <a:close/>
                <a:moveTo>
                  <a:pt x="505" y="67"/>
                </a:moveTo>
                <a:cubicBezTo>
                  <a:pt x="505" y="67"/>
                  <a:pt x="505" y="68"/>
                  <a:pt x="504" y="68"/>
                </a:cubicBezTo>
                <a:cubicBezTo>
                  <a:pt x="502" y="68"/>
                  <a:pt x="504" y="64"/>
                  <a:pt x="505" y="67"/>
                </a:cubicBezTo>
                <a:close/>
                <a:moveTo>
                  <a:pt x="503" y="121"/>
                </a:moveTo>
                <a:cubicBezTo>
                  <a:pt x="504" y="121"/>
                  <a:pt x="502" y="123"/>
                  <a:pt x="501" y="122"/>
                </a:cubicBezTo>
                <a:cubicBezTo>
                  <a:pt x="502" y="122"/>
                  <a:pt x="502" y="122"/>
                  <a:pt x="503" y="121"/>
                </a:cubicBezTo>
                <a:close/>
                <a:moveTo>
                  <a:pt x="506" y="123"/>
                </a:moveTo>
                <a:cubicBezTo>
                  <a:pt x="507" y="123"/>
                  <a:pt x="505" y="124"/>
                  <a:pt x="505" y="124"/>
                </a:cubicBezTo>
                <a:cubicBezTo>
                  <a:pt x="505" y="123"/>
                  <a:pt x="505" y="122"/>
                  <a:pt x="506" y="123"/>
                </a:cubicBezTo>
                <a:close/>
                <a:moveTo>
                  <a:pt x="506" y="142"/>
                </a:moveTo>
                <a:cubicBezTo>
                  <a:pt x="507" y="142"/>
                  <a:pt x="505" y="143"/>
                  <a:pt x="505" y="142"/>
                </a:cubicBezTo>
                <a:cubicBezTo>
                  <a:pt x="505" y="142"/>
                  <a:pt x="506" y="142"/>
                  <a:pt x="506" y="142"/>
                </a:cubicBezTo>
                <a:close/>
                <a:moveTo>
                  <a:pt x="502" y="137"/>
                </a:moveTo>
                <a:cubicBezTo>
                  <a:pt x="503" y="139"/>
                  <a:pt x="499" y="139"/>
                  <a:pt x="499" y="138"/>
                </a:cubicBezTo>
                <a:cubicBezTo>
                  <a:pt x="499" y="136"/>
                  <a:pt x="502" y="136"/>
                  <a:pt x="502" y="137"/>
                </a:cubicBezTo>
                <a:close/>
                <a:moveTo>
                  <a:pt x="504" y="199"/>
                </a:moveTo>
                <a:cubicBezTo>
                  <a:pt x="504" y="199"/>
                  <a:pt x="503" y="200"/>
                  <a:pt x="503" y="200"/>
                </a:cubicBezTo>
                <a:cubicBezTo>
                  <a:pt x="501" y="200"/>
                  <a:pt x="503" y="197"/>
                  <a:pt x="504" y="199"/>
                </a:cubicBezTo>
                <a:close/>
                <a:moveTo>
                  <a:pt x="512" y="113"/>
                </a:moveTo>
                <a:cubicBezTo>
                  <a:pt x="512" y="114"/>
                  <a:pt x="509" y="116"/>
                  <a:pt x="507" y="114"/>
                </a:cubicBezTo>
                <a:cubicBezTo>
                  <a:pt x="506" y="113"/>
                  <a:pt x="511" y="111"/>
                  <a:pt x="512" y="113"/>
                </a:cubicBezTo>
                <a:close/>
                <a:moveTo>
                  <a:pt x="508" y="101"/>
                </a:moveTo>
                <a:cubicBezTo>
                  <a:pt x="508" y="100"/>
                  <a:pt x="509" y="100"/>
                  <a:pt x="510" y="101"/>
                </a:cubicBezTo>
                <a:cubicBezTo>
                  <a:pt x="511" y="102"/>
                  <a:pt x="508" y="102"/>
                  <a:pt x="508" y="101"/>
                </a:cubicBezTo>
                <a:close/>
                <a:moveTo>
                  <a:pt x="510" y="102"/>
                </a:moveTo>
                <a:cubicBezTo>
                  <a:pt x="511" y="101"/>
                  <a:pt x="512" y="103"/>
                  <a:pt x="510" y="102"/>
                </a:cubicBezTo>
                <a:close/>
                <a:moveTo>
                  <a:pt x="514" y="132"/>
                </a:moveTo>
                <a:cubicBezTo>
                  <a:pt x="514" y="132"/>
                  <a:pt x="514" y="133"/>
                  <a:pt x="514" y="134"/>
                </a:cubicBezTo>
                <a:cubicBezTo>
                  <a:pt x="512" y="137"/>
                  <a:pt x="512" y="131"/>
                  <a:pt x="514" y="132"/>
                </a:cubicBezTo>
                <a:close/>
                <a:moveTo>
                  <a:pt x="515" y="154"/>
                </a:moveTo>
                <a:cubicBezTo>
                  <a:pt x="515" y="154"/>
                  <a:pt x="515" y="153"/>
                  <a:pt x="515" y="153"/>
                </a:cubicBezTo>
                <a:cubicBezTo>
                  <a:pt x="516" y="154"/>
                  <a:pt x="515" y="155"/>
                  <a:pt x="515" y="154"/>
                </a:cubicBezTo>
                <a:close/>
                <a:moveTo>
                  <a:pt x="516" y="153"/>
                </a:moveTo>
                <a:cubicBezTo>
                  <a:pt x="516" y="151"/>
                  <a:pt x="519" y="152"/>
                  <a:pt x="516" y="153"/>
                </a:cubicBezTo>
                <a:close/>
                <a:moveTo>
                  <a:pt x="513" y="148"/>
                </a:moveTo>
                <a:cubicBezTo>
                  <a:pt x="514" y="147"/>
                  <a:pt x="516" y="145"/>
                  <a:pt x="517" y="145"/>
                </a:cubicBezTo>
                <a:cubicBezTo>
                  <a:pt x="520" y="143"/>
                  <a:pt x="516" y="149"/>
                  <a:pt x="513" y="148"/>
                </a:cubicBezTo>
                <a:close/>
                <a:moveTo>
                  <a:pt x="515" y="134"/>
                </a:moveTo>
                <a:cubicBezTo>
                  <a:pt x="514" y="133"/>
                  <a:pt x="515" y="133"/>
                  <a:pt x="515" y="134"/>
                </a:cubicBezTo>
                <a:close/>
                <a:moveTo>
                  <a:pt x="518" y="86"/>
                </a:moveTo>
                <a:cubicBezTo>
                  <a:pt x="517" y="86"/>
                  <a:pt x="519" y="86"/>
                  <a:pt x="519" y="86"/>
                </a:cubicBezTo>
                <a:cubicBezTo>
                  <a:pt x="520" y="86"/>
                  <a:pt x="518" y="87"/>
                  <a:pt x="518" y="86"/>
                </a:cubicBezTo>
                <a:close/>
                <a:moveTo>
                  <a:pt x="518" y="88"/>
                </a:moveTo>
                <a:cubicBezTo>
                  <a:pt x="519" y="87"/>
                  <a:pt x="520" y="88"/>
                  <a:pt x="518" y="88"/>
                </a:cubicBezTo>
                <a:close/>
                <a:moveTo>
                  <a:pt x="519" y="94"/>
                </a:moveTo>
                <a:cubicBezTo>
                  <a:pt x="519" y="96"/>
                  <a:pt x="514" y="96"/>
                  <a:pt x="515" y="93"/>
                </a:cubicBezTo>
                <a:cubicBezTo>
                  <a:pt x="515" y="92"/>
                  <a:pt x="519" y="92"/>
                  <a:pt x="519" y="94"/>
                </a:cubicBezTo>
                <a:close/>
                <a:moveTo>
                  <a:pt x="516" y="113"/>
                </a:moveTo>
                <a:cubicBezTo>
                  <a:pt x="516" y="112"/>
                  <a:pt x="516" y="112"/>
                  <a:pt x="516" y="112"/>
                </a:cubicBezTo>
                <a:cubicBezTo>
                  <a:pt x="518" y="110"/>
                  <a:pt x="517" y="114"/>
                  <a:pt x="516" y="113"/>
                </a:cubicBezTo>
                <a:close/>
                <a:moveTo>
                  <a:pt x="518" y="143"/>
                </a:moveTo>
                <a:cubicBezTo>
                  <a:pt x="518" y="143"/>
                  <a:pt x="516" y="144"/>
                  <a:pt x="516" y="144"/>
                </a:cubicBezTo>
                <a:cubicBezTo>
                  <a:pt x="516" y="143"/>
                  <a:pt x="517" y="142"/>
                  <a:pt x="518" y="143"/>
                </a:cubicBezTo>
                <a:close/>
                <a:moveTo>
                  <a:pt x="515" y="139"/>
                </a:moveTo>
                <a:cubicBezTo>
                  <a:pt x="516" y="140"/>
                  <a:pt x="515" y="140"/>
                  <a:pt x="515" y="140"/>
                </a:cubicBezTo>
                <a:cubicBezTo>
                  <a:pt x="515" y="140"/>
                  <a:pt x="515" y="139"/>
                  <a:pt x="515" y="139"/>
                </a:cubicBezTo>
                <a:close/>
                <a:moveTo>
                  <a:pt x="519" y="150"/>
                </a:moveTo>
                <a:cubicBezTo>
                  <a:pt x="520" y="150"/>
                  <a:pt x="518" y="151"/>
                  <a:pt x="518" y="151"/>
                </a:cubicBezTo>
                <a:cubicBezTo>
                  <a:pt x="517" y="150"/>
                  <a:pt x="519" y="150"/>
                  <a:pt x="519" y="150"/>
                </a:cubicBezTo>
                <a:close/>
                <a:moveTo>
                  <a:pt x="525" y="72"/>
                </a:moveTo>
                <a:cubicBezTo>
                  <a:pt x="525" y="72"/>
                  <a:pt x="525" y="72"/>
                  <a:pt x="524" y="72"/>
                </a:cubicBezTo>
                <a:cubicBezTo>
                  <a:pt x="524" y="72"/>
                  <a:pt x="525" y="71"/>
                  <a:pt x="525" y="72"/>
                </a:cubicBezTo>
                <a:close/>
                <a:moveTo>
                  <a:pt x="509" y="73"/>
                </a:moveTo>
                <a:cubicBezTo>
                  <a:pt x="510" y="72"/>
                  <a:pt x="513" y="74"/>
                  <a:pt x="516" y="74"/>
                </a:cubicBezTo>
                <a:cubicBezTo>
                  <a:pt x="517" y="73"/>
                  <a:pt x="522" y="72"/>
                  <a:pt x="523" y="73"/>
                </a:cubicBezTo>
                <a:cubicBezTo>
                  <a:pt x="523" y="75"/>
                  <a:pt x="517" y="75"/>
                  <a:pt x="517" y="75"/>
                </a:cubicBezTo>
                <a:cubicBezTo>
                  <a:pt x="517" y="76"/>
                  <a:pt x="520" y="79"/>
                  <a:pt x="520" y="79"/>
                </a:cubicBezTo>
                <a:cubicBezTo>
                  <a:pt x="522" y="87"/>
                  <a:pt x="509" y="84"/>
                  <a:pt x="506" y="82"/>
                </a:cubicBezTo>
                <a:cubicBezTo>
                  <a:pt x="501" y="80"/>
                  <a:pt x="510" y="81"/>
                  <a:pt x="507" y="77"/>
                </a:cubicBezTo>
                <a:cubicBezTo>
                  <a:pt x="511" y="79"/>
                  <a:pt x="508" y="74"/>
                  <a:pt x="509" y="73"/>
                </a:cubicBezTo>
                <a:close/>
                <a:moveTo>
                  <a:pt x="509" y="61"/>
                </a:moveTo>
                <a:cubicBezTo>
                  <a:pt x="510" y="61"/>
                  <a:pt x="508" y="62"/>
                  <a:pt x="507" y="61"/>
                </a:cubicBezTo>
                <a:cubicBezTo>
                  <a:pt x="507" y="61"/>
                  <a:pt x="509" y="60"/>
                  <a:pt x="509" y="61"/>
                </a:cubicBezTo>
                <a:close/>
                <a:moveTo>
                  <a:pt x="511" y="36"/>
                </a:moveTo>
                <a:cubicBezTo>
                  <a:pt x="511" y="37"/>
                  <a:pt x="509" y="37"/>
                  <a:pt x="509" y="36"/>
                </a:cubicBezTo>
                <a:cubicBezTo>
                  <a:pt x="509" y="35"/>
                  <a:pt x="510" y="35"/>
                  <a:pt x="511" y="36"/>
                </a:cubicBezTo>
                <a:close/>
                <a:moveTo>
                  <a:pt x="509" y="38"/>
                </a:moveTo>
                <a:cubicBezTo>
                  <a:pt x="509" y="40"/>
                  <a:pt x="506" y="39"/>
                  <a:pt x="506" y="38"/>
                </a:cubicBezTo>
                <a:cubicBezTo>
                  <a:pt x="506" y="37"/>
                  <a:pt x="509" y="36"/>
                  <a:pt x="509" y="38"/>
                </a:cubicBezTo>
                <a:close/>
                <a:moveTo>
                  <a:pt x="509" y="50"/>
                </a:moveTo>
                <a:cubicBezTo>
                  <a:pt x="504" y="53"/>
                  <a:pt x="503" y="50"/>
                  <a:pt x="509" y="50"/>
                </a:cubicBezTo>
                <a:close/>
                <a:moveTo>
                  <a:pt x="506" y="53"/>
                </a:moveTo>
                <a:cubicBezTo>
                  <a:pt x="505" y="54"/>
                  <a:pt x="504" y="53"/>
                  <a:pt x="504" y="53"/>
                </a:cubicBezTo>
                <a:cubicBezTo>
                  <a:pt x="504" y="53"/>
                  <a:pt x="506" y="53"/>
                  <a:pt x="506" y="53"/>
                </a:cubicBezTo>
                <a:close/>
                <a:moveTo>
                  <a:pt x="504" y="64"/>
                </a:moveTo>
                <a:cubicBezTo>
                  <a:pt x="503" y="65"/>
                  <a:pt x="502" y="65"/>
                  <a:pt x="501" y="65"/>
                </a:cubicBezTo>
                <a:cubicBezTo>
                  <a:pt x="501" y="64"/>
                  <a:pt x="503" y="63"/>
                  <a:pt x="504" y="64"/>
                </a:cubicBezTo>
                <a:close/>
                <a:moveTo>
                  <a:pt x="501" y="64"/>
                </a:moveTo>
                <a:cubicBezTo>
                  <a:pt x="501" y="64"/>
                  <a:pt x="500" y="65"/>
                  <a:pt x="500" y="64"/>
                </a:cubicBezTo>
                <a:cubicBezTo>
                  <a:pt x="500" y="64"/>
                  <a:pt x="501" y="63"/>
                  <a:pt x="501" y="64"/>
                </a:cubicBezTo>
                <a:close/>
                <a:moveTo>
                  <a:pt x="501" y="123"/>
                </a:moveTo>
                <a:cubicBezTo>
                  <a:pt x="501" y="123"/>
                  <a:pt x="501" y="123"/>
                  <a:pt x="501" y="123"/>
                </a:cubicBezTo>
                <a:cubicBezTo>
                  <a:pt x="502" y="125"/>
                  <a:pt x="499" y="121"/>
                  <a:pt x="501" y="123"/>
                </a:cubicBezTo>
                <a:close/>
                <a:moveTo>
                  <a:pt x="499" y="65"/>
                </a:moveTo>
                <a:cubicBezTo>
                  <a:pt x="501" y="65"/>
                  <a:pt x="497" y="65"/>
                  <a:pt x="499" y="65"/>
                </a:cubicBezTo>
                <a:close/>
                <a:moveTo>
                  <a:pt x="498" y="38"/>
                </a:moveTo>
                <a:cubicBezTo>
                  <a:pt x="498" y="38"/>
                  <a:pt x="497" y="39"/>
                  <a:pt x="497" y="38"/>
                </a:cubicBezTo>
                <a:cubicBezTo>
                  <a:pt x="497" y="38"/>
                  <a:pt x="497" y="37"/>
                  <a:pt x="498" y="38"/>
                </a:cubicBezTo>
                <a:close/>
                <a:moveTo>
                  <a:pt x="497" y="31"/>
                </a:moveTo>
                <a:cubicBezTo>
                  <a:pt x="497" y="32"/>
                  <a:pt x="495" y="32"/>
                  <a:pt x="495" y="31"/>
                </a:cubicBezTo>
                <a:cubicBezTo>
                  <a:pt x="495" y="31"/>
                  <a:pt x="496" y="31"/>
                  <a:pt x="497" y="31"/>
                </a:cubicBezTo>
                <a:close/>
                <a:moveTo>
                  <a:pt x="496" y="40"/>
                </a:moveTo>
                <a:cubicBezTo>
                  <a:pt x="496" y="41"/>
                  <a:pt x="493" y="42"/>
                  <a:pt x="493" y="41"/>
                </a:cubicBezTo>
                <a:cubicBezTo>
                  <a:pt x="492" y="40"/>
                  <a:pt x="495" y="39"/>
                  <a:pt x="496" y="40"/>
                </a:cubicBezTo>
                <a:close/>
                <a:moveTo>
                  <a:pt x="492" y="44"/>
                </a:moveTo>
                <a:cubicBezTo>
                  <a:pt x="493" y="43"/>
                  <a:pt x="494" y="45"/>
                  <a:pt x="492" y="44"/>
                </a:cubicBezTo>
                <a:close/>
                <a:moveTo>
                  <a:pt x="488" y="29"/>
                </a:moveTo>
                <a:cubicBezTo>
                  <a:pt x="489" y="30"/>
                  <a:pt x="486" y="30"/>
                  <a:pt x="486" y="29"/>
                </a:cubicBezTo>
                <a:cubicBezTo>
                  <a:pt x="486" y="28"/>
                  <a:pt x="488" y="28"/>
                  <a:pt x="488" y="29"/>
                </a:cubicBezTo>
                <a:close/>
                <a:moveTo>
                  <a:pt x="487" y="31"/>
                </a:moveTo>
                <a:cubicBezTo>
                  <a:pt x="487" y="31"/>
                  <a:pt x="488" y="31"/>
                  <a:pt x="488" y="31"/>
                </a:cubicBezTo>
                <a:cubicBezTo>
                  <a:pt x="489" y="32"/>
                  <a:pt x="487" y="32"/>
                  <a:pt x="487" y="31"/>
                </a:cubicBezTo>
                <a:close/>
                <a:moveTo>
                  <a:pt x="488" y="40"/>
                </a:moveTo>
                <a:cubicBezTo>
                  <a:pt x="488" y="41"/>
                  <a:pt x="487" y="41"/>
                  <a:pt x="486" y="41"/>
                </a:cubicBezTo>
                <a:cubicBezTo>
                  <a:pt x="486" y="40"/>
                  <a:pt x="487" y="40"/>
                  <a:pt x="488" y="40"/>
                </a:cubicBezTo>
                <a:close/>
                <a:moveTo>
                  <a:pt x="484" y="41"/>
                </a:moveTo>
                <a:cubicBezTo>
                  <a:pt x="485" y="42"/>
                  <a:pt x="483" y="42"/>
                  <a:pt x="483" y="42"/>
                </a:cubicBezTo>
                <a:cubicBezTo>
                  <a:pt x="483" y="41"/>
                  <a:pt x="484" y="41"/>
                  <a:pt x="484" y="41"/>
                </a:cubicBezTo>
                <a:close/>
                <a:moveTo>
                  <a:pt x="483" y="38"/>
                </a:moveTo>
                <a:cubicBezTo>
                  <a:pt x="482" y="37"/>
                  <a:pt x="484" y="38"/>
                  <a:pt x="483" y="38"/>
                </a:cubicBezTo>
                <a:close/>
                <a:moveTo>
                  <a:pt x="483" y="51"/>
                </a:moveTo>
                <a:cubicBezTo>
                  <a:pt x="485" y="47"/>
                  <a:pt x="492" y="43"/>
                  <a:pt x="496" y="48"/>
                </a:cubicBezTo>
                <a:cubicBezTo>
                  <a:pt x="496" y="49"/>
                  <a:pt x="494" y="53"/>
                  <a:pt x="493" y="53"/>
                </a:cubicBezTo>
                <a:cubicBezTo>
                  <a:pt x="493" y="53"/>
                  <a:pt x="491" y="53"/>
                  <a:pt x="490" y="53"/>
                </a:cubicBezTo>
                <a:cubicBezTo>
                  <a:pt x="490" y="53"/>
                  <a:pt x="490" y="54"/>
                  <a:pt x="489" y="54"/>
                </a:cubicBezTo>
                <a:cubicBezTo>
                  <a:pt x="488" y="54"/>
                  <a:pt x="485" y="54"/>
                  <a:pt x="483" y="54"/>
                </a:cubicBezTo>
                <a:cubicBezTo>
                  <a:pt x="483" y="54"/>
                  <a:pt x="483" y="54"/>
                  <a:pt x="482" y="54"/>
                </a:cubicBezTo>
                <a:cubicBezTo>
                  <a:pt x="482" y="53"/>
                  <a:pt x="483" y="52"/>
                  <a:pt x="483" y="51"/>
                </a:cubicBezTo>
                <a:close/>
                <a:moveTo>
                  <a:pt x="482" y="56"/>
                </a:moveTo>
                <a:cubicBezTo>
                  <a:pt x="483" y="57"/>
                  <a:pt x="480" y="57"/>
                  <a:pt x="480" y="57"/>
                </a:cubicBezTo>
                <a:cubicBezTo>
                  <a:pt x="479" y="55"/>
                  <a:pt x="482" y="55"/>
                  <a:pt x="482" y="56"/>
                </a:cubicBezTo>
                <a:close/>
                <a:moveTo>
                  <a:pt x="479" y="43"/>
                </a:moveTo>
                <a:cubicBezTo>
                  <a:pt x="479" y="45"/>
                  <a:pt x="475" y="45"/>
                  <a:pt x="474" y="44"/>
                </a:cubicBezTo>
                <a:cubicBezTo>
                  <a:pt x="474" y="43"/>
                  <a:pt x="478" y="42"/>
                  <a:pt x="479" y="43"/>
                </a:cubicBezTo>
                <a:close/>
                <a:moveTo>
                  <a:pt x="473" y="28"/>
                </a:moveTo>
                <a:cubicBezTo>
                  <a:pt x="472" y="28"/>
                  <a:pt x="474" y="28"/>
                  <a:pt x="473" y="28"/>
                </a:cubicBezTo>
                <a:close/>
                <a:moveTo>
                  <a:pt x="471" y="33"/>
                </a:moveTo>
                <a:cubicBezTo>
                  <a:pt x="471" y="34"/>
                  <a:pt x="470" y="34"/>
                  <a:pt x="469" y="34"/>
                </a:cubicBezTo>
                <a:cubicBezTo>
                  <a:pt x="469" y="33"/>
                  <a:pt x="471" y="32"/>
                  <a:pt x="471" y="33"/>
                </a:cubicBezTo>
                <a:close/>
                <a:moveTo>
                  <a:pt x="467" y="32"/>
                </a:moveTo>
                <a:cubicBezTo>
                  <a:pt x="469" y="31"/>
                  <a:pt x="470" y="33"/>
                  <a:pt x="467" y="32"/>
                </a:cubicBezTo>
                <a:close/>
                <a:moveTo>
                  <a:pt x="467" y="46"/>
                </a:moveTo>
                <a:cubicBezTo>
                  <a:pt x="468" y="44"/>
                  <a:pt x="469" y="47"/>
                  <a:pt x="467" y="46"/>
                </a:cubicBezTo>
                <a:close/>
                <a:moveTo>
                  <a:pt x="467" y="52"/>
                </a:moveTo>
                <a:cubicBezTo>
                  <a:pt x="466" y="52"/>
                  <a:pt x="468" y="53"/>
                  <a:pt x="467" y="52"/>
                </a:cubicBezTo>
                <a:close/>
                <a:moveTo>
                  <a:pt x="467" y="30"/>
                </a:moveTo>
                <a:cubicBezTo>
                  <a:pt x="467" y="30"/>
                  <a:pt x="468" y="31"/>
                  <a:pt x="467" y="31"/>
                </a:cubicBezTo>
                <a:cubicBezTo>
                  <a:pt x="465" y="31"/>
                  <a:pt x="467" y="28"/>
                  <a:pt x="467" y="30"/>
                </a:cubicBezTo>
                <a:close/>
                <a:moveTo>
                  <a:pt x="468" y="38"/>
                </a:moveTo>
                <a:cubicBezTo>
                  <a:pt x="468" y="39"/>
                  <a:pt x="466" y="40"/>
                  <a:pt x="465" y="39"/>
                </a:cubicBezTo>
                <a:cubicBezTo>
                  <a:pt x="465" y="38"/>
                  <a:pt x="467" y="37"/>
                  <a:pt x="468" y="38"/>
                </a:cubicBezTo>
                <a:close/>
                <a:moveTo>
                  <a:pt x="464" y="49"/>
                </a:moveTo>
                <a:cubicBezTo>
                  <a:pt x="463" y="50"/>
                  <a:pt x="462" y="48"/>
                  <a:pt x="462" y="49"/>
                </a:cubicBezTo>
                <a:cubicBezTo>
                  <a:pt x="460" y="46"/>
                  <a:pt x="468" y="49"/>
                  <a:pt x="464" y="49"/>
                </a:cubicBezTo>
                <a:close/>
                <a:moveTo>
                  <a:pt x="463" y="51"/>
                </a:moveTo>
                <a:cubicBezTo>
                  <a:pt x="463" y="51"/>
                  <a:pt x="464" y="51"/>
                  <a:pt x="464" y="51"/>
                </a:cubicBezTo>
                <a:cubicBezTo>
                  <a:pt x="465" y="52"/>
                  <a:pt x="464" y="51"/>
                  <a:pt x="463" y="51"/>
                </a:cubicBezTo>
                <a:close/>
                <a:moveTo>
                  <a:pt x="447" y="79"/>
                </a:moveTo>
                <a:cubicBezTo>
                  <a:pt x="448" y="79"/>
                  <a:pt x="446" y="80"/>
                  <a:pt x="446" y="80"/>
                </a:cubicBezTo>
                <a:cubicBezTo>
                  <a:pt x="446" y="79"/>
                  <a:pt x="446" y="79"/>
                  <a:pt x="447" y="79"/>
                </a:cubicBezTo>
                <a:close/>
                <a:moveTo>
                  <a:pt x="446" y="189"/>
                </a:moveTo>
                <a:cubicBezTo>
                  <a:pt x="446" y="188"/>
                  <a:pt x="448" y="188"/>
                  <a:pt x="448" y="189"/>
                </a:cubicBezTo>
                <a:cubicBezTo>
                  <a:pt x="448" y="190"/>
                  <a:pt x="446" y="190"/>
                  <a:pt x="446" y="189"/>
                </a:cubicBezTo>
                <a:close/>
                <a:moveTo>
                  <a:pt x="449" y="610"/>
                </a:moveTo>
                <a:cubicBezTo>
                  <a:pt x="448" y="610"/>
                  <a:pt x="447" y="610"/>
                  <a:pt x="446" y="610"/>
                </a:cubicBezTo>
                <a:cubicBezTo>
                  <a:pt x="447" y="609"/>
                  <a:pt x="448" y="609"/>
                  <a:pt x="449" y="610"/>
                </a:cubicBezTo>
                <a:close/>
                <a:moveTo>
                  <a:pt x="447" y="145"/>
                </a:moveTo>
                <a:cubicBezTo>
                  <a:pt x="446" y="146"/>
                  <a:pt x="445" y="145"/>
                  <a:pt x="447" y="145"/>
                </a:cubicBezTo>
                <a:close/>
                <a:moveTo>
                  <a:pt x="447" y="126"/>
                </a:moveTo>
                <a:cubicBezTo>
                  <a:pt x="447" y="126"/>
                  <a:pt x="446" y="127"/>
                  <a:pt x="446" y="127"/>
                </a:cubicBezTo>
                <a:cubicBezTo>
                  <a:pt x="446" y="127"/>
                  <a:pt x="446" y="126"/>
                  <a:pt x="447" y="126"/>
                </a:cubicBezTo>
                <a:close/>
                <a:moveTo>
                  <a:pt x="446" y="180"/>
                </a:moveTo>
                <a:cubicBezTo>
                  <a:pt x="446" y="184"/>
                  <a:pt x="439" y="183"/>
                  <a:pt x="438" y="180"/>
                </a:cubicBezTo>
                <a:cubicBezTo>
                  <a:pt x="438" y="178"/>
                  <a:pt x="446" y="176"/>
                  <a:pt x="446" y="180"/>
                </a:cubicBezTo>
                <a:close/>
                <a:moveTo>
                  <a:pt x="441" y="175"/>
                </a:moveTo>
                <a:cubicBezTo>
                  <a:pt x="441" y="173"/>
                  <a:pt x="444" y="173"/>
                  <a:pt x="444" y="174"/>
                </a:cubicBezTo>
                <a:cubicBezTo>
                  <a:pt x="445" y="176"/>
                  <a:pt x="442" y="176"/>
                  <a:pt x="441" y="175"/>
                </a:cubicBezTo>
                <a:close/>
                <a:moveTo>
                  <a:pt x="446" y="135"/>
                </a:moveTo>
                <a:cubicBezTo>
                  <a:pt x="444" y="136"/>
                  <a:pt x="441" y="137"/>
                  <a:pt x="440" y="136"/>
                </a:cubicBezTo>
                <a:cubicBezTo>
                  <a:pt x="442" y="136"/>
                  <a:pt x="444" y="134"/>
                  <a:pt x="446" y="135"/>
                </a:cubicBezTo>
                <a:close/>
                <a:moveTo>
                  <a:pt x="443" y="79"/>
                </a:moveTo>
                <a:cubicBezTo>
                  <a:pt x="444" y="78"/>
                  <a:pt x="445" y="80"/>
                  <a:pt x="443" y="79"/>
                </a:cubicBezTo>
                <a:close/>
                <a:moveTo>
                  <a:pt x="443" y="79"/>
                </a:moveTo>
                <a:cubicBezTo>
                  <a:pt x="442" y="80"/>
                  <a:pt x="440" y="81"/>
                  <a:pt x="439" y="81"/>
                </a:cubicBezTo>
                <a:cubicBezTo>
                  <a:pt x="439" y="79"/>
                  <a:pt x="441" y="80"/>
                  <a:pt x="443" y="79"/>
                </a:cubicBezTo>
                <a:close/>
                <a:moveTo>
                  <a:pt x="438" y="137"/>
                </a:moveTo>
                <a:cubicBezTo>
                  <a:pt x="439" y="137"/>
                  <a:pt x="437" y="138"/>
                  <a:pt x="437" y="138"/>
                </a:cubicBezTo>
                <a:cubicBezTo>
                  <a:pt x="437" y="138"/>
                  <a:pt x="438" y="137"/>
                  <a:pt x="438" y="137"/>
                </a:cubicBezTo>
                <a:close/>
                <a:moveTo>
                  <a:pt x="437" y="228"/>
                </a:moveTo>
                <a:cubicBezTo>
                  <a:pt x="436" y="229"/>
                  <a:pt x="433" y="230"/>
                  <a:pt x="432" y="232"/>
                </a:cubicBezTo>
                <a:cubicBezTo>
                  <a:pt x="433" y="230"/>
                  <a:pt x="435" y="229"/>
                  <a:pt x="437" y="228"/>
                </a:cubicBezTo>
                <a:close/>
                <a:moveTo>
                  <a:pt x="431" y="647"/>
                </a:moveTo>
                <a:cubicBezTo>
                  <a:pt x="432" y="648"/>
                  <a:pt x="430" y="646"/>
                  <a:pt x="431" y="647"/>
                </a:cubicBezTo>
                <a:close/>
                <a:moveTo>
                  <a:pt x="430" y="190"/>
                </a:move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lose/>
                <a:moveTo>
                  <a:pt x="430" y="233"/>
                </a:moveTo>
                <a:cubicBezTo>
                  <a:pt x="428" y="236"/>
                  <a:pt x="427" y="233"/>
                  <a:pt x="430" y="233"/>
                </a:cubicBezTo>
                <a:close/>
                <a:moveTo>
                  <a:pt x="430" y="647"/>
                </a:moveTo>
                <a:cubicBezTo>
                  <a:pt x="430" y="648"/>
                  <a:pt x="428" y="648"/>
                  <a:pt x="428" y="648"/>
                </a:cubicBezTo>
                <a:cubicBezTo>
                  <a:pt x="428" y="647"/>
                  <a:pt x="429" y="647"/>
                  <a:pt x="430" y="647"/>
                </a:cubicBezTo>
                <a:close/>
                <a:moveTo>
                  <a:pt x="427" y="105"/>
                </a:moveTo>
                <a:cubicBezTo>
                  <a:pt x="426" y="104"/>
                  <a:pt x="428" y="106"/>
                  <a:pt x="427" y="105"/>
                </a:cubicBezTo>
                <a:close/>
                <a:moveTo>
                  <a:pt x="426" y="572"/>
                </a:moveTo>
                <a:cubicBezTo>
                  <a:pt x="427" y="571"/>
                  <a:pt x="427" y="574"/>
                  <a:pt x="426" y="573"/>
                </a:cubicBezTo>
                <a:cubicBezTo>
                  <a:pt x="426" y="573"/>
                  <a:pt x="426" y="572"/>
                  <a:pt x="426" y="572"/>
                </a:cubicBezTo>
                <a:close/>
                <a:moveTo>
                  <a:pt x="424" y="210"/>
                </a:moveTo>
                <a:cubicBezTo>
                  <a:pt x="425" y="209"/>
                  <a:pt x="426" y="211"/>
                  <a:pt x="424" y="210"/>
                </a:cubicBezTo>
                <a:close/>
                <a:moveTo>
                  <a:pt x="422" y="80"/>
                </a:moveTo>
                <a:cubicBezTo>
                  <a:pt x="423" y="81"/>
                  <a:pt x="421" y="81"/>
                  <a:pt x="420" y="81"/>
                </a:cubicBezTo>
                <a:cubicBezTo>
                  <a:pt x="420" y="80"/>
                  <a:pt x="422" y="80"/>
                  <a:pt x="422" y="80"/>
                </a:cubicBezTo>
                <a:close/>
                <a:moveTo>
                  <a:pt x="423" y="85"/>
                </a:moveTo>
                <a:cubicBezTo>
                  <a:pt x="423" y="85"/>
                  <a:pt x="420" y="86"/>
                  <a:pt x="420" y="85"/>
                </a:cubicBezTo>
                <a:cubicBezTo>
                  <a:pt x="419" y="85"/>
                  <a:pt x="424" y="83"/>
                  <a:pt x="423" y="85"/>
                </a:cubicBezTo>
                <a:close/>
                <a:moveTo>
                  <a:pt x="421" y="667"/>
                </a:moveTo>
                <a:cubicBezTo>
                  <a:pt x="423" y="666"/>
                  <a:pt x="422" y="668"/>
                  <a:pt x="421" y="667"/>
                </a:cubicBezTo>
                <a:close/>
                <a:moveTo>
                  <a:pt x="419" y="54"/>
                </a:moveTo>
                <a:cubicBezTo>
                  <a:pt x="420" y="54"/>
                  <a:pt x="419" y="55"/>
                  <a:pt x="419" y="55"/>
                </a:cubicBezTo>
                <a:cubicBezTo>
                  <a:pt x="418" y="55"/>
                  <a:pt x="418" y="54"/>
                  <a:pt x="419" y="54"/>
                </a:cubicBezTo>
                <a:close/>
                <a:moveTo>
                  <a:pt x="419" y="61"/>
                </a:moveTo>
                <a:cubicBezTo>
                  <a:pt x="419" y="61"/>
                  <a:pt x="417" y="61"/>
                  <a:pt x="417" y="60"/>
                </a:cubicBezTo>
                <a:cubicBezTo>
                  <a:pt x="417" y="60"/>
                  <a:pt x="418" y="60"/>
                  <a:pt x="419" y="61"/>
                </a:cubicBezTo>
                <a:close/>
                <a:moveTo>
                  <a:pt x="411" y="63"/>
                </a:moveTo>
                <a:cubicBezTo>
                  <a:pt x="411" y="63"/>
                  <a:pt x="410" y="64"/>
                  <a:pt x="410" y="63"/>
                </a:cubicBezTo>
                <a:cubicBezTo>
                  <a:pt x="409" y="63"/>
                  <a:pt x="411" y="62"/>
                  <a:pt x="411" y="63"/>
                </a:cubicBezTo>
                <a:close/>
                <a:moveTo>
                  <a:pt x="408" y="93"/>
                </a:moveTo>
                <a:cubicBezTo>
                  <a:pt x="408" y="94"/>
                  <a:pt x="407" y="94"/>
                  <a:pt x="407" y="94"/>
                </a:cubicBezTo>
                <a:cubicBezTo>
                  <a:pt x="406" y="93"/>
                  <a:pt x="408" y="93"/>
                  <a:pt x="408" y="93"/>
                </a:cubicBezTo>
                <a:close/>
                <a:moveTo>
                  <a:pt x="406" y="125"/>
                </a:moveTo>
                <a:cubicBezTo>
                  <a:pt x="406" y="126"/>
                  <a:pt x="404" y="125"/>
                  <a:pt x="406" y="125"/>
                </a:cubicBezTo>
                <a:close/>
                <a:moveTo>
                  <a:pt x="405" y="97"/>
                </a:moveTo>
                <a:cubicBezTo>
                  <a:pt x="404" y="97"/>
                  <a:pt x="404" y="97"/>
                  <a:pt x="404" y="96"/>
                </a:cubicBezTo>
                <a:cubicBezTo>
                  <a:pt x="403" y="95"/>
                  <a:pt x="406" y="97"/>
                  <a:pt x="405" y="97"/>
                </a:cubicBezTo>
                <a:close/>
                <a:moveTo>
                  <a:pt x="408" y="154"/>
                </a:moveTo>
                <a:cubicBezTo>
                  <a:pt x="406" y="156"/>
                  <a:pt x="402" y="158"/>
                  <a:pt x="399" y="158"/>
                </a:cubicBezTo>
                <a:cubicBezTo>
                  <a:pt x="402" y="157"/>
                  <a:pt x="405" y="156"/>
                  <a:pt x="408" y="154"/>
                </a:cubicBezTo>
                <a:close/>
                <a:moveTo>
                  <a:pt x="399" y="122"/>
                </a:moveTo>
                <a:cubicBezTo>
                  <a:pt x="399" y="122"/>
                  <a:pt x="400" y="121"/>
                  <a:pt x="400" y="122"/>
                </a:cubicBezTo>
                <a:cubicBezTo>
                  <a:pt x="400" y="122"/>
                  <a:pt x="400" y="123"/>
                  <a:pt x="399" y="122"/>
                </a:cubicBezTo>
                <a:close/>
                <a:moveTo>
                  <a:pt x="401" y="71"/>
                </a:moveTo>
                <a:cubicBezTo>
                  <a:pt x="402" y="72"/>
                  <a:pt x="400" y="73"/>
                  <a:pt x="399" y="72"/>
                </a:cubicBezTo>
                <a:cubicBezTo>
                  <a:pt x="399" y="71"/>
                  <a:pt x="401" y="70"/>
                  <a:pt x="401" y="71"/>
                </a:cubicBezTo>
                <a:close/>
                <a:moveTo>
                  <a:pt x="399" y="97"/>
                </a:moveTo>
                <a:cubicBezTo>
                  <a:pt x="399" y="97"/>
                  <a:pt x="398" y="98"/>
                  <a:pt x="397" y="97"/>
                </a:cubicBezTo>
                <a:cubicBezTo>
                  <a:pt x="398" y="97"/>
                  <a:pt x="398" y="97"/>
                  <a:pt x="399" y="97"/>
                </a:cubicBezTo>
                <a:close/>
                <a:moveTo>
                  <a:pt x="398" y="160"/>
                </a:moveTo>
                <a:cubicBezTo>
                  <a:pt x="398" y="160"/>
                  <a:pt x="398" y="159"/>
                  <a:pt x="399" y="159"/>
                </a:cubicBezTo>
                <a:cubicBezTo>
                  <a:pt x="399" y="159"/>
                  <a:pt x="398" y="160"/>
                  <a:pt x="398" y="160"/>
                </a:cubicBezTo>
                <a:close/>
                <a:moveTo>
                  <a:pt x="398" y="169"/>
                </a:moveTo>
                <a:cubicBezTo>
                  <a:pt x="399" y="170"/>
                  <a:pt x="397" y="171"/>
                  <a:pt x="397" y="170"/>
                </a:cubicBezTo>
                <a:cubicBezTo>
                  <a:pt x="397" y="169"/>
                  <a:pt x="398" y="169"/>
                  <a:pt x="398" y="169"/>
                </a:cubicBezTo>
                <a:close/>
                <a:moveTo>
                  <a:pt x="397" y="159"/>
                </a:moveTo>
                <a:cubicBezTo>
                  <a:pt x="397" y="160"/>
                  <a:pt x="395" y="162"/>
                  <a:pt x="395" y="161"/>
                </a:cubicBezTo>
                <a:cubicBezTo>
                  <a:pt x="395" y="160"/>
                  <a:pt x="397" y="160"/>
                  <a:pt x="397" y="159"/>
                </a:cubicBezTo>
                <a:close/>
                <a:moveTo>
                  <a:pt x="395" y="78"/>
                </a:moveTo>
                <a:cubicBezTo>
                  <a:pt x="395" y="78"/>
                  <a:pt x="394" y="78"/>
                  <a:pt x="394" y="78"/>
                </a:cubicBezTo>
                <a:cubicBezTo>
                  <a:pt x="393" y="78"/>
                  <a:pt x="395" y="78"/>
                  <a:pt x="395" y="78"/>
                </a:cubicBezTo>
                <a:close/>
                <a:moveTo>
                  <a:pt x="392" y="104"/>
                </a:moveTo>
                <a:cubicBezTo>
                  <a:pt x="393" y="106"/>
                  <a:pt x="390" y="105"/>
                  <a:pt x="390" y="104"/>
                </a:cubicBezTo>
                <a:cubicBezTo>
                  <a:pt x="390" y="102"/>
                  <a:pt x="392" y="103"/>
                  <a:pt x="392" y="104"/>
                </a:cubicBezTo>
                <a:close/>
                <a:moveTo>
                  <a:pt x="388" y="79"/>
                </a:moveTo>
                <a:cubicBezTo>
                  <a:pt x="387" y="80"/>
                  <a:pt x="386" y="79"/>
                  <a:pt x="385" y="80"/>
                </a:cubicBezTo>
                <a:cubicBezTo>
                  <a:pt x="385" y="79"/>
                  <a:pt x="387" y="79"/>
                  <a:pt x="388" y="79"/>
                </a:cubicBezTo>
                <a:close/>
                <a:moveTo>
                  <a:pt x="385" y="112"/>
                </a:moveTo>
                <a:cubicBezTo>
                  <a:pt x="385" y="112"/>
                  <a:pt x="387" y="111"/>
                  <a:pt x="387" y="112"/>
                </a:cubicBezTo>
                <a:cubicBezTo>
                  <a:pt x="388" y="114"/>
                  <a:pt x="384" y="114"/>
                  <a:pt x="385" y="112"/>
                </a:cubicBezTo>
                <a:close/>
                <a:moveTo>
                  <a:pt x="382" y="113"/>
                </a:moveTo>
                <a:cubicBezTo>
                  <a:pt x="384" y="111"/>
                  <a:pt x="385" y="114"/>
                  <a:pt x="382" y="113"/>
                </a:cubicBezTo>
                <a:close/>
                <a:moveTo>
                  <a:pt x="379" y="110"/>
                </a:moveTo>
                <a:cubicBezTo>
                  <a:pt x="380" y="111"/>
                  <a:pt x="376" y="111"/>
                  <a:pt x="376" y="110"/>
                </a:cubicBezTo>
                <a:cubicBezTo>
                  <a:pt x="375" y="109"/>
                  <a:pt x="378" y="108"/>
                  <a:pt x="379" y="110"/>
                </a:cubicBezTo>
                <a:close/>
                <a:moveTo>
                  <a:pt x="379" y="80"/>
                </a:moveTo>
                <a:cubicBezTo>
                  <a:pt x="379" y="80"/>
                  <a:pt x="377" y="81"/>
                  <a:pt x="377" y="81"/>
                </a:cubicBezTo>
                <a:cubicBezTo>
                  <a:pt x="377" y="80"/>
                  <a:pt x="378" y="80"/>
                  <a:pt x="379" y="80"/>
                </a:cubicBezTo>
                <a:close/>
                <a:moveTo>
                  <a:pt x="376" y="81"/>
                </a:moveTo>
                <a:cubicBezTo>
                  <a:pt x="375" y="81"/>
                  <a:pt x="374" y="81"/>
                  <a:pt x="374" y="81"/>
                </a:cubicBezTo>
                <a:cubicBezTo>
                  <a:pt x="373" y="81"/>
                  <a:pt x="375" y="81"/>
                  <a:pt x="376" y="81"/>
                </a:cubicBezTo>
                <a:close/>
                <a:moveTo>
                  <a:pt x="372" y="76"/>
                </a:moveTo>
                <a:cubicBezTo>
                  <a:pt x="372" y="76"/>
                  <a:pt x="372" y="76"/>
                  <a:pt x="372" y="76"/>
                </a:cubicBezTo>
                <a:cubicBezTo>
                  <a:pt x="372" y="76"/>
                  <a:pt x="371" y="76"/>
                  <a:pt x="371" y="76"/>
                </a:cubicBezTo>
                <a:cubicBezTo>
                  <a:pt x="371" y="76"/>
                  <a:pt x="371" y="76"/>
                  <a:pt x="372" y="76"/>
                </a:cubicBezTo>
                <a:close/>
                <a:moveTo>
                  <a:pt x="363" y="95"/>
                </a:moveTo>
                <a:cubicBezTo>
                  <a:pt x="362" y="96"/>
                  <a:pt x="361" y="94"/>
                  <a:pt x="363" y="95"/>
                </a:cubicBezTo>
                <a:close/>
                <a:moveTo>
                  <a:pt x="362" y="110"/>
                </a:moveTo>
                <a:cubicBezTo>
                  <a:pt x="362" y="112"/>
                  <a:pt x="358" y="112"/>
                  <a:pt x="357" y="111"/>
                </a:cubicBezTo>
                <a:cubicBezTo>
                  <a:pt x="357" y="111"/>
                  <a:pt x="357" y="111"/>
                  <a:pt x="356" y="110"/>
                </a:cubicBezTo>
                <a:cubicBezTo>
                  <a:pt x="357" y="111"/>
                  <a:pt x="355" y="112"/>
                  <a:pt x="355" y="111"/>
                </a:cubicBezTo>
                <a:cubicBezTo>
                  <a:pt x="354" y="110"/>
                  <a:pt x="363" y="106"/>
                  <a:pt x="362" y="110"/>
                </a:cubicBezTo>
                <a:close/>
                <a:moveTo>
                  <a:pt x="357" y="127"/>
                </a:moveTo>
                <a:cubicBezTo>
                  <a:pt x="362" y="124"/>
                  <a:pt x="368" y="124"/>
                  <a:pt x="374" y="121"/>
                </a:cubicBezTo>
                <a:cubicBezTo>
                  <a:pt x="379" y="119"/>
                  <a:pt x="384" y="116"/>
                  <a:pt x="389" y="116"/>
                </a:cubicBezTo>
                <a:cubicBezTo>
                  <a:pt x="389" y="116"/>
                  <a:pt x="390" y="117"/>
                  <a:pt x="390" y="117"/>
                </a:cubicBezTo>
                <a:cubicBezTo>
                  <a:pt x="390" y="118"/>
                  <a:pt x="381" y="121"/>
                  <a:pt x="378" y="122"/>
                </a:cubicBezTo>
                <a:cubicBezTo>
                  <a:pt x="373" y="123"/>
                  <a:pt x="369" y="124"/>
                  <a:pt x="364" y="125"/>
                </a:cubicBezTo>
                <a:cubicBezTo>
                  <a:pt x="363" y="126"/>
                  <a:pt x="357" y="129"/>
                  <a:pt x="355" y="129"/>
                </a:cubicBezTo>
                <a:cubicBezTo>
                  <a:pt x="352" y="129"/>
                  <a:pt x="356" y="127"/>
                  <a:pt x="357" y="127"/>
                </a:cubicBezTo>
                <a:close/>
                <a:moveTo>
                  <a:pt x="357" y="587"/>
                </a:moveTo>
                <a:cubicBezTo>
                  <a:pt x="365" y="583"/>
                  <a:pt x="375" y="580"/>
                  <a:pt x="384" y="576"/>
                </a:cubicBezTo>
                <a:cubicBezTo>
                  <a:pt x="385" y="576"/>
                  <a:pt x="387" y="575"/>
                  <a:pt x="387" y="576"/>
                </a:cubicBezTo>
                <a:cubicBezTo>
                  <a:pt x="388" y="577"/>
                  <a:pt x="384" y="578"/>
                  <a:pt x="386" y="577"/>
                </a:cubicBezTo>
                <a:cubicBezTo>
                  <a:pt x="377" y="581"/>
                  <a:pt x="366" y="585"/>
                  <a:pt x="357" y="587"/>
                </a:cubicBezTo>
                <a:close/>
                <a:moveTo>
                  <a:pt x="376" y="609"/>
                </a:moveTo>
                <a:cubicBezTo>
                  <a:pt x="376" y="610"/>
                  <a:pt x="374" y="610"/>
                  <a:pt x="374" y="610"/>
                </a:cubicBezTo>
                <a:cubicBezTo>
                  <a:pt x="373" y="609"/>
                  <a:pt x="376" y="608"/>
                  <a:pt x="376" y="609"/>
                </a:cubicBezTo>
                <a:close/>
                <a:moveTo>
                  <a:pt x="374" y="600"/>
                </a:moveTo>
                <a:cubicBezTo>
                  <a:pt x="373" y="599"/>
                  <a:pt x="375" y="599"/>
                  <a:pt x="375" y="600"/>
                </a:cubicBezTo>
                <a:cubicBezTo>
                  <a:pt x="375" y="601"/>
                  <a:pt x="374" y="600"/>
                  <a:pt x="374" y="600"/>
                </a:cubicBezTo>
                <a:close/>
                <a:moveTo>
                  <a:pt x="372" y="610"/>
                </a:moveTo>
                <a:cubicBezTo>
                  <a:pt x="371" y="610"/>
                  <a:pt x="373" y="609"/>
                  <a:pt x="373" y="610"/>
                </a:cubicBezTo>
                <a:cubicBezTo>
                  <a:pt x="373" y="610"/>
                  <a:pt x="373" y="611"/>
                  <a:pt x="372" y="610"/>
                </a:cubicBezTo>
                <a:close/>
                <a:moveTo>
                  <a:pt x="364" y="137"/>
                </a:moveTo>
                <a:cubicBezTo>
                  <a:pt x="364" y="138"/>
                  <a:pt x="364" y="137"/>
                  <a:pt x="363" y="138"/>
                </a:cubicBezTo>
                <a:cubicBezTo>
                  <a:pt x="363" y="137"/>
                  <a:pt x="364" y="137"/>
                  <a:pt x="364" y="137"/>
                </a:cubicBezTo>
                <a:close/>
                <a:moveTo>
                  <a:pt x="376" y="167"/>
                </a:moveTo>
                <a:cubicBezTo>
                  <a:pt x="377" y="168"/>
                  <a:pt x="373" y="170"/>
                  <a:pt x="371" y="170"/>
                </a:cubicBezTo>
                <a:cubicBezTo>
                  <a:pt x="371" y="170"/>
                  <a:pt x="368" y="169"/>
                  <a:pt x="367" y="169"/>
                </a:cubicBezTo>
                <a:cubicBezTo>
                  <a:pt x="367" y="168"/>
                  <a:pt x="371" y="165"/>
                  <a:pt x="373" y="168"/>
                </a:cubicBezTo>
                <a:cubicBezTo>
                  <a:pt x="373" y="168"/>
                  <a:pt x="373" y="169"/>
                  <a:pt x="373" y="169"/>
                </a:cubicBezTo>
                <a:cubicBezTo>
                  <a:pt x="374" y="169"/>
                  <a:pt x="375" y="168"/>
                  <a:pt x="376" y="167"/>
                </a:cubicBezTo>
                <a:close/>
                <a:moveTo>
                  <a:pt x="369" y="576"/>
                </a:moveTo>
                <a:cubicBezTo>
                  <a:pt x="369" y="574"/>
                  <a:pt x="371" y="574"/>
                  <a:pt x="369" y="576"/>
                </a:cubicBezTo>
                <a:close/>
                <a:moveTo>
                  <a:pt x="368" y="211"/>
                </a:moveTo>
                <a:cubicBezTo>
                  <a:pt x="367" y="211"/>
                  <a:pt x="368" y="209"/>
                  <a:pt x="369" y="210"/>
                </a:cubicBezTo>
                <a:cubicBezTo>
                  <a:pt x="369" y="210"/>
                  <a:pt x="368" y="211"/>
                  <a:pt x="368" y="211"/>
                </a:cubicBezTo>
                <a:close/>
                <a:moveTo>
                  <a:pt x="368" y="576"/>
                </a:moveTo>
                <a:cubicBezTo>
                  <a:pt x="370" y="575"/>
                  <a:pt x="366" y="578"/>
                  <a:pt x="368" y="576"/>
                </a:cubicBezTo>
                <a:close/>
                <a:moveTo>
                  <a:pt x="379" y="184"/>
                </a:moveTo>
                <a:cubicBezTo>
                  <a:pt x="379" y="183"/>
                  <a:pt x="380" y="182"/>
                  <a:pt x="380" y="183"/>
                </a:cubicBezTo>
                <a:cubicBezTo>
                  <a:pt x="380" y="184"/>
                  <a:pt x="379" y="184"/>
                  <a:pt x="379" y="184"/>
                </a:cubicBezTo>
                <a:close/>
                <a:moveTo>
                  <a:pt x="356" y="609"/>
                </a:moveTo>
                <a:cubicBezTo>
                  <a:pt x="355" y="611"/>
                  <a:pt x="353" y="609"/>
                  <a:pt x="356" y="609"/>
                </a:cubicBezTo>
                <a:close/>
                <a:moveTo>
                  <a:pt x="354" y="556"/>
                </a:moveTo>
                <a:cubicBezTo>
                  <a:pt x="353" y="557"/>
                  <a:pt x="352" y="555"/>
                  <a:pt x="354" y="556"/>
                </a:cubicBezTo>
                <a:close/>
                <a:moveTo>
                  <a:pt x="352" y="532"/>
                </a:moveTo>
                <a:cubicBezTo>
                  <a:pt x="354" y="530"/>
                  <a:pt x="354" y="533"/>
                  <a:pt x="352" y="532"/>
                </a:cubicBezTo>
                <a:close/>
                <a:moveTo>
                  <a:pt x="354" y="674"/>
                </a:moveTo>
                <a:cubicBezTo>
                  <a:pt x="354" y="673"/>
                  <a:pt x="355" y="673"/>
                  <a:pt x="355" y="673"/>
                </a:cubicBezTo>
                <a:cubicBezTo>
                  <a:pt x="355" y="674"/>
                  <a:pt x="354" y="674"/>
                  <a:pt x="354" y="674"/>
                </a:cubicBezTo>
                <a:close/>
                <a:moveTo>
                  <a:pt x="357" y="697"/>
                </a:moveTo>
                <a:cubicBezTo>
                  <a:pt x="357" y="696"/>
                  <a:pt x="359" y="695"/>
                  <a:pt x="359" y="696"/>
                </a:cubicBezTo>
                <a:cubicBezTo>
                  <a:pt x="359" y="697"/>
                  <a:pt x="357" y="698"/>
                  <a:pt x="357" y="697"/>
                </a:cubicBezTo>
                <a:close/>
                <a:moveTo>
                  <a:pt x="357" y="671"/>
                </a:moveTo>
                <a:cubicBezTo>
                  <a:pt x="358" y="671"/>
                  <a:pt x="358" y="671"/>
                  <a:pt x="358" y="672"/>
                </a:cubicBezTo>
                <a:cubicBezTo>
                  <a:pt x="358" y="673"/>
                  <a:pt x="356" y="671"/>
                  <a:pt x="357" y="671"/>
                </a:cubicBezTo>
                <a:close/>
                <a:moveTo>
                  <a:pt x="360" y="643"/>
                </a:moveTo>
                <a:cubicBezTo>
                  <a:pt x="360" y="642"/>
                  <a:pt x="362" y="643"/>
                  <a:pt x="360" y="643"/>
                </a:cubicBezTo>
                <a:close/>
                <a:moveTo>
                  <a:pt x="360" y="630"/>
                </a:moveTo>
                <a:cubicBezTo>
                  <a:pt x="358" y="633"/>
                  <a:pt x="350" y="631"/>
                  <a:pt x="351" y="627"/>
                </a:cubicBezTo>
                <a:cubicBezTo>
                  <a:pt x="352" y="621"/>
                  <a:pt x="365" y="624"/>
                  <a:pt x="360" y="630"/>
                </a:cubicBezTo>
                <a:close/>
                <a:moveTo>
                  <a:pt x="371" y="611"/>
                </a:moveTo>
                <a:cubicBezTo>
                  <a:pt x="368" y="612"/>
                  <a:pt x="365" y="612"/>
                  <a:pt x="362" y="613"/>
                </a:cubicBezTo>
                <a:cubicBezTo>
                  <a:pt x="364" y="612"/>
                  <a:pt x="368" y="611"/>
                  <a:pt x="371" y="611"/>
                </a:cubicBezTo>
                <a:close/>
                <a:moveTo>
                  <a:pt x="363" y="671"/>
                </a:moveTo>
                <a:cubicBezTo>
                  <a:pt x="363" y="671"/>
                  <a:pt x="364" y="671"/>
                  <a:pt x="365" y="671"/>
                </a:cubicBezTo>
                <a:cubicBezTo>
                  <a:pt x="364" y="672"/>
                  <a:pt x="363" y="672"/>
                  <a:pt x="363" y="671"/>
                </a:cubicBezTo>
                <a:close/>
                <a:moveTo>
                  <a:pt x="364" y="691"/>
                </a:moveTo>
                <a:cubicBezTo>
                  <a:pt x="364" y="690"/>
                  <a:pt x="365" y="691"/>
                  <a:pt x="365" y="691"/>
                </a:cubicBezTo>
                <a:cubicBezTo>
                  <a:pt x="366" y="691"/>
                  <a:pt x="364" y="691"/>
                  <a:pt x="364" y="691"/>
                </a:cubicBezTo>
                <a:close/>
                <a:moveTo>
                  <a:pt x="365" y="647"/>
                </a:moveTo>
                <a:cubicBezTo>
                  <a:pt x="365" y="646"/>
                  <a:pt x="366" y="646"/>
                  <a:pt x="366" y="646"/>
                </a:cubicBezTo>
                <a:cubicBezTo>
                  <a:pt x="367" y="647"/>
                  <a:pt x="365" y="647"/>
                  <a:pt x="365" y="647"/>
                </a:cubicBezTo>
                <a:close/>
                <a:moveTo>
                  <a:pt x="370" y="666"/>
                </a:moveTo>
                <a:cubicBezTo>
                  <a:pt x="370" y="664"/>
                  <a:pt x="373" y="665"/>
                  <a:pt x="372" y="666"/>
                </a:cubicBezTo>
                <a:cubicBezTo>
                  <a:pt x="372" y="667"/>
                  <a:pt x="370" y="667"/>
                  <a:pt x="370" y="666"/>
                </a:cubicBezTo>
                <a:close/>
                <a:moveTo>
                  <a:pt x="371" y="691"/>
                </a:moveTo>
                <a:cubicBezTo>
                  <a:pt x="372" y="690"/>
                  <a:pt x="373" y="691"/>
                  <a:pt x="374" y="691"/>
                </a:cubicBezTo>
                <a:cubicBezTo>
                  <a:pt x="374" y="692"/>
                  <a:pt x="372" y="691"/>
                  <a:pt x="371" y="691"/>
                </a:cubicBezTo>
                <a:close/>
                <a:moveTo>
                  <a:pt x="379" y="659"/>
                </a:moveTo>
                <a:cubicBezTo>
                  <a:pt x="379" y="658"/>
                  <a:pt x="377" y="660"/>
                  <a:pt x="377" y="658"/>
                </a:cubicBezTo>
                <a:cubicBezTo>
                  <a:pt x="376" y="657"/>
                  <a:pt x="380" y="657"/>
                  <a:pt x="379" y="659"/>
                </a:cubicBezTo>
                <a:close/>
                <a:moveTo>
                  <a:pt x="381" y="691"/>
                </a:moveTo>
                <a:cubicBezTo>
                  <a:pt x="380" y="691"/>
                  <a:pt x="382" y="690"/>
                  <a:pt x="383" y="691"/>
                </a:cubicBezTo>
                <a:cubicBezTo>
                  <a:pt x="382" y="691"/>
                  <a:pt x="381" y="691"/>
                  <a:pt x="381" y="691"/>
                </a:cubicBezTo>
                <a:close/>
                <a:moveTo>
                  <a:pt x="382" y="658"/>
                </a:moveTo>
                <a:cubicBezTo>
                  <a:pt x="380" y="659"/>
                  <a:pt x="379" y="657"/>
                  <a:pt x="382" y="658"/>
                </a:cubicBezTo>
                <a:close/>
                <a:moveTo>
                  <a:pt x="383" y="691"/>
                </a:moveTo>
                <a:cubicBezTo>
                  <a:pt x="384" y="691"/>
                  <a:pt x="385" y="691"/>
                  <a:pt x="386" y="691"/>
                </a:cubicBezTo>
                <a:cubicBezTo>
                  <a:pt x="386" y="691"/>
                  <a:pt x="384" y="691"/>
                  <a:pt x="383" y="691"/>
                </a:cubicBezTo>
                <a:close/>
                <a:moveTo>
                  <a:pt x="387" y="696"/>
                </a:move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lose/>
                <a:moveTo>
                  <a:pt x="384" y="662"/>
                </a:moveTo>
                <a:cubicBezTo>
                  <a:pt x="384" y="660"/>
                  <a:pt x="388" y="661"/>
                  <a:pt x="388" y="662"/>
                </a:cubicBezTo>
                <a:cubicBezTo>
                  <a:pt x="388" y="663"/>
                  <a:pt x="385" y="664"/>
                  <a:pt x="384" y="662"/>
                </a:cubicBezTo>
                <a:close/>
                <a:moveTo>
                  <a:pt x="398" y="679"/>
                </a:moveTo>
                <a:cubicBezTo>
                  <a:pt x="400" y="678"/>
                  <a:pt x="400" y="680"/>
                  <a:pt x="398" y="679"/>
                </a:cubicBezTo>
                <a:close/>
                <a:moveTo>
                  <a:pt x="401" y="664"/>
                </a:moveTo>
                <a:cubicBezTo>
                  <a:pt x="402" y="662"/>
                  <a:pt x="405" y="663"/>
                  <a:pt x="406" y="663"/>
                </a:cubicBezTo>
                <a:cubicBezTo>
                  <a:pt x="406" y="663"/>
                  <a:pt x="407" y="664"/>
                  <a:pt x="407" y="664"/>
                </a:cubicBezTo>
                <a:cubicBezTo>
                  <a:pt x="406" y="664"/>
                  <a:pt x="408" y="663"/>
                  <a:pt x="409" y="664"/>
                </a:cubicBezTo>
                <a:cubicBezTo>
                  <a:pt x="409" y="665"/>
                  <a:pt x="400" y="667"/>
                  <a:pt x="401" y="664"/>
                </a:cubicBezTo>
                <a:close/>
                <a:moveTo>
                  <a:pt x="411" y="704"/>
                </a:moveTo>
                <a:cubicBezTo>
                  <a:pt x="410" y="704"/>
                  <a:pt x="411" y="704"/>
                  <a:pt x="411" y="704"/>
                </a:cubicBezTo>
                <a:cubicBezTo>
                  <a:pt x="411" y="704"/>
                  <a:pt x="411" y="704"/>
                  <a:pt x="411" y="704"/>
                </a:cubicBezTo>
                <a:close/>
                <a:moveTo>
                  <a:pt x="409" y="648"/>
                </a:moveTo>
                <a:cubicBezTo>
                  <a:pt x="403" y="650"/>
                  <a:pt x="397" y="649"/>
                  <a:pt x="391" y="651"/>
                </a:cubicBezTo>
                <a:cubicBezTo>
                  <a:pt x="386" y="652"/>
                  <a:pt x="381" y="655"/>
                  <a:pt x="376" y="654"/>
                </a:cubicBezTo>
                <a:cubicBezTo>
                  <a:pt x="375" y="654"/>
                  <a:pt x="375" y="653"/>
                  <a:pt x="375" y="653"/>
                </a:cubicBezTo>
                <a:cubicBezTo>
                  <a:pt x="374" y="652"/>
                  <a:pt x="384" y="650"/>
                  <a:pt x="387" y="650"/>
                </a:cubicBezTo>
                <a:cubicBezTo>
                  <a:pt x="393" y="649"/>
                  <a:pt x="396" y="649"/>
                  <a:pt x="401" y="648"/>
                </a:cubicBezTo>
                <a:cubicBezTo>
                  <a:pt x="403" y="648"/>
                  <a:pt x="408" y="646"/>
                  <a:pt x="410" y="646"/>
                </a:cubicBezTo>
                <a:cubicBezTo>
                  <a:pt x="413" y="647"/>
                  <a:pt x="409" y="648"/>
                  <a:pt x="409" y="648"/>
                </a:cubicBezTo>
                <a:close/>
                <a:moveTo>
                  <a:pt x="394" y="589"/>
                </a:moveTo>
                <a:cubicBezTo>
                  <a:pt x="394" y="588"/>
                  <a:pt x="395" y="588"/>
                  <a:pt x="395" y="589"/>
                </a:cubicBezTo>
                <a:cubicBezTo>
                  <a:pt x="395" y="589"/>
                  <a:pt x="394" y="590"/>
                  <a:pt x="394" y="589"/>
                </a:cubicBezTo>
                <a:close/>
                <a:moveTo>
                  <a:pt x="398" y="605"/>
                </a:moveTo>
                <a:cubicBezTo>
                  <a:pt x="398" y="605"/>
                  <a:pt x="399" y="604"/>
                  <a:pt x="399" y="604"/>
                </a:cubicBezTo>
                <a:cubicBezTo>
                  <a:pt x="398" y="604"/>
                  <a:pt x="396" y="605"/>
                  <a:pt x="395" y="605"/>
                </a:cubicBezTo>
                <a:cubicBezTo>
                  <a:pt x="395" y="605"/>
                  <a:pt x="399" y="603"/>
                  <a:pt x="400" y="603"/>
                </a:cubicBezTo>
                <a:cubicBezTo>
                  <a:pt x="401" y="603"/>
                  <a:pt x="404" y="605"/>
                  <a:pt x="404" y="605"/>
                </a:cubicBezTo>
                <a:cubicBezTo>
                  <a:pt x="404" y="606"/>
                  <a:pt x="400" y="608"/>
                  <a:pt x="398" y="605"/>
                </a:cubicBezTo>
                <a:close/>
                <a:moveTo>
                  <a:pt x="403" y="636"/>
                </a:moveTo>
                <a:cubicBezTo>
                  <a:pt x="403" y="636"/>
                  <a:pt x="404" y="637"/>
                  <a:pt x="404" y="636"/>
                </a:cubicBezTo>
                <a:cubicBezTo>
                  <a:pt x="404" y="637"/>
                  <a:pt x="403" y="637"/>
                  <a:pt x="403" y="636"/>
                </a:cubicBezTo>
                <a:close/>
                <a:moveTo>
                  <a:pt x="406" y="193"/>
                </a:moveTo>
                <a:cubicBezTo>
                  <a:pt x="406" y="195"/>
                  <a:pt x="404" y="195"/>
                  <a:pt x="406" y="193"/>
                </a:cubicBezTo>
                <a:close/>
                <a:moveTo>
                  <a:pt x="407" y="192"/>
                </a:moveTo>
                <a:cubicBezTo>
                  <a:pt x="406" y="194"/>
                  <a:pt x="409" y="190"/>
                  <a:pt x="407" y="192"/>
                </a:cubicBezTo>
                <a:close/>
                <a:moveTo>
                  <a:pt x="410" y="563"/>
                </a:moveTo>
                <a:cubicBezTo>
                  <a:pt x="410" y="564"/>
                  <a:pt x="410" y="565"/>
                  <a:pt x="409" y="564"/>
                </a:cubicBezTo>
                <a:cubicBezTo>
                  <a:pt x="408" y="564"/>
                  <a:pt x="409" y="563"/>
                  <a:pt x="410" y="563"/>
                </a:cubicBezTo>
                <a:close/>
                <a:moveTo>
                  <a:pt x="412" y="687"/>
                </a:moveTo>
                <a:cubicBezTo>
                  <a:pt x="414" y="686"/>
                  <a:pt x="414" y="687"/>
                  <a:pt x="412" y="687"/>
                </a:cubicBezTo>
                <a:close/>
                <a:moveTo>
                  <a:pt x="391" y="194"/>
                </a:moveTo>
                <a:cubicBezTo>
                  <a:pt x="391" y="194"/>
                  <a:pt x="389" y="196"/>
                  <a:pt x="388" y="195"/>
                </a:cubicBezTo>
                <a:cubicBezTo>
                  <a:pt x="388" y="194"/>
                  <a:pt x="391" y="193"/>
                  <a:pt x="390" y="194"/>
                </a:cubicBezTo>
                <a:cubicBezTo>
                  <a:pt x="398" y="189"/>
                  <a:pt x="408" y="183"/>
                  <a:pt x="417" y="179"/>
                </a:cubicBezTo>
                <a:cubicBezTo>
                  <a:pt x="409" y="185"/>
                  <a:pt x="400" y="189"/>
                  <a:pt x="391" y="194"/>
                </a:cubicBezTo>
                <a:close/>
                <a:moveTo>
                  <a:pt x="414" y="158"/>
                </a:moveTo>
                <a:cubicBezTo>
                  <a:pt x="415" y="156"/>
                  <a:pt x="417" y="157"/>
                  <a:pt x="414" y="158"/>
                </a:cubicBezTo>
                <a:close/>
                <a:moveTo>
                  <a:pt x="407" y="137"/>
                </a:moveTo>
                <a:cubicBezTo>
                  <a:pt x="409" y="134"/>
                  <a:pt x="417" y="135"/>
                  <a:pt x="417" y="139"/>
                </a:cubicBezTo>
                <a:cubicBezTo>
                  <a:pt x="417" y="145"/>
                  <a:pt x="403" y="144"/>
                  <a:pt x="407" y="137"/>
                </a:cubicBezTo>
                <a:close/>
                <a:moveTo>
                  <a:pt x="418" y="140"/>
                </a:moveTo>
                <a:cubicBezTo>
                  <a:pt x="418" y="139"/>
                  <a:pt x="419" y="142"/>
                  <a:pt x="418" y="140"/>
                </a:cubicBezTo>
                <a:close/>
                <a:moveTo>
                  <a:pt x="420" y="672"/>
                </a:moveTo>
                <a:cubicBezTo>
                  <a:pt x="419" y="672"/>
                  <a:pt x="418" y="672"/>
                  <a:pt x="418" y="672"/>
                </a:cubicBezTo>
                <a:cubicBezTo>
                  <a:pt x="418" y="671"/>
                  <a:pt x="432" y="670"/>
                  <a:pt x="435" y="670"/>
                </a:cubicBezTo>
                <a:cubicBezTo>
                  <a:pt x="437" y="671"/>
                  <a:pt x="433" y="672"/>
                  <a:pt x="432" y="672"/>
                </a:cubicBezTo>
                <a:cubicBezTo>
                  <a:pt x="428" y="672"/>
                  <a:pt x="423" y="673"/>
                  <a:pt x="420" y="672"/>
                </a:cubicBezTo>
                <a:close/>
                <a:moveTo>
                  <a:pt x="425" y="681"/>
                </a:moveTo>
                <a:cubicBezTo>
                  <a:pt x="425" y="681"/>
                  <a:pt x="425" y="680"/>
                  <a:pt x="425" y="680"/>
                </a:cubicBezTo>
                <a:cubicBezTo>
                  <a:pt x="425" y="680"/>
                  <a:pt x="425" y="680"/>
                  <a:pt x="425" y="681"/>
                </a:cubicBezTo>
                <a:cubicBezTo>
                  <a:pt x="425" y="681"/>
                  <a:pt x="425" y="681"/>
                  <a:pt x="425" y="681"/>
                </a:cubicBezTo>
                <a:cubicBezTo>
                  <a:pt x="426" y="681"/>
                  <a:pt x="426" y="681"/>
                  <a:pt x="425" y="681"/>
                </a:cubicBezTo>
                <a:close/>
                <a:moveTo>
                  <a:pt x="429" y="674"/>
                </a:moveTo>
                <a:cubicBezTo>
                  <a:pt x="429" y="674"/>
                  <a:pt x="426" y="674"/>
                  <a:pt x="428" y="673"/>
                </a:cubicBezTo>
                <a:cubicBezTo>
                  <a:pt x="431" y="672"/>
                  <a:pt x="437" y="672"/>
                  <a:pt x="441" y="672"/>
                </a:cubicBezTo>
                <a:cubicBezTo>
                  <a:pt x="438" y="673"/>
                  <a:pt x="433" y="674"/>
                  <a:pt x="429" y="674"/>
                </a:cubicBezTo>
                <a:close/>
                <a:moveTo>
                  <a:pt x="442" y="672"/>
                </a:moveTo>
                <a:cubicBezTo>
                  <a:pt x="444" y="671"/>
                  <a:pt x="448" y="669"/>
                  <a:pt x="452" y="670"/>
                </a:cubicBezTo>
                <a:cubicBezTo>
                  <a:pt x="449" y="671"/>
                  <a:pt x="445" y="671"/>
                  <a:pt x="442" y="672"/>
                </a:cubicBezTo>
                <a:close/>
                <a:moveTo>
                  <a:pt x="449" y="142"/>
                </a:moveTo>
                <a:cubicBezTo>
                  <a:pt x="450" y="141"/>
                  <a:pt x="450" y="141"/>
                  <a:pt x="451" y="142"/>
                </a:cubicBezTo>
                <a:cubicBezTo>
                  <a:pt x="451" y="142"/>
                  <a:pt x="450" y="142"/>
                  <a:pt x="449" y="142"/>
                </a:cubicBezTo>
                <a:close/>
                <a:moveTo>
                  <a:pt x="451" y="148"/>
                </a:moveTo>
                <a:cubicBezTo>
                  <a:pt x="452" y="149"/>
                  <a:pt x="450" y="147"/>
                  <a:pt x="451" y="148"/>
                </a:cubicBezTo>
                <a:close/>
                <a:moveTo>
                  <a:pt x="446" y="79"/>
                </a:moveTo>
                <a:cubicBezTo>
                  <a:pt x="448" y="77"/>
                  <a:pt x="450" y="78"/>
                  <a:pt x="452" y="77"/>
                </a:cubicBezTo>
                <a:cubicBezTo>
                  <a:pt x="451" y="78"/>
                  <a:pt x="448" y="79"/>
                  <a:pt x="446" y="79"/>
                </a:cubicBezTo>
                <a:close/>
                <a:moveTo>
                  <a:pt x="454" y="644"/>
                </a:moveTo>
                <a:cubicBezTo>
                  <a:pt x="454" y="644"/>
                  <a:pt x="454" y="644"/>
                  <a:pt x="454" y="644"/>
                </a:cubicBezTo>
                <a:cubicBezTo>
                  <a:pt x="455" y="642"/>
                  <a:pt x="455" y="647"/>
                  <a:pt x="454" y="644"/>
                </a:cubicBezTo>
                <a:close/>
                <a:moveTo>
                  <a:pt x="449" y="66"/>
                </a:moveTo>
                <a:cubicBezTo>
                  <a:pt x="449" y="66"/>
                  <a:pt x="448" y="65"/>
                  <a:pt x="448" y="65"/>
                </a:cubicBezTo>
                <a:cubicBezTo>
                  <a:pt x="448" y="64"/>
                  <a:pt x="451" y="62"/>
                  <a:pt x="453" y="61"/>
                </a:cubicBezTo>
                <a:cubicBezTo>
                  <a:pt x="451" y="61"/>
                  <a:pt x="450" y="62"/>
                  <a:pt x="448" y="62"/>
                </a:cubicBezTo>
                <a:cubicBezTo>
                  <a:pt x="444" y="62"/>
                  <a:pt x="452" y="60"/>
                  <a:pt x="453" y="60"/>
                </a:cubicBezTo>
                <a:cubicBezTo>
                  <a:pt x="458" y="59"/>
                  <a:pt x="462" y="58"/>
                  <a:pt x="466" y="57"/>
                </a:cubicBezTo>
                <a:cubicBezTo>
                  <a:pt x="468" y="57"/>
                  <a:pt x="475" y="56"/>
                  <a:pt x="475" y="57"/>
                </a:cubicBezTo>
                <a:cubicBezTo>
                  <a:pt x="476" y="58"/>
                  <a:pt x="468" y="59"/>
                  <a:pt x="465" y="59"/>
                </a:cubicBezTo>
                <a:cubicBezTo>
                  <a:pt x="461" y="60"/>
                  <a:pt x="459" y="60"/>
                  <a:pt x="456" y="61"/>
                </a:cubicBezTo>
                <a:cubicBezTo>
                  <a:pt x="458" y="61"/>
                  <a:pt x="461" y="62"/>
                  <a:pt x="460" y="64"/>
                </a:cubicBezTo>
                <a:cubicBezTo>
                  <a:pt x="460" y="69"/>
                  <a:pt x="453" y="68"/>
                  <a:pt x="449" y="66"/>
                </a:cubicBezTo>
                <a:close/>
                <a:moveTo>
                  <a:pt x="467" y="66"/>
                </a:moveTo>
                <a:cubicBezTo>
                  <a:pt x="468" y="65"/>
                  <a:pt x="470" y="62"/>
                  <a:pt x="471" y="63"/>
                </a:cubicBezTo>
                <a:cubicBezTo>
                  <a:pt x="473" y="65"/>
                  <a:pt x="469" y="66"/>
                  <a:pt x="467" y="66"/>
                </a:cubicBezTo>
                <a:close/>
                <a:moveTo>
                  <a:pt x="459" y="100"/>
                </a:moveTo>
                <a:cubicBezTo>
                  <a:pt x="458" y="100"/>
                  <a:pt x="458" y="99"/>
                  <a:pt x="459" y="98"/>
                </a:cubicBezTo>
                <a:cubicBezTo>
                  <a:pt x="461" y="96"/>
                  <a:pt x="462" y="100"/>
                  <a:pt x="459" y="100"/>
                </a:cubicBezTo>
                <a:close/>
                <a:moveTo>
                  <a:pt x="456" y="149"/>
                </a:moveTo>
                <a:cubicBezTo>
                  <a:pt x="456" y="149"/>
                  <a:pt x="460" y="145"/>
                  <a:pt x="461" y="146"/>
                </a:cubicBezTo>
                <a:cubicBezTo>
                  <a:pt x="463" y="148"/>
                  <a:pt x="457" y="150"/>
                  <a:pt x="456" y="149"/>
                </a:cubicBezTo>
                <a:close/>
                <a:moveTo>
                  <a:pt x="462" y="681"/>
                </a:moveTo>
                <a:cubicBezTo>
                  <a:pt x="464" y="680"/>
                  <a:pt x="464" y="682"/>
                  <a:pt x="462" y="681"/>
                </a:cubicBezTo>
                <a:close/>
                <a:moveTo>
                  <a:pt x="464" y="170"/>
                </a:moveTo>
                <a:cubicBezTo>
                  <a:pt x="463" y="171"/>
                  <a:pt x="461" y="171"/>
                  <a:pt x="460" y="171"/>
                </a:cubicBezTo>
                <a:cubicBezTo>
                  <a:pt x="459" y="172"/>
                  <a:pt x="459" y="172"/>
                  <a:pt x="458" y="172"/>
                </a:cubicBezTo>
                <a:cubicBezTo>
                  <a:pt x="459" y="172"/>
                  <a:pt x="459" y="172"/>
                  <a:pt x="460" y="171"/>
                </a:cubicBezTo>
                <a:cubicBezTo>
                  <a:pt x="462" y="170"/>
                  <a:pt x="464" y="168"/>
                  <a:pt x="465" y="168"/>
                </a:cubicBezTo>
                <a:cubicBezTo>
                  <a:pt x="468" y="167"/>
                  <a:pt x="464" y="170"/>
                  <a:pt x="464" y="170"/>
                </a:cubicBezTo>
                <a:close/>
                <a:moveTo>
                  <a:pt x="466" y="68"/>
                </a:moveTo>
                <a:cubicBezTo>
                  <a:pt x="466" y="68"/>
                  <a:pt x="466" y="68"/>
                  <a:pt x="466" y="68"/>
                </a:cubicBezTo>
                <a:cubicBezTo>
                  <a:pt x="467" y="70"/>
                  <a:pt x="464" y="67"/>
                  <a:pt x="466" y="68"/>
                </a:cubicBezTo>
                <a:close/>
                <a:moveTo>
                  <a:pt x="468" y="241"/>
                </a:moveTo>
                <a:cubicBezTo>
                  <a:pt x="468" y="243"/>
                  <a:pt x="465" y="242"/>
                  <a:pt x="468" y="241"/>
                </a:cubicBezTo>
                <a:close/>
                <a:moveTo>
                  <a:pt x="470" y="75"/>
                </a:moveTo>
                <a:cubicBezTo>
                  <a:pt x="470" y="75"/>
                  <a:pt x="470" y="76"/>
                  <a:pt x="470" y="77"/>
                </a:cubicBezTo>
                <a:cubicBezTo>
                  <a:pt x="471" y="77"/>
                  <a:pt x="472" y="75"/>
                  <a:pt x="472" y="75"/>
                </a:cubicBezTo>
                <a:cubicBezTo>
                  <a:pt x="472" y="74"/>
                  <a:pt x="471" y="74"/>
                  <a:pt x="471" y="73"/>
                </a:cubicBezTo>
                <a:cubicBezTo>
                  <a:pt x="471" y="74"/>
                  <a:pt x="470" y="73"/>
                  <a:pt x="471" y="73"/>
                </a:cubicBezTo>
                <a:cubicBezTo>
                  <a:pt x="472" y="72"/>
                  <a:pt x="473" y="73"/>
                  <a:pt x="473" y="73"/>
                </a:cubicBezTo>
                <a:cubicBezTo>
                  <a:pt x="474" y="72"/>
                  <a:pt x="475" y="72"/>
                  <a:pt x="476" y="72"/>
                </a:cubicBezTo>
                <a:cubicBezTo>
                  <a:pt x="477" y="72"/>
                  <a:pt x="481" y="75"/>
                  <a:pt x="478" y="76"/>
                </a:cubicBezTo>
                <a:cubicBezTo>
                  <a:pt x="476" y="77"/>
                  <a:pt x="471" y="78"/>
                  <a:pt x="469" y="77"/>
                </a:cubicBezTo>
                <a:cubicBezTo>
                  <a:pt x="468" y="77"/>
                  <a:pt x="468" y="74"/>
                  <a:pt x="470" y="75"/>
                </a:cubicBezTo>
                <a:close/>
                <a:moveTo>
                  <a:pt x="478" y="117"/>
                </a:moveTo>
                <a:cubicBezTo>
                  <a:pt x="479" y="118"/>
                  <a:pt x="477" y="118"/>
                  <a:pt x="476" y="118"/>
                </a:cubicBezTo>
                <a:cubicBezTo>
                  <a:pt x="476" y="117"/>
                  <a:pt x="478" y="117"/>
                  <a:pt x="478" y="117"/>
                </a:cubicBezTo>
                <a:close/>
                <a:moveTo>
                  <a:pt x="478" y="100"/>
                </a:move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lose/>
                <a:moveTo>
                  <a:pt x="478" y="100"/>
                </a:moveTo>
                <a:cubicBezTo>
                  <a:pt x="479" y="100"/>
                  <a:pt x="478" y="100"/>
                  <a:pt x="478" y="100"/>
                </a:cubicBezTo>
                <a:close/>
                <a:moveTo>
                  <a:pt x="476" y="97"/>
                </a:moveTo>
                <a:cubicBezTo>
                  <a:pt x="475" y="96"/>
                  <a:pt x="478" y="96"/>
                  <a:pt x="478" y="96"/>
                </a:cubicBezTo>
                <a:cubicBezTo>
                  <a:pt x="479" y="96"/>
                  <a:pt x="476" y="97"/>
                  <a:pt x="476" y="97"/>
                </a:cubicBezTo>
                <a:close/>
                <a:moveTo>
                  <a:pt x="474" y="91"/>
                </a:moveTo>
                <a:cubicBezTo>
                  <a:pt x="474" y="90"/>
                  <a:pt x="475" y="90"/>
                  <a:pt x="476" y="90"/>
                </a:cubicBezTo>
                <a:cubicBezTo>
                  <a:pt x="477" y="92"/>
                  <a:pt x="474" y="92"/>
                  <a:pt x="474" y="91"/>
                </a:cubicBezTo>
                <a:close/>
                <a:moveTo>
                  <a:pt x="477" y="107"/>
                </a:moveTo>
                <a:cubicBezTo>
                  <a:pt x="477" y="109"/>
                  <a:pt x="474" y="111"/>
                  <a:pt x="473" y="109"/>
                </a:cubicBezTo>
                <a:cubicBezTo>
                  <a:pt x="469" y="106"/>
                  <a:pt x="477" y="104"/>
                  <a:pt x="477" y="107"/>
                </a:cubicBezTo>
                <a:close/>
                <a:moveTo>
                  <a:pt x="472" y="112"/>
                </a:moveTo>
                <a:cubicBezTo>
                  <a:pt x="475" y="114"/>
                  <a:pt x="468" y="116"/>
                  <a:pt x="470" y="113"/>
                </a:cubicBezTo>
                <a:cubicBezTo>
                  <a:pt x="471" y="112"/>
                  <a:pt x="472" y="112"/>
                  <a:pt x="472" y="112"/>
                </a:cubicBezTo>
                <a:close/>
                <a:moveTo>
                  <a:pt x="475" y="122"/>
                </a:moveTo>
                <a:cubicBezTo>
                  <a:pt x="474" y="122"/>
                  <a:pt x="473" y="123"/>
                  <a:pt x="472" y="123"/>
                </a:cubicBezTo>
                <a:cubicBezTo>
                  <a:pt x="472" y="123"/>
                  <a:pt x="473" y="121"/>
                  <a:pt x="475" y="122"/>
                </a:cubicBezTo>
                <a:close/>
                <a:moveTo>
                  <a:pt x="474" y="123"/>
                </a:moveTo>
                <a:cubicBezTo>
                  <a:pt x="474" y="123"/>
                  <a:pt x="475" y="123"/>
                  <a:pt x="475" y="124"/>
                </a:cubicBezTo>
                <a:cubicBezTo>
                  <a:pt x="475" y="124"/>
                  <a:pt x="474" y="124"/>
                  <a:pt x="474" y="123"/>
                </a:cubicBezTo>
                <a:close/>
                <a:moveTo>
                  <a:pt x="477" y="158"/>
                </a:moveTo>
                <a:cubicBezTo>
                  <a:pt x="477" y="158"/>
                  <a:pt x="476" y="159"/>
                  <a:pt x="475" y="159"/>
                </a:cubicBezTo>
                <a:cubicBezTo>
                  <a:pt x="475" y="159"/>
                  <a:pt x="476" y="158"/>
                  <a:pt x="477" y="158"/>
                </a:cubicBezTo>
                <a:close/>
                <a:moveTo>
                  <a:pt x="476" y="121"/>
                </a:moveTo>
                <a:cubicBezTo>
                  <a:pt x="477" y="121"/>
                  <a:pt x="478" y="119"/>
                  <a:pt x="479" y="120"/>
                </a:cubicBezTo>
                <a:cubicBezTo>
                  <a:pt x="478" y="121"/>
                  <a:pt x="477" y="121"/>
                  <a:pt x="476" y="121"/>
                </a:cubicBezTo>
                <a:close/>
                <a:moveTo>
                  <a:pt x="472" y="165"/>
                </a:moveTo>
                <a:cubicBezTo>
                  <a:pt x="472" y="166"/>
                  <a:pt x="470" y="167"/>
                  <a:pt x="469" y="168"/>
                </a:cubicBezTo>
                <a:cubicBezTo>
                  <a:pt x="469" y="166"/>
                  <a:pt x="471" y="166"/>
                  <a:pt x="472" y="165"/>
                </a:cubicBezTo>
                <a:close/>
                <a:moveTo>
                  <a:pt x="471" y="178"/>
                </a:moveTo>
                <a:cubicBezTo>
                  <a:pt x="471" y="175"/>
                  <a:pt x="476" y="174"/>
                  <a:pt x="477" y="177"/>
                </a:cubicBezTo>
                <a:cubicBezTo>
                  <a:pt x="477" y="181"/>
                  <a:pt x="471" y="180"/>
                  <a:pt x="471" y="178"/>
                </a:cubicBezTo>
                <a:close/>
                <a:moveTo>
                  <a:pt x="472" y="233"/>
                </a:moveTo>
                <a:cubicBezTo>
                  <a:pt x="472" y="232"/>
                  <a:pt x="475" y="230"/>
                  <a:pt x="475" y="232"/>
                </a:cubicBezTo>
                <a:cubicBezTo>
                  <a:pt x="476" y="234"/>
                  <a:pt x="473" y="234"/>
                  <a:pt x="472" y="233"/>
                </a:cubicBezTo>
                <a:close/>
                <a:moveTo>
                  <a:pt x="475" y="180"/>
                </a:moveTo>
                <a:cubicBezTo>
                  <a:pt x="475" y="180"/>
                  <a:pt x="476" y="179"/>
                  <a:pt x="477" y="180"/>
                </a:cubicBezTo>
                <a:cubicBezTo>
                  <a:pt x="478" y="181"/>
                  <a:pt x="475" y="181"/>
                  <a:pt x="475" y="180"/>
                </a:cubicBezTo>
                <a:close/>
                <a:moveTo>
                  <a:pt x="482" y="155"/>
                </a:moveTo>
                <a:cubicBezTo>
                  <a:pt x="482" y="156"/>
                  <a:pt x="480" y="157"/>
                  <a:pt x="479" y="157"/>
                </a:cubicBezTo>
                <a:cubicBezTo>
                  <a:pt x="479" y="156"/>
                  <a:pt x="481" y="156"/>
                  <a:pt x="482" y="155"/>
                </a:cubicBezTo>
                <a:close/>
                <a:moveTo>
                  <a:pt x="479" y="164"/>
                </a:moveTo>
                <a:cubicBezTo>
                  <a:pt x="479" y="162"/>
                  <a:pt x="481" y="163"/>
                  <a:pt x="479" y="164"/>
                </a:cubicBezTo>
                <a:close/>
                <a:moveTo>
                  <a:pt x="479" y="175"/>
                </a:moveTo>
                <a:cubicBezTo>
                  <a:pt x="478" y="174"/>
                  <a:pt x="480" y="173"/>
                  <a:pt x="480" y="174"/>
                </a:cubicBezTo>
                <a:cubicBezTo>
                  <a:pt x="480" y="175"/>
                  <a:pt x="480" y="175"/>
                  <a:pt x="479" y="175"/>
                </a:cubicBezTo>
                <a:close/>
                <a:moveTo>
                  <a:pt x="480" y="164"/>
                </a:moveTo>
                <a:cubicBezTo>
                  <a:pt x="480" y="163"/>
                  <a:pt x="484" y="161"/>
                  <a:pt x="484" y="164"/>
                </a:cubicBezTo>
                <a:cubicBezTo>
                  <a:pt x="484" y="166"/>
                  <a:pt x="480" y="166"/>
                  <a:pt x="480" y="164"/>
                </a:cubicBezTo>
                <a:close/>
                <a:moveTo>
                  <a:pt x="482" y="188"/>
                </a:moveTo>
                <a:cubicBezTo>
                  <a:pt x="482" y="187"/>
                  <a:pt x="483" y="187"/>
                  <a:pt x="484" y="187"/>
                </a:cubicBezTo>
                <a:cubicBezTo>
                  <a:pt x="484" y="187"/>
                  <a:pt x="482" y="189"/>
                  <a:pt x="482" y="188"/>
                </a:cubicBezTo>
                <a:close/>
                <a:moveTo>
                  <a:pt x="487" y="253"/>
                </a:moveTo>
                <a:cubicBezTo>
                  <a:pt x="487" y="255"/>
                  <a:pt x="485" y="254"/>
                  <a:pt x="487" y="253"/>
                </a:cubicBezTo>
                <a:close/>
                <a:moveTo>
                  <a:pt x="484" y="228"/>
                </a:moveTo>
                <a:cubicBezTo>
                  <a:pt x="482" y="226"/>
                  <a:pt x="488" y="223"/>
                  <a:pt x="488" y="227"/>
                </a:cubicBezTo>
                <a:cubicBezTo>
                  <a:pt x="488" y="228"/>
                  <a:pt x="485" y="230"/>
                  <a:pt x="484" y="228"/>
                </a:cubicBezTo>
                <a:close/>
                <a:moveTo>
                  <a:pt x="486" y="208"/>
                </a:moveTo>
                <a:cubicBezTo>
                  <a:pt x="486" y="207"/>
                  <a:pt x="488" y="206"/>
                  <a:pt x="488" y="207"/>
                </a:cubicBezTo>
                <a:cubicBezTo>
                  <a:pt x="488" y="208"/>
                  <a:pt x="487" y="209"/>
                  <a:pt x="486" y="208"/>
                </a:cubicBezTo>
                <a:close/>
                <a:moveTo>
                  <a:pt x="490" y="250"/>
                </a:moveTo>
                <a:cubicBezTo>
                  <a:pt x="490" y="248"/>
                  <a:pt x="492" y="246"/>
                  <a:pt x="493" y="245"/>
                </a:cubicBezTo>
                <a:cubicBezTo>
                  <a:pt x="493" y="246"/>
                  <a:pt x="491" y="248"/>
                  <a:pt x="490" y="250"/>
                </a:cubicBezTo>
                <a:close/>
                <a:moveTo>
                  <a:pt x="494" y="245"/>
                </a:moveTo>
                <a:cubicBezTo>
                  <a:pt x="494" y="244"/>
                  <a:pt x="495" y="243"/>
                  <a:pt x="495" y="243"/>
                </a:cubicBezTo>
                <a:cubicBezTo>
                  <a:pt x="496" y="243"/>
                  <a:pt x="494" y="245"/>
                  <a:pt x="494" y="245"/>
                </a:cubicBezTo>
                <a:close/>
                <a:moveTo>
                  <a:pt x="499" y="230"/>
                </a:moveTo>
                <a:cubicBezTo>
                  <a:pt x="499" y="229"/>
                  <a:pt x="501" y="229"/>
                  <a:pt x="501" y="229"/>
                </a:cubicBezTo>
                <a:cubicBezTo>
                  <a:pt x="502" y="229"/>
                  <a:pt x="500" y="230"/>
                  <a:pt x="499" y="230"/>
                </a:cubicBezTo>
                <a:close/>
                <a:moveTo>
                  <a:pt x="496" y="230"/>
                </a:moveTo>
                <a:cubicBezTo>
                  <a:pt x="496" y="230"/>
                  <a:pt x="491" y="233"/>
                  <a:pt x="492" y="231"/>
                </a:cubicBezTo>
                <a:cubicBezTo>
                  <a:pt x="492" y="230"/>
                  <a:pt x="497" y="229"/>
                  <a:pt x="497" y="229"/>
                </a:cubicBezTo>
                <a:cubicBezTo>
                  <a:pt x="500" y="228"/>
                  <a:pt x="503" y="225"/>
                  <a:pt x="506" y="225"/>
                </a:cubicBezTo>
                <a:cubicBezTo>
                  <a:pt x="505" y="228"/>
                  <a:pt x="498" y="229"/>
                  <a:pt x="496" y="230"/>
                </a:cubicBezTo>
                <a:close/>
                <a:moveTo>
                  <a:pt x="505" y="195"/>
                </a:moveTo>
                <a:cubicBezTo>
                  <a:pt x="505" y="194"/>
                  <a:pt x="507" y="192"/>
                  <a:pt x="508" y="193"/>
                </a:cubicBezTo>
                <a:cubicBezTo>
                  <a:pt x="508" y="194"/>
                  <a:pt x="506" y="196"/>
                  <a:pt x="505" y="195"/>
                </a:cubicBezTo>
                <a:close/>
                <a:moveTo>
                  <a:pt x="507" y="222"/>
                </a:moveTo>
                <a:cubicBezTo>
                  <a:pt x="507" y="222"/>
                  <a:pt x="508" y="222"/>
                  <a:pt x="508" y="222"/>
                </a:cubicBezTo>
                <a:cubicBezTo>
                  <a:pt x="510" y="223"/>
                  <a:pt x="504" y="225"/>
                  <a:pt x="507" y="222"/>
                </a:cubicBezTo>
                <a:close/>
                <a:moveTo>
                  <a:pt x="506" y="190"/>
                </a:moveTo>
                <a:cubicBezTo>
                  <a:pt x="506" y="189"/>
                  <a:pt x="507" y="188"/>
                  <a:pt x="509" y="188"/>
                </a:cubicBezTo>
                <a:cubicBezTo>
                  <a:pt x="508" y="189"/>
                  <a:pt x="507" y="190"/>
                  <a:pt x="506" y="190"/>
                </a:cubicBezTo>
                <a:close/>
                <a:moveTo>
                  <a:pt x="516" y="247"/>
                </a:moveTo>
                <a:cubicBezTo>
                  <a:pt x="514" y="248"/>
                  <a:pt x="511" y="250"/>
                  <a:pt x="509" y="250"/>
                </a:cubicBezTo>
                <a:cubicBezTo>
                  <a:pt x="510" y="249"/>
                  <a:pt x="514" y="248"/>
                  <a:pt x="516" y="247"/>
                </a:cubicBezTo>
                <a:close/>
                <a:moveTo>
                  <a:pt x="512" y="258"/>
                </a:moveTo>
                <a:cubicBezTo>
                  <a:pt x="512" y="255"/>
                  <a:pt x="516" y="256"/>
                  <a:pt x="516" y="257"/>
                </a:cubicBezTo>
                <a:cubicBezTo>
                  <a:pt x="517" y="258"/>
                  <a:pt x="512" y="260"/>
                  <a:pt x="512" y="258"/>
                </a:cubicBezTo>
                <a:close/>
                <a:moveTo>
                  <a:pt x="517" y="268"/>
                </a:moveTo>
                <a:cubicBezTo>
                  <a:pt x="516" y="269"/>
                  <a:pt x="517" y="268"/>
                  <a:pt x="517" y="268"/>
                </a:cubicBezTo>
                <a:cubicBezTo>
                  <a:pt x="517" y="268"/>
                  <a:pt x="517" y="268"/>
                  <a:pt x="517" y="268"/>
                </a:cubicBezTo>
                <a:close/>
                <a:moveTo>
                  <a:pt x="517" y="247"/>
                </a:moveTo>
                <a:cubicBezTo>
                  <a:pt x="517" y="247"/>
                  <a:pt x="517" y="247"/>
                  <a:pt x="517" y="247"/>
                </a:cubicBezTo>
                <a:cubicBezTo>
                  <a:pt x="518" y="247"/>
                  <a:pt x="517" y="247"/>
                  <a:pt x="517" y="247"/>
                </a:cubicBezTo>
                <a:close/>
                <a:moveTo>
                  <a:pt x="518" y="154"/>
                </a:moveTo>
                <a:cubicBezTo>
                  <a:pt x="517" y="151"/>
                  <a:pt x="524" y="153"/>
                  <a:pt x="524" y="154"/>
                </a:cubicBezTo>
                <a:cubicBezTo>
                  <a:pt x="524" y="154"/>
                  <a:pt x="523" y="155"/>
                  <a:pt x="523" y="155"/>
                </a:cubicBezTo>
                <a:cubicBezTo>
                  <a:pt x="523" y="156"/>
                  <a:pt x="522" y="158"/>
                  <a:pt x="521" y="156"/>
                </a:cubicBezTo>
                <a:cubicBezTo>
                  <a:pt x="521" y="156"/>
                  <a:pt x="521" y="155"/>
                  <a:pt x="521" y="155"/>
                </a:cubicBezTo>
                <a:cubicBezTo>
                  <a:pt x="520" y="155"/>
                  <a:pt x="518" y="155"/>
                  <a:pt x="518" y="154"/>
                </a:cubicBezTo>
                <a:close/>
                <a:moveTo>
                  <a:pt x="518" y="188"/>
                </a:moveTo>
                <a:cubicBezTo>
                  <a:pt x="518" y="186"/>
                  <a:pt x="524" y="185"/>
                  <a:pt x="524" y="188"/>
                </a:cubicBezTo>
                <a:cubicBezTo>
                  <a:pt x="524" y="190"/>
                  <a:pt x="519" y="190"/>
                  <a:pt x="518" y="188"/>
                </a:cubicBezTo>
                <a:close/>
                <a:moveTo>
                  <a:pt x="522" y="286"/>
                </a:moveTo>
                <a:cubicBezTo>
                  <a:pt x="522" y="285"/>
                  <a:pt x="522" y="285"/>
                  <a:pt x="522" y="285"/>
                </a:cubicBezTo>
                <a:cubicBezTo>
                  <a:pt x="523" y="285"/>
                  <a:pt x="522" y="286"/>
                  <a:pt x="522" y="286"/>
                </a:cubicBezTo>
                <a:close/>
                <a:moveTo>
                  <a:pt x="521" y="231"/>
                </a:moveTo>
                <a:cubicBezTo>
                  <a:pt x="518" y="232"/>
                  <a:pt x="522" y="229"/>
                  <a:pt x="523" y="228"/>
                </a:cubicBezTo>
                <a:cubicBezTo>
                  <a:pt x="524" y="226"/>
                  <a:pt x="526" y="223"/>
                  <a:pt x="528" y="220"/>
                </a:cubicBezTo>
                <a:cubicBezTo>
                  <a:pt x="528" y="221"/>
                  <a:pt x="527" y="221"/>
                  <a:pt x="527" y="220"/>
                </a:cubicBezTo>
                <a:cubicBezTo>
                  <a:pt x="527" y="220"/>
                  <a:pt x="528" y="220"/>
                  <a:pt x="528" y="220"/>
                </a:cubicBezTo>
                <a:cubicBezTo>
                  <a:pt x="528" y="220"/>
                  <a:pt x="528" y="220"/>
                  <a:pt x="528" y="220"/>
                </a:cubicBezTo>
                <a:cubicBezTo>
                  <a:pt x="529" y="219"/>
                  <a:pt x="529" y="218"/>
                  <a:pt x="530" y="218"/>
                </a:cubicBezTo>
                <a:cubicBezTo>
                  <a:pt x="530" y="218"/>
                  <a:pt x="531" y="218"/>
                  <a:pt x="531" y="218"/>
                </a:cubicBezTo>
                <a:cubicBezTo>
                  <a:pt x="531" y="218"/>
                  <a:pt x="529" y="220"/>
                  <a:pt x="528" y="222"/>
                </a:cubicBezTo>
                <a:cubicBezTo>
                  <a:pt x="527" y="223"/>
                  <a:pt x="523" y="230"/>
                  <a:pt x="521" y="231"/>
                </a:cubicBezTo>
                <a:close/>
                <a:moveTo>
                  <a:pt x="530" y="232"/>
                </a:moveTo>
                <a:cubicBezTo>
                  <a:pt x="530" y="232"/>
                  <a:pt x="530" y="232"/>
                  <a:pt x="531" y="232"/>
                </a:cubicBezTo>
                <a:cubicBezTo>
                  <a:pt x="531" y="232"/>
                  <a:pt x="530" y="233"/>
                  <a:pt x="530" y="232"/>
                </a:cubicBezTo>
                <a:close/>
                <a:moveTo>
                  <a:pt x="530" y="268"/>
                </a:move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lose/>
                <a:moveTo>
                  <a:pt x="530" y="256"/>
                </a:moveTo>
                <a:cubicBezTo>
                  <a:pt x="530" y="256"/>
                  <a:pt x="531" y="255"/>
                  <a:pt x="531" y="256"/>
                </a:cubicBezTo>
                <a:cubicBezTo>
                  <a:pt x="532" y="258"/>
                  <a:pt x="529" y="258"/>
                  <a:pt x="530" y="256"/>
                </a:cubicBezTo>
                <a:close/>
                <a:moveTo>
                  <a:pt x="533" y="312"/>
                </a:moveTo>
                <a:cubicBezTo>
                  <a:pt x="533" y="311"/>
                  <a:pt x="533" y="310"/>
                  <a:pt x="534" y="310"/>
                </a:cubicBezTo>
                <a:cubicBezTo>
                  <a:pt x="536" y="308"/>
                  <a:pt x="535" y="313"/>
                  <a:pt x="533" y="312"/>
                </a:cubicBezTo>
                <a:close/>
                <a:moveTo>
                  <a:pt x="533" y="230"/>
                </a:moveTo>
                <a:cubicBezTo>
                  <a:pt x="534" y="229"/>
                  <a:pt x="535" y="232"/>
                  <a:pt x="533" y="231"/>
                </a:cubicBezTo>
                <a:cubicBezTo>
                  <a:pt x="533" y="231"/>
                  <a:pt x="533" y="230"/>
                  <a:pt x="533" y="230"/>
                </a:cubicBezTo>
                <a:close/>
                <a:moveTo>
                  <a:pt x="531" y="215"/>
                </a:moveTo>
                <a:cubicBezTo>
                  <a:pt x="530" y="213"/>
                  <a:pt x="535" y="211"/>
                  <a:pt x="535" y="214"/>
                </a:cubicBezTo>
                <a:cubicBezTo>
                  <a:pt x="535" y="215"/>
                  <a:pt x="531" y="217"/>
                  <a:pt x="531" y="215"/>
                </a:cubicBezTo>
                <a:close/>
                <a:moveTo>
                  <a:pt x="530" y="135"/>
                </a:moveTo>
                <a:cubicBezTo>
                  <a:pt x="532" y="134"/>
                  <a:pt x="534" y="133"/>
                  <a:pt x="536" y="131"/>
                </a:cubicBezTo>
                <a:cubicBezTo>
                  <a:pt x="535" y="134"/>
                  <a:pt x="532" y="134"/>
                  <a:pt x="530" y="135"/>
                </a:cubicBezTo>
                <a:close/>
                <a:moveTo>
                  <a:pt x="598" y="198"/>
                </a:moveTo>
                <a:cubicBezTo>
                  <a:pt x="598" y="198"/>
                  <a:pt x="597" y="199"/>
                  <a:pt x="597" y="199"/>
                </a:cubicBezTo>
                <a:cubicBezTo>
                  <a:pt x="596" y="198"/>
                  <a:pt x="598" y="198"/>
                  <a:pt x="598" y="198"/>
                </a:cubicBezTo>
                <a:close/>
                <a:moveTo>
                  <a:pt x="596" y="204"/>
                </a:moveTo>
                <a:cubicBezTo>
                  <a:pt x="598" y="202"/>
                  <a:pt x="597" y="205"/>
                  <a:pt x="596" y="205"/>
                </a:cubicBezTo>
                <a:cubicBezTo>
                  <a:pt x="596" y="204"/>
                  <a:pt x="596" y="204"/>
                  <a:pt x="596" y="204"/>
                </a:cubicBezTo>
                <a:close/>
                <a:moveTo>
                  <a:pt x="596" y="235"/>
                </a:moveTo>
                <a:cubicBezTo>
                  <a:pt x="597" y="235"/>
                  <a:pt x="598" y="234"/>
                  <a:pt x="598" y="235"/>
                </a:cubicBezTo>
                <a:cubicBezTo>
                  <a:pt x="601" y="237"/>
                  <a:pt x="594" y="238"/>
                  <a:pt x="596" y="235"/>
                </a:cubicBezTo>
                <a:close/>
                <a:moveTo>
                  <a:pt x="599" y="282"/>
                </a:moveTo>
                <a:cubicBezTo>
                  <a:pt x="598" y="284"/>
                  <a:pt x="597" y="283"/>
                  <a:pt x="599" y="282"/>
                </a:cubicBezTo>
                <a:close/>
                <a:moveTo>
                  <a:pt x="594" y="323"/>
                </a:moveTo>
                <a:cubicBezTo>
                  <a:pt x="594" y="322"/>
                  <a:pt x="595" y="322"/>
                  <a:pt x="595" y="322"/>
                </a:cubicBezTo>
                <a:cubicBezTo>
                  <a:pt x="597" y="323"/>
                  <a:pt x="593" y="325"/>
                  <a:pt x="594" y="323"/>
                </a:cubicBezTo>
                <a:close/>
                <a:moveTo>
                  <a:pt x="596" y="370"/>
                </a:moveTo>
                <a:cubicBezTo>
                  <a:pt x="597" y="370"/>
                  <a:pt x="594" y="371"/>
                  <a:pt x="596" y="370"/>
                </a:cubicBezTo>
                <a:close/>
                <a:moveTo>
                  <a:pt x="594" y="263"/>
                </a:moveTo>
                <a:cubicBezTo>
                  <a:pt x="595" y="262"/>
                  <a:pt x="596" y="264"/>
                  <a:pt x="594" y="263"/>
                </a:cubicBezTo>
                <a:close/>
                <a:moveTo>
                  <a:pt x="594" y="231"/>
                </a:moveTo>
                <a:cubicBezTo>
                  <a:pt x="595" y="231"/>
                  <a:pt x="594" y="232"/>
                  <a:pt x="594" y="231"/>
                </a:cubicBezTo>
                <a:cubicBezTo>
                  <a:pt x="594" y="231"/>
                  <a:pt x="594" y="231"/>
                  <a:pt x="594" y="231"/>
                </a:cubicBezTo>
                <a:close/>
                <a:moveTo>
                  <a:pt x="592" y="198"/>
                </a:moveTo>
                <a:cubicBezTo>
                  <a:pt x="594" y="196"/>
                  <a:pt x="594" y="199"/>
                  <a:pt x="592" y="198"/>
                </a:cubicBezTo>
                <a:close/>
                <a:moveTo>
                  <a:pt x="594" y="244"/>
                </a:moveTo>
                <a:cubicBezTo>
                  <a:pt x="594" y="245"/>
                  <a:pt x="593" y="245"/>
                  <a:pt x="591" y="246"/>
                </a:cubicBezTo>
                <a:cubicBezTo>
                  <a:pt x="592" y="245"/>
                  <a:pt x="593" y="244"/>
                  <a:pt x="594" y="244"/>
                </a:cubicBezTo>
                <a:close/>
                <a:moveTo>
                  <a:pt x="589" y="200"/>
                </a:moveTo>
                <a:cubicBezTo>
                  <a:pt x="590" y="201"/>
                  <a:pt x="588" y="202"/>
                  <a:pt x="588" y="202"/>
                </a:cubicBezTo>
                <a:cubicBezTo>
                  <a:pt x="588" y="201"/>
                  <a:pt x="589" y="201"/>
                  <a:pt x="589" y="200"/>
                </a:cubicBezTo>
                <a:close/>
                <a:moveTo>
                  <a:pt x="591" y="200"/>
                </a:moveTo>
                <a:cubicBezTo>
                  <a:pt x="590" y="203"/>
                  <a:pt x="589" y="206"/>
                  <a:pt x="586" y="208"/>
                </a:cubicBezTo>
                <a:cubicBezTo>
                  <a:pt x="588" y="206"/>
                  <a:pt x="589" y="203"/>
                  <a:pt x="591" y="200"/>
                </a:cubicBezTo>
                <a:close/>
                <a:moveTo>
                  <a:pt x="590" y="339"/>
                </a:moveTo>
                <a:cubicBezTo>
                  <a:pt x="591" y="338"/>
                  <a:pt x="590" y="340"/>
                  <a:pt x="590" y="339"/>
                </a:cubicBezTo>
                <a:close/>
                <a:moveTo>
                  <a:pt x="590" y="246"/>
                </a:moveTo>
                <a:cubicBezTo>
                  <a:pt x="591" y="246"/>
                  <a:pt x="591" y="246"/>
                  <a:pt x="590" y="246"/>
                </a:cubicBezTo>
                <a:close/>
                <a:moveTo>
                  <a:pt x="590" y="246"/>
                </a:moveTo>
                <a:cubicBezTo>
                  <a:pt x="590" y="246"/>
                  <a:pt x="590" y="247"/>
                  <a:pt x="590" y="247"/>
                </a:cubicBezTo>
                <a:cubicBezTo>
                  <a:pt x="590" y="247"/>
                  <a:pt x="590" y="247"/>
                  <a:pt x="590" y="247"/>
                </a:cubicBezTo>
                <a:cubicBezTo>
                  <a:pt x="590" y="247"/>
                  <a:pt x="590" y="247"/>
                  <a:pt x="590" y="246"/>
                </a:cubicBezTo>
                <a:close/>
                <a:moveTo>
                  <a:pt x="587" y="206"/>
                </a:moveTo>
                <a:cubicBezTo>
                  <a:pt x="587" y="206"/>
                  <a:pt x="586" y="205"/>
                  <a:pt x="586" y="205"/>
                </a:cubicBezTo>
                <a:cubicBezTo>
                  <a:pt x="587" y="204"/>
                  <a:pt x="587" y="208"/>
                  <a:pt x="587" y="206"/>
                </a:cubicBezTo>
                <a:close/>
                <a:moveTo>
                  <a:pt x="586" y="210"/>
                </a:moveTo>
                <a:cubicBezTo>
                  <a:pt x="587" y="211"/>
                  <a:pt x="585" y="212"/>
                  <a:pt x="585" y="213"/>
                </a:cubicBezTo>
                <a:cubicBezTo>
                  <a:pt x="584" y="212"/>
                  <a:pt x="586" y="210"/>
                  <a:pt x="586" y="210"/>
                </a:cubicBezTo>
                <a:close/>
                <a:moveTo>
                  <a:pt x="585" y="229"/>
                </a:moveTo>
                <a:cubicBezTo>
                  <a:pt x="586" y="228"/>
                  <a:pt x="585" y="230"/>
                  <a:pt x="584" y="230"/>
                </a:cubicBezTo>
                <a:cubicBezTo>
                  <a:pt x="584" y="230"/>
                  <a:pt x="585" y="229"/>
                  <a:pt x="585" y="229"/>
                </a:cubicBezTo>
                <a:close/>
                <a:moveTo>
                  <a:pt x="584" y="214"/>
                </a:moveTo>
                <a:cubicBezTo>
                  <a:pt x="584" y="212"/>
                  <a:pt x="585" y="214"/>
                  <a:pt x="584" y="214"/>
                </a:cubicBezTo>
                <a:close/>
                <a:moveTo>
                  <a:pt x="583" y="250"/>
                </a:moveTo>
                <a:cubicBezTo>
                  <a:pt x="583" y="250"/>
                  <a:pt x="583" y="251"/>
                  <a:pt x="582" y="251"/>
                </a:cubicBezTo>
                <a:cubicBezTo>
                  <a:pt x="582" y="251"/>
                  <a:pt x="581" y="251"/>
                  <a:pt x="581" y="251"/>
                </a:cubicBezTo>
                <a:cubicBezTo>
                  <a:pt x="582" y="251"/>
                  <a:pt x="583" y="251"/>
                  <a:pt x="583" y="250"/>
                </a:cubicBezTo>
                <a:close/>
                <a:moveTo>
                  <a:pt x="579" y="195"/>
                </a:moveTo>
                <a:cubicBezTo>
                  <a:pt x="578" y="194"/>
                  <a:pt x="581" y="195"/>
                  <a:pt x="579" y="195"/>
                </a:cubicBezTo>
                <a:close/>
                <a:moveTo>
                  <a:pt x="578" y="186"/>
                </a:moveTo>
                <a:cubicBezTo>
                  <a:pt x="578" y="188"/>
                  <a:pt x="573" y="190"/>
                  <a:pt x="572" y="187"/>
                </a:cubicBezTo>
                <a:cubicBezTo>
                  <a:pt x="571" y="184"/>
                  <a:pt x="579" y="182"/>
                  <a:pt x="578" y="186"/>
                </a:cubicBezTo>
                <a:close/>
                <a:moveTo>
                  <a:pt x="576" y="196"/>
                </a:moveTo>
                <a:cubicBezTo>
                  <a:pt x="576" y="196"/>
                  <a:pt x="576" y="196"/>
                  <a:pt x="576" y="196"/>
                </a:cubicBezTo>
                <a:cubicBezTo>
                  <a:pt x="577" y="198"/>
                  <a:pt x="574" y="195"/>
                  <a:pt x="576" y="196"/>
                </a:cubicBezTo>
                <a:close/>
                <a:moveTo>
                  <a:pt x="573" y="191"/>
                </a:moveTo>
                <a:cubicBezTo>
                  <a:pt x="572" y="191"/>
                  <a:pt x="571" y="192"/>
                  <a:pt x="570" y="192"/>
                </a:cubicBezTo>
                <a:cubicBezTo>
                  <a:pt x="570" y="191"/>
                  <a:pt x="573" y="190"/>
                  <a:pt x="573" y="191"/>
                </a:cubicBezTo>
                <a:close/>
                <a:moveTo>
                  <a:pt x="565" y="201"/>
                </a:moveTo>
                <a:cubicBezTo>
                  <a:pt x="565" y="202"/>
                  <a:pt x="563" y="202"/>
                  <a:pt x="563" y="201"/>
                </a:cubicBezTo>
                <a:cubicBezTo>
                  <a:pt x="563" y="200"/>
                  <a:pt x="564" y="200"/>
                  <a:pt x="565" y="201"/>
                </a:cubicBezTo>
                <a:close/>
                <a:moveTo>
                  <a:pt x="569" y="202"/>
                </a:moveTo>
                <a:cubicBezTo>
                  <a:pt x="568" y="201"/>
                  <a:pt x="562" y="207"/>
                  <a:pt x="562" y="205"/>
                </a:cubicBezTo>
                <a:cubicBezTo>
                  <a:pt x="562" y="204"/>
                  <a:pt x="567" y="200"/>
                  <a:pt x="569" y="202"/>
                </a:cubicBezTo>
                <a:close/>
                <a:moveTo>
                  <a:pt x="563" y="247"/>
                </a:moveTo>
                <a:cubicBezTo>
                  <a:pt x="563" y="247"/>
                  <a:pt x="561" y="248"/>
                  <a:pt x="561" y="248"/>
                </a:cubicBezTo>
                <a:cubicBezTo>
                  <a:pt x="560" y="247"/>
                  <a:pt x="562" y="245"/>
                  <a:pt x="563" y="247"/>
                </a:cubicBezTo>
                <a:close/>
                <a:moveTo>
                  <a:pt x="562" y="189"/>
                </a:moveTo>
                <a:cubicBezTo>
                  <a:pt x="563" y="190"/>
                  <a:pt x="560" y="191"/>
                  <a:pt x="560" y="190"/>
                </a:cubicBezTo>
                <a:cubicBezTo>
                  <a:pt x="560" y="189"/>
                  <a:pt x="562" y="189"/>
                  <a:pt x="562" y="189"/>
                </a:cubicBezTo>
                <a:close/>
                <a:moveTo>
                  <a:pt x="560" y="205"/>
                </a:moveTo>
                <a:cubicBezTo>
                  <a:pt x="563" y="203"/>
                  <a:pt x="562" y="209"/>
                  <a:pt x="560" y="207"/>
                </a:cubicBezTo>
                <a:cubicBezTo>
                  <a:pt x="558" y="207"/>
                  <a:pt x="560" y="205"/>
                  <a:pt x="560" y="205"/>
                </a:cubicBezTo>
                <a:close/>
                <a:moveTo>
                  <a:pt x="560" y="264"/>
                </a:moveTo>
                <a:cubicBezTo>
                  <a:pt x="562" y="263"/>
                  <a:pt x="559" y="266"/>
                  <a:pt x="560" y="264"/>
                </a:cubicBezTo>
                <a:cubicBezTo>
                  <a:pt x="560" y="264"/>
                  <a:pt x="560" y="264"/>
                  <a:pt x="560" y="264"/>
                </a:cubicBezTo>
                <a:close/>
                <a:moveTo>
                  <a:pt x="556" y="180"/>
                </a:moveTo>
                <a:cubicBezTo>
                  <a:pt x="557" y="181"/>
                  <a:pt x="555" y="182"/>
                  <a:pt x="555" y="181"/>
                </a:cubicBezTo>
                <a:cubicBezTo>
                  <a:pt x="555" y="181"/>
                  <a:pt x="556" y="181"/>
                  <a:pt x="556" y="180"/>
                </a:cubicBezTo>
                <a:close/>
                <a:moveTo>
                  <a:pt x="554" y="138"/>
                </a:moveTo>
                <a:cubicBezTo>
                  <a:pt x="554" y="138"/>
                  <a:pt x="555" y="138"/>
                  <a:pt x="555" y="138"/>
                </a:cubicBezTo>
                <a:cubicBezTo>
                  <a:pt x="555" y="140"/>
                  <a:pt x="552" y="136"/>
                  <a:pt x="554" y="138"/>
                </a:cubicBezTo>
                <a:close/>
                <a:moveTo>
                  <a:pt x="555" y="219"/>
                </a:moveTo>
                <a:cubicBezTo>
                  <a:pt x="555" y="219"/>
                  <a:pt x="554" y="221"/>
                  <a:pt x="553" y="221"/>
                </a:cubicBezTo>
                <a:cubicBezTo>
                  <a:pt x="553" y="220"/>
                  <a:pt x="554" y="218"/>
                  <a:pt x="555" y="219"/>
                </a:cubicBezTo>
                <a:close/>
                <a:moveTo>
                  <a:pt x="553" y="245"/>
                </a:moveTo>
                <a:cubicBezTo>
                  <a:pt x="554" y="245"/>
                  <a:pt x="552" y="246"/>
                  <a:pt x="552" y="245"/>
                </a:cubicBezTo>
                <a:cubicBezTo>
                  <a:pt x="552" y="244"/>
                  <a:pt x="553" y="244"/>
                  <a:pt x="553" y="245"/>
                </a:cubicBezTo>
                <a:close/>
                <a:moveTo>
                  <a:pt x="552" y="182"/>
                </a:move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lose/>
                <a:moveTo>
                  <a:pt x="552" y="133"/>
                </a:moveTo>
                <a:cubicBezTo>
                  <a:pt x="552" y="133"/>
                  <a:pt x="551" y="135"/>
                  <a:pt x="551" y="134"/>
                </a:cubicBezTo>
                <a:cubicBezTo>
                  <a:pt x="550" y="133"/>
                  <a:pt x="552" y="133"/>
                  <a:pt x="552" y="133"/>
                </a:cubicBezTo>
                <a:close/>
                <a:moveTo>
                  <a:pt x="552" y="158"/>
                </a:moveTo>
                <a:cubicBezTo>
                  <a:pt x="552" y="159"/>
                  <a:pt x="550" y="160"/>
                  <a:pt x="550" y="159"/>
                </a:cubicBezTo>
                <a:cubicBezTo>
                  <a:pt x="550" y="158"/>
                  <a:pt x="551" y="158"/>
                  <a:pt x="552" y="158"/>
                </a:cubicBezTo>
                <a:close/>
                <a:moveTo>
                  <a:pt x="552" y="177"/>
                </a:moveTo>
                <a:cubicBezTo>
                  <a:pt x="552" y="179"/>
                  <a:pt x="548" y="179"/>
                  <a:pt x="548" y="177"/>
                </a:cubicBezTo>
                <a:cubicBezTo>
                  <a:pt x="548" y="176"/>
                  <a:pt x="551" y="175"/>
                  <a:pt x="552" y="177"/>
                </a:cubicBezTo>
                <a:close/>
                <a:moveTo>
                  <a:pt x="547" y="170"/>
                </a:moveTo>
                <a:cubicBezTo>
                  <a:pt x="548" y="170"/>
                  <a:pt x="547" y="171"/>
                  <a:pt x="546" y="171"/>
                </a:cubicBezTo>
                <a:cubicBezTo>
                  <a:pt x="546" y="170"/>
                  <a:pt x="547" y="170"/>
                  <a:pt x="547" y="170"/>
                </a:cubicBezTo>
                <a:close/>
                <a:moveTo>
                  <a:pt x="547" y="166"/>
                </a:moveTo>
                <a:cubicBezTo>
                  <a:pt x="548" y="167"/>
                  <a:pt x="547" y="165"/>
                  <a:pt x="547" y="166"/>
                </a:cubicBezTo>
                <a:close/>
                <a:moveTo>
                  <a:pt x="548" y="133"/>
                </a:moveTo>
                <a:cubicBezTo>
                  <a:pt x="548" y="134"/>
                  <a:pt x="547" y="134"/>
                  <a:pt x="546" y="134"/>
                </a:cubicBezTo>
                <a:cubicBezTo>
                  <a:pt x="546" y="133"/>
                  <a:pt x="547" y="134"/>
                  <a:pt x="548" y="133"/>
                </a:cubicBezTo>
                <a:close/>
                <a:moveTo>
                  <a:pt x="547" y="176"/>
                </a:moveTo>
                <a:cubicBezTo>
                  <a:pt x="547" y="177"/>
                  <a:pt x="545" y="176"/>
                  <a:pt x="547" y="176"/>
                </a:cubicBezTo>
                <a:close/>
                <a:moveTo>
                  <a:pt x="546" y="168"/>
                </a:moveTo>
                <a:cubicBezTo>
                  <a:pt x="546" y="169"/>
                  <a:pt x="544" y="170"/>
                  <a:pt x="544" y="168"/>
                </a:cubicBezTo>
                <a:cubicBezTo>
                  <a:pt x="545" y="168"/>
                  <a:pt x="545" y="168"/>
                  <a:pt x="546" y="168"/>
                </a:cubicBezTo>
                <a:close/>
                <a:moveTo>
                  <a:pt x="545" y="141"/>
                </a:moveTo>
                <a:cubicBezTo>
                  <a:pt x="546" y="143"/>
                  <a:pt x="542" y="142"/>
                  <a:pt x="542" y="141"/>
                </a:cubicBezTo>
                <a:cubicBezTo>
                  <a:pt x="543" y="140"/>
                  <a:pt x="545" y="140"/>
                  <a:pt x="545" y="141"/>
                </a:cubicBezTo>
                <a:close/>
                <a:moveTo>
                  <a:pt x="540" y="150"/>
                </a:moveTo>
                <a:cubicBezTo>
                  <a:pt x="540" y="150"/>
                  <a:pt x="538" y="151"/>
                  <a:pt x="537" y="150"/>
                </a:cubicBezTo>
                <a:cubicBezTo>
                  <a:pt x="537" y="149"/>
                  <a:pt x="539" y="148"/>
                  <a:pt x="540" y="150"/>
                </a:cubicBezTo>
                <a:close/>
                <a:moveTo>
                  <a:pt x="537" y="158"/>
                </a:moveTo>
                <a:cubicBezTo>
                  <a:pt x="537" y="158"/>
                  <a:pt x="538" y="157"/>
                  <a:pt x="538" y="157"/>
                </a:cubicBezTo>
                <a:cubicBezTo>
                  <a:pt x="539" y="157"/>
                  <a:pt x="537" y="159"/>
                  <a:pt x="537" y="158"/>
                </a:cubicBezTo>
                <a:close/>
                <a:moveTo>
                  <a:pt x="538" y="165"/>
                </a:moveTo>
                <a:cubicBezTo>
                  <a:pt x="538" y="165"/>
                  <a:pt x="540" y="163"/>
                  <a:pt x="540" y="165"/>
                </a:cubicBezTo>
                <a:cubicBezTo>
                  <a:pt x="540" y="164"/>
                  <a:pt x="539" y="166"/>
                  <a:pt x="538" y="165"/>
                </a:cubicBezTo>
                <a:close/>
                <a:moveTo>
                  <a:pt x="540" y="214"/>
                </a:moveTo>
                <a:cubicBezTo>
                  <a:pt x="541" y="215"/>
                  <a:pt x="540" y="215"/>
                  <a:pt x="540" y="215"/>
                </a:cubicBezTo>
                <a:cubicBezTo>
                  <a:pt x="539" y="214"/>
                  <a:pt x="540" y="214"/>
                  <a:pt x="540" y="214"/>
                </a:cubicBezTo>
                <a:close/>
                <a:moveTo>
                  <a:pt x="541" y="291"/>
                </a:moveTo>
                <a:cubicBezTo>
                  <a:pt x="540" y="291"/>
                  <a:pt x="539" y="291"/>
                  <a:pt x="540" y="290"/>
                </a:cubicBezTo>
                <a:cubicBezTo>
                  <a:pt x="540" y="289"/>
                  <a:pt x="541" y="290"/>
                  <a:pt x="541" y="291"/>
                </a:cubicBezTo>
                <a:close/>
                <a:moveTo>
                  <a:pt x="541" y="212"/>
                </a:moveTo>
                <a:cubicBezTo>
                  <a:pt x="541" y="212"/>
                  <a:pt x="541" y="212"/>
                  <a:pt x="541" y="212"/>
                </a:cubicBezTo>
                <a:cubicBezTo>
                  <a:pt x="541" y="212"/>
                  <a:pt x="541" y="212"/>
                  <a:pt x="541" y="212"/>
                </a:cubicBezTo>
                <a:cubicBezTo>
                  <a:pt x="540" y="212"/>
                  <a:pt x="540" y="211"/>
                  <a:pt x="541" y="210"/>
                </a:cubicBezTo>
                <a:cubicBezTo>
                  <a:pt x="542" y="209"/>
                  <a:pt x="542" y="210"/>
                  <a:pt x="542" y="211"/>
                </a:cubicBezTo>
                <a:cubicBezTo>
                  <a:pt x="543" y="211"/>
                  <a:pt x="544" y="211"/>
                  <a:pt x="544" y="210"/>
                </a:cubicBezTo>
                <a:cubicBezTo>
                  <a:pt x="545" y="210"/>
                  <a:pt x="550" y="204"/>
                  <a:pt x="551" y="205"/>
                </a:cubicBezTo>
                <a:cubicBezTo>
                  <a:pt x="553" y="207"/>
                  <a:pt x="544" y="211"/>
                  <a:pt x="543" y="212"/>
                </a:cubicBezTo>
                <a:cubicBezTo>
                  <a:pt x="542" y="212"/>
                  <a:pt x="542" y="214"/>
                  <a:pt x="541" y="212"/>
                </a:cubicBezTo>
                <a:close/>
                <a:moveTo>
                  <a:pt x="549" y="242"/>
                </a:moveTo>
                <a:cubicBezTo>
                  <a:pt x="549" y="242"/>
                  <a:pt x="547" y="242"/>
                  <a:pt x="547" y="241"/>
                </a:cubicBezTo>
                <a:cubicBezTo>
                  <a:pt x="547" y="241"/>
                  <a:pt x="549" y="240"/>
                  <a:pt x="549" y="242"/>
                </a:cubicBezTo>
                <a:close/>
                <a:moveTo>
                  <a:pt x="543" y="245"/>
                </a:moveTo>
                <a:cubicBezTo>
                  <a:pt x="544" y="247"/>
                  <a:pt x="541" y="246"/>
                  <a:pt x="543" y="245"/>
                </a:cubicBezTo>
                <a:close/>
                <a:moveTo>
                  <a:pt x="547" y="220"/>
                </a:moveTo>
                <a:cubicBezTo>
                  <a:pt x="546" y="220"/>
                  <a:pt x="546" y="220"/>
                  <a:pt x="546" y="220"/>
                </a:cubicBezTo>
                <a:cubicBezTo>
                  <a:pt x="545" y="220"/>
                  <a:pt x="547" y="219"/>
                  <a:pt x="547" y="220"/>
                </a:cubicBezTo>
                <a:close/>
                <a:moveTo>
                  <a:pt x="546" y="265"/>
                </a:moveTo>
                <a:cubicBezTo>
                  <a:pt x="546" y="265"/>
                  <a:pt x="547" y="264"/>
                  <a:pt x="547" y="264"/>
                </a:cubicBezTo>
                <a:cubicBezTo>
                  <a:pt x="547" y="265"/>
                  <a:pt x="546" y="266"/>
                  <a:pt x="546" y="265"/>
                </a:cubicBezTo>
                <a:close/>
                <a:moveTo>
                  <a:pt x="548" y="300"/>
                </a:moveTo>
                <a:cubicBezTo>
                  <a:pt x="548" y="299"/>
                  <a:pt x="548" y="299"/>
                  <a:pt x="548" y="299"/>
                </a:cubicBezTo>
                <a:cubicBezTo>
                  <a:pt x="549" y="299"/>
                  <a:pt x="548" y="301"/>
                  <a:pt x="548" y="300"/>
                </a:cubicBezTo>
                <a:close/>
                <a:moveTo>
                  <a:pt x="547" y="280"/>
                </a:moveTo>
                <a:cubicBezTo>
                  <a:pt x="549" y="276"/>
                  <a:pt x="551" y="272"/>
                  <a:pt x="552" y="269"/>
                </a:cubicBezTo>
                <a:cubicBezTo>
                  <a:pt x="552" y="271"/>
                  <a:pt x="549" y="278"/>
                  <a:pt x="547" y="280"/>
                </a:cubicBezTo>
                <a:close/>
                <a:moveTo>
                  <a:pt x="553" y="329"/>
                </a:moveTo>
                <a:cubicBezTo>
                  <a:pt x="553" y="329"/>
                  <a:pt x="553" y="329"/>
                  <a:pt x="553" y="329"/>
                </a:cubicBezTo>
                <a:cubicBezTo>
                  <a:pt x="553" y="329"/>
                  <a:pt x="553" y="329"/>
                  <a:pt x="553" y="329"/>
                </a:cubicBezTo>
                <a:close/>
                <a:moveTo>
                  <a:pt x="551" y="261"/>
                </a:moveTo>
                <a:cubicBezTo>
                  <a:pt x="553" y="257"/>
                  <a:pt x="553" y="254"/>
                  <a:pt x="555" y="252"/>
                </a:cubicBezTo>
                <a:cubicBezTo>
                  <a:pt x="554" y="254"/>
                  <a:pt x="553" y="259"/>
                  <a:pt x="551" y="261"/>
                </a:cubicBezTo>
                <a:close/>
                <a:moveTo>
                  <a:pt x="554" y="222"/>
                </a:moveTo>
                <a:cubicBezTo>
                  <a:pt x="555" y="221"/>
                  <a:pt x="556" y="222"/>
                  <a:pt x="554" y="222"/>
                </a:cubicBezTo>
                <a:close/>
                <a:moveTo>
                  <a:pt x="554" y="184"/>
                </a:moveTo>
                <a:cubicBezTo>
                  <a:pt x="554" y="183"/>
                  <a:pt x="556" y="182"/>
                  <a:pt x="556" y="183"/>
                </a:cubicBezTo>
                <a:cubicBezTo>
                  <a:pt x="556" y="185"/>
                  <a:pt x="554" y="185"/>
                  <a:pt x="554" y="184"/>
                </a:cubicBezTo>
                <a:close/>
                <a:moveTo>
                  <a:pt x="557" y="285"/>
                </a:moveTo>
                <a:cubicBezTo>
                  <a:pt x="557" y="283"/>
                  <a:pt x="556" y="286"/>
                  <a:pt x="557" y="285"/>
                </a:cubicBezTo>
                <a:close/>
                <a:moveTo>
                  <a:pt x="560" y="320"/>
                </a:moveTo>
                <a:cubicBezTo>
                  <a:pt x="560" y="321"/>
                  <a:pt x="561" y="319"/>
                  <a:pt x="560" y="320"/>
                </a:cubicBezTo>
                <a:close/>
                <a:moveTo>
                  <a:pt x="557" y="283"/>
                </a:moveTo>
                <a:cubicBezTo>
                  <a:pt x="556" y="281"/>
                  <a:pt x="561" y="279"/>
                  <a:pt x="561" y="281"/>
                </a:cubicBezTo>
                <a:cubicBezTo>
                  <a:pt x="562" y="283"/>
                  <a:pt x="558" y="284"/>
                  <a:pt x="557" y="283"/>
                </a:cubicBezTo>
                <a:close/>
                <a:moveTo>
                  <a:pt x="562" y="258"/>
                </a:moveTo>
                <a:cubicBezTo>
                  <a:pt x="562" y="258"/>
                  <a:pt x="563" y="257"/>
                  <a:pt x="563" y="257"/>
                </a:cubicBezTo>
                <a:cubicBezTo>
                  <a:pt x="564" y="258"/>
                  <a:pt x="561" y="259"/>
                  <a:pt x="562" y="258"/>
                </a:cubicBezTo>
                <a:close/>
                <a:moveTo>
                  <a:pt x="565" y="221"/>
                </a:moveTo>
                <a:cubicBezTo>
                  <a:pt x="564" y="221"/>
                  <a:pt x="564" y="219"/>
                  <a:pt x="565" y="220"/>
                </a:cubicBezTo>
                <a:cubicBezTo>
                  <a:pt x="565" y="220"/>
                  <a:pt x="565" y="221"/>
                  <a:pt x="565" y="221"/>
                </a:cubicBezTo>
                <a:close/>
                <a:moveTo>
                  <a:pt x="566" y="206"/>
                </a:moveTo>
                <a:cubicBezTo>
                  <a:pt x="565" y="211"/>
                  <a:pt x="567" y="204"/>
                  <a:pt x="568" y="203"/>
                </a:cubicBezTo>
                <a:cubicBezTo>
                  <a:pt x="569" y="202"/>
                  <a:pt x="574" y="202"/>
                  <a:pt x="576" y="203"/>
                </a:cubicBezTo>
                <a:cubicBezTo>
                  <a:pt x="579" y="205"/>
                  <a:pt x="577" y="210"/>
                  <a:pt x="574" y="212"/>
                </a:cubicBezTo>
                <a:cubicBezTo>
                  <a:pt x="573" y="213"/>
                  <a:pt x="570" y="213"/>
                  <a:pt x="569" y="213"/>
                </a:cubicBezTo>
                <a:cubicBezTo>
                  <a:pt x="566" y="214"/>
                  <a:pt x="567" y="214"/>
                  <a:pt x="565" y="212"/>
                </a:cubicBezTo>
                <a:cubicBezTo>
                  <a:pt x="562" y="210"/>
                  <a:pt x="562" y="205"/>
                  <a:pt x="566" y="206"/>
                </a:cubicBezTo>
                <a:close/>
                <a:moveTo>
                  <a:pt x="573" y="236"/>
                </a:moveTo>
                <a:cubicBezTo>
                  <a:pt x="575" y="234"/>
                  <a:pt x="572" y="237"/>
                  <a:pt x="573" y="236"/>
                </a:cubicBezTo>
                <a:close/>
                <a:moveTo>
                  <a:pt x="571" y="238"/>
                </a:moveTo>
                <a:cubicBezTo>
                  <a:pt x="573" y="236"/>
                  <a:pt x="569" y="239"/>
                  <a:pt x="571" y="238"/>
                </a:cubicBezTo>
                <a:close/>
                <a:moveTo>
                  <a:pt x="569" y="326"/>
                </a:moveTo>
                <a:cubicBezTo>
                  <a:pt x="568" y="326"/>
                  <a:pt x="569" y="325"/>
                  <a:pt x="569" y="325"/>
                </a:cubicBezTo>
                <a:cubicBezTo>
                  <a:pt x="570" y="324"/>
                  <a:pt x="570" y="327"/>
                  <a:pt x="569" y="326"/>
                </a:cubicBezTo>
                <a:close/>
                <a:moveTo>
                  <a:pt x="567" y="224"/>
                </a:moveTo>
                <a:cubicBezTo>
                  <a:pt x="566" y="223"/>
                  <a:pt x="567" y="222"/>
                  <a:pt x="567" y="222"/>
                </a:cubicBezTo>
                <a:cubicBezTo>
                  <a:pt x="568" y="222"/>
                  <a:pt x="567" y="223"/>
                  <a:pt x="567" y="224"/>
                </a:cubicBezTo>
                <a:close/>
                <a:moveTo>
                  <a:pt x="567" y="311"/>
                </a:moveTo>
                <a:cubicBezTo>
                  <a:pt x="568" y="312"/>
                  <a:pt x="566" y="312"/>
                  <a:pt x="567" y="311"/>
                </a:cubicBezTo>
                <a:close/>
                <a:moveTo>
                  <a:pt x="565" y="280"/>
                </a:moveTo>
                <a:cubicBezTo>
                  <a:pt x="565" y="277"/>
                  <a:pt x="567" y="277"/>
                  <a:pt x="565" y="280"/>
                </a:cubicBezTo>
                <a:close/>
                <a:moveTo>
                  <a:pt x="566" y="411"/>
                </a:moveTo>
                <a:cubicBezTo>
                  <a:pt x="568" y="409"/>
                  <a:pt x="569" y="406"/>
                  <a:pt x="572" y="405"/>
                </a:cubicBezTo>
                <a:cubicBezTo>
                  <a:pt x="570" y="407"/>
                  <a:pt x="568" y="410"/>
                  <a:pt x="566" y="411"/>
                </a:cubicBezTo>
                <a:close/>
                <a:moveTo>
                  <a:pt x="571" y="279"/>
                </a:moveTo>
                <a:cubicBezTo>
                  <a:pt x="571" y="279"/>
                  <a:pt x="573" y="279"/>
                  <a:pt x="572" y="279"/>
                </a:cubicBezTo>
                <a:cubicBezTo>
                  <a:pt x="572" y="280"/>
                  <a:pt x="571" y="280"/>
                  <a:pt x="571" y="279"/>
                </a:cubicBezTo>
                <a:close/>
                <a:moveTo>
                  <a:pt x="573" y="383"/>
                </a:moveTo>
                <a:cubicBezTo>
                  <a:pt x="571" y="382"/>
                  <a:pt x="573" y="380"/>
                  <a:pt x="574" y="379"/>
                </a:cubicBezTo>
                <a:cubicBezTo>
                  <a:pt x="577" y="377"/>
                  <a:pt x="575" y="384"/>
                  <a:pt x="573" y="383"/>
                </a:cubicBezTo>
                <a:close/>
                <a:moveTo>
                  <a:pt x="578" y="218"/>
                </a:moveTo>
                <a:cubicBezTo>
                  <a:pt x="583" y="216"/>
                  <a:pt x="584" y="224"/>
                  <a:pt x="580" y="226"/>
                </a:cubicBezTo>
                <a:cubicBezTo>
                  <a:pt x="573" y="230"/>
                  <a:pt x="572" y="220"/>
                  <a:pt x="578" y="218"/>
                </a:cubicBezTo>
                <a:close/>
                <a:moveTo>
                  <a:pt x="577" y="295"/>
                </a:moveTo>
                <a:cubicBezTo>
                  <a:pt x="577" y="295"/>
                  <a:pt x="577" y="295"/>
                  <a:pt x="577" y="296"/>
                </a:cubicBezTo>
                <a:cubicBezTo>
                  <a:pt x="576" y="296"/>
                  <a:pt x="577" y="295"/>
                  <a:pt x="577" y="295"/>
                </a:cubicBezTo>
                <a:close/>
                <a:moveTo>
                  <a:pt x="577" y="425"/>
                </a:moveTo>
                <a:cubicBezTo>
                  <a:pt x="576" y="426"/>
                  <a:pt x="578" y="423"/>
                  <a:pt x="577" y="425"/>
                </a:cubicBezTo>
                <a:close/>
                <a:moveTo>
                  <a:pt x="577" y="371"/>
                </a:moveTo>
                <a:cubicBezTo>
                  <a:pt x="576" y="370"/>
                  <a:pt x="578" y="370"/>
                  <a:pt x="577" y="371"/>
                </a:cubicBezTo>
                <a:close/>
                <a:moveTo>
                  <a:pt x="577" y="297"/>
                </a:moveTo>
                <a:cubicBezTo>
                  <a:pt x="578" y="296"/>
                  <a:pt x="578" y="297"/>
                  <a:pt x="578" y="297"/>
                </a:cubicBezTo>
                <a:cubicBezTo>
                  <a:pt x="579" y="299"/>
                  <a:pt x="576" y="297"/>
                  <a:pt x="577" y="297"/>
                </a:cubicBezTo>
                <a:close/>
                <a:moveTo>
                  <a:pt x="580" y="277"/>
                </a:moveTo>
                <a:cubicBezTo>
                  <a:pt x="580" y="277"/>
                  <a:pt x="580" y="277"/>
                  <a:pt x="580" y="277"/>
                </a:cubicBezTo>
                <a:cubicBezTo>
                  <a:pt x="581" y="277"/>
                  <a:pt x="579" y="278"/>
                  <a:pt x="580" y="277"/>
                </a:cubicBezTo>
                <a:close/>
                <a:moveTo>
                  <a:pt x="580" y="387"/>
                </a:moveTo>
                <a:cubicBezTo>
                  <a:pt x="580" y="386"/>
                  <a:pt x="582" y="385"/>
                  <a:pt x="582" y="384"/>
                </a:cubicBezTo>
                <a:cubicBezTo>
                  <a:pt x="583" y="385"/>
                  <a:pt x="581" y="386"/>
                  <a:pt x="580" y="387"/>
                </a:cubicBezTo>
                <a:close/>
                <a:moveTo>
                  <a:pt x="578" y="268"/>
                </a:moveTo>
                <a:cubicBezTo>
                  <a:pt x="578" y="266"/>
                  <a:pt x="584" y="266"/>
                  <a:pt x="582" y="269"/>
                </a:cubicBezTo>
                <a:cubicBezTo>
                  <a:pt x="582" y="271"/>
                  <a:pt x="578" y="270"/>
                  <a:pt x="578" y="268"/>
                </a:cubicBezTo>
                <a:close/>
                <a:moveTo>
                  <a:pt x="582" y="302"/>
                </a:moveTo>
                <a:cubicBezTo>
                  <a:pt x="582" y="302"/>
                  <a:pt x="582" y="301"/>
                  <a:pt x="583" y="301"/>
                </a:cubicBezTo>
                <a:cubicBezTo>
                  <a:pt x="585" y="299"/>
                  <a:pt x="584" y="304"/>
                  <a:pt x="582" y="302"/>
                </a:cubicBezTo>
                <a:close/>
                <a:moveTo>
                  <a:pt x="584" y="367"/>
                </a:moveTo>
                <a:cubicBezTo>
                  <a:pt x="584" y="369"/>
                  <a:pt x="582" y="368"/>
                  <a:pt x="584" y="367"/>
                </a:cubicBezTo>
                <a:close/>
                <a:moveTo>
                  <a:pt x="584" y="364"/>
                </a:moveTo>
                <a:cubicBezTo>
                  <a:pt x="584" y="363"/>
                  <a:pt x="584" y="363"/>
                  <a:pt x="585" y="363"/>
                </a:cubicBezTo>
                <a:cubicBezTo>
                  <a:pt x="586" y="363"/>
                  <a:pt x="583" y="365"/>
                  <a:pt x="584" y="364"/>
                </a:cubicBezTo>
                <a:close/>
                <a:moveTo>
                  <a:pt x="585" y="305"/>
                </a:moveTo>
                <a:cubicBezTo>
                  <a:pt x="585" y="305"/>
                  <a:pt x="586" y="304"/>
                  <a:pt x="586" y="305"/>
                </a:cubicBezTo>
                <a:cubicBezTo>
                  <a:pt x="587" y="305"/>
                  <a:pt x="585" y="306"/>
                  <a:pt x="585" y="305"/>
                </a:cubicBezTo>
                <a:close/>
                <a:moveTo>
                  <a:pt x="585" y="289"/>
                </a:moveTo>
                <a:cubicBezTo>
                  <a:pt x="585" y="288"/>
                  <a:pt x="586" y="288"/>
                  <a:pt x="586" y="288"/>
                </a:cubicBezTo>
                <a:cubicBezTo>
                  <a:pt x="586" y="288"/>
                  <a:pt x="585" y="289"/>
                  <a:pt x="585" y="289"/>
                </a:cubicBezTo>
                <a:close/>
                <a:moveTo>
                  <a:pt x="585" y="250"/>
                </a:moveTo>
                <a:cubicBezTo>
                  <a:pt x="586" y="249"/>
                  <a:pt x="587" y="248"/>
                  <a:pt x="589" y="247"/>
                </a:cubicBezTo>
                <a:cubicBezTo>
                  <a:pt x="588" y="248"/>
                  <a:pt x="586" y="249"/>
                  <a:pt x="585" y="250"/>
                </a:cubicBezTo>
                <a:close/>
                <a:moveTo>
                  <a:pt x="590" y="437"/>
                </a:moveTo>
                <a:cubicBezTo>
                  <a:pt x="589" y="435"/>
                  <a:pt x="591" y="433"/>
                  <a:pt x="593" y="431"/>
                </a:cubicBezTo>
                <a:cubicBezTo>
                  <a:pt x="592" y="433"/>
                  <a:pt x="591" y="435"/>
                  <a:pt x="590" y="437"/>
                </a:cubicBezTo>
                <a:close/>
                <a:moveTo>
                  <a:pt x="594" y="251"/>
                </a:moveTo>
                <a:cubicBezTo>
                  <a:pt x="596" y="250"/>
                  <a:pt x="595" y="255"/>
                  <a:pt x="593" y="253"/>
                </a:cubicBezTo>
                <a:cubicBezTo>
                  <a:pt x="593" y="253"/>
                  <a:pt x="593" y="252"/>
                  <a:pt x="594" y="251"/>
                </a:cubicBezTo>
                <a:close/>
                <a:moveTo>
                  <a:pt x="594" y="357"/>
                </a:moveTo>
                <a:cubicBezTo>
                  <a:pt x="594" y="357"/>
                  <a:pt x="594" y="356"/>
                  <a:pt x="595" y="356"/>
                </a:cubicBezTo>
                <a:cubicBezTo>
                  <a:pt x="596" y="357"/>
                  <a:pt x="592" y="359"/>
                  <a:pt x="594" y="357"/>
                </a:cubicBezTo>
                <a:close/>
                <a:moveTo>
                  <a:pt x="595" y="371"/>
                </a:moveTo>
                <a:cubicBezTo>
                  <a:pt x="595" y="372"/>
                  <a:pt x="594" y="373"/>
                  <a:pt x="593" y="373"/>
                </a:cubicBezTo>
                <a:cubicBezTo>
                  <a:pt x="593" y="372"/>
                  <a:pt x="594" y="371"/>
                  <a:pt x="595" y="371"/>
                </a:cubicBezTo>
                <a:close/>
                <a:moveTo>
                  <a:pt x="593" y="429"/>
                </a:move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lose/>
                <a:moveTo>
                  <a:pt x="594" y="472"/>
                </a:moveTo>
                <a:cubicBezTo>
                  <a:pt x="594" y="472"/>
                  <a:pt x="595" y="470"/>
                  <a:pt x="595" y="470"/>
                </a:cubicBezTo>
                <a:cubicBezTo>
                  <a:pt x="596" y="471"/>
                  <a:pt x="594" y="472"/>
                  <a:pt x="594" y="472"/>
                </a:cubicBezTo>
                <a:close/>
                <a:moveTo>
                  <a:pt x="598" y="422"/>
                </a:moveTo>
                <a:cubicBezTo>
                  <a:pt x="598" y="423"/>
                  <a:pt x="596" y="426"/>
                  <a:pt x="594" y="428"/>
                </a:cubicBezTo>
                <a:cubicBezTo>
                  <a:pt x="594" y="425"/>
                  <a:pt x="599" y="418"/>
                  <a:pt x="598" y="422"/>
                </a:cubicBezTo>
                <a:close/>
                <a:moveTo>
                  <a:pt x="595" y="356"/>
                </a:moveTo>
                <a:cubicBezTo>
                  <a:pt x="596" y="355"/>
                  <a:pt x="597" y="354"/>
                  <a:pt x="599" y="353"/>
                </a:cubicBezTo>
                <a:cubicBezTo>
                  <a:pt x="598" y="355"/>
                  <a:pt x="597" y="355"/>
                  <a:pt x="595" y="356"/>
                </a:cubicBezTo>
                <a:close/>
                <a:moveTo>
                  <a:pt x="686" y="310"/>
                </a:moveTo>
                <a:cubicBezTo>
                  <a:pt x="686" y="309"/>
                  <a:pt x="686" y="312"/>
                  <a:pt x="686" y="310"/>
                </a:cubicBezTo>
                <a:close/>
                <a:moveTo>
                  <a:pt x="679" y="298"/>
                </a:moveTo>
                <a:cubicBezTo>
                  <a:pt x="682" y="297"/>
                  <a:pt x="678" y="302"/>
                  <a:pt x="678" y="299"/>
                </a:cubicBezTo>
                <a:cubicBezTo>
                  <a:pt x="678" y="299"/>
                  <a:pt x="678" y="298"/>
                  <a:pt x="679" y="298"/>
                </a:cubicBezTo>
                <a:close/>
                <a:moveTo>
                  <a:pt x="676" y="297"/>
                </a:moveTo>
                <a:cubicBezTo>
                  <a:pt x="677" y="295"/>
                  <a:pt x="676" y="298"/>
                  <a:pt x="676" y="297"/>
                </a:cubicBezTo>
                <a:close/>
                <a:moveTo>
                  <a:pt x="671" y="307"/>
                </a:moveTo>
                <a:cubicBezTo>
                  <a:pt x="671" y="307"/>
                  <a:pt x="672" y="308"/>
                  <a:pt x="671" y="308"/>
                </a:cubicBezTo>
                <a:cubicBezTo>
                  <a:pt x="670" y="309"/>
                  <a:pt x="671" y="307"/>
                  <a:pt x="671" y="307"/>
                </a:cubicBezTo>
                <a:close/>
                <a:moveTo>
                  <a:pt x="672" y="331"/>
                </a:moveTo>
                <a:cubicBezTo>
                  <a:pt x="672" y="331"/>
                  <a:pt x="675" y="326"/>
                  <a:pt x="675" y="328"/>
                </a:cubicBezTo>
                <a:cubicBezTo>
                  <a:pt x="675" y="331"/>
                  <a:pt x="670" y="334"/>
                  <a:pt x="668" y="337"/>
                </a:cubicBezTo>
                <a:cubicBezTo>
                  <a:pt x="669" y="335"/>
                  <a:pt x="671" y="333"/>
                  <a:pt x="672" y="331"/>
                </a:cubicBezTo>
                <a:close/>
                <a:moveTo>
                  <a:pt x="669" y="271"/>
                </a:moveTo>
                <a:cubicBezTo>
                  <a:pt x="668" y="270"/>
                  <a:pt x="671" y="264"/>
                  <a:pt x="672" y="266"/>
                </a:cubicBezTo>
                <a:cubicBezTo>
                  <a:pt x="674" y="267"/>
                  <a:pt x="670" y="270"/>
                  <a:pt x="669" y="271"/>
                </a:cubicBezTo>
                <a:close/>
                <a:moveTo>
                  <a:pt x="674" y="235"/>
                </a:moveTo>
                <a:cubicBezTo>
                  <a:pt x="673" y="236"/>
                  <a:pt x="675" y="233"/>
                  <a:pt x="674" y="235"/>
                </a:cubicBezTo>
                <a:close/>
                <a:moveTo>
                  <a:pt x="676" y="252"/>
                </a:moveTo>
                <a:cubicBezTo>
                  <a:pt x="676" y="250"/>
                  <a:pt x="677" y="251"/>
                  <a:pt x="676" y="252"/>
                </a:cubicBezTo>
                <a:close/>
                <a:moveTo>
                  <a:pt x="673" y="222"/>
                </a:moveTo>
                <a:cubicBezTo>
                  <a:pt x="674" y="221"/>
                  <a:pt x="676" y="222"/>
                  <a:pt x="676" y="222"/>
                </a:cubicBezTo>
                <a:cubicBezTo>
                  <a:pt x="678" y="225"/>
                  <a:pt x="674" y="230"/>
                  <a:pt x="672" y="229"/>
                </a:cubicBezTo>
                <a:cubicBezTo>
                  <a:pt x="669" y="227"/>
                  <a:pt x="671" y="223"/>
                  <a:pt x="673" y="222"/>
                </a:cubicBezTo>
                <a:close/>
                <a:moveTo>
                  <a:pt x="669" y="233"/>
                </a:moveTo>
                <a:cubicBezTo>
                  <a:pt x="669" y="232"/>
                  <a:pt x="670" y="231"/>
                  <a:pt x="670" y="230"/>
                </a:cubicBezTo>
                <a:cubicBezTo>
                  <a:pt x="669" y="230"/>
                  <a:pt x="669" y="230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1" y="229"/>
                </a:cubicBezTo>
                <a:cubicBezTo>
                  <a:pt x="670" y="230"/>
                  <a:pt x="670" y="230"/>
                  <a:pt x="670" y="230"/>
                </a:cubicBezTo>
                <a:cubicBezTo>
                  <a:pt x="670" y="233"/>
                  <a:pt x="669" y="236"/>
                  <a:pt x="668" y="238"/>
                </a:cubicBezTo>
                <a:cubicBezTo>
                  <a:pt x="668" y="237"/>
                  <a:pt x="668" y="235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lose/>
                <a:moveTo>
                  <a:pt x="668" y="231"/>
                </a:moveTo>
                <a:cubicBezTo>
                  <a:pt x="668" y="233"/>
                  <a:pt x="666" y="231"/>
                  <a:pt x="668" y="231"/>
                </a:cubicBezTo>
                <a:close/>
                <a:moveTo>
                  <a:pt x="671" y="249"/>
                </a:moveTo>
                <a:cubicBezTo>
                  <a:pt x="670" y="250"/>
                  <a:pt x="668" y="251"/>
                  <a:pt x="666" y="252"/>
                </a:cubicBezTo>
                <a:cubicBezTo>
                  <a:pt x="667" y="250"/>
                  <a:pt x="669" y="250"/>
                  <a:pt x="671" y="249"/>
                </a:cubicBezTo>
                <a:close/>
                <a:moveTo>
                  <a:pt x="667" y="257"/>
                </a:moveTo>
                <a:cubicBezTo>
                  <a:pt x="667" y="258"/>
                  <a:pt x="666" y="260"/>
                  <a:pt x="665" y="261"/>
                </a:cubicBezTo>
                <a:cubicBezTo>
                  <a:pt x="665" y="259"/>
                  <a:pt x="667" y="259"/>
                  <a:pt x="667" y="257"/>
                </a:cubicBezTo>
                <a:close/>
                <a:moveTo>
                  <a:pt x="666" y="302"/>
                </a:moveTo>
                <a:cubicBezTo>
                  <a:pt x="666" y="302"/>
                  <a:pt x="666" y="302"/>
                  <a:pt x="666" y="301"/>
                </a:cubicBezTo>
                <a:cubicBezTo>
                  <a:pt x="666" y="300"/>
                  <a:pt x="667" y="302"/>
                  <a:pt x="666" y="302"/>
                </a:cubicBezTo>
                <a:close/>
                <a:moveTo>
                  <a:pt x="657" y="233"/>
                </a:moveTo>
                <a:cubicBezTo>
                  <a:pt x="657" y="233"/>
                  <a:pt x="657" y="233"/>
                  <a:pt x="657" y="233"/>
                </a:cubicBezTo>
                <a:cubicBezTo>
                  <a:pt x="657" y="235"/>
                  <a:pt x="655" y="233"/>
                  <a:pt x="657" y="233"/>
                </a:cubicBezTo>
                <a:close/>
                <a:moveTo>
                  <a:pt x="655" y="232"/>
                </a:moveTo>
                <a:cubicBezTo>
                  <a:pt x="656" y="232"/>
                  <a:pt x="656" y="234"/>
                  <a:pt x="655" y="234"/>
                </a:cubicBezTo>
                <a:cubicBezTo>
                  <a:pt x="654" y="233"/>
                  <a:pt x="655" y="232"/>
                  <a:pt x="655" y="232"/>
                </a:cubicBezTo>
                <a:close/>
                <a:moveTo>
                  <a:pt x="655" y="256"/>
                </a:moveTo>
                <a:cubicBezTo>
                  <a:pt x="657" y="254"/>
                  <a:pt x="657" y="259"/>
                  <a:pt x="655" y="259"/>
                </a:cubicBezTo>
                <a:cubicBezTo>
                  <a:pt x="654" y="258"/>
                  <a:pt x="654" y="256"/>
                  <a:pt x="655" y="256"/>
                </a:cubicBezTo>
                <a:close/>
                <a:moveTo>
                  <a:pt x="651" y="231"/>
                </a:moveTo>
                <a:cubicBezTo>
                  <a:pt x="651" y="231"/>
                  <a:pt x="652" y="230"/>
                  <a:pt x="653" y="231"/>
                </a:cubicBezTo>
                <a:cubicBezTo>
                  <a:pt x="654" y="232"/>
                  <a:pt x="650" y="234"/>
                  <a:pt x="651" y="231"/>
                </a:cubicBezTo>
                <a:close/>
                <a:moveTo>
                  <a:pt x="651" y="229"/>
                </a:moveTo>
                <a:cubicBezTo>
                  <a:pt x="651" y="228"/>
                  <a:pt x="650" y="231"/>
                  <a:pt x="651" y="229"/>
                </a:cubicBezTo>
                <a:close/>
                <a:moveTo>
                  <a:pt x="647" y="239"/>
                </a:moveTo>
                <a:cubicBezTo>
                  <a:pt x="648" y="237"/>
                  <a:pt x="650" y="241"/>
                  <a:pt x="647" y="241"/>
                </a:cubicBezTo>
                <a:cubicBezTo>
                  <a:pt x="647" y="240"/>
                  <a:pt x="646" y="239"/>
                  <a:pt x="647" y="239"/>
                </a:cubicBezTo>
                <a:close/>
                <a:moveTo>
                  <a:pt x="649" y="265"/>
                </a:moveTo>
                <a:cubicBezTo>
                  <a:pt x="650" y="264"/>
                  <a:pt x="651" y="260"/>
                  <a:pt x="653" y="260"/>
                </a:cubicBezTo>
                <a:cubicBezTo>
                  <a:pt x="657" y="258"/>
                  <a:pt x="649" y="267"/>
                  <a:pt x="648" y="268"/>
                </a:cubicBezTo>
                <a:cubicBezTo>
                  <a:pt x="650" y="266"/>
                  <a:pt x="648" y="270"/>
                  <a:pt x="647" y="269"/>
                </a:cubicBezTo>
                <a:cubicBezTo>
                  <a:pt x="646" y="269"/>
                  <a:pt x="648" y="266"/>
                  <a:pt x="649" y="265"/>
                </a:cubicBezTo>
                <a:close/>
                <a:moveTo>
                  <a:pt x="652" y="271"/>
                </a:moveTo>
                <a:cubicBezTo>
                  <a:pt x="653" y="272"/>
                  <a:pt x="651" y="272"/>
                  <a:pt x="651" y="272"/>
                </a:cubicBezTo>
                <a:cubicBezTo>
                  <a:pt x="651" y="271"/>
                  <a:pt x="652" y="270"/>
                  <a:pt x="652" y="271"/>
                </a:cubicBezTo>
                <a:close/>
                <a:moveTo>
                  <a:pt x="657" y="273"/>
                </a:moveTo>
                <a:cubicBezTo>
                  <a:pt x="653" y="278"/>
                  <a:pt x="649" y="282"/>
                  <a:pt x="643" y="286"/>
                </a:cubicBezTo>
                <a:cubicBezTo>
                  <a:pt x="648" y="281"/>
                  <a:pt x="652" y="277"/>
                  <a:pt x="657" y="273"/>
                </a:cubicBezTo>
                <a:close/>
                <a:moveTo>
                  <a:pt x="645" y="387"/>
                </a:moveTo>
                <a:cubicBezTo>
                  <a:pt x="645" y="389"/>
                  <a:pt x="643" y="388"/>
                  <a:pt x="645" y="387"/>
                </a:cubicBezTo>
                <a:close/>
                <a:moveTo>
                  <a:pt x="645" y="390"/>
                </a:moveTo>
                <a:cubicBezTo>
                  <a:pt x="645" y="388"/>
                  <a:pt x="644" y="391"/>
                  <a:pt x="645" y="390"/>
                </a:cubicBezTo>
                <a:close/>
                <a:moveTo>
                  <a:pt x="641" y="392"/>
                </a:moveTo>
                <a:cubicBezTo>
                  <a:pt x="642" y="391"/>
                  <a:pt x="642" y="390"/>
                  <a:pt x="643" y="389"/>
                </a:cubicBezTo>
                <a:cubicBezTo>
                  <a:pt x="643" y="390"/>
                  <a:pt x="643" y="391"/>
                  <a:pt x="641" y="392"/>
                </a:cubicBezTo>
                <a:close/>
                <a:moveTo>
                  <a:pt x="642" y="393"/>
                </a:moveTo>
                <a:cubicBezTo>
                  <a:pt x="643" y="393"/>
                  <a:pt x="640" y="395"/>
                  <a:pt x="642" y="393"/>
                </a:cubicBezTo>
                <a:close/>
                <a:moveTo>
                  <a:pt x="643" y="300"/>
                </a:moveTo>
                <a:cubicBezTo>
                  <a:pt x="642" y="300"/>
                  <a:pt x="643" y="299"/>
                  <a:pt x="643" y="299"/>
                </a:cubicBezTo>
                <a:cubicBezTo>
                  <a:pt x="644" y="297"/>
                  <a:pt x="644" y="301"/>
                  <a:pt x="643" y="300"/>
                </a:cubicBezTo>
                <a:close/>
                <a:moveTo>
                  <a:pt x="642" y="297"/>
                </a:moveTo>
                <a:cubicBezTo>
                  <a:pt x="642" y="296"/>
                  <a:pt x="643" y="296"/>
                  <a:pt x="644" y="295"/>
                </a:cubicBezTo>
                <a:cubicBezTo>
                  <a:pt x="644" y="296"/>
                  <a:pt x="643" y="297"/>
                  <a:pt x="642" y="297"/>
                </a:cubicBezTo>
                <a:close/>
                <a:moveTo>
                  <a:pt x="639" y="297"/>
                </a:moveTo>
                <a:cubicBezTo>
                  <a:pt x="638" y="296"/>
                  <a:pt x="644" y="290"/>
                  <a:pt x="645" y="290"/>
                </a:cubicBezTo>
                <a:cubicBezTo>
                  <a:pt x="645" y="289"/>
                  <a:pt x="646" y="289"/>
                  <a:pt x="647" y="289"/>
                </a:cubicBezTo>
                <a:cubicBezTo>
                  <a:pt x="647" y="289"/>
                  <a:pt x="640" y="298"/>
                  <a:pt x="639" y="297"/>
                </a:cubicBezTo>
                <a:close/>
                <a:moveTo>
                  <a:pt x="642" y="298"/>
                </a:moveTo>
                <a:cubicBezTo>
                  <a:pt x="641" y="300"/>
                  <a:pt x="639" y="299"/>
                  <a:pt x="642" y="298"/>
                </a:cubicBezTo>
                <a:close/>
                <a:moveTo>
                  <a:pt x="639" y="303"/>
                </a:moveTo>
                <a:cubicBezTo>
                  <a:pt x="639" y="303"/>
                  <a:pt x="639" y="302"/>
                  <a:pt x="639" y="302"/>
                </a:cubicBezTo>
                <a:cubicBezTo>
                  <a:pt x="641" y="300"/>
                  <a:pt x="640" y="304"/>
                  <a:pt x="639" y="303"/>
                </a:cubicBezTo>
                <a:close/>
                <a:moveTo>
                  <a:pt x="640" y="320"/>
                </a:moveTo>
                <a:cubicBezTo>
                  <a:pt x="640" y="320"/>
                  <a:pt x="639" y="321"/>
                  <a:pt x="639" y="321"/>
                </a:cubicBezTo>
                <a:cubicBezTo>
                  <a:pt x="638" y="321"/>
                  <a:pt x="639" y="320"/>
                  <a:pt x="640" y="320"/>
                </a:cubicBezTo>
                <a:close/>
                <a:moveTo>
                  <a:pt x="638" y="266"/>
                </a:moveTo>
                <a:cubicBezTo>
                  <a:pt x="637" y="266"/>
                  <a:pt x="639" y="265"/>
                  <a:pt x="638" y="264"/>
                </a:cubicBezTo>
                <a:cubicBezTo>
                  <a:pt x="639" y="264"/>
                  <a:pt x="638" y="266"/>
                  <a:pt x="638" y="266"/>
                </a:cubicBezTo>
                <a:close/>
                <a:moveTo>
                  <a:pt x="638" y="268"/>
                </a:moveTo>
                <a:cubicBezTo>
                  <a:pt x="638" y="268"/>
                  <a:pt x="638" y="269"/>
                  <a:pt x="638" y="269"/>
                </a:cubicBezTo>
                <a:cubicBezTo>
                  <a:pt x="638" y="269"/>
                  <a:pt x="638" y="269"/>
                  <a:pt x="638" y="269"/>
                </a:cubicBezTo>
                <a:cubicBezTo>
                  <a:pt x="638" y="269"/>
                  <a:pt x="638" y="269"/>
                  <a:pt x="638" y="268"/>
                </a:cubicBezTo>
                <a:close/>
                <a:moveTo>
                  <a:pt x="642" y="286"/>
                </a:moveTo>
                <a:cubicBezTo>
                  <a:pt x="642" y="287"/>
                  <a:pt x="639" y="289"/>
                  <a:pt x="638" y="290"/>
                </a:cubicBezTo>
                <a:cubicBezTo>
                  <a:pt x="638" y="288"/>
                  <a:pt x="641" y="288"/>
                  <a:pt x="642" y="286"/>
                </a:cubicBezTo>
                <a:close/>
                <a:moveTo>
                  <a:pt x="644" y="234"/>
                </a:moveTo>
                <a:cubicBezTo>
                  <a:pt x="643" y="235"/>
                  <a:pt x="643" y="234"/>
                  <a:pt x="644" y="234"/>
                </a:cubicBezTo>
                <a:close/>
                <a:moveTo>
                  <a:pt x="643" y="251"/>
                </a:moveTo>
                <a:cubicBezTo>
                  <a:pt x="643" y="252"/>
                  <a:pt x="642" y="253"/>
                  <a:pt x="642" y="253"/>
                </a:cubicBezTo>
                <a:cubicBezTo>
                  <a:pt x="642" y="253"/>
                  <a:pt x="642" y="251"/>
                  <a:pt x="643" y="251"/>
                </a:cubicBezTo>
                <a:close/>
                <a:moveTo>
                  <a:pt x="645" y="254"/>
                </a:moveTo>
                <a:cubicBezTo>
                  <a:pt x="643" y="257"/>
                  <a:pt x="641" y="258"/>
                  <a:pt x="638" y="260"/>
                </a:cubicBezTo>
                <a:cubicBezTo>
                  <a:pt x="640" y="258"/>
                  <a:pt x="642" y="256"/>
                  <a:pt x="645" y="254"/>
                </a:cubicBezTo>
                <a:close/>
                <a:moveTo>
                  <a:pt x="640" y="225"/>
                </a:moveTo>
                <a:cubicBezTo>
                  <a:pt x="640" y="225"/>
                  <a:pt x="640" y="225"/>
                  <a:pt x="640" y="225"/>
                </a:cubicBezTo>
                <a:cubicBezTo>
                  <a:pt x="640" y="225"/>
                  <a:pt x="640" y="225"/>
                  <a:pt x="640" y="226"/>
                </a:cubicBezTo>
                <a:cubicBezTo>
                  <a:pt x="640" y="226"/>
                  <a:pt x="640" y="226"/>
                  <a:pt x="640" y="225"/>
                </a:cubicBezTo>
                <a:close/>
                <a:moveTo>
                  <a:pt x="640" y="241"/>
                </a:moveTo>
                <a:cubicBezTo>
                  <a:pt x="641" y="243"/>
                  <a:pt x="638" y="244"/>
                  <a:pt x="638" y="242"/>
                </a:cubicBezTo>
                <a:cubicBezTo>
                  <a:pt x="637" y="241"/>
                  <a:pt x="640" y="239"/>
                  <a:pt x="640" y="241"/>
                </a:cubicBezTo>
                <a:close/>
                <a:moveTo>
                  <a:pt x="638" y="290"/>
                </a:moveTo>
                <a:cubicBezTo>
                  <a:pt x="639" y="291"/>
                  <a:pt x="635" y="292"/>
                  <a:pt x="636" y="290"/>
                </a:cubicBezTo>
                <a:cubicBezTo>
                  <a:pt x="637" y="289"/>
                  <a:pt x="637" y="289"/>
                  <a:pt x="638" y="290"/>
                </a:cubicBezTo>
                <a:close/>
                <a:moveTo>
                  <a:pt x="637" y="302"/>
                </a:move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lose/>
                <a:moveTo>
                  <a:pt x="632" y="265"/>
                </a:moveTo>
                <a:cubicBezTo>
                  <a:pt x="633" y="264"/>
                  <a:pt x="635" y="262"/>
                  <a:pt x="636" y="262"/>
                </a:cubicBezTo>
                <a:cubicBezTo>
                  <a:pt x="636" y="262"/>
                  <a:pt x="634" y="265"/>
                  <a:pt x="632" y="265"/>
                </a:cubicBezTo>
                <a:close/>
                <a:moveTo>
                  <a:pt x="637" y="219"/>
                </a:moveTo>
                <a:cubicBezTo>
                  <a:pt x="637" y="221"/>
                  <a:pt x="634" y="221"/>
                  <a:pt x="634" y="219"/>
                </a:cubicBezTo>
                <a:cubicBezTo>
                  <a:pt x="634" y="218"/>
                  <a:pt x="636" y="217"/>
                  <a:pt x="637" y="219"/>
                </a:cubicBezTo>
                <a:close/>
                <a:moveTo>
                  <a:pt x="633" y="221"/>
                </a:moveTo>
                <a:cubicBezTo>
                  <a:pt x="633" y="221"/>
                  <a:pt x="635" y="221"/>
                  <a:pt x="634" y="222"/>
                </a:cubicBezTo>
                <a:cubicBezTo>
                  <a:pt x="634" y="222"/>
                  <a:pt x="632" y="222"/>
                  <a:pt x="633" y="221"/>
                </a:cubicBezTo>
                <a:close/>
                <a:moveTo>
                  <a:pt x="633" y="253"/>
                </a:moveTo>
                <a:cubicBezTo>
                  <a:pt x="633" y="254"/>
                  <a:pt x="632" y="254"/>
                  <a:pt x="631" y="254"/>
                </a:cubicBezTo>
                <a:cubicBezTo>
                  <a:pt x="631" y="253"/>
                  <a:pt x="632" y="252"/>
                  <a:pt x="633" y="253"/>
                </a:cubicBezTo>
                <a:close/>
                <a:moveTo>
                  <a:pt x="630" y="260"/>
                </a:moveTo>
                <a:cubicBezTo>
                  <a:pt x="630" y="260"/>
                  <a:pt x="630" y="260"/>
                  <a:pt x="630" y="261"/>
                </a:cubicBezTo>
                <a:cubicBezTo>
                  <a:pt x="630" y="261"/>
                  <a:pt x="630" y="261"/>
                  <a:pt x="630" y="261"/>
                </a:cubicBezTo>
                <a:cubicBezTo>
                  <a:pt x="630" y="261"/>
                  <a:pt x="630" y="260"/>
                  <a:pt x="630" y="260"/>
                </a:cubicBezTo>
                <a:close/>
                <a:moveTo>
                  <a:pt x="632" y="277"/>
                </a:moveTo>
                <a:cubicBezTo>
                  <a:pt x="634" y="279"/>
                  <a:pt x="631" y="281"/>
                  <a:pt x="629" y="281"/>
                </a:cubicBezTo>
                <a:cubicBezTo>
                  <a:pt x="629" y="280"/>
                  <a:pt x="631" y="277"/>
                  <a:pt x="632" y="277"/>
                </a:cubicBezTo>
                <a:close/>
                <a:moveTo>
                  <a:pt x="632" y="347"/>
                </a:moveTo>
                <a:cubicBezTo>
                  <a:pt x="632" y="347"/>
                  <a:pt x="632" y="346"/>
                  <a:pt x="632" y="346"/>
                </a:cubicBezTo>
                <a:cubicBezTo>
                  <a:pt x="633" y="344"/>
                  <a:pt x="632" y="348"/>
                  <a:pt x="632" y="347"/>
                </a:cubicBezTo>
                <a:close/>
                <a:moveTo>
                  <a:pt x="630" y="294"/>
                </a:moveTo>
                <a:cubicBezTo>
                  <a:pt x="630" y="295"/>
                  <a:pt x="629" y="295"/>
                  <a:pt x="629" y="295"/>
                </a:cubicBezTo>
                <a:cubicBezTo>
                  <a:pt x="629" y="295"/>
                  <a:pt x="629" y="294"/>
                  <a:pt x="630" y="294"/>
                </a:cubicBezTo>
                <a:close/>
                <a:moveTo>
                  <a:pt x="627" y="314"/>
                </a:moveTo>
                <a:cubicBezTo>
                  <a:pt x="627" y="314"/>
                  <a:pt x="628" y="314"/>
                  <a:pt x="628" y="314"/>
                </a:cubicBezTo>
                <a:cubicBezTo>
                  <a:pt x="629" y="315"/>
                  <a:pt x="627" y="315"/>
                  <a:pt x="627" y="314"/>
                </a:cubicBezTo>
                <a:close/>
                <a:moveTo>
                  <a:pt x="628" y="256"/>
                </a:moveTo>
                <a:cubicBezTo>
                  <a:pt x="628" y="254"/>
                  <a:pt x="627" y="257"/>
                  <a:pt x="628" y="256"/>
                </a:cubicBezTo>
                <a:close/>
                <a:moveTo>
                  <a:pt x="626" y="201"/>
                </a:moveTo>
                <a:cubicBezTo>
                  <a:pt x="624" y="200"/>
                  <a:pt x="625" y="198"/>
                  <a:pt x="626" y="198"/>
                </a:cubicBezTo>
                <a:cubicBezTo>
                  <a:pt x="629" y="196"/>
                  <a:pt x="628" y="201"/>
                  <a:pt x="626" y="201"/>
                </a:cubicBezTo>
                <a:close/>
                <a:moveTo>
                  <a:pt x="625" y="187"/>
                </a:moveTo>
                <a:cubicBezTo>
                  <a:pt x="625" y="186"/>
                  <a:pt x="626" y="186"/>
                  <a:pt x="626" y="186"/>
                </a:cubicBezTo>
                <a:cubicBezTo>
                  <a:pt x="627" y="187"/>
                  <a:pt x="624" y="188"/>
                  <a:pt x="625" y="187"/>
                </a:cubicBezTo>
                <a:close/>
                <a:moveTo>
                  <a:pt x="622" y="226"/>
                </a:moveTo>
                <a:cubicBezTo>
                  <a:pt x="617" y="226"/>
                  <a:pt x="619" y="218"/>
                  <a:pt x="621" y="217"/>
                </a:cubicBezTo>
                <a:cubicBezTo>
                  <a:pt x="629" y="212"/>
                  <a:pt x="628" y="227"/>
                  <a:pt x="622" y="226"/>
                </a:cubicBezTo>
                <a:close/>
                <a:moveTo>
                  <a:pt x="619" y="233"/>
                </a:moveTo>
                <a:cubicBezTo>
                  <a:pt x="618" y="232"/>
                  <a:pt x="623" y="228"/>
                  <a:pt x="624" y="228"/>
                </a:cubicBezTo>
                <a:cubicBezTo>
                  <a:pt x="628" y="226"/>
                  <a:pt x="620" y="234"/>
                  <a:pt x="619" y="233"/>
                </a:cubicBezTo>
                <a:close/>
                <a:moveTo>
                  <a:pt x="625" y="235"/>
                </a:moveTo>
                <a:cubicBezTo>
                  <a:pt x="625" y="236"/>
                  <a:pt x="623" y="237"/>
                  <a:pt x="623" y="236"/>
                </a:cubicBezTo>
                <a:cubicBezTo>
                  <a:pt x="622" y="235"/>
                  <a:pt x="624" y="234"/>
                  <a:pt x="625" y="235"/>
                </a:cubicBezTo>
                <a:close/>
                <a:moveTo>
                  <a:pt x="622" y="357"/>
                </a:move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lose/>
                <a:moveTo>
                  <a:pt x="608" y="328"/>
                </a:moveTo>
                <a:cubicBezTo>
                  <a:pt x="608" y="327"/>
                  <a:pt x="611" y="326"/>
                  <a:pt x="612" y="324"/>
                </a:cubicBezTo>
                <a:cubicBezTo>
                  <a:pt x="615" y="321"/>
                  <a:pt x="617" y="315"/>
                  <a:pt x="621" y="313"/>
                </a:cubicBezTo>
                <a:cubicBezTo>
                  <a:pt x="621" y="317"/>
                  <a:pt x="615" y="319"/>
                  <a:pt x="614" y="322"/>
                </a:cubicBezTo>
                <a:cubicBezTo>
                  <a:pt x="613" y="324"/>
                  <a:pt x="610" y="329"/>
                  <a:pt x="607" y="331"/>
                </a:cubicBezTo>
                <a:cubicBezTo>
                  <a:pt x="607" y="331"/>
                  <a:pt x="607" y="333"/>
                  <a:pt x="606" y="332"/>
                </a:cubicBezTo>
                <a:cubicBezTo>
                  <a:pt x="605" y="331"/>
                  <a:pt x="608" y="328"/>
                  <a:pt x="608" y="328"/>
                </a:cubicBezTo>
                <a:close/>
                <a:moveTo>
                  <a:pt x="605" y="271"/>
                </a:moveTo>
                <a:cubicBezTo>
                  <a:pt x="604" y="270"/>
                  <a:pt x="605" y="269"/>
                  <a:pt x="605" y="269"/>
                </a:cubicBezTo>
                <a:cubicBezTo>
                  <a:pt x="608" y="267"/>
                  <a:pt x="606" y="272"/>
                  <a:pt x="605" y="271"/>
                </a:cubicBezTo>
                <a:close/>
                <a:moveTo>
                  <a:pt x="609" y="243"/>
                </a:moveTo>
                <a:cubicBezTo>
                  <a:pt x="608" y="242"/>
                  <a:pt x="610" y="241"/>
                  <a:pt x="611" y="243"/>
                </a:cubicBezTo>
                <a:cubicBezTo>
                  <a:pt x="611" y="244"/>
                  <a:pt x="609" y="244"/>
                  <a:pt x="609" y="243"/>
                </a:cubicBezTo>
                <a:close/>
                <a:moveTo>
                  <a:pt x="611" y="305"/>
                </a:moveTo>
                <a:cubicBezTo>
                  <a:pt x="610" y="306"/>
                  <a:pt x="611" y="304"/>
                  <a:pt x="611" y="305"/>
                </a:cubicBezTo>
                <a:close/>
                <a:moveTo>
                  <a:pt x="613" y="298"/>
                </a:moveTo>
                <a:cubicBezTo>
                  <a:pt x="613" y="298"/>
                  <a:pt x="613" y="298"/>
                  <a:pt x="613" y="298"/>
                </a:cubicBezTo>
                <a:cubicBezTo>
                  <a:pt x="614" y="295"/>
                  <a:pt x="613" y="300"/>
                  <a:pt x="613" y="298"/>
                </a:cubicBezTo>
                <a:close/>
                <a:moveTo>
                  <a:pt x="617" y="261"/>
                </a:moveTo>
                <a:cubicBezTo>
                  <a:pt x="617" y="262"/>
                  <a:pt x="616" y="262"/>
                  <a:pt x="615" y="263"/>
                </a:cubicBezTo>
                <a:cubicBezTo>
                  <a:pt x="615" y="262"/>
                  <a:pt x="616" y="261"/>
                  <a:pt x="617" y="261"/>
                </a:cubicBezTo>
                <a:close/>
                <a:moveTo>
                  <a:pt x="616" y="238"/>
                </a:moveTo>
                <a:cubicBezTo>
                  <a:pt x="616" y="238"/>
                  <a:pt x="616" y="239"/>
                  <a:pt x="615" y="239"/>
                </a:cubicBezTo>
                <a:cubicBezTo>
                  <a:pt x="615" y="238"/>
                  <a:pt x="615" y="238"/>
                  <a:pt x="616" y="238"/>
                </a:cubicBezTo>
                <a:close/>
                <a:moveTo>
                  <a:pt x="618" y="309"/>
                </a:moveTo>
                <a:cubicBezTo>
                  <a:pt x="618" y="309"/>
                  <a:pt x="618" y="308"/>
                  <a:pt x="618" y="308"/>
                </a:cubicBezTo>
                <a:cubicBezTo>
                  <a:pt x="619" y="306"/>
                  <a:pt x="618" y="311"/>
                  <a:pt x="618" y="309"/>
                </a:cubicBezTo>
                <a:close/>
                <a:moveTo>
                  <a:pt x="618" y="295"/>
                </a:moveTo>
                <a:cubicBezTo>
                  <a:pt x="619" y="293"/>
                  <a:pt x="618" y="296"/>
                  <a:pt x="618" y="295"/>
                </a:cubicBezTo>
                <a:close/>
                <a:moveTo>
                  <a:pt x="620" y="301"/>
                </a:moveTo>
                <a:cubicBezTo>
                  <a:pt x="619" y="302"/>
                  <a:pt x="621" y="300"/>
                  <a:pt x="620" y="301"/>
                </a:cubicBezTo>
                <a:close/>
                <a:moveTo>
                  <a:pt x="621" y="333"/>
                </a:moveTo>
                <a:cubicBezTo>
                  <a:pt x="620" y="335"/>
                  <a:pt x="619" y="336"/>
                  <a:pt x="618" y="337"/>
                </a:cubicBezTo>
                <a:cubicBezTo>
                  <a:pt x="619" y="336"/>
                  <a:pt x="620" y="334"/>
                  <a:pt x="621" y="333"/>
                </a:cubicBezTo>
                <a:close/>
                <a:moveTo>
                  <a:pt x="622" y="194"/>
                </a:moveTo>
                <a:cubicBezTo>
                  <a:pt x="621" y="194"/>
                  <a:pt x="622" y="192"/>
                  <a:pt x="623" y="193"/>
                </a:cubicBezTo>
                <a:cubicBezTo>
                  <a:pt x="623" y="194"/>
                  <a:pt x="622" y="195"/>
                  <a:pt x="622" y="194"/>
                </a:cubicBezTo>
                <a:close/>
                <a:moveTo>
                  <a:pt x="619" y="192"/>
                </a:moveTo>
                <a:cubicBezTo>
                  <a:pt x="619" y="192"/>
                  <a:pt x="619" y="192"/>
                  <a:pt x="620" y="191"/>
                </a:cubicBezTo>
                <a:cubicBezTo>
                  <a:pt x="620" y="192"/>
                  <a:pt x="620" y="192"/>
                  <a:pt x="620" y="192"/>
                </a:cubicBezTo>
                <a:cubicBezTo>
                  <a:pt x="621" y="191"/>
                  <a:pt x="622" y="190"/>
                  <a:pt x="623" y="190"/>
                </a:cubicBezTo>
                <a:cubicBezTo>
                  <a:pt x="622" y="192"/>
                  <a:pt x="620" y="193"/>
                  <a:pt x="617" y="194"/>
                </a:cubicBezTo>
                <a:cubicBezTo>
                  <a:pt x="618" y="193"/>
                  <a:pt x="618" y="193"/>
                  <a:pt x="619" y="192"/>
                </a:cubicBezTo>
                <a:close/>
                <a:moveTo>
                  <a:pt x="615" y="194"/>
                </a:moveTo>
                <a:cubicBezTo>
                  <a:pt x="616" y="194"/>
                  <a:pt x="617" y="193"/>
                  <a:pt x="617" y="194"/>
                </a:cubicBezTo>
                <a:cubicBezTo>
                  <a:pt x="618" y="195"/>
                  <a:pt x="613" y="196"/>
                  <a:pt x="615" y="194"/>
                </a:cubicBezTo>
                <a:close/>
                <a:moveTo>
                  <a:pt x="612" y="214"/>
                </a:moveTo>
                <a:cubicBezTo>
                  <a:pt x="613" y="215"/>
                  <a:pt x="612" y="215"/>
                  <a:pt x="611" y="214"/>
                </a:cubicBezTo>
                <a:cubicBezTo>
                  <a:pt x="611" y="214"/>
                  <a:pt x="612" y="213"/>
                  <a:pt x="612" y="214"/>
                </a:cubicBezTo>
                <a:close/>
                <a:moveTo>
                  <a:pt x="609" y="203"/>
                </a:moveTo>
                <a:cubicBezTo>
                  <a:pt x="611" y="201"/>
                  <a:pt x="611" y="205"/>
                  <a:pt x="609" y="205"/>
                </a:cubicBezTo>
                <a:cubicBezTo>
                  <a:pt x="609" y="204"/>
                  <a:pt x="609" y="204"/>
                  <a:pt x="609" y="203"/>
                </a:cubicBezTo>
                <a:close/>
                <a:moveTo>
                  <a:pt x="609" y="219"/>
                </a:moveTo>
                <a:cubicBezTo>
                  <a:pt x="612" y="218"/>
                  <a:pt x="616" y="215"/>
                  <a:pt x="620" y="214"/>
                </a:cubicBezTo>
                <a:cubicBezTo>
                  <a:pt x="617" y="216"/>
                  <a:pt x="611" y="220"/>
                  <a:pt x="608" y="221"/>
                </a:cubicBezTo>
                <a:cubicBezTo>
                  <a:pt x="609" y="221"/>
                  <a:pt x="607" y="222"/>
                  <a:pt x="607" y="221"/>
                </a:cubicBezTo>
                <a:cubicBezTo>
                  <a:pt x="606" y="220"/>
                  <a:pt x="609" y="220"/>
                  <a:pt x="609" y="219"/>
                </a:cubicBezTo>
                <a:close/>
                <a:moveTo>
                  <a:pt x="610" y="253"/>
                </a:moveTo>
                <a:cubicBezTo>
                  <a:pt x="610" y="255"/>
                  <a:pt x="605" y="256"/>
                  <a:pt x="605" y="255"/>
                </a:cubicBezTo>
                <a:cubicBezTo>
                  <a:pt x="604" y="252"/>
                  <a:pt x="610" y="249"/>
                  <a:pt x="610" y="253"/>
                </a:cubicBezTo>
                <a:close/>
                <a:moveTo>
                  <a:pt x="602" y="194"/>
                </a:moveTo>
                <a:cubicBezTo>
                  <a:pt x="602" y="194"/>
                  <a:pt x="603" y="194"/>
                  <a:pt x="603" y="194"/>
                </a:cubicBezTo>
                <a:cubicBezTo>
                  <a:pt x="604" y="196"/>
                  <a:pt x="601" y="196"/>
                  <a:pt x="602" y="194"/>
                </a:cubicBezTo>
                <a:close/>
                <a:moveTo>
                  <a:pt x="604" y="256"/>
                </a:moveTo>
                <a:cubicBezTo>
                  <a:pt x="604" y="257"/>
                  <a:pt x="606" y="258"/>
                  <a:pt x="606" y="259"/>
                </a:cubicBezTo>
                <a:cubicBezTo>
                  <a:pt x="605" y="261"/>
                  <a:pt x="604" y="259"/>
                  <a:pt x="603" y="260"/>
                </a:cubicBezTo>
                <a:cubicBezTo>
                  <a:pt x="601" y="262"/>
                  <a:pt x="602" y="267"/>
                  <a:pt x="600" y="270"/>
                </a:cubicBezTo>
                <a:cubicBezTo>
                  <a:pt x="600" y="265"/>
                  <a:pt x="602" y="261"/>
                  <a:pt x="604" y="256"/>
                </a:cubicBezTo>
                <a:close/>
                <a:moveTo>
                  <a:pt x="600" y="272"/>
                </a:moveTo>
                <a:cubicBezTo>
                  <a:pt x="600" y="271"/>
                  <a:pt x="602" y="269"/>
                  <a:pt x="603" y="271"/>
                </a:cubicBezTo>
                <a:cubicBezTo>
                  <a:pt x="603" y="273"/>
                  <a:pt x="601" y="273"/>
                  <a:pt x="600" y="272"/>
                </a:cubicBezTo>
                <a:close/>
                <a:moveTo>
                  <a:pt x="601" y="310"/>
                </a:moveTo>
                <a:cubicBezTo>
                  <a:pt x="600" y="310"/>
                  <a:pt x="601" y="310"/>
                  <a:pt x="601" y="310"/>
                </a:cubicBezTo>
                <a:cubicBezTo>
                  <a:pt x="602" y="310"/>
                  <a:pt x="601" y="310"/>
                  <a:pt x="601" y="310"/>
                </a:cubicBezTo>
                <a:close/>
                <a:moveTo>
                  <a:pt x="602" y="303"/>
                </a:moveTo>
                <a:cubicBezTo>
                  <a:pt x="602" y="302"/>
                  <a:pt x="603" y="302"/>
                  <a:pt x="603" y="302"/>
                </a:cubicBezTo>
                <a:cubicBezTo>
                  <a:pt x="604" y="302"/>
                  <a:pt x="602" y="304"/>
                  <a:pt x="602" y="303"/>
                </a:cubicBezTo>
                <a:close/>
                <a:moveTo>
                  <a:pt x="607" y="416"/>
                </a:moveTo>
                <a:cubicBezTo>
                  <a:pt x="607" y="415"/>
                  <a:pt x="607" y="415"/>
                  <a:pt x="608" y="414"/>
                </a:cubicBezTo>
                <a:cubicBezTo>
                  <a:pt x="607" y="415"/>
                  <a:pt x="607" y="416"/>
                  <a:pt x="607" y="416"/>
                </a:cubicBezTo>
                <a:close/>
                <a:moveTo>
                  <a:pt x="608" y="393"/>
                </a:moveTo>
                <a:cubicBezTo>
                  <a:pt x="608" y="392"/>
                  <a:pt x="609" y="391"/>
                  <a:pt x="610" y="390"/>
                </a:cubicBezTo>
                <a:cubicBezTo>
                  <a:pt x="610" y="390"/>
                  <a:pt x="609" y="392"/>
                  <a:pt x="608" y="393"/>
                </a:cubicBezTo>
                <a:close/>
                <a:moveTo>
                  <a:pt x="600" y="353"/>
                </a:moveTo>
                <a:cubicBezTo>
                  <a:pt x="601" y="350"/>
                  <a:pt x="607" y="346"/>
                  <a:pt x="610" y="343"/>
                </a:cubicBezTo>
                <a:cubicBezTo>
                  <a:pt x="608" y="347"/>
                  <a:pt x="603" y="350"/>
                  <a:pt x="600" y="353"/>
                </a:cubicBezTo>
                <a:close/>
                <a:moveTo>
                  <a:pt x="611" y="388"/>
                </a:moveTo>
                <a:cubicBezTo>
                  <a:pt x="610" y="388"/>
                  <a:pt x="612" y="387"/>
                  <a:pt x="611" y="388"/>
                </a:cubicBezTo>
                <a:close/>
                <a:moveTo>
                  <a:pt x="612" y="387"/>
                </a:moveTo>
                <a:cubicBezTo>
                  <a:pt x="612" y="386"/>
                  <a:pt x="612" y="386"/>
                  <a:pt x="613" y="385"/>
                </a:cubicBezTo>
                <a:cubicBezTo>
                  <a:pt x="613" y="386"/>
                  <a:pt x="612" y="387"/>
                  <a:pt x="612" y="387"/>
                </a:cubicBezTo>
                <a:close/>
                <a:moveTo>
                  <a:pt x="611" y="344"/>
                </a:moveTo>
                <a:cubicBezTo>
                  <a:pt x="612" y="342"/>
                  <a:pt x="613" y="341"/>
                  <a:pt x="616" y="339"/>
                </a:cubicBezTo>
                <a:cubicBezTo>
                  <a:pt x="614" y="341"/>
                  <a:pt x="613" y="343"/>
                  <a:pt x="611" y="344"/>
                </a:cubicBezTo>
                <a:close/>
                <a:moveTo>
                  <a:pt x="615" y="357"/>
                </a:moveTo>
                <a:cubicBezTo>
                  <a:pt x="615" y="357"/>
                  <a:pt x="616" y="356"/>
                  <a:pt x="617" y="356"/>
                </a:cubicBezTo>
                <a:cubicBezTo>
                  <a:pt x="616" y="357"/>
                  <a:pt x="615" y="357"/>
                  <a:pt x="615" y="357"/>
                </a:cubicBezTo>
                <a:close/>
                <a:moveTo>
                  <a:pt x="617" y="539"/>
                </a:moveTo>
                <a:cubicBezTo>
                  <a:pt x="616" y="539"/>
                  <a:pt x="617" y="537"/>
                  <a:pt x="618" y="537"/>
                </a:cubicBezTo>
                <a:cubicBezTo>
                  <a:pt x="618" y="538"/>
                  <a:pt x="617" y="539"/>
                  <a:pt x="617" y="539"/>
                </a:cubicBezTo>
                <a:close/>
                <a:moveTo>
                  <a:pt x="618" y="445"/>
                </a:moveTo>
                <a:cubicBezTo>
                  <a:pt x="617" y="445"/>
                  <a:pt x="618" y="443"/>
                  <a:pt x="618" y="443"/>
                </a:cubicBezTo>
                <a:cubicBezTo>
                  <a:pt x="620" y="441"/>
                  <a:pt x="619" y="446"/>
                  <a:pt x="618" y="445"/>
                </a:cubicBezTo>
                <a:close/>
                <a:moveTo>
                  <a:pt x="619" y="557"/>
                </a:moveTo>
                <a:cubicBezTo>
                  <a:pt x="619" y="557"/>
                  <a:pt x="619" y="556"/>
                  <a:pt x="619" y="557"/>
                </a:cubicBezTo>
                <a:cubicBezTo>
                  <a:pt x="620" y="557"/>
                  <a:pt x="619" y="558"/>
                  <a:pt x="619" y="557"/>
                </a:cubicBezTo>
                <a:close/>
                <a:moveTo>
                  <a:pt x="619" y="347"/>
                </a:moveTo>
                <a:cubicBezTo>
                  <a:pt x="618" y="347"/>
                  <a:pt x="619" y="345"/>
                  <a:pt x="619" y="345"/>
                </a:cubicBezTo>
                <a:cubicBezTo>
                  <a:pt x="621" y="342"/>
                  <a:pt x="620" y="348"/>
                  <a:pt x="619" y="347"/>
                </a:cubicBezTo>
                <a:close/>
                <a:moveTo>
                  <a:pt x="620" y="435"/>
                </a:moveTo>
                <a:cubicBezTo>
                  <a:pt x="621" y="434"/>
                  <a:pt x="619" y="437"/>
                  <a:pt x="620" y="435"/>
                </a:cubicBezTo>
                <a:close/>
                <a:moveTo>
                  <a:pt x="623" y="526"/>
                </a:moveTo>
                <a:cubicBezTo>
                  <a:pt x="624" y="527"/>
                  <a:pt x="622" y="529"/>
                  <a:pt x="621" y="530"/>
                </a:cubicBezTo>
                <a:cubicBezTo>
                  <a:pt x="621" y="529"/>
                  <a:pt x="623" y="527"/>
                  <a:pt x="623" y="526"/>
                </a:cubicBezTo>
                <a:close/>
                <a:moveTo>
                  <a:pt x="622" y="561"/>
                </a:moveTo>
                <a:cubicBezTo>
                  <a:pt x="621" y="560"/>
                  <a:pt x="622" y="558"/>
                  <a:pt x="622" y="558"/>
                </a:cubicBezTo>
                <a:cubicBezTo>
                  <a:pt x="625" y="555"/>
                  <a:pt x="624" y="562"/>
                  <a:pt x="622" y="561"/>
                </a:cubicBezTo>
                <a:close/>
                <a:moveTo>
                  <a:pt x="624" y="492"/>
                </a:moveTo>
                <a:cubicBezTo>
                  <a:pt x="624" y="490"/>
                  <a:pt x="623" y="493"/>
                  <a:pt x="624" y="492"/>
                </a:cubicBezTo>
                <a:close/>
                <a:moveTo>
                  <a:pt x="625" y="381"/>
                </a:moveTo>
                <a:cubicBezTo>
                  <a:pt x="625" y="381"/>
                  <a:pt x="624" y="381"/>
                  <a:pt x="624" y="381"/>
                </a:cubicBezTo>
                <a:cubicBezTo>
                  <a:pt x="625" y="379"/>
                  <a:pt x="626" y="381"/>
                  <a:pt x="625" y="381"/>
                </a:cubicBezTo>
                <a:close/>
                <a:moveTo>
                  <a:pt x="624" y="254"/>
                </a:moveTo>
                <a:cubicBezTo>
                  <a:pt x="624" y="254"/>
                  <a:pt x="625" y="253"/>
                  <a:pt x="625" y="253"/>
                </a:cubicBezTo>
                <a:cubicBezTo>
                  <a:pt x="626" y="252"/>
                  <a:pt x="625" y="255"/>
                  <a:pt x="624" y="254"/>
                </a:cubicBezTo>
                <a:close/>
                <a:moveTo>
                  <a:pt x="626" y="488"/>
                </a:moveTo>
                <a:cubicBezTo>
                  <a:pt x="626" y="488"/>
                  <a:pt x="627" y="486"/>
                  <a:pt x="627" y="486"/>
                </a:cubicBezTo>
                <a:cubicBezTo>
                  <a:pt x="627" y="487"/>
                  <a:pt x="626" y="487"/>
                  <a:pt x="626" y="488"/>
                </a:cubicBezTo>
                <a:close/>
                <a:moveTo>
                  <a:pt x="628" y="522"/>
                </a:moveTo>
                <a:cubicBezTo>
                  <a:pt x="626" y="521"/>
                  <a:pt x="628" y="521"/>
                  <a:pt x="628" y="522"/>
                </a:cubicBezTo>
                <a:close/>
                <a:moveTo>
                  <a:pt x="633" y="526"/>
                </a:moveTo>
                <a:cubicBezTo>
                  <a:pt x="634" y="528"/>
                  <a:pt x="631" y="529"/>
                  <a:pt x="633" y="526"/>
                </a:cubicBezTo>
                <a:close/>
                <a:moveTo>
                  <a:pt x="628" y="417"/>
                </a:moveTo>
                <a:cubicBezTo>
                  <a:pt x="630" y="415"/>
                  <a:pt x="631" y="410"/>
                  <a:pt x="634" y="409"/>
                </a:cubicBezTo>
                <a:cubicBezTo>
                  <a:pt x="633" y="409"/>
                  <a:pt x="631" y="417"/>
                  <a:pt x="628" y="417"/>
                </a:cubicBezTo>
                <a:close/>
                <a:moveTo>
                  <a:pt x="633" y="310"/>
                </a:moveTo>
                <a:cubicBezTo>
                  <a:pt x="632" y="309"/>
                  <a:pt x="634" y="305"/>
                  <a:pt x="634" y="305"/>
                </a:cubicBezTo>
                <a:cubicBezTo>
                  <a:pt x="638" y="302"/>
                  <a:pt x="636" y="311"/>
                  <a:pt x="633" y="310"/>
                </a:cubicBezTo>
                <a:close/>
                <a:moveTo>
                  <a:pt x="637" y="496"/>
                </a:moveTo>
                <a:cubicBezTo>
                  <a:pt x="636" y="497"/>
                  <a:pt x="637" y="495"/>
                  <a:pt x="637" y="496"/>
                </a:cubicBezTo>
                <a:close/>
                <a:moveTo>
                  <a:pt x="637" y="495"/>
                </a:moveTo>
                <a:cubicBezTo>
                  <a:pt x="635" y="495"/>
                  <a:pt x="637" y="490"/>
                  <a:pt x="638" y="490"/>
                </a:cubicBezTo>
                <a:cubicBezTo>
                  <a:pt x="640" y="489"/>
                  <a:pt x="639" y="496"/>
                  <a:pt x="637" y="495"/>
                </a:cubicBezTo>
                <a:close/>
                <a:moveTo>
                  <a:pt x="638" y="424"/>
                </a:move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lose/>
                <a:moveTo>
                  <a:pt x="634" y="368"/>
                </a:moveTo>
                <a:cubicBezTo>
                  <a:pt x="637" y="365"/>
                  <a:pt x="639" y="361"/>
                  <a:pt x="643" y="358"/>
                </a:cubicBezTo>
                <a:cubicBezTo>
                  <a:pt x="641" y="362"/>
                  <a:pt x="638" y="365"/>
                  <a:pt x="634" y="368"/>
                </a:cubicBezTo>
                <a:close/>
                <a:moveTo>
                  <a:pt x="641" y="395"/>
                </a:moveTo>
                <a:cubicBezTo>
                  <a:pt x="641" y="395"/>
                  <a:pt x="641" y="395"/>
                  <a:pt x="641" y="395"/>
                </a:cubicBezTo>
                <a:cubicBezTo>
                  <a:pt x="641" y="395"/>
                  <a:pt x="641" y="394"/>
                  <a:pt x="641" y="395"/>
                </a:cubicBezTo>
                <a:close/>
                <a:moveTo>
                  <a:pt x="640" y="430"/>
                </a:moveTo>
                <a:cubicBezTo>
                  <a:pt x="640" y="430"/>
                  <a:pt x="640" y="428"/>
                  <a:pt x="642" y="428"/>
                </a:cubicBezTo>
                <a:cubicBezTo>
                  <a:pt x="643" y="427"/>
                  <a:pt x="644" y="427"/>
                  <a:pt x="645" y="428"/>
                </a:cubicBezTo>
                <a:cubicBezTo>
                  <a:pt x="648" y="432"/>
                  <a:pt x="641" y="434"/>
                  <a:pt x="640" y="430"/>
                </a:cubicBezTo>
                <a:close/>
                <a:moveTo>
                  <a:pt x="645" y="387"/>
                </a:moveTo>
                <a:cubicBezTo>
                  <a:pt x="645" y="386"/>
                  <a:pt x="645" y="385"/>
                  <a:pt x="646" y="385"/>
                </a:cubicBezTo>
                <a:cubicBezTo>
                  <a:pt x="646" y="386"/>
                  <a:pt x="646" y="386"/>
                  <a:pt x="645" y="387"/>
                </a:cubicBezTo>
                <a:close/>
                <a:moveTo>
                  <a:pt x="647" y="552"/>
                </a:moveTo>
                <a:cubicBezTo>
                  <a:pt x="646" y="553"/>
                  <a:pt x="648" y="551"/>
                  <a:pt x="647" y="552"/>
                </a:cubicBezTo>
                <a:close/>
                <a:moveTo>
                  <a:pt x="647" y="429"/>
                </a:moveTo>
                <a:cubicBezTo>
                  <a:pt x="648" y="428"/>
                  <a:pt x="645" y="431"/>
                  <a:pt x="647" y="429"/>
                </a:cubicBezTo>
                <a:close/>
                <a:moveTo>
                  <a:pt x="646" y="388"/>
                </a:moveTo>
                <a:cubicBezTo>
                  <a:pt x="646" y="387"/>
                  <a:pt x="647" y="386"/>
                  <a:pt x="647" y="385"/>
                </a:cubicBezTo>
                <a:cubicBezTo>
                  <a:pt x="647" y="386"/>
                  <a:pt x="647" y="387"/>
                  <a:pt x="646" y="388"/>
                </a:cubicBezTo>
                <a:close/>
                <a:moveTo>
                  <a:pt x="646" y="385"/>
                </a:moveTo>
                <a:cubicBezTo>
                  <a:pt x="647" y="384"/>
                  <a:pt x="647" y="383"/>
                  <a:pt x="648" y="383"/>
                </a:cubicBezTo>
                <a:cubicBezTo>
                  <a:pt x="648" y="384"/>
                  <a:pt x="647" y="384"/>
                  <a:pt x="646" y="385"/>
                </a:cubicBezTo>
                <a:close/>
                <a:moveTo>
                  <a:pt x="647" y="345"/>
                </a:moveTo>
                <a:cubicBezTo>
                  <a:pt x="646" y="345"/>
                  <a:pt x="647" y="344"/>
                  <a:pt x="647" y="344"/>
                </a:cubicBezTo>
                <a:cubicBezTo>
                  <a:pt x="648" y="342"/>
                  <a:pt x="648" y="345"/>
                  <a:pt x="647" y="345"/>
                </a:cubicBezTo>
                <a:close/>
                <a:moveTo>
                  <a:pt x="648" y="529"/>
                </a:moveTo>
                <a:cubicBezTo>
                  <a:pt x="647" y="529"/>
                  <a:pt x="648" y="528"/>
                  <a:pt x="648" y="528"/>
                </a:cubicBezTo>
                <a:cubicBezTo>
                  <a:pt x="649" y="528"/>
                  <a:pt x="648" y="529"/>
                  <a:pt x="648" y="529"/>
                </a:cubicBezTo>
                <a:close/>
                <a:moveTo>
                  <a:pt x="648" y="382"/>
                </a:moveTo>
                <a:cubicBezTo>
                  <a:pt x="649" y="381"/>
                  <a:pt x="647" y="383"/>
                  <a:pt x="648" y="382"/>
                </a:cubicBezTo>
                <a:close/>
                <a:moveTo>
                  <a:pt x="650" y="335"/>
                </a:moveTo>
                <a:cubicBezTo>
                  <a:pt x="647" y="337"/>
                  <a:pt x="652" y="333"/>
                  <a:pt x="650" y="335"/>
                </a:cubicBezTo>
                <a:close/>
                <a:moveTo>
                  <a:pt x="651" y="357"/>
                </a:moveTo>
                <a:cubicBezTo>
                  <a:pt x="651" y="355"/>
                  <a:pt x="650" y="358"/>
                  <a:pt x="651" y="357"/>
                </a:cubicBezTo>
                <a:close/>
                <a:moveTo>
                  <a:pt x="651" y="299"/>
                </a:moveTo>
                <a:cubicBezTo>
                  <a:pt x="649" y="299"/>
                  <a:pt x="651" y="296"/>
                  <a:pt x="652" y="298"/>
                </a:cubicBezTo>
                <a:cubicBezTo>
                  <a:pt x="652" y="298"/>
                  <a:pt x="651" y="299"/>
                  <a:pt x="651" y="299"/>
                </a:cubicBezTo>
                <a:close/>
                <a:moveTo>
                  <a:pt x="651" y="291"/>
                </a:moveTo>
                <a:cubicBezTo>
                  <a:pt x="651" y="291"/>
                  <a:pt x="652" y="291"/>
                  <a:pt x="652" y="291"/>
                </a:cubicBezTo>
                <a:cubicBezTo>
                  <a:pt x="652" y="292"/>
                  <a:pt x="651" y="291"/>
                  <a:pt x="651" y="291"/>
                </a:cubicBezTo>
                <a:close/>
                <a:moveTo>
                  <a:pt x="652" y="333"/>
                </a:moveTo>
                <a:cubicBezTo>
                  <a:pt x="652" y="331"/>
                  <a:pt x="654" y="331"/>
                  <a:pt x="654" y="330"/>
                </a:cubicBezTo>
                <a:cubicBezTo>
                  <a:pt x="654" y="331"/>
                  <a:pt x="653" y="332"/>
                  <a:pt x="652" y="333"/>
                </a:cubicBezTo>
                <a:close/>
                <a:moveTo>
                  <a:pt x="654" y="302"/>
                </a:moveTo>
                <a:cubicBezTo>
                  <a:pt x="655" y="302"/>
                  <a:pt x="654" y="302"/>
                  <a:pt x="654" y="302"/>
                </a:cubicBezTo>
                <a:cubicBezTo>
                  <a:pt x="655" y="304"/>
                  <a:pt x="652" y="302"/>
                  <a:pt x="654" y="302"/>
                </a:cubicBezTo>
                <a:close/>
                <a:moveTo>
                  <a:pt x="654" y="370"/>
                </a:moveTo>
                <a:cubicBezTo>
                  <a:pt x="654" y="369"/>
                  <a:pt x="656" y="369"/>
                  <a:pt x="655" y="370"/>
                </a:cubicBezTo>
                <a:cubicBezTo>
                  <a:pt x="655" y="370"/>
                  <a:pt x="654" y="370"/>
                  <a:pt x="654" y="370"/>
                </a:cubicBezTo>
                <a:close/>
                <a:moveTo>
                  <a:pt x="648" y="287"/>
                </a:moveTo>
                <a:cubicBezTo>
                  <a:pt x="651" y="284"/>
                  <a:pt x="653" y="280"/>
                  <a:pt x="658" y="277"/>
                </a:cubicBezTo>
                <a:cubicBezTo>
                  <a:pt x="657" y="281"/>
                  <a:pt x="652" y="285"/>
                  <a:pt x="648" y="287"/>
                </a:cubicBezTo>
                <a:close/>
                <a:moveTo>
                  <a:pt x="657" y="286"/>
                </a:moveTo>
                <a:cubicBezTo>
                  <a:pt x="657" y="285"/>
                  <a:pt x="658" y="285"/>
                  <a:pt x="658" y="285"/>
                </a:cubicBezTo>
                <a:cubicBezTo>
                  <a:pt x="659" y="286"/>
                  <a:pt x="656" y="287"/>
                  <a:pt x="657" y="286"/>
                </a:cubicBezTo>
                <a:close/>
                <a:moveTo>
                  <a:pt x="658" y="318"/>
                </a:moveTo>
                <a:cubicBezTo>
                  <a:pt x="659" y="317"/>
                  <a:pt x="657" y="319"/>
                  <a:pt x="658" y="318"/>
                </a:cubicBezTo>
                <a:close/>
                <a:moveTo>
                  <a:pt x="658" y="348"/>
                </a:moveTo>
                <a:cubicBezTo>
                  <a:pt x="659" y="347"/>
                  <a:pt x="656" y="349"/>
                  <a:pt x="658" y="348"/>
                </a:cubicBezTo>
                <a:close/>
                <a:moveTo>
                  <a:pt x="658" y="477"/>
                </a:moveTo>
                <a:cubicBezTo>
                  <a:pt x="658" y="476"/>
                  <a:pt x="658" y="476"/>
                  <a:pt x="658" y="476"/>
                </a:cubicBezTo>
                <a:cubicBezTo>
                  <a:pt x="659" y="474"/>
                  <a:pt x="660" y="477"/>
                  <a:pt x="658" y="477"/>
                </a:cubicBezTo>
                <a:close/>
                <a:moveTo>
                  <a:pt x="658" y="376"/>
                </a:moveTo>
                <a:cubicBezTo>
                  <a:pt x="657" y="375"/>
                  <a:pt x="658" y="373"/>
                  <a:pt x="658" y="373"/>
                </a:cubicBezTo>
                <a:cubicBezTo>
                  <a:pt x="661" y="371"/>
                  <a:pt x="661" y="376"/>
                  <a:pt x="658" y="376"/>
                </a:cubicBezTo>
                <a:close/>
                <a:moveTo>
                  <a:pt x="660" y="413"/>
                </a:moveTo>
                <a:cubicBezTo>
                  <a:pt x="660" y="412"/>
                  <a:pt x="661" y="412"/>
                  <a:pt x="660" y="413"/>
                </a:cubicBezTo>
                <a:close/>
                <a:moveTo>
                  <a:pt x="658" y="347"/>
                </a:moveTo>
                <a:cubicBezTo>
                  <a:pt x="659" y="345"/>
                  <a:pt x="660" y="343"/>
                  <a:pt x="662" y="342"/>
                </a:cubicBezTo>
                <a:cubicBezTo>
                  <a:pt x="662" y="342"/>
                  <a:pt x="660" y="346"/>
                  <a:pt x="658" y="347"/>
                </a:cubicBezTo>
                <a:close/>
                <a:moveTo>
                  <a:pt x="663" y="312"/>
                </a:moveTo>
                <a:cubicBezTo>
                  <a:pt x="663" y="312"/>
                  <a:pt x="664" y="313"/>
                  <a:pt x="663" y="313"/>
                </a:cubicBezTo>
                <a:cubicBezTo>
                  <a:pt x="662" y="314"/>
                  <a:pt x="661" y="312"/>
                  <a:pt x="662" y="312"/>
                </a:cubicBezTo>
                <a:cubicBezTo>
                  <a:pt x="662" y="312"/>
                  <a:pt x="662" y="312"/>
                  <a:pt x="662" y="312"/>
                </a:cubicBezTo>
                <a:cubicBezTo>
                  <a:pt x="662" y="311"/>
                  <a:pt x="662" y="311"/>
                  <a:pt x="661" y="311"/>
                </a:cubicBezTo>
                <a:cubicBezTo>
                  <a:pt x="660" y="310"/>
                  <a:pt x="664" y="308"/>
                  <a:pt x="664" y="310"/>
                </a:cubicBezTo>
                <a:cubicBezTo>
                  <a:pt x="664" y="311"/>
                  <a:pt x="664" y="311"/>
                  <a:pt x="663" y="312"/>
                </a:cubicBezTo>
                <a:close/>
                <a:moveTo>
                  <a:pt x="662" y="277"/>
                </a:moveTo>
                <a:cubicBezTo>
                  <a:pt x="661" y="279"/>
                  <a:pt x="662" y="276"/>
                  <a:pt x="662" y="277"/>
                </a:cubicBezTo>
                <a:close/>
                <a:moveTo>
                  <a:pt x="662" y="261"/>
                </a:moveTo>
                <a:cubicBezTo>
                  <a:pt x="662" y="261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ubicBezTo>
                  <a:pt x="662" y="260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lose/>
                <a:moveTo>
                  <a:pt x="664" y="309"/>
                </a:moveTo>
                <a:cubicBezTo>
                  <a:pt x="663" y="309"/>
                  <a:pt x="663" y="308"/>
                  <a:pt x="664" y="308"/>
                </a:cubicBezTo>
                <a:cubicBezTo>
                  <a:pt x="664" y="307"/>
                  <a:pt x="665" y="309"/>
                  <a:pt x="664" y="309"/>
                </a:cubicBezTo>
                <a:close/>
                <a:moveTo>
                  <a:pt x="664" y="258"/>
                </a:moveTo>
                <a:cubicBezTo>
                  <a:pt x="664" y="260"/>
                  <a:pt x="662" y="259"/>
                  <a:pt x="664" y="258"/>
                </a:cubicBezTo>
                <a:close/>
                <a:moveTo>
                  <a:pt x="665" y="262"/>
                </a:moveTo>
                <a:cubicBezTo>
                  <a:pt x="663" y="263"/>
                  <a:pt x="666" y="260"/>
                  <a:pt x="665" y="262"/>
                </a:cubicBezTo>
                <a:close/>
                <a:moveTo>
                  <a:pt x="663" y="233"/>
                </a:moveTo>
                <a:cubicBezTo>
                  <a:pt x="665" y="234"/>
                  <a:pt x="663" y="240"/>
                  <a:pt x="660" y="239"/>
                </a:cubicBezTo>
                <a:cubicBezTo>
                  <a:pt x="657" y="239"/>
                  <a:pt x="659" y="230"/>
                  <a:pt x="663" y="233"/>
                </a:cubicBezTo>
                <a:cubicBezTo>
                  <a:pt x="662" y="232"/>
                  <a:pt x="662" y="229"/>
                  <a:pt x="664" y="230"/>
                </a:cubicBezTo>
                <a:cubicBezTo>
                  <a:pt x="666" y="230"/>
                  <a:pt x="665" y="234"/>
                  <a:pt x="663" y="233"/>
                </a:cubicBezTo>
                <a:close/>
                <a:moveTo>
                  <a:pt x="665" y="341"/>
                </a:moveTo>
                <a:cubicBezTo>
                  <a:pt x="665" y="340"/>
                  <a:pt x="667" y="338"/>
                  <a:pt x="668" y="337"/>
                </a:cubicBezTo>
                <a:cubicBezTo>
                  <a:pt x="667" y="339"/>
                  <a:pt x="667" y="340"/>
                  <a:pt x="665" y="341"/>
                </a:cubicBezTo>
                <a:close/>
                <a:moveTo>
                  <a:pt x="668" y="481"/>
                </a:moveTo>
                <a:cubicBezTo>
                  <a:pt x="668" y="481"/>
                  <a:pt x="668" y="480"/>
                  <a:pt x="668" y="481"/>
                </a:cubicBezTo>
                <a:cubicBezTo>
                  <a:pt x="669" y="481"/>
                  <a:pt x="668" y="482"/>
                  <a:pt x="668" y="481"/>
                </a:cubicBezTo>
                <a:close/>
                <a:moveTo>
                  <a:pt x="671" y="391"/>
                </a:moveTo>
                <a:cubicBezTo>
                  <a:pt x="671" y="390"/>
                  <a:pt x="672" y="389"/>
                  <a:pt x="672" y="388"/>
                </a:cubicBezTo>
                <a:cubicBezTo>
                  <a:pt x="673" y="389"/>
                  <a:pt x="672" y="391"/>
                  <a:pt x="671" y="391"/>
                </a:cubicBezTo>
                <a:close/>
                <a:moveTo>
                  <a:pt x="673" y="387"/>
                </a:moveTo>
                <a:cubicBezTo>
                  <a:pt x="673" y="385"/>
                  <a:pt x="675" y="383"/>
                  <a:pt x="675" y="381"/>
                </a:cubicBezTo>
                <a:cubicBezTo>
                  <a:pt x="676" y="383"/>
                  <a:pt x="674" y="385"/>
                  <a:pt x="673" y="387"/>
                </a:cubicBezTo>
                <a:close/>
                <a:moveTo>
                  <a:pt x="683" y="314"/>
                </a:moveTo>
                <a:cubicBezTo>
                  <a:pt x="681" y="318"/>
                  <a:pt x="678" y="322"/>
                  <a:pt x="676" y="326"/>
                </a:cubicBezTo>
                <a:cubicBezTo>
                  <a:pt x="678" y="322"/>
                  <a:pt x="679" y="317"/>
                  <a:pt x="683" y="314"/>
                </a:cubicBezTo>
                <a:close/>
                <a:moveTo>
                  <a:pt x="678" y="432"/>
                </a:moveTo>
                <a:cubicBezTo>
                  <a:pt x="678" y="434"/>
                  <a:pt x="676" y="433"/>
                  <a:pt x="678" y="432"/>
                </a:cubicBezTo>
                <a:close/>
                <a:moveTo>
                  <a:pt x="682" y="426"/>
                </a:moveTo>
                <a:cubicBezTo>
                  <a:pt x="681" y="426"/>
                  <a:pt x="681" y="425"/>
                  <a:pt x="682" y="424"/>
                </a:cubicBezTo>
                <a:cubicBezTo>
                  <a:pt x="683" y="423"/>
                  <a:pt x="684" y="427"/>
                  <a:pt x="682" y="426"/>
                </a:cubicBezTo>
                <a:close/>
                <a:moveTo>
                  <a:pt x="683" y="451"/>
                </a:moveTo>
                <a:cubicBezTo>
                  <a:pt x="683" y="450"/>
                  <a:pt x="685" y="451"/>
                  <a:pt x="683" y="451"/>
                </a:cubicBezTo>
                <a:close/>
                <a:moveTo>
                  <a:pt x="683" y="486"/>
                </a:moveTo>
                <a:cubicBezTo>
                  <a:pt x="684" y="486"/>
                  <a:pt x="682" y="487"/>
                  <a:pt x="683" y="486"/>
                </a:cubicBezTo>
                <a:close/>
                <a:moveTo>
                  <a:pt x="685" y="289"/>
                </a:moveTo>
                <a:cubicBezTo>
                  <a:pt x="686" y="289"/>
                  <a:pt x="684" y="290"/>
                  <a:pt x="684" y="290"/>
                </a:cubicBezTo>
                <a:cubicBezTo>
                  <a:pt x="684" y="290"/>
                  <a:pt x="685" y="290"/>
                  <a:pt x="685" y="289"/>
                </a:cubicBezTo>
                <a:close/>
                <a:moveTo>
                  <a:pt x="685" y="345"/>
                </a:moveTo>
                <a:cubicBezTo>
                  <a:pt x="684" y="344"/>
                  <a:pt x="685" y="344"/>
                  <a:pt x="685" y="343"/>
                </a:cubicBezTo>
                <a:cubicBezTo>
                  <a:pt x="686" y="343"/>
                  <a:pt x="685" y="345"/>
                  <a:pt x="685" y="345"/>
                </a:cubicBezTo>
                <a:close/>
                <a:moveTo>
                  <a:pt x="686" y="342"/>
                </a:moveTo>
                <a:cubicBezTo>
                  <a:pt x="685" y="341"/>
                  <a:pt x="686" y="341"/>
                  <a:pt x="686" y="340"/>
                </a:cubicBezTo>
                <a:cubicBezTo>
                  <a:pt x="687" y="340"/>
                  <a:pt x="686" y="342"/>
                  <a:pt x="686" y="342"/>
                </a:cubicBezTo>
                <a:close/>
                <a:moveTo>
                  <a:pt x="687" y="340"/>
                </a:moveTo>
                <a:cubicBezTo>
                  <a:pt x="686" y="339"/>
                  <a:pt x="687" y="337"/>
                  <a:pt x="688" y="336"/>
                </a:cubicBezTo>
                <a:cubicBezTo>
                  <a:pt x="688" y="337"/>
                  <a:pt x="687" y="339"/>
                  <a:pt x="687" y="340"/>
                </a:cubicBezTo>
                <a:close/>
                <a:moveTo>
                  <a:pt x="688" y="329"/>
                </a:moveTo>
                <a:cubicBezTo>
                  <a:pt x="688" y="329"/>
                  <a:pt x="688" y="329"/>
                  <a:pt x="688" y="329"/>
                </a:cubicBezTo>
                <a:cubicBezTo>
                  <a:pt x="688" y="329"/>
                  <a:pt x="687" y="330"/>
                  <a:pt x="688" y="329"/>
                </a:cubicBezTo>
                <a:close/>
                <a:moveTo>
                  <a:pt x="688" y="284"/>
                </a:moveTo>
                <a:cubicBezTo>
                  <a:pt x="689" y="283"/>
                  <a:pt x="686" y="286"/>
                  <a:pt x="688" y="284"/>
                </a:cubicBezTo>
                <a:close/>
                <a:moveTo>
                  <a:pt x="693" y="290"/>
                </a:moveTo>
                <a:cubicBezTo>
                  <a:pt x="697" y="288"/>
                  <a:pt x="695" y="297"/>
                  <a:pt x="692" y="296"/>
                </a:cubicBezTo>
                <a:cubicBezTo>
                  <a:pt x="690" y="295"/>
                  <a:pt x="692" y="291"/>
                  <a:pt x="693" y="290"/>
                </a:cubicBezTo>
                <a:close/>
                <a:moveTo>
                  <a:pt x="691" y="285"/>
                </a:moveTo>
                <a:cubicBezTo>
                  <a:pt x="691" y="286"/>
                  <a:pt x="692" y="284"/>
                  <a:pt x="691" y="285"/>
                </a:cubicBezTo>
                <a:close/>
                <a:moveTo>
                  <a:pt x="689" y="285"/>
                </a:moveTo>
                <a:cubicBezTo>
                  <a:pt x="690" y="285"/>
                  <a:pt x="690" y="284"/>
                  <a:pt x="691" y="284"/>
                </a:cubicBezTo>
                <a:cubicBezTo>
                  <a:pt x="693" y="285"/>
                  <a:pt x="688" y="288"/>
                  <a:pt x="689" y="285"/>
                </a:cubicBezTo>
                <a:close/>
                <a:moveTo>
                  <a:pt x="689" y="316"/>
                </a:moveTo>
                <a:cubicBezTo>
                  <a:pt x="690" y="317"/>
                  <a:pt x="688" y="316"/>
                  <a:pt x="689" y="316"/>
                </a:cubicBezTo>
                <a:close/>
                <a:moveTo>
                  <a:pt x="689" y="395"/>
                </a:moveTo>
                <a:cubicBezTo>
                  <a:pt x="689" y="395"/>
                  <a:pt x="689" y="394"/>
                  <a:pt x="689" y="394"/>
                </a:cubicBezTo>
                <a:cubicBezTo>
                  <a:pt x="690" y="394"/>
                  <a:pt x="688" y="397"/>
                  <a:pt x="689" y="395"/>
                </a:cubicBezTo>
                <a:close/>
                <a:moveTo>
                  <a:pt x="690" y="404"/>
                </a:moveTo>
                <a:cubicBezTo>
                  <a:pt x="690" y="403"/>
                  <a:pt x="691" y="404"/>
                  <a:pt x="691" y="404"/>
                </a:cubicBezTo>
                <a:cubicBezTo>
                  <a:pt x="691" y="405"/>
                  <a:pt x="689" y="405"/>
                  <a:pt x="690" y="404"/>
                </a:cubicBezTo>
                <a:close/>
                <a:moveTo>
                  <a:pt x="691" y="343"/>
                </a:moveTo>
                <a:cubicBezTo>
                  <a:pt x="691" y="342"/>
                  <a:pt x="691" y="341"/>
                  <a:pt x="691" y="341"/>
                </a:cubicBezTo>
                <a:cubicBezTo>
                  <a:pt x="692" y="340"/>
                  <a:pt x="692" y="343"/>
                  <a:pt x="691" y="343"/>
                </a:cubicBezTo>
                <a:close/>
                <a:moveTo>
                  <a:pt x="692" y="394"/>
                </a:moveTo>
                <a:cubicBezTo>
                  <a:pt x="691" y="395"/>
                  <a:pt x="693" y="393"/>
                  <a:pt x="692" y="394"/>
                </a:cubicBezTo>
                <a:close/>
                <a:moveTo>
                  <a:pt x="692" y="300"/>
                </a:moveTo>
                <a:cubicBezTo>
                  <a:pt x="690" y="300"/>
                  <a:pt x="691" y="299"/>
                  <a:pt x="692" y="298"/>
                </a:cubicBezTo>
                <a:cubicBezTo>
                  <a:pt x="693" y="297"/>
                  <a:pt x="693" y="300"/>
                  <a:pt x="692" y="300"/>
                </a:cubicBezTo>
                <a:close/>
                <a:moveTo>
                  <a:pt x="694" y="330"/>
                </a:moveTo>
                <a:cubicBezTo>
                  <a:pt x="695" y="329"/>
                  <a:pt x="695" y="332"/>
                  <a:pt x="694" y="331"/>
                </a:cubicBezTo>
                <a:cubicBezTo>
                  <a:pt x="693" y="331"/>
                  <a:pt x="694" y="330"/>
                  <a:pt x="694" y="330"/>
                </a:cubicBezTo>
                <a:close/>
                <a:moveTo>
                  <a:pt x="694" y="454"/>
                </a:moveTo>
                <a:cubicBezTo>
                  <a:pt x="694" y="454"/>
                  <a:pt x="694" y="454"/>
                  <a:pt x="695" y="454"/>
                </a:cubicBezTo>
                <a:cubicBezTo>
                  <a:pt x="696" y="454"/>
                  <a:pt x="693" y="455"/>
                  <a:pt x="694" y="454"/>
                </a:cubicBezTo>
                <a:close/>
                <a:moveTo>
                  <a:pt x="696" y="312"/>
                </a:moveTo>
                <a:cubicBezTo>
                  <a:pt x="694" y="313"/>
                  <a:pt x="694" y="308"/>
                  <a:pt x="695" y="307"/>
                </a:cubicBezTo>
                <a:cubicBezTo>
                  <a:pt x="700" y="304"/>
                  <a:pt x="697" y="312"/>
                  <a:pt x="696" y="312"/>
                </a:cubicBezTo>
                <a:close/>
                <a:moveTo>
                  <a:pt x="699" y="327"/>
                </a:moveTo>
                <a:cubicBezTo>
                  <a:pt x="699" y="327"/>
                  <a:pt x="700" y="326"/>
                  <a:pt x="700" y="326"/>
                </a:cubicBezTo>
                <a:cubicBezTo>
                  <a:pt x="702" y="327"/>
                  <a:pt x="698" y="329"/>
                  <a:pt x="699" y="327"/>
                </a:cubicBezTo>
                <a:close/>
                <a:moveTo>
                  <a:pt x="702" y="431"/>
                </a:moveTo>
                <a:cubicBezTo>
                  <a:pt x="702" y="430"/>
                  <a:pt x="704" y="429"/>
                  <a:pt x="704" y="428"/>
                </a:cubicBezTo>
                <a:cubicBezTo>
                  <a:pt x="704" y="429"/>
                  <a:pt x="704" y="431"/>
                  <a:pt x="702" y="431"/>
                </a:cubicBezTo>
                <a:close/>
                <a:moveTo>
                  <a:pt x="704" y="427"/>
                </a:moveTo>
                <a:cubicBezTo>
                  <a:pt x="705" y="425"/>
                  <a:pt x="705" y="423"/>
                  <a:pt x="706" y="421"/>
                </a:cubicBezTo>
                <a:cubicBezTo>
                  <a:pt x="707" y="422"/>
                  <a:pt x="705" y="426"/>
                  <a:pt x="704" y="427"/>
                </a:cubicBezTo>
                <a:close/>
                <a:moveTo>
                  <a:pt x="706" y="392"/>
                </a:moveTo>
                <a:cubicBezTo>
                  <a:pt x="706" y="393"/>
                  <a:pt x="706" y="393"/>
                  <a:pt x="706" y="392"/>
                </a:cubicBezTo>
                <a:close/>
                <a:moveTo>
                  <a:pt x="709" y="396"/>
                </a:moveTo>
                <a:cubicBezTo>
                  <a:pt x="710" y="397"/>
                  <a:pt x="708" y="397"/>
                  <a:pt x="709" y="396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258" name="Freeform 97">
            <a:extLst>
              <a:ext uri="{FF2B5EF4-FFF2-40B4-BE49-F238E27FC236}">
                <a16:creationId xmlns="" xmlns:a16="http://schemas.microsoft.com/office/drawing/2014/main" id="{4613E5B5-0B27-48DF-BD8C-728E373048A7}"/>
              </a:ext>
            </a:extLst>
          </p:cNvPr>
          <p:cNvSpPr>
            <a:spLocks noEditPoints="1"/>
          </p:cNvSpPr>
          <p:nvPr/>
        </p:nvSpPr>
        <p:spPr bwMode="auto">
          <a:xfrm>
            <a:off x="7379534" y="3907810"/>
            <a:ext cx="1604882" cy="1604882"/>
          </a:xfrm>
          <a:custGeom>
            <a:avLst/>
            <a:gdLst>
              <a:gd name="T0" fmla="*/ 677 w 714"/>
              <a:gd name="T1" fmla="*/ 212 h 715"/>
              <a:gd name="T2" fmla="*/ 626 w 714"/>
              <a:gd name="T3" fmla="*/ 179 h 715"/>
              <a:gd name="T4" fmla="*/ 573 w 714"/>
              <a:gd name="T5" fmla="*/ 139 h 715"/>
              <a:gd name="T6" fmla="*/ 553 w 714"/>
              <a:gd name="T7" fmla="*/ 94 h 715"/>
              <a:gd name="T8" fmla="*/ 516 w 714"/>
              <a:gd name="T9" fmla="*/ 53 h 715"/>
              <a:gd name="T10" fmla="*/ 421 w 714"/>
              <a:gd name="T11" fmla="*/ 60 h 715"/>
              <a:gd name="T12" fmla="*/ 429 w 714"/>
              <a:gd name="T13" fmla="*/ 26 h 715"/>
              <a:gd name="T14" fmla="*/ 22 w 714"/>
              <a:gd name="T15" fmla="*/ 436 h 715"/>
              <a:gd name="T16" fmla="*/ 39 w 714"/>
              <a:gd name="T17" fmla="*/ 451 h 715"/>
              <a:gd name="T18" fmla="*/ 60 w 714"/>
              <a:gd name="T19" fmla="*/ 465 h 715"/>
              <a:gd name="T20" fmla="*/ 108 w 714"/>
              <a:gd name="T21" fmla="*/ 446 h 715"/>
              <a:gd name="T22" fmla="*/ 102 w 714"/>
              <a:gd name="T23" fmla="*/ 508 h 715"/>
              <a:gd name="T24" fmla="*/ 146 w 714"/>
              <a:gd name="T25" fmla="*/ 552 h 715"/>
              <a:gd name="T26" fmla="*/ 190 w 714"/>
              <a:gd name="T27" fmla="*/ 596 h 715"/>
              <a:gd name="T28" fmla="*/ 214 w 714"/>
              <a:gd name="T29" fmla="*/ 647 h 715"/>
              <a:gd name="T30" fmla="*/ 296 w 714"/>
              <a:gd name="T31" fmla="*/ 709 h 715"/>
              <a:gd name="T32" fmla="*/ 684 w 714"/>
              <a:gd name="T33" fmla="*/ 227 h 715"/>
              <a:gd name="T34" fmla="*/ 434 w 714"/>
              <a:gd name="T35" fmla="*/ 24 h 715"/>
              <a:gd name="T36" fmla="*/ 9 w 714"/>
              <a:gd name="T37" fmla="*/ 371 h 715"/>
              <a:gd name="T38" fmla="*/ 37 w 714"/>
              <a:gd name="T39" fmla="*/ 344 h 715"/>
              <a:gd name="T40" fmla="*/ 45 w 714"/>
              <a:gd name="T41" fmla="*/ 192 h 715"/>
              <a:gd name="T42" fmla="*/ 64 w 714"/>
              <a:gd name="T43" fmla="*/ 419 h 715"/>
              <a:gd name="T44" fmla="*/ 84 w 714"/>
              <a:gd name="T45" fmla="*/ 332 h 715"/>
              <a:gd name="T46" fmla="*/ 87 w 714"/>
              <a:gd name="T47" fmla="*/ 502 h 715"/>
              <a:gd name="T48" fmla="*/ 234 w 714"/>
              <a:gd name="T49" fmla="*/ 679 h 715"/>
              <a:gd name="T50" fmla="*/ 287 w 714"/>
              <a:gd name="T51" fmla="*/ 641 h 715"/>
              <a:gd name="T52" fmla="*/ 303 w 714"/>
              <a:gd name="T53" fmla="*/ 67 h 715"/>
              <a:gd name="T54" fmla="*/ 270 w 714"/>
              <a:gd name="T55" fmla="*/ 571 h 715"/>
              <a:gd name="T56" fmla="*/ 246 w 714"/>
              <a:gd name="T57" fmla="*/ 640 h 715"/>
              <a:gd name="T58" fmla="*/ 249 w 714"/>
              <a:gd name="T59" fmla="*/ 640 h 715"/>
              <a:gd name="T60" fmla="*/ 227 w 714"/>
              <a:gd name="T61" fmla="*/ 527 h 715"/>
              <a:gd name="T62" fmla="*/ 209 w 714"/>
              <a:gd name="T63" fmla="*/ 468 h 715"/>
              <a:gd name="T64" fmla="*/ 178 w 714"/>
              <a:gd name="T65" fmla="*/ 383 h 715"/>
              <a:gd name="T66" fmla="*/ 165 w 714"/>
              <a:gd name="T67" fmla="*/ 345 h 715"/>
              <a:gd name="T68" fmla="*/ 156 w 714"/>
              <a:gd name="T69" fmla="*/ 435 h 715"/>
              <a:gd name="T70" fmla="*/ 132 w 714"/>
              <a:gd name="T71" fmla="*/ 280 h 715"/>
              <a:gd name="T72" fmla="*/ 123 w 714"/>
              <a:gd name="T73" fmla="*/ 474 h 715"/>
              <a:gd name="T74" fmla="*/ 154 w 714"/>
              <a:gd name="T75" fmla="*/ 484 h 715"/>
              <a:gd name="T76" fmla="*/ 189 w 714"/>
              <a:gd name="T77" fmla="*/ 398 h 715"/>
              <a:gd name="T78" fmla="*/ 235 w 714"/>
              <a:gd name="T79" fmla="*/ 592 h 715"/>
              <a:gd name="T80" fmla="*/ 277 w 714"/>
              <a:gd name="T81" fmla="*/ 700 h 715"/>
              <a:gd name="T82" fmla="*/ 335 w 714"/>
              <a:gd name="T83" fmla="*/ 131 h 715"/>
              <a:gd name="T84" fmla="*/ 522 w 714"/>
              <a:gd name="T85" fmla="*/ 181 h 715"/>
              <a:gd name="T86" fmla="*/ 480 w 714"/>
              <a:gd name="T87" fmla="*/ 95 h 715"/>
              <a:gd name="T88" fmla="*/ 502 w 714"/>
              <a:gd name="T89" fmla="*/ 132 h 715"/>
              <a:gd name="T90" fmla="*/ 509 w 714"/>
              <a:gd name="T91" fmla="*/ 36 h 715"/>
              <a:gd name="T92" fmla="*/ 462 w 714"/>
              <a:gd name="T93" fmla="*/ 49 h 715"/>
              <a:gd name="T94" fmla="*/ 406 w 714"/>
              <a:gd name="T95" fmla="*/ 125 h 715"/>
              <a:gd name="T96" fmla="*/ 372 w 714"/>
              <a:gd name="T97" fmla="*/ 610 h 715"/>
              <a:gd name="T98" fmla="*/ 398 w 714"/>
              <a:gd name="T99" fmla="*/ 679 h 715"/>
              <a:gd name="T100" fmla="*/ 454 w 714"/>
              <a:gd name="T101" fmla="*/ 644 h 715"/>
              <a:gd name="T102" fmla="*/ 469 w 714"/>
              <a:gd name="T103" fmla="*/ 168 h 715"/>
              <a:gd name="T104" fmla="*/ 522 w 714"/>
              <a:gd name="T105" fmla="*/ 285 h 715"/>
              <a:gd name="T106" fmla="*/ 585 w 714"/>
              <a:gd name="T107" fmla="*/ 213 h 715"/>
              <a:gd name="T108" fmla="*/ 544 w 714"/>
              <a:gd name="T109" fmla="*/ 168 h 715"/>
              <a:gd name="T110" fmla="*/ 573 w 714"/>
              <a:gd name="T111" fmla="*/ 236 h 715"/>
              <a:gd name="T112" fmla="*/ 595 w 714"/>
              <a:gd name="T113" fmla="*/ 470 h 715"/>
              <a:gd name="T114" fmla="*/ 651 w 714"/>
              <a:gd name="T115" fmla="*/ 272 h 715"/>
              <a:gd name="T116" fmla="*/ 630 w 714"/>
              <a:gd name="T117" fmla="*/ 261 h 715"/>
              <a:gd name="T118" fmla="*/ 615 w 714"/>
              <a:gd name="T119" fmla="*/ 194 h 715"/>
              <a:gd name="T120" fmla="*/ 625 w 714"/>
              <a:gd name="T121" fmla="*/ 381 h 715"/>
              <a:gd name="T122" fmla="*/ 658 w 714"/>
              <a:gd name="T123" fmla="*/ 277 h 715"/>
              <a:gd name="T124" fmla="*/ 686 w 714"/>
              <a:gd name="T125" fmla="*/ 342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14" h="715">
                <a:moveTo>
                  <a:pt x="710" y="304"/>
                </a:moveTo>
                <a:cubicBezTo>
                  <a:pt x="710" y="305"/>
                  <a:pt x="710" y="305"/>
                  <a:pt x="709" y="305"/>
                </a:cubicBezTo>
                <a:cubicBezTo>
                  <a:pt x="709" y="304"/>
                  <a:pt x="710" y="303"/>
                  <a:pt x="710" y="303"/>
                </a:cubicBezTo>
                <a:cubicBezTo>
                  <a:pt x="710" y="303"/>
                  <a:pt x="710" y="303"/>
                  <a:pt x="710" y="303"/>
                </a:cubicBezTo>
                <a:cubicBezTo>
                  <a:pt x="709" y="297"/>
                  <a:pt x="708" y="292"/>
                  <a:pt x="707" y="286"/>
                </a:cubicBezTo>
                <a:cubicBezTo>
                  <a:pt x="707" y="287"/>
                  <a:pt x="707" y="288"/>
                  <a:pt x="706" y="290"/>
                </a:cubicBezTo>
                <a:cubicBezTo>
                  <a:pt x="706" y="289"/>
                  <a:pt x="707" y="289"/>
                  <a:pt x="707" y="289"/>
                </a:cubicBezTo>
                <a:cubicBezTo>
                  <a:pt x="707" y="290"/>
                  <a:pt x="706" y="290"/>
                  <a:pt x="706" y="290"/>
                </a:cubicBezTo>
                <a:cubicBezTo>
                  <a:pt x="706" y="292"/>
                  <a:pt x="706" y="294"/>
                  <a:pt x="705" y="295"/>
                </a:cubicBezTo>
                <a:cubicBezTo>
                  <a:pt x="703" y="298"/>
                  <a:pt x="703" y="301"/>
                  <a:pt x="703" y="301"/>
                </a:cubicBezTo>
                <a:cubicBezTo>
                  <a:pt x="702" y="302"/>
                  <a:pt x="700" y="300"/>
                  <a:pt x="699" y="300"/>
                </a:cubicBezTo>
                <a:cubicBezTo>
                  <a:pt x="697" y="301"/>
                  <a:pt x="697" y="303"/>
                  <a:pt x="696" y="300"/>
                </a:cubicBezTo>
                <a:cubicBezTo>
                  <a:pt x="696" y="299"/>
                  <a:pt x="696" y="301"/>
                  <a:pt x="695" y="298"/>
                </a:cubicBezTo>
                <a:cubicBezTo>
                  <a:pt x="695" y="297"/>
                  <a:pt x="697" y="291"/>
                  <a:pt x="700" y="292"/>
                </a:cubicBezTo>
                <a:cubicBezTo>
                  <a:pt x="701" y="293"/>
                  <a:pt x="702" y="295"/>
                  <a:pt x="703" y="292"/>
                </a:cubicBezTo>
                <a:cubicBezTo>
                  <a:pt x="703" y="291"/>
                  <a:pt x="703" y="290"/>
                  <a:pt x="703" y="289"/>
                </a:cubicBezTo>
                <a:cubicBezTo>
                  <a:pt x="703" y="287"/>
                  <a:pt x="705" y="284"/>
                  <a:pt x="706" y="282"/>
                </a:cubicBezTo>
                <a:cubicBezTo>
                  <a:pt x="705" y="276"/>
                  <a:pt x="704" y="270"/>
                  <a:pt x="702" y="264"/>
                </a:cubicBezTo>
                <a:cubicBezTo>
                  <a:pt x="701" y="268"/>
                  <a:pt x="695" y="273"/>
                  <a:pt x="691" y="270"/>
                </a:cubicBezTo>
                <a:cubicBezTo>
                  <a:pt x="691" y="271"/>
                  <a:pt x="691" y="270"/>
                  <a:pt x="690" y="270"/>
                </a:cubicBezTo>
                <a:cubicBezTo>
                  <a:pt x="690" y="270"/>
                  <a:pt x="690" y="270"/>
                  <a:pt x="690" y="270"/>
                </a:cubicBezTo>
                <a:cubicBezTo>
                  <a:pt x="690" y="271"/>
                  <a:pt x="690" y="270"/>
                  <a:pt x="690" y="270"/>
                </a:cubicBezTo>
                <a:cubicBezTo>
                  <a:pt x="690" y="270"/>
                  <a:pt x="690" y="270"/>
                  <a:pt x="690" y="269"/>
                </a:cubicBezTo>
                <a:cubicBezTo>
                  <a:pt x="689" y="270"/>
                  <a:pt x="688" y="271"/>
                  <a:pt x="688" y="271"/>
                </a:cubicBezTo>
                <a:cubicBezTo>
                  <a:pt x="686" y="270"/>
                  <a:pt x="686" y="273"/>
                  <a:pt x="685" y="274"/>
                </a:cubicBezTo>
                <a:cubicBezTo>
                  <a:pt x="684" y="274"/>
                  <a:pt x="682" y="273"/>
                  <a:pt x="682" y="275"/>
                </a:cubicBezTo>
                <a:cubicBezTo>
                  <a:pt x="681" y="270"/>
                  <a:pt x="674" y="279"/>
                  <a:pt x="674" y="281"/>
                </a:cubicBezTo>
                <a:cubicBezTo>
                  <a:pt x="675" y="280"/>
                  <a:pt x="681" y="280"/>
                  <a:pt x="680" y="280"/>
                </a:cubicBezTo>
                <a:cubicBezTo>
                  <a:pt x="680" y="280"/>
                  <a:pt x="681" y="280"/>
                  <a:pt x="681" y="280"/>
                </a:cubicBezTo>
                <a:cubicBezTo>
                  <a:pt x="681" y="280"/>
                  <a:pt x="681" y="280"/>
                  <a:pt x="681" y="280"/>
                </a:cubicBezTo>
                <a:cubicBezTo>
                  <a:pt x="681" y="279"/>
                  <a:pt x="682" y="278"/>
                  <a:pt x="682" y="279"/>
                </a:cubicBezTo>
                <a:cubicBezTo>
                  <a:pt x="684" y="280"/>
                  <a:pt x="681" y="280"/>
                  <a:pt x="681" y="281"/>
                </a:cubicBezTo>
                <a:cubicBezTo>
                  <a:pt x="681" y="282"/>
                  <a:pt x="681" y="282"/>
                  <a:pt x="681" y="282"/>
                </a:cubicBezTo>
                <a:cubicBezTo>
                  <a:pt x="682" y="282"/>
                  <a:pt x="683" y="282"/>
                  <a:pt x="683" y="284"/>
                </a:cubicBezTo>
                <a:cubicBezTo>
                  <a:pt x="683" y="284"/>
                  <a:pt x="683" y="284"/>
                  <a:pt x="683" y="284"/>
                </a:cubicBezTo>
                <a:cubicBezTo>
                  <a:pt x="683" y="284"/>
                  <a:pt x="684" y="285"/>
                  <a:pt x="684" y="286"/>
                </a:cubicBezTo>
                <a:cubicBezTo>
                  <a:pt x="684" y="286"/>
                  <a:pt x="681" y="289"/>
                  <a:pt x="681" y="290"/>
                </a:cubicBezTo>
                <a:cubicBezTo>
                  <a:pt x="680" y="290"/>
                  <a:pt x="679" y="295"/>
                  <a:pt x="678" y="295"/>
                </a:cubicBezTo>
                <a:cubicBezTo>
                  <a:pt x="676" y="295"/>
                  <a:pt x="679" y="293"/>
                  <a:pt x="677" y="292"/>
                </a:cubicBezTo>
                <a:cubicBezTo>
                  <a:pt x="677" y="291"/>
                  <a:pt x="675" y="293"/>
                  <a:pt x="674" y="293"/>
                </a:cubicBezTo>
                <a:cubicBezTo>
                  <a:pt x="673" y="292"/>
                  <a:pt x="674" y="291"/>
                  <a:pt x="673" y="290"/>
                </a:cubicBezTo>
                <a:cubicBezTo>
                  <a:pt x="673" y="290"/>
                  <a:pt x="671" y="292"/>
                  <a:pt x="670" y="290"/>
                </a:cubicBezTo>
                <a:cubicBezTo>
                  <a:pt x="669" y="288"/>
                  <a:pt x="672" y="289"/>
                  <a:pt x="672" y="288"/>
                </a:cubicBezTo>
                <a:cubicBezTo>
                  <a:pt x="672" y="287"/>
                  <a:pt x="671" y="287"/>
                  <a:pt x="671" y="287"/>
                </a:cubicBezTo>
                <a:cubicBezTo>
                  <a:pt x="671" y="286"/>
                  <a:pt x="672" y="285"/>
                  <a:pt x="672" y="283"/>
                </a:cubicBezTo>
                <a:cubicBezTo>
                  <a:pt x="672" y="283"/>
                  <a:pt x="672" y="282"/>
                  <a:pt x="672" y="282"/>
                </a:cubicBezTo>
                <a:cubicBezTo>
                  <a:pt x="673" y="279"/>
                  <a:pt x="678" y="276"/>
                  <a:pt x="677" y="271"/>
                </a:cubicBezTo>
                <a:cubicBezTo>
                  <a:pt x="676" y="270"/>
                  <a:pt x="675" y="271"/>
                  <a:pt x="674" y="272"/>
                </a:cubicBezTo>
                <a:cubicBezTo>
                  <a:pt x="675" y="269"/>
                  <a:pt x="676" y="260"/>
                  <a:pt x="681" y="259"/>
                </a:cubicBezTo>
                <a:cubicBezTo>
                  <a:pt x="681" y="259"/>
                  <a:pt x="684" y="259"/>
                  <a:pt x="685" y="259"/>
                </a:cubicBezTo>
                <a:cubicBezTo>
                  <a:pt x="685" y="259"/>
                  <a:pt x="686" y="260"/>
                  <a:pt x="687" y="261"/>
                </a:cubicBezTo>
                <a:cubicBezTo>
                  <a:pt x="687" y="261"/>
                  <a:pt x="687" y="261"/>
                  <a:pt x="688" y="261"/>
                </a:cubicBezTo>
                <a:cubicBezTo>
                  <a:pt x="688" y="261"/>
                  <a:pt x="688" y="261"/>
                  <a:pt x="688" y="261"/>
                </a:cubicBezTo>
                <a:cubicBezTo>
                  <a:pt x="688" y="262"/>
                  <a:pt x="688" y="262"/>
                  <a:pt x="689" y="262"/>
                </a:cubicBezTo>
                <a:cubicBezTo>
                  <a:pt x="690" y="261"/>
                  <a:pt x="691" y="259"/>
                  <a:pt x="692" y="258"/>
                </a:cubicBezTo>
                <a:cubicBezTo>
                  <a:pt x="691" y="257"/>
                  <a:pt x="690" y="258"/>
                  <a:pt x="689" y="259"/>
                </a:cubicBezTo>
                <a:cubicBezTo>
                  <a:pt x="689" y="258"/>
                  <a:pt x="689" y="258"/>
                  <a:pt x="689" y="258"/>
                </a:cubicBezTo>
                <a:cubicBezTo>
                  <a:pt x="688" y="258"/>
                  <a:pt x="687" y="258"/>
                  <a:pt x="687" y="257"/>
                </a:cubicBezTo>
                <a:cubicBezTo>
                  <a:pt x="686" y="256"/>
                  <a:pt x="688" y="256"/>
                  <a:pt x="688" y="256"/>
                </a:cubicBezTo>
                <a:cubicBezTo>
                  <a:pt x="689" y="254"/>
                  <a:pt x="687" y="255"/>
                  <a:pt x="688" y="253"/>
                </a:cubicBezTo>
                <a:cubicBezTo>
                  <a:pt x="689" y="252"/>
                  <a:pt x="692" y="252"/>
                  <a:pt x="692" y="251"/>
                </a:cubicBezTo>
                <a:cubicBezTo>
                  <a:pt x="692" y="251"/>
                  <a:pt x="692" y="250"/>
                  <a:pt x="692" y="250"/>
                </a:cubicBezTo>
                <a:cubicBezTo>
                  <a:pt x="692" y="250"/>
                  <a:pt x="691" y="249"/>
                  <a:pt x="691" y="249"/>
                </a:cubicBezTo>
                <a:cubicBezTo>
                  <a:pt x="691" y="249"/>
                  <a:pt x="692" y="247"/>
                  <a:pt x="691" y="246"/>
                </a:cubicBezTo>
                <a:cubicBezTo>
                  <a:pt x="690" y="245"/>
                  <a:pt x="690" y="246"/>
                  <a:pt x="690" y="246"/>
                </a:cubicBezTo>
                <a:cubicBezTo>
                  <a:pt x="689" y="246"/>
                  <a:pt x="688" y="242"/>
                  <a:pt x="688" y="242"/>
                </a:cubicBezTo>
                <a:cubicBezTo>
                  <a:pt x="689" y="240"/>
                  <a:pt x="691" y="242"/>
                  <a:pt x="693" y="241"/>
                </a:cubicBezTo>
                <a:cubicBezTo>
                  <a:pt x="692" y="241"/>
                  <a:pt x="693" y="239"/>
                  <a:pt x="694" y="239"/>
                </a:cubicBezTo>
                <a:cubicBezTo>
                  <a:pt x="693" y="235"/>
                  <a:pt x="691" y="231"/>
                  <a:pt x="690" y="227"/>
                </a:cubicBezTo>
                <a:cubicBezTo>
                  <a:pt x="690" y="227"/>
                  <a:pt x="689" y="227"/>
                  <a:pt x="689" y="227"/>
                </a:cubicBezTo>
                <a:cubicBezTo>
                  <a:pt x="688" y="227"/>
                  <a:pt x="689" y="225"/>
                  <a:pt x="688" y="224"/>
                </a:cubicBezTo>
                <a:cubicBezTo>
                  <a:pt x="688" y="223"/>
                  <a:pt x="688" y="223"/>
                  <a:pt x="688" y="223"/>
                </a:cubicBezTo>
                <a:cubicBezTo>
                  <a:pt x="688" y="222"/>
                  <a:pt x="688" y="222"/>
                  <a:pt x="688" y="221"/>
                </a:cubicBezTo>
                <a:cubicBezTo>
                  <a:pt x="685" y="222"/>
                  <a:pt x="682" y="222"/>
                  <a:pt x="681" y="222"/>
                </a:cubicBezTo>
                <a:cubicBezTo>
                  <a:pt x="679" y="222"/>
                  <a:pt x="680" y="219"/>
                  <a:pt x="678" y="220"/>
                </a:cubicBezTo>
                <a:cubicBezTo>
                  <a:pt x="680" y="218"/>
                  <a:pt x="676" y="218"/>
                  <a:pt x="676" y="216"/>
                </a:cubicBezTo>
                <a:cubicBezTo>
                  <a:pt x="675" y="215"/>
                  <a:pt x="677" y="215"/>
                  <a:pt x="677" y="215"/>
                </a:cubicBezTo>
                <a:cubicBezTo>
                  <a:pt x="678" y="214"/>
                  <a:pt x="676" y="213"/>
                  <a:pt x="677" y="212"/>
                </a:cubicBezTo>
                <a:cubicBezTo>
                  <a:pt x="677" y="212"/>
                  <a:pt x="677" y="212"/>
                  <a:pt x="677" y="212"/>
                </a:cubicBezTo>
                <a:cubicBezTo>
                  <a:pt x="676" y="212"/>
                  <a:pt x="675" y="210"/>
                  <a:pt x="675" y="209"/>
                </a:cubicBezTo>
                <a:cubicBezTo>
                  <a:pt x="674" y="209"/>
                  <a:pt x="674" y="209"/>
                  <a:pt x="673" y="209"/>
                </a:cubicBezTo>
                <a:cubicBezTo>
                  <a:pt x="674" y="210"/>
                  <a:pt x="674" y="210"/>
                  <a:pt x="674" y="211"/>
                </a:cubicBezTo>
                <a:cubicBezTo>
                  <a:pt x="674" y="212"/>
                  <a:pt x="674" y="212"/>
                  <a:pt x="673" y="213"/>
                </a:cubicBezTo>
                <a:cubicBezTo>
                  <a:pt x="673" y="214"/>
                  <a:pt x="673" y="214"/>
                  <a:pt x="673" y="215"/>
                </a:cubicBezTo>
                <a:cubicBezTo>
                  <a:pt x="673" y="215"/>
                  <a:pt x="673" y="215"/>
                  <a:pt x="673" y="215"/>
                </a:cubicBezTo>
                <a:cubicBezTo>
                  <a:pt x="673" y="215"/>
                  <a:pt x="672" y="216"/>
                  <a:pt x="672" y="216"/>
                </a:cubicBezTo>
                <a:cubicBezTo>
                  <a:pt x="671" y="217"/>
                  <a:pt x="669" y="218"/>
                  <a:pt x="669" y="220"/>
                </a:cubicBezTo>
                <a:cubicBezTo>
                  <a:pt x="670" y="217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7" y="219"/>
                </a:cubicBezTo>
                <a:cubicBezTo>
                  <a:pt x="668" y="220"/>
                  <a:pt x="668" y="224"/>
                  <a:pt x="667" y="225"/>
                </a:cubicBezTo>
                <a:cubicBezTo>
                  <a:pt x="667" y="225"/>
                  <a:pt x="667" y="224"/>
                  <a:pt x="666" y="224"/>
                </a:cubicBezTo>
                <a:cubicBezTo>
                  <a:pt x="665" y="225"/>
                  <a:pt x="663" y="228"/>
                  <a:pt x="660" y="228"/>
                </a:cubicBezTo>
                <a:cubicBezTo>
                  <a:pt x="661" y="226"/>
                  <a:pt x="663" y="226"/>
                  <a:pt x="663" y="225"/>
                </a:cubicBezTo>
                <a:cubicBezTo>
                  <a:pt x="663" y="224"/>
                  <a:pt x="662" y="225"/>
                  <a:pt x="661" y="224"/>
                </a:cubicBezTo>
                <a:cubicBezTo>
                  <a:pt x="660" y="223"/>
                  <a:pt x="662" y="219"/>
                  <a:pt x="665" y="218"/>
                </a:cubicBezTo>
                <a:cubicBezTo>
                  <a:pt x="665" y="217"/>
                  <a:pt x="665" y="216"/>
                  <a:pt x="665" y="216"/>
                </a:cubicBezTo>
                <a:cubicBezTo>
                  <a:pt x="665" y="215"/>
                  <a:pt x="664" y="215"/>
                  <a:pt x="664" y="215"/>
                </a:cubicBezTo>
                <a:cubicBezTo>
                  <a:pt x="663" y="217"/>
                  <a:pt x="661" y="218"/>
                  <a:pt x="660" y="220"/>
                </a:cubicBezTo>
                <a:cubicBezTo>
                  <a:pt x="660" y="221"/>
                  <a:pt x="661" y="222"/>
                  <a:pt x="660" y="223"/>
                </a:cubicBezTo>
                <a:cubicBezTo>
                  <a:pt x="660" y="223"/>
                  <a:pt x="659" y="224"/>
                  <a:pt x="659" y="225"/>
                </a:cubicBezTo>
                <a:cubicBezTo>
                  <a:pt x="659" y="226"/>
                  <a:pt x="661" y="225"/>
                  <a:pt x="660" y="226"/>
                </a:cubicBezTo>
                <a:cubicBezTo>
                  <a:pt x="660" y="227"/>
                  <a:pt x="659" y="228"/>
                  <a:pt x="659" y="227"/>
                </a:cubicBezTo>
                <a:cubicBezTo>
                  <a:pt x="658" y="227"/>
                  <a:pt x="658" y="225"/>
                  <a:pt x="657" y="224"/>
                </a:cubicBezTo>
                <a:cubicBezTo>
                  <a:pt x="657" y="223"/>
                  <a:pt x="656" y="224"/>
                  <a:pt x="655" y="223"/>
                </a:cubicBezTo>
                <a:cubicBezTo>
                  <a:pt x="653" y="223"/>
                  <a:pt x="653" y="221"/>
                  <a:pt x="650" y="224"/>
                </a:cubicBezTo>
                <a:cubicBezTo>
                  <a:pt x="653" y="220"/>
                  <a:pt x="649" y="222"/>
                  <a:pt x="648" y="221"/>
                </a:cubicBezTo>
                <a:cubicBezTo>
                  <a:pt x="648" y="222"/>
                  <a:pt x="647" y="215"/>
                  <a:pt x="647" y="215"/>
                </a:cubicBezTo>
                <a:cubicBezTo>
                  <a:pt x="647" y="214"/>
                  <a:pt x="648" y="211"/>
                  <a:pt x="648" y="209"/>
                </a:cubicBezTo>
                <a:cubicBezTo>
                  <a:pt x="648" y="210"/>
                  <a:pt x="648" y="210"/>
                  <a:pt x="647" y="210"/>
                </a:cubicBezTo>
                <a:cubicBezTo>
                  <a:pt x="647" y="210"/>
                  <a:pt x="647" y="209"/>
                  <a:pt x="648" y="208"/>
                </a:cubicBezTo>
                <a:cubicBezTo>
                  <a:pt x="648" y="208"/>
                  <a:pt x="648" y="208"/>
                  <a:pt x="648" y="208"/>
                </a:cubicBezTo>
                <a:cubicBezTo>
                  <a:pt x="647" y="208"/>
                  <a:pt x="647" y="209"/>
                  <a:pt x="647" y="209"/>
                </a:cubicBezTo>
                <a:cubicBezTo>
                  <a:pt x="647" y="209"/>
                  <a:pt x="647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4" y="211"/>
                  <a:pt x="639" y="212"/>
                  <a:pt x="635" y="212"/>
                </a:cubicBezTo>
                <a:cubicBezTo>
                  <a:pt x="635" y="213"/>
                  <a:pt x="635" y="214"/>
                  <a:pt x="635" y="214"/>
                </a:cubicBezTo>
                <a:cubicBezTo>
                  <a:pt x="634" y="214"/>
                  <a:pt x="634" y="213"/>
                  <a:pt x="634" y="212"/>
                </a:cubicBezTo>
                <a:cubicBezTo>
                  <a:pt x="633" y="212"/>
                  <a:pt x="633" y="212"/>
                  <a:pt x="633" y="212"/>
                </a:cubicBezTo>
                <a:cubicBezTo>
                  <a:pt x="633" y="211"/>
                  <a:pt x="633" y="210"/>
                  <a:pt x="635" y="210"/>
                </a:cubicBezTo>
                <a:cubicBezTo>
                  <a:pt x="634" y="210"/>
                  <a:pt x="634" y="209"/>
                  <a:pt x="634" y="209"/>
                </a:cubicBezTo>
                <a:cubicBezTo>
                  <a:pt x="633" y="208"/>
                  <a:pt x="634" y="207"/>
                  <a:pt x="635" y="206"/>
                </a:cubicBezTo>
                <a:cubicBezTo>
                  <a:pt x="634" y="205"/>
                  <a:pt x="634" y="204"/>
                  <a:pt x="635" y="203"/>
                </a:cubicBezTo>
                <a:cubicBezTo>
                  <a:pt x="636" y="203"/>
                  <a:pt x="636" y="203"/>
                  <a:pt x="637" y="203"/>
                </a:cubicBezTo>
                <a:cubicBezTo>
                  <a:pt x="637" y="202"/>
                  <a:pt x="636" y="202"/>
                  <a:pt x="635" y="203"/>
                </a:cubicBezTo>
                <a:cubicBezTo>
                  <a:pt x="634" y="203"/>
                  <a:pt x="632" y="206"/>
                  <a:pt x="632" y="206"/>
                </a:cubicBezTo>
                <a:cubicBezTo>
                  <a:pt x="632" y="207"/>
                  <a:pt x="632" y="207"/>
                  <a:pt x="633" y="207"/>
                </a:cubicBezTo>
                <a:cubicBezTo>
                  <a:pt x="629" y="209"/>
                  <a:pt x="629" y="201"/>
                  <a:pt x="631" y="201"/>
                </a:cubicBezTo>
                <a:cubicBezTo>
                  <a:pt x="631" y="201"/>
                  <a:pt x="632" y="203"/>
                  <a:pt x="632" y="203"/>
                </a:cubicBezTo>
                <a:cubicBezTo>
                  <a:pt x="633" y="203"/>
                  <a:pt x="636" y="199"/>
                  <a:pt x="638" y="198"/>
                </a:cubicBezTo>
                <a:cubicBezTo>
                  <a:pt x="638" y="198"/>
                  <a:pt x="638" y="197"/>
                  <a:pt x="639" y="197"/>
                </a:cubicBezTo>
                <a:cubicBezTo>
                  <a:pt x="639" y="196"/>
                  <a:pt x="637" y="195"/>
                  <a:pt x="637" y="194"/>
                </a:cubicBezTo>
                <a:cubicBezTo>
                  <a:pt x="637" y="193"/>
                  <a:pt x="639" y="193"/>
                  <a:pt x="639" y="193"/>
                </a:cubicBezTo>
                <a:cubicBezTo>
                  <a:pt x="639" y="192"/>
                  <a:pt x="640" y="189"/>
                  <a:pt x="639" y="189"/>
                </a:cubicBezTo>
                <a:cubicBezTo>
                  <a:pt x="639" y="188"/>
                  <a:pt x="637" y="189"/>
                  <a:pt x="638" y="190"/>
                </a:cubicBezTo>
                <a:cubicBezTo>
                  <a:pt x="638" y="190"/>
                  <a:pt x="636" y="188"/>
                  <a:pt x="637" y="187"/>
                </a:cubicBezTo>
                <a:cubicBezTo>
                  <a:pt x="637" y="187"/>
                  <a:pt x="637" y="187"/>
                  <a:pt x="637" y="187"/>
                </a:cubicBezTo>
                <a:cubicBezTo>
                  <a:pt x="637" y="186"/>
                  <a:pt x="637" y="186"/>
                  <a:pt x="636" y="186"/>
                </a:cubicBezTo>
                <a:cubicBezTo>
                  <a:pt x="636" y="187"/>
                  <a:pt x="636" y="188"/>
                  <a:pt x="636" y="188"/>
                </a:cubicBezTo>
                <a:cubicBezTo>
                  <a:pt x="636" y="188"/>
                  <a:pt x="636" y="188"/>
                  <a:pt x="637" y="188"/>
                </a:cubicBezTo>
                <a:cubicBezTo>
                  <a:pt x="637" y="189"/>
                  <a:pt x="637" y="189"/>
                  <a:pt x="636" y="189"/>
                </a:cubicBezTo>
                <a:cubicBezTo>
                  <a:pt x="637" y="190"/>
                  <a:pt x="636" y="191"/>
                  <a:pt x="635" y="190"/>
                </a:cubicBezTo>
                <a:cubicBezTo>
                  <a:pt x="635" y="190"/>
                  <a:pt x="635" y="190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4" y="190"/>
                  <a:pt x="633" y="190"/>
                  <a:pt x="632" y="189"/>
                </a:cubicBezTo>
                <a:cubicBezTo>
                  <a:pt x="631" y="188"/>
                  <a:pt x="631" y="186"/>
                  <a:pt x="632" y="185"/>
                </a:cubicBezTo>
                <a:cubicBezTo>
                  <a:pt x="632" y="185"/>
                  <a:pt x="632" y="185"/>
                  <a:pt x="631" y="185"/>
                </a:cubicBezTo>
                <a:cubicBezTo>
                  <a:pt x="630" y="186"/>
                  <a:pt x="632" y="185"/>
                  <a:pt x="631" y="184"/>
                </a:cubicBezTo>
                <a:cubicBezTo>
                  <a:pt x="630" y="184"/>
                  <a:pt x="630" y="185"/>
                  <a:pt x="630" y="185"/>
                </a:cubicBezTo>
                <a:cubicBezTo>
                  <a:pt x="629" y="185"/>
                  <a:pt x="630" y="185"/>
                  <a:pt x="630" y="185"/>
                </a:cubicBezTo>
                <a:cubicBezTo>
                  <a:pt x="629" y="185"/>
                  <a:pt x="629" y="186"/>
                  <a:pt x="628" y="185"/>
                </a:cubicBezTo>
                <a:cubicBezTo>
                  <a:pt x="625" y="185"/>
                  <a:pt x="628" y="181"/>
                  <a:pt x="626" y="179"/>
                </a:cubicBezTo>
                <a:cubicBezTo>
                  <a:pt x="625" y="180"/>
                  <a:pt x="624" y="180"/>
                  <a:pt x="624" y="180"/>
                </a:cubicBezTo>
                <a:cubicBezTo>
                  <a:pt x="623" y="181"/>
                  <a:pt x="623" y="182"/>
                  <a:pt x="623" y="183"/>
                </a:cubicBezTo>
                <a:cubicBezTo>
                  <a:pt x="624" y="184"/>
                  <a:pt x="625" y="185"/>
                  <a:pt x="624" y="186"/>
                </a:cubicBezTo>
                <a:cubicBezTo>
                  <a:pt x="624" y="191"/>
                  <a:pt x="618" y="190"/>
                  <a:pt x="617" y="188"/>
                </a:cubicBezTo>
                <a:cubicBezTo>
                  <a:pt x="616" y="188"/>
                  <a:pt x="615" y="188"/>
                  <a:pt x="615" y="189"/>
                </a:cubicBezTo>
                <a:cubicBezTo>
                  <a:pt x="615" y="189"/>
                  <a:pt x="616" y="188"/>
                  <a:pt x="615" y="188"/>
                </a:cubicBezTo>
                <a:cubicBezTo>
                  <a:pt x="614" y="189"/>
                  <a:pt x="612" y="190"/>
                  <a:pt x="610" y="190"/>
                </a:cubicBezTo>
                <a:cubicBezTo>
                  <a:pt x="609" y="191"/>
                  <a:pt x="607" y="191"/>
                  <a:pt x="607" y="191"/>
                </a:cubicBezTo>
                <a:cubicBezTo>
                  <a:pt x="607" y="190"/>
                  <a:pt x="608" y="190"/>
                  <a:pt x="609" y="189"/>
                </a:cubicBezTo>
                <a:cubicBezTo>
                  <a:pt x="609" y="189"/>
                  <a:pt x="608" y="189"/>
                  <a:pt x="608" y="189"/>
                </a:cubicBezTo>
                <a:cubicBezTo>
                  <a:pt x="608" y="188"/>
                  <a:pt x="607" y="187"/>
                  <a:pt x="607" y="186"/>
                </a:cubicBezTo>
                <a:cubicBezTo>
                  <a:pt x="606" y="186"/>
                  <a:pt x="604" y="186"/>
                  <a:pt x="605" y="183"/>
                </a:cubicBezTo>
                <a:cubicBezTo>
                  <a:pt x="606" y="181"/>
                  <a:pt x="605" y="180"/>
                  <a:pt x="605" y="179"/>
                </a:cubicBezTo>
                <a:cubicBezTo>
                  <a:pt x="605" y="179"/>
                  <a:pt x="606" y="178"/>
                  <a:pt x="605" y="177"/>
                </a:cubicBezTo>
                <a:cubicBezTo>
                  <a:pt x="604" y="179"/>
                  <a:pt x="603" y="181"/>
                  <a:pt x="601" y="183"/>
                </a:cubicBezTo>
                <a:cubicBezTo>
                  <a:pt x="604" y="184"/>
                  <a:pt x="606" y="186"/>
                  <a:pt x="602" y="189"/>
                </a:cubicBezTo>
                <a:cubicBezTo>
                  <a:pt x="602" y="189"/>
                  <a:pt x="601" y="189"/>
                  <a:pt x="600" y="190"/>
                </a:cubicBezTo>
                <a:cubicBezTo>
                  <a:pt x="602" y="190"/>
                  <a:pt x="602" y="194"/>
                  <a:pt x="599" y="193"/>
                </a:cubicBezTo>
                <a:cubicBezTo>
                  <a:pt x="598" y="192"/>
                  <a:pt x="599" y="191"/>
                  <a:pt x="599" y="191"/>
                </a:cubicBezTo>
                <a:cubicBezTo>
                  <a:pt x="600" y="190"/>
                  <a:pt x="600" y="190"/>
                  <a:pt x="600" y="190"/>
                </a:cubicBezTo>
                <a:cubicBezTo>
                  <a:pt x="598" y="190"/>
                  <a:pt x="596" y="191"/>
                  <a:pt x="595" y="192"/>
                </a:cubicBezTo>
                <a:cubicBezTo>
                  <a:pt x="593" y="194"/>
                  <a:pt x="594" y="195"/>
                  <a:pt x="592" y="194"/>
                </a:cubicBezTo>
                <a:cubicBezTo>
                  <a:pt x="592" y="193"/>
                  <a:pt x="591" y="192"/>
                  <a:pt x="590" y="193"/>
                </a:cubicBezTo>
                <a:cubicBezTo>
                  <a:pt x="590" y="193"/>
                  <a:pt x="587" y="198"/>
                  <a:pt x="587" y="195"/>
                </a:cubicBezTo>
                <a:cubicBezTo>
                  <a:pt x="587" y="194"/>
                  <a:pt x="588" y="194"/>
                  <a:pt x="588" y="194"/>
                </a:cubicBezTo>
                <a:cubicBezTo>
                  <a:pt x="587" y="193"/>
                  <a:pt x="584" y="194"/>
                  <a:pt x="583" y="193"/>
                </a:cubicBezTo>
                <a:cubicBezTo>
                  <a:pt x="583" y="192"/>
                  <a:pt x="587" y="190"/>
                  <a:pt x="584" y="189"/>
                </a:cubicBezTo>
                <a:cubicBezTo>
                  <a:pt x="583" y="188"/>
                  <a:pt x="583" y="188"/>
                  <a:pt x="583" y="188"/>
                </a:cubicBezTo>
                <a:cubicBezTo>
                  <a:pt x="583" y="188"/>
                  <a:pt x="583" y="188"/>
                  <a:pt x="583" y="187"/>
                </a:cubicBezTo>
                <a:cubicBezTo>
                  <a:pt x="584" y="186"/>
                  <a:pt x="584" y="185"/>
                  <a:pt x="583" y="185"/>
                </a:cubicBezTo>
                <a:cubicBezTo>
                  <a:pt x="582" y="186"/>
                  <a:pt x="581" y="186"/>
                  <a:pt x="580" y="185"/>
                </a:cubicBezTo>
                <a:cubicBezTo>
                  <a:pt x="580" y="184"/>
                  <a:pt x="581" y="184"/>
                  <a:pt x="581" y="183"/>
                </a:cubicBezTo>
                <a:cubicBezTo>
                  <a:pt x="582" y="183"/>
                  <a:pt x="582" y="183"/>
                  <a:pt x="582" y="183"/>
                </a:cubicBezTo>
                <a:cubicBezTo>
                  <a:pt x="581" y="182"/>
                  <a:pt x="580" y="182"/>
                  <a:pt x="579" y="182"/>
                </a:cubicBezTo>
                <a:cubicBezTo>
                  <a:pt x="578" y="181"/>
                  <a:pt x="580" y="179"/>
                  <a:pt x="580" y="178"/>
                </a:cubicBezTo>
                <a:cubicBezTo>
                  <a:pt x="578" y="176"/>
                  <a:pt x="577" y="179"/>
                  <a:pt x="574" y="179"/>
                </a:cubicBezTo>
                <a:cubicBezTo>
                  <a:pt x="574" y="179"/>
                  <a:pt x="572" y="177"/>
                  <a:pt x="570" y="179"/>
                </a:cubicBezTo>
                <a:cubicBezTo>
                  <a:pt x="569" y="180"/>
                  <a:pt x="571" y="182"/>
                  <a:pt x="568" y="184"/>
                </a:cubicBezTo>
                <a:cubicBezTo>
                  <a:pt x="567" y="184"/>
                  <a:pt x="562" y="186"/>
                  <a:pt x="562" y="185"/>
                </a:cubicBezTo>
                <a:cubicBezTo>
                  <a:pt x="561" y="184"/>
                  <a:pt x="563" y="184"/>
                  <a:pt x="563" y="184"/>
                </a:cubicBezTo>
                <a:cubicBezTo>
                  <a:pt x="564" y="182"/>
                  <a:pt x="562" y="180"/>
                  <a:pt x="562" y="181"/>
                </a:cubicBezTo>
                <a:cubicBezTo>
                  <a:pt x="563" y="179"/>
                  <a:pt x="565" y="179"/>
                  <a:pt x="565" y="178"/>
                </a:cubicBezTo>
                <a:cubicBezTo>
                  <a:pt x="565" y="178"/>
                  <a:pt x="565" y="178"/>
                  <a:pt x="564" y="178"/>
                </a:cubicBezTo>
                <a:cubicBezTo>
                  <a:pt x="564" y="177"/>
                  <a:pt x="565" y="177"/>
                  <a:pt x="565" y="177"/>
                </a:cubicBezTo>
                <a:cubicBezTo>
                  <a:pt x="565" y="176"/>
                  <a:pt x="564" y="174"/>
                  <a:pt x="565" y="173"/>
                </a:cubicBezTo>
                <a:cubicBezTo>
                  <a:pt x="565" y="173"/>
                  <a:pt x="565" y="173"/>
                  <a:pt x="565" y="173"/>
                </a:cubicBezTo>
                <a:cubicBezTo>
                  <a:pt x="565" y="173"/>
                  <a:pt x="565" y="172"/>
                  <a:pt x="565" y="172"/>
                </a:cubicBezTo>
                <a:cubicBezTo>
                  <a:pt x="564" y="172"/>
                  <a:pt x="564" y="171"/>
                  <a:pt x="566" y="170"/>
                </a:cubicBezTo>
                <a:cubicBezTo>
                  <a:pt x="566" y="170"/>
                  <a:pt x="566" y="170"/>
                  <a:pt x="566" y="170"/>
                </a:cubicBezTo>
                <a:cubicBezTo>
                  <a:pt x="566" y="170"/>
                  <a:pt x="565" y="170"/>
                  <a:pt x="565" y="170"/>
                </a:cubicBezTo>
                <a:cubicBezTo>
                  <a:pt x="564" y="170"/>
                  <a:pt x="563" y="170"/>
                  <a:pt x="563" y="169"/>
                </a:cubicBezTo>
                <a:cubicBezTo>
                  <a:pt x="562" y="169"/>
                  <a:pt x="562" y="169"/>
                  <a:pt x="562" y="169"/>
                </a:cubicBezTo>
                <a:cubicBezTo>
                  <a:pt x="562" y="169"/>
                  <a:pt x="562" y="168"/>
                  <a:pt x="563" y="167"/>
                </a:cubicBezTo>
                <a:cubicBezTo>
                  <a:pt x="563" y="167"/>
                  <a:pt x="563" y="166"/>
                  <a:pt x="562" y="166"/>
                </a:cubicBezTo>
                <a:cubicBezTo>
                  <a:pt x="563" y="165"/>
                  <a:pt x="566" y="165"/>
                  <a:pt x="568" y="164"/>
                </a:cubicBezTo>
                <a:cubicBezTo>
                  <a:pt x="567" y="165"/>
                  <a:pt x="568" y="167"/>
                  <a:pt x="569" y="165"/>
                </a:cubicBezTo>
                <a:cubicBezTo>
                  <a:pt x="571" y="164"/>
                  <a:pt x="569" y="164"/>
                  <a:pt x="569" y="164"/>
                </a:cubicBezTo>
                <a:cubicBezTo>
                  <a:pt x="569" y="164"/>
                  <a:pt x="570" y="163"/>
                  <a:pt x="569" y="162"/>
                </a:cubicBezTo>
                <a:cubicBezTo>
                  <a:pt x="569" y="162"/>
                  <a:pt x="569" y="162"/>
                  <a:pt x="569" y="162"/>
                </a:cubicBezTo>
                <a:cubicBezTo>
                  <a:pt x="567" y="163"/>
                  <a:pt x="565" y="164"/>
                  <a:pt x="563" y="163"/>
                </a:cubicBezTo>
                <a:cubicBezTo>
                  <a:pt x="563" y="163"/>
                  <a:pt x="563" y="163"/>
                  <a:pt x="563" y="164"/>
                </a:cubicBezTo>
                <a:cubicBezTo>
                  <a:pt x="563" y="164"/>
                  <a:pt x="564" y="164"/>
                  <a:pt x="564" y="164"/>
                </a:cubicBezTo>
                <a:cubicBezTo>
                  <a:pt x="563" y="165"/>
                  <a:pt x="563" y="164"/>
                  <a:pt x="563" y="163"/>
                </a:cubicBezTo>
                <a:cubicBezTo>
                  <a:pt x="562" y="163"/>
                  <a:pt x="562" y="162"/>
                  <a:pt x="562" y="161"/>
                </a:cubicBezTo>
                <a:cubicBezTo>
                  <a:pt x="562" y="160"/>
                  <a:pt x="564" y="158"/>
                  <a:pt x="567" y="158"/>
                </a:cubicBezTo>
                <a:cubicBezTo>
                  <a:pt x="566" y="157"/>
                  <a:pt x="565" y="156"/>
                  <a:pt x="566" y="155"/>
                </a:cubicBezTo>
                <a:cubicBezTo>
                  <a:pt x="566" y="153"/>
                  <a:pt x="570" y="153"/>
                  <a:pt x="569" y="152"/>
                </a:cubicBezTo>
                <a:cubicBezTo>
                  <a:pt x="570" y="152"/>
                  <a:pt x="572" y="151"/>
                  <a:pt x="574" y="151"/>
                </a:cubicBezTo>
                <a:cubicBezTo>
                  <a:pt x="576" y="153"/>
                  <a:pt x="575" y="153"/>
                  <a:pt x="579" y="152"/>
                </a:cubicBezTo>
                <a:cubicBezTo>
                  <a:pt x="579" y="152"/>
                  <a:pt x="580" y="151"/>
                  <a:pt x="581" y="151"/>
                </a:cubicBezTo>
                <a:cubicBezTo>
                  <a:pt x="584" y="150"/>
                  <a:pt x="583" y="150"/>
                  <a:pt x="582" y="148"/>
                </a:cubicBezTo>
                <a:cubicBezTo>
                  <a:pt x="584" y="150"/>
                  <a:pt x="583" y="148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0" y="147"/>
                  <a:pt x="580" y="147"/>
                </a:cubicBezTo>
                <a:cubicBezTo>
                  <a:pt x="580" y="147"/>
                  <a:pt x="579" y="149"/>
                  <a:pt x="578" y="148"/>
                </a:cubicBezTo>
                <a:cubicBezTo>
                  <a:pt x="577" y="147"/>
                  <a:pt x="581" y="144"/>
                  <a:pt x="577" y="144"/>
                </a:cubicBezTo>
                <a:cubicBezTo>
                  <a:pt x="583" y="142"/>
                  <a:pt x="575" y="140"/>
                  <a:pt x="573" y="139"/>
                </a:cubicBezTo>
                <a:cubicBezTo>
                  <a:pt x="572" y="138"/>
                  <a:pt x="571" y="137"/>
                  <a:pt x="570" y="135"/>
                </a:cubicBezTo>
                <a:cubicBezTo>
                  <a:pt x="570" y="135"/>
                  <a:pt x="569" y="134"/>
                  <a:pt x="569" y="134"/>
                </a:cubicBezTo>
                <a:cubicBezTo>
                  <a:pt x="569" y="134"/>
                  <a:pt x="569" y="134"/>
                  <a:pt x="569" y="133"/>
                </a:cubicBezTo>
                <a:cubicBezTo>
                  <a:pt x="569" y="133"/>
                  <a:pt x="568" y="132"/>
                  <a:pt x="568" y="132"/>
                </a:cubicBezTo>
                <a:cubicBezTo>
                  <a:pt x="567" y="132"/>
                  <a:pt x="567" y="132"/>
                  <a:pt x="567" y="132"/>
                </a:cubicBezTo>
                <a:cubicBezTo>
                  <a:pt x="567" y="132"/>
                  <a:pt x="566" y="133"/>
                  <a:pt x="566" y="133"/>
                </a:cubicBezTo>
                <a:cubicBezTo>
                  <a:pt x="566" y="134"/>
                  <a:pt x="564" y="135"/>
                  <a:pt x="563" y="135"/>
                </a:cubicBezTo>
                <a:cubicBezTo>
                  <a:pt x="562" y="135"/>
                  <a:pt x="561" y="134"/>
                  <a:pt x="561" y="133"/>
                </a:cubicBezTo>
                <a:cubicBezTo>
                  <a:pt x="560" y="134"/>
                  <a:pt x="559" y="134"/>
                  <a:pt x="558" y="134"/>
                </a:cubicBezTo>
                <a:cubicBezTo>
                  <a:pt x="557" y="134"/>
                  <a:pt x="559" y="133"/>
                  <a:pt x="560" y="133"/>
                </a:cubicBezTo>
                <a:cubicBezTo>
                  <a:pt x="560" y="132"/>
                  <a:pt x="560" y="131"/>
                  <a:pt x="561" y="131"/>
                </a:cubicBezTo>
                <a:cubicBezTo>
                  <a:pt x="560" y="131"/>
                  <a:pt x="558" y="131"/>
                  <a:pt x="557" y="131"/>
                </a:cubicBezTo>
                <a:cubicBezTo>
                  <a:pt x="557" y="131"/>
                  <a:pt x="557" y="131"/>
                  <a:pt x="557" y="131"/>
                </a:cubicBezTo>
                <a:cubicBezTo>
                  <a:pt x="558" y="131"/>
                  <a:pt x="559" y="131"/>
                  <a:pt x="559" y="132"/>
                </a:cubicBezTo>
                <a:cubicBezTo>
                  <a:pt x="558" y="132"/>
                  <a:pt x="557" y="132"/>
                  <a:pt x="556" y="132"/>
                </a:cubicBezTo>
                <a:cubicBezTo>
                  <a:pt x="555" y="132"/>
                  <a:pt x="555" y="132"/>
                  <a:pt x="555" y="133"/>
                </a:cubicBezTo>
                <a:cubicBezTo>
                  <a:pt x="556" y="133"/>
                  <a:pt x="555" y="135"/>
                  <a:pt x="554" y="134"/>
                </a:cubicBezTo>
                <a:cubicBezTo>
                  <a:pt x="553" y="135"/>
                  <a:pt x="552" y="135"/>
                  <a:pt x="552" y="135"/>
                </a:cubicBezTo>
                <a:cubicBezTo>
                  <a:pt x="552" y="134"/>
                  <a:pt x="552" y="134"/>
                  <a:pt x="553" y="133"/>
                </a:cubicBezTo>
                <a:cubicBezTo>
                  <a:pt x="552" y="133"/>
                  <a:pt x="551" y="131"/>
                  <a:pt x="553" y="132"/>
                </a:cubicBezTo>
                <a:cubicBezTo>
                  <a:pt x="553" y="132"/>
                  <a:pt x="553" y="132"/>
                  <a:pt x="553" y="132"/>
                </a:cubicBezTo>
                <a:cubicBezTo>
                  <a:pt x="553" y="133"/>
                  <a:pt x="553" y="133"/>
                  <a:pt x="553" y="133"/>
                </a:cubicBezTo>
                <a:cubicBezTo>
                  <a:pt x="554" y="133"/>
                  <a:pt x="554" y="132"/>
                  <a:pt x="554" y="132"/>
                </a:cubicBezTo>
                <a:cubicBezTo>
                  <a:pt x="553" y="132"/>
                  <a:pt x="552" y="131"/>
                  <a:pt x="552" y="131"/>
                </a:cubicBezTo>
                <a:cubicBezTo>
                  <a:pt x="552" y="131"/>
                  <a:pt x="553" y="131"/>
                  <a:pt x="555" y="131"/>
                </a:cubicBezTo>
                <a:cubicBezTo>
                  <a:pt x="554" y="130"/>
                  <a:pt x="554" y="130"/>
                  <a:pt x="554" y="130"/>
                </a:cubicBezTo>
                <a:cubicBezTo>
                  <a:pt x="553" y="130"/>
                  <a:pt x="552" y="131"/>
                  <a:pt x="552" y="131"/>
                </a:cubicBezTo>
                <a:cubicBezTo>
                  <a:pt x="551" y="130"/>
                  <a:pt x="550" y="127"/>
                  <a:pt x="548" y="129"/>
                </a:cubicBezTo>
                <a:cubicBezTo>
                  <a:pt x="548" y="130"/>
                  <a:pt x="549" y="131"/>
                  <a:pt x="549" y="130"/>
                </a:cubicBezTo>
                <a:cubicBezTo>
                  <a:pt x="549" y="131"/>
                  <a:pt x="549" y="131"/>
                  <a:pt x="549" y="131"/>
                </a:cubicBezTo>
                <a:cubicBezTo>
                  <a:pt x="549" y="131"/>
                  <a:pt x="549" y="131"/>
                  <a:pt x="550" y="131"/>
                </a:cubicBezTo>
                <a:cubicBezTo>
                  <a:pt x="551" y="131"/>
                  <a:pt x="549" y="133"/>
                  <a:pt x="549" y="132"/>
                </a:cubicBezTo>
                <a:cubicBezTo>
                  <a:pt x="549" y="132"/>
                  <a:pt x="549" y="132"/>
                  <a:pt x="549" y="132"/>
                </a:cubicBezTo>
                <a:cubicBezTo>
                  <a:pt x="548" y="133"/>
                  <a:pt x="544" y="131"/>
                  <a:pt x="543" y="131"/>
                </a:cubicBezTo>
                <a:cubicBezTo>
                  <a:pt x="545" y="130"/>
                  <a:pt x="543" y="130"/>
                  <a:pt x="542" y="129"/>
                </a:cubicBezTo>
                <a:cubicBezTo>
                  <a:pt x="540" y="130"/>
                  <a:pt x="539" y="131"/>
                  <a:pt x="537" y="132"/>
                </a:cubicBezTo>
                <a:cubicBezTo>
                  <a:pt x="538" y="130"/>
                  <a:pt x="540" y="129"/>
                  <a:pt x="542" y="129"/>
                </a:cubicBezTo>
                <a:cubicBezTo>
                  <a:pt x="541" y="128"/>
                  <a:pt x="541" y="127"/>
                  <a:pt x="541" y="127"/>
                </a:cubicBezTo>
                <a:cubicBezTo>
                  <a:pt x="542" y="125"/>
                  <a:pt x="546" y="126"/>
                  <a:pt x="546" y="124"/>
                </a:cubicBezTo>
                <a:cubicBezTo>
                  <a:pt x="547" y="123"/>
                  <a:pt x="545" y="124"/>
                  <a:pt x="545" y="124"/>
                </a:cubicBezTo>
                <a:cubicBezTo>
                  <a:pt x="546" y="122"/>
                  <a:pt x="547" y="121"/>
                  <a:pt x="545" y="120"/>
                </a:cubicBezTo>
                <a:cubicBezTo>
                  <a:pt x="545" y="120"/>
                  <a:pt x="540" y="120"/>
                  <a:pt x="538" y="120"/>
                </a:cubicBezTo>
                <a:cubicBezTo>
                  <a:pt x="536" y="120"/>
                  <a:pt x="534" y="121"/>
                  <a:pt x="531" y="119"/>
                </a:cubicBezTo>
                <a:cubicBezTo>
                  <a:pt x="534" y="119"/>
                  <a:pt x="535" y="117"/>
                  <a:pt x="537" y="117"/>
                </a:cubicBezTo>
                <a:cubicBezTo>
                  <a:pt x="537" y="117"/>
                  <a:pt x="537" y="116"/>
                  <a:pt x="537" y="116"/>
                </a:cubicBezTo>
                <a:cubicBezTo>
                  <a:pt x="537" y="116"/>
                  <a:pt x="537" y="117"/>
                  <a:pt x="537" y="117"/>
                </a:cubicBezTo>
                <a:cubicBezTo>
                  <a:pt x="538" y="116"/>
                  <a:pt x="538" y="116"/>
                  <a:pt x="539" y="116"/>
                </a:cubicBezTo>
                <a:cubicBezTo>
                  <a:pt x="542" y="115"/>
                  <a:pt x="545" y="118"/>
                  <a:pt x="548" y="117"/>
                </a:cubicBezTo>
                <a:cubicBezTo>
                  <a:pt x="548" y="117"/>
                  <a:pt x="551" y="114"/>
                  <a:pt x="552" y="114"/>
                </a:cubicBezTo>
                <a:cubicBezTo>
                  <a:pt x="553" y="114"/>
                  <a:pt x="554" y="115"/>
                  <a:pt x="554" y="114"/>
                </a:cubicBezTo>
                <a:cubicBezTo>
                  <a:pt x="553" y="114"/>
                  <a:pt x="553" y="113"/>
                  <a:pt x="553" y="113"/>
                </a:cubicBezTo>
                <a:cubicBezTo>
                  <a:pt x="553" y="113"/>
                  <a:pt x="552" y="113"/>
                  <a:pt x="552" y="113"/>
                </a:cubicBezTo>
                <a:cubicBezTo>
                  <a:pt x="552" y="114"/>
                  <a:pt x="551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8" y="114"/>
                  <a:pt x="547" y="114"/>
                  <a:pt x="547" y="114"/>
                </a:cubicBezTo>
                <a:cubicBezTo>
                  <a:pt x="547" y="114"/>
                  <a:pt x="547" y="113"/>
                  <a:pt x="547" y="113"/>
                </a:cubicBezTo>
                <a:cubicBezTo>
                  <a:pt x="547" y="112"/>
                  <a:pt x="548" y="111"/>
                  <a:pt x="549" y="110"/>
                </a:cubicBezTo>
                <a:cubicBezTo>
                  <a:pt x="550" y="110"/>
                  <a:pt x="552" y="111"/>
                  <a:pt x="552" y="112"/>
                </a:cubicBezTo>
                <a:cubicBezTo>
                  <a:pt x="552" y="112"/>
                  <a:pt x="552" y="112"/>
                  <a:pt x="553" y="112"/>
                </a:cubicBezTo>
                <a:cubicBezTo>
                  <a:pt x="552" y="111"/>
                  <a:pt x="554" y="110"/>
                  <a:pt x="555" y="111"/>
                </a:cubicBezTo>
                <a:cubicBezTo>
                  <a:pt x="555" y="110"/>
                  <a:pt x="555" y="110"/>
                  <a:pt x="554" y="109"/>
                </a:cubicBezTo>
                <a:cubicBezTo>
                  <a:pt x="554" y="110"/>
                  <a:pt x="554" y="110"/>
                  <a:pt x="554" y="110"/>
                </a:cubicBezTo>
                <a:cubicBezTo>
                  <a:pt x="554" y="110"/>
                  <a:pt x="554" y="109"/>
                  <a:pt x="554" y="109"/>
                </a:cubicBezTo>
                <a:cubicBezTo>
                  <a:pt x="553" y="108"/>
                  <a:pt x="550" y="108"/>
                  <a:pt x="549" y="107"/>
                </a:cubicBezTo>
                <a:cubicBezTo>
                  <a:pt x="550" y="106"/>
                  <a:pt x="551" y="106"/>
                  <a:pt x="550" y="105"/>
                </a:cubicBezTo>
                <a:cubicBezTo>
                  <a:pt x="549" y="106"/>
                  <a:pt x="546" y="106"/>
                  <a:pt x="548" y="104"/>
                </a:cubicBezTo>
                <a:cubicBezTo>
                  <a:pt x="548" y="104"/>
                  <a:pt x="548" y="104"/>
                  <a:pt x="548" y="104"/>
                </a:cubicBezTo>
                <a:cubicBezTo>
                  <a:pt x="548" y="104"/>
                  <a:pt x="547" y="103"/>
                  <a:pt x="547" y="103"/>
                </a:cubicBezTo>
                <a:cubicBezTo>
                  <a:pt x="545" y="104"/>
                  <a:pt x="543" y="105"/>
                  <a:pt x="541" y="106"/>
                </a:cubicBezTo>
                <a:cubicBezTo>
                  <a:pt x="537" y="107"/>
                  <a:pt x="541" y="104"/>
                  <a:pt x="543" y="103"/>
                </a:cubicBezTo>
                <a:cubicBezTo>
                  <a:pt x="544" y="103"/>
                  <a:pt x="546" y="102"/>
                  <a:pt x="548" y="101"/>
                </a:cubicBezTo>
                <a:cubicBezTo>
                  <a:pt x="548" y="101"/>
                  <a:pt x="548" y="101"/>
                  <a:pt x="548" y="100"/>
                </a:cubicBezTo>
                <a:cubicBezTo>
                  <a:pt x="549" y="100"/>
                  <a:pt x="549" y="100"/>
                  <a:pt x="550" y="100"/>
                </a:cubicBezTo>
                <a:cubicBezTo>
                  <a:pt x="552" y="99"/>
                  <a:pt x="553" y="99"/>
                  <a:pt x="554" y="98"/>
                </a:cubicBezTo>
                <a:cubicBezTo>
                  <a:pt x="555" y="97"/>
                  <a:pt x="555" y="95"/>
                  <a:pt x="555" y="94"/>
                </a:cubicBezTo>
                <a:cubicBezTo>
                  <a:pt x="554" y="95"/>
                  <a:pt x="554" y="94"/>
                  <a:pt x="553" y="94"/>
                </a:cubicBezTo>
                <a:cubicBezTo>
                  <a:pt x="553" y="94"/>
                  <a:pt x="553" y="94"/>
                  <a:pt x="553" y="94"/>
                </a:cubicBezTo>
                <a:cubicBezTo>
                  <a:pt x="553" y="94"/>
                  <a:pt x="553" y="94"/>
                  <a:pt x="552" y="94"/>
                </a:cubicBezTo>
                <a:cubicBezTo>
                  <a:pt x="552" y="94"/>
                  <a:pt x="550" y="93"/>
                  <a:pt x="550" y="93"/>
                </a:cubicBezTo>
                <a:cubicBezTo>
                  <a:pt x="550" y="93"/>
                  <a:pt x="550" y="93"/>
                  <a:pt x="550" y="92"/>
                </a:cubicBezTo>
                <a:cubicBezTo>
                  <a:pt x="549" y="91"/>
                  <a:pt x="551" y="90"/>
                  <a:pt x="552" y="90"/>
                </a:cubicBezTo>
                <a:cubicBezTo>
                  <a:pt x="552" y="89"/>
                  <a:pt x="552" y="89"/>
                  <a:pt x="553" y="88"/>
                </a:cubicBezTo>
                <a:cubicBezTo>
                  <a:pt x="553" y="88"/>
                  <a:pt x="553" y="88"/>
                  <a:pt x="553" y="88"/>
                </a:cubicBezTo>
                <a:cubicBezTo>
                  <a:pt x="552" y="87"/>
                  <a:pt x="550" y="87"/>
                  <a:pt x="549" y="87"/>
                </a:cubicBezTo>
                <a:cubicBezTo>
                  <a:pt x="548" y="87"/>
                  <a:pt x="546" y="87"/>
                  <a:pt x="546" y="86"/>
                </a:cubicBezTo>
                <a:cubicBezTo>
                  <a:pt x="545" y="86"/>
                  <a:pt x="544" y="85"/>
                  <a:pt x="544" y="84"/>
                </a:cubicBezTo>
                <a:cubicBezTo>
                  <a:pt x="543" y="85"/>
                  <a:pt x="542" y="85"/>
                  <a:pt x="542" y="84"/>
                </a:cubicBezTo>
                <a:cubicBezTo>
                  <a:pt x="541" y="84"/>
                  <a:pt x="540" y="82"/>
                  <a:pt x="542" y="81"/>
                </a:cubicBezTo>
                <a:cubicBezTo>
                  <a:pt x="542" y="81"/>
                  <a:pt x="542" y="81"/>
                  <a:pt x="542" y="81"/>
                </a:cubicBezTo>
                <a:cubicBezTo>
                  <a:pt x="541" y="80"/>
                  <a:pt x="542" y="80"/>
                  <a:pt x="542" y="79"/>
                </a:cubicBezTo>
                <a:cubicBezTo>
                  <a:pt x="541" y="80"/>
                  <a:pt x="540" y="80"/>
                  <a:pt x="539" y="80"/>
                </a:cubicBezTo>
                <a:cubicBezTo>
                  <a:pt x="539" y="80"/>
                  <a:pt x="538" y="81"/>
                  <a:pt x="539" y="82"/>
                </a:cubicBezTo>
                <a:cubicBezTo>
                  <a:pt x="538" y="82"/>
                  <a:pt x="536" y="83"/>
                  <a:pt x="535" y="84"/>
                </a:cubicBezTo>
                <a:cubicBezTo>
                  <a:pt x="534" y="85"/>
                  <a:pt x="533" y="85"/>
                  <a:pt x="532" y="86"/>
                </a:cubicBezTo>
                <a:cubicBezTo>
                  <a:pt x="532" y="86"/>
                  <a:pt x="532" y="87"/>
                  <a:pt x="532" y="87"/>
                </a:cubicBezTo>
                <a:cubicBezTo>
                  <a:pt x="531" y="87"/>
                  <a:pt x="530" y="86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8" y="87"/>
                </a:cubicBezTo>
                <a:cubicBezTo>
                  <a:pt x="527" y="87"/>
                  <a:pt x="527" y="88"/>
                  <a:pt x="526" y="88"/>
                </a:cubicBezTo>
                <a:cubicBezTo>
                  <a:pt x="526" y="88"/>
                  <a:pt x="526" y="87"/>
                  <a:pt x="526" y="87"/>
                </a:cubicBezTo>
                <a:cubicBezTo>
                  <a:pt x="525" y="85"/>
                  <a:pt x="521" y="83"/>
                  <a:pt x="520" y="81"/>
                </a:cubicBezTo>
                <a:cubicBezTo>
                  <a:pt x="520" y="79"/>
                  <a:pt x="524" y="78"/>
                  <a:pt x="525" y="76"/>
                </a:cubicBezTo>
                <a:cubicBezTo>
                  <a:pt x="526" y="76"/>
                  <a:pt x="524" y="74"/>
                  <a:pt x="525" y="74"/>
                </a:cubicBezTo>
                <a:cubicBezTo>
                  <a:pt x="526" y="73"/>
                  <a:pt x="526" y="75"/>
                  <a:pt x="527" y="75"/>
                </a:cubicBezTo>
                <a:cubicBezTo>
                  <a:pt x="528" y="76"/>
                  <a:pt x="533" y="76"/>
                  <a:pt x="535" y="76"/>
                </a:cubicBezTo>
                <a:cubicBezTo>
                  <a:pt x="536" y="76"/>
                  <a:pt x="537" y="76"/>
                  <a:pt x="538" y="77"/>
                </a:cubicBezTo>
                <a:cubicBezTo>
                  <a:pt x="539" y="75"/>
                  <a:pt x="543" y="75"/>
                  <a:pt x="543" y="74"/>
                </a:cubicBezTo>
                <a:cubicBezTo>
                  <a:pt x="544" y="74"/>
                  <a:pt x="542" y="74"/>
                  <a:pt x="542" y="73"/>
                </a:cubicBezTo>
                <a:cubicBezTo>
                  <a:pt x="543" y="73"/>
                  <a:pt x="544" y="73"/>
                  <a:pt x="545" y="74"/>
                </a:cubicBezTo>
                <a:cubicBezTo>
                  <a:pt x="547" y="73"/>
                  <a:pt x="550" y="72"/>
                  <a:pt x="553" y="72"/>
                </a:cubicBezTo>
                <a:cubicBezTo>
                  <a:pt x="552" y="71"/>
                  <a:pt x="552" y="70"/>
                  <a:pt x="551" y="70"/>
                </a:cubicBezTo>
                <a:cubicBezTo>
                  <a:pt x="551" y="70"/>
                  <a:pt x="550" y="71"/>
                  <a:pt x="550" y="71"/>
                </a:cubicBezTo>
                <a:cubicBezTo>
                  <a:pt x="550" y="71"/>
                  <a:pt x="547" y="70"/>
                  <a:pt x="545" y="69"/>
                </a:cubicBezTo>
                <a:cubicBezTo>
                  <a:pt x="544" y="69"/>
                  <a:pt x="543" y="69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2" y="67"/>
                  <a:pt x="543" y="66"/>
                  <a:pt x="542" y="66"/>
                </a:cubicBezTo>
                <a:cubicBezTo>
                  <a:pt x="540" y="64"/>
                  <a:pt x="537" y="66"/>
                  <a:pt x="535" y="66"/>
                </a:cubicBezTo>
                <a:cubicBezTo>
                  <a:pt x="535" y="66"/>
                  <a:pt x="534" y="65"/>
                  <a:pt x="534" y="65"/>
                </a:cubicBezTo>
                <a:cubicBezTo>
                  <a:pt x="534" y="65"/>
                  <a:pt x="534" y="65"/>
                  <a:pt x="534" y="65"/>
                </a:cubicBezTo>
                <a:cubicBezTo>
                  <a:pt x="534" y="67"/>
                  <a:pt x="529" y="69"/>
                  <a:pt x="528" y="68"/>
                </a:cubicBezTo>
                <a:cubicBezTo>
                  <a:pt x="527" y="66"/>
                  <a:pt x="528" y="64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2"/>
                  <a:pt x="529" y="62"/>
                </a:cubicBezTo>
                <a:cubicBezTo>
                  <a:pt x="529" y="62"/>
                  <a:pt x="529" y="62"/>
                  <a:pt x="529" y="62"/>
                </a:cubicBezTo>
                <a:cubicBezTo>
                  <a:pt x="528" y="62"/>
                  <a:pt x="527" y="63"/>
                  <a:pt x="526" y="63"/>
                </a:cubicBezTo>
                <a:cubicBezTo>
                  <a:pt x="526" y="63"/>
                  <a:pt x="526" y="63"/>
                  <a:pt x="526" y="63"/>
                </a:cubicBezTo>
                <a:cubicBezTo>
                  <a:pt x="526" y="64"/>
                  <a:pt x="526" y="64"/>
                  <a:pt x="526" y="65"/>
                </a:cubicBezTo>
                <a:cubicBezTo>
                  <a:pt x="525" y="66"/>
                  <a:pt x="522" y="66"/>
                  <a:pt x="520" y="68"/>
                </a:cubicBezTo>
                <a:cubicBezTo>
                  <a:pt x="519" y="69"/>
                  <a:pt x="517" y="72"/>
                  <a:pt x="515" y="72"/>
                </a:cubicBezTo>
                <a:cubicBezTo>
                  <a:pt x="514" y="71"/>
                  <a:pt x="514" y="70"/>
                  <a:pt x="513" y="70"/>
                </a:cubicBezTo>
                <a:cubicBezTo>
                  <a:pt x="513" y="69"/>
                  <a:pt x="513" y="70"/>
                  <a:pt x="512" y="70"/>
                </a:cubicBezTo>
                <a:cubicBezTo>
                  <a:pt x="511" y="71"/>
                  <a:pt x="510" y="70"/>
                  <a:pt x="510" y="69"/>
                </a:cubicBezTo>
                <a:cubicBezTo>
                  <a:pt x="509" y="69"/>
                  <a:pt x="508" y="69"/>
                  <a:pt x="508" y="68"/>
                </a:cubicBezTo>
                <a:cubicBezTo>
                  <a:pt x="508" y="68"/>
                  <a:pt x="509" y="67"/>
                  <a:pt x="510" y="66"/>
                </a:cubicBezTo>
                <a:cubicBezTo>
                  <a:pt x="510" y="65"/>
                  <a:pt x="511" y="65"/>
                  <a:pt x="512" y="66"/>
                </a:cubicBezTo>
                <a:cubicBezTo>
                  <a:pt x="513" y="67"/>
                  <a:pt x="513" y="66"/>
                  <a:pt x="513" y="65"/>
                </a:cubicBezTo>
                <a:cubicBezTo>
                  <a:pt x="512" y="64"/>
                  <a:pt x="511" y="64"/>
                  <a:pt x="511" y="63"/>
                </a:cubicBezTo>
                <a:cubicBezTo>
                  <a:pt x="511" y="63"/>
                  <a:pt x="511" y="62"/>
                  <a:pt x="513" y="61"/>
                </a:cubicBezTo>
                <a:cubicBezTo>
                  <a:pt x="511" y="61"/>
                  <a:pt x="510" y="60"/>
                  <a:pt x="509" y="59"/>
                </a:cubicBezTo>
                <a:cubicBezTo>
                  <a:pt x="509" y="59"/>
                  <a:pt x="510" y="56"/>
                  <a:pt x="511" y="55"/>
                </a:cubicBezTo>
                <a:cubicBezTo>
                  <a:pt x="512" y="54"/>
                  <a:pt x="515" y="54"/>
                  <a:pt x="515" y="53"/>
                </a:cubicBezTo>
                <a:cubicBezTo>
                  <a:pt x="515" y="53"/>
                  <a:pt x="514" y="53"/>
                  <a:pt x="514" y="53"/>
                </a:cubicBezTo>
                <a:cubicBezTo>
                  <a:pt x="514" y="53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2" y="54"/>
                  <a:pt x="511" y="55"/>
                  <a:pt x="510" y="54"/>
                </a:cubicBezTo>
                <a:cubicBezTo>
                  <a:pt x="510" y="54"/>
                  <a:pt x="510" y="53"/>
                  <a:pt x="510" y="53"/>
                </a:cubicBezTo>
                <a:cubicBezTo>
                  <a:pt x="510" y="53"/>
                  <a:pt x="510" y="53"/>
                  <a:pt x="510" y="53"/>
                </a:cubicBezTo>
                <a:cubicBezTo>
                  <a:pt x="510" y="53"/>
                  <a:pt x="510" y="52"/>
                  <a:pt x="510" y="52"/>
                </a:cubicBezTo>
                <a:cubicBezTo>
                  <a:pt x="510" y="52"/>
                  <a:pt x="510" y="52"/>
                  <a:pt x="510" y="52"/>
                </a:cubicBezTo>
                <a:cubicBezTo>
                  <a:pt x="511" y="51"/>
                  <a:pt x="513" y="51"/>
                  <a:pt x="513" y="52"/>
                </a:cubicBezTo>
                <a:cubicBezTo>
                  <a:pt x="515" y="52"/>
                  <a:pt x="517" y="52"/>
                  <a:pt x="516" y="53"/>
                </a:cubicBezTo>
                <a:cubicBezTo>
                  <a:pt x="516" y="53"/>
                  <a:pt x="515" y="54"/>
                  <a:pt x="515" y="54"/>
                </a:cubicBezTo>
                <a:cubicBezTo>
                  <a:pt x="516" y="54"/>
                  <a:pt x="517" y="54"/>
                  <a:pt x="517" y="54"/>
                </a:cubicBezTo>
                <a:cubicBezTo>
                  <a:pt x="518" y="54"/>
                  <a:pt x="519" y="55"/>
                  <a:pt x="520" y="55"/>
                </a:cubicBezTo>
                <a:cubicBezTo>
                  <a:pt x="521" y="55"/>
                  <a:pt x="522" y="55"/>
                  <a:pt x="522" y="56"/>
                </a:cubicBezTo>
                <a:cubicBezTo>
                  <a:pt x="522" y="57"/>
                  <a:pt x="522" y="57"/>
                  <a:pt x="521" y="57"/>
                </a:cubicBezTo>
                <a:cubicBezTo>
                  <a:pt x="521" y="57"/>
                  <a:pt x="521" y="58"/>
                  <a:pt x="521" y="58"/>
                </a:cubicBezTo>
                <a:cubicBezTo>
                  <a:pt x="522" y="57"/>
                  <a:pt x="523" y="57"/>
                  <a:pt x="525" y="58"/>
                </a:cubicBezTo>
                <a:cubicBezTo>
                  <a:pt x="525" y="59"/>
                  <a:pt x="524" y="59"/>
                  <a:pt x="524" y="59"/>
                </a:cubicBezTo>
                <a:cubicBezTo>
                  <a:pt x="525" y="59"/>
                  <a:pt x="526" y="58"/>
                  <a:pt x="528" y="58"/>
                </a:cubicBezTo>
                <a:cubicBezTo>
                  <a:pt x="528" y="58"/>
                  <a:pt x="528" y="57"/>
                  <a:pt x="528" y="57"/>
                </a:cubicBezTo>
                <a:cubicBezTo>
                  <a:pt x="528" y="57"/>
                  <a:pt x="527" y="57"/>
                  <a:pt x="527" y="56"/>
                </a:cubicBezTo>
                <a:cubicBezTo>
                  <a:pt x="527" y="54"/>
                  <a:pt x="532" y="55"/>
                  <a:pt x="530" y="57"/>
                </a:cubicBezTo>
                <a:cubicBezTo>
                  <a:pt x="530" y="57"/>
                  <a:pt x="530" y="57"/>
                  <a:pt x="530" y="57"/>
                </a:cubicBezTo>
                <a:cubicBezTo>
                  <a:pt x="531" y="56"/>
                  <a:pt x="533" y="55"/>
                  <a:pt x="533" y="55"/>
                </a:cubicBezTo>
                <a:cubicBezTo>
                  <a:pt x="532" y="54"/>
                  <a:pt x="530" y="55"/>
                  <a:pt x="529" y="54"/>
                </a:cubicBezTo>
                <a:cubicBezTo>
                  <a:pt x="529" y="53"/>
                  <a:pt x="532" y="51"/>
                  <a:pt x="532" y="51"/>
                </a:cubicBezTo>
                <a:cubicBezTo>
                  <a:pt x="532" y="51"/>
                  <a:pt x="532" y="50"/>
                  <a:pt x="532" y="50"/>
                </a:cubicBezTo>
                <a:cubicBezTo>
                  <a:pt x="530" y="52"/>
                  <a:pt x="527" y="52"/>
                  <a:pt x="525" y="52"/>
                </a:cubicBezTo>
                <a:cubicBezTo>
                  <a:pt x="523" y="51"/>
                  <a:pt x="522" y="48"/>
                  <a:pt x="521" y="48"/>
                </a:cubicBezTo>
                <a:cubicBezTo>
                  <a:pt x="520" y="48"/>
                  <a:pt x="518" y="48"/>
                  <a:pt x="516" y="49"/>
                </a:cubicBezTo>
                <a:cubicBezTo>
                  <a:pt x="517" y="48"/>
                  <a:pt x="518" y="48"/>
                  <a:pt x="519" y="47"/>
                </a:cubicBezTo>
                <a:cubicBezTo>
                  <a:pt x="519" y="47"/>
                  <a:pt x="520" y="47"/>
                  <a:pt x="520" y="47"/>
                </a:cubicBezTo>
                <a:cubicBezTo>
                  <a:pt x="521" y="46"/>
                  <a:pt x="521" y="46"/>
                  <a:pt x="521" y="45"/>
                </a:cubicBezTo>
                <a:cubicBezTo>
                  <a:pt x="520" y="45"/>
                  <a:pt x="520" y="45"/>
                  <a:pt x="519" y="45"/>
                </a:cubicBezTo>
                <a:cubicBezTo>
                  <a:pt x="519" y="44"/>
                  <a:pt x="520" y="44"/>
                  <a:pt x="521" y="44"/>
                </a:cubicBezTo>
                <a:cubicBezTo>
                  <a:pt x="521" y="44"/>
                  <a:pt x="521" y="44"/>
                  <a:pt x="521" y="44"/>
                </a:cubicBezTo>
                <a:cubicBezTo>
                  <a:pt x="521" y="43"/>
                  <a:pt x="521" y="41"/>
                  <a:pt x="521" y="40"/>
                </a:cubicBezTo>
                <a:cubicBezTo>
                  <a:pt x="521" y="40"/>
                  <a:pt x="520" y="40"/>
                  <a:pt x="520" y="40"/>
                </a:cubicBezTo>
                <a:cubicBezTo>
                  <a:pt x="520" y="40"/>
                  <a:pt x="520" y="40"/>
                  <a:pt x="520" y="40"/>
                </a:cubicBezTo>
                <a:cubicBezTo>
                  <a:pt x="520" y="40"/>
                  <a:pt x="520" y="40"/>
                  <a:pt x="520" y="39"/>
                </a:cubicBezTo>
                <a:cubicBezTo>
                  <a:pt x="520" y="39"/>
                  <a:pt x="520" y="39"/>
                  <a:pt x="520" y="39"/>
                </a:cubicBezTo>
                <a:cubicBezTo>
                  <a:pt x="510" y="34"/>
                  <a:pt x="501" y="30"/>
                  <a:pt x="491" y="26"/>
                </a:cubicBezTo>
                <a:cubicBezTo>
                  <a:pt x="491" y="26"/>
                  <a:pt x="489" y="27"/>
                  <a:pt x="489" y="27"/>
                </a:cubicBezTo>
                <a:cubicBezTo>
                  <a:pt x="489" y="26"/>
                  <a:pt x="489" y="26"/>
                  <a:pt x="490" y="26"/>
                </a:cubicBezTo>
                <a:cubicBezTo>
                  <a:pt x="487" y="24"/>
                  <a:pt x="483" y="23"/>
                  <a:pt x="480" y="22"/>
                </a:cubicBezTo>
                <a:cubicBezTo>
                  <a:pt x="480" y="22"/>
                  <a:pt x="480" y="22"/>
                  <a:pt x="480" y="22"/>
                </a:cubicBezTo>
                <a:cubicBezTo>
                  <a:pt x="478" y="22"/>
                  <a:pt x="476" y="25"/>
                  <a:pt x="474" y="25"/>
                </a:cubicBezTo>
                <a:cubicBezTo>
                  <a:pt x="472" y="25"/>
                  <a:pt x="473" y="25"/>
                  <a:pt x="471" y="25"/>
                </a:cubicBezTo>
                <a:cubicBezTo>
                  <a:pt x="471" y="25"/>
                  <a:pt x="469" y="26"/>
                  <a:pt x="468" y="27"/>
                </a:cubicBezTo>
                <a:cubicBezTo>
                  <a:pt x="467" y="27"/>
                  <a:pt x="464" y="29"/>
                  <a:pt x="464" y="29"/>
                </a:cubicBezTo>
                <a:cubicBezTo>
                  <a:pt x="462" y="30"/>
                  <a:pt x="464" y="30"/>
                  <a:pt x="462" y="30"/>
                </a:cubicBezTo>
                <a:cubicBezTo>
                  <a:pt x="461" y="30"/>
                  <a:pt x="461" y="30"/>
                  <a:pt x="460" y="30"/>
                </a:cubicBezTo>
                <a:cubicBezTo>
                  <a:pt x="461" y="30"/>
                  <a:pt x="461" y="30"/>
                  <a:pt x="461" y="30"/>
                </a:cubicBezTo>
                <a:cubicBezTo>
                  <a:pt x="462" y="31"/>
                  <a:pt x="459" y="32"/>
                  <a:pt x="459" y="31"/>
                </a:cubicBezTo>
                <a:cubicBezTo>
                  <a:pt x="459" y="31"/>
                  <a:pt x="458" y="32"/>
                  <a:pt x="458" y="32"/>
                </a:cubicBezTo>
                <a:cubicBezTo>
                  <a:pt x="458" y="32"/>
                  <a:pt x="458" y="33"/>
                  <a:pt x="458" y="33"/>
                </a:cubicBezTo>
                <a:cubicBezTo>
                  <a:pt x="461" y="34"/>
                  <a:pt x="463" y="32"/>
                  <a:pt x="461" y="36"/>
                </a:cubicBezTo>
                <a:cubicBezTo>
                  <a:pt x="461" y="37"/>
                  <a:pt x="462" y="37"/>
                  <a:pt x="461" y="37"/>
                </a:cubicBezTo>
                <a:cubicBezTo>
                  <a:pt x="460" y="39"/>
                  <a:pt x="459" y="37"/>
                  <a:pt x="459" y="36"/>
                </a:cubicBezTo>
                <a:cubicBezTo>
                  <a:pt x="458" y="37"/>
                  <a:pt x="458" y="38"/>
                  <a:pt x="460" y="39"/>
                </a:cubicBezTo>
                <a:cubicBezTo>
                  <a:pt x="460" y="39"/>
                  <a:pt x="457" y="39"/>
                  <a:pt x="456" y="39"/>
                </a:cubicBezTo>
                <a:cubicBezTo>
                  <a:pt x="456" y="39"/>
                  <a:pt x="454" y="36"/>
                  <a:pt x="453" y="35"/>
                </a:cubicBezTo>
                <a:cubicBezTo>
                  <a:pt x="452" y="35"/>
                  <a:pt x="451" y="36"/>
                  <a:pt x="451" y="36"/>
                </a:cubicBezTo>
                <a:cubicBezTo>
                  <a:pt x="449" y="37"/>
                  <a:pt x="446" y="38"/>
                  <a:pt x="444" y="39"/>
                </a:cubicBezTo>
                <a:cubicBezTo>
                  <a:pt x="443" y="40"/>
                  <a:pt x="443" y="40"/>
                  <a:pt x="442" y="40"/>
                </a:cubicBezTo>
                <a:cubicBezTo>
                  <a:pt x="441" y="40"/>
                  <a:pt x="440" y="41"/>
                  <a:pt x="439" y="41"/>
                </a:cubicBezTo>
                <a:cubicBezTo>
                  <a:pt x="437" y="42"/>
                  <a:pt x="435" y="43"/>
                  <a:pt x="432" y="44"/>
                </a:cubicBezTo>
                <a:cubicBezTo>
                  <a:pt x="433" y="44"/>
                  <a:pt x="433" y="44"/>
                  <a:pt x="433" y="44"/>
                </a:cubicBezTo>
                <a:cubicBezTo>
                  <a:pt x="433" y="44"/>
                  <a:pt x="433" y="44"/>
                  <a:pt x="432" y="44"/>
                </a:cubicBezTo>
                <a:cubicBezTo>
                  <a:pt x="432" y="44"/>
                  <a:pt x="431" y="44"/>
                  <a:pt x="431" y="44"/>
                </a:cubicBezTo>
                <a:cubicBezTo>
                  <a:pt x="430" y="44"/>
                  <a:pt x="427" y="45"/>
                  <a:pt x="427" y="46"/>
                </a:cubicBezTo>
                <a:cubicBezTo>
                  <a:pt x="427" y="46"/>
                  <a:pt x="433" y="44"/>
                  <a:pt x="432" y="48"/>
                </a:cubicBezTo>
                <a:cubicBezTo>
                  <a:pt x="432" y="49"/>
                  <a:pt x="431" y="49"/>
                  <a:pt x="431" y="49"/>
                </a:cubicBezTo>
                <a:cubicBezTo>
                  <a:pt x="435" y="49"/>
                  <a:pt x="440" y="49"/>
                  <a:pt x="444" y="50"/>
                </a:cubicBezTo>
                <a:cubicBezTo>
                  <a:pt x="444" y="47"/>
                  <a:pt x="436" y="48"/>
                  <a:pt x="436" y="45"/>
                </a:cubicBezTo>
                <a:cubicBezTo>
                  <a:pt x="436" y="42"/>
                  <a:pt x="442" y="45"/>
                  <a:pt x="444" y="43"/>
                </a:cubicBezTo>
                <a:cubicBezTo>
                  <a:pt x="445" y="43"/>
                  <a:pt x="444" y="42"/>
                  <a:pt x="445" y="42"/>
                </a:cubicBezTo>
                <a:cubicBezTo>
                  <a:pt x="446" y="42"/>
                  <a:pt x="449" y="43"/>
                  <a:pt x="448" y="41"/>
                </a:cubicBezTo>
                <a:cubicBezTo>
                  <a:pt x="448" y="38"/>
                  <a:pt x="459" y="43"/>
                  <a:pt x="460" y="46"/>
                </a:cubicBezTo>
                <a:cubicBezTo>
                  <a:pt x="460" y="48"/>
                  <a:pt x="459" y="52"/>
                  <a:pt x="458" y="52"/>
                </a:cubicBezTo>
                <a:cubicBezTo>
                  <a:pt x="458" y="53"/>
                  <a:pt x="452" y="54"/>
                  <a:pt x="452" y="54"/>
                </a:cubicBezTo>
                <a:cubicBezTo>
                  <a:pt x="451" y="53"/>
                  <a:pt x="449" y="53"/>
                  <a:pt x="448" y="53"/>
                </a:cubicBezTo>
                <a:cubicBezTo>
                  <a:pt x="449" y="53"/>
                  <a:pt x="449" y="53"/>
                  <a:pt x="449" y="54"/>
                </a:cubicBezTo>
                <a:cubicBezTo>
                  <a:pt x="450" y="55"/>
                  <a:pt x="450" y="57"/>
                  <a:pt x="450" y="58"/>
                </a:cubicBezTo>
                <a:cubicBezTo>
                  <a:pt x="447" y="62"/>
                  <a:pt x="436" y="61"/>
                  <a:pt x="432" y="59"/>
                </a:cubicBezTo>
                <a:cubicBezTo>
                  <a:pt x="432" y="60"/>
                  <a:pt x="432" y="61"/>
                  <a:pt x="432" y="62"/>
                </a:cubicBezTo>
                <a:cubicBezTo>
                  <a:pt x="431" y="65"/>
                  <a:pt x="423" y="63"/>
                  <a:pt x="423" y="60"/>
                </a:cubicBezTo>
                <a:cubicBezTo>
                  <a:pt x="423" y="61"/>
                  <a:pt x="421" y="60"/>
                  <a:pt x="421" y="60"/>
                </a:cubicBezTo>
                <a:cubicBezTo>
                  <a:pt x="421" y="59"/>
                  <a:pt x="423" y="59"/>
                  <a:pt x="423" y="60"/>
                </a:cubicBezTo>
                <a:cubicBezTo>
                  <a:pt x="424" y="58"/>
                  <a:pt x="427" y="58"/>
                  <a:pt x="429" y="58"/>
                </a:cubicBezTo>
                <a:cubicBezTo>
                  <a:pt x="430" y="58"/>
                  <a:pt x="431" y="57"/>
                  <a:pt x="432" y="55"/>
                </a:cubicBezTo>
                <a:cubicBezTo>
                  <a:pt x="432" y="55"/>
                  <a:pt x="432" y="53"/>
                  <a:pt x="432" y="54"/>
                </a:cubicBezTo>
                <a:cubicBezTo>
                  <a:pt x="432" y="53"/>
                  <a:pt x="434" y="52"/>
                  <a:pt x="435" y="52"/>
                </a:cubicBezTo>
                <a:cubicBezTo>
                  <a:pt x="435" y="50"/>
                  <a:pt x="431" y="50"/>
                  <a:pt x="429" y="50"/>
                </a:cubicBezTo>
                <a:cubicBezTo>
                  <a:pt x="427" y="50"/>
                  <a:pt x="423" y="49"/>
                  <a:pt x="422" y="48"/>
                </a:cubicBezTo>
                <a:cubicBezTo>
                  <a:pt x="422" y="48"/>
                  <a:pt x="422" y="47"/>
                  <a:pt x="422" y="47"/>
                </a:cubicBezTo>
                <a:cubicBezTo>
                  <a:pt x="422" y="47"/>
                  <a:pt x="421" y="47"/>
                  <a:pt x="421" y="48"/>
                </a:cubicBezTo>
                <a:cubicBezTo>
                  <a:pt x="420" y="48"/>
                  <a:pt x="419" y="49"/>
                  <a:pt x="417" y="50"/>
                </a:cubicBezTo>
                <a:cubicBezTo>
                  <a:pt x="417" y="50"/>
                  <a:pt x="416" y="50"/>
                  <a:pt x="416" y="51"/>
                </a:cubicBezTo>
                <a:cubicBezTo>
                  <a:pt x="418" y="53"/>
                  <a:pt x="416" y="54"/>
                  <a:pt x="414" y="54"/>
                </a:cubicBezTo>
                <a:cubicBezTo>
                  <a:pt x="413" y="54"/>
                  <a:pt x="412" y="54"/>
                  <a:pt x="412" y="54"/>
                </a:cubicBezTo>
                <a:cubicBezTo>
                  <a:pt x="412" y="54"/>
                  <a:pt x="412" y="54"/>
                  <a:pt x="412" y="53"/>
                </a:cubicBezTo>
                <a:cubicBezTo>
                  <a:pt x="411" y="53"/>
                  <a:pt x="411" y="53"/>
                  <a:pt x="411" y="53"/>
                </a:cubicBezTo>
                <a:cubicBezTo>
                  <a:pt x="410" y="53"/>
                  <a:pt x="410" y="53"/>
                  <a:pt x="410" y="53"/>
                </a:cubicBezTo>
                <a:cubicBezTo>
                  <a:pt x="409" y="53"/>
                  <a:pt x="409" y="54"/>
                  <a:pt x="409" y="54"/>
                </a:cubicBezTo>
                <a:cubicBezTo>
                  <a:pt x="408" y="55"/>
                  <a:pt x="407" y="54"/>
                  <a:pt x="407" y="55"/>
                </a:cubicBezTo>
                <a:cubicBezTo>
                  <a:pt x="406" y="55"/>
                  <a:pt x="405" y="56"/>
                  <a:pt x="404" y="57"/>
                </a:cubicBezTo>
                <a:cubicBezTo>
                  <a:pt x="404" y="57"/>
                  <a:pt x="404" y="58"/>
                  <a:pt x="402" y="58"/>
                </a:cubicBezTo>
                <a:cubicBezTo>
                  <a:pt x="401" y="59"/>
                  <a:pt x="401" y="59"/>
                  <a:pt x="400" y="60"/>
                </a:cubicBezTo>
                <a:cubicBezTo>
                  <a:pt x="396" y="62"/>
                  <a:pt x="392" y="63"/>
                  <a:pt x="388" y="64"/>
                </a:cubicBezTo>
                <a:cubicBezTo>
                  <a:pt x="387" y="65"/>
                  <a:pt x="387" y="65"/>
                  <a:pt x="387" y="65"/>
                </a:cubicBezTo>
                <a:cubicBezTo>
                  <a:pt x="387" y="65"/>
                  <a:pt x="388" y="65"/>
                  <a:pt x="388" y="65"/>
                </a:cubicBezTo>
                <a:cubicBezTo>
                  <a:pt x="389" y="65"/>
                  <a:pt x="391" y="66"/>
                  <a:pt x="392" y="67"/>
                </a:cubicBezTo>
                <a:cubicBezTo>
                  <a:pt x="392" y="67"/>
                  <a:pt x="393" y="68"/>
                  <a:pt x="392" y="68"/>
                </a:cubicBezTo>
                <a:cubicBezTo>
                  <a:pt x="393" y="69"/>
                  <a:pt x="394" y="70"/>
                  <a:pt x="393" y="71"/>
                </a:cubicBezTo>
                <a:cubicBezTo>
                  <a:pt x="393" y="78"/>
                  <a:pt x="380" y="78"/>
                  <a:pt x="374" y="76"/>
                </a:cubicBezTo>
                <a:cubicBezTo>
                  <a:pt x="373" y="75"/>
                  <a:pt x="371" y="73"/>
                  <a:pt x="370" y="72"/>
                </a:cubicBezTo>
                <a:cubicBezTo>
                  <a:pt x="368" y="73"/>
                  <a:pt x="366" y="74"/>
                  <a:pt x="366" y="73"/>
                </a:cubicBezTo>
                <a:cubicBezTo>
                  <a:pt x="365" y="72"/>
                  <a:pt x="367" y="71"/>
                  <a:pt x="369" y="70"/>
                </a:cubicBezTo>
                <a:cubicBezTo>
                  <a:pt x="369" y="70"/>
                  <a:pt x="369" y="70"/>
                  <a:pt x="369" y="70"/>
                </a:cubicBezTo>
                <a:cubicBezTo>
                  <a:pt x="368" y="69"/>
                  <a:pt x="366" y="69"/>
                  <a:pt x="366" y="69"/>
                </a:cubicBezTo>
                <a:cubicBezTo>
                  <a:pt x="366" y="67"/>
                  <a:pt x="370" y="65"/>
                  <a:pt x="374" y="64"/>
                </a:cubicBezTo>
                <a:cubicBezTo>
                  <a:pt x="369" y="65"/>
                  <a:pt x="362" y="65"/>
                  <a:pt x="358" y="66"/>
                </a:cubicBezTo>
                <a:cubicBezTo>
                  <a:pt x="358" y="66"/>
                  <a:pt x="351" y="68"/>
                  <a:pt x="351" y="67"/>
                </a:cubicBezTo>
                <a:cubicBezTo>
                  <a:pt x="350" y="66"/>
                  <a:pt x="356" y="66"/>
                  <a:pt x="357" y="65"/>
                </a:cubicBezTo>
                <a:cubicBezTo>
                  <a:pt x="363" y="65"/>
                  <a:pt x="372" y="62"/>
                  <a:pt x="379" y="62"/>
                </a:cubicBezTo>
                <a:cubicBezTo>
                  <a:pt x="379" y="62"/>
                  <a:pt x="379" y="62"/>
                  <a:pt x="379" y="62"/>
                </a:cubicBezTo>
                <a:cubicBezTo>
                  <a:pt x="379" y="62"/>
                  <a:pt x="380" y="62"/>
                  <a:pt x="379" y="62"/>
                </a:cubicBezTo>
                <a:cubicBezTo>
                  <a:pt x="379" y="63"/>
                  <a:pt x="379" y="63"/>
                  <a:pt x="378" y="63"/>
                </a:cubicBezTo>
                <a:cubicBezTo>
                  <a:pt x="379" y="63"/>
                  <a:pt x="381" y="63"/>
                  <a:pt x="382" y="63"/>
                </a:cubicBezTo>
                <a:cubicBezTo>
                  <a:pt x="382" y="62"/>
                  <a:pt x="383" y="61"/>
                  <a:pt x="383" y="61"/>
                </a:cubicBezTo>
                <a:cubicBezTo>
                  <a:pt x="384" y="61"/>
                  <a:pt x="384" y="62"/>
                  <a:pt x="384" y="62"/>
                </a:cubicBezTo>
                <a:cubicBezTo>
                  <a:pt x="385" y="61"/>
                  <a:pt x="385" y="60"/>
                  <a:pt x="386" y="60"/>
                </a:cubicBezTo>
                <a:cubicBezTo>
                  <a:pt x="387" y="59"/>
                  <a:pt x="389" y="59"/>
                  <a:pt x="390" y="59"/>
                </a:cubicBezTo>
                <a:cubicBezTo>
                  <a:pt x="392" y="58"/>
                  <a:pt x="393" y="57"/>
                  <a:pt x="395" y="56"/>
                </a:cubicBezTo>
                <a:cubicBezTo>
                  <a:pt x="396" y="56"/>
                  <a:pt x="396" y="56"/>
                  <a:pt x="396" y="56"/>
                </a:cubicBezTo>
                <a:cubicBezTo>
                  <a:pt x="398" y="55"/>
                  <a:pt x="399" y="53"/>
                  <a:pt x="400" y="52"/>
                </a:cubicBezTo>
                <a:cubicBezTo>
                  <a:pt x="401" y="52"/>
                  <a:pt x="402" y="53"/>
                  <a:pt x="402" y="52"/>
                </a:cubicBezTo>
                <a:cubicBezTo>
                  <a:pt x="404" y="52"/>
                  <a:pt x="405" y="51"/>
                  <a:pt x="407" y="50"/>
                </a:cubicBezTo>
                <a:cubicBezTo>
                  <a:pt x="409" y="50"/>
                  <a:pt x="411" y="48"/>
                  <a:pt x="411" y="48"/>
                </a:cubicBezTo>
                <a:cubicBezTo>
                  <a:pt x="412" y="48"/>
                  <a:pt x="412" y="49"/>
                  <a:pt x="412" y="49"/>
                </a:cubicBezTo>
                <a:cubicBezTo>
                  <a:pt x="413" y="48"/>
                  <a:pt x="413" y="48"/>
                  <a:pt x="413" y="47"/>
                </a:cubicBezTo>
                <a:cubicBezTo>
                  <a:pt x="414" y="47"/>
                  <a:pt x="414" y="48"/>
                  <a:pt x="415" y="48"/>
                </a:cubicBezTo>
                <a:cubicBezTo>
                  <a:pt x="415" y="47"/>
                  <a:pt x="415" y="47"/>
                  <a:pt x="416" y="46"/>
                </a:cubicBezTo>
                <a:cubicBezTo>
                  <a:pt x="416" y="46"/>
                  <a:pt x="416" y="47"/>
                  <a:pt x="417" y="47"/>
                </a:cubicBezTo>
                <a:cubicBezTo>
                  <a:pt x="417" y="47"/>
                  <a:pt x="417" y="46"/>
                  <a:pt x="418" y="45"/>
                </a:cubicBezTo>
                <a:cubicBezTo>
                  <a:pt x="419" y="45"/>
                  <a:pt x="419" y="46"/>
                  <a:pt x="420" y="45"/>
                </a:cubicBezTo>
                <a:cubicBezTo>
                  <a:pt x="420" y="45"/>
                  <a:pt x="420" y="44"/>
                  <a:pt x="421" y="44"/>
                </a:cubicBezTo>
                <a:cubicBezTo>
                  <a:pt x="422" y="43"/>
                  <a:pt x="424" y="43"/>
                  <a:pt x="425" y="42"/>
                </a:cubicBezTo>
                <a:cubicBezTo>
                  <a:pt x="427" y="40"/>
                  <a:pt x="432" y="39"/>
                  <a:pt x="435" y="36"/>
                </a:cubicBezTo>
                <a:cubicBezTo>
                  <a:pt x="438" y="35"/>
                  <a:pt x="441" y="33"/>
                  <a:pt x="444" y="32"/>
                </a:cubicBezTo>
                <a:cubicBezTo>
                  <a:pt x="444" y="32"/>
                  <a:pt x="443" y="32"/>
                  <a:pt x="443" y="32"/>
                </a:cubicBezTo>
                <a:cubicBezTo>
                  <a:pt x="440" y="31"/>
                  <a:pt x="439" y="28"/>
                  <a:pt x="438" y="28"/>
                </a:cubicBezTo>
                <a:cubicBezTo>
                  <a:pt x="437" y="28"/>
                  <a:pt x="437" y="28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5" y="30"/>
                  <a:pt x="434" y="30"/>
                  <a:pt x="433" y="31"/>
                </a:cubicBezTo>
                <a:cubicBezTo>
                  <a:pt x="432" y="31"/>
                  <a:pt x="431" y="31"/>
                  <a:pt x="431" y="30"/>
                </a:cubicBezTo>
                <a:cubicBezTo>
                  <a:pt x="431" y="30"/>
                  <a:pt x="431" y="30"/>
                  <a:pt x="431" y="30"/>
                </a:cubicBezTo>
                <a:cubicBezTo>
                  <a:pt x="430" y="30"/>
                  <a:pt x="430" y="31"/>
                  <a:pt x="429" y="31"/>
                </a:cubicBezTo>
                <a:cubicBezTo>
                  <a:pt x="428" y="32"/>
                  <a:pt x="425" y="32"/>
                  <a:pt x="424" y="31"/>
                </a:cubicBezTo>
                <a:cubicBezTo>
                  <a:pt x="424" y="31"/>
                  <a:pt x="425" y="30"/>
                  <a:pt x="426" y="30"/>
                </a:cubicBezTo>
                <a:cubicBezTo>
                  <a:pt x="426" y="30"/>
                  <a:pt x="425" y="29"/>
                  <a:pt x="425" y="29"/>
                </a:cubicBezTo>
                <a:cubicBezTo>
                  <a:pt x="424" y="30"/>
                  <a:pt x="423" y="30"/>
                  <a:pt x="423" y="30"/>
                </a:cubicBezTo>
                <a:cubicBezTo>
                  <a:pt x="418" y="29"/>
                  <a:pt x="416" y="25"/>
                  <a:pt x="419" y="23"/>
                </a:cubicBezTo>
                <a:cubicBezTo>
                  <a:pt x="421" y="21"/>
                  <a:pt x="429" y="22"/>
                  <a:pt x="429" y="26"/>
                </a:cubicBezTo>
                <a:cubicBezTo>
                  <a:pt x="429" y="29"/>
                  <a:pt x="428" y="27"/>
                  <a:pt x="431" y="27"/>
                </a:cubicBezTo>
                <a:cubicBezTo>
                  <a:pt x="434" y="26"/>
                  <a:pt x="435" y="27"/>
                  <a:pt x="436" y="25"/>
                </a:cubicBezTo>
                <a:cubicBezTo>
                  <a:pt x="439" y="21"/>
                  <a:pt x="442" y="21"/>
                  <a:pt x="446" y="22"/>
                </a:cubicBezTo>
                <a:cubicBezTo>
                  <a:pt x="446" y="21"/>
                  <a:pt x="448" y="21"/>
                  <a:pt x="449" y="22"/>
                </a:cubicBezTo>
                <a:cubicBezTo>
                  <a:pt x="450" y="22"/>
                  <a:pt x="450" y="21"/>
                  <a:pt x="451" y="21"/>
                </a:cubicBezTo>
                <a:cubicBezTo>
                  <a:pt x="452" y="22"/>
                  <a:pt x="451" y="23"/>
                  <a:pt x="450" y="24"/>
                </a:cubicBezTo>
                <a:cubicBezTo>
                  <a:pt x="451" y="25"/>
                  <a:pt x="452" y="26"/>
                  <a:pt x="452" y="28"/>
                </a:cubicBezTo>
                <a:cubicBezTo>
                  <a:pt x="451" y="28"/>
                  <a:pt x="451" y="29"/>
                  <a:pt x="451" y="30"/>
                </a:cubicBezTo>
                <a:cubicBezTo>
                  <a:pt x="451" y="29"/>
                  <a:pt x="451" y="29"/>
                  <a:pt x="452" y="29"/>
                </a:cubicBezTo>
                <a:cubicBezTo>
                  <a:pt x="453" y="29"/>
                  <a:pt x="455" y="29"/>
                  <a:pt x="457" y="29"/>
                </a:cubicBezTo>
                <a:cubicBezTo>
                  <a:pt x="458" y="28"/>
                  <a:pt x="458" y="27"/>
                  <a:pt x="460" y="27"/>
                </a:cubicBezTo>
                <a:cubicBezTo>
                  <a:pt x="461" y="26"/>
                  <a:pt x="463" y="26"/>
                  <a:pt x="465" y="26"/>
                </a:cubicBezTo>
                <a:cubicBezTo>
                  <a:pt x="463" y="25"/>
                  <a:pt x="462" y="25"/>
                  <a:pt x="460" y="25"/>
                </a:cubicBezTo>
                <a:cubicBezTo>
                  <a:pt x="462" y="25"/>
                  <a:pt x="462" y="23"/>
                  <a:pt x="461" y="23"/>
                </a:cubicBezTo>
                <a:cubicBezTo>
                  <a:pt x="461" y="23"/>
                  <a:pt x="462" y="21"/>
                  <a:pt x="463" y="20"/>
                </a:cubicBezTo>
                <a:cubicBezTo>
                  <a:pt x="464" y="20"/>
                  <a:pt x="465" y="20"/>
                  <a:pt x="466" y="20"/>
                </a:cubicBezTo>
                <a:cubicBezTo>
                  <a:pt x="466" y="20"/>
                  <a:pt x="467" y="20"/>
                  <a:pt x="468" y="20"/>
                </a:cubicBezTo>
                <a:cubicBezTo>
                  <a:pt x="468" y="21"/>
                  <a:pt x="467" y="21"/>
                  <a:pt x="466" y="21"/>
                </a:cubicBezTo>
                <a:cubicBezTo>
                  <a:pt x="468" y="22"/>
                  <a:pt x="468" y="23"/>
                  <a:pt x="468" y="24"/>
                </a:cubicBezTo>
                <a:cubicBezTo>
                  <a:pt x="469" y="23"/>
                  <a:pt x="470" y="23"/>
                  <a:pt x="471" y="22"/>
                </a:cubicBezTo>
                <a:cubicBezTo>
                  <a:pt x="471" y="22"/>
                  <a:pt x="470" y="22"/>
                  <a:pt x="470" y="21"/>
                </a:cubicBezTo>
                <a:cubicBezTo>
                  <a:pt x="469" y="20"/>
                  <a:pt x="471" y="19"/>
                  <a:pt x="473" y="19"/>
                </a:cubicBezTo>
                <a:cubicBezTo>
                  <a:pt x="473" y="19"/>
                  <a:pt x="473" y="19"/>
                  <a:pt x="473" y="19"/>
                </a:cubicBezTo>
                <a:cubicBezTo>
                  <a:pt x="456" y="13"/>
                  <a:pt x="438" y="9"/>
                  <a:pt x="419" y="5"/>
                </a:cubicBezTo>
                <a:cubicBezTo>
                  <a:pt x="427" y="10"/>
                  <a:pt x="416" y="16"/>
                  <a:pt x="410" y="12"/>
                </a:cubicBezTo>
                <a:cubicBezTo>
                  <a:pt x="408" y="10"/>
                  <a:pt x="409" y="9"/>
                  <a:pt x="407" y="7"/>
                </a:cubicBezTo>
                <a:cubicBezTo>
                  <a:pt x="408" y="6"/>
                  <a:pt x="410" y="5"/>
                  <a:pt x="412" y="4"/>
                </a:cubicBezTo>
                <a:cubicBezTo>
                  <a:pt x="408" y="4"/>
                  <a:pt x="405" y="3"/>
                  <a:pt x="401" y="3"/>
                </a:cubicBezTo>
                <a:cubicBezTo>
                  <a:pt x="401" y="3"/>
                  <a:pt x="401" y="3"/>
                  <a:pt x="401" y="3"/>
                </a:cubicBezTo>
                <a:cubicBezTo>
                  <a:pt x="398" y="2"/>
                  <a:pt x="396" y="2"/>
                  <a:pt x="393" y="2"/>
                </a:cubicBezTo>
                <a:cubicBezTo>
                  <a:pt x="392" y="6"/>
                  <a:pt x="385" y="4"/>
                  <a:pt x="382" y="1"/>
                </a:cubicBezTo>
                <a:cubicBezTo>
                  <a:pt x="374" y="0"/>
                  <a:pt x="366" y="0"/>
                  <a:pt x="357" y="0"/>
                </a:cubicBezTo>
                <a:cubicBezTo>
                  <a:pt x="343" y="0"/>
                  <a:pt x="328" y="1"/>
                  <a:pt x="314" y="3"/>
                </a:cubicBezTo>
                <a:cubicBezTo>
                  <a:pt x="314" y="3"/>
                  <a:pt x="314" y="3"/>
                  <a:pt x="315" y="3"/>
                </a:cubicBezTo>
                <a:cubicBezTo>
                  <a:pt x="315" y="3"/>
                  <a:pt x="315" y="3"/>
                  <a:pt x="315" y="3"/>
                </a:cubicBezTo>
                <a:cubicBezTo>
                  <a:pt x="315" y="4"/>
                  <a:pt x="314" y="3"/>
                  <a:pt x="314" y="3"/>
                </a:cubicBezTo>
                <a:cubicBezTo>
                  <a:pt x="138" y="24"/>
                  <a:pt x="1" y="173"/>
                  <a:pt x="0" y="354"/>
                </a:cubicBezTo>
                <a:cubicBezTo>
                  <a:pt x="0" y="354"/>
                  <a:pt x="0" y="353"/>
                  <a:pt x="1" y="353"/>
                </a:cubicBezTo>
                <a:cubicBezTo>
                  <a:pt x="1" y="353"/>
                  <a:pt x="2" y="356"/>
                  <a:pt x="1" y="356"/>
                </a:cubicBezTo>
                <a:cubicBezTo>
                  <a:pt x="0" y="357"/>
                  <a:pt x="0" y="356"/>
                  <a:pt x="0" y="356"/>
                </a:cubicBezTo>
                <a:cubicBezTo>
                  <a:pt x="0" y="356"/>
                  <a:pt x="0" y="357"/>
                  <a:pt x="0" y="357"/>
                </a:cubicBezTo>
                <a:cubicBezTo>
                  <a:pt x="0" y="375"/>
                  <a:pt x="1" y="392"/>
                  <a:pt x="4" y="409"/>
                </a:cubicBezTo>
                <a:cubicBezTo>
                  <a:pt x="4" y="409"/>
                  <a:pt x="4" y="409"/>
                  <a:pt x="4" y="409"/>
                </a:cubicBezTo>
                <a:cubicBezTo>
                  <a:pt x="5" y="409"/>
                  <a:pt x="5" y="412"/>
                  <a:pt x="5" y="412"/>
                </a:cubicBezTo>
                <a:cubicBezTo>
                  <a:pt x="4" y="413"/>
                  <a:pt x="4" y="413"/>
                  <a:pt x="4" y="413"/>
                </a:cubicBezTo>
                <a:cubicBezTo>
                  <a:pt x="5" y="418"/>
                  <a:pt x="6" y="424"/>
                  <a:pt x="7" y="429"/>
                </a:cubicBezTo>
                <a:cubicBezTo>
                  <a:pt x="8" y="429"/>
                  <a:pt x="8" y="429"/>
                  <a:pt x="8" y="429"/>
                </a:cubicBezTo>
                <a:cubicBezTo>
                  <a:pt x="9" y="430"/>
                  <a:pt x="8" y="430"/>
                  <a:pt x="7" y="431"/>
                </a:cubicBezTo>
                <a:cubicBezTo>
                  <a:pt x="8" y="433"/>
                  <a:pt x="8" y="435"/>
                  <a:pt x="9" y="438"/>
                </a:cubicBezTo>
                <a:cubicBezTo>
                  <a:pt x="9" y="438"/>
                  <a:pt x="9" y="438"/>
                  <a:pt x="9" y="438"/>
                </a:cubicBezTo>
                <a:cubicBezTo>
                  <a:pt x="9" y="440"/>
                  <a:pt x="10" y="441"/>
                  <a:pt x="10" y="443"/>
                </a:cubicBezTo>
                <a:cubicBezTo>
                  <a:pt x="10" y="443"/>
                  <a:pt x="10" y="443"/>
                  <a:pt x="10" y="442"/>
                </a:cubicBezTo>
                <a:cubicBezTo>
                  <a:pt x="10" y="442"/>
                  <a:pt x="10" y="442"/>
                  <a:pt x="10" y="441"/>
                </a:cubicBezTo>
                <a:cubicBezTo>
                  <a:pt x="10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2" y="441"/>
                  <a:pt x="13" y="440"/>
                  <a:pt x="14" y="440"/>
                </a:cubicBezTo>
                <a:cubicBezTo>
                  <a:pt x="14" y="439"/>
                  <a:pt x="15" y="438"/>
                  <a:pt x="16" y="439"/>
                </a:cubicBezTo>
                <a:cubicBezTo>
                  <a:pt x="17" y="439"/>
                  <a:pt x="17" y="439"/>
                  <a:pt x="18" y="440"/>
                </a:cubicBezTo>
                <a:cubicBezTo>
                  <a:pt x="20" y="443"/>
                  <a:pt x="19" y="438"/>
                  <a:pt x="18" y="438"/>
                </a:cubicBezTo>
                <a:cubicBezTo>
                  <a:pt x="18" y="438"/>
                  <a:pt x="18" y="438"/>
                  <a:pt x="17" y="437"/>
                </a:cubicBezTo>
                <a:cubicBezTo>
                  <a:pt x="17" y="437"/>
                  <a:pt x="17" y="437"/>
                  <a:pt x="17" y="436"/>
                </a:cubicBezTo>
                <a:cubicBezTo>
                  <a:pt x="17" y="435"/>
                  <a:pt x="17" y="432"/>
                  <a:pt x="17" y="431"/>
                </a:cubicBezTo>
                <a:cubicBezTo>
                  <a:pt x="17" y="433"/>
                  <a:pt x="18" y="434"/>
                  <a:pt x="19" y="435"/>
                </a:cubicBezTo>
                <a:cubicBezTo>
                  <a:pt x="19" y="435"/>
                  <a:pt x="19" y="435"/>
                  <a:pt x="19" y="435"/>
                </a:cubicBezTo>
                <a:cubicBezTo>
                  <a:pt x="20" y="435"/>
                  <a:pt x="19" y="436"/>
                  <a:pt x="19" y="436"/>
                </a:cubicBezTo>
                <a:cubicBezTo>
                  <a:pt x="19" y="437"/>
                  <a:pt x="19" y="437"/>
                  <a:pt x="19" y="438"/>
                </a:cubicBezTo>
                <a:cubicBezTo>
                  <a:pt x="20" y="437"/>
                  <a:pt x="19" y="435"/>
                  <a:pt x="21" y="434"/>
                </a:cubicBezTo>
                <a:cubicBezTo>
                  <a:pt x="20" y="436"/>
                  <a:pt x="20" y="437"/>
                  <a:pt x="21" y="438"/>
                </a:cubicBezTo>
                <a:cubicBezTo>
                  <a:pt x="21" y="438"/>
                  <a:pt x="22" y="438"/>
                  <a:pt x="22" y="438"/>
                </a:cubicBezTo>
                <a:cubicBezTo>
                  <a:pt x="22" y="438"/>
                  <a:pt x="22" y="438"/>
                  <a:pt x="22" y="438"/>
                </a:cubicBezTo>
                <a:cubicBezTo>
                  <a:pt x="23" y="438"/>
                  <a:pt x="23" y="438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3" y="435"/>
                  <a:pt x="23" y="434"/>
                  <a:pt x="23" y="434"/>
                </a:cubicBezTo>
                <a:cubicBezTo>
                  <a:pt x="23" y="433"/>
                  <a:pt x="22" y="433"/>
                  <a:pt x="21" y="434"/>
                </a:cubicBezTo>
                <a:cubicBezTo>
                  <a:pt x="20" y="434"/>
                  <a:pt x="20" y="435"/>
                  <a:pt x="19" y="434"/>
                </a:cubicBezTo>
                <a:cubicBezTo>
                  <a:pt x="19" y="434"/>
                  <a:pt x="19" y="434"/>
                  <a:pt x="19" y="433"/>
                </a:cubicBezTo>
                <a:cubicBezTo>
                  <a:pt x="19" y="433"/>
                  <a:pt x="19" y="433"/>
                  <a:pt x="19" y="433"/>
                </a:cubicBezTo>
                <a:cubicBezTo>
                  <a:pt x="18" y="433"/>
                  <a:pt x="19" y="431"/>
                  <a:pt x="18" y="429"/>
                </a:cubicBezTo>
                <a:cubicBezTo>
                  <a:pt x="17" y="430"/>
                  <a:pt x="16" y="429"/>
                  <a:pt x="16" y="426"/>
                </a:cubicBezTo>
                <a:cubicBezTo>
                  <a:pt x="16" y="426"/>
                  <a:pt x="16" y="426"/>
                  <a:pt x="16" y="426"/>
                </a:cubicBezTo>
                <a:cubicBezTo>
                  <a:pt x="16" y="427"/>
                  <a:pt x="14" y="432"/>
                  <a:pt x="15" y="433"/>
                </a:cubicBezTo>
                <a:cubicBezTo>
                  <a:pt x="15" y="433"/>
                  <a:pt x="16" y="437"/>
                  <a:pt x="14" y="435"/>
                </a:cubicBezTo>
                <a:cubicBezTo>
                  <a:pt x="12" y="434"/>
                  <a:pt x="15" y="429"/>
                  <a:pt x="15" y="426"/>
                </a:cubicBezTo>
                <a:cubicBezTo>
                  <a:pt x="14" y="426"/>
                  <a:pt x="14" y="426"/>
                  <a:pt x="14" y="425"/>
                </a:cubicBezTo>
                <a:cubicBezTo>
                  <a:pt x="13" y="424"/>
                  <a:pt x="14" y="424"/>
                  <a:pt x="14" y="423"/>
                </a:cubicBezTo>
                <a:cubicBezTo>
                  <a:pt x="14" y="423"/>
                  <a:pt x="14" y="422"/>
                  <a:pt x="15" y="422"/>
                </a:cubicBezTo>
                <a:cubicBezTo>
                  <a:pt x="14" y="421"/>
                  <a:pt x="13" y="422"/>
                  <a:pt x="12" y="421"/>
                </a:cubicBezTo>
                <a:cubicBezTo>
                  <a:pt x="13" y="421"/>
                  <a:pt x="11" y="419"/>
                  <a:pt x="11" y="420"/>
                </a:cubicBezTo>
                <a:cubicBezTo>
                  <a:pt x="11" y="417"/>
                  <a:pt x="14" y="417"/>
                  <a:pt x="15" y="419"/>
                </a:cubicBezTo>
                <a:cubicBezTo>
                  <a:pt x="14" y="418"/>
                  <a:pt x="16" y="419"/>
                  <a:pt x="17" y="418"/>
                </a:cubicBezTo>
                <a:cubicBezTo>
                  <a:pt x="16" y="418"/>
                  <a:pt x="17" y="413"/>
                  <a:pt x="19" y="413"/>
                </a:cubicBezTo>
                <a:cubicBezTo>
                  <a:pt x="19" y="413"/>
                  <a:pt x="18" y="416"/>
                  <a:pt x="19" y="417"/>
                </a:cubicBezTo>
                <a:cubicBezTo>
                  <a:pt x="19" y="417"/>
                  <a:pt x="19" y="417"/>
                  <a:pt x="19" y="417"/>
                </a:cubicBezTo>
                <a:cubicBezTo>
                  <a:pt x="19" y="417"/>
                  <a:pt x="19" y="416"/>
                  <a:pt x="20" y="417"/>
                </a:cubicBezTo>
                <a:cubicBezTo>
                  <a:pt x="20" y="417"/>
                  <a:pt x="21" y="418"/>
                  <a:pt x="20" y="419"/>
                </a:cubicBezTo>
                <a:cubicBezTo>
                  <a:pt x="20" y="419"/>
                  <a:pt x="20" y="419"/>
                  <a:pt x="20" y="419"/>
                </a:cubicBezTo>
                <a:cubicBezTo>
                  <a:pt x="21" y="419"/>
                  <a:pt x="20" y="420"/>
                  <a:pt x="19" y="420"/>
                </a:cubicBezTo>
                <a:cubicBezTo>
                  <a:pt x="17" y="421"/>
                  <a:pt x="19" y="421"/>
                  <a:pt x="20" y="422"/>
                </a:cubicBezTo>
                <a:cubicBezTo>
                  <a:pt x="20" y="422"/>
                  <a:pt x="20" y="422"/>
                  <a:pt x="21" y="422"/>
                </a:cubicBezTo>
                <a:cubicBezTo>
                  <a:pt x="21" y="422"/>
                  <a:pt x="21" y="422"/>
                  <a:pt x="21" y="422"/>
                </a:cubicBezTo>
                <a:cubicBezTo>
                  <a:pt x="22" y="423"/>
                  <a:pt x="22" y="423"/>
                  <a:pt x="22" y="424"/>
                </a:cubicBezTo>
                <a:cubicBezTo>
                  <a:pt x="22" y="424"/>
                  <a:pt x="23" y="423"/>
                  <a:pt x="24" y="423"/>
                </a:cubicBezTo>
                <a:cubicBezTo>
                  <a:pt x="25" y="423"/>
                  <a:pt x="24" y="425"/>
                  <a:pt x="26" y="425"/>
                </a:cubicBezTo>
                <a:cubicBezTo>
                  <a:pt x="26" y="425"/>
                  <a:pt x="26" y="425"/>
                  <a:pt x="26" y="425"/>
                </a:cubicBezTo>
                <a:cubicBezTo>
                  <a:pt x="27" y="422"/>
                  <a:pt x="30" y="417"/>
                  <a:pt x="26" y="418"/>
                </a:cubicBezTo>
                <a:cubicBezTo>
                  <a:pt x="29" y="416"/>
                  <a:pt x="25" y="414"/>
                  <a:pt x="24" y="414"/>
                </a:cubicBezTo>
                <a:cubicBezTo>
                  <a:pt x="23" y="412"/>
                  <a:pt x="25" y="415"/>
                  <a:pt x="25" y="414"/>
                </a:cubicBezTo>
                <a:cubicBezTo>
                  <a:pt x="27" y="413"/>
                  <a:pt x="24" y="411"/>
                  <a:pt x="24" y="408"/>
                </a:cubicBezTo>
                <a:cubicBezTo>
                  <a:pt x="24" y="408"/>
                  <a:pt x="26" y="406"/>
                  <a:pt x="26" y="406"/>
                </a:cubicBezTo>
                <a:cubicBezTo>
                  <a:pt x="27" y="404"/>
                  <a:pt x="24" y="405"/>
                  <a:pt x="27" y="404"/>
                </a:cubicBezTo>
                <a:cubicBezTo>
                  <a:pt x="29" y="404"/>
                  <a:pt x="29" y="400"/>
                  <a:pt x="30" y="399"/>
                </a:cubicBezTo>
                <a:cubicBezTo>
                  <a:pt x="30" y="399"/>
                  <a:pt x="34" y="398"/>
                  <a:pt x="34" y="396"/>
                </a:cubicBezTo>
                <a:cubicBezTo>
                  <a:pt x="30" y="400"/>
                  <a:pt x="28" y="395"/>
                  <a:pt x="29" y="394"/>
                </a:cubicBezTo>
                <a:cubicBezTo>
                  <a:pt x="29" y="394"/>
                  <a:pt x="28" y="391"/>
                  <a:pt x="31" y="391"/>
                </a:cubicBezTo>
                <a:cubicBezTo>
                  <a:pt x="33" y="390"/>
                  <a:pt x="32" y="391"/>
                  <a:pt x="34" y="389"/>
                </a:cubicBezTo>
                <a:cubicBezTo>
                  <a:pt x="35" y="388"/>
                  <a:pt x="34" y="396"/>
                  <a:pt x="35" y="396"/>
                </a:cubicBezTo>
                <a:cubicBezTo>
                  <a:pt x="36" y="398"/>
                  <a:pt x="36" y="395"/>
                  <a:pt x="37" y="398"/>
                </a:cubicBezTo>
                <a:cubicBezTo>
                  <a:pt x="38" y="404"/>
                  <a:pt x="42" y="414"/>
                  <a:pt x="34" y="417"/>
                </a:cubicBezTo>
                <a:cubicBezTo>
                  <a:pt x="32" y="418"/>
                  <a:pt x="31" y="417"/>
                  <a:pt x="30" y="418"/>
                </a:cubicBezTo>
                <a:cubicBezTo>
                  <a:pt x="28" y="420"/>
                  <a:pt x="28" y="422"/>
                  <a:pt x="27" y="425"/>
                </a:cubicBezTo>
                <a:cubicBezTo>
                  <a:pt x="27" y="425"/>
                  <a:pt x="27" y="425"/>
                  <a:pt x="27" y="425"/>
                </a:cubicBezTo>
                <a:cubicBezTo>
                  <a:pt x="28" y="425"/>
                  <a:pt x="27" y="426"/>
                  <a:pt x="28" y="427"/>
                </a:cubicBezTo>
                <a:cubicBezTo>
                  <a:pt x="28" y="427"/>
                  <a:pt x="29" y="427"/>
                  <a:pt x="30" y="427"/>
                </a:cubicBezTo>
                <a:cubicBezTo>
                  <a:pt x="30" y="426"/>
                  <a:pt x="30" y="426"/>
                  <a:pt x="31" y="426"/>
                </a:cubicBezTo>
                <a:cubicBezTo>
                  <a:pt x="31" y="426"/>
                  <a:pt x="31" y="426"/>
                  <a:pt x="31" y="427"/>
                </a:cubicBezTo>
                <a:cubicBezTo>
                  <a:pt x="31" y="427"/>
                  <a:pt x="32" y="427"/>
                  <a:pt x="32" y="427"/>
                </a:cubicBezTo>
                <a:cubicBezTo>
                  <a:pt x="32" y="428"/>
                  <a:pt x="31" y="430"/>
                  <a:pt x="33" y="429"/>
                </a:cubicBezTo>
                <a:cubicBezTo>
                  <a:pt x="33" y="430"/>
                  <a:pt x="33" y="432"/>
                  <a:pt x="33" y="433"/>
                </a:cubicBezTo>
                <a:cubicBezTo>
                  <a:pt x="33" y="433"/>
                  <a:pt x="33" y="433"/>
                  <a:pt x="33" y="433"/>
                </a:cubicBezTo>
                <a:cubicBezTo>
                  <a:pt x="34" y="433"/>
                  <a:pt x="36" y="432"/>
                  <a:pt x="35" y="432"/>
                </a:cubicBezTo>
                <a:cubicBezTo>
                  <a:pt x="36" y="432"/>
                  <a:pt x="35" y="435"/>
                  <a:pt x="34" y="436"/>
                </a:cubicBezTo>
                <a:cubicBezTo>
                  <a:pt x="34" y="437"/>
                  <a:pt x="34" y="437"/>
                  <a:pt x="35" y="437"/>
                </a:cubicBezTo>
                <a:cubicBezTo>
                  <a:pt x="34" y="437"/>
                  <a:pt x="38" y="431"/>
                  <a:pt x="39" y="435"/>
                </a:cubicBezTo>
                <a:cubicBezTo>
                  <a:pt x="39" y="434"/>
                  <a:pt x="39" y="434"/>
                  <a:pt x="39" y="434"/>
                </a:cubicBezTo>
                <a:cubicBezTo>
                  <a:pt x="39" y="434"/>
                  <a:pt x="41" y="432"/>
                  <a:pt x="41" y="432"/>
                </a:cubicBezTo>
                <a:cubicBezTo>
                  <a:pt x="43" y="433"/>
                  <a:pt x="41" y="437"/>
                  <a:pt x="40" y="439"/>
                </a:cubicBezTo>
                <a:cubicBezTo>
                  <a:pt x="42" y="439"/>
                  <a:pt x="43" y="440"/>
                  <a:pt x="42" y="441"/>
                </a:cubicBezTo>
                <a:cubicBezTo>
                  <a:pt x="42" y="441"/>
                  <a:pt x="42" y="442"/>
                  <a:pt x="42" y="442"/>
                </a:cubicBezTo>
                <a:cubicBezTo>
                  <a:pt x="42" y="442"/>
                  <a:pt x="42" y="443"/>
                  <a:pt x="41" y="443"/>
                </a:cubicBezTo>
                <a:cubicBezTo>
                  <a:pt x="41" y="443"/>
                  <a:pt x="40" y="444"/>
                  <a:pt x="40" y="444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5"/>
                  <a:pt x="39" y="447"/>
                  <a:pt x="38" y="448"/>
                </a:cubicBezTo>
                <a:cubicBezTo>
                  <a:pt x="38" y="449"/>
                  <a:pt x="38" y="449"/>
                  <a:pt x="38" y="450"/>
                </a:cubicBezTo>
                <a:cubicBezTo>
                  <a:pt x="38" y="450"/>
                  <a:pt x="38" y="450"/>
                  <a:pt x="39" y="450"/>
                </a:cubicBezTo>
                <a:cubicBezTo>
                  <a:pt x="39" y="449"/>
                  <a:pt x="40" y="448"/>
                  <a:pt x="41" y="447"/>
                </a:cubicBezTo>
                <a:cubicBezTo>
                  <a:pt x="41" y="448"/>
                  <a:pt x="40" y="450"/>
                  <a:pt x="39" y="451"/>
                </a:cubicBezTo>
                <a:cubicBezTo>
                  <a:pt x="39" y="451"/>
                  <a:pt x="39" y="451"/>
                  <a:pt x="39" y="451"/>
                </a:cubicBezTo>
                <a:cubicBezTo>
                  <a:pt x="39" y="451"/>
                  <a:pt x="40" y="451"/>
                  <a:pt x="40" y="451"/>
                </a:cubicBezTo>
                <a:cubicBezTo>
                  <a:pt x="40" y="451"/>
                  <a:pt x="39" y="452"/>
                  <a:pt x="39" y="451"/>
                </a:cubicBezTo>
                <a:cubicBezTo>
                  <a:pt x="38" y="453"/>
                  <a:pt x="35" y="455"/>
                  <a:pt x="35" y="457"/>
                </a:cubicBezTo>
                <a:cubicBezTo>
                  <a:pt x="35" y="456"/>
                  <a:pt x="35" y="456"/>
                  <a:pt x="35" y="456"/>
                </a:cubicBezTo>
                <a:cubicBezTo>
                  <a:pt x="36" y="456"/>
                  <a:pt x="36" y="458"/>
                  <a:pt x="36" y="459"/>
                </a:cubicBezTo>
                <a:cubicBezTo>
                  <a:pt x="36" y="459"/>
                  <a:pt x="37" y="459"/>
                  <a:pt x="37" y="460"/>
                </a:cubicBezTo>
                <a:cubicBezTo>
                  <a:pt x="37" y="461"/>
                  <a:pt x="35" y="463"/>
                  <a:pt x="34" y="463"/>
                </a:cubicBezTo>
                <a:cubicBezTo>
                  <a:pt x="34" y="463"/>
                  <a:pt x="34" y="462"/>
                  <a:pt x="34" y="462"/>
                </a:cubicBezTo>
                <a:cubicBezTo>
                  <a:pt x="34" y="462"/>
                  <a:pt x="34" y="462"/>
                  <a:pt x="34" y="462"/>
                </a:cubicBezTo>
                <a:cubicBezTo>
                  <a:pt x="34" y="462"/>
                  <a:pt x="33" y="463"/>
                  <a:pt x="33" y="463"/>
                </a:cubicBezTo>
                <a:cubicBezTo>
                  <a:pt x="31" y="462"/>
                  <a:pt x="33" y="461"/>
                  <a:pt x="34" y="461"/>
                </a:cubicBezTo>
                <a:cubicBezTo>
                  <a:pt x="34" y="461"/>
                  <a:pt x="34" y="460"/>
                  <a:pt x="33" y="460"/>
                </a:cubicBezTo>
                <a:cubicBezTo>
                  <a:pt x="33" y="460"/>
                  <a:pt x="33" y="460"/>
                  <a:pt x="33" y="461"/>
                </a:cubicBezTo>
                <a:cubicBezTo>
                  <a:pt x="32" y="462"/>
                  <a:pt x="31" y="461"/>
                  <a:pt x="32" y="460"/>
                </a:cubicBezTo>
                <a:cubicBezTo>
                  <a:pt x="29" y="460"/>
                  <a:pt x="23" y="461"/>
                  <a:pt x="24" y="461"/>
                </a:cubicBezTo>
                <a:cubicBezTo>
                  <a:pt x="23" y="461"/>
                  <a:pt x="21" y="469"/>
                  <a:pt x="21" y="464"/>
                </a:cubicBezTo>
                <a:cubicBezTo>
                  <a:pt x="21" y="464"/>
                  <a:pt x="21" y="465"/>
                  <a:pt x="20" y="465"/>
                </a:cubicBezTo>
                <a:cubicBezTo>
                  <a:pt x="20" y="465"/>
                  <a:pt x="20" y="465"/>
                  <a:pt x="20" y="465"/>
                </a:cubicBezTo>
                <a:cubicBezTo>
                  <a:pt x="20" y="465"/>
                  <a:pt x="20" y="466"/>
                  <a:pt x="19" y="465"/>
                </a:cubicBezTo>
                <a:cubicBezTo>
                  <a:pt x="19" y="465"/>
                  <a:pt x="19" y="466"/>
                  <a:pt x="19" y="466"/>
                </a:cubicBezTo>
                <a:cubicBezTo>
                  <a:pt x="19" y="467"/>
                  <a:pt x="18" y="465"/>
                  <a:pt x="18" y="465"/>
                </a:cubicBezTo>
                <a:cubicBezTo>
                  <a:pt x="17" y="464"/>
                  <a:pt x="17" y="464"/>
                  <a:pt x="16" y="464"/>
                </a:cubicBezTo>
                <a:cubicBezTo>
                  <a:pt x="16" y="464"/>
                  <a:pt x="16" y="463"/>
                  <a:pt x="16" y="463"/>
                </a:cubicBezTo>
                <a:cubicBezTo>
                  <a:pt x="17" y="466"/>
                  <a:pt x="17" y="468"/>
                  <a:pt x="18" y="470"/>
                </a:cubicBezTo>
                <a:cubicBezTo>
                  <a:pt x="18" y="471"/>
                  <a:pt x="19" y="471"/>
                  <a:pt x="18" y="471"/>
                </a:cubicBezTo>
                <a:cubicBezTo>
                  <a:pt x="18" y="472"/>
                  <a:pt x="19" y="472"/>
                  <a:pt x="19" y="472"/>
                </a:cubicBezTo>
                <a:cubicBezTo>
                  <a:pt x="19" y="472"/>
                  <a:pt x="19" y="472"/>
                  <a:pt x="19" y="471"/>
                </a:cubicBezTo>
                <a:cubicBezTo>
                  <a:pt x="20" y="470"/>
                  <a:pt x="21" y="470"/>
                  <a:pt x="22" y="469"/>
                </a:cubicBezTo>
                <a:cubicBezTo>
                  <a:pt x="21" y="468"/>
                  <a:pt x="22" y="466"/>
                  <a:pt x="23" y="467"/>
                </a:cubicBezTo>
                <a:cubicBezTo>
                  <a:pt x="24" y="467"/>
                  <a:pt x="24" y="468"/>
                  <a:pt x="23" y="469"/>
                </a:cubicBezTo>
                <a:cubicBezTo>
                  <a:pt x="23" y="469"/>
                  <a:pt x="23" y="469"/>
                  <a:pt x="24" y="469"/>
                </a:cubicBezTo>
                <a:cubicBezTo>
                  <a:pt x="24" y="469"/>
                  <a:pt x="24" y="469"/>
                  <a:pt x="24" y="469"/>
                </a:cubicBezTo>
                <a:cubicBezTo>
                  <a:pt x="26" y="468"/>
                  <a:pt x="28" y="469"/>
                  <a:pt x="29" y="470"/>
                </a:cubicBezTo>
                <a:cubicBezTo>
                  <a:pt x="29" y="470"/>
                  <a:pt x="30" y="470"/>
                  <a:pt x="30" y="470"/>
                </a:cubicBezTo>
                <a:cubicBezTo>
                  <a:pt x="30" y="470"/>
                  <a:pt x="30" y="470"/>
                  <a:pt x="30" y="470"/>
                </a:cubicBezTo>
                <a:cubicBezTo>
                  <a:pt x="30" y="470"/>
                  <a:pt x="31" y="471"/>
                  <a:pt x="30" y="471"/>
                </a:cubicBezTo>
                <a:cubicBezTo>
                  <a:pt x="32" y="472"/>
                  <a:pt x="33" y="475"/>
                  <a:pt x="33" y="477"/>
                </a:cubicBezTo>
                <a:cubicBezTo>
                  <a:pt x="33" y="477"/>
                  <a:pt x="32" y="480"/>
                  <a:pt x="31" y="480"/>
                </a:cubicBezTo>
                <a:cubicBezTo>
                  <a:pt x="31" y="480"/>
                  <a:pt x="30" y="479"/>
                  <a:pt x="30" y="480"/>
                </a:cubicBezTo>
                <a:cubicBezTo>
                  <a:pt x="30" y="480"/>
                  <a:pt x="30" y="480"/>
                  <a:pt x="30" y="480"/>
                </a:cubicBezTo>
                <a:cubicBezTo>
                  <a:pt x="29" y="480"/>
                  <a:pt x="29" y="481"/>
                  <a:pt x="29" y="481"/>
                </a:cubicBezTo>
                <a:cubicBezTo>
                  <a:pt x="29" y="481"/>
                  <a:pt x="30" y="481"/>
                  <a:pt x="30" y="482"/>
                </a:cubicBezTo>
                <a:cubicBezTo>
                  <a:pt x="30" y="482"/>
                  <a:pt x="29" y="483"/>
                  <a:pt x="28" y="482"/>
                </a:cubicBezTo>
                <a:cubicBezTo>
                  <a:pt x="28" y="482"/>
                  <a:pt x="28" y="482"/>
                  <a:pt x="28" y="482"/>
                </a:cubicBezTo>
                <a:cubicBezTo>
                  <a:pt x="28" y="483"/>
                  <a:pt x="28" y="484"/>
                  <a:pt x="28" y="485"/>
                </a:cubicBezTo>
                <a:cubicBezTo>
                  <a:pt x="29" y="485"/>
                  <a:pt x="31" y="483"/>
                  <a:pt x="32" y="485"/>
                </a:cubicBezTo>
                <a:cubicBezTo>
                  <a:pt x="29" y="485"/>
                  <a:pt x="31" y="486"/>
                  <a:pt x="31" y="489"/>
                </a:cubicBezTo>
                <a:cubicBezTo>
                  <a:pt x="31" y="493"/>
                  <a:pt x="30" y="491"/>
                  <a:pt x="32" y="488"/>
                </a:cubicBezTo>
                <a:cubicBezTo>
                  <a:pt x="33" y="487"/>
                  <a:pt x="33" y="489"/>
                  <a:pt x="35" y="487"/>
                </a:cubicBezTo>
                <a:cubicBezTo>
                  <a:pt x="35" y="486"/>
                  <a:pt x="35" y="484"/>
                  <a:pt x="35" y="482"/>
                </a:cubicBezTo>
                <a:cubicBezTo>
                  <a:pt x="35" y="482"/>
                  <a:pt x="35" y="482"/>
                  <a:pt x="35" y="482"/>
                </a:cubicBezTo>
                <a:cubicBezTo>
                  <a:pt x="35" y="481"/>
                  <a:pt x="35" y="481"/>
                  <a:pt x="35" y="480"/>
                </a:cubicBezTo>
                <a:cubicBezTo>
                  <a:pt x="35" y="482"/>
                  <a:pt x="31" y="480"/>
                  <a:pt x="33" y="479"/>
                </a:cubicBezTo>
                <a:cubicBezTo>
                  <a:pt x="33" y="479"/>
                  <a:pt x="33" y="479"/>
                  <a:pt x="34" y="478"/>
                </a:cubicBezTo>
                <a:cubicBezTo>
                  <a:pt x="34" y="477"/>
                  <a:pt x="35" y="474"/>
                  <a:pt x="36" y="473"/>
                </a:cubicBezTo>
                <a:cubicBezTo>
                  <a:pt x="36" y="470"/>
                  <a:pt x="37" y="470"/>
                  <a:pt x="36" y="473"/>
                </a:cubicBezTo>
                <a:cubicBezTo>
                  <a:pt x="36" y="475"/>
                  <a:pt x="36" y="477"/>
                  <a:pt x="35" y="478"/>
                </a:cubicBezTo>
                <a:cubicBezTo>
                  <a:pt x="37" y="477"/>
                  <a:pt x="35" y="476"/>
                  <a:pt x="36" y="475"/>
                </a:cubicBezTo>
                <a:cubicBezTo>
                  <a:pt x="36" y="474"/>
                  <a:pt x="38" y="473"/>
                  <a:pt x="39" y="472"/>
                </a:cubicBezTo>
                <a:cubicBezTo>
                  <a:pt x="39" y="472"/>
                  <a:pt x="39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39" y="469"/>
                  <a:pt x="43" y="469"/>
                  <a:pt x="42" y="470"/>
                </a:cubicBezTo>
                <a:cubicBezTo>
                  <a:pt x="43" y="470"/>
                  <a:pt x="43" y="470"/>
                  <a:pt x="43" y="470"/>
                </a:cubicBezTo>
                <a:cubicBezTo>
                  <a:pt x="43" y="470"/>
                  <a:pt x="44" y="470"/>
                  <a:pt x="44" y="471"/>
                </a:cubicBezTo>
                <a:cubicBezTo>
                  <a:pt x="44" y="471"/>
                  <a:pt x="44" y="471"/>
                  <a:pt x="44" y="471"/>
                </a:cubicBezTo>
                <a:cubicBezTo>
                  <a:pt x="44" y="471"/>
                  <a:pt x="45" y="473"/>
                  <a:pt x="46" y="474"/>
                </a:cubicBezTo>
                <a:cubicBezTo>
                  <a:pt x="46" y="474"/>
                  <a:pt x="47" y="474"/>
                  <a:pt x="47" y="474"/>
                </a:cubicBezTo>
                <a:cubicBezTo>
                  <a:pt x="47" y="474"/>
                  <a:pt x="47" y="475"/>
                  <a:pt x="47" y="475"/>
                </a:cubicBezTo>
                <a:cubicBezTo>
                  <a:pt x="47" y="475"/>
                  <a:pt x="48" y="475"/>
                  <a:pt x="48" y="474"/>
                </a:cubicBezTo>
                <a:cubicBezTo>
                  <a:pt x="48" y="474"/>
                  <a:pt x="48" y="473"/>
                  <a:pt x="48" y="473"/>
                </a:cubicBezTo>
                <a:cubicBezTo>
                  <a:pt x="49" y="473"/>
                  <a:pt x="56" y="472"/>
                  <a:pt x="53" y="470"/>
                </a:cubicBezTo>
                <a:cubicBezTo>
                  <a:pt x="52" y="470"/>
                  <a:pt x="52" y="471"/>
                  <a:pt x="52" y="471"/>
                </a:cubicBezTo>
                <a:cubicBezTo>
                  <a:pt x="52" y="471"/>
                  <a:pt x="52" y="470"/>
                  <a:pt x="51" y="470"/>
                </a:cubicBezTo>
                <a:cubicBezTo>
                  <a:pt x="50" y="470"/>
                  <a:pt x="49" y="472"/>
                  <a:pt x="48" y="472"/>
                </a:cubicBezTo>
                <a:cubicBezTo>
                  <a:pt x="50" y="471"/>
                  <a:pt x="48" y="468"/>
                  <a:pt x="49" y="467"/>
                </a:cubicBezTo>
                <a:cubicBezTo>
                  <a:pt x="51" y="467"/>
                  <a:pt x="53" y="470"/>
                  <a:pt x="55" y="470"/>
                </a:cubicBezTo>
                <a:cubicBezTo>
                  <a:pt x="58" y="469"/>
                  <a:pt x="59" y="467"/>
                  <a:pt x="60" y="465"/>
                </a:cubicBezTo>
                <a:cubicBezTo>
                  <a:pt x="59" y="466"/>
                  <a:pt x="57" y="466"/>
                  <a:pt x="56" y="465"/>
                </a:cubicBezTo>
                <a:cubicBezTo>
                  <a:pt x="55" y="466"/>
                  <a:pt x="54" y="467"/>
                  <a:pt x="53" y="465"/>
                </a:cubicBezTo>
                <a:cubicBezTo>
                  <a:pt x="52" y="463"/>
                  <a:pt x="48" y="460"/>
                  <a:pt x="50" y="458"/>
                </a:cubicBezTo>
                <a:cubicBezTo>
                  <a:pt x="53" y="455"/>
                  <a:pt x="58" y="451"/>
                  <a:pt x="59" y="445"/>
                </a:cubicBezTo>
                <a:cubicBezTo>
                  <a:pt x="55" y="450"/>
                  <a:pt x="54" y="444"/>
                  <a:pt x="59" y="443"/>
                </a:cubicBezTo>
                <a:cubicBezTo>
                  <a:pt x="58" y="445"/>
                  <a:pt x="60" y="444"/>
                  <a:pt x="61" y="445"/>
                </a:cubicBezTo>
                <a:cubicBezTo>
                  <a:pt x="61" y="445"/>
                  <a:pt x="61" y="446"/>
                  <a:pt x="61" y="446"/>
                </a:cubicBezTo>
                <a:cubicBezTo>
                  <a:pt x="61" y="446"/>
                  <a:pt x="61" y="446"/>
                  <a:pt x="61" y="446"/>
                </a:cubicBezTo>
                <a:cubicBezTo>
                  <a:pt x="63" y="446"/>
                  <a:pt x="60" y="450"/>
                  <a:pt x="60" y="447"/>
                </a:cubicBezTo>
                <a:cubicBezTo>
                  <a:pt x="60" y="447"/>
                  <a:pt x="60" y="447"/>
                  <a:pt x="60" y="447"/>
                </a:cubicBezTo>
                <a:cubicBezTo>
                  <a:pt x="60" y="448"/>
                  <a:pt x="59" y="448"/>
                  <a:pt x="59" y="449"/>
                </a:cubicBezTo>
                <a:cubicBezTo>
                  <a:pt x="59" y="452"/>
                  <a:pt x="59" y="456"/>
                  <a:pt x="60" y="459"/>
                </a:cubicBezTo>
                <a:cubicBezTo>
                  <a:pt x="61" y="459"/>
                  <a:pt x="61" y="459"/>
                  <a:pt x="62" y="460"/>
                </a:cubicBezTo>
                <a:cubicBezTo>
                  <a:pt x="62" y="460"/>
                  <a:pt x="62" y="460"/>
                  <a:pt x="62" y="461"/>
                </a:cubicBezTo>
                <a:cubicBezTo>
                  <a:pt x="63" y="462"/>
                  <a:pt x="64" y="461"/>
                  <a:pt x="66" y="457"/>
                </a:cubicBezTo>
                <a:cubicBezTo>
                  <a:pt x="67" y="464"/>
                  <a:pt x="71" y="455"/>
                  <a:pt x="70" y="453"/>
                </a:cubicBezTo>
                <a:cubicBezTo>
                  <a:pt x="70" y="453"/>
                  <a:pt x="68" y="453"/>
                  <a:pt x="68" y="452"/>
                </a:cubicBezTo>
                <a:cubicBezTo>
                  <a:pt x="67" y="452"/>
                  <a:pt x="68" y="449"/>
                  <a:pt x="68" y="447"/>
                </a:cubicBezTo>
                <a:cubicBezTo>
                  <a:pt x="69" y="446"/>
                  <a:pt x="73" y="440"/>
                  <a:pt x="72" y="445"/>
                </a:cubicBezTo>
                <a:cubicBezTo>
                  <a:pt x="71" y="446"/>
                  <a:pt x="71" y="448"/>
                  <a:pt x="71" y="449"/>
                </a:cubicBezTo>
                <a:cubicBezTo>
                  <a:pt x="72" y="449"/>
                  <a:pt x="72" y="449"/>
                  <a:pt x="71" y="449"/>
                </a:cubicBezTo>
                <a:cubicBezTo>
                  <a:pt x="71" y="449"/>
                  <a:pt x="71" y="449"/>
                  <a:pt x="71" y="449"/>
                </a:cubicBezTo>
                <a:cubicBezTo>
                  <a:pt x="71" y="450"/>
                  <a:pt x="71" y="452"/>
                  <a:pt x="71" y="453"/>
                </a:cubicBezTo>
                <a:cubicBezTo>
                  <a:pt x="71" y="455"/>
                  <a:pt x="70" y="457"/>
                  <a:pt x="70" y="458"/>
                </a:cubicBezTo>
                <a:cubicBezTo>
                  <a:pt x="70" y="458"/>
                  <a:pt x="70" y="458"/>
                  <a:pt x="71" y="459"/>
                </a:cubicBezTo>
                <a:cubicBezTo>
                  <a:pt x="71" y="459"/>
                  <a:pt x="72" y="459"/>
                  <a:pt x="72" y="460"/>
                </a:cubicBezTo>
                <a:cubicBezTo>
                  <a:pt x="71" y="460"/>
                  <a:pt x="71" y="460"/>
                  <a:pt x="71" y="460"/>
                </a:cubicBezTo>
                <a:cubicBezTo>
                  <a:pt x="71" y="461"/>
                  <a:pt x="72" y="461"/>
                  <a:pt x="72" y="461"/>
                </a:cubicBezTo>
                <a:cubicBezTo>
                  <a:pt x="74" y="461"/>
                  <a:pt x="74" y="453"/>
                  <a:pt x="73" y="450"/>
                </a:cubicBezTo>
                <a:cubicBezTo>
                  <a:pt x="73" y="450"/>
                  <a:pt x="73" y="451"/>
                  <a:pt x="73" y="450"/>
                </a:cubicBezTo>
                <a:cubicBezTo>
                  <a:pt x="72" y="450"/>
                  <a:pt x="73" y="449"/>
                  <a:pt x="73" y="449"/>
                </a:cubicBezTo>
                <a:cubicBezTo>
                  <a:pt x="73" y="449"/>
                  <a:pt x="73" y="449"/>
                  <a:pt x="73" y="449"/>
                </a:cubicBezTo>
                <a:cubicBezTo>
                  <a:pt x="73" y="449"/>
                  <a:pt x="74" y="448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5"/>
                  <a:pt x="74" y="442"/>
                  <a:pt x="75" y="442"/>
                </a:cubicBezTo>
                <a:cubicBezTo>
                  <a:pt x="78" y="440"/>
                  <a:pt x="73" y="455"/>
                  <a:pt x="78" y="450"/>
                </a:cubicBezTo>
                <a:cubicBezTo>
                  <a:pt x="79" y="450"/>
                  <a:pt x="83" y="445"/>
                  <a:pt x="83" y="445"/>
                </a:cubicBezTo>
                <a:cubicBezTo>
                  <a:pt x="82" y="444"/>
                  <a:pt x="81" y="445"/>
                  <a:pt x="80" y="445"/>
                </a:cubicBezTo>
                <a:cubicBezTo>
                  <a:pt x="78" y="444"/>
                  <a:pt x="79" y="441"/>
                  <a:pt x="80" y="441"/>
                </a:cubicBezTo>
                <a:cubicBezTo>
                  <a:pt x="82" y="440"/>
                  <a:pt x="82" y="442"/>
                  <a:pt x="83" y="442"/>
                </a:cubicBezTo>
                <a:cubicBezTo>
                  <a:pt x="85" y="441"/>
                  <a:pt x="85" y="439"/>
                  <a:pt x="86" y="437"/>
                </a:cubicBezTo>
                <a:cubicBezTo>
                  <a:pt x="86" y="438"/>
                  <a:pt x="85" y="438"/>
                  <a:pt x="85" y="438"/>
                </a:cubicBezTo>
                <a:cubicBezTo>
                  <a:pt x="85" y="437"/>
                  <a:pt x="86" y="437"/>
                  <a:pt x="86" y="437"/>
                </a:cubicBezTo>
                <a:cubicBezTo>
                  <a:pt x="86" y="435"/>
                  <a:pt x="87" y="434"/>
                  <a:pt x="88" y="432"/>
                </a:cubicBezTo>
                <a:cubicBezTo>
                  <a:pt x="90" y="430"/>
                  <a:pt x="91" y="426"/>
                  <a:pt x="91" y="426"/>
                </a:cubicBezTo>
                <a:cubicBezTo>
                  <a:pt x="91" y="426"/>
                  <a:pt x="93" y="428"/>
                  <a:pt x="95" y="428"/>
                </a:cubicBezTo>
                <a:cubicBezTo>
                  <a:pt x="97" y="428"/>
                  <a:pt x="96" y="426"/>
                  <a:pt x="97" y="428"/>
                </a:cubicBezTo>
                <a:cubicBezTo>
                  <a:pt x="97" y="430"/>
                  <a:pt x="98" y="428"/>
                  <a:pt x="98" y="430"/>
                </a:cubicBezTo>
                <a:cubicBezTo>
                  <a:pt x="98" y="432"/>
                  <a:pt x="95" y="437"/>
                  <a:pt x="92" y="435"/>
                </a:cubicBezTo>
                <a:cubicBezTo>
                  <a:pt x="91" y="435"/>
                  <a:pt x="91" y="433"/>
                  <a:pt x="89" y="435"/>
                </a:cubicBezTo>
                <a:cubicBezTo>
                  <a:pt x="89" y="436"/>
                  <a:pt x="90" y="437"/>
                  <a:pt x="89" y="439"/>
                </a:cubicBezTo>
                <a:cubicBezTo>
                  <a:pt x="88" y="441"/>
                  <a:pt x="84" y="445"/>
                  <a:pt x="83" y="448"/>
                </a:cubicBezTo>
                <a:cubicBezTo>
                  <a:pt x="82" y="450"/>
                  <a:pt x="83" y="453"/>
                  <a:pt x="81" y="456"/>
                </a:cubicBezTo>
                <a:cubicBezTo>
                  <a:pt x="80" y="458"/>
                  <a:pt x="75" y="461"/>
                  <a:pt x="75" y="463"/>
                </a:cubicBezTo>
                <a:cubicBezTo>
                  <a:pt x="75" y="463"/>
                  <a:pt x="76" y="464"/>
                  <a:pt x="76" y="464"/>
                </a:cubicBezTo>
                <a:cubicBezTo>
                  <a:pt x="77" y="464"/>
                  <a:pt x="77" y="464"/>
                  <a:pt x="77" y="464"/>
                </a:cubicBezTo>
                <a:cubicBezTo>
                  <a:pt x="77" y="465"/>
                  <a:pt x="77" y="465"/>
                  <a:pt x="77" y="465"/>
                </a:cubicBezTo>
                <a:cubicBezTo>
                  <a:pt x="79" y="466"/>
                  <a:pt x="83" y="467"/>
                  <a:pt x="86" y="467"/>
                </a:cubicBezTo>
                <a:cubicBezTo>
                  <a:pt x="86" y="467"/>
                  <a:pt x="86" y="466"/>
                  <a:pt x="86" y="466"/>
                </a:cubicBezTo>
                <a:cubicBezTo>
                  <a:pt x="86" y="465"/>
                  <a:pt x="86" y="465"/>
                  <a:pt x="86" y="464"/>
                </a:cubicBezTo>
                <a:cubicBezTo>
                  <a:pt x="87" y="460"/>
                  <a:pt x="94" y="456"/>
                  <a:pt x="98" y="458"/>
                </a:cubicBezTo>
                <a:cubicBezTo>
                  <a:pt x="98" y="458"/>
                  <a:pt x="98" y="459"/>
                  <a:pt x="99" y="459"/>
                </a:cubicBezTo>
                <a:cubicBezTo>
                  <a:pt x="99" y="459"/>
                  <a:pt x="99" y="459"/>
                  <a:pt x="99" y="459"/>
                </a:cubicBezTo>
                <a:cubicBezTo>
                  <a:pt x="100" y="458"/>
                  <a:pt x="99" y="459"/>
                  <a:pt x="99" y="459"/>
                </a:cubicBezTo>
                <a:cubicBezTo>
                  <a:pt x="99" y="459"/>
                  <a:pt x="99" y="459"/>
                  <a:pt x="99" y="460"/>
                </a:cubicBezTo>
                <a:cubicBezTo>
                  <a:pt x="100" y="459"/>
                  <a:pt x="101" y="459"/>
                  <a:pt x="101" y="458"/>
                </a:cubicBezTo>
                <a:cubicBezTo>
                  <a:pt x="103" y="459"/>
                  <a:pt x="103" y="456"/>
                  <a:pt x="105" y="456"/>
                </a:cubicBezTo>
                <a:cubicBezTo>
                  <a:pt x="106" y="455"/>
                  <a:pt x="108" y="458"/>
                  <a:pt x="108" y="455"/>
                </a:cubicBezTo>
                <a:cubicBezTo>
                  <a:pt x="108" y="460"/>
                  <a:pt x="116" y="452"/>
                  <a:pt x="116" y="451"/>
                </a:cubicBezTo>
                <a:cubicBezTo>
                  <a:pt x="116" y="451"/>
                  <a:pt x="110" y="450"/>
                  <a:pt x="110" y="450"/>
                </a:cubicBezTo>
                <a:cubicBezTo>
                  <a:pt x="110" y="450"/>
                  <a:pt x="110" y="450"/>
                  <a:pt x="110" y="450"/>
                </a:cubicBezTo>
                <a:cubicBezTo>
                  <a:pt x="110" y="451"/>
                  <a:pt x="110" y="451"/>
                  <a:pt x="110" y="451"/>
                </a:cubicBezTo>
                <a:cubicBezTo>
                  <a:pt x="109" y="451"/>
                  <a:pt x="109" y="452"/>
                  <a:pt x="108" y="451"/>
                </a:cubicBezTo>
                <a:cubicBezTo>
                  <a:pt x="107" y="450"/>
                  <a:pt x="109" y="450"/>
                  <a:pt x="110" y="449"/>
                </a:cubicBezTo>
                <a:cubicBezTo>
                  <a:pt x="110" y="449"/>
                  <a:pt x="110" y="449"/>
                  <a:pt x="109" y="449"/>
                </a:cubicBezTo>
                <a:cubicBezTo>
                  <a:pt x="109" y="449"/>
                  <a:pt x="108" y="448"/>
                  <a:pt x="108" y="447"/>
                </a:cubicBezTo>
                <a:cubicBezTo>
                  <a:pt x="108" y="447"/>
                  <a:pt x="108" y="446"/>
                  <a:pt x="108" y="446"/>
                </a:cubicBezTo>
                <a:cubicBezTo>
                  <a:pt x="108" y="446"/>
                  <a:pt x="108" y="445"/>
                  <a:pt x="108" y="444"/>
                </a:cubicBezTo>
                <a:cubicBezTo>
                  <a:pt x="108" y="444"/>
                  <a:pt x="110" y="441"/>
                  <a:pt x="111" y="441"/>
                </a:cubicBezTo>
                <a:cubicBezTo>
                  <a:pt x="112" y="440"/>
                  <a:pt x="114" y="435"/>
                  <a:pt x="115" y="436"/>
                </a:cubicBezTo>
                <a:cubicBezTo>
                  <a:pt x="116" y="436"/>
                  <a:pt x="114" y="438"/>
                  <a:pt x="115" y="439"/>
                </a:cubicBezTo>
                <a:cubicBezTo>
                  <a:pt x="115" y="440"/>
                  <a:pt x="117" y="439"/>
                  <a:pt x="118" y="439"/>
                </a:cubicBezTo>
                <a:cubicBezTo>
                  <a:pt x="119" y="439"/>
                  <a:pt x="118" y="441"/>
                  <a:pt x="119" y="442"/>
                </a:cubicBezTo>
                <a:cubicBezTo>
                  <a:pt x="119" y="441"/>
                  <a:pt x="121" y="440"/>
                  <a:pt x="122" y="442"/>
                </a:cubicBezTo>
                <a:cubicBezTo>
                  <a:pt x="122" y="444"/>
                  <a:pt x="120" y="443"/>
                  <a:pt x="120" y="444"/>
                </a:cubicBezTo>
                <a:cubicBezTo>
                  <a:pt x="119" y="444"/>
                  <a:pt x="120" y="445"/>
                  <a:pt x="120" y="445"/>
                </a:cubicBezTo>
                <a:cubicBezTo>
                  <a:pt x="121" y="446"/>
                  <a:pt x="119" y="447"/>
                  <a:pt x="118" y="448"/>
                </a:cubicBezTo>
                <a:cubicBezTo>
                  <a:pt x="118" y="449"/>
                  <a:pt x="119" y="450"/>
                  <a:pt x="119" y="450"/>
                </a:cubicBezTo>
                <a:cubicBezTo>
                  <a:pt x="117" y="453"/>
                  <a:pt x="112" y="455"/>
                  <a:pt x="113" y="460"/>
                </a:cubicBezTo>
                <a:cubicBezTo>
                  <a:pt x="113" y="461"/>
                  <a:pt x="114" y="460"/>
                  <a:pt x="115" y="460"/>
                </a:cubicBezTo>
                <a:cubicBezTo>
                  <a:pt x="114" y="463"/>
                  <a:pt x="112" y="471"/>
                  <a:pt x="107" y="472"/>
                </a:cubicBezTo>
                <a:cubicBezTo>
                  <a:pt x="106" y="472"/>
                  <a:pt x="104" y="471"/>
                  <a:pt x="103" y="471"/>
                </a:cubicBezTo>
                <a:cubicBezTo>
                  <a:pt x="102" y="471"/>
                  <a:pt x="102" y="470"/>
                  <a:pt x="101" y="469"/>
                </a:cubicBezTo>
                <a:cubicBezTo>
                  <a:pt x="101" y="469"/>
                  <a:pt x="100" y="469"/>
                  <a:pt x="100" y="468"/>
                </a:cubicBezTo>
                <a:cubicBezTo>
                  <a:pt x="100" y="468"/>
                  <a:pt x="100" y="468"/>
                  <a:pt x="100" y="468"/>
                </a:cubicBezTo>
                <a:cubicBezTo>
                  <a:pt x="100" y="468"/>
                  <a:pt x="100" y="467"/>
                  <a:pt x="99" y="467"/>
                </a:cubicBezTo>
                <a:cubicBezTo>
                  <a:pt x="98" y="468"/>
                  <a:pt x="96" y="470"/>
                  <a:pt x="95" y="470"/>
                </a:cubicBezTo>
                <a:cubicBezTo>
                  <a:pt x="96" y="472"/>
                  <a:pt x="98" y="470"/>
                  <a:pt x="99" y="470"/>
                </a:cubicBezTo>
                <a:cubicBezTo>
                  <a:pt x="98" y="471"/>
                  <a:pt x="98" y="471"/>
                  <a:pt x="98" y="472"/>
                </a:cubicBezTo>
                <a:cubicBezTo>
                  <a:pt x="99" y="472"/>
                  <a:pt x="100" y="472"/>
                  <a:pt x="100" y="472"/>
                </a:cubicBezTo>
                <a:cubicBezTo>
                  <a:pt x="101" y="473"/>
                  <a:pt x="99" y="473"/>
                  <a:pt x="99" y="473"/>
                </a:cubicBezTo>
                <a:cubicBezTo>
                  <a:pt x="98" y="475"/>
                  <a:pt x="100" y="474"/>
                  <a:pt x="99" y="476"/>
                </a:cubicBezTo>
                <a:cubicBezTo>
                  <a:pt x="98" y="478"/>
                  <a:pt x="95" y="477"/>
                  <a:pt x="94" y="478"/>
                </a:cubicBezTo>
                <a:cubicBezTo>
                  <a:pt x="94" y="478"/>
                  <a:pt x="94" y="478"/>
                  <a:pt x="94" y="479"/>
                </a:cubicBezTo>
                <a:cubicBezTo>
                  <a:pt x="95" y="479"/>
                  <a:pt x="95" y="479"/>
                  <a:pt x="96" y="479"/>
                </a:cubicBezTo>
                <a:cubicBezTo>
                  <a:pt x="96" y="480"/>
                  <a:pt x="94" y="481"/>
                  <a:pt x="95" y="483"/>
                </a:cubicBezTo>
                <a:cubicBezTo>
                  <a:pt x="95" y="483"/>
                  <a:pt x="96" y="483"/>
                  <a:pt x="96" y="483"/>
                </a:cubicBezTo>
                <a:cubicBezTo>
                  <a:pt x="96" y="483"/>
                  <a:pt x="97" y="487"/>
                  <a:pt x="97" y="487"/>
                </a:cubicBezTo>
                <a:cubicBezTo>
                  <a:pt x="96" y="489"/>
                  <a:pt x="94" y="487"/>
                  <a:pt x="92" y="488"/>
                </a:cubicBezTo>
                <a:cubicBezTo>
                  <a:pt x="93" y="488"/>
                  <a:pt x="90" y="490"/>
                  <a:pt x="90" y="490"/>
                </a:cubicBezTo>
                <a:cubicBezTo>
                  <a:pt x="90" y="491"/>
                  <a:pt x="91" y="491"/>
                  <a:pt x="91" y="492"/>
                </a:cubicBezTo>
                <a:cubicBezTo>
                  <a:pt x="90" y="495"/>
                  <a:pt x="89" y="494"/>
                  <a:pt x="89" y="497"/>
                </a:cubicBezTo>
                <a:cubicBezTo>
                  <a:pt x="89" y="498"/>
                  <a:pt x="86" y="502"/>
                  <a:pt x="84" y="502"/>
                </a:cubicBezTo>
                <a:cubicBezTo>
                  <a:pt x="80" y="502"/>
                  <a:pt x="82" y="494"/>
                  <a:pt x="76" y="496"/>
                </a:cubicBezTo>
                <a:cubicBezTo>
                  <a:pt x="75" y="491"/>
                  <a:pt x="70" y="501"/>
                  <a:pt x="69" y="501"/>
                </a:cubicBezTo>
                <a:cubicBezTo>
                  <a:pt x="69" y="501"/>
                  <a:pt x="69" y="501"/>
                  <a:pt x="69" y="501"/>
                </a:cubicBezTo>
                <a:cubicBezTo>
                  <a:pt x="69" y="501"/>
                  <a:pt x="69" y="502"/>
                  <a:pt x="68" y="501"/>
                </a:cubicBezTo>
                <a:cubicBezTo>
                  <a:pt x="68" y="501"/>
                  <a:pt x="68" y="501"/>
                  <a:pt x="68" y="501"/>
                </a:cubicBezTo>
                <a:cubicBezTo>
                  <a:pt x="68" y="500"/>
                  <a:pt x="69" y="500"/>
                  <a:pt x="69" y="501"/>
                </a:cubicBezTo>
                <a:cubicBezTo>
                  <a:pt x="69" y="499"/>
                  <a:pt x="73" y="494"/>
                  <a:pt x="68" y="496"/>
                </a:cubicBezTo>
                <a:cubicBezTo>
                  <a:pt x="67" y="497"/>
                  <a:pt x="69" y="499"/>
                  <a:pt x="68" y="500"/>
                </a:cubicBezTo>
                <a:cubicBezTo>
                  <a:pt x="67" y="501"/>
                  <a:pt x="64" y="500"/>
                  <a:pt x="62" y="500"/>
                </a:cubicBezTo>
                <a:cubicBezTo>
                  <a:pt x="62" y="500"/>
                  <a:pt x="61" y="504"/>
                  <a:pt x="61" y="505"/>
                </a:cubicBezTo>
                <a:cubicBezTo>
                  <a:pt x="62" y="506"/>
                  <a:pt x="63" y="506"/>
                  <a:pt x="62" y="508"/>
                </a:cubicBezTo>
                <a:cubicBezTo>
                  <a:pt x="62" y="508"/>
                  <a:pt x="62" y="507"/>
                  <a:pt x="63" y="507"/>
                </a:cubicBezTo>
                <a:cubicBezTo>
                  <a:pt x="62" y="508"/>
                  <a:pt x="62" y="509"/>
                  <a:pt x="65" y="508"/>
                </a:cubicBezTo>
                <a:cubicBezTo>
                  <a:pt x="63" y="511"/>
                  <a:pt x="60" y="511"/>
                  <a:pt x="61" y="514"/>
                </a:cubicBezTo>
                <a:cubicBezTo>
                  <a:pt x="61" y="514"/>
                  <a:pt x="67" y="516"/>
                  <a:pt x="66" y="517"/>
                </a:cubicBezTo>
                <a:cubicBezTo>
                  <a:pt x="70" y="515"/>
                  <a:pt x="64" y="513"/>
                  <a:pt x="65" y="510"/>
                </a:cubicBezTo>
                <a:cubicBezTo>
                  <a:pt x="66" y="507"/>
                  <a:pt x="68" y="514"/>
                  <a:pt x="69" y="514"/>
                </a:cubicBezTo>
                <a:cubicBezTo>
                  <a:pt x="70" y="515"/>
                  <a:pt x="69" y="514"/>
                  <a:pt x="70" y="514"/>
                </a:cubicBezTo>
                <a:cubicBezTo>
                  <a:pt x="72" y="513"/>
                  <a:pt x="73" y="516"/>
                  <a:pt x="74" y="514"/>
                </a:cubicBezTo>
                <a:cubicBezTo>
                  <a:pt x="74" y="514"/>
                  <a:pt x="71" y="514"/>
                  <a:pt x="72" y="512"/>
                </a:cubicBezTo>
                <a:cubicBezTo>
                  <a:pt x="73" y="511"/>
                  <a:pt x="75" y="513"/>
                  <a:pt x="75" y="513"/>
                </a:cubicBezTo>
                <a:cubicBezTo>
                  <a:pt x="76" y="513"/>
                  <a:pt x="77" y="513"/>
                  <a:pt x="78" y="514"/>
                </a:cubicBezTo>
                <a:cubicBezTo>
                  <a:pt x="78" y="513"/>
                  <a:pt x="78" y="513"/>
                  <a:pt x="78" y="513"/>
                </a:cubicBezTo>
                <a:cubicBezTo>
                  <a:pt x="78" y="513"/>
                  <a:pt x="78" y="514"/>
                  <a:pt x="78" y="515"/>
                </a:cubicBezTo>
                <a:cubicBezTo>
                  <a:pt x="78" y="517"/>
                  <a:pt x="78" y="519"/>
                  <a:pt x="78" y="520"/>
                </a:cubicBezTo>
                <a:cubicBezTo>
                  <a:pt x="78" y="520"/>
                  <a:pt x="78" y="520"/>
                  <a:pt x="78" y="520"/>
                </a:cubicBezTo>
                <a:cubicBezTo>
                  <a:pt x="79" y="520"/>
                  <a:pt x="78" y="519"/>
                  <a:pt x="79" y="519"/>
                </a:cubicBezTo>
                <a:cubicBezTo>
                  <a:pt x="80" y="520"/>
                  <a:pt x="80" y="520"/>
                  <a:pt x="81" y="520"/>
                </a:cubicBezTo>
                <a:cubicBezTo>
                  <a:pt x="81" y="518"/>
                  <a:pt x="82" y="515"/>
                  <a:pt x="82" y="515"/>
                </a:cubicBezTo>
                <a:cubicBezTo>
                  <a:pt x="84" y="514"/>
                  <a:pt x="85" y="516"/>
                  <a:pt x="86" y="514"/>
                </a:cubicBezTo>
                <a:cubicBezTo>
                  <a:pt x="86" y="513"/>
                  <a:pt x="84" y="512"/>
                  <a:pt x="84" y="511"/>
                </a:cubicBezTo>
                <a:cubicBezTo>
                  <a:pt x="84" y="511"/>
                  <a:pt x="83" y="509"/>
                  <a:pt x="84" y="509"/>
                </a:cubicBezTo>
                <a:cubicBezTo>
                  <a:pt x="82" y="509"/>
                  <a:pt x="80" y="511"/>
                  <a:pt x="80" y="510"/>
                </a:cubicBezTo>
                <a:cubicBezTo>
                  <a:pt x="79" y="510"/>
                  <a:pt x="80" y="508"/>
                  <a:pt x="81" y="507"/>
                </a:cubicBezTo>
                <a:cubicBezTo>
                  <a:pt x="82" y="510"/>
                  <a:pt x="84" y="506"/>
                  <a:pt x="85" y="505"/>
                </a:cubicBezTo>
                <a:cubicBezTo>
                  <a:pt x="86" y="504"/>
                  <a:pt x="89" y="504"/>
                  <a:pt x="89" y="504"/>
                </a:cubicBezTo>
                <a:cubicBezTo>
                  <a:pt x="90" y="503"/>
                  <a:pt x="88" y="501"/>
                  <a:pt x="90" y="501"/>
                </a:cubicBezTo>
                <a:cubicBezTo>
                  <a:pt x="91" y="501"/>
                  <a:pt x="90" y="502"/>
                  <a:pt x="90" y="502"/>
                </a:cubicBezTo>
                <a:cubicBezTo>
                  <a:pt x="91" y="503"/>
                  <a:pt x="93" y="501"/>
                  <a:pt x="94" y="502"/>
                </a:cubicBezTo>
                <a:cubicBezTo>
                  <a:pt x="95" y="502"/>
                  <a:pt x="94" y="504"/>
                  <a:pt x="94" y="505"/>
                </a:cubicBezTo>
                <a:cubicBezTo>
                  <a:pt x="94" y="506"/>
                  <a:pt x="94" y="507"/>
                  <a:pt x="94" y="508"/>
                </a:cubicBezTo>
                <a:cubicBezTo>
                  <a:pt x="97" y="507"/>
                  <a:pt x="101" y="507"/>
                  <a:pt x="102" y="508"/>
                </a:cubicBezTo>
                <a:cubicBezTo>
                  <a:pt x="103" y="509"/>
                  <a:pt x="101" y="511"/>
                  <a:pt x="104" y="510"/>
                </a:cubicBezTo>
                <a:cubicBezTo>
                  <a:pt x="102" y="512"/>
                  <a:pt x="106" y="513"/>
                  <a:pt x="106" y="514"/>
                </a:cubicBezTo>
                <a:cubicBezTo>
                  <a:pt x="106" y="515"/>
                  <a:pt x="104" y="516"/>
                  <a:pt x="104" y="516"/>
                </a:cubicBezTo>
                <a:cubicBezTo>
                  <a:pt x="104" y="516"/>
                  <a:pt x="105" y="517"/>
                  <a:pt x="104" y="518"/>
                </a:cubicBezTo>
                <a:cubicBezTo>
                  <a:pt x="104" y="518"/>
                  <a:pt x="104" y="518"/>
                  <a:pt x="104" y="518"/>
                </a:cubicBezTo>
                <a:cubicBezTo>
                  <a:pt x="105" y="519"/>
                  <a:pt x="106" y="520"/>
                  <a:pt x="106" y="522"/>
                </a:cubicBezTo>
                <a:cubicBezTo>
                  <a:pt x="106" y="522"/>
                  <a:pt x="107" y="522"/>
                  <a:pt x="107" y="522"/>
                </a:cubicBezTo>
                <a:cubicBezTo>
                  <a:pt x="107" y="521"/>
                  <a:pt x="106" y="521"/>
                  <a:pt x="106" y="520"/>
                </a:cubicBezTo>
                <a:cubicBezTo>
                  <a:pt x="106" y="519"/>
                  <a:pt x="107" y="518"/>
                  <a:pt x="108" y="518"/>
                </a:cubicBezTo>
                <a:cubicBezTo>
                  <a:pt x="108" y="517"/>
                  <a:pt x="108" y="517"/>
                  <a:pt x="109" y="516"/>
                </a:cubicBezTo>
                <a:cubicBezTo>
                  <a:pt x="109" y="516"/>
                  <a:pt x="108" y="516"/>
                  <a:pt x="108" y="516"/>
                </a:cubicBezTo>
                <a:cubicBezTo>
                  <a:pt x="108" y="515"/>
                  <a:pt x="109" y="515"/>
                  <a:pt x="109" y="515"/>
                </a:cubicBezTo>
                <a:cubicBezTo>
                  <a:pt x="111" y="514"/>
                  <a:pt x="112" y="513"/>
                  <a:pt x="113" y="512"/>
                </a:cubicBezTo>
                <a:cubicBezTo>
                  <a:pt x="112" y="514"/>
                  <a:pt x="115" y="514"/>
                  <a:pt x="115" y="514"/>
                </a:cubicBezTo>
                <a:cubicBezTo>
                  <a:pt x="115" y="514"/>
                  <a:pt x="116" y="514"/>
                  <a:pt x="116" y="514"/>
                </a:cubicBezTo>
                <a:cubicBezTo>
                  <a:pt x="116" y="514"/>
                  <a:pt x="116" y="514"/>
                  <a:pt x="116" y="514"/>
                </a:cubicBezTo>
                <a:cubicBezTo>
                  <a:pt x="115" y="514"/>
                  <a:pt x="115" y="513"/>
                  <a:pt x="115" y="513"/>
                </a:cubicBezTo>
                <a:cubicBezTo>
                  <a:pt x="114" y="512"/>
                  <a:pt x="115" y="508"/>
                  <a:pt x="115" y="507"/>
                </a:cubicBezTo>
                <a:cubicBezTo>
                  <a:pt x="116" y="507"/>
                  <a:pt x="116" y="508"/>
                  <a:pt x="117" y="508"/>
                </a:cubicBezTo>
                <a:cubicBezTo>
                  <a:pt x="118" y="507"/>
                  <a:pt x="120" y="504"/>
                  <a:pt x="123" y="505"/>
                </a:cubicBezTo>
                <a:cubicBezTo>
                  <a:pt x="122" y="507"/>
                  <a:pt x="120" y="506"/>
                  <a:pt x="120" y="507"/>
                </a:cubicBezTo>
                <a:cubicBezTo>
                  <a:pt x="119" y="508"/>
                  <a:pt x="121" y="508"/>
                  <a:pt x="121" y="508"/>
                </a:cubicBezTo>
                <a:cubicBezTo>
                  <a:pt x="122" y="510"/>
                  <a:pt x="120" y="514"/>
                  <a:pt x="117" y="514"/>
                </a:cubicBezTo>
                <a:cubicBezTo>
                  <a:pt x="117" y="515"/>
                  <a:pt x="117" y="516"/>
                  <a:pt x="116" y="517"/>
                </a:cubicBezTo>
                <a:cubicBezTo>
                  <a:pt x="117" y="517"/>
                  <a:pt x="117" y="517"/>
                  <a:pt x="117" y="517"/>
                </a:cubicBezTo>
                <a:cubicBezTo>
                  <a:pt x="118" y="515"/>
                  <a:pt x="121" y="515"/>
                  <a:pt x="122" y="513"/>
                </a:cubicBezTo>
                <a:cubicBezTo>
                  <a:pt x="122" y="512"/>
                  <a:pt x="122" y="511"/>
                  <a:pt x="122" y="510"/>
                </a:cubicBezTo>
                <a:cubicBezTo>
                  <a:pt x="122" y="510"/>
                  <a:pt x="123" y="509"/>
                  <a:pt x="123" y="508"/>
                </a:cubicBezTo>
                <a:cubicBezTo>
                  <a:pt x="123" y="507"/>
                  <a:pt x="122" y="508"/>
                  <a:pt x="122" y="507"/>
                </a:cubicBezTo>
                <a:cubicBezTo>
                  <a:pt x="123" y="506"/>
                  <a:pt x="124" y="505"/>
                  <a:pt x="124" y="506"/>
                </a:cubicBezTo>
                <a:cubicBezTo>
                  <a:pt x="125" y="506"/>
                  <a:pt x="124" y="508"/>
                  <a:pt x="125" y="510"/>
                </a:cubicBezTo>
                <a:cubicBezTo>
                  <a:pt x="125" y="510"/>
                  <a:pt x="127" y="510"/>
                  <a:pt x="128" y="510"/>
                </a:cubicBezTo>
                <a:cubicBezTo>
                  <a:pt x="129" y="511"/>
                  <a:pt x="129" y="513"/>
                  <a:pt x="132" y="511"/>
                </a:cubicBezTo>
                <a:cubicBezTo>
                  <a:pt x="129" y="514"/>
                  <a:pt x="133" y="512"/>
                  <a:pt x="134" y="513"/>
                </a:cubicBezTo>
                <a:cubicBezTo>
                  <a:pt x="133" y="513"/>
                  <a:pt x="134" y="519"/>
                  <a:pt x="134" y="520"/>
                </a:cubicBezTo>
                <a:cubicBezTo>
                  <a:pt x="134" y="521"/>
                  <a:pt x="132" y="523"/>
                  <a:pt x="132" y="525"/>
                </a:cubicBezTo>
                <a:cubicBezTo>
                  <a:pt x="132" y="525"/>
                  <a:pt x="133" y="524"/>
                  <a:pt x="133" y="524"/>
                </a:cubicBezTo>
                <a:cubicBezTo>
                  <a:pt x="133" y="525"/>
                  <a:pt x="133" y="525"/>
                  <a:pt x="132" y="526"/>
                </a:cubicBezTo>
                <a:cubicBezTo>
                  <a:pt x="132" y="526"/>
                  <a:pt x="132" y="526"/>
                  <a:pt x="132" y="527"/>
                </a:cubicBezTo>
                <a:cubicBezTo>
                  <a:pt x="133" y="526"/>
                  <a:pt x="133" y="526"/>
                  <a:pt x="133" y="526"/>
                </a:cubicBezTo>
                <a:cubicBezTo>
                  <a:pt x="133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6" y="524"/>
                  <a:pt x="142" y="524"/>
                  <a:pt x="145" y="524"/>
                </a:cubicBezTo>
                <a:cubicBezTo>
                  <a:pt x="145" y="523"/>
                  <a:pt x="146" y="522"/>
                  <a:pt x="146" y="522"/>
                </a:cubicBezTo>
                <a:cubicBezTo>
                  <a:pt x="147" y="522"/>
                  <a:pt x="147" y="523"/>
                  <a:pt x="147" y="524"/>
                </a:cubicBezTo>
                <a:cubicBezTo>
                  <a:pt x="147" y="524"/>
                  <a:pt x="148" y="524"/>
                  <a:pt x="148" y="525"/>
                </a:cubicBezTo>
                <a:cubicBezTo>
                  <a:pt x="148" y="526"/>
                  <a:pt x="147" y="526"/>
                  <a:pt x="145" y="527"/>
                </a:cubicBezTo>
                <a:cubicBezTo>
                  <a:pt x="146" y="527"/>
                  <a:pt x="146" y="527"/>
                  <a:pt x="146" y="527"/>
                </a:cubicBezTo>
                <a:cubicBezTo>
                  <a:pt x="146" y="529"/>
                  <a:pt x="146" y="530"/>
                  <a:pt x="145" y="530"/>
                </a:cubicBezTo>
                <a:cubicBezTo>
                  <a:pt x="145" y="531"/>
                  <a:pt x="145" y="532"/>
                  <a:pt x="144" y="533"/>
                </a:cubicBezTo>
                <a:cubicBezTo>
                  <a:pt x="144" y="533"/>
                  <a:pt x="143" y="533"/>
                  <a:pt x="142" y="533"/>
                </a:cubicBezTo>
                <a:cubicBezTo>
                  <a:pt x="142" y="534"/>
                  <a:pt x="143" y="534"/>
                  <a:pt x="144" y="533"/>
                </a:cubicBezTo>
                <a:cubicBezTo>
                  <a:pt x="145" y="533"/>
                  <a:pt x="147" y="530"/>
                  <a:pt x="147" y="530"/>
                </a:cubicBezTo>
                <a:cubicBezTo>
                  <a:pt x="148" y="530"/>
                  <a:pt x="148" y="529"/>
                  <a:pt x="147" y="529"/>
                </a:cubicBezTo>
                <a:cubicBezTo>
                  <a:pt x="151" y="528"/>
                  <a:pt x="150" y="537"/>
                  <a:pt x="148" y="535"/>
                </a:cubicBezTo>
                <a:cubicBezTo>
                  <a:pt x="148" y="535"/>
                  <a:pt x="147" y="533"/>
                  <a:pt x="147" y="533"/>
                </a:cubicBezTo>
                <a:cubicBezTo>
                  <a:pt x="146" y="533"/>
                  <a:pt x="143" y="537"/>
                  <a:pt x="141" y="538"/>
                </a:cubicBezTo>
                <a:cubicBezTo>
                  <a:pt x="140" y="538"/>
                  <a:pt x="140" y="538"/>
                  <a:pt x="139" y="539"/>
                </a:cubicBezTo>
                <a:cubicBezTo>
                  <a:pt x="140" y="540"/>
                  <a:pt x="141" y="541"/>
                  <a:pt x="140" y="542"/>
                </a:cubicBezTo>
                <a:cubicBezTo>
                  <a:pt x="140" y="542"/>
                  <a:pt x="139" y="543"/>
                  <a:pt x="139" y="543"/>
                </a:cubicBezTo>
                <a:cubicBezTo>
                  <a:pt x="139" y="543"/>
                  <a:pt x="138" y="546"/>
                  <a:pt x="138" y="547"/>
                </a:cubicBezTo>
                <a:cubicBezTo>
                  <a:pt x="138" y="547"/>
                  <a:pt x="140" y="546"/>
                  <a:pt x="139" y="546"/>
                </a:cubicBezTo>
                <a:cubicBezTo>
                  <a:pt x="139" y="546"/>
                  <a:pt x="141" y="548"/>
                  <a:pt x="140" y="549"/>
                </a:cubicBezTo>
                <a:cubicBezTo>
                  <a:pt x="140" y="549"/>
                  <a:pt x="140" y="549"/>
                  <a:pt x="139" y="549"/>
                </a:cubicBezTo>
                <a:cubicBezTo>
                  <a:pt x="140" y="549"/>
                  <a:pt x="140" y="550"/>
                  <a:pt x="141" y="550"/>
                </a:cubicBezTo>
                <a:cubicBezTo>
                  <a:pt x="141" y="549"/>
                  <a:pt x="141" y="548"/>
                  <a:pt x="142" y="548"/>
                </a:cubicBezTo>
                <a:cubicBezTo>
                  <a:pt x="141" y="548"/>
                  <a:pt x="141" y="548"/>
                  <a:pt x="140" y="548"/>
                </a:cubicBezTo>
                <a:cubicBezTo>
                  <a:pt x="140" y="547"/>
                  <a:pt x="140" y="547"/>
                  <a:pt x="141" y="547"/>
                </a:cubicBezTo>
                <a:cubicBezTo>
                  <a:pt x="141" y="546"/>
                  <a:pt x="142" y="544"/>
                  <a:pt x="142" y="546"/>
                </a:cubicBezTo>
                <a:cubicBezTo>
                  <a:pt x="143" y="546"/>
                  <a:pt x="142" y="546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3" y="546"/>
                  <a:pt x="144" y="546"/>
                  <a:pt x="145" y="548"/>
                </a:cubicBezTo>
                <a:cubicBezTo>
                  <a:pt x="146" y="549"/>
                  <a:pt x="145" y="550"/>
                  <a:pt x="145" y="551"/>
                </a:cubicBezTo>
                <a:cubicBezTo>
                  <a:pt x="145" y="551"/>
                  <a:pt x="145" y="551"/>
                  <a:pt x="145" y="551"/>
                </a:cubicBezTo>
                <a:cubicBezTo>
                  <a:pt x="147" y="551"/>
                  <a:pt x="145" y="551"/>
                  <a:pt x="146" y="552"/>
                </a:cubicBezTo>
                <a:cubicBezTo>
                  <a:pt x="146" y="552"/>
                  <a:pt x="146" y="552"/>
                  <a:pt x="147" y="552"/>
                </a:cubicBezTo>
                <a:cubicBezTo>
                  <a:pt x="147" y="552"/>
                  <a:pt x="147" y="552"/>
                  <a:pt x="147" y="552"/>
                </a:cubicBezTo>
                <a:cubicBezTo>
                  <a:pt x="147" y="551"/>
                  <a:pt x="148" y="551"/>
                  <a:pt x="148" y="551"/>
                </a:cubicBezTo>
                <a:cubicBezTo>
                  <a:pt x="151" y="552"/>
                  <a:pt x="148" y="556"/>
                  <a:pt x="149" y="558"/>
                </a:cubicBezTo>
                <a:cubicBezTo>
                  <a:pt x="150" y="558"/>
                  <a:pt x="152" y="558"/>
                  <a:pt x="152" y="557"/>
                </a:cubicBezTo>
                <a:cubicBezTo>
                  <a:pt x="153" y="557"/>
                  <a:pt x="153" y="556"/>
                  <a:pt x="154" y="555"/>
                </a:cubicBezTo>
                <a:cubicBezTo>
                  <a:pt x="152" y="554"/>
                  <a:pt x="152" y="553"/>
                  <a:pt x="152" y="551"/>
                </a:cubicBezTo>
                <a:cubicBezTo>
                  <a:pt x="154" y="547"/>
                  <a:pt x="159" y="548"/>
                  <a:pt x="160" y="551"/>
                </a:cubicBezTo>
                <a:cubicBezTo>
                  <a:pt x="161" y="551"/>
                  <a:pt x="161" y="551"/>
                  <a:pt x="162" y="550"/>
                </a:cubicBezTo>
                <a:cubicBezTo>
                  <a:pt x="161" y="550"/>
                  <a:pt x="161" y="551"/>
                  <a:pt x="161" y="551"/>
                </a:cubicBezTo>
                <a:cubicBezTo>
                  <a:pt x="163" y="550"/>
                  <a:pt x="165" y="549"/>
                  <a:pt x="167" y="550"/>
                </a:cubicBezTo>
                <a:cubicBezTo>
                  <a:pt x="169" y="549"/>
                  <a:pt x="170" y="549"/>
                  <a:pt x="170" y="549"/>
                </a:cubicBezTo>
                <a:cubicBezTo>
                  <a:pt x="171" y="550"/>
                  <a:pt x="170" y="550"/>
                  <a:pt x="168" y="551"/>
                </a:cubicBezTo>
                <a:cubicBezTo>
                  <a:pt x="168" y="551"/>
                  <a:pt x="169" y="551"/>
                  <a:pt x="169" y="551"/>
                </a:cubicBezTo>
                <a:cubicBezTo>
                  <a:pt x="169" y="552"/>
                  <a:pt x="169" y="553"/>
                  <a:pt x="169" y="554"/>
                </a:cubicBezTo>
                <a:cubicBezTo>
                  <a:pt x="171" y="554"/>
                  <a:pt x="172" y="555"/>
                  <a:pt x="171" y="557"/>
                </a:cubicBezTo>
                <a:cubicBezTo>
                  <a:pt x="170" y="559"/>
                  <a:pt x="171" y="560"/>
                  <a:pt x="171" y="561"/>
                </a:cubicBezTo>
                <a:cubicBezTo>
                  <a:pt x="171" y="561"/>
                  <a:pt x="170" y="562"/>
                  <a:pt x="170" y="563"/>
                </a:cubicBezTo>
                <a:cubicBezTo>
                  <a:pt x="172" y="561"/>
                  <a:pt x="173" y="559"/>
                  <a:pt x="175" y="558"/>
                </a:cubicBezTo>
                <a:cubicBezTo>
                  <a:pt x="173" y="556"/>
                  <a:pt x="171" y="554"/>
                  <a:pt x="175" y="552"/>
                </a:cubicBezTo>
                <a:cubicBezTo>
                  <a:pt x="175" y="551"/>
                  <a:pt x="176" y="551"/>
                  <a:pt x="177" y="551"/>
                </a:cubicBezTo>
                <a:cubicBezTo>
                  <a:pt x="175" y="551"/>
                  <a:pt x="176" y="547"/>
                  <a:pt x="178" y="548"/>
                </a:cubicBezTo>
                <a:cubicBezTo>
                  <a:pt x="179" y="549"/>
                  <a:pt x="178" y="550"/>
                  <a:pt x="178" y="550"/>
                </a:cubicBezTo>
                <a:cubicBezTo>
                  <a:pt x="177" y="551"/>
                  <a:pt x="177" y="551"/>
                  <a:pt x="177" y="551"/>
                </a:cubicBezTo>
                <a:cubicBezTo>
                  <a:pt x="179" y="551"/>
                  <a:pt x="181" y="550"/>
                  <a:pt x="182" y="550"/>
                </a:cubicBezTo>
                <a:cubicBezTo>
                  <a:pt x="184" y="548"/>
                  <a:pt x="183" y="547"/>
                  <a:pt x="185" y="549"/>
                </a:cubicBezTo>
                <a:cubicBezTo>
                  <a:pt x="186" y="549"/>
                  <a:pt x="186" y="550"/>
                  <a:pt x="188" y="549"/>
                </a:cubicBezTo>
                <a:cubicBezTo>
                  <a:pt x="188" y="549"/>
                  <a:pt x="191" y="545"/>
                  <a:pt x="191" y="548"/>
                </a:cubicBezTo>
                <a:cubicBezTo>
                  <a:pt x="191" y="549"/>
                  <a:pt x="189" y="549"/>
                  <a:pt x="189" y="549"/>
                </a:cubicBezTo>
                <a:cubicBezTo>
                  <a:pt x="190" y="550"/>
                  <a:pt x="194" y="550"/>
                  <a:pt x="194" y="550"/>
                </a:cubicBezTo>
                <a:cubicBezTo>
                  <a:pt x="194" y="551"/>
                  <a:pt x="190" y="553"/>
                  <a:pt x="192" y="555"/>
                </a:cubicBezTo>
                <a:cubicBezTo>
                  <a:pt x="193" y="555"/>
                  <a:pt x="194" y="555"/>
                  <a:pt x="194" y="555"/>
                </a:cubicBezTo>
                <a:cubicBezTo>
                  <a:pt x="194" y="555"/>
                  <a:pt x="193" y="556"/>
                  <a:pt x="193" y="556"/>
                </a:cubicBezTo>
                <a:cubicBezTo>
                  <a:pt x="192" y="558"/>
                  <a:pt x="192" y="558"/>
                  <a:pt x="193" y="558"/>
                </a:cubicBezTo>
                <a:cubicBezTo>
                  <a:pt x="194" y="558"/>
                  <a:pt x="195" y="558"/>
                  <a:pt x="196" y="559"/>
                </a:cubicBezTo>
                <a:cubicBezTo>
                  <a:pt x="196" y="560"/>
                  <a:pt x="195" y="560"/>
                  <a:pt x="194" y="560"/>
                </a:cubicBezTo>
                <a:cubicBezTo>
                  <a:pt x="194" y="561"/>
                  <a:pt x="194" y="561"/>
                  <a:pt x="194" y="561"/>
                </a:cubicBezTo>
                <a:cubicBezTo>
                  <a:pt x="194" y="562"/>
                  <a:pt x="196" y="561"/>
                  <a:pt x="196" y="562"/>
                </a:cubicBezTo>
                <a:cubicBezTo>
                  <a:pt x="197" y="563"/>
                  <a:pt x="195" y="565"/>
                  <a:pt x="195" y="566"/>
                </a:cubicBezTo>
                <a:cubicBezTo>
                  <a:pt x="197" y="568"/>
                  <a:pt x="199" y="565"/>
                  <a:pt x="201" y="566"/>
                </a:cubicBezTo>
                <a:cubicBezTo>
                  <a:pt x="201" y="566"/>
                  <a:pt x="203" y="568"/>
                  <a:pt x="205" y="566"/>
                </a:cubicBezTo>
                <a:cubicBezTo>
                  <a:pt x="206" y="565"/>
                  <a:pt x="204" y="563"/>
                  <a:pt x="208" y="562"/>
                </a:cubicBezTo>
                <a:cubicBezTo>
                  <a:pt x="209" y="561"/>
                  <a:pt x="214" y="560"/>
                  <a:pt x="214" y="562"/>
                </a:cubicBezTo>
                <a:cubicBezTo>
                  <a:pt x="214" y="563"/>
                  <a:pt x="213" y="562"/>
                  <a:pt x="212" y="563"/>
                </a:cubicBezTo>
                <a:cubicBezTo>
                  <a:pt x="211" y="563"/>
                  <a:pt x="213" y="566"/>
                  <a:pt x="213" y="566"/>
                </a:cubicBezTo>
                <a:cubicBezTo>
                  <a:pt x="212" y="567"/>
                  <a:pt x="210" y="567"/>
                  <a:pt x="210" y="568"/>
                </a:cubicBezTo>
                <a:cubicBezTo>
                  <a:pt x="210" y="568"/>
                  <a:pt x="210" y="568"/>
                  <a:pt x="210" y="568"/>
                </a:cubicBezTo>
                <a:cubicBezTo>
                  <a:pt x="210" y="569"/>
                  <a:pt x="210" y="569"/>
                  <a:pt x="210" y="569"/>
                </a:cubicBezTo>
                <a:cubicBezTo>
                  <a:pt x="210" y="570"/>
                  <a:pt x="211" y="572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10" y="574"/>
                  <a:pt x="210" y="575"/>
                  <a:pt x="208" y="576"/>
                </a:cubicBezTo>
                <a:cubicBezTo>
                  <a:pt x="208" y="576"/>
                  <a:pt x="208" y="576"/>
                  <a:pt x="208" y="576"/>
                </a:cubicBezTo>
                <a:cubicBezTo>
                  <a:pt x="208" y="576"/>
                  <a:pt x="209" y="576"/>
                  <a:pt x="209" y="576"/>
                </a:cubicBezTo>
                <a:cubicBezTo>
                  <a:pt x="210" y="576"/>
                  <a:pt x="210" y="576"/>
                  <a:pt x="211" y="577"/>
                </a:cubicBezTo>
                <a:cubicBezTo>
                  <a:pt x="211" y="577"/>
                  <a:pt x="212" y="577"/>
                  <a:pt x="212" y="577"/>
                </a:cubicBezTo>
                <a:cubicBezTo>
                  <a:pt x="212" y="578"/>
                  <a:pt x="211" y="578"/>
                  <a:pt x="211" y="579"/>
                </a:cubicBezTo>
                <a:cubicBezTo>
                  <a:pt x="211" y="579"/>
                  <a:pt x="211" y="580"/>
                  <a:pt x="211" y="580"/>
                </a:cubicBezTo>
                <a:cubicBezTo>
                  <a:pt x="210" y="581"/>
                  <a:pt x="207" y="580"/>
                  <a:pt x="205" y="581"/>
                </a:cubicBezTo>
                <a:cubicBezTo>
                  <a:pt x="206" y="580"/>
                  <a:pt x="206" y="578"/>
                  <a:pt x="204" y="580"/>
                </a:cubicBezTo>
                <a:cubicBezTo>
                  <a:pt x="202" y="581"/>
                  <a:pt x="204" y="581"/>
                  <a:pt x="204" y="582"/>
                </a:cubicBezTo>
                <a:cubicBezTo>
                  <a:pt x="204" y="582"/>
                  <a:pt x="203" y="582"/>
                  <a:pt x="204" y="583"/>
                </a:cubicBezTo>
                <a:cubicBezTo>
                  <a:pt x="204" y="583"/>
                  <a:pt x="204" y="583"/>
                  <a:pt x="204" y="583"/>
                </a:cubicBezTo>
                <a:cubicBezTo>
                  <a:pt x="206" y="582"/>
                  <a:pt x="208" y="582"/>
                  <a:pt x="210" y="583"/>
                </a:cubicBezTo>
                <a:cubicBezTo>
                  <a:pt x="209" y="583"/>
                  <a:pt x="209" y="582"/>
                  <a:pt x="209" y="582"/>
                </a:cubicBezTo>
                <a:cubicBezTo>
                  <a:pt x="209" y="582"/>
                  <a:pt x="209" y="582"/>
                  <a:pt x="209" y="582"/>
                </a:cubicBezTo>
                <a:cubicBezTo>
                  <a:pt x="210" y="581"/>
                  <a:pt x="210" y="582"/>
                  <a:pt x="210" y="583"/>
                </a:cubicBezTo>
                <a:cubicBezTo>
                  <a:pt x="210" y="583"/>
                  <a:pt x="211" y="584"/>
                  <a:pt x="210" y="585"/>
                </a:cubicBezTo>
                <a:cubicBezTo>
                  <a:pt x="210" y="586"/>
                  <a:pt x="208" y="588"/>
                  <a:pt x="205" y="588"/>
                </a:cubicBezTo>
                <a:cubicBezTo>
                  <a:pt x="206" y="588"/>
                  <a:pt x="206" y="590"/>
                  <a:pt x="206" y="591"/>
                </a:cubicBezTo>
                <a:cubicBezTo>
                  <a:pt x="205" y="592"/>
                  <a:pt x="201" y="592"/>
                  <a:pt x="202" y="593"/>
                </a:cubicBezTo>
                <a:cubicBezTo>
                  <a:pt x="201" y="593"/>
                  <a:pt x="199" y="594"/>
                  <a:pt x="198" y="593"/>
                </a:cubicBezTo>
                <a:cubicBezTo>
                  <a:pt x="195" y="591"/>
                  <a:pt x="196" y="591"/>
                  <a:pt x="192" y="592"/>
                </a:cubicBezTo>
                <a:cubicBezTo>
                  <a:pt x="192" y="592"/>
                  <a:pt x="191" y="592"/>
                  <a:pt x="190" y="592"/>
                </a:cubicBezTo>
                <a:cubicBezTo>
                  <a:pt x="188" y="592"/>
                  <a:pt x="189" y="593"/>
                  <a:pt x="189" y="595"/>
                </a:cubicBezTo>
                <a:cubicBezTo>
                  <a:pt x="187" y="593"/>
                  <a:pt x="188" y="595"/>
                  <a:pt x="189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1" y="597"/>
                  <a:pt x="191" y="596"/>
                </a:cubicBezTo>
                <a:cubicBezTo>
                  <a:pt x="190" y="597"/>
                  <a:pt x="192" y="594"/>
                  <a:pt x="193" y="596"/>
                </a:cubicBezTo>
                <a:cubicBezTo>
                  <a:pt x="193" y="596"/>
                  <a:pt x="190" y="600"/>
                  <a:pt x="193" y="600"/>
                </a:cubicBezTo>
                <a:cubicBezTo>
                  <a:pt x="187" y="601"/>
                  <a:pt x="195" y="604"/>
                  <a:pt x="197" y="605"/>
                </a:cubicBezTo>
                <a:cubicBezTo>
                  <a:pt x="198" y="606"/>
                  <a:pt x="198" y="608"/>
                  <a:pt x="198" y="609"/>
                </a:cubicBezTo>
                <a:cubicBezTo>
                  <a:pt x="199" y="610"/>
                  <a:pt x="200" y="610"/>
                  <a:pt x="199" y="611"/>
                </a:cubicBezTo>
                <a:cubicBezTo>
                  <a:pt x="199" y="611"/>
                  <a:pt x="199" y="611"/>
                  <a:pt x="199" y="611"/>
                </a:cubicBezTo>
                <a:cubicBezTo>
                  <a:pt x="200" y="612"/>
                  <a:pt x="200" y="613"/>
                  <a:pt x="201" y="613"/>
                </a:cubicBezTo>
                <a:cubicBezTo>
                  <a:pt x="201" y="613"/>
                  <a:pt x="201" y="613"/>
                  <a:pt x="202" y="613"/>
                </a:cubicBezTo>
                <a:cubicBezTo>
                  <a:pt x="202" y="613"/>
                  <a:pt x="202" y="613"/>
                  <a:pt x="202" y="612"/>
                </a:cubicBezTo>
                <a:cubicBezTo>
                  <a:pt x="203" y="611"/>
                  <a:pt x="204" y="611"/>
                  <a:pt x="206" y="611"/>
                </a:cubicBezTo>
                <a:cubicBezTo>
                  <a:pt x="207" y="611"/>
                  <a:pt x="208" y="612"/>
                  <a:pt x="208" y="613"/>
                </a:cubicBezTo>
                <a:cubicBezTo>
                  <a:pt x="209" y="613"/>
                  <a:pt x="209" y="612"/>
                  <a:pt x="211" y="612"/>
                </a:cubicBezTo>
                <a:cubicBezTo>
                  <a:pt x="211" y="613"/>
                  <a:pt x="210" y="613"/>
                  <a:pt x="208" y="613"/>
                </a:cubicBezTo>
                <a:cubicBezTo>
                  <a:pt x="208" y="614"/>
                  <a:pt x="208" y="615"/>
                  <a:pt x="207" y="615"/>
                </a:cubicBezTo>
                <a:cubicBezTo>
                  <a:pt x="209" y="616"/>
                  <a:pt x="211" y="616"/>
                  <a:pt x="211" y="616"/>
                </a:cubicBezTo>
                <a:cubicBezTo>
                  <a:pt x="211" y="616"/>
                  <a:pt x="211" y="616"/>
                  <a:pt x="212" y="616"/>
                </a:cubicBezTo>
                <a:cubicBezTo>
                  <a:pt x="211" y="615"/>
                  <a:pt x="210" y="615"/>
                  <a:pt x="209" y="615"/>
                </a:cubicBezTo>
                <a:cubicBezTo>
                  <a:pt x="210" y="614"/>
                  <a:pt x="211" y="614"/>
                  <a:pt x="213" y="615"/>
                </a:cubicBezTo>
                <a:cubicBezTo>
                  <a:pt x="213" y="614"/>
                  <a:pt x="213" y="614"/>
                  <a:pt x="213" y="614"/>
                </a:cubicBezTo>
                <a:cubicBezTo>
                  <a:pt x="213" y="614"/>
                  <a:pt x="214" y="612"/>
                  <a:pt x="215" y="613"/>
                </a:cubicBezTo>
                <a:cubicBezTo>
                  <a:pt x="216" y="612"/>
                  <a:pt x="216" y="612"/>
                  <a:pt x="217" y="613"/>
                </a:cubicBezTo>
                <a:cubicBezTo>
                  <a:pt x="217" y="613"/>
                  <a:pt x="216" y="613"/>
                  <a:pt x="216" y="614"/>
                </a:cubicBezTo>
                <a:cubicBezTo>
                  <a:pt x="216" y="614"/>
                  <a:pt x="217" y="616"/>
                  <a:pt x="216" y="615"/>
                </a:cubicBezTo>
                <a:cubicBezTo>
                  <a:pt x="216" y="615"/>
                  <a:pt x="215" y="615"/>
                  <a:pt x="215" y="615"/>
                </a:cubicBezTo>
                <a:cubicBezTo>
                  <a:pt x="215" y="614"/>
                  <a:pt x="215" y="614"/>
                  <a:pt x="215" y="614"/>
                </a:cubicBezTo>
                <a:cubicBezTo>
                  <a:pt x="215" y="614"/>
                  <a:pt x="214" y="615"/>
                  <a:pt x="214" y="615"/>
                </a:cubicBezTo>
                <a:cubicBezTo>
                  <a:pt x="215" y="615"/>
                  <a:pt x="216" y="616"/>
                  <a:pt x="216" y="616"/>
                </a:cubicBezTo>
                <a:cubicBezTo>
                  <a:pt x="216" y="617"/>
                  <a:pt x="215" y="616"/>
                  <a:pt x="214" y="616"/>
                </a:cubicBezTo>
                <a:cubicBezTo>
                  <a:pt x="214" y="616"/>
                  <a:pt x="214" y="617"/>
                  <a:pt x="214" y="617"/>
                </a:cubicBezTo>
                <a:cubicBezTo>
                  <a:pt x="215" y="617"/>
                  <a:pt x="216" y="616"/>
                  <a:pt x="216" y="616"/>
                </a:cubicBezTo>
                <a:cubicBezTo>
                  <a:pt x="217" y="617"/>
                  <a:pt x="218" y="620"/>
                  <a:pt x="220" y="618"/>
                </a:cubicBezTo>
                <a:cubicBezTo>
                  <a:pt x="220" y="618"/>
                  <a:pt x="219" y="617"/>
                  <a:pt x="219" y="617"/>
                </a:cubicBezTo>
                <a:cubicBezTo>
                  <a:pt x="219" y="617"/>
                  <a:pt x="219" y="617"/>
                  <a:pt x="219" y="617"/>
                </a:cubicBezTo>
                <a:cubicBezTo>
                  <a:pt x="219" y="617"/>
                  <a:pt x="219" y="617"/>
                  <a:pt x="218" y="617"/>
                </a:cubicBezTo>
                <a:cubicBezTo>
                  <a:pt x="218" y="616"/>
                  <a:pt x="219" y="615"/>
                  <a:pt x="220" y="616"/>
                </a:cubicBezTo>
                <a:cubicBezTo>
                  <a:pt x="220" y="616"/>
                  <a:pt x="220" y="616"/>
                  <a:pt x="220" y="616"/>
                </a:cubicBezTo>
                <a:cubicBezTo>
                  <a:pt x="221" y="615"/>
                  <a:pt x="224" y="617"/>
                  <a:pt x="225" y="617"/>
                </a:cubicBezTo>
                <a:cubicBezTo>
                  <a:pt x="223" y="618"/>
                  <a:pt x="225" y="619"/>
                  <a:pt x="226" y="620"/>
                </a:cubicBezTo>
                <a:cubicBezTo>
                  <a:pt x="227" y="619"/>
                  <a:pt x="229" y="618"/>
                  <a:pt x="231" y="618"/>
                </a:cubicBezTo>
                <a:cubicBezTo>
                  <a:pt x="230" y="619"/>
                  <a:pt x="228" y="620"/>
                  <a:pt x="226" y="620"/>
                </a:cubicBezTo>
                <a:cubicBezTo>
                  <a:pt x="227" y="621"/>
                  <a:pt x="227" y="621"/>
                  <a:pt x="226" y="622"/>
                </a:cubicBezTo>
                <a:cubicBezTo>
                  <a:pt x="225" y="624"/>
                  <a:pt x="222" y="622"/>
                  <a:pt x="221" y="624"/>
                </a:cubicBezTo>
                <a:cubicBezTo>
                  <a:pt x="220" y="624"/>
                  <a:pt x="222" y="624"/>
                  <a:pt x="222" y="624"/>
                </a:cubicBezTo>
                <a:cubicBezTo>
                  <a:pt x="221" y="626"/>
                  <a:pt x="219" y="627"/>
                  <a:pt x="222" y="628"/>
                </a:cubicBezTo>
                <a:cubicBezTo>
                  <a:pt x="222" y="628"/>
                  <a:pt x="227" y="629"/>
                  <a:pt x="228" y="629"/>
                </a:cubicBezTo>
                <a:cubicBezTo>
                  <a:pt x="231" y="629"/>
                  <a:pt x="233" y="629"/>
                  <a:pt x="235" y="631"/>
                </a:cubicBezTo>
                <a:cubicBezTo>
                  <a:pt x="232" y="631"/>
                  <a:pt x="231" y="632"/>
                  <a:pt x="228" y="633"/>
                </a:cubicBezTo>
                <a:cubicBezTo>
                  <a:pt x="228" y="633"/>
                  <a:pt x="229" y="633"/>
                  <a:pt x="229" y="633"/>
                </a:cubicBezTo>
                <a:cubicBezTo>
                  <a:pt x="229" y="633"/>
                  <a:pt x="228" y="633"/>
                  <a:pt x="228" y="633"/>
                </a:cubicBezTo>
                <a:cubicBezTo>
                  <a:pt x="228" y="633"/>
                  <a:pt x="228" y="633"/>
                  <a:pt x="227" y="633"/>
                </a:cubicBezTo>
                <a:cubicBezTo>
                  <a:pt x="224" y="633"/>
                  <a:pt x="221" y="630"/>
                  <a:pt x="218" y="630"/>
                </a:cubicBezTo>
                <a:cubicBezTo>
                  <a:pt x="218" y="630"/>
                  <a:pt x="215" y="633"/>
                  <a:pt x="214" y="633"/>
                </a:cubicBezTo>
                <a:cubicBezTo>
                  <a:pt x="213" y="633"/>
                  <a:pt x="212" y="632"/>
                  <a:pt x="212" y="633"/>
                </a:cubicBezTo>
                <a:cubicBezTo>
                  <a:pt x="212" y="633"/>
                  <a:pt x="213" y="633"/>
                  <a:pt x="213" y="634"/>
                </a:cubicBezTo>
                <a:cubicBezTo>
                  <a:pt x="213" y="634"/>
                  <a:pt x="213" y="634"/>
                  <a:pt x="214" y="634"/>
                </a:cubicBezTo>
                <a:cubicBezTo>
                  <a:pt x="214" y="633"/>
                  <a:pt x="215" y="633"/>
                  <a:pt x="216" y="633"/>
                </a:cubicBezTo>
                <a:cubicBezTo>
                  <a:pt x="216" y="633"/>
                  <a:pt x="217" y="633"/>
                  <a:pt x="217" y="633"/>
                </a:cubicBezTo>
                <a:cubicBezTo>
                  <a:pt x="217" y="633"/>
                  <a:pt x="217" y="633"/>
                  <a:pt x="217" y="633"/>
                </a:cubicBezTo>
                <a:cubicBezTo>
                  <a:pt x="218" y="633"/>
                  <a:pt x="219" y="633"/>
                  <a:pt x="219" y="634"/>
                </a:cubicBezTo>
                <a:cubicBezTo>
                  <a:pt x="219" y="634"/>
                  <a:pt x="219" y="635"/>
                  <a:pt x="218" y="635"/>
                </a:cubicBezTo>
                <a:cubicBezTo>
                  <a:pt x="218" y="636"/>
                  <a:pt x="217" y="637"/>
                  <a:pt x="216" y="637"/>
                </a:cubicBezTo>
                <a:cubicBezTo>
                  <a:pt x="215" y="637"/>
                  <a:pt x="213" y="636"/>
                  <a:pt x="213" y="635"/>
                </a:cubicBezTo>
                <a:cubicBezTo>
                  <a:pt x="213" y="635"/>
                  <a:pt x="213" y="635"/>
                  <a:pt x="213" y="635"/>
                </a:cubicBezTo>
                <a:cubicBezTo>
                  <a:pt x="213" y="636"/>
                  <a:pt x="211" y="636"/>
                  <a:pt x="210" y="636"/>
                </a:cubicBezTo>
                <a:cubicBezTo>
                  <a:pt x="210" y="636"/>
                  <a:pt x="210" y="637"/>
                  <a:pt x="211" y="637"/>
                </a:cubicBezTo>
                <a:cubicBezTo>
                  <a:pt x="211" y="637"/>
                  <a:pt x="211" y="637"/>
                  <a:pt x="211" y="637"/>
                </a:cubicBezTo>
                <a:cubicBezTo>
                  <a:pt x="212" y="637"/>
                  <a:pt x="211" y="637"/>
                  <a:pt x="211" y="637"/>
                </a:cubicBezTo>
                <a:cubicBezTo>
                  <a:pt x="212" y="639"/>
                  <a:pt x="215" y="640"/>
                  <a:pt x="216" y="641"/>
                </a:cubicBezTo>
                <a:cubicBezTo>
                  <a:pt x="214" y="641"/>
                  <a:pt x="214" y="642"/>
                  <a:pt x="214" y="642"/>
                </a:cubicBezTo>
                <a:cubicBezTo>
                  <a:pt x="216" y="641"/>
                  <a:pt x="219" y="642"/>
                  <a:pt x="216" y="643"/>
                </a:cubicBezTo>
                <a:cubicBezTo>
                  <a:pt x="216" y="643"/>
                  <a:pt x="216" y="644"/>
                  <a:pt x="216" y="644"/>
                </a:cubicBezTo>
                <a:cubicBezTo>
                  <a:pt x="216" y="644"/>
                  <a:pt x="217" y="644"/>
                  <a:pt x="217" y="645"/>
                </a:cubicBezTo>
                <a:cubicBezTo>
                  <a:pt x="219" y="644"/>
                  <a:pt x="222" y="643"/>
                  <a:pt x="224" y="643"/>
                </a:cubicBezTo>
                <a:cubicBezTo>
                  <a:pt x="228" y="642"/>
                  <a:pt x="223" y="645"/>
                  <a:pt x="221" y="645"/>
                </a:cubicBezTo>
                <a:cubicBezTo>
                  <a:pt x="220" y="645"/>
                  <a:pt x="218" y="646"/>
                  <a:pt x="216" y="646"/>
                </a:cubicBezTo>
                <a:cubicBezTo>
                  <a:pt x="216" y="647"/>
                  <a:pt x="216" y="647"/>
                  <a:pt x="215" y="647"/>
                </a:cubicBezTo>
                <a:cubicBezTo>
                  <a:pt x="215" y="647"/>
                  <a:pt x="214" y="647"/>
                  <a:pt x="214" y="647"/>
                </a:cubicBezTo>
                <a:cubicBezTo>
                  <a:pt x="212" y="648"/>
                  <a:pt x="211" y="648"/>
                  <a:pt x="210" y="649"/>
                </a:cubicBezTo>
                <a:cubicBezTo>
                  <a:pt x="209" y="650"/>
                  <a:pt x="208" y="651"/>
                  <a:pt x="208" y="652"/>
                </a:cubicBezTo>
                <a:cubicBezTo>
                  <a:pt x="209" y="652"/>
                  <a:pt x="209" y="652"/>
                  <a:pt x="210" y="653"/>
                </a:cubicBezTo>
                <a:cubicBezTo>
                  <a:pt x="210" y="653"/>
                  <a:pt x="210" y="653"/>
                  <a:pt x="210" y="653"/>
                </a:cubicBezTo>
                <a:cubicBezTo>
                  <a:pt x="210" y="653"/>
                  <a:pt x="210" y="653"/>
                  <a:pt x="211" y="653"/>
                </a:cubicBezTo>
                <a:cubicBezTo>
                  <a:pt x="211" y="653"/>
                  <a:pt x="213" y="654"/>
                  <a:pt x="213" y="654"/>
                </a:cubicBezTo>
                <a:cubicBezTo>
                  <a:pt x="213" y="654"/>
                  <a:pt x="213" y="655"/>
                  <a:pt x="213" y="655"/>
                </a:cubicBezTo>
                <a:cubicBezTo>
                  <a:pt x="213" y="656"/>
                  <a:pt x="212" y="657"/>
                  <a:pt x="210" y="657"/>
                </a:cubicBezTo>
                <a:cubicBezTo>
                  <a:pt x="210" y="658"/>
                  <a:pt x="210" y="658"/>
                  <a:pt x="209" y="659"/>
                </a:cubicBezTo>
                <a:cubicBezTo>
                  <a:pt x="209" y="659"/>
                  <a:pt x="209" y="659"/>
                  <a:pt x="209" y="659"/>
                </a:cubicBezTo>
                <a:cubicBezTo>
                  <a:pt x="210" y="660"/>
                  <a:pt x="212" y="660"/>
                  <a:pt x="213" y="660"/>
                </a:cubicBezTo>
                <a:cubicBezTo>
                  <a:pt x="214" y="660"/>
                  <a:pt x="216" y="660"/>
                  <a:pt x="216" y="661"/>
                </a:cubicBezTo>
                <a:cubicBezTo>
                  <a:pt x="217" y="662"/>
                  <a:pt x="218" y="663"/>
                  <a:pt x="218" y="663"/>
                </a:cubicBezTo>
                <a:cubicBezTo>
                  <a:pt x="218" y="663"/>
                  <a:pt x="219" y="663"/>
                  <a:pt x="220" y="664"/>
                </a:cubicBezTo>
                <a:cubicBezTo>
                  <a:pt x="221" y="665"/>
                  <a:pt x="221" y="667"/>
                  <a:pt x="219" y="667"/>
                </a:cubicBezTo>
                <a:cubicBezTo>
                  <a:pt x="219" y="667"/>
                  <a:pt x="219" y="667"/>
                  <a:pt x="219" y="667"/>
                </a:cubicBezTo>
                <a:cubicBezTo>
                  <a:pt x="219" y="668"/>
                  <a:pt x="219" y="668"/>
                  <a:pt x="219" y="669"/>
                </a:cubicBezTo>
                <a:cubicBezTo>
                  <a:pt x="220" y="669"/>
                  <a:pt x="221" y="668"/>
                  <a:pt x="222" y="669"/>
                </a:cubicBezTo>
                <a:cubicBezTo>
                  <a:pt x="222" y="668"/>
                  <a:pt x="223" y="667"/>
                  <a:pt x="223" y="667"/>
                </a:cubicBezTo>
                <a:cubicBezTo>
                  <a:pt x="223" y="667"/>
                  <a:pt x="225" y="666"/>
                  <a:pt x="226" y="666"/>
                </a:cubicBezTo>
                <a:cubicBezTo>
                  <a:pt x="227" y="664"/>
                  <a:pt x="228" y="664"/>
                  <a:pt x="229" y="664"/>
                </a:cubicBezTo>
                <a:cubicBezTo>
                  <a:pt x="230" y="664"/>
                  <a:pt x="229" y="663"/>
                  <a:pt x="230" y="663"/>
                </a:cubicBezTo>
                <a:cubicBezTo>
                  <a:pt x="231" y="662"/>
                  <a:pt x="232" y="664"/>
                  <a:pt x="232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4" y="663"/>
                </a:cubicBezTo>
                <a:cubicBezTo>
                  <a:pt x="235" y="664"/>
                  <a:pt x="235" y="662"/>
                  <a:pt x="236" y="663"/>
                </a:cubicBezTo>
                <a:cubicBezTo>
                  <a:pt x="236" y="663"/>
                  <a:pt x="235" y="664"/>
                  <a:pt x="235" y="664"/>
                </a:cubicBezTo>
                <a:cubicBezTo>
                  <a:pt x="236" y="665"/>
                  <a:pt x="241" y="668"/>
                  <a:pt x="241" y="670"/>
                </a:cubicBezTo>
                <a:cubicBezTo>
                  <a:pt x="241" y="672"/>
                  <a:pt x="236" y="672"/>
                  <a:pt x="235" y="674"/>
                </a:cubicBezTo>
                <a:cubicBezTo>
                  <a:pt x="235" y="675"/>
                  <a:pt x="236" y="676"/>
                  <a:pt x="235" y="677"/>
                </a:cubicBezTo>
                <a:cubicBezTo>
                  <a:pt x="233" y="677"/>
                  <a:pt x="234" y="675"/>
                  <a:pt x="233" y="675"/>
                </a:cubicBezTo>
                <a:cubicBezTo>
                  <a:pt x="232" y="674"/>
                  <a:pt x="227" y="674"/>
                  <a:pt x="225" y="673"/>
                </a:cubicBezTo>
                <a:cubicBezTo>
                  <a:pt x="225" y="673"/>
                  <a:pt x="224" y="672"/>
                  <a:pt x="223" y="672"/>
                </a:cubicBezTo>
                <a:cubicBezTo>
                  <a:pt x="221" y="673"/>
                  <a:pt x="217" y="673"/>
                  <a:pt x="217" y="674"/>
                </a:cubicBezTo>
                <a:cubicBezTo>
                  <a:pt x="216" y="674"/>
                  <a:pt x="218" y="674"/>
                  <a:pt x="218" y="675"/>
                </a:cubicBezTo>
                <a:cubicBezTo>
                  <a:pt x="217" y="675"/>
                  <a:pt x="216" y="674"/>
                  <a:pt x="215" y="674"/>
                </a:cubicBezTo>
                <a:cubicBezTo>
                  <a:pt x="213" y="674"/>
                  <a:pt x="210" y="675"/>
                  <a:pt x="207" y="675"/>
                </a:cubicBezTo>
                <a:cubicBezTo>
                  <a:pt x="208" y="676"/>
                  <a:pt x="208" y="677"/>
                  <a:pt x="208" y="677"/>
                </a:cubicBezTo>
                <a:cubicBezTo>
                  <a:pt x="209" y="677"/>
                  <a:pt x="209" y="676"/>
                  <a:pt x="209" y="676"/>
                </a:cubicBezTo>
                <a:cubicBezTo>
                  <a:pt x="210" y="676"/>
                  <a:pt x="212" y="677"/>
                  <a:pt x="214" y="679"/>
                </a:cubicBezTo>
                <a:cubicBezTo>
                  <a:pt x="215" y="679"/>
                  <a:pt x="216" y="679"/>
                  <a:pt x="216" y="679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7" y="681"/>
                  <a:pt x="216" y="682"/>
                  <a:pt x="216" y="682"/>
                </a:cubicBezTo>
                <a:cubicBezTo>
                  <a:pt x="218" y="684"/>
                  <a:pt x="222" y="683"/>
                  <a:pt x="224" y="683"/>
                </a:cubicBezTo>
                <a:cubicBezTo>
                  <a:pt x="224" y="683"/>
                  <a:pt x="224" y="684"/>
                  <a:pt x="225" y="684"/>
                </a:cubicBezTo>
                <a:cubicBezTo>
                  <a:pt x="225" y="684"/>
                  <a:pt x="225" y="684"/>
                  <a:pt x="225" y="684"/>
                </a:cubicBezTo>
                <a:cubicBezTo>
                  <a:pt x="225" y="683"/>
                  <a:pt x="230" y="681"/>
                  <a:pt x="231" y="682"/>
                </a:cubicBezTo>
                <a:cubicBezTo>
                  <a:pt x="232" y="684"/>
                  <a:pt x="231" y="686"/>
                  <a:pt x="229" y="686"/>
                </a:cubicBezTo>
                <a:cubicBezTo>
                  <a:pt x="229" y="686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30" y="688"/>
                  <a:pt x="231" y="688"/>
                  <a:pt x="232" y="687"/>
                </a:cubicBezTo>
                <a:cubicBezTo>
                  <a:pt x="232" y="687"/>
                  <a:pt x="232" y="687"/>
                  <a:pt x="232" y="687"/>
                </a:cubicBezTo>
                <a:cubicBezTo>
                  <a:pt x="232" y="687"/>
                  <a:pt x="233" y="686"/>
                  <a:pt x="233" y="686"/>
                </a:cubicBezTo>
                <a:cubicBezTo>
                  <a:pt x="234" y="685"/>
                  <a:pt x="237" y="685"/>
                  <a:pt x="239" y="683"/>
                </a:cubicBezTo>
                <a:cubicBezTo>
                  <a:pt x="240" y="682"/>
                  <a:pt x="243" y="680"/>
                  <a:pt x="244" y="680"/>
                </a:cubicBezTo>
                <a:cubicBezTo>
                  <a:pt x="245" y="681"/>
                  <a:pt x="245" y="682"/>
                  <a:pt x="246" y="683"/>
                </a:cubicBezTo>
                <a:cubicBezTo>
                  <a:pt x="246" y="683"/>
                  <a:pt x="246" y="682"/>
                  <a:pt x="247" y="682"/>
                </a:cubicBezTo>
                <a:cubicBezTo>
                  <a:pt x="248" y="682"/>
                  <a:pt x="249" y="683"/>
                  <a:pt x="249" y="684"/>
                </a:cubicBezTo>
                <a:cubicBezTo>
                  <a:pt x="250" y="684"/>
                  <a:pt x="251" y="684"/>
                  <a:pt x="251" y="685"/>
                </a:cubicBezTo>
                <a:cubicBezTo>
                  <a:pt x="251" y="685"/>
                  <a:pt x="250" y="686"/>
                  <a:pt x="249" y="686"/>
                </a:cubicBezTo>
                <a:cubicBezTo>
                  <a:pt x="248" y="687"/>
                  <a:pt x="247" y="688"/>
                  <a:pt x="246" y="686"/>
                </a:cubicBezTo>
                <a:cubicBezTo>
                  <a:pt x="246" y="685"/>
                  <a:pt x="246" y="686"/>
                  <a:pt x="246" y="687"/>
                </a:cubicBezTo>
                <a:cubicBezTo>
                  <a:pt x="247" y="688"/>
                  <a:pt x="248" y="688"/>
                  <a:pt x="248" y="689"/>
                </a:cubicBezTo>
                <a:cubicBezTo>
                  <a:pt x="248" y="690"/>
                  <a:pt x="247" y="690"/>
                  <a:pt x="245" y="691"/>
                </a:cubicBezTo>
                <a:cubicBezTo>
                  <a:pt x="247" y="692"/>
                  <a:pt x="248" y="693"/>
                  <a:pt x="248" y="694"/>
                </a:cubicBezTo>
                <a:cubicBezTo>
                  <a:pt x="248" y="694"/>
                  <a:pt x="247" y="696"/>
                  <a:pt x="246" y="697"/>
                </a:cubicBezTo>
                <a:cubicBezTo>
                  <a:pt x="252" y="699"/>
                  <a:pt x="257" y="700"/>
                  <a:pt x="263" y="702"/>
                </a:cubicBezTo>
                <a:cubicBezTo>
                  <a:pt x="263" y="702"/>
                  <a:pt x="263" y="702"/>
                  <a:pt x="264" y="701"/>
                </a:cubicBezTo>
                <a:cubicBezTo>
                  <a:pt x="264" y="701"/>
                  <a:pt x="265" y="702"/>
                  <a:pt x="266" y="702"/>
                </a:cubicBezTo>
                <a:cubicBezTo>
                  <a:pt x="267" y="702"/>
                  <a:pt x="267" y="701"/>
                  <a:pt x="268" y="701"/>
                </a:cubicBezTo>
                <a:cubicBezTo>
                  <a:pt x="269" y="701"/>
                  <a:pt x="271" y="702"/>
                  <a:pt x="273" y="702"/>
                </a:cubicBezTo>
                <a:cubicBezTo>
                  <a:pt x="274" y="703"/>
                  <a:pt x="274" y="702"/>
                  <a:pt x="274" y="703"/>
                </a:cubicBezTo>
                <a:cubicBezTo>
                  <a:pt x="275" y="703"/>
                  <a:pt x="274" y="704"/>
                  <a:pt x="274" y="705"/>
                </a:cubicBezTo>
                <a:cubicBezTo>
                  <a:pt x="281" y="707"/>
                  <a:pt x="289" y="708"/>
                  <a:pt x="296" y="709"/>
                </a:cubicBezTo>
                <a:cubicBezTo>
                  <a:pt x="297" y="708"/>
                  <a:pt x="297" y="708"/>
                  <a:pt x="298" y="707"/>
                </a:cubicBezTo>
                <a:cubicBezTo>
                  <a:pt x="298" y="707"/>
                  <a:pt x="304" y="707"/>
                  <a:pt x="305" y="707"/>
                </a:cubicBezTo>
                <a:cubicBezTo>
                  <a:pt x="306" y="707"/>
                  <a:pt x="307" y="708"/>
                  <a:pt x="308" y="708"/>
                </a:cubicBezTo>
                <a:cubicBezTo>
                  <a:pt x="307" y="708"/>
                  <a:pt x="307" y="708"/>
                  <a:pt x="307" y="707"/>
                </a:cubicBezTo>
                <a:cubicBezTo>
                  <a:pt x="306" y="706"/>
                  <a:pt x="306" y="704"/>
                  <a:pt x="307" y="703"/>
                </a:cubicBezTo>
                <a:cubicBezTo>
                  <a:pt x="311" y="699"/>
                  <a:pt x="321" y="702"/>
                  <a:pt x="325" y="704"/>
                </a:cubicBezTo>
                <a:cubicBezTo>
                  <a:pt x="325" y="703"/>
                  <a:pt x="325" y="703"/>
                  <a:pt x="325" y="702"/>
                </a:cubicBezTo>
                <a:cubicBezTo>
                  <a:pt x="326" y="699"/>
                  <a:pt x="334" y="701"/>
                  <a:pt x="334" y="704"/>
                </a:cubicBezTo>
                <a:cubicBezTo>
                  <a:pt x="334" y="704"/>
                  <a:pt x="336" y="705"/>
                  <a:pt x="336" y="705"/>
                </a:cubicBezTo>
                <a:cubicBezTo>
                  <a:pt x="336" y="706"/>
                  <a:pt x="334" y="706"/>
                  <a:pt x="334" y="705"/>
                </a:cubicBezTo>
                <a:cubicBezTo>
                  <a:pt x="333" y="706"/>
                  <a:pt x="330" y="707"/>
                  <a:pt x="328" y="706"/>
                </a:cubicBezTo>
                <a:cubicBezTo>
                  <a:pt x="327" y="706"/>
                  <a:pt x="325" y="706"/>
                  <a:pt x="324" y="708"/>
                </a:cubicBezTo>
                <a:cubicBezTo>
                  <a:pt x="324" y="708"/>
                  <a:pt x="324" y="710"/>
                  <a:pt x="324" y="710"/>
                </a:cubicBezTo>
                <a:cubicBezTo>
                  <a:pt x="323" y="711"/>
                  <a:pt x="321" y="711"/>
                  <a:pt x="321" y="711"/>
                </a:cubicBezTo>
                <a:cubicBezTo>
                  <a:pt x="321" y="712"/>
                  <a:pt x="322" y="713"/>
                  <a:pt x="323" y="713"/>
                </a:cubicBezTo>
                <a:cubicBezTo>
                  <a:pt x="328" y="713"/>
                  <a:pt x="334" y="714"/>
                  <a:pt x="339" y="714"/>
                </a:cubicBezTo>
                <a:cubicBezTo>
                  <a:pt x="338" y="712"/>
                  <a:pt x="340" y="712"/>
                  <a:pt x="342" y="712"/>
                </a:cubicBezTo>
                <a:cubicBezTo>
                  <a:pt x="342" y="712"/>
                  <a:pt x="343" y="712"/>
                  <a:pt x="344" y="712"/>
                </a:cubicBezTo>
                <a:cubicBezTo>
                  <a:pt x="344" y="712"/>
                  <a:pt x="344" y="713"/>
                  <a:pt x="344" y="713"/>
                </a:cubicBezTo>
                <a:cubicBezTo>
                  <a:pt x="344" y="713"/>
                  <a:pt x="345" y="713"/>
                  <a:pt x="345" y="714"/>
                </a:cubicBezTo>
                <a:cubicBezTo>
                  <a:pt x="345" y="714"/>
                  <a:pt x="346" y="714"/>
                  <a:pt x="346" y="714"/>
                </a:cubicBezTo>
                <a:cubicBezTo>
                  <a:pt x="346" y="713"/>
                  <a:pt x="347" y="712"/>
                  <a:pt x="347" y="712"/>
                </a:cubicBezTo>
                <a:cubicBezTo>
                  <a:pt x="348" y="712"/>
                  <a:pt x="349" y="712"/>
                  <a:pt x="349" y="712"/>
                </a:cubicBezTo>
                <a:cubicBezTo>
                  <a:pt x="350" y="712"/>
                  <a:pt x="351" y="711"/>
                  <a:pt x="352" y="711"/>
                </a:cubicBezTo>
                <a:cubicBezTo>
                  <a:pt x="352" y="710"/>
                  <a:pt x="352" y="710"/>
                  <a:pt x="354" y="709"/>
                </a:cubicBezTo>
                <a:cubicBezTo>
                  <a:pt x="355" y="709"/>
                  <a:pt x="355" y="708"/>
                  <a:pt x="357" y="708"/>
                </a:cubicBezTo>
                <a:cubicBezTo>
                  <a:pt x="360" y="707"/>
                  <a:pt x="365" y="706"/>
                  <a:pt x="369" y="705"/>
                </a:cubicBezTo>
                <a:cubicBezTo>
                  <a:pt x="370" y="705"/>
                  <a:pt x="370" y="705"/>
                  <a:pt x="370" y="705"/>
                </a:cubicBezTo>
                <a:cubicBezTo>
                  <a:pt x="370" y="705"/>
                  <a:pt x="369" y="705"/>
                  <a:pt x="369" y="705"/>
                </a:cubicBezTo>
                <a:cubicBezTo>
                  <a:pt x="368" y="705"/>
                  <a:pt x="367" y="704"/>
                  <a:pt x="366" y="702"/>
                </a:cubicBezTo>
                <a:cubicBezTo>
                  <a:pt x="365" y="702"/>
                  <a:pt x="365" y="702"/>
                  <a:pt x="365" y="701"/>
                </a:cubicBezTo>
                <a:cubicBezTo>
                  <a:pt x="365" y="700"/>
                  <a:pt x="364" y="699"/>
                  <a:pt x="365" y="698"/>
                </a:cubicBezTo>
                <a:cubicBezTo>
                  <a:pt x="366" y="692"/>
                  <a:pt x="379" y="693"/>
                  <a:pt x="384" y="696"/>
                </a:cubicBezTo>
                <a:cubicBezTo>
                  <a:pt x="386" y="697"/>
                  <a:pt x="387" y="699"/>
                  <a:pt x="388" y="701"/>
                </a:cubicBezTo>
                <a:cubicBezTo>
                  <a:pt x="390" y="700"/>
                  <a:pt x="392" y="699"/>
                  <a:pt x="392" y="700"/>
                </a:cubicBezTo>
                <a:cubicBezTo>
                  <a:pt x="393" y="701"/>
                  <a:pt x="391" y="702"/>
                  <a:pt x="389" y="702"/>
                </a:cubicBezTo>
                <a:cubicBezTo>
                  <a:pt x="389" y="702"/>
                  <a:pt x="389" y="702"/>
                  <a:pt x="389" y="702"/>
                </a:cubicBezTo>
                <a:cubicBezTo>
                  <a:pt x="390" y="703"/>
                  <a:pt x="391" y="704"/>
                  <a:pt x="391" y="704"/>
                </a:cubicBezTo>
                <a:cubicBezTo>
                  <a:pt x="391" y="706"/>
                  <a:pt x="387" y="707"/>
                  <a:pt x="383" y="708"/>
                </a:cubicBezTo>
                <a:cubicBezTo>
                  <a:pt x="388" y="708"/>
                  <a:pt x="395" y="708"/>
                  <a:pt x="399" y="708"/>
                </a:cubicBezTo>
                <a:cubicBezTo>
                  <a:pt x="399" y="708"/>
                  <a:pt x="406" y="707"/>
                  <a:pt x="406" y="708"/>
                </a:cubicBezTo>
                <a:cubicBezTo>
                  <a:pt x="407" y="710"/>
                  <a:pt x="401" y="709"/>
                  <a:pt x="400" y="709"/>
                </a:cubicBezTo>
                <a:cubicBezTo>
                  <a:pt x="394" y="709"/>
                  <a:pt x="384" y="709"/>
                  <a:pt x="378" y="709"/>
                </a:cubicBezTo>
                <a:cubicBezTo>
                  <a:pt x="378" y="709"/>
                  <a:pt x="377" y="709"/>
                  <a:pt x="377" y="709"/>
                </a:cubicBezTo>
                <a:cubicBezTo>
                  <a:pt x="377" y="709"/>
                  <a:pt x="377" y="709"/>
                  <a:pt x="377" y="708"/>
                </a:cubicBezTo>
                <a:cubicBezTo>
                  <a:pt x="378" y="708"/>
                  <a:pt x="378" y="708"/>
                  <a:pt x="379" y="708"/>
                </a:cubicBezTo>
                <a:cubicBezTo>
                  <a:pt x="377" y="708"/>
                  <a:pt x="376" y="708"/>
                  <a:pt x="375" y="708"/>
                </a:cubicBezTo>
                <a:cubicBezTo>
                  <a:pt x="374" y="708"/>
                  <a:pt x="374" y="709"/>
                  <a:pt x="373" y="709"/>
                </a:cubicBezTo>
                <a:cubicBezTo>
                  <a:pt x="373" y="709"/>
                  <a:pt x="372" y="709"/>
                  <a:pt x="372" y="709"/>
                </a:cubicBezTo>
                <a:cubicBezTo>
                  <a:pt x="372" y="709"/>
                  <a:pt x="371" y="710"/>
                  <a:pt x="370" y="710"/>
                </a:cubicBezTo>
                <a:cubicBezTo>
                  <a:pt x="369" y="710"/>
                  <a:pt x="367" y="710"/>
                  <a:pt x="366" y="711"/>
                </a:cubicBezTo>
                <a:cubicBezTo>
                  <a:pt x="364" y="711"/>
                  <a:pt x="363" y="712"/>
                  <a:pt x="361" y="713"/>
                </a:cubicBezTo>
                <a:cubicBezTo>
                  <a:pt x="360" y="713"/>
                  <a:pt x="360" y="713"/>
                  <a:pt x="360" y="713"/>
                </a:cubicBezTo>
                <a:cubicBezTo>
                  <a:pt x="359" y="713"/>
                  <a:pt x="358" y="714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554" y="715"/>
                  <a:pt x="714" y="555"/>
                  <a:pt x="714" y="357"/>
                </a:cubicBezTo>
                <a:cubicBezTo>
                  <a:pt x="714" y="339"/>
                  <a:pt x="713" y="322"/>
                  <a:pt x="710" y="304"/>
                </a:cubicBezTo>
                <a:close/>
                <a:moveTo>
                  <a:pt x="703" y="277"/>
                </a:moveTo>
                <a:cubicBezTo>
                  <a:pt x="704" y="277"/>
                  <a:pt x="703" y="279"/>
                  <a:pt x="702" y="279"/>
                </a:cubicBezTo>
                <a:cubicBezTo>
                  <a:pt x="702" y="278"/>
                  <a:pt x="703" y="278"/>
                  <a:pt x="703" y="277"/>
                </a:cubicBezTo>
                <a:close/>
                <a:moveTo>
                  <a:pt x="702" y="292"/>
                </a:moveTo>
                <a:cubicBezTo>
                  <a:pt x="702" y="292"/>
                  <a:pt x="702" y="292"/>
                  <a:pt x="702" y="292"/>
                </a:cubicBezTo>
                <a:cubicBezTo>
                  <a:pt x="702" y="292"/>
                  <a:pt x="701" y="293"/>
                  <a:pt x="701" y="293"/>
                </a:cubicBezTo>
                <a:cubicBezTo>
                  <a:pt x="701" y="293"/>
                  <a:pt x="701" y="292"/>
                  <a:pt x="702" y="292"/>
                </a:cubicBezTo>
                <a:close/>
                <a:moveTo>
                  <a:pt x="699" y="271"/>
                </a:moveTo>
                <a:cubicBezTo>
                  <a:pt x="697" y="274"/>
                  <a:pt x="700" y="270"/>
                  <a:pt x="699" y="271"/>
                </a:cubicBezTo>
                <a:close/>
                <a:moveTo>
                  <a:pt x="681" y="279"/>
                </a:moveTo>
                <a:cubicBezTo>
                  <a:pt x="681" y="277"/>
                  <a:pt x="683" y="278"/>
                  <a:pt x="681" y="279"/>
                </a:cubicBezTo>
                <a:close/>
                <a:moveTo>
                  <a:pt x="682" y="275"/>
                </a:moveTo>
                <a:cubicBezTo>
                  <a:pt x="683" y="276"/>
                  <a:pt x="681" y="277"/>
                  <a:pt x="682" y="275"/>
                </a:cubicBezTo>
                <a:close/>
                <a:moveTo>
                  <a:pt x="686" y="247"/>
                </a:moveTo>
                <a:cubicBezTo>
                  <a:pt x="687" y="248"/>
                  <a:pt x="687" y="250"/>
                  <a:pt x="687" y="252"/>
                </a:cubicBezTo>
                <a:cubicBezTo>
                  <a:pt x="686" y="251"/>
                  <a:pt x="686" y="249"/>
                  <a:pt x="686" y="247"/>
                </a:cubicBezTo>
                <a:close/>
                <a:moveTo>
                  <a:pt x="680" y="254"/>
                </a:moveTo>
                <a:cubicBezTo>
                  <a:pt x="680" y="255"/>
                  <a:pt x="681" y="252"/>
                  <a:pt x="680" y="254"/>
                </a:cubicBezTo>
                <a:close/>
                <a:moveTo>
                  <a:pt x="684" y="227"/>
                </a:moveTo>
                <a:cubicBezTo>
                  <a:pt x="687" y="230"/>
                  <a:pt x="682" y="233"/>
                  <a:pt x="680" y="234"/>
                </a:cubicBezTo>
                <a:cubicBezTo>
                  <a:pt x="678" y="231"/>
                  <a:pt x="681" y="225"/>
                  <a:pt x="684" y="227"/>
                </a:cubicBezTo>
                <a:close/>
                <a:moveTo>
                  <a:pt x="634" y="190"/>
                </a:moveTo>
                <a:cubicBezTo>
                  <a:pt x="634" y="190"/>
                  <a:pt x="634" y="191"/>
                  <a:pt x="634" y="191"/>
                </a:cubicBezTo>
                <a:cubicBezTo>
                  <a:pt x="635" y="194"/>
                  <a:pt x="630" y="192"/>
                  <a:pt x="634" y="190"/>
                </a:cubicBezTo>
                <a:close/>
                <a:moveTo>
                  <a:pt x="574" y="146"/>
                </a:moveTo>
                <a:cubicBezTo>
                  <a:pt x="575" y="147"/>
                  <a:pt x="573" y="147"/>
                  <a:pt x="573" y="146"/>
                </a:cubicBezTo>
                <a:cubicBezTo>
                  <a:pt x="572" y="146"/>
                  <a:pt x="574" y="145"/>
                  <a:pt x="574" y="146"/>
                </a:cubicBezTo>
                <a:close/>
                <a:moveTo>
                  <a:pt x="571" y="138"/>
                </a:moveTo>
                <a:cubicBezTo>
                  <a:pt x="571" y="138"/>
                  <a:pt x="571" y="138"/>
                  <a:pt x="571" y="138"/>
                </a:cubicBezTo>
                <a:cubicBezTo>
                  <a:pt x="572" y="140"/>
                  <a:pt x="569" y="137"/>
                  <a:pt x="571" y="138"/>
                </a:cubicBezTo>
                <a:close/>
                <a:moveTo>
                  <a:pt x="566" y="136"/>
                </a:moveTo>
                <a:cubicBezTo>
                  <a:pt x="566" y="137"/>
                  <a:pt x="564" y="137"/>
                  <a:pt x="564" y="137"/>
                </a:cubicBezTo>
                <a:cubicBezTo>
                  <a:pt x="564" y="136"/>
                  <a:pt x="566" y="135"/>
                  <a:pt x="566" y="136"/>
                </a:cubicBezTo>
                <a:close/>
                <a:moveTo>
                  <a:pt x="562" y="145"/>
                </a:moveTo>
                <a:cubicBezTo>
                  <a:pt x="563" y="146"/>
                  <a:pt x="562" y="146"/>
                  <a:pt x="562" y="146"/>
                </a:cubicBezTo>
                <a:cubicBezTo>
                  <a:pt x="561" y="145"/>
                  <a:pt x="562" y="145"/>
                  <a:pt x="562" y="145"/>
                </a:cubicBezTo>
                <a:close/>
                <a:moveTo>
                  <a:pt x="549" y="88"/>
                </a:moveTo>
                <a:cubicBezTo>
                  <a:pt x="549" y="88"/>
                  <a:pt x="549" y="88"/>
                  <a:pt x="549" y="88"/>
                </a:cubicBezTo>
                <a:cubicBezTo>
                  <a:pt x="549" y="88"/>
                  <a:pt x="549" y="88"/>
                  <a:pt x="549" y="88"/>
                </a:cubicBezTo>
                <a:close/>
                <a:moveTo>
                  <a:pt x="549" y="88"/>
                </a:moveTo>
                <a:cubicBezTo>
                  <a:pt x="549" y="88"/>
                  <a:pt x="548" y="88"/>
                  <a:pt x="549" y="88"/>
                </a:cubicBezTo>
                <a:close/>
                <a:moveTo>
                  <a:pt x="549" y="90"/>
                </a:moveTo>
                <a:cubicBezTo>
                  <a:pt x="549" y="91"/>
                  <a:pt x="548" y="91"/>
                  <a:pt x="548" y="91"/>
                </a:cubicBezTo>
                <a:cubicBezTo>
                  <a:pt x="548" y="91"/>
                  <a:pt x="549" y="90"/>
                  <a:pt x="549" y="90"/>
                </a:cubicBezTo>
                <a:close/>
                <a:moveTo>
                  <a:pt x="547" y="89"/>
                </a:moveTo>
                <a:cubicBezTo>
                  <a:pt x="546" y="89"/>
                  <a:pt x="546" y="90"/>
                  <a:pt x="545" y="90"/>
                </a:cubicBezTo>
                <a:cubicBezTo>
                  <a:pt x="546" y="90"/>
                  <a:pt x="544" y="88"/>
                  <a:pt x="544" y="88"/>
                </a:cubicBezTo>
                <a:cubicBezTo>
                  <a:pt x="545" y="87"/>
                  <a:pt x="547" y="87"/>
                  <a:pt x="547" y="89"/>
                </a:cubicBezTo>
                <a:close/>
                <a:moveTo>
                  <a:pt x="540" y="94"/>
                </a:moveTo>
                <a:cubicBezTo>
                  <a:pt x="541" y="94"/>
                  <a:pt x="539" y="94"/>
                  <a:pt x="539" y="94"/>
                </a:cubicBezTo>
                <a:cubicBezTo>
                  <a:pt x="539" y="93"/>
                  <a:pt x="540" y="93"/>
                  <a:pt x="540" y="94"/>
                </a:cubicBezTo>
                <a:close/>
                <a:moveTo>
                  <a:pt x="540" y="97"/>
                </a:moveTo>
                <a:cubicBezTo>
                  <a:pt x="540" y="96"/>
                  <a:pt x="538" y="98"/>
                  <a:pt x="539" y="97"/>
                </a:cubicBezTo>
                <a:cubicBezTo>
                  <a:pt x="539" y="96"/>
                  <a:pt x="542" y="93"/>
                  <a:pt x="544" y="93"/>
                </a:cubicBezTo>
                <a:cubicBezTo>
                  <a:pt x="546" y="93"/>
                  <a:pt x="549" y="94"/>
                  <a:pt x="548" y="96"/>
                </a:cubicBezTo>
                <a:cubicBezTo>
                  <a:pt x="548" y="98"/>
                  <a:pt x="544" y="100"/>
                  <a:pt x="542" y="100"/>
                </a:cubicBezTo>
                <a:cubicBezTo>
                  <a:pt x="541" y="100"/>
                  <a:pt x="540" y="99"/>
                  <a:pt x="540" y="99"/>
                </a:cubicBezTo>
                <a:cubicBezTo>
                  <a:pt x="539" y="99"/>
                  <a:pt x="538" y="101"/>
                  <a:pt x="538" y="99"/>
                </a:cubicBezTo>
                <a:cubicBezTo>
                  <a:pt x="538" y="99"/>
                  <a:pt x="540" y="97"/>
                  <a:pt x="540" y="97"/>
                </a:cubicBezTo>
                <a:close/>
                <a:moveTo>
                  <a:pt x="535" y="95"/>
                </a:moveTo>
                <a:cubicBezTo>
                  <a:pt x="536" y="96"/>
                  <a:pt x="533" y="95"/>
                  <a:pt x="535" y="95"/>
                </a:cubicBezTo>
                <a:close/>
                <a:moveTo>
                  <a:pt x="535" y="97"/>
                </a:moveTo>
                <a:cubicBezTo>
                  <a:pt x="535" y="97"/>
                  <a:pt x="535" y="96"/>
                  <a:pt x="535" y="96"/>
                </a:cubicBezTo>
                <a:cubicBezTo>
                  <a:pt x="535" y="97"/>
                  <a:pt x="536" y="97"/>
                  <a:pt x="535" y="97"/>
                </a:cubicBezTo>
                <a:close/>
                <a:moveTo>
                  <a:pt x="534" y="111"/>
                </a:moveTo>
                <a:cubicBezTo>
                  <a:pt x="534" y="110"/>
                  <a:pt x="535" y="109"/>
                  <a:pt x="536" y="110"/>
                </a:cubicBezTo>
                <a:cubicBezTo>
                  <a:pt x="537" y="111"/>
                  <a:pt x="535" y="111"/>
                  <a:pt x="534" y="111"/>
                </a:cubicBezTo>
                <a:close/>
                <a:moveTo>
                  <a:pt x="535" y="84"/>
                </a:moveTo>
                <a:cubicBezTo>
                  <a:pt x="538" y="83"/>
                  <a:pt x="536" y="88"/>
                  <a:pt x="534" y="87"/>
                </a:cubicBezTo>
                <a:cubicBezTo>
                  <a:pt x="532" y="86"/>
                  <a:pt x="534" y="85"/>
                  <a:pt x="535" y="84"/>
                </a:cubicBezTo>
                <a:close/>
                <a:moveTo>
                  <a:pt x="545" y="73"/>
                </a:moveTo>
                <a:cubicBezTo>
                  <a:pt x="544" y="74"/>
                  <a:pt x="544" y="72"/>
                  <a:pt x="545" y="73"/>
                </a:cubicBezTo>
                <a:close/>
                <a:moveTo>
                  <a:pt x="541" y="72"/>
                </a:moveTo>
                <a:cubicBezTo>
                  <a:pt x="540" y="73"/>
                  <a:pt x="539" y="73"/>
                  <a:pt x="537" y="73"/>
                </a:cubicBezTo>
                <a:cubicBezTo>
                  <a:pt x="539" y="73"/>
                  <a:pt x="539" y="71"/>
                  <a:pt x="541" y="72"/>
                </a:cubicBezTo>
                <a:close/>
                <a:moveTo>
                  <a:pt x="534" y="73"/>
                </a:moveTo>
                <a:cubicBezTo>
                  <a:pt x="534" y="74"/>
                  <a:pt x="532" y="75"/>
                  <a:pt x="532" y="74"/>
                </a:cubicBezTo>
                <a:cubicBezTo>
                  <a:pt x="531" y="74"/>
                  <a:pt x="534" y="73"/>
                  <a:pt x="534" y="73"/>
                </a:cubicBezTo>
                <a:close/>
                <a:moveTo>
                  <a:pt x="531" y="74"/>
                </a:moveTo>
                <a:cubicBezTo>
                  <a:pt x="532" y="75"/>
                  <a:pt x="530" y="74"/>
                  <a:pt x="530" y="74"/>
                </a:cubicBezTo>
                <a:cubicBezTo>
                  <a:pt x="529" y="73"/>
                  <a:pt x="531" y="73"/>
                  <a:pt x="531" y="74"/>
                </a:cubicBezTo>
                <a:close/>
                <a:moveTo>
                  <a:pt x="458" y="41"/>
                </a:moveTo>
                <a:cubicBezTo>
                  <a:pt x="458" y="42"/>
                  <a:pt x="458" y="42"/>
                  <a:pt x="458" y="42"/>
                </a:cubicBezTo>
                <a:cubicBezTo>
                  <a:pt x="458" y="41"/>
                  <a:pt x="457" y="40"/>
                  <a:pt x="458" y="41"/>
                </a:cubicBezTo>
                <a:close/>
                <a:moveTo>
                  <a:pt x="421" y="34"/>
                </a:moveTo>
                <a:cubicBezTo>
                  <a:pt x="420" y="34"/>
                  <a:pt x="420" y="33"/>
                  <a:pt x="421" y="34"/>
                </a:cubicBezTo>
                <a:close/>
                <a:moveTo>
                  <a:pt x="421" y="29"/>
                </a:moveTo>
                <a:cubicBezTo>
                  <a:pt x="422" y="30"/>
                  <a:pt x="420" y="30"/>
                  <a:pt x="420" y="30"/>
                </a:cubicBezTo>
                <a:cubicBezTo>
                  <a:pt x="419" y="29"/>
                  <a:pt x="421" y="29"/>
                  <a:pt x="421" y="29"/>
                </a:cubicBezTo>
                <a:close/>
                <a:moveTo>
                  <a:pt x="461" y="19"/>
                </a:moveTo>
                <a:cubicBezTo>
                  <a:pt x="461" y="20"/>
                  <a:pt x="458" y="20"/>
                  <a:pt x="458" y="19"/>
                </a:cubicBezTo>
                <a:cubicBezTo>
                  <a:pt x="457" y="18"/>
                  <a:pt x="461" y="17"/>
                  <a:pt x="461" y="19"/>
                </a:cubicBezTo>
                <a:close/>
                <a:moveTo>
                  <a:pt x="456" y="20"/>
                </a:moveTo>
                <a:cubicBezTo>
                  <a:pt x="457" y="21"/>
                  <a:pt x="454" y="22"/>
                  <a:pt x="454" y="20"/>
                </a:cubicBezTo>
                <a:cubicBezTo>
                  <a:pt x="454" y="20"/>
                  <a:pt x="456" y="20"/>
                  <a:pt x="456" y="20"/>
                </a:cubicBezTo>
                <a:close/>
                <a:moveTo>
                  <a:pt x="455" y="23"/>
                </a:moveTo>
                <a:cubicBezTo>
                  <a:pt x="456" y="24"/>
                  <a:pt x="453" y="23"/>
                  <a:pt x="453" y="23"/>
                </a:cubicBezTo>
                <a:cubicBezTo>
                  <a:pt x="453" y="22"/>
                  <a:pt x="455" y="22"/>
                  <a:pt x="455" y="23"/>
                </a:cubicBezTo>
                <a:close/>
                <a:moveTo>
                  <a:pt x="434" y="24"/>
                </a:moveTo>
                <a:cubicBezTo>
                  <a:pt x="434" y="25"/>
                  <a:pt x="430" y="24"/>
                  <a:pt x="430" y="23"/>
                </a:cubicBezTo>
                <a:cubicBezTo>
                  <a:pt x="430" y="22"/>
                  <a:pt x="433" y="22"/>
                  <a:pt x="434" y="24"/>
                </a:cubicBezTo>
                <a:close/>
                <a:moveTo>
                  <a:pt x="427" y="20"/>
                </a:moveTo>
                <a:cubicBezTo>
                  <a:pt x="427" y="21"/>
                  <a:pt x="425" y="20"/>
                  <a:pt x="425" y="20"/>
                </a:cubicBezTo>
                <a:cubicBezTo>
                  <a:pt x="425" y="20"/>
                  <a:pt x="427" y="19"/>
                  <a:pt x="427" y="20"/>
                </a:cubicBezTo>
                <a:close/>
                <a:moveTo>
                  <a:pt x="418" y="41"/>
                </a:moveTo>
                <a:cubicBezTo>
                  <a:pt x="418" y="41"/>
                  <a:pt x="418" y="40"/>
                  <a:pt x="418" y="40"/>
                </a:cubicBezTo>
                <a:cubicBezTo>
                  <a:pt x="416" y="39"/>
                  <a:pt x="420" y="40"/>
                  <a:pt x="418" y="41"/>
                </a:cubicBezTo>
                <a:close/>
                <a:moveTo>
                  <a:pt x="415" y="43"/>
                </a:moveTo>
                <a:cubicBezTo>
                  <a:pt x="416" y="44"/>
                  <a:pt x="414" y="44"/>
                  <a:pt x="414" y="44"/>
                </a:cubicBezTo>
                <a:cubicBezTo>
                  <a:pt x="414" y="44"/>
                  <a:pt x="414" y="43"/>
                  <a:pt x="415" y="43"/>
                </a:cubicBezTo>
                <a:close/>
                <a:moveTo>
                  <a:pt x="388" y="45"/>
                </a:moveTo>
                <a:cubicBezTo>
                  <a:pt x="388" y="43"/>
                  <a:pt x="393" y="43"/>
                  <a:pt x="393" y="45"/>
                </a:cubicBezTo>
                <a:cubicBezTo>
                  <a:pt x="393" y="48"/>
                  <a:pt x="388" y="46"/>
                  <a:pt x="388" y="45"/>
                </a:cubicBezTo>
                <a:close/>
                <a:moveTo>
                  <a:pt x="394" y="10"/>
                </a:moveTo>
                <a:cubicBezTo>
                  <a:pt x="394" y="11"/>
                  <a:pt x="393" y="11"/>
                  <a:pt x="392" y="11"/>
                </a:cubicBezTo>
                <a:cubicBezTo>
                  <a:pt x="393" y="10"/>
                  <a:pt x="394" y="10"/>
                  <a:pt x="394" y="10"/>
                </a:cubicBezTo>
                <a:close/>
                <a:moveTo>
                  <a:pt x="389" y="10"/>
                </a:moveTo>
                <a:cubicBezTo>
                  <a:pt x="391" y="9"/>
                  <a:pt x="391" y="12"/>
                  <a:pt x="389" y="10"/>
                </a:cubicBezTo>
                <a:close/>
                <a:moveTo>
                  <a:pt x="387" y="32"/>
                </a:moveTo>
                <a:cubicBezTo>
                  <a:pt x="393" y="30"/>
                  <a:pt x="399" y="30"/>
                  <a:pt x="404" y="30"/>
                </a:cubicBezTo>
                <a:cubicBezTo>
                  <a:pt x="399" y="31"/>
                  <a:pt x="391" y="32"/>
                  <a:pt x="384" y="33"/>
                </a:cubicBezTo>
                <a:cubicBezTo>
                  <a:pt x="379" y="35"/>
                  <a:pt x="386" y="32"/>
                  <a:pt x="387" y="32"/>
                </a:cubicBezTo>
                <a:close/>
                <a:moveTo>
                  <a:pt x="380" y="25"/>
                </a:moveTo>
                <a:cubicBezTo>
                  <a:pt x="381" y="24"/>
                  <a:pt x="382" y="26"/>
                  <a:pt x="380" y="25"/>
                </a:cubicBezTo>
                <a:close/>
                <a:moveTo>
                  <a:pt x="355" y="52"/>
                </a:moveTo>
                <a:cubicBezTo>
                  <a:pt x="355" y="51"/>
                  <a:pt x="357" y="50"/>
                  <a:pt x="357" y="51"/>
                </a:cubicBezTo>
                <a:cubicBezTo>
                  <a:pt x="358" y="53"/>
                  <a:pt x="356" y="52"/>
                  <a:pt x="355" y="52"/>
                </a:cubicBezTo>
                <a:close/>
                <a:moveTo>
                  <a:pt x="375" y="42"/>
                </a:move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lose/>
                <a:moveTo>
                  <a:pt x="371" y="6"/>
                </a:moveTo>
                <a:cubicBezTo>
                  <a:pt x="372" y="5"/>
                  <a:pt x="373" y="7"/>
                  <a:pt x="371" y="6"/>
                </a:cubicBezTo>
                <a:close/>
                <a:moveTo>
                  <a:pt x="367" y="52"/>
                </a:moveTo>
                <a:cubicBezTo>
                  <a:pt x="366" y="53"/>
                  <a:pt x="365" y="53"/>
                  <a:pt x="364" y="53"/>
                </a:cubicBezTo>
                <a:cubicBezTo>
                  <a:pt x="365" y="52"/>
                  <a:pt x="366" y="52"/>
                  <a:pt x="367" y="52"/>
                </a:cubicBezTo>
                <a:close/>
                <a:moveTo>
                  <a:pt x="360" y="41"/>
                </a:moveTo>
                <a:cubicBezTo>
                  <a:pt x="358" y="42"/>
                  <a:pt x="354" y="43"/>
                  <a:pt x="351" y="41"/>
                </a:cubicBezTo>
                <a:cubicBezTo>
                  <a:pt x="351" y="40"/>
                  <a:pt x="360" y="41"/>
                  <a:pt x="360" y="41"/>
                </a:cubicBezTo>
                <a:close/>
                <a:moveTo>
                  <a:pt x="2" y="391"/>
                </a:moveTo>
                <a:cubicBezTo>
                  <a:pt x="2" y="392"/>
                  <a:pt x="2" y="389"/>
                  <a:pt x="2" y="391"/>
                </a:cubicBezTo>
                <a:close/>
                <a:moveTo>
                  <a:pt x="2" y="338"/>
                </a:moveTo>
                <a:cubicBezTo>
                  <a:pt x="1" y="339"/>
                  <a:pt x="1" y="336"/>
                  <a:pt x="2" y="337"/>
                </a:cubicBezTo>
                <a:cubicBezTo>
                  <a:pt x="2" y="337"/>
                  <a:pt x="2" y="337"/>
                  <a:pt x="2" y="338"/>
                </a:cubicBezTo>
                <a:close/>
                <a:moveTo>
                  <a:pt x="6" y="411"/>
                </a:moveTo>
                <a:cubicBezTo>
                  <a:pt x="7" y="410"/>
                  <a:pt x="8" y="410"/>
                  <a:pt x="6" y="411"/>
                </a:cubicBezTo>
                <a:close/>
                <a:moveTo>
                  <a:pt x="7" y="377"/>
                </a:moveTo>
                <a:cubicBezTo>
                  <a:pt x="8" y="377"/>
                  <a:pt x="8" y="378"/>
                  <a:pt x="7" y="379"/>
                </a:cubicBezTo>
                <a:cubicBezTo>
                  <a:pt x="6" y="380"/>
                  <a:pt x="7" y="377"/>
                  <a:pt x="7" y="377"/>
                </a:cubicBezTo>
                <a:close/>
                <a:moveTo>
                  <a:pt x="7" y="415"/>
                </a:moveTo>
                <a:cubicBezTo>
                  <a:pt x="7" y="416"/>
                  <a:pt x="7" y="413"/>
                  <a:pt x="8" y="414"/>
                </a:cubicBezTo>
                <a:cubicBezTo>
                  <a:pt x="9" y="414"/>
                  <a:pt x="8" y="415"/>
                  <a:pt x="7" y="415"/>
                </a:cubicBezTo>
                <a:close/>
                <a:moveTo>
                  <a:pt x="7" y="368"/>
                </a:moveTo>
                <a:cubicBezTo>
                  <a:pt x="6" y="367"/>
                  <a:pt x="7" y="364"/>
                  <a:pt x="8" y="363"/>
                </a:cubicBezTo>
                <a:cubicBezTo>
                  <a:pt x="8" y="365"/>
                  <a:pt x="7" y="366"/>
                  <a:pt x="7" y="368"/>
                </a:cubicBezTo>
                <a:close/>
                <a:moveTo>
                  <a:pt x="13" y="438"/>
                </a:moveTo>
                <a:cubicBezTo>
                  <a:pt x="13" y="438"/>
                  <a:pt x="13" y="439"/>
                  <a:pt x="13" y="439"/>
                </a:cubicBezTo>
                <a:cubicBezTo>
                  <a:pt x="13" y="441"/>
                  <a:pt x="12" y="437"/>
                  <a:pt x="13" y="438"/>
                </a:cubicBezTo>
                <a:close/>
                <a:moveTo>
                  <a:pt x="12" y="423"/>
                </a:moveTo>
                <a:cubicBezTo>
                  <a:pt x="13" y="423"/>
                  <a:pt x="11" y="425"/>
                  <a:pt x="12" y="423"/>
                </a:cubicBezTo>
                <a:close/>
                <a:moveTo>
                  <a:pt x="15" y="295"/>
                </a:moveTo>
                <a:cubicBezTo>
                  <a:pt x="15" y="298"/>
                  <a:pt x="13" y="296"/>
                  <a:pt x="15" y="295"/>
                </a:cubicBezTo>
                <a:close/>
                <a:moveTo>
                  <a:pt x="13" y="368"/>
                </a:moveTo>
                <a:cubicBezTo>
                  <a:pt x="14" y="368"/>
                  <a:pt x="13" y="369"/>
                  <a:pt x="13" y="369"/>
                </a:cubicBezTo>
                <a:cubicBezTo>
                  <a:pt x="12" y="370"/>
                  <a:pt x="12" y="367"/>
                  <a:pt x="13" y="368"/>
                </a:cubicBezTo>
                <a:close/>
                <a:moveTo>
                  <a:pt x="12" y="352"/>
                </a:moveTo>
                <a:cubicBezTo>
                  <a:pt x="11" y="353"/>
                  <a:pt x="11" y="350"/>
                  <a:pt x="12" y="351"/>
                </a:cubicBezTo>
                <a:cubicBezTo>
                  <a:pt x="13" y="351"/>
                  <a:pt x="12" y="352"/>
                  <a:pt x="12" y="352"/>
                </a:cubicBezTo>
                <a:close/>
                <a:moveTo>
                  <a:pt x="10" y="333"/>
                </a:moveTo>
                <a:cubicBezTo>
                  <a:pt x="12" y="332"/>
                  <a:pt x="14" y="337"/>
                  <a:pt x="12" y="338"/>
                </a:cubicBezTo>
                <a:cubicBezTo>
                  <a:pt x="9" y="339"/>
                  <a:pt x="9" y="334"/>
                  <a:pt x="10" y="333"/>
                </a:cubicBezTo>
                <a:close/>
                <a:moveTo>
                  <a:pt x="10" y="355"/>
                </a:moveTo>
                <a:cubicBezTo>
                  <a:pt x="9" y="356"/>
                  <a:pt x="10" y="353"/>
                  <a:pt x="10" y="353"/>
                </a:cubicBezTo>
                <a:cubicBezTo>
                  <a:pt x="11" y="354"/>
                  <a:pt x="10" y="355"/>
                  <a:pt x="10" y="355"/>
                </a:cubicBezTo>
                <a:close/>
                <a:moveTo>
                  <a:pt x="9" y="371"/>
                </a:moveTo>
                <a:cubicBezTo>
                  <a:pt x="8" y="372"/>
                  <a:pt x="8" y="369"/>
                  <a:pt x="9" y="370"/>
                </a:cubicBezTo>
                <a:cubicBezTo>
                  <a:pt x="9" y="370"/>
                  <a:pt x="9" y="371"/>
                  <a:pt x="9" y="371"/>
                </a:cubicBezTo>
                <a:close/>
                <a:moveTo>
                  <a:pt x="9" y="359"/>
                </a:moveTo>
                <a:cubicBezTo>
                  <a:pt x="8" y="359"/>
                  <a:pt x="9" y="357"/>
                  <a:pt x="10" y="357"/>
                </a:cubicBezTo>
                <a:cubicBezTo>
                  <a:pt x="9" y="358"/>
                  <a:pt x="9" y="358"/>
                  <a:pt x="9" y="359"/>
                </a:cubicBezTo>
                <a:close/>
                <a:moveTo>
                  <a:pt x="10" y="438"/>
                </a:moveTo>
                <a:cubicBezTo>
                  <a:pt x="9" y="439"/>
                  <a:pt x="10" y="436"/>
                  <a:pt x="11" y="436"/>
                </a:cubicBezTo>
                <a:cubicBezTo>
                  <a:pt x="12" y="437"/>
                  <a:pt x="11" y="437"/>
                  <a:pt x="10" y="438"/>
                </a:cubicBezTo>
                <a:close/>
                <a:moveTo>
                  <a:pt x="10" y="424"/>
                </a:moveTo>
                <a:cubicBezTo>
                  <a:pt x="9" y="425"/>
                  <a:pt x="10" y="422"/>
                  <a:pt x="11" y="423"/>
                </a:cubicBezTo>
                <a:cubicBezTo>
                  <a:pt x="12" y="424"/>
                  <a:pt x="11" y="424"/>
                  <a:pt x="10" y="424"/>
                </a:cubicBezTo>
                <a:close/>
                <a:moveTo>
                  <a:pt x="11" y="386"/>
                </a:moveTo>
                <a:cubicBezTo>
                  <a:pt x="10" y="386"/>
                  <a:pt x="10" y="387"/>
                  <a:pt x="10" y="385"/>
                </a:cubicBezTo>
                <a:cubicBezTo>
                  <a:pt x="10" y="383"/>
                  <a:pt x="14" y="374"/>
                  <a:pt x="14" y="374"/>
                </a:cubicBezTo>
                <a:cubicBezTo>
                  <a:pt x="16" y="374"/>
                  <a:pt x="13" y="377"/>
                  <a:pt x="13" y="378"/>
                </a:cubicBezTo>
                <a:cubicBezTo>
                  <a:pt x="12" y="381"/>
                  <a:pt x="14" y="385"/>
                  <a:pt x="11" y="386"/>
                </a:cubicBezTo>
                <a:close/>
                <a:moveTo>
                  <a:pt x="14" y="394"/>
                </a:moveTo>
                <a:cubicBezTo>
                  <a:pt x="13" y="396"/>
                  <a:pt x="14" y="393"/>
                  <a:pt x="14" y="393"/>
                </a:cubicBezTo>
                <a:cubicBezTo>
                  <a:pt x="15" y="393"/>
                  <a:pt x="15" y="394"/>
                  <a:pt x="14" y="394"/>
                </a:cubicBezTo>
                <a:close/>
                <a:moveTo>
                  <a:pt x="15" y="388"/>
                </a:moveTo>
                <a:cubicBezTo>
                  <a:pt x="14" y="388"/>
                  <a:pt x="15" y="387"/>
                  <a:pt x="15" y="387"/>
                </a:cubicBezTo>
                <a:cubicBezTo>
                  <a:pt x="15" y="387"/>
                  <a:pt x="15" y="388"/>
                  <a:pt x="15" y="388"/>
                </a:cubicBezTo>
                <a:close/>
                <a:moveTo>
                  <a:pt x="15" y="300"/>
                </a:moveTo>
                <a:cubicBezTo>
                  <a:pt x="16" y="302"/>
                  <a:pt x="14" y="301"/>
                  <a:pt x="15" y="300"/>
                </a:cubicBezTo>
                <a:close/>
                <a:moveTo>
                  <a:pt x="16" y="366"/>
                </a:moveTo>
                <a:cubicBezTo>
                  <a:pt x="15" y="367"/>
                  <a:pt x="17" y="364"/>
                  <a:pt x="16" y="366"/>
                </a:cubicBezTo>
                <a:close/>
                <a:moveTo>
                  <a:pt x="17" y="380"/>
                </a:moveTo>
                <a:cubicBezTo>
                  <a:pt x="16" y="381"/>
                  <a:pt x="16" y="379"/>
                  <a:pt x="17" y="379"/>
                </a:cubicBezTo>
                <a:cubicBezTo>
                  <a:pt x="17" y="378"/>
                  <a:pt x="17" y="380"/>
                  <a:pt x="17" y="380"/>
                </a:cubicBezTo>
                <a:close/>
                <a:moveTo>
                  <a:pt x="27" y="420"/>
                </a:move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lose/>
                <a:moveTo>
                  <a:pt x="23" y="346"/>
                </a:moveTo>
                <a:cubicBezTo>
                  <a:pt x="23" y="346"/>
                  <a:pt x="23" y="347"/>
                  <a:pt x="23" y="347"/>
                </a:cubicBezTo>
                <a:cubicBezTo>
                  <a:pt x="22" y="347"/>
                  <a:pt x="22" y="346"/>
                  <a:pt x="23" y="346"/>
                </a:cubicBezTo>
                <a:close/>
                <a:moveTo>
                  <a:pt x="19" y="405"/>
                </a:moveTo>
                <a:cubicBezTo>
                  <a:pt x="19" y="405"/>
                  <a:pt x="18" y="404"/>
                  <a:pt x="18" y="404"/>
                </a:cubicBezTo>
                <a:cubicBezTo>
                  <a:pt x="18" y="404"/>
                  <a:pt x="20" y="404"/>
                  <a:pt x="19" y="405"/>
                </a:cubicBezTo>
                <a:close/>
                <a:moveTo>
                  <a:pt x="20" y="406"/>
                </a:moveTo>
                <a:cubicBezTo>
                  <a:pt x="19" y="406"/>
                  <a:pt x="20" y="405"/>
                  <a:pt x="20" y="404"/>
                </a:cubicBezTo>
                <a:cubicBezTo>
                  <a:pt x="21" y="404"/>
                  <a:pt x="20" y="405"/>
                  <a:pt x="20" y="406"/>
                </a:cubicBezTo>
                <a:close/>
                <a:moveTo>
                  <a:pt x="20" y="360"/>
                </a:moveTo>
                <a:cubicBezTo>
                  <a:pt x="19" y="359"/>
                  <a:pt x="21" y="359"/>
                  <a:pt x="20" y="360"/>
                </a:cubicBezTo>
                <a:close/>
                <a:moveTo>
                  <a:pt x="22" y="268"/>
                </a:moveTo>
                <a:cubicBezTo>
                  <a:pt x="23" y="268"/>
                  <a:pt x="22" y="270"/>
                  <a:pt x="22" y="271"/>
                </a:cubicBezTo>
                <a:cubicBezTo>
                  <a:pt x="19" y="273"/>
                  <a:pt x="19" y="267"/>
                  <a:pt x="22" y="268"/>
                </a:cubicBezTo>
                <a:close/>
                <a:moveTo>
                  <a:pt x="21" y="397"/>
                </a:moveTo>
                <a:cubicBezTo>
                  <a:pt x="21" y="396"/>
                  <a:pt x="22" y="397"/>
                  <a:pt x="22" y="398"/>
                </a:cubicBezTo>
                <a:cubicBezTo>
                  <a:pt x="21" y="399"/>
                  <a:pt x="20" y="397"/>
                  <a:pt x="21" y="397"/>
                </a:cubicBezTo>
                <a:close/>
                <a:moveTo>
                  <a:pt x="21" y="415"/>
                </a:moveTo>
                <a:cubicBezTo>
                  <a:pt x="22" y="416"/>
                  <a:pt x="21" y="417"/>
                  <a:pt x="21" y="415"/>
                </a:cubicBezTo>
                <a:close/>
                <a:moveTo>
                  <a:pt x="21" y="413"/>
                </a:moveTo>
                <a:cubicBezTo>
                  <a:pt x="21" y="413"/>
                  <a:pt x="23" y="413"/>
                  <a:pt x="23" y="413"/>
                </a:cubicBezTo>
                <a:cubicBezTo>
                  <a:pt x="23" y="414"/>
                  <a:pt x="20" y="414"/>
                  <a:pt x="21" y="413"/>
                </a:cubicBezTo>
                <a:close/>
                <a:moveTo>
                  <a:pt x="24" y="367"/>
                </a:moveTo>
                <a:cubicBezTo>
                  <a:pt x="25" y="368"/>
                  <a:pt x="23" y="369"/>
                  <a:pt x="24" y="367"/>
                </a:cubicBezTo>
                <a:close/>
                <a:moveTo>
                  <a:pt x="24" y="412"/>
                </a:moveTo>
                <a:cubicBezTo>
                  <a:pt x="24" y="413"/>
                  <a:pt x="24" y="410"/>
                  <a:pt x="24" y="412"/>
                </a:cubicBezTo>
                <a:close/>
                <a:moveTo>
                  <a:pt x="25" y="401"/>
                </a:moveTo>
                <a:cubicBezTo>
                  <a:pt x="24" y="402"/>
                  <a:pt x="24" y="400"/>
                  <a:pt x="24" y="399"/>
                </a:cubicBezTo>
                <a:cubicBezTo>
                  <a:pt x="25" y="399"/>
                  <a:pt x="25" y="401"/>
                  <a:pt x="25" y="401"/>
                </a:cubicBezTo>
                <a:close/>
                <a:moveTo>
                  <a:pt x="27" y="397"/>
                </a:moveTo>
                <a:cubicBezTo>
                  <a:pt x="27" y="398"/>
                  <a:pt x="28" y="396"/>
                  <a:pt x="27" y="397"/>
                </a:cubicBezTo>
                <a:close/>
                <a:moveTo>
                  <a:pt x="25" y="343"/>
                </a:moveTo>
                <a:cubicBezTo>
                  <a:pt x="23" y="342"/>
                  <a:pt x="25" y="340"/>
                  <a:pt x="25" y="338"/>
                </a:cubicBezTo>
                <a:cubicBezTo>
                  <a:pt x="25" y="340"/>
                  <a:pt x="26" y="339"/>
                  <a:pt x="27" y="340"/>
                </a:cubicBezTo>
                <a:cubicBezTo>
                  <a:pt x="29" y="342"/>
                  <a:pt x="26" y="345"/>
                  <a:pt x="25" y="343"/>
                </a:cubicBezTo>
                <a:close/>
                <a:moveTo>
                  <a:pt x="31" y="233"/>
                </a:moveTo>
                <a:cubicBezTo>
                  <a:pt x="30" y="234"/>
                  <a:pt x="30" y="231"/>
                  <a:pt x="30" y="231"/>
                </a:cubicBezTo>
                <a:cubicBezTo>
                  <a:pt x="32" y="231"/>
                  <a:pt x="31" y="233"/>
                  <a:pt x="31" y="233"/>
                </a:cubicBezTo>
                <a:close/>
                <a:moveTo>
                  <a:pt x="33" y="290"/>
                </a:moveTo>
                <a:cubicBezTo>
                  <a:pt x="32" y="291"/>
                  <a:pt x="32" y="288"/>
                  <a:pt x="33" y="289"/>
                </a:cubicBezTo>
                <a:cubicBezTo>
                  <a:pt x="34" y="289"/>
                  <a:pt x="33" y="290"/>
                  <a:pt x="33" y="290"/>
                </a:cubicBezTo>
                <a:close/>
                <a:moveTo>
                  <a:pt x="34" y="385"/>
                </a:moveTo>
                <a:cubicBezTo>
                  <a:pt x="33" y="386"/>
                  <a:pt x="34" y="383"/>
                  <a:pt x="35" y="383"/>
                </a:cubicBezTo>
                <a:cubicBezTo>
                  <a:pt x="35" y="384"/>
                  <a:pt x="34" y="385"/>
                  <a:pt x="34" y="385"/>
                </a:cubicBezTo>
                <a:close/>
                <a:moveTo>
                  <a:pt x="36" y="305"/>
                </a:moveTo>
                <a:cubicBezTo>
                  <a:pt x="35" y="307"/>
                  <a:pt x="37" y="303"/>
                  <a:pt x="36" y="305"/>
                </a:cubicBezTo>
                <a:close/>
                <a:moveTo>
                  <a:pt x="37" y="344"/>
                </a:moveTo>
                <a:cubicBezTo>
                  <a:pt x="37" y="344"/>
                  <a:pt x="38" y="344"/>
                  <a:pt x="38" y="344"/>
                </a:cubicBezTo>
                <a:cubicBezTo>
                  <a:pt x="38" y="345"/>
                  <a:pt x="37" y="345"/>
                  <a:pt x="37" y="344"/>
                </a:cubicBezTo>
                <a:close/>
                <a:moveTo>
                  <a:pt x="29" y="469"/>
                </a:moveTo>
                <a:cubicBezTo>
                  <a:pt x="25" y="471"/>
                  <a:pt x="25" y="463"/>
                  <a:pt x="29" y="464"/>
                </a:cubicBezTo>
                <a:cubicBezTo>
                  <a:pt x="31" y="464"/>
                  <a:pt x="31" y="468"/>
                  <a:pt x="29" y="469"/>
                </a:cubicBezTo>
                <a:close/>
                <a:moveTo>
                  <a:pt x="34" y="484"/>
                </a:moveTo>
                <a:cubicBezTo>
                  <a:pt x="34" y="485"/>
                  <a:pt x="34" y="485"/>
                  <a:pt x="33" y="485"/>
                </a:cubicBezTo>
                <a:cubicBezTo>
                  <a:pt x="32" y="486"/>
                  <a:pt x="33" y="483"/>
                  <a:pt x="34" y="484"/>
                </a:cubicBezTo>
                <a:close/>
                <a:moveTo>
                  <a:pt x="36" y="466"/>
                </a:moveTo>
                <a:cubicBezTo>
                  <a:pt x="34" y="467"/>
                  <a:pt x="34" y="464"/>
                  <a:pt x="35" y="463"/>
                </a:cubicBezTo>
                <a:cubicBezTo>
                  <a:pt x="36" y="463"/>
                  <a:pt x="37" y="465"/>
                  <a:pt x="36" y="466"/>
                </a:cubicBezTo>
                <a:close/>
                <a:moveTo>
                  <a:pt x="38" y="455"/>
                </a:moveTo>
                <a:cubicBezTo>
                  <a:pt x="38" y="455"/>
                  <a:pt x="38" y="456"/>
                  <a:pt x="38" y="456"/>
                </a:cubicBezTo>
                <a:cubicBezTo>
                  <a:pt x="37" y="458"/>
                  <a:pt x="36" y="454"/>
                  <a:pt x="38" y="455"/>
                </a:cubicBezTo>
                <a:close/>
                <a:moveTo>
                  <a:pt x="38" y="461"/>
                </a:moveTo>
                <a:cubicBezTo>
                  <a:pt x="36" y="462"/>
                  <a:pt x="38" y="459"/>
                  <a:pt x="39" y="459"/>
                </a:cubicBezTo>
                <a:cubicBezTo>
                  <a:pt x="39" y="460"/>
                  <a:pt x="38" y="461"/>
                  <a:pt x="38" y="461"/>
                </a:cubicBezTo>
                <a:close/>
                <a:moveTo>
                  <a:pt x="66" y="337"/>
                </a:moveTo>
                <a:cubicBezTo>
                  <a:pt x="66" y="337"/>
                  <a:pt x="66" y="338"/>
                  <a:pt x="66" y="338"/>
                </a:cubicBezTo>
                <a:cubicBezTo>
                  <a:pt x="65" y="339"/>
                  <a:pt x="65" y="336"/>
                  <a:pt x="66" y="337"/>
                </a:cubicBezTo>
                <a:close/>
                <a:moveTo>
                  <a:pt x="66" y="380"/>
                </a:moveTo>
                <a:cubicBezTo>
                  <a:pt x="67" y="380"/>
                  <a:pt x="67" y="382"/>
                  <a:pt x="66" y="382"/>
                </a:cubicBezTo>
                <a:cubicBezTo>
                  <a:pt x="65" y="384"/>
                  <a:pt x="65" y="379"/>
                  <a:pt x="66" y="380"/>
                </a:cubicBezTo>
                <a:close/>
                <a:moveTo>
                  <a:pt x="63" y="330"/>
                </a:moveTo>
                <a:cubicBezTo>
                  <a:pt x="62" y="331"/>
                  <a:pt x="64" y="329"/>
                  <a:pt x="63" y="330"/>
                </a:cubicBezTo>
                <a:close/>
                <a:moveTo>
                  <a:pt x="64" y="346"/>
                </a:moveTo>
                <a:cubicBezTo>
                  <a:pt x="66" y="346"/>
                  <a:pt x="65" y="351"/>
                  <a:pt x="62" y="351"/>
                </a:cubicBezTo>
                <a:cubicBezTo>
                  <a:pt x="62" y="351"/>
                  <a:pt x="62" y="345"/>
                  <a:pt x="64" y="346"/>
                </a:cubicBezTo>
                <a:close/>
                <a:moveTo>
                  <a:pt x="64" y="393"/>
                </a:moveTo>
                <a:cubicBezTo>
                  <a:pt x="64" y="392"/>
                  <a:pt x="65" y="394"/>
                  <a:pt x="64" y="393"/>
                </a:cubicBezTo>
                <a:close/>
                <a:moveTo>
                  <a:pt x="61" y="364"/>
                </a:moveTo>
                <a:cubicBezTo>
                  <a:pt x="61" y="362"/>
                  <a:pt x="62" y="363"/>
                  <a:pt x="61" y="364"/>
                </a:cubicBezTo>
                <a:close/>
                <a:moveTo>
                  <a:pt x="61" y="403"/>
                </a:moveTo>
                <a:cubicBezTo>
                  <a:pt x="61" y="403"/>
                  <a:pt x="61" y="403"/>
                  <a:pt x="62" y="403"/>
                </a:cubicBezTo>
                <a:cubicBezTo>
                  <a:pt x="63" y="402"/>
                  <a:pt x="61" y="403"/>
                  <a:pt x="61" y="403"/>
                </a:cubicBezTo>
                <a:close/>
                <a:moveTo>
                  <a:pt x="61" y="365"/>
                </a:moveTo>
                <a:cubicBezTo>
                  <a:pt x="61" y="366"/>
                  <a:pt x="59" y="365"/>
                  <a:pt x="61" y="365"/>
                </a:cubicBezTo>
                <a:close/>
                <a:moveTo>
                  <a:pt x="58" y="357"/>
                </a:moveTo>
                <a:cubicBezTo>
                  <a:pt x="59" y="357"/>
                  <a:pt x="58" y="359"/>
                  <a:pt x="58" y="359"/>
                </a:cubicBezTo>
                <a:cubicBezTo>
                  <a:pt x="56" y="361"/>
                  <a:pt x="55" y="356"/>
                  <a:pt x="58" y="357"/>
                </a:cubicBezTo>
                <a:close/>
                <a:moveTo>
                  <a:pt x="56" y="405"/>
                </a:moveTo>
                <a:cubicBezTo>
                  <a:pt x="56" y="405"/>
                  <a:pt x="56" y="406"/>
                  <a:pt x="56" y="406"/>
                </a:cubicBezTo>
                <a:cubicBezTo>
                  <a:pt x="55" y="407"/>
                  <a:pt x="55" y="405"/>
                  <a:pt x="56" y="405"/>
                </a:cubicBezTo>
                <a:close/>
                <a:moveTo>
                  <a:pt x="54" y="374"/>
                </a:moveTo>
                <a:cubicBezTo>
                  <a:pt x="55" y="374"/>
                  <a:pt x="55" y="375"/>
                  <a:pt x="54" y="375"/>
                </a:cubicBezTo>
                <a:cubicBezTo>
                  <a:pt x="53" y="376"/>
                  <a:pt x="53" y="374"/>
                  <a:pt x="54" y="374"/>
                </a:cubicBezTo>
                <a:close/>
                <a:moveTo>
                  <a:pt x="49" y="398"/>
                </a:moveTo>
                <a:cubicBezTo>
                  <a:pt x="51" y="396"/>
                  <a:pt x="52" y="393"/>
                  <a:pt x="54" y="390"/>
                </a:cubicBezTo>
                <a:cubicBezTo>
                  <a:pt x="53" y="393"/>
                  <a:pt x="51" y="396"/>
                  <a:pt x="49" y="398"/>
                </a:cubicBezTo>
                <a:close/>
                <a:moveTo>
                  <a:pt x="51" y="408"/>
                </a:moveTo>
                <a:cubicBezTo>
                  <a:pt x="50" y="407"/>
                  <a:pt x="52" y="406"/>
                  <a:pt x="52" y="407"/>
                </a:cubicBezTo>
                <a:cubicBezTo>
                  <a:pt x="54" y="408"/>
                  <a:pt x="52" y="410"/>
                  <a:pt x="51" y="408"/>
                </a:cubicBezTo>
                <a:close/>
                <a:moveTo>
                  <a:pt x="46" y="404"/>
                </a:moveTo>
                <a:cubicBezTo>
                  <a:pt x="46" y="404"/>
                  <a:pt x="47" y="400"/>
                  <a:pt x="48" y="399"/>
                </a:cubicBezTo>
                <a:cubicBezTo>
                  <a:pt x="48" y="400"/>
                  <a:pt x="47" y="404"/>
                  <a:pt x="46" y="404"/>
                </a:cubicBezTo>
                <a:close/>
                <a:moveTo>
                  <a:pt x="47" y="409"/>
                </a:moveTo>
                <a:cubicBezTo>
                  <a:pt x="48" y="408"/>
                  <a:pt x="47" y="410"/>
                  <a:pt x="47" y="409"/>
                </a:cubicBezTo>
                <a:close/>
                <a:moveTo>
                  <a:pt x="48" y="392"/>
                </a:moveTo>
                <a:cubicBezTo>
                  <a:pt x="46" y="393"/>
                  <a:pt x="46" y="388"/>
                  <a:pt x="49" y="389"/>
                </a:cubicBezTo>
                <a:cubicBezTo>
                  <a:pt x="50" y="389"/>
                  <a:pt x="49" y="392"/>
                  <a:pt x="48" y="392"/>
                </a:cubicBezTo>
                <a:close/>
                <a:moveTo>
                  <a:pt x="53" y="323"/>
                </a:moveTo>
                <a:cubicBezTo>
                  <a:pt x="54" y="323"/>
                  <a:pt x="54" y="325"/>
                  <a:pt x="53" y="325"/>
                </a:cubicBezTo>
                <a:cubicBezTo>
                  <a:pt x="52" y="326"/>
                  <a:pt x="52" y="323"/>
                  <a:pt x="53" y="323"/>
                </a:cubicBezTo>
                <a:close/>
                <a:moveTo>
                  <a:pt x="50" y="354"/>
                </a:moveTo>
                <a:cubicBezTo>
                  <a:pt x="53" y="355"/>
                  <a:pt x="51" y="360"/>
                  <a:pt x="50" y="360"/>
                </a:cubicBezTo>
                <a:cubicBezTo>
                  <a:pt x="45" y="362"/>
                  <a:pt x="47" y="352"/>
                  <a:pt x="50" y="354"/>
                </a:cubicBezTo>
                <a:close/>
                <a:moveTo>
                  <a:pt x="47" y="328"/>
                </a:moveTo>
                <a:cubicBezTo>
                  <a:pt x="47" y="328"/>
                  <a:pt x="48" y="328"/>
                  <a:pt x="48" y="327"/>
                </a:cubicBezTo>
                <a:cubicBezTo>
                  <a:pt x="49" y="327"/>
                  <a:pt x="49" y="328"/>
                  <a:pt x="47" y="328"/>
                </a:cubicBezTo>
                <a:close/>
                <a:moveTo>
                  <a:pt x="48" y="267"/>
                </a:moveTo>
                <a:cubicBezTo>
                  <a:pt x="47" y="267"/>
                  <a:pt x="47" y="267"/>
                  <a:pt x="47" y="266"/>
                </a:cubicBezTo>
                <a:cubicBezTo>
                  <a:pt x="47" y="266"/>
                  <a:pt x="49" y="266"/>
                  <a:pt x="48" y="267"/>
                </a:cubicBezTo>
                <a:close/>
                <a:moveTo>
                  <a:pt x="46" y="377"/>
                </a:moveTo>
                <a:cubicBezTo>
                  <a:pt x="45" y="378"/>
                  <a:pt x="45" y="376"/>
                  <a:pt x="46" y="376"/>
                </a:cubicBezTo>
                <a:cubicBezTo>
                  <a:pt x="47" y="376"/>
                  <a:pt x="46" y="377"/>
                  <a:pt x="46" y="377"/>
                </a:cubicBezTo>
                <a:close/>
                <a:moveTo>
                  <a:pt x="45" y="192"/>
                </a:moveTo>
                <a:cubicBezTo>
                  <a:pt x="46" y="192"/>
                  <a:pt x="46" y="193"/>
                  <a:pt x="46" y="193"/>
                </a:cubicBezTo>
                <a:cubicBezTo>
                  <a:pt x="44" y="195"/>
                  <a:pt x="44" y="191"/>
                  <a:pt x="45" y="192"/>
                </a:cubicBezTo>
                <a:close/>
                <a:moveTo>
                  <a:pt x="45" y="207"/>
                </a:moveTo>
                <a:cubicBezTo>
                  <a:pt x="46" y="207"/>
                  <a:pt x="45" y="208"/>
                  <a:pt x="45" y="209"/>
                </a:cubicBezTo>
                <a:cubicBezTo>
                  <a:pt x="44" y="210"/>
                  <a:pt x="44" y="207"/>
                  <a:pt x="45" y="207"/>
                </a:cubicBezTo>
                <a:close/>
                <a:moveTo>
                  <a:pt x="44" y="360"/>
                </a:moveTo>
                <a:cubicBezTo>
                  <a:pt x="45" y="361"/>
                  <a:pt x="44" y="363"/>
                  <a:pt x="44" y="363"/>
                </a:cubicBezTo>
                <a:cubicBezTo>
                  <a:pt x="42" y="364"/>
                  <a:pt x="43" y="360"/>
                  <a:pt x="44" y="360"/>
                </a:cubicBezTo>
                <a:close/>
                <a:moveTo>
                  <a:pt x="43" y="227"/>
                </a:moveTo>
                <a:cubicBezTo>
                  <a:pt x="43" y="227"/>
                  <a:pt x="43" y="228"/>
                  <a:pt x="43" y="228"/>
                </a:cubicBezTo>
                <a:cubicBezTo>
                  <a:pt x="42" y="229"/>
                  <a:pt x="43" y="226"/>
                  <a:pt x="43" y="227"/>
                </a:cubicBezTo>
                <a:close/>
                <a:moveTo>
                  <a:pt x="40" y="322"/>
                </a:moveTo>
                <a:cubicBezTo>
                  <a:pt x="41" y="320"/>
                  <a:pt x="39" y="322"/>
                  <a:pt x="40" y="322"/>
                </a:cubicBezTo>
                <a:close/>
                <a:moveTo>
                  <a:pt x="36" y="429"/>
                </a:moveTo>
                <a:cubicBezTo>
                  <a:pt x="35" y="431"/>
                  <a:pt x="35" y="428"/>
                  <a:pt x="36" y="428"/>
                </a:cubicBezTo>
                <a:cubicBezTo>
                  <a:pt x="36" y="429"/>
                  <a:pt x="36" y="429"/>
                  <a:pt x="36" y="429"/>
                </a:cubicBezTo>
                <a:close/>
                <a:moveTo>
                  <a:pt x="35" y="428"/>
                </a:moveTo>
                <a:cubicBezTo>
                  <a:pt x="34" y="427"/>
                  <a:pt x="36" y="425"/>
                  <a:pt x="36" y="426"/>
                </a:cubicBezTo>
                <a:cubicBezTo>
                  <a:pt x="37" y="428"/>
                  <a:pt x="35" y="429"/>
                  <a:pt x="35" y="428"/>
                </a:cubicBezTo>
                <a:close/>
                <a:moveTo>
                  <a:pt x="38" y="424"/>
                </a:moveTo>
                <a:cubicBezTo>
                  <a:pt x="35" y="427"/>
                  <a:pt x="33" y="418"/>
                  <a:pt x="37" y="417"/>
                </a:cubicBezTo>
                <a:cubicBezTo>
                  <a:pt x="35" y="420"/>
                  <a:pt x="39" y="419"/>
                  <a:pt x="39" y="420"/>
                </a:cubicBezTo>
                <a:cubicBezTo>
                  <a:pt x="39" y="421"/>
                  <a:pt x="39" y="423"/>
                  <a:pt x="38" y="424"/>
                </a:cubicBezTo>
                <a:close/>
                <a:moveTo>
                  <a:pt x="40" y="358"/>
                </a:moveTo>
                <a:cubicBezTo>
                  <a:pt x="38" y="358"/>
                  <a:pt x="41" y="356"/>
                  <a:pt x="40" y="357"/>
                </a:cubicBezTo>
                <a:cubicBezTo>
                  <a:pt x="40" y="357"/>
                  <a:pt x="40" y="358"/>
                  <a:pt x="40" y="358"/>
                </a:cubicBezTo>
                <a:close/>
                <a:moveTo>
                  <a:pt x="41" y="431"/>
                </a:moveTo>
                <a:cubicBezTo>
                  <a:pt x="42" y="430"/>
                  <a:pt x="43" y="432"/>
                  <a:pt x="41" y="431"/>
                </a:cubicBezTo>
                <a:close/>
                <a:moveTo>
                  <a:pt x="42" y="382"/>
                </a:moveTo>
                <a:cubicBezTo>
                  <a:pt x="42" y="380"/>
                  <a:pt x="43" y="381"/>
                  <a:pt x="44" y="380"/>
                </a:cubicBezTo>
                <a:cubicBezTo>
                  <a:pt x="44" y="379"/>
                  <a:pt x="44" y="378"/>
                  <a:pt x="46" y="378"/>
                </a:cubicBezTo>
                <a:cubicBezTo>
                  <a:pt x="50" y="378"/>
                  <a:pt x="48" y="384"/>
                  <a:pt x="45" y="385"/>
                </a:cubicBezTo>
                <a:cubicBezTo>
                  <a:pt x="43" y="385"/>
                  <a:pt x="41" y="385"/>
                  <a:pt x="42" y="382"/>
                </a:cubicBezTo>
                <a:close/>
                <a:moveTo>
                  <a:pt x="44" y="391"/>
                </a:moveTo>
                <a:cubicBezTo>
                  <a:pt x="43" y="392"/>
                  <a:pt x="45" y="389"/>
                  <a:pt x="44" y="391"/>
                </a:cubicBezTo>
                <a:close/>
                <a:moveTo>
                  <a:pt x="42" y="449"/>
                </a:moveTo>
                <a:cubicBezTo>
                  <a:pt x="42" y="450"/>
                  <a:pt x="43" y="447"/>
                  <a:pt x="42" y="449"/>
                </a:cubicBezTo>
                <a:close/>
                <a:moveTo>
                  <a:pt x="44" y="465"/>
                </a:moveTo>
                <a:cubicBezTo>
                  <a:pt x="45" y="464"/>
                  <a:pt x="43" y="466"/>
                  <a:pt x="44" y="465"/>
                </a:cubicBezTo>
                <a:close/>
                <a:moveTo>
                  <a:pt x="45" y="462"/>
                </a:moveTo>
                <a:cubicBezTo>
                  <a:pt x="45" y="462"/>
                  <a:pt x="45" y="462"/>
                  <a:pt x="46" y="462"/>
                </a:cubicBezTo>
                <a:cubicBezTo>
                  <a:pt x="46" y="462"/>
                  <a:pt x="46" y="462"/>
                  <a:pt x="46" y="462"/>
                </a:cubicBezTo>
                <a:cubicBezTo>
                  <a:pt x="46" y="462"/>
                  <a:pt x="45" y="462"/>
                  <a:pt x="45" y="462"/>
                </a:cubicBezTo>
                <a:close/>
                <a:moveTo>
                  <a:pt x="43" y="445"/>
                </a:moveTo>
                <a:cubicBezTo>
                  <a:pt x="43" y="443"/>
                  <a:pt x="45" y="441"/>
                  <a:pt x="47" y="439"/>
                </a:cubicBezTo>
                <a:cubicBezTo>
                  <a:pt x="47" y="442"/>
                  <a:pt x="44" y="443"/>
                  <a:pt x="43" y="445"/>
                </a:cubicBezTo>
                <a:close/>
                <a:moveTo>
                  <a:pt x="46" y="434"/>
                </a:moveTo>
                <a:cubicBezTo>
                  <a:pt x="46" y="434"/>
                  <a:pt x="47" y="433"/>
                  <a:pt x="46" y="434"/>
                </a:cubicBezTo>
                <a:cubicBezTo>
                  <a:pt x="46" y="434"/>
                  <a:pt x="46" y="434"/>
                  <a:pt x="46" y="434"/>
                </a:cubicBezTo>
                <a:close/>
                <a:moveTo>
                  <a:pt x="47" y="432"/>
                </a:moveTo>
                <a:cubicBezTo>
                  <a:pt x="48" y="430"/>
                  <a:pt x="50" y="431"/>
                  <a:pt x="47" y="432"/>
                </a:cubicBezTo>
                <a:close/>
                <a:moveTo>
                  <a:pt x="50" y="418"/>
                </a:moveTo>
                <a:cubicBezTo>
                  <a:pt x="50" y="419"/>
                  <a:pt x="52" y="419"/>
                  <a:pt x="51" y="420"/>
                </a:cubicBezTo>
                <a:cubicBezTo>
                  <a:pt x="52" y="419"/>
                  <a:pt x="48" y="420"/>
                  <a:pt x="49" y="421"/>
                </a:cubicBezTo>
                <a:cubicBezTo>
                  <a:pt x="48" y="420"/>
                  <a:pt x="48" y="419"/>
                  <a:pt x="49" y="418"/>
                </a:cubicBezTo>
                <a:cubicBezTo>
                  <a:pt x="47" y="418"/>
                  <a:pt x="45" y="417"/>
                  <a:pt x="45" y="416"/>
                </a:cubicBezTo>
                <a:cubicBezTo>
                  <a:pt x="44" y="413"/>
                  <a:pt x="47" y="411"/>
                  <a:pt x="49" y="410"/>
                </a:cubicBezTo>
                <a:cubicBezTo>
                  <a:pt x="49" y="410"/>
                  <a:pt x="49" y="409"/>
                  <a:pt x="49" y="409"/>
                </a:cubicBezTo>
                <a:cubicBezTo>
                  <a:pt x="50" y="409"/>
                  <a:pt x="51" y="411"/>
                  <a:pt x="51" y="411"/>
                </a:cubicBezTo>
                <a:cubicBezTo>
                  <a:pt x="53" y="412"/>
                  <a:pt x="52" y="407"/>
                  <a:pt x="54" y="407"/>
                </a:cubicBezTo>
                <a:cubicBezTo>
                  <a:pt x="56" y="408"/>
                  <a:pt x="54" y="410"/>
                  <a:pt x="54" y="411"/>
                </a:cubicBezTo>
                <a:cubicBezTo>
                  <a:pt x="54" y="413"/>
                  <a:pt x="55" y="413"/>
                  <a:pt x="53" y="414"/>
                </a:cubicBezTo>
                <a:cubicBezTo>
                  <a:pt x="52" y="415"/>
                  <a:pt x="51" y="418"/>
                  <a:pt x="50" y="418"/>
                </a:cubicBezTo>
                <a:close/>
                <a:moveTo>
                  <a:pt x="58" y="443"/>
                </a:moveTo>
                <a:cubicBezTo>
                  <a:pt x="57" y="444"/>
                  <a:pt x="57" y="442"/>
                  <a:pt x="58" y="441"/>
                </a:cubicBezTo>
                <a:cubicBezTo>
                  <a:pt x="59" y="441"/>
                  <a:pt x="58" y="442"/>
                  <a:pt x="58" y="443"/>
                </a:cubicBezTo>
                <a:close/>
                <a:moveTo>
                  <a:pt x="59" y="440"/>
                </a:moveTo>
                <a:cubicBezTo>
                  <a:pt x="57" y="441"/>
                  <a:pt x="59" y="437"/>
                  <a:pt x="60" y="439"/>
                </a:cubicBezTo>
                <a:cubicBezTo>
                  <a:pt x="60" y="439"/>
                  <a:pt x="59" y="440"/>
                  <a:pt x="59" y="440"/>
                </a:cubicBezTo>
                <a:close/>
                <a:moveTo>
                  <a:pt x="63" y="454"/>
                </a:moveTo>
                <a:cubicBezTo>
                  <a:pt x="64" y="455"/>
                  <a:pt x="62" y="456"/>
                  <a:pt x="63" y="454"/>
                </a:cubicBezTo>
                <a:close/>
                <a:moveTo>
                  <a:pt x="60" y="436"/>
                </a:moveTo>
                <a:cubicBezTo>
                  <a:pt x="60" y="435"/>
                  <a:pt x="64" y="434"/>
                  <a:pt x="64" y="437"/>
                </a:cubicBezTo>
                <a:cubicBezTo>
                  <a:pt x="64" y="439"/>
                  <a:pt x="58" y="440"/>
                  <a:pt x="60" y="436"/>
                </a:cubicBezTo>
                <a:close/>
                <a:moveTo>
                  <a:pt x="63" y="432"/>
                </a:moveTo>
                <a:cubicBezTo>
                  <a:pt x="62" y="431"/>
                  <a:pt x="64" y="430"/>
                  <a:pt x="63" y="432"/>
                </a:cubicBezTo>
                <a:close/>
                <a:moveTo>
                  <a:pt x="64" y="427"/>
                </a:moveTo>
                <a:cubicBezTo>
                  <a:pt x="64" y="427"/>
                  <a:pt x="64" y="428"/>
                  <a:pt x="64" y="428"/>
                </a:cubicBezTo>
                <a:cubicBezTo>
                  <a:pt x="63" y="429"/>
                  <a:pt x="63" y="426"/>
                  <a:pt x="64" y="427"/>
                </a:cubicBezTo>
                <a:close/>
                <a:moveTo>
                  <a:pt x="64" y="419"/>
                </a:moveTo>
                <a:cubicBezTo>
                  <a:pt x="62" y="420"/>
                  <a:pt x="59" y="423"/>
                  <a:pt x="58" y="424"/>
                </a:cubicBezTo>
                <a:cubicBezTo>
                  <a:pt x="57" y="426"/>
                  <a:pt x="56" y="428"/>
                  <a:pt x="54" y="429"/>
                </a:cubicBezTo>
                <a:cubicBezTo>
                  <a:pt x="57" y="423"/>
                  <a:pt x="63" y="418"/>
                  <a:pt x="66" y="413"/>
                </a:cubicBezTo>
                <a:cubicBezTo>
                  <a:pt x="69" y="409"/>
                  <a:pt x="65" y="417"/>
                  <a:pt x="64" y="419"/>
                </a:cubicBezTo>
                <a:close/>
                <a:moveTo>
                  <a:pt x="66" y="423"/>
                </a:moveTo>
                <a:cubicBezTo>
                  <a:pt x="66" y="423"/>
                  <a:pt x="65" y="423"/>
                  <a:pt x="65" y="423"/>
                </a:cubicBezTo>
                <a:cubicBezTo>
                  <a:pt x="64" y="423"/>
                  <a:pt x="66" y="422"/>
                  <a:pt x="66" y="423"/>
                </a:cubicBezTo>
                <a:close/>
                <a:moveTo>
                  <a:pt x="67" y="443"/>
                </a:moveTo>
                <a:cubicBezTo>
                  <a:pt x="67" y="443"/>
                  <a:pt x="67" y="443"/>
                  <a:pt x="67" y="443"/>
                </a:cubicBezTo>
                <a:cubicBezTo>
                  <a:pt x="67" y="441"/>
                  <a:pt x="69" y="445"/>
                  <a:pt x="67" y="443"/>
                </a:cubicBezTo>
                <a:close/>
                <a:moveTo>
                  <a:pt x="67" y="430"/>
                </a:moveTo>
                <a:cubicBezTo>
                  <a:pt x="67" y="431"/>
                  <a:pt x="66" y="432"/>
                  <a:pt x="66" y="431"/>
                </a:cubicBezTo>
                <a:cubicBezTo>
                  <a:pt x="62" y="428"/>
                  <a:pt x="71" y="428"/>
                  <a:pt x="67" y="430"/>
                </a:cubicBezTo>
                <a:close/>
                <a:moveTo>
                  <a:pt x="68" y="358"/>
                </a:moveTo>
                <a:cubicBezTo>
                  <a:pt x="65" y="360"/>
                  <a:pt x="65" y="354"/>
                  <a:pt x="67" y="355"/>
                </a:cubicBezTo>
                <a:cubicBezTo>
                  <a:pt x="69" y="355"/>
                  <a:pt x="68" y="357"/>
                  <a:pt x="68" y="358"/>
                </a:cubicBezTo>
                <a:close/>
                <a:moveTo>
                  <a:pt x="80" y="396"/>
                </a:moveTo>
                <a:cubicBezTo>
                  <a:pt x="79" y="397"/>
                  <a:pt x="80" y="395"/>
                  <a:pt x="80" y="396"/>
                </a:cubicBezTo>
                <a:close/>
                <a:moveTo>
                  <a:pt x="76" y="428"/>
                </a:moveTo>
                <a:cubicBezTo>
                  <a:pt x="76" y="428"/>
                  <a:pt x="76" y="428"/>
                  <a:pt x="76" y="428"/>
                </a:cubicBezTo>
                <a:cubicBezTo>
                  <a:pt x="77" y="427"/>
                  <a:pt x="76" y="428"/>
                  <a:pt x="76" y="428"/>
                </a:cubicBezTo>
                <a:close/>
                <a:moveTo>
                  <a:pt x="76" y="353"/>
                </a:moveTo>
                <a:cubicBezTo>
                  <a:pt x="76" y="355"/>
                  <a:pt x="75" y="355"/>
                  <a:pt x="75" y="356"/>
                </a:cubicBezTo>
                <a:cubicBezTo>
                  <a:pt x="74" y="355"/>
                  <a:pt x="76" y="354"/>
                  <a:pt x="76" y="353"/>
                </a:cubicBezTo>
                <a:close/>
                <a:moveTo>
                  <a:pt x="75" y="387"/>
                </a:moveTo>
                <a:cubicBezTo>
                  <a:pt x="74" y="387"/>
                  <a:pt x="77" y="386"/>
                  <a:pt x="75" y="387"/>
                </a:cubicBezTo>
                <a:close/>
                <a:moveTo>
                  <a:pt x="73" y="290"/>
                </a:moveTo>
                <a:cubicBezTo>
                  <a:pt x="73" y="291"/>
                  <a:pt x="73" y="292"/>
                  <a:pt x="72" y="293"/>
                </a:cubicBezTo>
                <a:cubicBezTo>
                  <a:pt x="72" y="292"/>
                  <a:pt x="73" y="290"/>
                  <a:pt x="73" y="290"/>
                </a:cubicBezTo>
                <a:close/>
                <a:moveTo>
                  <a:pt x="69" y="327"/>
                </a:moveTo>
                <a:cubicBezTo>
                  <a:pt x="69" y="326"/>
                  <a:pt x="71" y="325"/>
                  <a:pt x="72" y="324"/>
                </a:cubicBezTo>
                <a:cubicBezTo>
                  <a:pt x="72" y="326"/>
                  <a:pt x="70" y="326"/>
                  <a:pt x="69" y="327"/>
                </a:cubicBezTo>
                <a:close/>
                <a:moveTo>
                  <a:pt x="72" y="428"/>
                </a:moveTo>
                <a:cubicBezTo>
                  <a:pt x="70" y="430"/>
                  <a:pt x="71" y="426"/>
                  <a:pt x="72" y="427"/>
                </a:cubicBezTo>
                <a:cubicBezTo>
                  <a:pt x="73" y="427"/>
                  <a:pt x="73" y="428"/>
                  <a:pt x="72" y="428"/>
                </a:cubicBezTo>
                <a:close/>
                <a:moveTo>
                  <a:pt x="72" y="367"/>
                </a:moveTo>
                <a:cubicBezTo>
                  <a:pt x="72" y="367"/>
                  <a:pt x="72" y="368"/>
                  <a:pt x="72" y="368"/>
                </a:cubicBezTo>
                <a:cubicBezTo>
                  <a:pt x="71" y="369"/>
                  <a:pt x="71" y="366"/>
                  <a:pt x="72" y="367"/>
                </a:cubicBezTo>
                <a:close/>
                <a:moveTo>
                  <a:pt x="73" y="356"/>
                </a:moveTo>
                <a:cubicBezTo>
                  <a:pt x="70" y="358"/>
                  <a:pt x="71" y="351"/>
                  <a:pt x="73" y="352"/>
                </a:cubicBezTo>
                <a:cubicBezTo>
                  <a:pt x="75" y="353"/>
                  <a:pt x="73" y="356"/>
                  <a:pt x="73" y="356"/>
                </a:cubicBezTo>
                <a:close/>
                <a:moveTo>
                  <a:pt x="75" y="401"/>
                </a:moveTo>
                <a:cubicBezTo>
                  <a:pt x="73" y="402"/>
                  <a:pt x="73" y="397"/>
                  <a:pt x="75" y="398"/>
                </a:cubicBezTo>
                <a:cubicBezTo>
                  <a:pt x="76" y="399"/>
                  <a:pt x="76" y="400"/>
                  <a:pt x="75" y="401"/>
                </a:cubicBezTo>
                <a:close/>
                <a:moveTo>
                  <a:pt x="76" y="434"/>
                </a:moveTo>
                <a:cubicBezTo>
                  <a:pt x="77" y="432"/>
                  <a:pt x="79" y="430"/>
                  <a:pt x="80" y="429"/>
                </a:cubicBezTo>
                <a:cubicBezTo>
                  <a:pt x="79" y="431"/>
                  <a:pt x="78" y="432"/>
                  <a:pt x="76" y="434"/>
                </a:cubicBezTo>
                <a:close/>
                <a:moveTo>
                  <a:pt x="81" y="418"/>
                </a:moveTo>
                <a:cubicBezTo>
                  <a:pt x="80" y="418"/>
                  <a:pt x="82" y="417"/>
                  <a:pt x="81" y="418"/>
                </a:cubicBezTo>
                <a:close/>
                <a:moveTo>
                  <a:pt x="81" y="339"/>
                </a:moveTo>
                <a:cubicBezTo>
                  <a:pt x="80" y="339"/>
                  <a:pt x="81" y="337"/>
                  <a:pt x="82" y="337"/>
                </a:cubicBezTo>
                <a:cubicBezTo>
                  <a:pt x="82" y="338"/>
                  <a:pt x="81" y="338"/>
                  <a:pt x="81" y="339"/>
                </a:cubicBezTo>
                <a:close/>
                <a:moveTo>
                  <a:pt x="87" y="450"/>
                </a:moveTo>
                <a:cubicBezTo>
                  <a:pt x="87" y="450"/>
                  <a:pt x="88" y="449"/>
                  <a:pt x="89" y="449"/>
                </a:cubicBezTo>
                <a:cubicBezTo>
                  <a:pt x="89" y="449"/>
                  <a:pt x="88" y="450"/>
                  <a:pt x="87" y="450"/>
                </a:cubicBezTo>
                <a:close/>
                <a:moveTo>
                  <a:pt x="90" y="457"/>
                </a:moveTo>
                <a:cubicBezTo>
                  <a:pt x="90" y="457"/>
                  <a:pt x="90" y="457"/>
                  <a:pt x="90" y="456"/>
                </a:cubicBezTo>
                <a:cubicBezTo>
                  <a:pt x="92" y="455"/>
                  <a:pt x="91" y="456"/>
                  <a:pt x="90" y="457"/>
                </a:cubicBezTo>
                <a:close/>
                <a:moveTo>
                  <a:pt x="91" y="435"/>
                </a:moveTo>
                <a:cubicBezTo>
                  <a:pt x="89" y="437"/>
                  <a:pt x="92" y="434"/>
                  <a:pt x="91" y="435"/>
                </a:cubicBezTo>
                <a:close/>
                <a:moveTo>
                  <a:pt x="109" y="452"/>
                </a:moveTo>
                <a:cubicBezTo>
                  <a:pt x="109" y="453"/>
                  <a:pt x="108" y="452"/>
                  <a:pt x="109" y="452"/>
                </a:cubicBezTo>
                <a:close/>
                <a:moveTo>
                  <a:pt x="104" y="235"/>
                </a:moveTo>
                <a:cubicBezTo>
                  <a:pt x="103" y="236"/>
                  <a:pt x="105" y="234"/>
                  <a:pt x="104" y="235"/>
                </a:cubicBezTo>
                <a:close/>
                <a:moveTo>
                  <a:pt x="100" y="336"/>
                </a:moveTo>
                <a:cubicBezTo>
                  <a:pt x="101" y="335"/>
                  <a:pt x="101" y="335"/>
                  <a:pt x="100" y="336"/>
                </a:cubicBezTo>
                <a:close/>
                <a:moveTo>
                  <a:pt x="98" y="332"/>
                </a:moveTo>
                <a:cubicBezTo>
                  <a:pt x="97" y="331"/>
                  <a:pt x="100" y="331"/>
                  <a:pt x="98" y="332"/>
                </a:cubicBezTo>
                <a:close/>
                <a:moveTo>
                  <a:pt x="96" y="215"/>
                </a:moveTo>
                <a:cubicBezTo>
                  <a:pt x="97" y="215"/>
                  <a:pt x="97" y="216"/>
                  <a:pt x="96" y="217"/>
                </a:cubicBezTo>
                <a:cubicBezTo>
                  <a:pt x="95" y="219"/>
                  <a:pt x="95" y="214"/>
                  <a:pt x="96" y="215"/>
                </a:cubicBezTo>
                <a:close/>
                <a:moveTo>
                  <a:pt x="87" y="329"/>
                </a:moveTo>
                <a:cubicBezTo>
                  <a:pt x="87" y="330"/>
                  <a:pt x="86" y="330"/>
                  <a:pt x="86" y="331"/>
                </a:cubicBezTo>
                <a:cubicBezTo>
                  <a:pt x="85" y="331"/>
                  <a:pt x="86" y="329"/>
                  <a:pt x="87" y="329"/>
                </a:cubicBezTo>
                <a:close/>
                <a:moveTo>
                  <a:pt x="85" y="293"/>
                </a:moveTo>
                <a:cubicBezTo>
                  <a:pt x="85" y="293"/>
                  <a:pt x="85" y="294"/>
                  <a:pt x="85" y="294"/>
                </a:cubicBezTo>
                <a:cubicBezTo>
                  <a:pt x="83" y="296"/>
                  <a:pt x="83" y="291"/>
                  <a:pt x="85" y="293"/>
                </a:cubicBezTo>
                <a:close/>
                <a:moveTo>
                  <a:pt x="84" y="332"/>
                </a:moveTo>
                <a:cubicBezTo>
                  <a:pt x="86" y="333"/>
                  <a:pt x="84" y="335"/>
                  <a:pt x="82" y="336"/>
                </a:cubicBezTo>
                <a:cubicBezTo>
                  <a:pt x="83" y="334"/>
                  <a:pt x="85" y="333"/>
                  <a:pt x="84" y="332"/>
                </a:cubicBezTo>
                <a:close/>
                <a:moveTo>
                  <a:pt x="83" y="441"/>
                </a:moveTo>
                <a:cubicBezTo>
                  <a:pt x="82" y="442"/>
                  <a:pt x="84" y="440"/>
                  <a:pt x="83" y="441"/>
                </a:cubicBezTo>
                <a:close/>
                <a:moveTo>
                  <a:pt x="84" y="423"/>
                </a:moveTo>
                <a:cubicBezTo>
                  <a:pt x="83" y="424"/>
                  <a:pt x="84" y="421"/>
                  <a:pt x="85" y="422"/>
                </a:cubicBezTo>
                <a:cubicBezTo>
                  <a:pt x="86" y="422"/>
                  <a:pt x="85" y="423"/>
                  <a:pt x="84" y="423"/>
                </a:cubicBezTo>
                <a:close/>
                <a:moveTo>
                  <a:pt x="88" y="356"/>
                </a:moveTo>
                <a:cubicBezTo>
                  <a:pt x="86" y="358"/>
                  <a:pt x="87" y="353"/>
                  <a:pt x="88" y="354"/>
                </a:cubicBezTo>
                <a:cubicBezTo>
                  <a:pt x="89" y="355"/>
                  <a:pt x="88" y="356"/>
                  <a:pt x="88" y="356"/>
                </a:cubicBezTo>
                <a:close/>
                <a:moveTo>
                  <a:pt x="96" y="325"/>
                </a:moveTo>
                <a:cubicBezTo>
                  <a:pt x="96" y="326"/>
                  <a:pt x="95" y="326"/>
                  <a:pt x="94" y="328"/>
                </a:cubicBezTo>
                <a:cubicBezTo>
                  <a:pt x="92" y="330"/>
                  <a:pt x="89" y="335"/>
                  <a:pt x="87" y="340"/>
                </a:cubicBezTo>
                <a:cubicBezTo>
                  <a:pt x="85" y="344"/>
                  <a:pt x="85" y="347"/>
                  <a:pt x="83" y="350"/>
                </a:cubicBezTo>
                <a:cubicBezTo>
                  <a:pt x="83" y="350"/>
                  <a:pt x="82" y="350"/>
                  <a:pt x="82" y="350"/>
                </a:cubicBezTo>
                <a:cubicBezTo>
                  <a:pt x="81" y="350"/>
                  <a:pt x="84" y="344"/>
                  <a:pt x="85" y="342"/>
                </a:cubicBezTo>
                <a:cubicBezTo>
                  <a:pt x="86" y="339"/>
                  <a:pt x="87" y="337"/>
                  <a:pt x="89" y="334"/>
                </a:cubicBezTo>
                <a:cubicBezTo>
                  <a:pt x="90" y="332"/>
                  <a:pt x="93" y="329"/>
                  <a:pt x="93" y="326"/>
                </a:cubicBezTo>
                <a:cubicBezTo>
                  <a:pt x="93" y="326"/>
                  <a:pt x="92" y="325"/>
                  <a:pt x="92" y="324"/>
                </a:cubicBezTo>
                <a:cubicBezTo>
                  <a:pt x="92" y="320"/>
                  <a:pt x="99" y="320"/>
                  <a:pt x="96" y="325"/>
                </a:cubicBezTo>
                <a:close/>
                <a:moveTo>
                  <a:pt x="96" y="227"/>
                </a:moveTo>
                <a:cubicBezTo>
                  <a:pt x="97" y="227"/>
                  <a:pt x="97" y="228"/>
                  <a:pt x="97" y="229"/>
                </a:cubicBezTo>
                <a:cubicBezTo>
                  <a:pt x="96" y="230"/>
                  <a:pt x="96" y="227"/>
                  <a:pt x="96" y="227"/>
                </a:cubicBezTo>
                <a:close/>
                <a:moveTo>
                  <a:pt x="98" y="402"/>
                </a:moveTo>
                <a:cubicBezTo>
                  <a:pt x="98" y="402"/>
                  <a:pt x="98" y="402"/>
                  <a:pt x="97" y="402"/>
                </a:cubicBezTo>
                <a:cubicBezTo>
                  <a:pt x="95" y="401"/>
                  <a:pt x="100" y="400"/>
                  <a:pt x="98" y="402"/>
                </a:cubicBezTo>
                <a:close/>
                <a:moveTo>
                  <a:pt x="99" y="416"/>
                </a:moveTo>
                <a:cubicBezTo>
                  <a:pt x="101" y="416"/>
                  <a:pt x="100" y="421"/>
                  <a:pt x="99" y="422"/>
                </a:cubicBezTo>
                <a:cubicBezTo>
                  <a:pt x="94" y="424"/>
                  <a:pt x="98" y="416"/>
                  <a:pt x="99" y="416"/>
                </a:cubicBezTo>
                <a:close/>
                <a:moveTo>
                  <a:pt x="101" y="433"/>
                </a:moveTo>
                <a:cubicBezTo>
                  <a:pt x="103" y="434"/>
                  <a:pt x="100" y="438"/>
                  <a:pt x="100" y="439"/>
                </a:cubicBezTo>
                <a:cubicBezTo>
                  <a:pt x="94" y="441"/>
                  <a:pt x="98" y="431"/>
                  <a:pt x="101" y="433"/>
                </a:cubicBezTo>
                <a:close/>
                <a:moveTo>
                  <a:pt x="100" y="444"/>
                </a:moveTo>
                <a:cubicBezTo>
                  <a:pt x="101" y="443"/>
                  <a:pt x="99" y="445"/>
                  <a:pt x="100" y="444"/>
                </a:cubicBezTo>
                <a:close/>
                <a:moveTo>
                  <a:pt x="102" y="444"/>
                </a:moveTo>
                <a:cubicBezTo>
                  <a:pt x="102" y="445"/>
                  <a:pt x="101" y="445"/>
                  <a:pt x="101" y="445"/>
                </a:cubicBezTo>
                <a:cubicBezTo>
                  <a:pt x="99" y="443"/>
                  <a:pt x="104" y="442"/>
                  <a:pt x="102" y="444"/>
                </a:cubicBezTo>
                <a:close/>
                <a:moveTo>
                  <a:pt x="102" y="431"/>
                </a:moveTo>
                <a:cubicBezTo>
                  <a:pt x="100" y="432"/>
                  <a:pt x="100" y="428"/>
                  <a:pt x="102" y="429"/>
                </a:cubicBezTo>
                <a:cubicBezTo>
                  <a:pt x="103" y="429"/>
                  <a:pt x="103" y="430"/>
                  <a:pt x="102" y="431"/>
                </a:cubicBezTo>
                <a:close/>
                <a:moveTo>
                  <a:pt x="103" y="445"/>
                </a:moveTo>
                <a:cubicBezTo>
                  <a:pt x="102" y="447"/>
                  <a:pt x="105" y="444"/>
                  <a:pt x="103" y="445"/>
                </a:cubicBezTo>
                <a:close/>
                <a:moveTo>
                  <a:pt x="104" y="399"/>
                </a:moveTo>
                <a:cubicBezTo>
                  <a:pt x="103" y="399"/>
                  <a:pt x="103" y="397"/>
                  <a:pt x="104" y="398"/>
                </a:cubicBezTo>
                <a:cubicBezTo>
                  <a:pt x="104" y="398"/>
                  <a:pt x="104" y="399"/>
                  <a:pt x="104" y="399"/>
                </a:cubicBezTo>
                <a:close/>
                <a:moveTo>
                  <a:pt x="104" y="288"/>
                </a:moveTo>
                <a:cubicBezTo>
                  <a:pt x="103" y="290"/>
                  <a:pt x="105" y="287"/>
                  <a:pt x="104" y="288"/>
                </a:cubicBezTo>
                <a:close/>
                <a:moveTo>
                  <a:pt x="105" y="307"/>
                </a:moveTo>
                <a:cubicBezTo>
                  <a:pt x="104" y="306"/>
                  <a:pt x="106" y="303"/>
                  <a:pt x="107" y="302"/>
                </a:cubicBezTo>
                <a:cubicBezTo>
                  <a:pt x="107" y="304"/>
                  <a:pt x="106" y="306"/>
                  <a:pt x="105" y="307"/>
                </a:cubicBezTo>
                <a:close/>
                <a:moveTo>
                  <a:pt x="106" y="414"/>
                </a:moveTo>
                <a:cubicBezTo>
                  <a:pt x="106" y="413"/>
                  <a:pt x="108" y="413"/>
                  <a:pt x="106" y="414"/>
                </a:cubicBezTo>
                <a:close/>
                <a:moveTo>
                  <a:pt x="108" y="455"/>
                </a:moveTo>
                <a:cubicBezTo>
                  <a:pt x="107" y="454"/>
                  <a:pt x="109" y="454"/>
                  <a:pt x="108" y="455"/>
                </a:cubicBezTo>
                <a:close/>
                <a:moveTo>
                  <a:pt x="107" y="441"/>
                </a:moveTo>
                <a:cubicBezTo>
                  <a:pt x="106" y="441"/>
                  <a:pt x="108" y="440"/>
                  <a:pt x="108" y="440"/>
                </a:cubicBezTo>
                <a:cubicBezTo>
                  <a:pt x="108" y="440"/>
                  <a:pt x="107" y="440"/>
                  <a:pt x="107" y="441"/>
                </a:cubicBezTo>
                <a:close/>
                <a:moveTo>
                  <a:pt x="108" y="388"/>
                </a:moveTo>
                <a:cubicBezTo>
                  <a:pt x="107" y="390"/>
                  <a:pt x="107" y="386"/>
                  <a:pt x="108" y="387"/>
                </a:cubicBezTo>
                <a:cubicBezTo>
                  <a:pt x="109" y="387"/>
                  <a:pt x="108" y="388"/>
                  <a:pt x="108" y="388"/>
                </a:cubicBezTo>
                <a:close/>
                <a:moveTo>
                  <a:pt x="109" y="420"/>
                </a:moveTo>
                <a:cubicBezTo>
                  <a:pt x="109" y="421"/>
                  <a:pt x="109" y="418"/>
                  <a:pt x="109" y="420"/>
                </a:cubicBezTo>
                <a:close/>
                <a:moveTo>
                  <a:pt x="108" y="301"/>
                </a:moveTo>
                <a:cubicBezTo>
                  <a:pt x="107" y="300"/>
                  <a:pt x="108" y="298"/>
                  <a:pt x="110" y="298"/>
                </a:cubicBezTo>
                <a:cubicBezTo>
                  <a:pt x="110" y="299"/>
                  <a:pt x="108" y="300"/>
                  <a:pt x="108" y="301"/>
                </a:cubicBezTo>
                <a:close/>
                <a:moveTo>
                  <a:pt x="110" y="401"/>
                </a:moveTo>
                <a:cubicBezTo>
                  <a:pt x="110" y="401"/>
                  <a:pt x="110" y="401"/>
                  <a:pt x="110" y="401"/>
                </a:cubicBezTo>
                <a:cubicBezTo>
                  <a:pt x="110" y="401"/>
                  <a:pt x="110" y="400"/>
                  <a:pt x="110" y="401"/>
                </a:cubicBezTo>
                <a:close/>
                <a:moveTo>
                  <a:pt x="69" y="513"/>
                </a:moveTo>
                <a:cubicBezTo>
                  <a:pt x="69" y="513"/>
                  <a:pt x="70" y="512"/>
                  <a:pt x="70" y="512"/>
                </a:cubicBezTo>
                <a:cubicBezTo>
                  <a:pt x="70" y="513"/>
                  <a:pt x="69" y="513"/>
                  <a:pt x="69" y="513"/>
                </a:cubicBezTo>
                <a:close/>
                <a:moveTo>
                  <a:pt x="73" y="498"/>
                </a:moveTo>
                <a:cubicBezTo>
                  <a:pt x="73" y="497"/>
                  <a:pt x="74" y="496"/>
                  <a:pt x="75" y="496"/>
                </a:cubicBezTo>
                <a:cubicBezTo>
                  <a:pt x="75" y="497"/>
                  <a:pt x="74" y="498"/>
                  <a:pt x="73" y="498"/>
                </a:cubicBezTo>
                <a:close/>
                <a:moveTo>
                  <a:pt x="76" y="499"/>
                </a:moveTo>
                <a:cubicBezTo>
                  <a:pt x="76" y="500"/>
                  <a:pt x="77" y="498"/>
                  <a:pt x="76" y="499"/>
                </a:cubicBezTo>
                <a:close/>
                <a:moveTo>
                  <a:pt x="87" y="502"/>
                </a:moveTo>
                <a:cubicBezTo>
                  <a:pt x="86" y="500"/>
                  <a:pt x="89" y="499"/>
                  <a:pt x="87" y="502"/>
                </a:cubicBezTo>
                <a:close/>
                <a:moveTo>
                  <a:pt x="100" y="477"/>
                </a:moveTo>
                <a:cubicBezTo>
                  <a:pt x="101" y="479"/>
                  <a:pt x="100" y="481"/>
                  <a:pt x="100" y="483"/>
                </a:cubicBezTo>
                <a:cubicBezTo>
                  <a:pt x="99" y="481"/>
                  <a:pt x="99" y="479"/>
                  <a:pt x="100" y="477"/>
                </a:cubicBezTo>
                <a:close/>
                <a:moveTo>
                  <a:pt x="100" y="502"/>
                </a:moveTo>
                <a:cubicBezTo>
                  <a:pt x="97" y="499"/>
                  <a:pt x="102" y="497"/>
                  <a:pt x="104" y="496"/>
                </a:cubicBezTo>
                <a:cubicBezTo>
                  <a:pt x="105" y="499"/>
                  <a:pt x="102" y="505"/>
                  <a:pt x="100" y="502"/>
                </a:cubicBezTo>
                <a:close/>
                <a:moveTo>
                  <a:pt x="144" y="546"/>
                </a:moveTo>
                <a:cubicBezTo>
                  <a:pt x="143" y="546"/>
                  <a:pt x="144" y="546"/>
                  <a:pt x="144" y="545"/>
                </a:cubicBezTo>
                <a:cubicBezTo>
                  <a:pt x="143" y="542"/>
                  <a:pt x="147" y="545"/>
                  <a:pt x="144" y="546"/>
                </a:cubicBezTo>
                <a:close/>
                <a:moveTo>
                  <a:pt x="196" y="598"/>
                </a:moveTo>
                <a:cubicBezTo>
                  <a:pt x="196" y="598"/>
                  <a:pt x="198" y="597"/>
                  <a:pt x="198" y="598"/>
                </a:cubicBezTo>
                <a:cubicBezTo>
                  <a:pt x="198" y="599"/>
                  <a:pt x="197" y="599"/>
                  <a:pt x="196" y="598"/>
                </a:cubicBezTo>
                <a:close/>
                <a:moveTo>
                  <a:pt x="199" y="607"/>
                </a:moveTo>
                <a:cubicBezTo>
                  <a:pt x="198" y="607"/>
                  <a:pt x="198" y="607"/>
                  <a:pt x="198" y="607"/>
                </a:cubicBezTo>
                <a:cubicBezTo>
                  <a:pt x="198" y="605"/>
                  <a:pt x="200" y="608"/>
                  <a:pt x="199" y="607"/>
                </a:cubicBezTo>
                <a:close/>
                <a:moveTo>
                  <a:pt x="203" y="609"/>
                </a:moveTo>
                <a:cubicBezTo>
                  <a:pt x="203" y="608"/>
                  <a:pt x="205" y="608"/>
                  <a:pt x="205" y="609"/>
                </a:cubicBezTo>
                <a:cubicBezTo>
                  <a:pt x="205" y="609"/>
                  <a:pt x="203" y="610"/>
                  <a:pt x="203" y="609"/>
                </a:cubicBezTo>
                <a:close/>
                <a:moveTo>
                  <a:pt x="208" y="600"/>
                </a:moveTo>
                <a:cubicBezTo>
                  <a:pt x="207" y="600"/>
                  <a:pt x="209" y="600"/>
                  <a:pt x="209" y="600"/>
                </a:cubicBezTo>
                <a:cubicBezTo>
                  <a:pt x="209" y="601"/>
                  <a:pt x="208" y="601"/>
                  <a:pt x="208" y="600"/>
                </a:cubicBezTo>
                <a:close/>
                <a:moveTo>
                  <a:pt x="226" y="627"/>
                </a:moveTo>
                <a:cubicBezTo>
                  <a:pt x="225" y="627"/>
                  <a:pt x="223" y="627"/>
                  <a:pt x="224" y="625"/>
                </a:cubicBezTo>
                <a:cubicBezTo>
                  <a:pt x="225" y="624"/>
                  <a:pt x="229" y="624"/>
                  <a:pt x="229" y="625"/>
                </a:cubicBezTo>
                <a:cubicBezTo>
                  <a:pt x="229" y="626"/>
                  <a:pt x="229" y="626"/>
                  <a:pt x="228" y="627"/>
                </a:cubicBezTo>
                <a:cubicBezTo>
                  <a:pt x="229" y="627"/>
                  <a:pt x="229" y="627"/>
                  <a:pt x="229" y="627"/>
                </a:cubicBezTo>
                <a:cubicBezTo>
                  <a:pt x="228" y="628"/>
                  <a:pt x="227" y="628"/>
                  <a:pt x="226" y="627"/>
                </a:cubicBezTo>
                <a:close/>
                <a:moveTo>
                  <a:pt x="229" y="628"/>
                </a:moveTo>
                <a:cubicBezTo>
                  <a:pt x="229" y="628"/>
                  <a:pt x="231" y="628"/>
                  <a:pt x="231" y="628"/>
                </a:cubicBezTo>
                <a:cubicBezTo>
                  <a:pt x="231" y="629"/>
                  <a:pt x="229" y="628"/>
                  <a:pt x="229" y="628"/>
                </a:cubicBezTo>
                <a:close/>
                <a:moveTo>
                  <a:pt x="228" y="653"/>
                </a:moveTo>
                <a:cubicBezTo>
                  <a:pt x="228" y="653"/>
                  <a:pt x="228" y="653"/>
                  <a:pt x="228" y="653"/>
                </a:cubicBezTo>
                <a:cubicBezTo>
                  <a:pt x="228" y="653"/>
                  <a:pt x="228" y="652"/>
                  <a:pt x="228" y="653"/>
                </a:cubicBezTo>
                <a:close/>
                <a:moveTo>
                  <a:pt x="213" y="659"/>
                </a:moveTo>
                <a:cubicBezTo>
                  <a:pt x="213" y="659"/>
                  <a:pt x="213" y="659"/>
                  <a:pt x="213" y="659"/>
                </a:cubicBezTo>
                <a:cubicBezTo>
                  <a:pt x="213" y="659"/>
                  <a:pt x="213" y="659"/>
                  <a:pt x="213" y="659"/>
                </a:cubicBezTo>
                <a:close/>
                <a:moveTo>
                  <a:pt x="213" y="659"/>
                </a:moveTo>
                <a:cubicBezTo>
                  <a:pt x="214" y="659"/>
                  <a:pt x="213" y="659"/>
                  <a:pt x="213" y="659"/>
                </a:cubicBezTo>
                <a:close/>
                <a:moveTo>
                  <a:pt x="213" y="657"/>
                </a:moveTo>
                <a:cubicBezTo>
                  <a:pt x="213" y="656"/>
                  <a:pt x="214" y="656"/>
                  <a:pt x="214" y="656"/>
                </a:cubicBezTo>
                <a:cubicBezTo>
                  <a:pt x="215" y="657"/>
                  <a:pt x="214" y="657"/>
                  <a:pt x="213" y="657"/>
                </a:cubicBezTo>
                <a:close/>
                <a:moveTo>
                  <a:pt x="216" y="659"/>
                </a:moveTo>
                <a:cubicBezTo>
                  <a:pt x="216" y="658"/>
                  <a:pt x="216" y="657"/>
                  <a:pt x="217" y="658"/>
                </a:cubicBezTo>
                <a:cubicBezTo>
                  <a:pt x="216" y="658"/>
                  <a:pt x="218" y="660"/>
                  <a:pt x="218" y="660"/>
                </a:cubicBezTo>
                <a:cubicBezTo>
                  <a:pt x="217" y="661"/>
                  <a:pt x="215" y="661"/>
                  <a:pt x="216" y="659"/>
                </a:cubicBezTo>
                <a:close/>
                <a:moveTo>
                  <a:pt x="223" y="655"/>
                </a:moveTo>
                <a:cubicBezTo>
                  <a:pt x="222" y="654"/>
                  <a:pt x="224" y="654"/>
                  <a:pt x="224" y="655"/>
                </a:cubicBezTo>
                <a:cubicBezTo>
                  <a:pt x="224" y="655"/>
                  <a:pt x="223" y="655"/>
                  <a:pt x="223" y="655"/>
                </a:cubicBezTo>
                <a:close/>
                <a:moveTo>
                  <a:pt x="218" y="655"/>
                </a:moveTo>
                <a:cubicBezTo>
                  <a:pt x="217" y="655"/>
                  <a:pt x="214" y="653"/>
                  <a:pt x="215" y="651"/>
                </a:cubicBezTo>
                <a:cubicBezTo>
                  <a:pt x="216" y="650"/>
                  <a:pt x="220" y="648"/>
                  <a:pt x="222" y="648"/>
                </a:cubicBezTo>
                <a:cubicBezTo>
                  <a:pt x="223" y="649"/>
                  <a:pt x="224" y="649"/>
                  <a:pt x="224" y="650"/>
                </a:cubicBezTo>
                <a:cubicBezTo>
                  <a:pt x="224" y="650"/>
                  <a:pt x="226" y="648"/>
                  <a:pt x="225" y="650"/>
                </a:cubicBezTo>
                <a:cubicBezTo>
                  <a:pt x="225" y="650"/>
                  <a:pt x="223" y="651"/>
                  <a:pt x="223" y="652"/>
                </a:cubicBezTo>
                <a:cubicBezTo>
                  <a:pt x="224" y="652"/>
                  <a:pt x="225" y="651"/>
                  <a:pt x="225" y="652"/>
                </a:cubicBezTo>
                <a:cubicBezTo>
                  <a:pt x="224" y="652"/>
                  <a:pt x="221" y="655"/>
                  <a:pt x="218" y="655"/>
                </a:cubicBezTo>
                <a:close/>
                <a:moveTo>
                  <a:pt x="227" y="665"/>
                </a:moveTo>
                <a:cubicBezTo>
                  <a:pt x="223" y="666"/>
                  <a:pt x="226" y="661"/>
                  <a:pt x="228" y="662"/>
                </a:cubicBezTo>
                <a:cubicBezTo>
                  <a:pt x="229" y="664"/>
                  <a:pt x="228" y="664"/>
                  <a:pt x="227" y="665"/>
                </a:cubicBezTo>
                <a:close/>
                <a:moveTo>
                  <a:pt x="228" y="654"/>
                </a:moveTo>
                <a:cubicBezTo>
                  <a:pt x="227" y="653"/>
                  <a:pt x="230" y="655"/>
                  <a:pt x="228" y="654"/>
                </a:cubicBezTo>
                <a:close/>
                <a:moveTo>
                  <a:pt x="229" y="639"/>
                </a:moveTo>
                <a:cubicBezTo>
                  <a:pt x="228" y="638"/>
                  <a:pt x="231" y="638"/>
                  <a:pt x="231" y="639"/>
                </a:cubicBezTo>
                <a:cubicBezTo>
                  <a:pt x="231" y="639"/>
                  <a:pt x="230" y="640"/>
                  <a:pt x="229" y="639"/>
                </a:cubicBezTo>
                <a:close/>
                <a:moveTo>
                  <a:pt x="215" y="675"/>
                </a:moveTo>
                <a:cubicBezTo>
                  <a:pt x="216" y="673"/>
                  <a:pt x="216" y="675"/>
                  <a:pt x="215" y="675"/>
                </a:cubicBezTo>
                <a:close/>
                <a:moveTo>
                  <a:pt x="219" y="676"/>
                </a:moveTo>
                <a:cubicBezTo>
                  <a:pt x="220" y="675"/>
                  <a:pt x="221" y="676"/>
                  <a:pt x="223" y="676"/>
                </a:cubicBezTo>
                <a:cubicBezTo>
                  <a:pt x="221" y="676"/>
                  <a:pt x="220" y="677"/>
                  <a:pt x="219" y="676"/>
                </a:cubicBezTo>
                <a:close/>
                <a:moveTo>
                  <a:pt x="226" y="676"/>
                </a:moveTo>
                <a:cubicBezTo>
                  <a:pt x="226" y="675"/>
                  <a:pt x="228" y="675"/>
                  <a:pt x="228" y="675"/>
                </a:cubicBezTo>
                <a:cubicBezTo>
                  <a:pt x="228" y="676"/>
                  <a:pt x="226" y="676"/>
                  <a:pt x="226" y="676"/>
                </a:cubicBezTo>
                <a:close/>
                <a:moveTo>
                  <a:pt x="229" y="676"/>
                </a:moveTo>
                <a:cubicBezTo>
                  <a:pt x="229" y="675"/>
                  <a:pt x="230" y="676"/>
                  <a:pt x="230" y="676"/>
                </a:cubicBezTo>
                <a:cubicBezTo>
                  <a:pt x="230" y="676"/>
                  <a:pt x="229" y="677"/>
                  <a:pt x="229" y="676"/>
                </a:cubicBezTo>
                <a:close/>
                <a:moveTo>
                  <a:pt x="234" y="679"/>
                </a:moveTo>
                <a:cubicBezTo>
                  <a:pt x="234" y="678"/>
                  <a:pt x="235" y="678"/>
                  <a:pt x="235" y="678"/>
                </a:cubicBezTo>
                <a:cubicBezTo>
                  <a:pt x="236" y="679"/>
                  <a:pt x="234" y="679"/>
                  <a:pt x="234" y="679"/>
                </a:cubicBezTo>
                <a:close/>
                <a:moveTo>
                  <a:pt x="248" y="692"/>
                </a:moveTo>
                <a:cubicBezTo>
                  <a:pt x="248" y="691"/>
                  <a:pt x="250" y="691"/>
                  <a:pt x="250" y="691"/>
                </a:cubicBezTo>
                <a:cubicBezTo>
                  <a:pt x="251" y="692"/>
                  <a:pt x="249" y="692"/>
                  <a:pt x="248" y="692"/>
                </a:cubicBezTo>
                <a:close/>
                <a:moveTo>
                  <a:pt x="349" y="41"/>
                </a:moveTo>
                <a:cubicBezTo>
                  <a:pt x="348" y="41"/>
                  <a:pt x="345" y="42"/>
                  <a:pt x="344" y="41"/>
                </a:cubicBezTo>
                <a:cubicBezTo>
                  <a:pt x="344" y="40"/>
                  <a:pt x="348" y="40"/>
                  <a:pt x="349" y="41"/>
                </a:cubicBezTo>
                <a:close/>
                <a:moveTo>
                  <a:pt x="343" y="7"/>
                </a:moveTo>
                <a:cubicBezTo>
                  <a:pt x="344" y="6"/>
                  <a:pt x="345" y="8"/>
                  <a:pt x="343" y="7"/>
                </a:cubicBezTo>
                <a:close/>
                <a:moveTo>
                  <a:pt x="342" y="38"/>
                </a:moveTo>
                <a:cubicBezTo>
                  <a:pt x="341" y="38"/>
                  <a:pt x="340" y="37"/>
                  <a:pt x="339" y="38"/>
                </a:cubicBezTo>
                <a:cubicBezTo>
                  <a:pt x="339" y="37"/>
                  <a:pt x="341" y="37"/>
                  <a:pt x="342" y="38"/>
                </a:cubicBezTo>
                <a:close/>
                <a:moveTo>
                  <a:pt x="335" y="37"/>
                </a:moveTo>
                <a:cubicBezTo>
                  <a:pt x="336" y="36"/>
                  <a:pt x="337" y="39"/>
                  <a:pt x="335" y="37"/>
                </a:cubicBezTo>
                <a:close/>
                <a:moveTo>
                  <a:pt x="336" y="97"/>
                </a:move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5" y="96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lose/>
                <a:moveTo>
                  <a:pt x="316" y="49"/>
                </a:moveTo>
                <a:cubicBezTo>
                  <a:pt x="316" y="49"/>
                  <a:pt x="313" y="50"/>
                  <a:pt x="313" y="49"/>
                </a:cubicBezTo>
                <a:cubicBezTo>
                  <a:pt x="312" y="49"/>
                  <a:pt x="315" y="48"/>
                  <a:pt x="316" y="49"/>
                </a:cubicBezTo>
                <a:close/>
                <a:moveTo>
                  <a:pt x="321" y="108"/>
                </a:moveTo>
                <a:cubicBezTo>
                  <a:pt x="319" y="109"/>
                  <a:pt x="315" y="112"/>
                  <a:pt x="311" y="111"/>
                </a:cubicBezTo>
                <a:cubicBezTo>
                  <a:pt x="314" y="109"/>
                  <a:pt x="317" y="109"/>
                  <a:pt x="321" y="108"/>
                </a:cubicBezTo>
                <a:close/>
                <a:moveTo>
                  <a:pt x="320" y="636"/>
                </a:moveTo>
                <a:cubicBezTo>
                  <a:pt x="319" y="636"/>
                  <a:pt x="320" y="635"/>
                  <a:pt x="320" y="635"/>
                </a:cubicBezTo>
                <a:cubicBezTo>
                  <a:pt x="321" y="635"/>
                  <a:pt x="320" y="636"/>
                  <a:pt x="320" y="636"/>
                </a:cubicBezTo>
                <a:close/>
                <a:moveTo>
                  <a:pt x="319" y="620"/>
                </a:moveTo>
                <a:cubicBezTo>
                  <a:pt x="319" y="620"/>
                  <a:pt x="318" y="620"/>
                  <a:pt x="317" y="620"/>
                </a:cubicBezTo>
                <a:cubicBezTo>
                  <a:pt x="318" y="620"/>
                  <a:pt x="319" y="619"/>
                  <a:pt x="319" y="620"/>
                </a:cubicBezTo>
                <a:close/>
                <a:moveTo>
                  <a:pt x="318" y="614"/>
                </a:moveTo>
                <a:cubicBezTo>
                  <a:pt x="317" y="613"/>
                  <a:pt x="319" y="615"/>
                  <a:pt x="318" y="614"/>
                </a:cubicBezTo>
                <a:close/>
                <a:moveTo>
                  <a:pt x="313" y="137"/>
                </a:moveTo>
                <a:cubicBezTo>
                  <a:pt x="312" y="140"/>
                  <a:pt x="312" y="135"/>
                  <a:pt x="312" y="137"/>
                </a:cubicBezTo>
                <a:cubicBezTo>
                  <a:pt x="312" y="137"/>
                  <a:pt x="313" y="137"/>
                  <a:pt x="313" y="137"/>
                </a:cubicBezTo>
                <a:close/>
                <a:moveTo>
                  <a:pt x="311" y="41"/>
                </a:moveTo>
                <a:cubicBezTo>
                  <a:pt x="310" y="42"/>
                  <a:pt x="309" y="40"/>
                  <a:pt x="311" y="41"/>
                </a:cubicBezTo>
                <a:close/>
                <a:moveTo>
                  <a:pt x="309" y="527"/>
                </a:moveTo>
                <a:cubicBezTo>
                  <a:pt x="309" y="528"/>
                  <a:pt x="306" y="529"/>
                  <a:pt x="306" y="527"/>
                </a:cubicBezTo>
                <a:cubicBezTo>
                  <a:pt x="306" y="525"/>
                  <a:pt x="309" y="526"/>
                  <a:pt x="309" y="527"/>
                </a:cubicBezTo>
                <a:close/>
                <a:moveTo>
                  <a:pt x="307" y="61"/>
                </a:moveTo>
                <a:cubicBezTo>
                  <a:pt x="306" y="60"/>
                  <a:pt x="308" y="61"/>
                  <a:pt x="307" y="61"/>
                </a:cubicBezTo>
                <a:close/>
                <a:moveTo>
                  <a:pt x="293" y="53"/>
                </a:moveTo>
                <a:cubicBezTo>
                  <a:pt x="298" y="52"/>
                  <a:pt x="304" y="52"/>
                  <a:pt x="309" y="51"/>
                </a:cubicBezTo>
                <a:cubicBezTo>
                  <a:pt x="304" y="53"/>
                  <a:pt x="299" y="53"/>
                  <a:pt x="293" y="53"/>
                </a:cubicBezTo>
                <a:close/>
                <a:moveTo>
                  <a:pt x="282" y="662"/>
                </a:moveTo>
                <a:cubicBezTo>
                  <a:pt x="281" y="662"/>
                  <a:pt x="279" y="663"/>
                  <a:pt x="277" y="663"/>
                </a:cubicBezTo>
                <a:cubicBezTo>
                  <a:pt x="279" y="662"/>
                  <a:pt x="281" y="661"/>
                  <a:pt x="282" y="662"/>
                </a:cubicBezTo>
                <a:close/>
                <a:moveTo>
                  <a:pt x="278" y="582"/>
                </a:moveTo>
                <a:cubicBezTo>
                  <a:pt x="278" y="581"/>
                  <a:pt x="280" y="581"/>
                  <a:pt x="279" y="582"/>
                </a:cubicBezTo>
                <a:cubicBezTo>
                  <a:pt x="279" y="582"/>
                  <a:pt x="279" y="582"/>
                  <a:pt x="278" y="582"/>
                </a:cubicBezTo>
                <a:close/>
                <a:moveTo>
                  <a:pt x="282" y="582"/>
                </a:moveTo>
                <a:cubicBezTo>
                  <a:pt x="282" y="582"/>
                  <a:pt x="280" y="583"/>
                  <a:pt x="280" y="581"/>
                </a:cubicBezTo>
                <a:cubicBezTo>
                  <a:pt x="280" y="580"/>
                  <a:pt x="282" y="581"/>
                  <a:pt x="282" y="582"/>
                </a:cubicBezTo>
                <a:close/>
                <a:moveTo>
                  <a:pt x="281" y="574"/>
                </a:moveTo>
                <a:cubicBezTo>
                  <a:pt x="281" y="575"/>
                  <a:pt x="280" y="575"/>
                  <a:pt x="280" y="574"/>
                </a:cubicBezTo>
                <a:cubicBezTo>
                  <a:pt x="279" y="574"/>
                  <a:pt x="281" y="573"/>
                  <a:pt x="281" y="574"/>
                </a:cubicBezTo>
                <a:close/>
                <a:moveTo>
                  <a:pt x="294" y="551"/>
                </a:moveTo>
                <a:cubicBezTo>
                  <a:pt x="291" y="553"/>
                  <a:pt x="287" y="555"/>
                  <a:pt x="285" y="556"/>
                </a:cubicBezTo>
                <a:cubicBezTo>
                  <a:pt x="285" y="556"/>
                  <a:pt x="283" y="557"/>
                  <a:pt x="284" y="556"/>
                </a:cubicBezTo>
                <a:cubicBezTo>
                  <a:pt x="286" y="553"/>
                  <a:pt x="291" y="553"/>
                  <a:pt x="294" y="551"/>
                </a:cubicBezTo>
                <a:close/>
                <a:moveTo>
                  <a:pt x="286" y="536"/>
                </a:moveTo>
                <a:cubicBezTo>
                  <a:pt x="286" y="535"/>
                  <a:pt x="286" y="536"/>
                  <a:pt x="286" y="536"/>
                </a:cubicBezTo>
                <a:cubicBezTo>
                  <a:pt x="285" y="536"/>
                  <a:pt x="286" y="535"/>
                  <a:pt x="286" y="536"/>
                </a:cubicBezTo>
                <a:close/>
                <a:moveTo>
                  <a:pt x="287" y="536"/>
                </a:moveTo>
                <a:cubicBezTo>
                  <a:pt x="287" y="534"/>
                  <a:pt x="289" y="534"/>
                  <a:pt x="289" y="536"/>
                </a:cubicBezTo>
                <a:cubicBezTo>
                  <a:pt x="289" y="537"/>
                  <a:pt x="287" y="536"/>
                  <a:pt x="287" y="536"/>
                </a:cubicBezTo>
                <a:close/>
                <a:moveTo>
                  <a:pt x="290" y="512"/>
                </a:moveTo>
                <a:cubicBezTo>
                  <a:pt x="291" y="510"/>
                  <a:pt x="293" y="509"/>
                  <a:pt x="294" y="508"/>
                </a:cubicBezTo>
                <a:cubicBezTo>
                  <a:pt x="294" y="509"/>
                  <a:pt x="292" y="510"/>
                  <a:pt x="290" y="512"/>
                </a:cubicBezTo>
                <a:close/>
                <a:moveTo>
                  <a:pt x="290" y="550"/>
                </a:moveTo>
                <a:cubicBezTo>
                  <a:pt x="290" y="549"/>
                  <a:pt x="291" y="548"/>
                  <a:pt x="292" y="549"/>
                </a:cubicBezTo>
                <a:cubicBezTo>
                  <a:pt x="292" y="550"/>
                  <a:pt x="290" y="551"/>
                  <a:pt x="290" y="550"/>
                </a:cubicBezTo>
                <a:close/>
                <a:moveTo>
                  <a:pt x="287" y="638"/>
                </a:moveTo>
                <a:cubicBezTo>
                  <a:pt x="288" y="637"/>
                  <a:pt x="289" y="637"/>
                  <a:pt x="290" y="637"/>
                </a:cubicBezTo>
                <a:cubicBezTo>
                  <a:pt x="289" y="637"/>
                  <a:pt x="288" y="638"/>
                  <a:pt x="287" y="638"/>
                </a:cubicBezTo>
                <a:close/>
                <a:moveTo>
                  <a:pt x="290" y="640"/>
                </a:moveTo>
                <a:cubicBezTo>
                  <a:pt x="289" y="641"/>
                  <a:pt x="288" y="640"/>
                  <a:pt x="287" y="641"/>
                </a:cubicBezTo>
                <a:cubicBezTo>
                  <a:pt x="287" y="640"/>
                  <a:pt x="289" y="639"/>
                  <a:pt x="290" y="640"/>
                </a:cubicBezTo>
                <a:close/>
                <a:moveTo>
                  <a:pt x="292" y="594"/>
                </a:moveTo>
                <a:cubicBezTo>
                  <a:pt x="292" y="595"/>
                  <a:pt x="288" y="596"/>
                  <a:pt x="288" y="593"/>
                </a:cubicBezTo>
                <a:cubicBezTo>
                  <a:pt x="288" y="591"/>
                  <a:pt x="292" y="592"/>
                  <a:pt x="292" y="594"/>
                </a:cubicBezTo>
                <a:close/>
                <a:moveTo>
                  <a:pt x="288" y="573"/>
                </a:moveTo>
                <a:cubicBezTo>
                  <a:pt x="288" y="572"/>
                  <a:pt x="290" y="571"/>
                  <a:pt x="291" y="571"/>
                </a:cubicBezTo>
                <a:cubicBezTo>
                  <a:pt x="290" y="572"/>
                  <a:pt x="289" y="572"/>
                  <a:pt x="288" y="573"/>
                </a:cubicBezTo>
                <a:close/>
                <a:moveTo>
                  <a:pt x="292" y="571"/>
                </a:moveTo>
                <a:cubicBezTo>
                  <a:pt x="292" y="570"/>
                  <a:pt x="293" y="569"/>
                  <a:pt x="294" y="570"/>
                </a:cubicBezTo>
                <a:cubicBezTo>
                  <a:pt x="294" y="571"/>
                  <a:pt x="292" y="571"/>
                  <a:pt x="292" y="571"/>
                </a:cubicBezTo>
                <a:close/>
                <a:moveTo>
                  <a:pt x="293" y="594"/>
                </a:moveTo>
                <a:cubicBezTo>
                  <a:pt x="293" y="596"/>
                  <a:pt x="291" y="595"/>
                  <a:pt x="293" y="594"/>
                </a:cubicBezTo>
                <a:close/>
                <a:moveTo>
                  <a:pt x="291" y="595"/>
                </a:moveTo>
                <a:cubicBezTo>
                  <a:pt x="290" y="597"/>
                  <a:pt x="288" y="596"/>
                  <a:pt x="291" y="595"/>
                </a:cubicBezTo>
                <a:close/>
                <a:moveTo>
                  <a:pt x="290" y="625"/>
                </a:moveTo>
                <a:cubicBezTo>
                  <a:pt x="291" y="626"/>
                  <a:pt x="290" y="625"/>
                  <a:pt x="290" y="625"/>
                </a:cubicBezTo>
                <a:cubicBezTo>
                  <a:pt x="290" y="625"/>
                  <a:pt x="290" y="625"/>
                  <a:pt x="290" y="625"/>
                </a:cubicBezTo>
                <a:close/>
                <a:moveTo>
                  <a:pt x="289" y="602"/>
                </a:moveTo>
                <a:cubicBezTo>
                  <a:pt x="289" y="601"/>
                  <a:pt x="292" y="601"/>
                  <a:pt x="293" y="601"/>
                </a:cubicBezTo>
                <a:cubicBezTo>
                  <a:pt x="292" y="602"/>
                  <a:pt x="290" y="602"/>
                  <a:pt x="289" y="602"/>
                </a:cubicBezTo>
                <a:close/>
                <a:moveTo>
                  <a:pt x="291" y="634"/>
                </a:moveTo>
                <a:cubicBezTo>
                  <a:pt x="292" y="634"/>
                  <a:pt x="293" y="634"/>
                  <a:pt x="292" y="635"/>
                </a:cubicBezTo>
                <a:cubicBezTo>
                  <a:pt x="292" y="636"/>
                  <a:pt x="291" y="635"/>
                  <a:pt x="291" y="634"/>
                </a:cubicBezTo>
                <a:close/>
                <a:moveTo>
                  <a:pt x="295" y="635"/>
                </a:moveTo>
                <a:cubicBezTo>
                  <a:pt x="294" y="636"/>
                  <a:pt x="293" y="637"/>
                  <a:pt x="291" y="636"/>
                </a:cubicBezTo>
                <a:cubicBezTo>
                  <a:pt x="292" y="636"/>
                  <a:pt x="294" y="636"/>
                  <a:pt x="295" y="635"/>
                </a:cubicBezTo>
                <a:close/>
                <a:moveTo>
                  <a:pt x="293" y="583"/>
                </a:moveTo>
                <a:cubicBezTo>
                  <a:pt x="293" y="583"/>
                  <a:pt x="294" y="583"/>
                  <a:pt x="294" y="583"/>
                </a:cubicBezTo>
                <a:cubicBezTo>
                  <a:pt x="295" y="584"/>
                  <a:pt x="293" y="585"/>
                  <a:pt x="293" y="583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538"/>
                </a:moveTo>
                <a:cubicBezTo>
                  <a:pt x="283" y="538"/>
                  <a:pt x="284" y="537"/>
                  <a:pt x="284" y="537"/>
                </a:cubicBezTo>
                <a:cubicBezTo>
                  <a:pt x="285" y="537"/>
                  <a:pt x="284" y="538"/>
                  <a:pt x="284" y="538"/>
                </a:cubicBezTo>
                <a:close/>
                <a:moveTo>
                  <a:pt x="285" y="588"/>
                </a:moveTo>
                <a:cubicBezTo>
                  <a:pt x="284" y="589"/>
                  <a:pt x="283" y="589"/>
                  <a:pt x="282" y="590"/>
                </a:cubicBezTo>
                <a:cubicBezTo>
                  <a:pt x="282" y="590"/>
                  <a:pt x="284" y="588"/>
                  <a:pt x="285" y="588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612"/>
                </a:moveTo>
                <a:cubicBezTo>
                  <a:pt x="281" y="614"/>
                  <a:pt x="281" y="612"/>
                  <a:pt x="284" y="612"/>
                </a:cubicBezTo>
                <a:close/>
                <a:moveTo>
                  <a:pt x="283" y="648"/>
                </a:moveTo>
                <a:cubicBezTo>
                  <a:pt x="284" y="645"/>
                  <a:pt x="286" y="647"/>
                  <a:pt x="283" y="648"/>
                </a:cubicBezTo>
                <a:close/>
                <a:moveTo>
                  <a:pt x="287" y="661"/>
                </a:moveTo>
                <a:cubicBezTo>
                  <a:pt x="287" y="661"/>
                  <a:pt x="285" y="662"/>
                  <a:pt x="284" y="662"/>
                </a:cubicBezTo>
                <a:cubicBezTo>
                  <a:pt x="284" y="661"/>
                  <a:pt x="287" y="660"/>
                  <a:pt x="287" y="661"/>
                </a:cubicBezTo>
                <a:close/>
                <a:moveTo>
                  <a:pt x="288" y="667"/>
                </a:moveTo>
                <a:cubicBezTo>
                  <a:pt x="288" y="668"/>
                  <a:pt x="286" y="668"/>
                  <a:pt x="286" y="667"/>
                </a:cubicBezTo>
                <a:cubicBezTo>
                  <a:pt x="285" y="666"/>
                  <a:pt x="288" y="666"/>
                  <a:pt x="288" y="667"/>
                </a:cubicBezTo>
                <a:close/>
                <a:moveTo>
                  <a:pt x="287" y="650"/>
                </a:moveTo>
                <a:cubicBezTo>
                  <a:pt x="287" y="648"/>
                  <a:pt x="290" y="647"/>
                  <a:pt x="291" y="649"/>
                </a:cubicBezTo>
                <a:cubicBezTo>
                  <a:pt x="295" y="653"/>
                  <a:pt x="286" y="654"/>
                  <a:pt x="287" y="650"/>
                </a:cubicBezTo>
                <a:close/>
                <a:moveTo>
                  <a:pt x="292" y="691"/>
                </a:moveTo>
                <a:cubicBezTo>
                  <a:pt x="292" y="691"/>
                  <a:pt x="292" y="691"/>
                  <a:pt x="292" y="691"/>
                </a:cubicBezTo>
                <a:cubicBezTo>
                  <a:pt x="292" y="689"/>
                  <a:pt x="294" y="692"/>
                  <a:pt x="292" y="691"/>
                </a:cubicBezTo>
                <a:close/>
                <a:moveTo>
                  <a:pt x="292" y="646"/>
                </a:moveTo>
                <a:cubicBezTo>
                  <a:pt x="290" y="644"/>
                  <a:pt x="297" y="643"/>
                  <a:pt x="294" y="646"/>
                </a:cubicBezTo>
                <a:cubicBezTo>
                  <a:pt x="294" y="646"/>
                  <a:pt x="293" y="646"/>
                  <a:pt x="292" y="646"/>
                </a:cubicBezTo>
                <a:close/>
                <a:moveTo>
                  <a:pt x="294" y="600"/>
                </a:moveTo>
                <a:cubicBezTo>
                  <a:pt x="294" y="600"/>
                  <a:pt x="296" y="599"/>
                  <a:pt x="297" y="599"/>
                </a:cubicBezTo>
                <a:cubicBezTo>
                  <a:pt x="296" y="600"/>
                  <a:pt x="295" y="600"/>
                  <a:pt x="294" y="600"/>
                </a:cubicBezTo>
                <a:close/>
                <a:moveTo>
                  <a:pt x="293" y="530"/>
                </a:moveTo>
                <a:cubicBezTo>
                  <a:pt x="294" y="529"/>
                  <a:pt x="296" y="528"/>
                  <a:pt x="297" y="530"/>
                </a:cubicBezTo>
                <a:cubicBezTo>
                  <a:pt x="298" y="532"/>
                  <a:pt x="293" y="534"/>
                  <a:pt x="293" y="530"/>
                </a:cubicBezTo>
                <a:close/>
                <a:moveTo>
                  <a:pt x="303" y="581"/>
                </a:moveTo>
                <a:cubicBezTo>
                  <a:pt x="303" y="584"/>
                  <a:pt x="298" y="584"/>
                  <a:pt x="297" y="581"/>
                </a:cubicBezTo>
                <a:cubicBezTo>
                  <a:pt x="297" y="578"/>
                  <a:pt x="303" y="579"/>
                  <a:pt x="303" y="581"/>
                </a:cubicBezTo>
                <a:close/>
                <a:moveTo>
                  <a:pt x="298" y="504"/>
                </a:moveTo>
                <a:cubicBezTo>
                  <a:pt x="298" y="503"/>
                  <a:pt x="300" y="504"/>
                  <a:pt x="298" y="504"/>
                </a:cubicBezTo>
                <a:close/>
                <a:moveTo>
                  <a:pt x="300" y="102"/>
                </a:moveTo>
                <a:cubicBezTo>
                  <a:pt x="298" y="103"/>
                  <a:pt x="297" y="101"/>
                  <a:pt x="300" y="102"/>
                </a:cubicBezTo>
                <a:close/>
                <a:moveTo>
                  <a:pt x="299" y="578"/>
                </a:moveTo>
                <a:cubicBezTo>
                  <a:pt x="299" y="578"/>
                  <a:pt x="298" y="579"/>
                  <a:pt x="298" y="578"/>
                </a:cubicBezTo>
                <a:cubicBezTo>
                  <a:pt x="297" y="577"/>
                  <a:pt x="300" y="577"/>
                  <a:pt x="299" y="578"/>
                </a:cubicBezTo>
                <a:close/>
                <a:moveTo>
                  <a:pt x="303" y="67"/>
                </a:moveTo>
                <a:cubicBezTo>
                  <a:pt x="302" y="69"/>
                  <a:pt x="302" y="67"/>
                  <a:pt x="303" y="67"/>
                </a:cubicBezTo>
                <a:close/>
                <a:moveTo>
                  <a:pt x="304" y="592"/>
                </a:moveTo>
                <a:cubicBezTo>
                  <a:pt x="304" y="593"/>
                  <a:pt x="301" y="593"/>
                  <a:pt x="300" y="594"/>
                </a:cubicBezTo>
                <a:cubicBezTo>
                  <a:pt x="301" y="593"/>
                  <a:pt x="303" y="592"/>
                  <a:pt x="304" y="592"/>
                </a:cubicBezTo>
                <a:close/>
                <a:moveTo>
                  <a:pt x="304" y="660"/>
                </a:moveTo>
                <a:cubicBezTo>
                  <a:pt x="304" y="661"/>
                  <a:pt x="304" y="662"/>
                  <a:pt x="304" y="662"/>
                </a:cubicBezTo>
                <a:cubicBezTo>
                  <a:pt x="302" y="664"/>
                  <a:pt x="301" y="659"/>
                  <a:pt x="304" y="660"/>
                </a:cubicBezTo>
                <a:close/>
                <a:moveTo>
                  <a:pt x="308" y="41"/>
                </a:moveTo>
                <a:cubicBezTo>
                  <a:pt x="308" y="41"/>
                  <a:pt x="307" y="42"/>
                  <a:pt x="307" y="42"/>
                </a:cubicBezTo>
                <a:cubicBezTo>
                  <a:pt x="306" y="42"/>
                  <a:pt x="307" y="41"/>
                  <a:pt x="308" y="41"/>
                </a:cubicBezTo>
                <a:close/>
                <a:moveTo>
                  <a:pt x="298" y="26"/>
                </a:moveTo>
                <a:cubicBezTo>
                  <a:pt x="300" y="25"/>
                  <a:pt x="300" y="27"/>
                  <a:pt x="298" y="26"/>
                </a:cubicBezTo>
                <a:close/>
                <a:moveTo>
                  <a:pt x="299" y="30"/>
                </a:moveTo>
                <a:cubicBezTo>
                  <a:pt x="297" y="31"/>
                  <a:pt x="295" y="30"/>
                  <a:pt x="293" y="30"/>
                </a:cubicBezTo>
                <a:cubicBezTo>
                  <a:pt x="295" y="29"/>
                  <a:pt x="297" y="29"/>
                  <a:pt x="299" y="30"/>
                </a:cubicBezTo>
                <a:close/>
                <a:moveTo>
                  <a:pt x="291" y="53"/>
                </a:moveTo>
                <a:cubicBezTo>
                  <a:pt x="287" y="54"/>
                  <a:pt x="283" y="55"/>
                  <a:pt x="279" y="55"/>
                </a:cubicBezTo>
                <a:cubicBezTo>
                  <a:pt x="283" y="54"/>
                  <a:pt x="287" y="53"/>
                  <a:pt x="291" y="53"/>
                </a:cubicBezTo>
                <a:close/>
                <a:moveTo>
                  <a:pt x="288" y="513"/>
                </a:moveTo>
                <a:cubicBezTo>
                  <a:pt x="287" y="513"/>
                  <a:pt x="290" y="512"/>
                  <a:pt x="289" y="512"/>
                </a:cubicBezTo>
                <a:cubicBezTo>
                  <a:pt x="290" y="512"/>
                  <a:pt x="289" y="514"/>
                  <a:pt x="288" y="513"/>
                </a:cubicBezTo>
                <a:close/>
                <a:moveTo>
                  <a:pt x="282" y="526"/>
                </a:moveTo>
                <a:cubicBezTo>
                  <a:pt x="282" y="526"/>
                  <a:pt x="281" y="527"/>
                  <a:pt x="280" y="526"/>
                </a:cubicBezTo>
                <a:cubicBezTo>
                  <a:pt x="280" y="526"/>
                  <a:pt x="282" y="525"/>
                  <a:pt x="282" y="526"/>
                </a:cubicBezTo>
                <a:close/>
                <a:moveTo>
                  <a:pt x="286" y="526"/>
                </a:moveTo>
                <a:cubicBezTo>
                  <a:pt x="286" y="526"/>
                  <a:pt x="291" y="524"/>
                  <a:pt x="290" y="526"/>
                </a:cubicBezTo>
                <a:cubicBezTo>
                  <a:pt x="290" y="527"/>
                  <a:pt x="285" y="527"/>
                  <a:pt x="284" y="527"/>
                </a:cubicBezTo>
                <a:cubicBezTo>
                  <a:pt x="281" y="527"/>
                  <a:pt x="278" y="530"/>
                  <a:pt x="275" y="529"/>
                </a:cubicBezTo>
                <a:cubicBezTo>
                  <a:pt x="276" y="527"/>
                  <a:pt x="284" y="527"/>
                  <a:pt x="286" y="526"/>
                </a:cubicBezTo>
                <a:close/>
                <a:moveTo>
                  <a:pt x="277" y="694"/>
                </a:moveTo>
                <a:cubicBezTo>
                  <a:pt x="277" y="695"/>
                  <a:pt x="275" y="695"/>
                  <a:pt x="275" y="694"/>
                </a:cubicBezTo>
                <a:cubicBezTo>
                  <a:pt x="275" y="693"/>
                  <a:pt x="277" y="694"/>
                  <a:pt x="277" y="694"/>
                </a:cubicBezTo>
                <a:close/>
                <a:moveTo>
                  <a:pt x="266" y="653"/>
                </a:moveTo>
                <a:cubicBezTo>
                  <a:pt x="266" y="653"/>
                  <a:pt x="266" y="652"/>
                  <a:pt x="266" y="651"/>
                </a:cubicBezTo>
                <a:cubicBezTo>
                  <a:pt x="267" y="648"/>
                  <a:pt x="270" y="649"/>
                  <a:pt x="271" y="650"/>
                </a:cubicBezTo>
                <a:cubicBezTo>
                  <a:pt x="271" y="650"/>
                  <a:pt x="271" y="650"/>
                  <a:pt x="271" y="650"/>
                </a:cubicBezTo>
                <a:cubicBezTo>
                  <a:pt x="271" y="650"/>
                  <a:pt x="271" y="650"/>
                  <a:pt x="272" y="650"/>
                </a:cubicBezTo>
                <a:cubicBezTo>
                  <a:pt x="275" y="651"/>
                  <a:pt x="270" y="659"/>
                  <a:pt x="266" y="653"/>
                </a:cubicBezTo>
                <a:close/>
                <a:moveTo>
                  <a:pt x="268" y="657"/>
                </a:moveTo>
                <a:cubicBezTo>
                  <a:pt x="267" y="656"/>
                  <a:pt x="269" y="657"/>
                  <a:pt x="268" y="657"/>
                </a:cubicBezTo>
                <a:close/>
                <a:moveTo>
                  <a:pt x="264" y="633"/>
                </a:moveTo>
                <a:cubicBezTo>
                  <a:pt x="263" y="633"/>
                  <a:pt x="264" y="632"/>
                  <a:pt x="265" y="632"/>
                </a:cubicBezTo>
                <a:cubicBezTo>
                  <a:pt x="265" y="633"/>
                  <a:pt x="264" y="632"/>
                  <a:pt x="264" y="633"/>
                </a:cubicBezTo>
                <a:close/>
                <a:moveTo>
                  <a:pt x="263" y="663"/>
                </a:moveTo>
                <a:cubicBezTo>
                  <a:pt x="265" y="662"/>
                  <a:pt x="265" y="664"/>
                  <a:pt x="263" y="663"/>
                </a:cubicBezTo>
                <a:close/>
                <a:moveTo>
                  <a:pt x="265" y="623"/>
                </a:moveTo>
                <a:cubicBezTo>
                  <a:pt x="267" y="623"/>
                  <a:pt x="269" y="624"/>
                  <a:pt x="269" y="627"/>
                </a:cubicBezTo>
                <a:cubicBezTo>
                  <a:pt x="268" y="625"/>
                  <a:pt x="267" y="628"/>
                  <a:pt x="265" y="629"/>
                </a:cubicBezTo>
                <a:cubicBezTo>
                  <a:pt x="258" y="631"/>
                  <a:pt x="258" y="621"/>
                  <a:pt x="265" y="623"/>
                </a:cubicBezTo>
                <a:close/>
                <a:moveTo>
                  <a:pt x="271" y="560"/>
                </a:moveTo>
                <a:cubicBezTo>
                  <a:pt x="272" y="561"/>
                  <a:pt x="269" y="562"/>
                  <a:pt x="269" y="561"/>
                </a:cubicBezTo>
                <a:cubicBezTo>
                  <a:pt x="269" y="560"/>
                  <a:pt x="271" y="559"/>
                  <a:pt x="271" y="560"/>
                </a:cubicBezTo>
                <a:close/>
                <a:moveTo>
                  <a:pt x="271" y="507"/>
                </a:moveTo>
                <a:cubicBezTo>
                  <a:pt x="271" y="505"/>
                  <a:pt x="271" y="509"/>
                  <a:pt x="271" y="507"/>
                </a:cubicBezTo>
                <a:close/>
                <a:moveTo>
                  <a:pt x="273" y="532"/>
                </a:moveTo>
                <a:cubicBezTo>
                  <a:pt x="273" y="532"/>
                  <a:pt x="273" y="533"/>
                  <a:pt x="273" y="533"/>
                </a:cubicBezTo>
                <a:cubicBezTo>
                  <a:pt x="270" y="531"/>
                  <a:pt x="277" y="530"/>
                  <a:pt x="273" y="532"/>
                </a:cubicBezTo>
                <a:close/>
                <a:moveTo>
                  <a:pt x="273" y="556"/>
                </a:moveTo>
                <a:cubicBezTo>
                  <a:pt x="273" y="555"/>
                  <a:pt x="274" y="555"/>
                  <a:pt x="274" y="555"/>
                </a:cubicBezTo>
                <a:cubicBezTo>
                  <a:pt x="277" y="555"/>
                  <a:pt x="274" y="558"/>
                  <a:pt x="273" y="556"/>
                </a:cubicBezTo>
                <a:close/>
                <a:moveTo>
                  <a:pt x="270" y="624"/>
                </a:moveTo>
                <a:cubicBezTo>
                  <a:pt x="270" y="624"/>
                  <a:pt x="269" y="624"/>
                  <a:pt x="269" y="624"/>
                </a:cubicBezTo>
                <a:cubicBezTo>
                  <a:pt x="269" y="623"/>
                  <a:pt x="271" y="623"/>
                  <a:pt x="270" y="624"/>
                </a:cubicBezTo>
                <a:close/>
                <a:moveTo>
                  <a:pt x="266" y="617"/>
                </a:moveTo>
                <a:cubicBezTo>
                  <a:pt x="266" y="615"/>
                  <a:pt x="269" y="616"/>
                  <a:pt x="269" y="617"/>
                </a:cubicBezTo>
                <a:cubicBezTo>
                  <a:pt x="269" y="618"/>
                  <a:pt x="267" y="618"/>
                  <a:pt x="266" y="617"/>
                </a:cubicBezTo>
                <a:close/>
                <a:moveTo>
                  <a:pt x="271" y="647"/>
                </a:moveTo>
                <a:cubicBezTo>
                  <a:pt x="271" y="648"/>
                  <a:pt x="269" y="648"/>
                  <a:pt x="269" y="647"/>
                </a:cubicBezTo>
                <a:cubicBezTo>
                  <a:pt x="269" y="647"/>
                  <a:pt x="270" y="646"/>
                  <a:pt x="271" y="647"/>
                </a:cubicBezTo>
                <a:close/>
                <a:moveTo>
                  <a:pt x="270" y="628"/>
                </a:moveTo>
                <a:cubicBezTo>
                  <a:pt x="270" y="627"/>
                  <a:pt x="273" y="626"/>
                  <a:pt x="273" y="628"/>
                </a:cubicBezTo>
                <a:cubicBezTo>
                  <a:pt x="273" y="628"/>
                  <a:pt x="270" y="630"/>
                  <a:pt x="270" y="628"/>
                </a:cubicBezTo>
                <a:close/>
                <a:moveTo>
                  <a:pt x="273" y="613"/>
                </a:moveTo>
                <a:cubicBezTo>
                  <a:pt x="273" y="614"/>
                  <a:pt x="271" y="614"/>
                  <a:pt x="271" y="614"/>
                </a:cubicBezTo>
                <a:cubicBezTo>
                  <a:pt x="270" y="613"/>
                  <a:pt x="272" y="613"/>
                  <a:pt x="273" y="613"/>
                </a:cubicBezTo>
                <a:close/>
                <a:moveTo>
                  <a:pt x="270" y="571"/>
                </a:moveTo>
                <a:cubicBezTo>
                  <a:pt x="270" y="571"/>
                  <a:pt x="270" y="571"/>
                  <a:pt x="270" y="571"/>
                </a:cubicBezTo>
                <a:cubicBezTo>
                  <a:pt x="270" y="569"/>
                  <a:pt x="272" y="572"/>
                  <a:pt x="270" y="571"/>
                </a:cubicBezTo>
                <a:close/>
                <a:moveTo>
                  <a:pt x="271" y="564"/>
                </a:moveTo>
                <a:cubicBezTo>
                  <a:pt x="269" y="565"/>
                  <a:pt x="268" y="566"/>
                  <a:pt x="267" y="566"/>
                </a:cubicBezTo>
                <a:cubicBezTo>
                  <a:pt x="268" y="565"/>
                  <a:pt x="269" y="564"/>
                  <a:pt x="271" y="564"/>
                </a:cubicBezTo>
                <a:close/>
                <a:moveTo>
                  <a:pt x="271" y="572"/>
                </a:moveTo>
                <a:cubicBezTo>
                  <a:pt x="269" y="573"/>
                  <a:pt x="269" y="574"/>
                  <a:pt x="271" y="574"/>
                </a:cubicBezTo>
                <a:cubicBezTo>
                  <a:pt x="270" y="576"/>
                  <a:pt x="266" y="579"/>
                  <a:pt x="263" y="577"/>
                </a:cubicBezTo>
                <a:cubicBezTo>
                  <a:pt x="258" y="573"/>
                  <a:pt x="266" y="568"/>
                  <a:pt x="271" y="572"/>
                </a:cubicBezTo>
                <a:close/>
                <a:moveTo>
                  <a:pt x="264" y="612"/>
                </a:moveTo>
                <a:cubicBezTo>
                  <a:pt x="265" y="612"/>
                  <a:pt x="263" y="612"/>
                  <a:pt x="263" y="612"/>
                </a:cubicBezTo>
                <a:cubicBezTo>
                  <a:pt x="263" y="611"/>
                  <a:pt x="264" y="611"/>
                  <a:pt x="264" y="612"/>
                </a:cubicBezTo>
                <a:close/>
                <a:moveTo>
                  <a:pt x="266" y="632"/>
                </a:moveTo>
                <a:cubicBezTo>
                  <a:pt x="266" y="632"/>
                  <a:pt x="266" y="632"/>
                  <a:pt x="266" y="632"/>
                </a:cubicBezTo>
                <a:cubicBezTo>
                  <a:pt x="265" y="630"/>
                  <a:pt x="268" y="633"/>
                  <a:pt x="266" y="632"/>
                </a:cubicBezTo>
                <a:close/>
                <a:moveTo>
                  <a:pt x="276" y="663"/>
                </a:moveTo>
                <a:cubicBezTo>
                  <a:pt x="274" y="664"/>
                  <a:pt x="273" y="665"/>
                  <a:pt x="271" y="665"/>
                </a:cubicBezTo>
                <a:cubicBezTo>
                  <a:pt x="272" y="663"/>
                  <a:pt x="274" y="663"/>
                  <a:pt x="276" y="663"/>
                </a:cubicBezTo>
                <a:close/>
                <a:moveTo>
                  <a:pt x="270" y="486"/>
                </a:moveTo>
                <a:cubicBezTo>
                  <a:pt x="270" y="486"/>
                  <a:pt x="270" y="486"/>
                  <a:pt x="270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0" y="485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lose/>
                <a:moveTo>
                  <a:pt x="274" y="496"/>
                </a:moveTo>
                <a:cubicBezTo>
                  <a:pt x="274" y="499"/>
                  <a:pt x="269" y="498"/>
                  <a:pt x="269" y="496"/>
                </a:cubicBezTo>
                <a:cubicBezTo>
                  <a:pt x="269" y="496"/>
                  <a:pt x="274" y="494"/>
                  <a:pt x="274" y="496"/>
                </a:cubicBezTo>
                <a:close/>
                <a:moveTo>
                  <a:pt x="276" y="504"/>
                </a:moveTo>
                <a:cubicBezTo>
                  <a:pt x="274" y="506"/>
                  <a:pt x="271" y="506"/>
                  <a:pt x="269" y="507"/>
                </a:cubicBezTo>
                <a:cubicBezTo>
                  <a:pt x="270" y="506"/>
                  <a:pt x="274" y="504"/>
                  <a:pt x="276" y="504"/>
                </a:cubicBezTo>
                <a:close/>
                <a:moveTo>
                  <a:pt x="268" y="467"/>
                </a:moveTo>
                <a:cubicBezTo>
                  <a:pt x="268" y="468"/>
                  <a:pt x="268" y="468"/>
                  <a:pt x="267" y="468"/>
                </a:cubicBezTo>
                <a:cubicBezTo>
                  <a:pt x="267" y="468"/>
                  <a:pt x="268" y="467"/>
                  <a:pt x="268" y="467"/>
                </a:cubicBezTo>
                <a:close/>
                <a:moveTo>
                  <a:pt x="267" y="506"/>
                </a:moveTo>
                <a:cubicBezTo>
                  <a:pt x="268" y="506"/>
                  <a:pt x="267" y="507"/>
                  <a:pt x="267" y="507"/>
                </a:cubicBezTo>
                <a:cubicBezTo>
                  <a:pt x="266" y="506"/>
                  <a:pt x="267" y="506"/>
                  <a:pt x="267" y="506"/>
                </a:cubicBezTo>
                <a:close/>
                <a:moveTo>
                  <a:pt x="264" y="562"/>
                </a:moveTo>
                <a:cubicBezTo>
                  <a:pt x="265" y="562"/>
                  <a:pt x="262" y="562"/>
                  <a:pt x="262" y="562"/>
                </a:cubicBezTo>
                <a:cubicBezTo>
                  <a:pt x="262" y="562"/>
                  <a:pt x="264" y="561"/>
                  <a:pt x="264" y="562"/>
                </a:cubicBezTo>
                <a:close/>
                <a:moveTo>
                  <a:pt x="262" y="562"/>
                </a:moveTo>
                <a:cubicBezTo>
                  <a:pt x="261" y="563"/>
                  <a:pt x="260" y="561"/>
                  <a:pt x="262" y="562"/>
                </a:cubicBezTo>
                <a:close/>
                <a:moveTo>
                  <a:pt x="260" y="440"/>
                </a:moveTo>
                <a:cubicBezTo>
                  <a:pt x="261" y="440"/>
                  <a:pt x="260" y="441"/>
                  <a:pt x="260" y="441"/>
                </a:cubicBezTo>
                <a:cubicBezTo>
                  <a:pt x="257" y="443"/>
                  <a:pt x="259" y="439"/>
                  <a:pt x="260" y="440"/>
                </a:cubicBezTo>
                <a:close/>
                <a:moveTo>
                  <a:pt x="257" y="484"/>
                </a:moveTo>
                <a:cubicBezTo>
                  <a:pt x="257" y="484"/>
                  <a:pt x="257" y="483"/>
                  <a:pt x="257" y="483"/>
                </a:cubicBezTo>
                <a:cubicBezTo>
                  <a:pt x="257" y="484"/>
                  <a:pt x="257" y="484"/>
                  <a:pt x="257" y="484"/>
                </a:cubicBezTo>
                <a:cubicBezTo>
                  <a:pt x="257" y="484"/>
                  <a:pt x="257" y="484"/>
                  <a:pt x="257" y="484"/>
                </a:cubicBezTo>
                <a:close/>
                <a:moveTo>
                  <a:pt x="256" y="495"/>
                </a:moveTo>
                <a:cubicBezTo>
                  <a:pt x="255" y="496"/>
                  <a:pt x="255" y="496"/>
                  <a:pt x="254" y="495"/>
                </a:cubicBezTo>
                <a:cubicBezTo>
                  <a:pt x="254" y="494"/>
                  <a:pt x="257" y="494"/>
                  <a:pt x="256" y="495"/>
                </a:cubicBezTo>
                <a:close/>
                <a:moveTo>
                  <a:pt x="252" y="519"/>
                </a:moveTo>
                <a:cubicBezTo>
                  <a:pt x="252" y="519"/>
                  <a:pt x="252" y="520"/>
                  <a:pt x="252" y="520"/>
                </a:cubicBezTo>
                <a:cubicBezTo>
                  <a:pt x="251" y="519"/>
                  <a:pt x="252" y="518"/>
                  <a:pt x="252" y="519"/>
                </a:cubicBezTo>
                <a:close/>
                <a:moveTo>
                  <a:pt x="250" y="460"/>
                </a:moveTo>
                <a:cubicBezTo>
                  <a:pt x="251" y="459"/>
                  <a:pt x="251" y="460"/>
                  <a:pt x="251" y="461"/>
                </a:cubicBezTo>
                <a:cubicBezTo>
                  <a:pt x="250" y="462"/>
                  <a:pt x="249" y="460"/>
                  <a:pt x="250" y="460"/>
                </a:cubicBezTo>
                <a:close/>
                <a:moveTo>
                  <a:pt x="253" y="530"/>
                </a:moveTo>
                <a:cubicBezTo>
                  <a:pt x="254" y="528"/>
                  <a:pt x="259" y="522"/>
                  <a:pt x="261" y="522"/>
                </a:cubicBezTo>
                <a:cubicBezTo>
                  <a:pt x="264" y="521"/>
                  <a:pt x="260" y="524"/>
                  <a:pt x="259" y="524"/>
                </a:cubicBezTo>
                <a:cubicBezTo>
                  <a:pt x="257" y="526"/>
                  <a:pt x="255" y="529"/>
                  <a:pt x="253" y="531"/>
                </a:cubicBezTo>
                <a:cubicBezTo>
                  <a:pt x="253" y="531"/>
                  <a:pt x="253" y="531"/>
                  <a:pt x="253" y="531"/>
                </a:cubicBezTo>
                <a:cubicBezTo>
                  <a:pt x="253" y="531"/>
                  <a:pt x="253" y="532"/>
                  <a:pt x="252" y="532"/>
                </a:cubicBezTo>
                <a:cubicBezTo>
                  <a:pt x="252" y="532"/>
                  <a:pt x="252" y="532"/>
                  <a:pt x="252" y="532"/>
                </a:cubicBezTo>
                <a:cubicBezTo>
                  <a:pt x="251" y="533"/>
                  <a:pt x="251" y="533"/>
                  <a:pt x="250" y="534"/>
                </a:cubicBezTo>
                <a:cubicBezTo>
                  <a:pt x="250" y="534"/>
                  <a:pt x="249" y="533"/>
                  <a:pt x="249" y="533"/>
                </a:cubicBezTo>
                <a:cubicBezTo>
                  <a:pt x="249" y="533"/>
                  <a:pt x="251" y="531"/>
                  <a:pt x="253" y="530"/>
                </a:cubicBezTo>
                <a:close/>
                <a:moveTo>
                  <a:pt x="253" y="640"/>
                </a:moveTo>
                <a:cubicBezTo>
                  <a:pt x="253" y="638"/>
                  <a:pt x="257" y="638"/>
                  <a:pt x="258" y="639"/>
                </a:cubicBezTo>
                <a:cubicBezTo>
                  <a:pt x="259" y="641"/>
                  <a:pt x="254" y="642"/>
                  <a:pt x="253" y="640"/>
                </a:cubicBezTo>
                <a:close/>
                <a:moveTo>
                  <a:pt x="255" y="652"/>
                </a:moveTo>
                <a:cubicBezTo>
                  <a:pt x="256" y="653"/>
                  <a:pt x="254" y="653"/>
                  <a:pt x="254" y="652"/>
                </a:cubicBezTo>
                <a:cubicBezTo>
                  <a:pt x="253" y="651"/>
                  <a:pt x="255" y="651"/>
                  <a:pt x="255" y="652"/>
                </a:cubicBezTo>
                <a:close/>
                <a:moveTo>
                  <a:pt x="240" y="645"/>
                </a:moveTo>
                <a:cubicBezTo>
                  <a:pt x="238" y="644"/>
                  <a:pt x="237" y="642"/>
                  <a:pt x="239" y="640"/>
                </a:cubicBezTo>
                <a:cubicBezTo>
                  <a:pt x="240" y="639"/>
                  <a:pt x="242" y="639"/>
                  <a:pt x="244" y="639"/>
                </a:cubicBezTo>
                <a:cubicBezTo>
                  <a:pt x="245" y="639"/>
                  <a:pt x="247" y="639"/>
                  <a:pt x="247" y="640"/>
                </a:cubicBezTo>
                <a:cubicBezTo>
                  <a:pt x="247" y="640"/>
                  <a:pt x="247" y="640"/>
                  <a:pt x="246" y="640"/>
                </a:cubicBezTo>
                <a:cubicBezTo>
                  <a:pt x="246" y="640"/>
                  <a:pt x="247" y="640"/>
                  <a:pt x="247" y="640"/>
                </a:cubicBezTo>
                <a:cubicBezTo>
                  <a:pt x="247" y="640"/>
                  <a:pt x="247" y="641"/>
                  <a:pt x="247" y="641"/>
                </a:cubicBezTo>
                <a:cubicBezTo>
                  <a:pt x="248" y="642"/>
                  <a:pt x="242" y="646"/>
                  <a:pt x="240" y="645"/>
                </a:cubicBezTo>
                <a:close/>
                <a:moveTo>
                  <a:pt x="241" y="660"/>
                </a:moveTo>
                <a:cubicBezTo>
                  <a:pt x="240" y="661"/>
                  <a:pt x="239" y="660"/>
                  <a:pt x="240" y="659"/>
                </a:cubicBezTo>
                <a:cubicBezTo>
                  <a:pt x="240" y="659"/>
                  <a:pt x="242" y="659"/>
                  <a:pt x="241" y="660"/>
                </a:cubicBezTo>
                <a:close/>
                <a:moveTo>
                  <a:pt x="250" y="593"/>
                </a:moveTo>
                <a:cubicBezTo>
                  <a:pt x="247" y="595"/>
                  <a:pt x="244" y="594"/>
                  <a:pt x="240" y="596"/>
                </a:cubicBezTo>
                <a:cubicBezTo>
                  <a:pt x="243" y="594"/>
                  <a:pt x="247" y="594"/>
                  <a:pt x="250" y="593"/>
                </a:cubicBezTo>
                <a:close/>
                <a:moveTo>
                  <a:pt x="245" y="578"/>
                </a:moveTo>
                <a:cubicBezTo>
                  <a:pt x="246" y="579"/>
                  <a:pt x="245" y="579"/>
                  <a:pt x="245" y="579"/>
                </a:cubicBezTo>
                <a:cubicBezTo>
                  <a:pt x="243" y="581"/>
                  <a:pt x="244" y="577"/>
                  <a:pt x="245" y="578"/>
                </a:cubicBezTo>
                <a:close/>
                <a:moveTo>
                  <a:pt x="253" y="551"/>
                </a:moveTo>
                <a:cubicBezTo>
                  <a:pt x="254" y="550"/>
                  <a:pt x="255" y="549"/>
                  <a:pt x="257" y="549"/>
                </a:cubicBezTo>
                <a:cubicBezTo>
                  <a:pt x="256" y="550"/>
                  <a:pt x="254" y="551"/>
                  <a:pt x="253" y="551"/>
                </a:cubicBezTo>
                <a:close/>
                <a:moveTo>
                  <a:pt x="255" y="555"/>
                </a:moveTo>
                <a:cubicBezTo>
                  <a:pt x="253" y="557"/>
                  <a:pt x="254" y="552"/>
                  <a:pt x="256" y="554"/>
                </a:cubicBezTo>
                <a:cubicBezTo>
                  <a:pt x="257" y="554"/>
                  <a:pt x="256" y="555"/>
                  <a:pt x="255" y="555"/>
                </a:cubicBezTo>
                <a:close/>
                <a:moveTo>
                  <a:pt x="258" y="564"/>
                </a:moveTo>
                <a:cubicBezTo>
                  <a:pt x="258" y="566"/>
                  <a:pt x="252" y="567"/>
                  <a:pt x="252" y="564"/>
                </a:cubicBezTo>
                <a:cubicBezTo>
                  <a:pt x="252" y="561"/>
                  <a:pt x="258" y="562"/>
                  <a:pt x="258" y="564"/>
                </a:cubicBezTo>
                <a:close/>
                <a:moveTo>
                  <a:pt x="257" y="589"/>
                </a:moveTo>
                <a:cubicBezTo>
                  <a:pt x="256" y="590"/>
                  <a:pt x="258" y="588"/>
                  <a:pt x="257" y="589"/>
                </a:cubicBezTo>
                <a:close/>
                <a:moveTo>
                  <a:pt x="254" y="619"/>
                </a:moveTo>
                <a:cubicBezTo>
                  <a:pt x="254" y="619"/>
                  <a:pt x="253" y="619"/>
                  <a:pt x="254" y="619"/>
                </a:cubicBezTo>
                <a:close/>
                <a:moveTo>
                  <a:pt x="254" y="612"/>
                </a:moveTo>
                <a:cubicBezTo>
                  <a:pt x="254" y="612"/>
                  <a:pt x="254" y="613"/>
                  <a:pt x="254" y="613"/>
                </a:cubicBezTo>
                <a:cubicBezTo>
                  <a:pt x="253" y="613"/>
                  <a:pt x="254" y="612"/>
                  <a:pt x="254" y="612"/>
                </a:cubicBezTo>
                <a:close/>
                <a:moveTo>
                  <a:pt x="254" y="619"/>
                </a:moveTo>
                <a:cubicBezTo>
                  <a:pt x="257" y="616"/>
                  <a:pt x="255" y="621"/>
                  <a:pt x="254" y="620"/>
                </a:cubicBezTo>
                <a:cubicBezTo>
                  <a:pt x="254" y="620"/>
                  <a:pt x="254" y="619"/>
                  <a:pt x="254" y="619"/>
                </a:cubicBezTo>
                <a:close/>
                <a:moveTo>
                  <a:pt x="253" y="608"/>
                </a:moveTo>
                <a:cubicBezTo>
                  <a:pt x="250" y="609"/>
                  <a:pt x="255" y="604"/>
                  <a:pt x="257" y="605"/>
                </a:cubicBezTo>
                <a:cubicBezTo>
                  <a:pt x="256" y="605"/>
                  <a:pt x="254" y="607"/>
                  <a:pt x="253" y="608"/>
                </a:cubicBezTo>
                <a:close/>
                <a:moveTo>
                  <a:pt x="255" y="600"/>
                </a:moveTo>
                <a:cubicBezTo>
                  <a:pt x="254" y="602"/>
                  <a:pt x="252" y="601"/>
                  <a:pt x="255" y="600"/>
                </a:cubicBezTo>
                <a:close/>
                <a:moveTo>
                  <a:pt x="256" y="599"/>
                </a:moveTo>
                <a:cubicBezTo>
                  <a:pt x="255" y="599"/>
                  <a:pt x="256" y="598"/>
                  <a:pt x="256" y="599"/>
                </a:cubicBezTo>
                <a:cubicBezTo>
                  <a:pt x="256" y="599"/>
                  <a:pt x="256" y="599"/>
                  <a:pt x="256" y="599"/>
                </a:cubicBezTo>
                <a:close/>
                <a:moveTo>
                  <a:pt x="253" y="571"/>
                </a:moveTo>
                <a:cubicBezTo>
                  <a:pt x="253" y="571"/>
                  <a:pt x="252" y="572"/>
                  <a:pt x="252" y="571"/>
                </a:cubicBezTo>
                <a:cubicBezTo>
                  <a:pt x="251" y="570"/>
                  <a:pt x="253" y="570"/>
                  <a:pt x="253" y="571"/>
                </a:cubicBezTo>
                <a:close/>
                <a:moveTo>
                  <a:pt x="251" y="558"/>
                </a:moveTo>
                <a:cubicBezTo>
                  <a:pt x="251" y="557"/>
                  <a:pt x="253" y="556"/>
                  <a:pt x="253" y="557"/>
                </a:cubicBezTo>
                <a:cubicBezTo>
                  <a:pt x="253" y="558"/>
                  <a:pt x="252" y="558"/>
                  <a:pt x="251" y="558"/>
                </a:cubicBezTo>
                <a:close/>
                <a:moveTo>
                  <a:pt x="246" y="555"/>
                </a:moveTo>
                <a:cubicBezTo>
                  <a:pt x="247" y="553"/>
                  <a:pt x="251" y="552"/>
                  <a:pt x="253" y="551"/>
                </a:cubicBezTo>
                <a:cubicBezTo>
                  <a:pt x="251" y="553"/>
                  <a:pt x="248" y="554"/>
                  <a:pt x="246" y="555"/>
                </a:cubicBezTo>
                <a:close/>
                <a:moveTo>
                  <a:pt x="245" y="613"/>
                </a:moveTo>
                <a:cubicBezTo>
                  <a:pt x="244" y="615"/>
                  <a:pt x="242" y="615"/>
                  <a:pt x="240" y="615"/>
                </a:cubicBezTo>
                <a:cubicBezTo>
                  <a:pt x="241" y="614"/>
                  <a:pt x="243" y="613"/>
                  <a:pt x="244" y="613"/>
                </a:cubicBezTo>
                <a:cubicBezTo>
                  <a:pt x="244" y="613"/>
                  <a:pt x="243" y="613"/>
                  <a:pt x="244" y="612"/>
                </a:cubicBezTo>
                <a:cubicBezTo>
                  <a:pt x="244" y="611"/>
                  <a:pt x="247" y="612"/>
                  <a:pt x="247" y="612"/>
                </a:cubicBezTo>
                <a:cubicBezTo>
                  <a:pt x="247" y="613"/>
                  <a:pt x="246" y="613"/>
                  <a:pt x="245" y="613"/>
                </a:cubicBezTo>
                <a:cubicBezTo>
                  <a:pt x="245" y="613"/>
                  <a:pt x="245" y="613"/>
                  <a:pt x="245" y="613"/>
                </a:cubicBezTo>
                <a:close/>
                <a:moveTo>
                  <a:pt x="241" y="634"/>
                </a:moveTo>
                <a:cubicBezTo>
                  <a:pt x="241" y="634"/>
                  <a:pt x="241" y="634"/>
                  <a:pt x="242" y="634"/>
                </a:cubicBezTo>
                <a:cubicBezTo>
                  <a:pt x="242" y="634"/>
                  <a:pt x="242" y="635"/>
                  <a:pt x="241" y="634"/>
                </a:cubicBezTo>
                <a:close/>
                <a:moveTo>
                  <a:pt x="240" y="485"/>
                </a:moveTo>
                <a:cubicBezTo>
                  <a:pt x="240" y="485"/>
                  <a:pt x="241" y="484"/>
                  <a:pt x="241" y="484"/>
                </a:cubicBezTo>
                <a:cubicBezTo>
                  <a:pt x="241" y="485"/>
                  <a:pt x="240" y="485"/>
                  <a:pt x="240" y="485"/>
                </a:cubicBezTo>
                <a:close/>
                <a:moveTo>
                  <a:pt x="240" y="535"/>
                </a:moveTo>
                <a:cubicBezTo>
                  <a:pt x="240" y="535"/>
                  <a:pt x="240" y="535"/>
                  <a:pt x="239" y="535"/>
                </a:cubicBezTo>
                <a:cubicBezTo>
                  <a:pt x="239" y="535"/>
                  <a:pt x="240" y="534"/>
                  <a:pt x="240" y="535"/>
                </a:cubicBezTo>
                <a:close/>
                <a:moveTo>
                  <a:pt x="243" y="647"/>
                </a:moveTo>
                <a:cubicBezTo>
                  <a:pt x="243" y="646"/>
                  <a:pt x="244" y="647"/>
                  <a:pt x="243" y="647"/>
                </a:cubicBezTo>
                <a:close/>
                <a:moveTo>
                  <a:pt x="243" y="664"/>
                </a:moveTo>
                <a:cubicBezTo>
                  <a:pt x="242" y="665"/>
                  <a:pt x="242" y="663"/>
                  <a:pt x="243" y="664"/>
                </a:cubicBezTo>
                <a:close/>
                <a:moveTo>
                  <a:pt x="244" y="665"/>
                </a:moveTo>
                <a:cubicBezTo>
                  <a:pt x="244" y="666"/>
                  <a:pt x="243" y="666"/>
                  <a:pt x="243" y="666"/>
                </a:cubicBezTo>
                <a:cubicBezTo>
                  <a:pt x="242" y="665"/>
                  <a:pt x="244" y="665"/>
                  <a:pt x="244" y="665"/>
                </a:cubicBezTo>
                <a:close/>
                <a:moveTo>
                  <a:pt x="244" y="658"/>
                </a:moveTo>
                <a:cubicBezTo>
                  <a:pt x="244" y="656"/>
                  <a:pt x="249" y="657"/>
                  <a:pt x="247" y="659"/>
                </a:cubicBezTo>
                <a:cubicBezTo>
                  <a:pt x="247" y="660"/>
                  <a:pt x="244" y="659"/>
                  <a:pt x="244" y="658"/>
                </a:cubicBezTo>
                <a:close/>
                <a:moveTo>
                  <a:pt x="248" y="619"/>
                </a:moveTo>
                <a:cubicBezTo>
                  <a:pt x="246" y="620"/>
                  <a:pt x="246" y="618"/>
                  <a:pt x="248" y="619"/>
                </a:cubicBezTo>
                <a:close/>
                <a:moveTo>
                  <a:pt x="249" y="639"/>
                </a:moveTo>
                <a:cubicBezTo>
                  <a:pt x="250" y="640"/>
                  <a:pt x="249" y="640"/>
                  <a:pt x="249" y="640"/>
                </a:cubicBezTo>
                <a:cubicBezTo>
                  <a:pt x="247" y="642"/>
                  <a:pt x="248" y="638"/>
                  <a:pt x="249" y="639"/>
                </a:cubicBezTo>
                <a:close/>
                <a:moveTo>
                  <a:pt x="249" y="606"/>
                </a:moveTo>
                <a:cubicBezTo>
                  <a:pt x="248" y="605"/>
                  <a:pt x="251" y="605"/>
                  <a:pt x="251" y="605"/>
                </a:cubicBezTo>
                <a:cubicBezTo>
                  <a:pt x="251" y="606"/>
                  <a:pt x="249" y="606"/>
                  <a:pt x="249" y="606"/>
                </a:cubicBezTo>
                <a:close/>
                <a:moveTo>
                  <a:pt x="247" y="598"/>
                </a:moveTo>
                <a:cubicBezTo>
                  <a:pt x="247" y="598"/>
                  <a:pt x="248" y="596"/>
                  <a:pt x="248" y="596"/>
                </a:cubicBezTo>
                <a:cubicBezTo>
                  <a:pt x="249" y="595"/>
                  <a:pt x="250" y="594"/>
                  <a:pt x="251" y="596"/>
                </a:cubicBezTo>
                <a:cubicBezTo>
                  <a:pt x="251" y="596"/>
                  <a:pt x="251" y="596"/>
                  <a:pt x="250" y="597"/>
                </a:cubicBezTo>
                <a:cubicBezTo>
                  <a:pt x="251" y="597"/>
                  <a:pt x="253" y="598"/>
                  <a:pt x="253" y="598"/>
                </a:cubicBezTo>
                <a:cubicBezTo>
                  <a:pt x="254" y="602"/>
                  <a:pt x="247" y="599"/>
                  <a:pt x="247" y="598"/>
                </a:cubicBezTo>
                <a:close/>
                <a:moveTo>
                  <a:pt x="253" y="601"/>
                </a:moveTo>
                <a:cubicBezTo>
                  <a:pt x="253" y="602"/>
                  <a:pt x="252" y="602"/>
                  <a:pt x="251" y="602"/>
                </a:cubicBezTo>
                <a:cubicBezTo>
                  <a:pt x="251" y="602"/>
                  <a:pt x="252" y="601"/>
                  <a:pt x="253" y="601"/>
                </a:cubicBezTo>
                <a:close/>
                <a:moveTo>
                  <a:pt x="253" y="609"/>
                </a:moveTo>
                <a:cubicBezTo>
                  <a:pt x="254" y="609"/>
                  <a:pt x="252" y="610"/>
                  <a:pt x="252" y="610"/>
                </a:cubicBezTo>
                <a:cubicBezTo>
                  <a:pt x="251" y="609"/>
                  <a:pt x="253" y="608"/>
                  <a:pt x="253" y="609"/>
                </a:cubicBezTo>
                <a:close/>
                <a:moveTo>
                  <a:pt x="254" y="650"/>
                </a:moveTo>
                <a:cubicBezTo>
                  <a:pt x="253" y="652"/>
                  <a:pt x="252" y="649"/>
                  <a:pt x="254" y="650"/>
                </a:cubicBezTo>
                <a:close/>
                <a:moveTo>
                  <a:pt x="256" y="592"/>
                </a:moveTo>
                <a:cubicBezTo>
                  <a:pt x="255" y="590"/>
                  <a:pt x="259" y="590"/>
                  <a:pt x="260" y="591"/>
                </a:cubicBezTo>
                <a:cubicBezTo>
                  <a:pt x="260" y="592"/>
                  <a:pt x="256" y="594"/>
                  <a:pt x="256" y="592"/>
                </a:cubicBezTo>
                <a:close/>
                <a:moveTo>
                  <a:pt x="249" y="520"/>
                </a:moveTo>
                <a:cubicBezTo>
                  <a:pt x="249" y="520"/>
                  <a:pt x="249" y="521"/>
                  <a:pt x="249" y="521"/>
                </a:cubicBezTo>
                <a:cubicBezTo>
                  <a:pt x="248" y="522"/>
                  <a:pt x="248" y="519"/>
                  <a:pt x="249" y="520"/>
                </a:cubicBezTo>
                <a:close/>
                <a:moveTo>
                  <a:pt x="249" y="536"/>
                </a:moveTo>
                <a:cubicBezTo>
                  <a:pt x="249" y="538"/>
                  <a:pt x="244" y="540"/>
                  <a:pt x="244" y="536"/>
                </a:cubicBezTo>
                <a:cubicBezTo>
                  <a:pt x="244" y="535"/>
                  <a:pt x="249" y="534"/>
                  <a:pt x="249" y="536"/>
                </a:cubicBezTo>
                <a:close/>
                <a:moveTo>
                  <a:pt x="244" y="450"/>
                </a:moveTo>
                <a:cubicBezTo>
                  <a:pt x="244" y="450"/>
                  <a:pt x="244" y="450"/>
                  <a:pt x="244" y="450"/>
                </a:cubicBezTo>
                <a:cubicBezTo>
                  <a:pt x="243" y="450"/>
                  <a:pt x="244" y="449"/>
                  <a:pt x="244" y="450"/>
                </a:cubicBezTo>
                <a:close/>
                <a:moveTo>
                  <a:pt x="243" y="420"/>
                </a:moveTo>
                <a:cubicBezTo>
                  <a:pt x="243" y="420"/>
                  <a:pt x="243" y="420"/>
                  <a:pt x="243" y="420"/>
                </a:cubicBezTo>
                <a:cubicBezTo>
                  <a:pt x="244" y="420"/>
                  <a:pt x="244" y="420"/>
                  <a:pt x="243" y="420"/>
                </a:cubicBezTo>
                <a:close/>
                <a:moveTo>
                  <a:pt x="241" y="504"/>
                </a:moveTo>
                <a:cubicBezTo>
                  <a:pt x="240" y="502"/>
                  <a:pt x="243" y="504"/>
                  <a:pt x="241" y="504"/>
                </a:cubicBezTo>
                <a:close/>
                <a:moveTo>
                  <a:pt x="235" y="479"/>
                </a:moveTo>
                <a:cubicBezTo>
                  <a:pt x="236" y="477"/>
                  <a:pt x="240" y="471"/>
                  <a:pt x="242" y="470"/>
                </a:cubicBezTo>
                <a:cubicBezTo>
                  <a:pt x="240" y="473"/>
                  <a:pt x="238" y="476"/>
                  <a:pt x="235" y="479"/>
                </a:cubicBezTo>
                <a:close/>
                <a:moveTo>
                  <a:pt x="236" y="507"/>
                </a:moveTo>
                <a:cubicBezTo>
                  <a:pt x="236" y="508"/>
                  <a:pt x="235" y="508"/>
                  <a:pt x="235" y="507"/>
                </a:cubicBezTo>
                <a:cubicBezTo>
                  <a:pt x="235" y="506"/>
                  <a:pt x="236" y="507"/>
                  <a:pt x="236" y="507"/>
                </a:cubicBezTo>
                <a:close/>
                <a:moveTo>
                  <a:pt x="242" y="337"/>
                </a:moveTo>
                <a:cubicBezTo>
                  <a:pt x="240" y="339"/>
                  <a:pt x="238" y="341"/>
                  <a:pt x="235" y="343"/>
                </a:cubicBezTo>
                <a:cubicBezTo>
                  <a:pt x="237" y="341"/>
                  <a:pt x="240" y="338"/>
                  <a:pt x="242" y="337"/>
                </a:cubicBezTo>
                <a:close/>
                <a:moveTo>
                  <a:pt x="235" y="428"/>
                </a:moveTo>
                <a:cubicBezTo>
                  <a:pt x="235" y="427"/>
                  <a:pt x="234" y="429"/>
                  <a:pt x="235" y="428"/>
                </a:cubicBezTo>
                <a:close/>
                <a:moveTo>
                  <a:pt x="236" y="488"/>
                </a:moveTo>
                <a:cubicBezTo>
                  <a:pt x="233" y="491"/>
                  <a:pt x="233" y="494"/>
                  <a:pt x="230" y="496"/>
                </a:cubicBezTo>
                <a:cubicBezTo>
                  <a:pt x="231" y="494"/>
                  <a:pt x="233" y="489"/>
                  <a:pt x="236" y="488"/>
                </a:cubicBezTo>
                <a:close/>
                <a:moveTo>
                  <a:pt x="235" y="529"/>
                </a:moveTo>
                <a:cubicBezTo>
                  <a:pt x="235" y="529"/>
                  <a:pt x="234" y="529"/>
                  <a:pt x="234" y="529"/>
                </a:cubicBezTo>
                <a:cubicBezTo>
                  <a:pt x="234" y="528"/>
                  <a:pt x="235" y="529"/>
                  <a:pt x="235" y="529"/>
                </a:cubicBezTo>
                <a:close/>
                <a:moveTo>
                  <a:pt x="232" y="503"/>
                </a:moveTo>
                <a:cubicBezTo>
                  <a:pt x="232" y="504"/>
                  <a:pt x="231" y="504"/>
                  <a:pt x="231" y="504"/>
                </a:cubicBezTo>
                <a:cubicBezTo>
                  <a:pt x="231" y="503"/>
                  <a:pt x="232" y="502"/>
                  <a:pt x="232" y="503"/>
                </a:cubicBezTo>
                <a:close/>
                <a:moveTo>
                  <a:pt x="233" y="322"/>
                </a:moveTo>
                <a:cubicBezTo>
                  <a:pt x="234" y="320"/>
                  <a:pt x="232" y="323"/>
                  <a:pt x="233" y="322"/>
                </a:cubicBezTo>
                <a:close/>
                <a:moveTo>
                  <a:pt x="233" y="463"/>
                </a:moveTo>
                <a:cubicBezTo>
                  <a:pt x="232" y="465"/>
                  <a:pt x="234" y="462"/>
                  <a:pt x="233" y="463"/>
                </a:cubicBezTo>
                <a:close/>
                <a:moveTo>
                  <a:pt x="232" y="465"/>
                </a:moveTo>
                <a:cubicBezTo>
                  <a:pt x="233" y="467"/>
                  <a:pt x="229" y="469"/>
                  <a:pt x="228" y="466"/>
                </a:cubicBezTo>
                <a:cubicBezTo>
                  <a:pt x="228" y="464"/>
                  <a:pt x="231" y="463"/>
                  <a:pt x="232" y="465"/>
                </a:cubicBezTo>
                <a:close/>
                <a:moveTo>
                  <a:pt x="231" y="364"/>
                </a:moveTo>
                <a:cubicBezTo>
                  <a:pt x="232" y="365"/>
                  <a:pt x="230" y="367"/>
                  <a:pt x="230" y="367"/>
                </a:cubicBezTo>
                <a:cubicBezTo>
                  <a:pt x="226" y="369"/>
                  <a:pt x="229" y="363"/>
                  <a:pt x="231" y="364"/>
                </a:cubicBezTo>
                <a:close/>
                <a:moveTo>
                  <a:pt x="227" y="421"/>
                </a:moveTo>
                <a:cubicBezTo>
                  <a:pt x="228" y="421"/>
                  <a:pt x="227" y="422"/>
                  <a:pt x="227" y="422"/>
                </a:cubicBezTo>
                <a:cubicBezTo>
                  <a:pt x="225" y="423"/>
                  <a:pt x="226" y="420"/>
                  <a:pt x="227" y="421"/>
                </a:cubicBezTo>
                <a:close/>
                <a:moveTo>
                  <a:pt x="227" y="484"/>
                </a:moveTo>
                <a:cubicBezTo>
                  <a:pt x="225" y="484"/>
                  <a:pt x="228" y="482"/>
                  <a:pt x="227" y="483"/>
                </a:cubicBezTo>
                <a:cubicBezTo>
                  <a:pt x="227" y="483"/>
                  <a:pt x="227" y="484"/>
                  <a:pt x="227" y="484"/>
                </a:cubicBezTo>
                <a:close/>
                <a:moveTo>
                  <a:pt x="227" y="436"/>
                </a:moveTo>
                <a:cubicBezTo>
                  <a:pt x="226" y="435"/>
                  <a:pt x="228" y="435"/>
                  <a:pt x="227" y="436"/>
                </a:cubicBezTo>
                <a:close/>
                <a:moveTo>
                  <a:pt x="227" y="526"/>
                </a:moveTo>
                <a:cubicBezTo>
                  <a:pt x="226" y="527"/>
                  <a:pt x="225" y="526"/>
                  <a:pt x="227" y="526"/>
                </a:cubicBezTo>
                <a:close/>
                <a:moveTo>
                  <a:pt x="227" y="527"/>
                </a:moveTo>
                <a:cubicBezTo>
                  <a:pt x="228" y="528"/>
                  <a:pt x="226" y="529"/>
                  <a:pt x="226" y="529"/>
                </a:cubicBezTo>
                <a:cubicBezTo>
                  <a:pt x="225" y="529"/>
                  <a:pt x="227" y="527"/>
                  <a:pt x="227" y="527"/>
                </a:cubicBezTo>
                <a:close/>
                <a:moveTo>
                  <a:pt x="225" y="375"/>
                </a:moveTo>
                <a:cubicBezTo>
                  <a:pt x="227" y="376"/>
                  <a:pt x="225" y="376"/>
                  <a:pt x="225" y="375"/>
                </a:cubicBezTo>
                <a:close/>
                <a:moveTo>
                  <a:pt x="224" y="359"/>
                </a:moveTo>
                <a:cubicBezTo>
                  <a:pt x="224" y="360"/>
                  <a:pt x="223" y="360"/>
                  <a:pt x="223" y="361"/>
                </a:cubicBezTo>
                <a:cubicBezTo>
                  <a:pt x="222" y="360"/>
                  <a:pt x="224" y="360"/>
                  <a:pt x="224" y="359"/>
                </a:cubicBezTo>
                <a:close/>
                <a:moveTo>
                  <a:pt x="222" y="500"/>
                </a:moveTo>
                <a:cubicBezTo>
                  <a:pt x="222" y="499"/>
                  <a:pt x="223" y="499"/>
                  <a:pt x="224" y="499"/>
                </a:cubicBezTo>
                <a:cubicBezTo>
                  <a:pt x="224" y="500"/>
                  <a:pt x="222" y="501"/>
                  <a:pt x="222" y="500"/>
                </a:cubicBezTo>
                <a:close/>
                <a:moveTo>
                  <a:pt x="222" y="564"/>
                </a:moveTo>
                <a:cubicBezTo>
                  <a:pt x="222" y="565"/>
                  <a:pt x="219" y="565"/>
                  <a:pt x="219" y="564"/>
                </a:cubicBezTo>
                <a:cubicBezTo>
                  <a:pt x="219" y="562"/>
                  <a:pt x="222" y="563"/>
                  <a:pt x="222" y="564"/>
                </a:cubicBezTo>
                <a:close/>
                <a:moveTo>
                  <a:pt x="224" y="489"/>
                </a:moveTo>
                <a:cubicBezTo>
                  <a:pt x="224" y="489"/>
                  <a:pt x="223" y="490"/>
                  <a:pt x="223" y="490"/>
                </a:cubicBezTo>
                <a:cubicBezTo>
                  <a:pt x="222" y="489"/>
                  <a:pt x="225" y="488"/>
                  <a:pt x="224" y="489"/>
                </a:cubicBezTo>
                <a:close/>
                <a:moveTo>
                  <a:pt x="224" y="467"/>
                </a:moveTo>
                <a:cubicBezTo>
                  <a:pt x="224" y="470"/>
                  <a:pt x="222" y="469"/>
                  <a:pt x="224" y="467"/>
                </a:cubicBezTo>
                <a:close/>
                <a:moveTo>
                  <a:pt x="223" y="272"/>
                </a:moveTo>
                <a:cubicBezTo>
                  <a:pt x="223" y="273"/>
                  <a:pt x="222" y="274"/>
                  <a:pt x="221" y="275"/>
                </a:cubicBezTo>
                <a:cubicBezTo>
                  <a:pt x="221" y="273"/>
                  <a:pt x="222" y="273"/>
                  <a:pt x="223" y="272"/>
                </a:cubicBezTo>
                <a:close/>
                <a:moveTo>
                  <a:pt x="222" y="308"/>
                </a:moveTo>
                <a:cubicBezTo>
                  <a:pt x="222" y="310"/>
                  <a:pt x="220" y="312"/>
                  <a:pt x="218" y="313"/>
                </a:cubicBezTo>
                <a:cubicBezTo>
                  <a:pt x="220" y="312"/>
                  <a:pt x="220" y="310"/>
                  <a:pt x="222" y="308"/>
                </a:cubicBezTo>
                <a:close/>
                <a:moveTo>
                  <a:pt x="218" y="378"/>
                </a:moveTo>
                <a:cubicBezTo>
                  <a:pt x="218" y="376"/>
                  <a:pt x="220" y="378"/>
                  <a:pt x="218" y="378"/>
                </a:cubicBezTo>
                <a:close/>
                <a:moveTo>
                  <a:pt x="218" y="467"/>
                </a:moveTo>
                <a:cubicBezTo>
                  <a:pt x="218" y="467"/>
                  <a:pt x="217" y="467"/>
                  <a:pt x="217" y="466"/>
                </a:cubicBezTo>
                <a:cubicBezTo>
                  <a:pt x="217" y="466"/>
                  <a:pt x="218" y="466"/>
                  <a:pt x="218" y="467"/>
                </a:cubicBezTo>
                <a:close/>
                <a:moveTo>
                  <a:pt x="217" y="315"/>
                </a:move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lose/>
                <a:moveTo>
                  <a:pt x="218" y="382"/>
                </a:moveTo>
                <a:cubicBezTo>
                  <a:pt x="217" y="382"/>
                  <a:pt x="217" y="382"/>
                  <a:pt x="217" y="382"/>
                </a:cubicBezTo>
                <a:cubicBezTo>
                  <a:pt x="216" y="381"/>
                  <a:pt x="219" y="380"/>
                  <a:pt x="218" y="382"/>
                </a:cubicBezTo>
                <a:close/>
                <a:moveTo>
                  <a:pt x="212" y="322"/>
                </a:moveTo>
                <a:cubicBezTo>
                  <a:pt x="212" y="321"/>
                  <a:pt x="215" y="318"/>
                  <a:pt x="216" y="316"/>
                </a:cubicBezTo>
                <a:cubicBezTo>
                  <a:pt x="216" y="319"/>
                  <a:pt x="210" y="325"/>
                  <a:pt x="212" y="322"/>
                </a:cubicBezTo>
                <a:close/>
                <a:moveTo>
                  <a:pt x="215" y="450"/>
                </a:moveTo>
                <a:cubicBezTo>
                  <a:pt x="215" y="450"/>
                  <a:pt x="215" y="450"/>
                  <a:pt x="215" y="450"/>
                </a:cubicBezTo>
                <a:cubicBezTo>
                  <a:pt x="215" y="450"/>
                  <a:pt x="215" y="450"/>
                  <a:pt x="215" y="450"/>
                </a:cubicBezTo>
                <a:close/>
                <a:moveTo>
                  <a:pt x="214" y="449"/>
                </a:moveTo>
                <a:cubicBezTo>
                  <a:pt x="214" y="449"/>
                  <a:pt x="214" y="448"/>
                  <a:pt x="214" y="448"/>
                </a:cubicBezTo>
                <a:cubicBezTo>
                  <a:pt x="214" y="446"/>
                  <a:pt x="216" y="448"/>
                  <a:pt x="214" y="449"/>
                </a:cubicBezTo>
                <a:close/>
                <a:moveTo>
                  <a:pt x="214" y="524"/>
                </a:moveTo>
                <a:cubicBezTo>
                  <a:pt x="213" y="523"/>
                  <a:pt x="214" y="523"/>
                  <a:pt x="215" y="522"/>
                </a:cubicBezTo>
                <a:cubicBezTo>
                  <a:pt x="215" y="523"/>
                  <a:pt x="214" y="523"/>
                  <a:pt x="214" y="524"/>
                </a:cubicBezTo>
                <a:close/>
                <a:moveTo>
                  <a:pt x="212" y="508"/>
                </a:moveTo>
                <a:cubicBezTo>
                  <a:pt x="210" y="509"/>
                  <a:pt x="214" y="507"/>
                  <a:pt x="212" y="508"/>
                </a:cubicBezTo>
                <a:close/>
                <a:moveTo>
                  <a:pt x="202" y="518"/>
                </a:moveTo>
                <a:cubicBezTo>
                  <a:pt x="210" y="516"/>
                  <a:pt x="209" y="525"/>
                  <a:pt x="203" y="526"/>
                </a:cubicBezTo>
                <a:cubicBezTo>
                  <a:pt x="198" y="527"/>
                  <a:pt x="197" y="520"/>
                  <a:pt x="202" y="518"/>
                </a:cubicBezTo>
                <a:close/>
                <a:moveTo>
                  <a:pt x="201" y="548"/>
                </a:moveTo>
                <a:cubicBezTo>
                  <a:pt x="201" y="548"/>
                  <a:pt x="201" y="548"/>
                  <a:pt x="201" y="548"/>
                </a:cubicBezTo>
                <a:cubicBezTo>
                  <a:pt x="201" y="546"/>
                  <a:pt x="203" y="550"/>
                  <a:pt x="201" y="548"/>
                </a:cubicBezTo>
                <a:close/>
                <a:moveTo>
                  <a:pt x="199" y="549"/>
                </a:moveTo>
                <a:cubicBezTo>
                  <a:pt x="199" y="551"/>
                  <a:pt x="197" y="549"/>
                  <a:pt x="199" y="549"/>
                </a:cubicBezTo>
                <a:close/>
                <a:moveTo>
                  <a:pt x="200" y="494"/>
                </a:moveTo>
                <a:cubicBezTo>
                  <a:pt x="199" y="495"/>
                  <a:pt x="198" y="496"/>
                  <a:pt x="196" y="496"/>
                </a:cubicBezTo>
                <a:cubicBezTo>
                  <a:pt x="197" y="495"/>
                  <a:pt x="199" y="495"/>
                  <a:pt x="200" y="494"/>
                </a:cubicBezTo>
                <a:close/>
                <a:moveTo>
                  <a:pt x="202" y="420"/>
                </a:moveTo>
                <a:cubicBezTo>
                  <a:pt x="201" y="421"/>
                  <a:pt x="201" y="421"/>
                  <a:pt x="200" y="421"/>
                </a:cubicBezTo>
                <a:cubicBezTo>
                  <a:pt x="199" y="420"/>
                  <a:pt x="203" y="418"/>
                  <a:pt x="202" y="420"/>
                </a:cubicBezTo>
                <a:close/>
                <a:moveTo>
                  <a:pt x="203" y="493"/>
                </a:moveTo>
                <a:cubicBezTo>
                  <a:pt x="204" y="493"/>
                  <a:pt x="204" y="493"/>
                  <a:pt x="204" y="493"/>
                </a:cubicBezTo>
                <a:cubicBezTo>
                  <a:pt x="204" y="493"/>
                  <a:pt x="200" y="494"/>
                  <a:pt x="203" y="493"/>
                </a:cubicBezTo>
                <a:close/>
                <a:moveTo>
                  <a:pt x="206" y="456"/>
                </a:moveTo>
                <a:cubicBezTo>
                  <a:pt x="206" y="456"/>
                  <a:pt x="205" y="456"/>
                  <a:pt x="205" y="456"/>
                </a:cubicBezTo>
                <a:cubicBezTo>
                  <a:pt x="204" y="456"/>
                  <a:pt x="206" y="455"/>
                  <a:pt x="206" y="456"/>
                </a:cubicBezTo>
                <a:close/>
                <a:moveTo>
                  <a:pt x="206" y="475"/>
                </a:moveTo>
                <a:cubicBezTo>
                  <a:pt x="206" y="473"/>
                  <a:pt x="210" y="475"/>
                  <a:pt x="210" y="477"/>
                </a:cubicBezTo>
                <a:cubicBezTo>
                  <a:pt x="209" y="479"/>
                  <a:pt x="204" y="479"/>
                  <a:pt x="206" y="475"/>
                </a:cubicBezTo>
                <a:close/>
                <a:moveTo>
                  <a:pt x="208" y="439"/>
                </a:moveTo>
                <a:cubicBezTo>
                  <a:pt x="208" y="440"/>
                  <a:pt x="207" y="440"/>
                  <a:pt x="207" y="440"/>
                </a:cubicBezTo>
                <a:cubicBezTo>
                  <a:pt x="207" y="439"/>
                  <a:pt x="208" y="439"/>
                  <a:pt x="208" y="439"/>
                </a:cubicBezTo>
                <a:close/>
                <a:moveTo>
                  <a:pt x="208" y="405"/>
                </a:moveTo>
                <a:cubicBezTo>
                  <a:pt x="207" y="406"/>
                  <a:pt x="208" y="404"/>
                  <a:pt x="208" y="405"/>
                </a:cubicBezTo>
                <a:close/>
                <a:moveTo>
                  <a:pt x="209" y="467"/>
                </a:moveTo>
                <a:cubicBezTo>
                  <a:pt x="209" y="467"/>
                  <a:pt x="209" y="468"/>
                  <a:pt x="209" y="468"/>
                </a:cubicBezTo>
                <a:cubicBezTo>
                  <a:pt x="208" y="467"/>
                  <a:pt x="210" y="466"/>
                  <a:pt x="209" y="467"/>
                </a:cubicBezTo>
                <a:close/>
                <a:moveTo>
                  <a:pt x="210" y="509"/>
                </a:moveTo>
                <a:cubicBezTo>
                  <a:pt x="208" y="511"/>
                  <a:pt x="211" y="508"/>
                  <a:pt x="210" y="509"/>
                </a:cubicBezTo>
                <a:close/>
                <a:moveTo>
                  <a:pt x="210" y="444"/>
                </a:moveTo>
                <a:cubicBezTo>
                  <a:pt x="207" y="445"/>
                  <a:pt x="209" y="441"/>
                  <a:pt x="210" y="443"/>
                </a:cubicBezTo>
                <a:cubicBezTo>
                  <a:pt x="211" y="443"/>
                  <a:pt x="210" y="443"/>
                  <a:pt x="210" y="444"/>
                </a:cubicBezTo>
                <a:close/>
                <a:moveTo>
                  <a:pt x="210" y="185"/>
                </a:moveTo>
                <a:cubicBezTo>
                  <a:pt x="210" y="185"/>
                  <a:pt x="210" y="185"/>
                  <a:pt x="210" y="185"/>
                </a:cubicBezTo>
                <a:cubicBezTo>
                  <a:pt x="209" y="185"/>
                  <a:pt x="211" y="184"/>
                  <a:pt x="210" y="185"/>
                </a:cubicBezTo>
                <a:close/>
                <a:moveTo>
                  <a:pt x="210" y="203"/>
                </a:moveTo>
                <a:cubicBezTo>
                  <a:pt x="211" y="203"/>
                  <a:pt x="209" y="205"/>
                  <a:pt x="209" y="205"/>
                </a:cubicBezTo>
                <a:cubicBezTo>
                  <a:pt x="209" y="204"/>
                  <a:pt x="209" y="204"/>
                  <a:pt x="210" y="203"/>
                </a:cubicBezTo>
                <a:close/>
                <a:moveTo>
                  <a:pt x="210" y="371"/>
                </a:moveTo>
                <a:cubicBezTo>
                  <a:pt x="209" y="372"/>
                  <a:pt x="209" y="372"/>
                  <a:pt x="208" y="372"/>
                </a:cubicBezTo>
                <a:cubicBezTo>
                  <a:pt x="208" y="372"/>
                  <a:pt x="208" y="371"/>
                  <a:pt x="210" y="371"/>
                </a:cubicBezTo>
                <a:close/>
                <a:moveTo>
                  <a:pt x="208" y="181"/>
                </a:moveTo>
                <a:cubicBezTo>
                  <a:pt x="209" y="181"/>
                  <a:pt x="207" y="184"/>
                  <a:pt x="207" y="184"/>
                </a:cubicBezTo>
                <a:cubicBezTo>
                  <a:pt x="204" y="186"/>
                  <a:pt x="206" y="180"/>
                  <a:pt x="208" y="181"/>
                </a:cubicBezTo>
                <a:close/>
                <a:moveTo>
                  <a:pt x="207" y="374"/>
                </a:moveTo>
                <a:cubicBezTo>
                  <a:pt x="206" y="373"/>
                  <a:pt x="208" y="373"/>
                  <a:pt x="207" y="374"/>
                </a:cubicBezTo>
                <a:close/>
                <a:moveTo>
                  <a:pt x="207" y="387"/>
                </a:moveTo>
                <a:cubicBezTo>
                  <a:pt x="206" y="387"/>
                  <a:pt x="206" y="388"/>
                  <a:pt x="206" y="387"/>
                </a:cubicBezTo>
                <a:cubicBezTo>
                  <a:pt x="205" y="386"/>
                  <a:pt x="209" y="385"/>
                  <a:pt x="207" y="387"/>
                </a:cubicBezTo>
                <a:close/>
                <a:moveTo>
                  <a:pt x="204" y="211"/>
                </a:moveTo>
                <a:cubicBezTo>
                  <a:pt x="204" y="213"/>
                  <a:pt x="202" y="214"/>
                  <a:pt x="201" y="216"/>
                </a:cubicBezTo>
                <a:cubicBezTo>
                  <a:pt x="201" y="214"/>
                  <a:pt x="203" y="213"/>
                  <a:pt x="204" y="211"/>
                </a:cubicBezTo>
                <a:close/>
                <a:moveTo>
                  <a:pt x="202" y="326"/>
                </a:moveTo>
                <a:cubicBezTo>
                  <a:pt x="202" y="327"/>
                  <a:pt x="202" y="328"/>
                  <a:pt x="201" y="328"/>
                </a:cubicBezTo>
                <a:cubicBezTo>
                  <a:pt x="201" y="327"/>
                  <a:pt x="202" y="327"/>
                  <a:pt x="202" y="326"/>
                </a:cubicBezTo>
                <a:close/>
                <a:moveTo>
                  <a:pt x="205" y="387"/>
                </a:moveTo>
                <a:cubicBezTo>
                  <a:pt x="205" y="388"/>
                  <a:pt x="203" y="389"/>
                  <a:pt x="201" y="390"/>
                </a:cubicBezTo>
                <a:cubicBezTo>
                  <a:pt x="202" y="388"/>
                  <a:pt x="204" y="388"/>
                  <a:pt x="205" y="387"/>
                </a:cubicBezTo>
                <a:close/>
                <a:moveTo>
                  <a:pt x="196" y="218"/>
                </a:moveTo>
                <a:cubicBezTo>
                  <a:pt x="198" y="219"/>
                  <a:pt x="196" y="220"/>
                  <a:pt x="196" y="218"/>
                </a:cubicBezTo>
                <a:close/>
                <a:moveTo>
                  <a:pt x="196" y="249"/>
                </a:moveTo>
                <a:cubicBezTo>
                  <a:pt x="195" y="251"/>
                  <a:pt x="197" y="248"/>
                  <a:pt x="196" y="249"/>
                </a:cubicBezTo>
                <a:close/>
                <a:moveTo>
                  <a:pt x="198" y="349"/>
                </a:moveTo>
                <a:cubicBezTo>
                  <a:pt x="198" y="350"/>
                  <a:pt x="196" y="351"/>
                  <a:pt x="196" y="352"/>
                </a:cubicBezTo>
                <a:cubicBezTo>
                  <a:pt x="195" y="351"/>
                  <a:pt x="197" y="350"/>
                  <a:pt x="198" y="349"/>
                </a:cubicBezTo>
                <a:close/>
                <a:moveTo>
                  <a:pt x="196" y="296"/>
                </a:moveTo>
                <a:cubicBezTo>
                  <a:pt x="196" y="296"/>
                  <a:pt x="195" y="298"/>
                  <a:pt x="195" y="298"/>
                </a:cubicBezTo>
                <a:cubicBezTo>
                  <a:pt x="193" y="300"/>
                  <a:pt x="194" y="295"/>
                  <a:pt x="196" y="296"/>
                </a:cubicBezTo>
                <a:close/>
                <a:moveTo>
                  <a:pt x="194" y="353"/>
                </a:moveTo>
                <a:cubicBezTo>
                  <a:pt x="195" y="354"/>
                  <a:pt x="193" y="354"/>
                  <a:pt x="194" y="353"/>
                </a:cubicBezTo>
                <a:close/>
                <a:moveTo>
                  <a:pt x="192" y="213"/>
                </a:moveTo>
                <a:cubicBezTo>
                  <a:pt x="192" y="212"/>
                  <a:pt x="194" y="211"/>
                  <a:pt x="192" y="213"/>
                </a:cubicBezTo>
                <a:close/>
                <a:moveTo>
                  <a:pt x="193" y="252"/>
                </a:moveTo>
                <a:cubicBezTo>
                  <a:pt x="194" y="253"/>
                  <a:pt x="193" y="254"/>
                  <a:pt x="192" y="254"/>
                </a:cubicBezTo>
                <a:cubicBezTo>
                  <a:pt x="192" y="253"/>
                  <a:pt x="193" y="253"/>
                  <a:pt x="193" y="252"/>
                </a:cubicBezTo>
                <a:close/>
                <a:moveTo>
                  <a:pt x="193" y="354"/>
                </a:moveTo>
                <a:cubicBezTo>
                  <a:pt x="193" y="355"/>
                  <a:pt x="193" y="356"/>
                  <a:pt x="192" y="356"/>
                </a:cubicBezTo>
                <a:cubicBezTo>
                  <a:pt x="192" y="355"/>
                  <a:pt x="193" y="355"/>
                  <a:pt x="193" y="354"/>
                </a:cubicBezTo>
                <a:close/>
                <a:moveTo>
                  <a:pt x="192" y="305"/>
                </a:moveTo>
                <a:cubicBezTo>
                  <a:pt x="190" y="307"/>
                  <a:pt x="193" y="304"/>
                  <a:pt x="192" y="305"/>
                </a:cubicBezTo>
                <a:close/>
                <a:moveTo>
                  <a:pt x="188" y="397"/>
                </a:moveTo>
                <a:cubicBezTo>
                  <a:pt x="187" y="398"/>
                  <a:pt x="185" y="400"/>
                  <a:pt x="183" y="401"/>
                </a:cubicBezTo>
                <a:cubicBezTo>
                  <a:pt x="184" y="399"/>
                  <a:pt x="186" y="398"/>
                  <a:pt x="188" y="397"/>
                </a:cubicBezTo>
                <a:close/>
                <a:moveTo>
                  <a:pt x="184" y="384"/>
                </a:moveTo>
                <a:cubicBezTo>
                  <a:pt x="185" y="384"/>
                  <a:pt x="185" y="383"/>
                  <a:pt x="186" y="383"/>
                </a:cubicBezTo>
                <a:cubicBezTo>
                  <a:pt x="185" y="384"/>
                  <a:pt x="185" y="384"/>
                  <a:pt x="184" y="384"/>
                </a:cubicBezTo>
                <a:close/>
                <a:moveTo>
                  <a:pt x="184" y="243"/>
                </a:moveTo>
                <a:cubicBezTo>
                  <a:pt x="185" y="242"/>
                  <a:pt x="183" y="244"/>
                  <a:pt x="184" y="243"/>
                </a:cubicBezTo>
                <a:close/>
                <a:moveTo>
                  <a:pt x="182" y="186"/>
                </a:moveTo>
                <a:cubicBezTo>
                  <a:pt x="182" y="185"/>
                  <a:pt x="181" y="187"/>
                  <a:pt x="182" y="186"/>
                </a:cubicBezTo>
                <a:close/>
                <a:moveTo>
                  <a:pt x="184" y="243"/>
                </a:moveTo>
                <a:cubicBezTo>
                  <a:pt x="185" y="244"/>
                  <a:pt x="183" y="249"/>
                  <a:pt x="182" y="249"/>
                </a:cubicBezTo>
                <a:cubicBezTo>
                  <a:pt x="180" y="249"/>
                  <a:pt x="182" y="243"/>
                  <a:pt x="184" y="243"/>
                </a:cubicBezTo>
                <a:close/>
                <a:moveTo>
                  <a:pt x="177" y="208"/>
                </a:moveTo>
                <a:cubicBezTo>
                  <a:pt x="178" y="209"/>
                  <a:pt x="177" y="209"/>
                  <a:pt x="177" y="210"/>
                </a:cubicBezTo>
                <a:cubicBezTo>
                  <a:pt x="176" y="210"/>
                  <a:pt x="177" y="209"/>
                  <a:pt x="177" y="208"/>
                </a:cubicBezTo>
                <a:close/>
                <a:moveTo>
                  <a:pt x="182" y="322"/>
                </a:moveTo>
                <a:cubicBezTo>
                  <a:pt x="179" y="324"/>
                  <a:pt x="177" y="329"/>
                  <a:pt x="175" y="329"/>
                </a:cubicBezTo>
                <a:cubicBezTo>
                  <a:pt x="175" y="329"/>
                  <a:pt x="179" y="322"/>
                  <a:pt x="182" y="322"/>
                </a:cubicBezTo>
                <a:close/>
                <a:moveTo>
                  <a:pt x="180" y="403"/>
                </a:moveTo>
                <a:cubicBezTo>
                  <a:pt x="179" y="404"/>
                  <a:pt x="178" y="406"/>
                  <a:pt x="176" y="406"/>
                </a:cubicBezTo>
                <a:cubicBezTo>
                  <a:pt x="177" y="405"/>
                  <a:pt x="179" y="404"/>
                  <a:pt x="180" y="403"/>
                </a:cubicBezTo>
                <a:close/>
                <a:moveTo>
                  <a:pt x="178" y="383"/>
                </a:move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2"/>
                  <a:pt x="178" y="382"/>
                </a:cubicBezTo>
                <a:cubicBezTo>
                  <a:pt x="178" y="382"/>
                  <a:pt x="178" y="382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lose/>
                <a:moveTo>
                  <a:pt x="181" y="393"/>
                </a:moveTo>
                <a:cubicBezTo>
                  <a:pt x="181" y="393"/>
                  <a:pt x="180" y="395"/>
                  <a:pt x="180" y="395"/>
                </a:cubicBezTo>
                <a:cubicBezTo>
                  <a:pt x="178" y="397"/>
                  <a:pt x="179" y="392"/>
                  <a:pt x="181" y="393"/>
                </a:cubicBezTo>
                <a:close/>
                <a:moveTo>
                  <a:pt x="179" y="358"/>
                </a:moveTo>
                <a:cubicBezTo>
                  <a:pt x="179" y="358"/>
                  <a:pt x="180" y="359"/>
                  <a:pt x="180" y="359"/>
                </a:cubicBezTo>
                <a:cubicBezTo>
                  <a:pt x="180" y="360"/>
                  <a:pt x="178" y="359"/>
                  <a:pt x="179" y="358"/>
                </a:cubicBezTo>
                <a:close/>
                <a:moveTo>
                  <a:pt x="182" y="418"/>
                </a:moveTo>
                <a:cubicBezTo>
                  <a:pt x="183" y="416"/>
                  <a:pt x="187" y="412"/>
                  <a:pt x="190" y="410"/>
                </a:cubicBezTo>
                <a:cubicBezTo>
                  <a:pt x="190" y="410"/>
                  <a:pt x="190" y="408"/>
                  <a:pt x="191" y="409"/>
                </a:cubicBezTo>
                <a:cubicBezTo>
                  <a:pt x="192" y="410"/>
                  <a:pt x="189" y="414"/>
                  <a:pt x="189" y="414"/>
                </a:cubicBezTo>
                <a:cubicBezTo>
                  <a:pt x="188" y="415"/>
                  <a:pt x="186" y="415"/>
                  <a:pt x="184" y="417"/>
                </a:cubicBezTo>
                <a:cubicBezTo>
                  <a:pt x="180" y="419"/>
                  <a:pt x="178" y="424"/>
                  <a:pt x="174" y="426"/>
                </a:cubicBezTo>
                <a:cubicBezTo>
                  <a:pt x="174" y="422"/>
                  <a:pt x="180" y="421"/>
                  <a:pt x="182" y="418"/>
                </a:cubicBezTo>
                <a:close/>
                <a:moveTo>
                  <a:pt x="193" y="479"/>
                </a:moveTo>
                <a:cubicBezTo>
                  <a:pt x="192" y="481"/>
                  <a:pt x="192" y="479"/>
                  <a:pt x="193" y="479"/>
                </a:cubicBezTo>
                <a:close/>
                <a:moveTo>
                  <a:pt x="193" y="432"/>
                </a:moveTo>
                <a:cubicBezTo>
                  <a:pt x="194" y="432"/>
                  <a:pt x="193" y="433"/>
                  <a:pt x="193" y="432"/>
                </a:cubicBezTo>
                <a:cubicBezTo>
                  <a:pt x="192" y="432"/>
                  <a:pt x="193" y="432"/>
                  <a:pt x="193" y="432"/>
                </a:cubicBezTo>
                <a:close/>
                <a:moveTo>
                  <a:pt x="191" y="460"/>
                </a:moveTo>
                <a:cubicBezTo>
                  <a:pt x="192" y="458"/>
                  <a:pt x="193" y="460"/>
                  <a:pt x="191" y="460"/>
                </a:cubicBezTo>
                <a:close/>
                <a:moveTo>
                  <a:pt x="193" y="489"/>
                </a:moveTo>
                <a:cubicBezTo>
                  <a:pt x="193" y="490"/>
                  <a:pt x="192" y="491"/>
                  <a:pt x="191" y="491"/>
                </a:cubicBezTo>
                <a:cubicBezTo>
                  <a:pt x="189" y="492"/>
                  <a:pt x="191" y="487"/>
                  <a:pt x="193" y="489"/>
                </a:cubicBezTo>
                <a:close/>
                <a:moveTo>
                  <a:pt x="190" y="440"/>
                </a:moveTo>
                <a:cubicBezTo>
                  <a:pt x="189" y="439"/>
                  <a:pt x="191" y="438"/>
                  <a:pt x="191" y="439"/>
                </a:cubicBezTo>
                <a:cubicBezTo>
                  <a:pt x="191" y="439"/>
                  <a:pt x="190" y="440"/>
                  <a:pt x="190" y="440"/>
                </a:cubicBezTo>
                <a:close/>
                <a:moveTo>
                  <a:pt x="189" y="511"/>
                </a:moveTo>
                <a:cubicBezTo>
                  <a:pt x="189" y="511"/>
                  <a:pt x="189" y="512"/>
                  <a:pt x="188" y="511"/>
                </a:cubicBezTo>
                <a:cubicBezTo>
                  <a:pt x="188" y="511"/>
                  <a:pt x="189" y="510"/>
                  <a:pt x="189" y="511"/>
                </a:cubicBezTo>
                <a:close/>
                <a:moveTo>
                  <a:pt x="186" y="470"/>
                </a:moveTo>
                <a:cubicBezTo>
                  <a:pt x="185" y="469"/>
                  <a:pt x="188" y="469"/>
                  <a:pt x="188" y="470"/>
                </a:cubicBezTo>
                <a:cubicBezTo>
                  <a:pt x="189" y="471"/>
                  <a:pt x="186" y="472"/>
                  <a:pt x="186" y="470"/>
                </a:cubicBezTo>
                <a:close/>
                <a:moveTo>
                  <a:pt x="184" y="470"/>
                </a:moveTo>
                <a:cubicBezTo>
                  <a:pt x="185" y="471"/>
                  <a:pt x="184" y="472"/>
                  <a:pt x="183" y="472"/>
                </a:cubicBezTo>
                <a:cubicBezTo>
                  <a:pt x="180" y="474"/>
                  <a:pt x="182" y="469"/>
                  <a:pt x="184" y="470"/>
                </a:cubicBezTo>
                <a:close/>
                <a:moveTo>
                  <a:pt x="183" y="435"/>
                </a:moveTo>
                <a:cubicBezTo>
                  <a:pt x="183" y="434"/>
                  <a:pt x="182" y="436"/>
                  <a:pt x="183" y="435"/>
                </a:cubicBezTo>
                <a:close/>
                <a:moveTo>
                  <a:pt x="180" y="443"/>
                </a:moveTo>
                <a:cubicBezTo>
                  <a:pt x="180" y="443"/>
                  <a:pt x="179" y="443"/>
                  <a:pt x="179" y="443"/>
                </a:cubicBezTo>
                <a:cubicBezTo>
                  <a:pt x="178" y="445"/>
                  <a:pt x="180" y="440"/>
                  <a:pt x="180" y="443"/>
                </a:cubicBezTo>
                <a:close/>
                <a:moveTo>
                  <a:pt x="174" y="445"/>
                </a:moveTo>
                <a:cubicBezTo>
                  <a:pt x="173" y="446"/>
                  <a:pt x="174" y="444"/>
                  <a:pt x="174" y="445"/>
                </a:cubicBezTo>
                <a:close/>
                <a:moveTo>
                  <a:pt x="173" y="182"/>
                </a:moveTo>
                <a:cubicBezTo>
                  <a:pt x="172" y="182"/>
                  <a:pt x="174" y="180"/>
                  <a:pt x="173" y="182"/>
                </a:cubicBezTo>
                <a:close/>
                <a:moveTo>
                  <a:pt x="173" y="438"/>
                </a:moveTo>
                <a:cubicBezTo>
                  <a:pt x="174" y="437"/>
                  <a:pt x="172" y="440"/>
                  <a:pt x="173" y="438"/>
                </a:cubicBezTo>
                <a:close/>
                <a:moveTo>
                  <a:pt x="173" y="477"/>
                </a:moveTo>
                <a:cubicBezTo>
                  <a:pt x="172" y="478"/>
                  <a:pt x="172" y="478"/>
                  <a:pt x="170" y="478"/>
                </a:cubicBezTo>
                <a:cubicBezTo>
                  <a:pt x="171" y="478"/>
                  <a:pt x="171" y="477"/>
                  <a:pt x="173" y="477"/>
                </a:cubicBezTo>
                <a:close/>
                <a:moveTo>
                  <a:pt x="173" y="314"/>
                </a:move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lose/>
                <a:moveTo>
                  <a:pt x="171" y="307"/>
                </a:moveTo>
                <a:cubicBezTo>
                  <a:pt x="171" y="308"/>
                  <a:pt x="171" y="309"/>
                  <a:pt x="169" y="310"/>
                </a:cubicBezTo>
                <a:cubicBezTo>
                  <a:pt x="168" y="310"/>
                  <a:pt x="167" y="310"/>
                  <a:pt x="166" y="309"/>
                </a:cubicBezTo>
                <a:cubicBezTo>
                  <a:pt x="164" y="305"/>
                  <a:pt x="171" y="303"/>
                  <a:pt x="171" y="307"/>
                </a:cubicBezTo>
                <a:close/>
                <a:moveTo>
                  <a:pt x="168" y="501"/>
                </a:moveTo>
                <a:cubicBezTo>
                  <a:pt x="168" y="501"/>
                  <a:pt x="168" y="501"/>
                  <a:pt x="169" y="501"/>
                </a:cubicBezTo>
                <a:cubicBezTo>
                  <a:pt x="169" y="501"/>
                  <a:pt x="168" y="502"/>
                  <a:pt x="168" y="501"/>
                </a:cubicBezTo>
                <a:close/>
                <a:moveTo>
                  <a:pt x="166" y="342"/>
                </a:moveTo>
                <a:cubicBezTo>
                  <a:pt x="166" y="342"/>
                  <a:pt x="166" y="342"/>
                  <a:pt x="166" y="342"/>
                </a:cubicBezTo>
                <a:cubicBezTo>
                  <a:pt x="166" y="342"/>
                  <a:pt x="166" y="343"/>
                  <a:pt x="165" y="343"/>
                </a:cubicBezTo>
                <a:cubicBezTo>
                  <a:pt x="165" y="343"/>
                  <a:pt x="165" y="343"/>
                  <a:pt x="165" y="343"/>
                </a:cubicBezTo>
                <a:cubicBezTo>
                  <a:pt x="165" y="343"/>
                  <a:pt x="166" y="342"/>
                  <a:pt x="166" y="342"/>
                </a:cubicBezTo>
                <a:close/>
                <a:moveTo>
                  <a:pt x="165" y="307"/>
                </a:moveTo>
                <a:cubicBezTo>
                  <a:pt x="163" y="308"/>
                  <a:pt x="167" y="306"/>
                  <a:pt x="165" y="307"/>
                </a:cubicBezTo>
                <a:close/>
                <a:moveTo>
                  <a:pt x="164" y="344"/>
                </a:moveTo>
                <a:cubicBezTo>
                  <a:pt x="163" y="344"/>
                  <a:pt x="166" y="342"/>
                  <a:pt x="164" y="344"/>
                </a:cubicBezTo>
                <a:close/>
                <a:moveTo>
                  <a:pt x="165" y="345"/>
                </a:moveTo>
                <a:cubicBezTo>
                  <a:pt x="164" y="346"/>
                  <a:pt x="164" y="347"/>
                  <a:pt x="162" y="347"/>
                </a:cubicBezTo>
                <a:cubicBezTo>
                  <a:pt x="163" y="347"/>
                  <a:pt x="163" y="346"/>
                  <a:pt x="165" y="345"/>
                </a:cubicBezTo>
                <a:close/>
                <a:moveTo>
                  <a:pt x="161" y="347"/>
                </a:moveTo>
                <a:cubicBezTo>
                  <a:pt x="160" y="348"/>
                  <a:pt x="162" y="346"/>
                  <a:pt x="161" y="347"/>
                </a:cubicBezTo>
                <a:close/>
                <a:moveTo>
                  <a:pt x="160" y="350"/>
                </a:moveTo>
                <a:cubicBezTo>
                  <a:pt x="161" y="348"/>
                  <a:pt x="162" y="349"/>
                  <a:pt x="160" y="350"/>
                </a:cubicBezTo>
                <a:close/>
                <a:moveTo>
                  <a:pt x="168" y="370"/>
                </a:moveTo>
                <a:cubicBezTo>
                  <a:pt x="165" y="373"/>
                  <a:pt x="163" y="376"/>
                  <a:pt x="158" y="378"/>
                </a:cubicBezTo>
                <a:cubicBezTo>
                  <a:pt x="161" y="375"/>
                  <a:pt x="164" y="372"/>
                  <a:pt x="168" y="370"/>
                </a:cubicBezTo>
                <a:close/>
                <a:moveTo>
                  <a:pt x="167" y="392"/>
                </a:moveTo>
                <a:cubicBezTo>
                  <a:pt x="166" y="393"/>
                  <a:pt x="168" y="390"/>
                  <a:pt x="167" y="391"/>
                </a:cubicBezTo>
                <a:cubicBezTo>
                  <a:pt x="167" y="391"/>
                  <a:pt x="167" y="392"/>
                  <a:pt x="167" y="392"/>
                </a:cubicBezTo>
                <a:close/>
                <a:moveTo>
                  <a:pt x="168" y="424"/>
                </a:moveTo>
                <a:cubicBezTo>
                  <a:pt x="168" y="424"/>
                  <a:pt x="167" y="424"/>
                  <a:pt x="167" y="424"/>
                </a:cubicBezTo>
                <a:cubicBezTo>
                  <a:pt x="166" y="423"/>
                  <a:pt x="168" y="423"/>
                  <a:pt x="168" y="424"/>
                </a:cubicBezTo>
                <a:close/>
                <a:moveTo>
                  <a:pt x="161" y="457"/>
                </a:moveTo>
                <a:cubicBezTo>
                  <a:pt x="161" y="458"/>
                  <a:pt x="158" y="461"/>
                  <a:pt x="157" y="460"/>
                </a:cubicBezTo>
                <a:cubicBezTo>
                  <a:pt x="156" y="458"/>
                  <a:pt x="159" y="456"/>
                  <a:pt x="161" y="457"/>
                </a:cubicBezTo>
                <a:close/>
                <a:moveTo>
                  <a:pt x="157" y="477"/>
                </a:move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lose/>
                <a:moveTo>
                  <a:pt x="161" y="502"/>
                </a:moveTo>
                <a:cubicBezTo>
                  <a:pt x="161" y="503"/>
                  <a:pt x="159" y="504"/>
                  <a:pt x="159" y="503"/>
                </a:cubicBezTo>
                <a:cubicBezTo>
                  <a:pt x="159" y="502"/>
                  <a:pt x="160" y="501"/>
                  <a:pt x="161" y="502"/>
                </a:cubicBezTo>
                <a:close/>
                <a:moveTo>
                  <a:pt x="159" y="482"/>
                </a:moveTo>
                <a:cubicBezTo>
                  <a:pt x="158" y="483"/>
                  <a:pt x="160" y="481"/>
                  <a:pt x="159" y="482"/>
                </a:cubicBezTo>
                <a:close/>
                <a:moveTo>
                  <a:pt x="162" y="484"/>
                </a:moveTo>
                <a:cubicBezTo>
                  <a:pt x="163" y="484"/>
                  <a:pt x="162" y="485"/>
                  <a:pt x="161" y="485"/>
                </a:cubicBezTo>
                <a:cubicBezTo>
                  <a:pt x="160" y="486"/>
                  <a:pt x="161" y="483"/>
                  <a:pt x="162" y="484"/>
                </a:cubicBezTo>
                <a:close/>
                <a:moveTo>
                  <a:pt x="161" y="428"/>
                </a:moveTo>
                <a:cubicBezTo>
                  <a:pt x="162" y="429"/>
                  <a:pt x="160" y="432"/>
                  <a:pt x="160" y="432"/>
                </a:cubicBezTo>
                <a:cubicBezTo>
                  <a:pt x="155" y="435"/>
                  <a:pt x="158" y="426"/>
                  <a:pt x="161" y="428"/>
                </a:cubicBezTo>
                <a:close/>
                <a:moveTo>
                  <a:pt x="164" y="506"/>
                </a:moveTo>
                <a:cubicBezTo>
                  <a:pt x="165" y="507"/>
                  <a:pt x="160" y="510"/>
                  <a:pt x="159" y="510"/>
                </a:cubicBezTo>
                <a:cubicBezTo>
                  <a:pt x="154" y="511"/>
                  <a:pt x="163" y="505"/>
                  <a:pt x="164" y="506"/>
                </a:cubicBezTo>
                <a:close/>
                <a:moveTo>
                  <a:pt x="163" y="443"/>
                </a:moveTo>
                <a:cubicBezTo>
                  <a:pt x="163" y="443"/>
                  <a:pt x="163" y="444"/>
                  <a:pt x="162" y="444"/>
                </a:cubicBezTo>
                <a:cubicBezTo>
                  <a:pt x="162" y="443"/>
                  <a:pt x="163" y="443"/>
                  <a:pt x="163" y="443"/>
                </a:cubicBezTo>
                <a:close/>
                <a:moveTo>
                  <a:pt x="159" y="351"/>
                </a:moveTo>
                <a:cubicBezTo>
                  <a:pt x="159" y="351"/>
                  <a:pt x="159" y="350"/>
                  <a:pt x="160" y="350"/>
                </a:cubicBezTo>
                <a:cubicBezTo>
                  <a:pt x="160" y="350"/>
                  <a:pt x="160" y="351"/>
                  <a:pt x="159" y="351"/>
                </a:cubicBezTo>
                <a:close/>
                <a:moveTo>
                  <a:pt x="160" y="259"/>
                </a:moveTo>
                <a:cubicBezTo>
                  <a:pt x="160" y="259"/>
                  <a:pt x="160" y="260"/>
                  <a:pt x="160" y="260"/>
                </a:cubicBezTo>
                <a:cubicBezTo>
                  <a:pt x="159" y="261"/>
                  <a:pt x="158" y="258"/>
                  <a:pt x="160" y="259"/>
                </a:cubicBezTo>
                <a:close/>
                <a:moveTo>
                  <a:pt x="160" y="349"/>
                </a:moveTo>
                <a:cubicBezTo>
                  <a:pt x="159" y="350"/>
                  <a:pt x="159" y="350"/>
                  <a:pt x="158" y="351"/>
                </a:cubicBezTo>
                <a:cubicBezTo>
                  <a:pt x="158" y="350"/>
                  <a:pt x="159" y="349"/>
                  <a:pt x="160" y="349"/>
                </a:cubicBezTo>
                <a:close/>
                <a:moveTo>
                  <a:pt x="159" y="352"/>
                </a:moveTo>
                <a:cubicBezTo>
                  <a:pt x="158" y="352"/>
                  <a:pt x="158" y="353"/>
                  <a:pt x="157" y="353"/>
                </a:cubicBezTo>
                <a:cubicBezTo>
                  <a:pt x="157" y="352"/>
                  <a:pt x="158" y="352"/>
                  <a:pt x="159" y="352"/>
                </a:cubicBezTo>
                <a:close/>
                <a:moveTo>
                  <a:pt x="156" y="354"/>
                </a:moveTo>
                <a:cubicBezTo>
                  <a:pt x="155" y="355"/>
                  <a:pt x="158" y="353"/>
                  <a:pt x="156" y="354"/>
                </a:cubicBezTo>
                <a:close/>
                <a:moveTo>
                  <a:pt x="157" y="415"/>
                </a:moveTo>
                <a:cubicBezTo>
                  <a:pt x="158" y="416"/>
                  <a:pt x="157" y="417"/>
                  <a:pt x="156" y="417"/>
                </a:cubicBezTo>
                <a:cubicBezTo>
                  <a:pt x="156" y="416"/>
                  <a:pt x="157" y="416"/>
                  <a:pt x="157" y="415"/>
                </a:cubicBezTo>
                <a:close/>
                <a:moveTo>
                  <a:pt x="133" y="461"/>
                </a:moveTo>
                <a:cubicBezTo>
                  <a:pt x="137" y="457"/>
                  <a:pt x="142" y="453"/>
                  <a:pt x="148" y="450"/>
                </a:cubicBezTo>
                <a:cubicBezTo>
                  <a:pt x="143" y="454"/>
                  <a:pt x="138" y="457"/>
                  <a:pt x="133" y="461"/>
                </a:cubicBezTo>
                <a:close/>
                <a:moveTo>
                  <a:pt x="138" y="463"/>
                </a:moveTo>
                <a:cubicBezTo>
                  <a:pt x="138" y="464"/>
                  <a:pt x="137" y="464"/>
                  <a:pt x="137" y="463"/>
                </a:cubicBezTo>
                <a:cubicBezTo>
                  <a:pt x="136" y="462"/>
                  <a:pt x="138" y="463"/>
                  <a:pt x="138" y="463"/>
                </a:cubicBezTo>
                <a:close/>
                <a:moveTo>
                  <a:pt x="147" y="446"/>
                </a:moveTo>
                <a:cubicBezTo>
                  <a:pt x="146" y="446"/>
                  <a:pt x="145" y="447"/>
                  <a:pt x="145" y="447"/>
                </a:cubicBezTo>
                <a:cubicBezTo>
                  <a:pt x="144" y="446"/>
                  <a:pt x="152" y="439"/>
                  <a:pt x="153" y="440"/>
                </a:cubicBezTo>
                <a:cubicBezTo>
                  <a:pt x="154" y="440"/>
                  <a:pt x="147" y="446"/>
                  <a:pt x="147" y="446"/>
                </a:cubicBezTo>
                <a:close/>
                <a:moveTo>
                  <a:pt x="148" y="401"/>
                </a:moveTo>
                <a:cubicBezTo>
                  <a:pt x="151" y="399"/>
                  <a:pt x="146" y="402"/>
                  <a:pt x="148" y="401"/>
                </a:cubicBezTo>
                <a:close/>
                <a:moveTo>
                  <a:pt x="150" y="439"/>
                </a:moveTo>
                <a:cubicBezTo>
                  <a:pt x="150" y="440"/>
                  <a:pt x="149" y="440"/>
                  <a:pt x="148" y="440"/>
                </a:cubicBezTo>
                <a:cubicBezTo>
                  <a:pt x="148" y="439"/>
                  <a:pt x="149" y="439"/>
                  <a:pt x="150" y="439"/>
                </a:cubicBezTo>
                <a:close/>
                <a:moveTo>
                  <a:pt x="151" y="379"/>
                </a:moveTo>
                <a:cubicBezTo>
                  <a:pt x="150" y="380"/>
                  <a:pt x="151" y="378"/>
                  <a:pt x="151" y="379"/>
                </a:cubicBezTo>
                <a:close/>
                <a:moveTo>
                  <a:pt x="153" y="447"/>
                </a:moveTo>
                <a:cubicBezTo>
                  <a:pt x="153" y="449"/>
                  <a:pt x="150" y="449"/>
                  <a:pt x="149" y="450"/>
                </a:cubicBezTo>
                <a:cubicBezTo>
                  <a:pt x="149" y="449"/>
                  <a:pt x="152" y="448"/>
                  <a:pt x="153" y="447"/>
                </a:cubicBezTo>
                <a:close/>
                <a:moveTo>
                  <a:pt x="156" y="472"/>
                </a:moveTo>
                <a:cubicBezTo>
                  <a:pt x="155" y="473"/>
                  <a:pt x="152" y="475"/>
                  <a:pt x="151" y="475"/>
                </a:cubicBezTo>
                <a:cubicBezTo>
                  <a:pt x="151" y="475"/>
                  <a:pt x="154" y="471"/>
                  <a:pt x="156" y="472"/>
                </a:cubicBezTo>
                <a:close/>
                <a:moveTo>
                  <a:pt x="156" y="435"/>
                </a:moveTo>
                <a:cubicBezTo>
                  <a:pt x="156" y="435"/>
                  <a:pt x="156" y="435"/>
                  <a:pt x="157" y="435"/>
                </a:cubicBezTo>
                <a:cubicBezTo>
                  <a:pt x="156" y="435"/>
                  <a:pt x="156" y="435"/>
                  <a:pt x="156" y="435"/>
                </a:cubicBezTo>
                <a:cubicBezTo>
                  <a:pt x="156" y="435"/>
                  <a:pt x="156" y="435"/>
                  <a:pt x="156" y="435"/>
                </a:cubicBezTo>
                <a:close/>
                <a:moveTo>
                  <a:pt x="155" y="447"/>
                </a:moveTo>
                <a:cubicBezTo>
                  <a:pt x="155" y="447"/>
                  <a:pt x="154" y="448"/>
                  <a:pt x="154" y="447"/>
                </a:cubicBezTo>
                <a:cubicBezTo>
                  <a:pt x="153" y="446"/>
                  <a:pt x="156" y="445"/>
                  <a:pt x="155" y="447"/>
                </a:cubicBezTo>
                <a:close/>
                <a:moveTo>
                  <a:pt x="155" y="434"/>
                </a:moveTo>
                <a:cubicBezTo>
                  <a:pt x="155" y="434"/>
                  <a:pt x="154" y="435"/>
                  <a:pt x="154" y="435"/>
                </a:cubicBezTo>
                <a:cubicBezTo>
                  <a:pt x="152" y="437"/>
                  <a:pt x="153" y="432"/>
                  <a:pt x="155" y="434"/>
                </a:cubicBezTo>
                <a:close/>
                <a:moveTo>
                  <a:pt x="152" y="391"/>
                </a:moveTo>
                <a:cubicBezTo>
                  <a:pt x="153" y="391"/>
                  <a:pt x="152" y="392"/>
                  <a:pt x="152" y="392"/>
                </a:cubicBezTo>
                <a:cubicBezTo>
                  <a:pt x="151" y="393"/>
                  <a:pt x="151" y="390"/>
                  <a:pt x="152" y="391"/>
                </a:cubicBezTo>
                <a:close/>
                <a:moveTo>
                  <a:pt x="151" y="438"/>
                </a:moveTo>
                <a:cubicBezTo>
                  <a:pt x="152" y="436"/>
                  <a:pt x="154" y="438"/>
                  <a:pt x="151" y="438"/>
                </a:cubicBezTo>
                <a:close/>
                <a:moveTo>
                  <a:pt x="151" y="253"/>
                </a:moveTo>
                <a:cubicBezTo>
                  <a:pt x="151" y="253"/>
                  <a:pt x="151" y="254"/>
                  <a:pt x="150" y="254"/>
                </a:cubicBezTo>
                <a:cubicBezTo>
                  <a:pt x="150" y="253"/>
                  <a:pt x="151" y="252"/>
                  <a:pt x="151" y="253"/>
                </a:cubicBezTo>
                <a:close/>
                <a:moveTo>
                  <a:pt x="150" y="436"/>
                </a:moveTo>
                <a:cubicBezTo>
                  <a:pt x="151" y="436"/>
                  <a:pt x="150" y="437"/>
                  <a:pt x="150" y="437"/>
                </a:cubicBezTo>
                <a:cubicBezTo>
                  <a:pt x="149" y="439"/>
                  <a:pt x="149" y="435"/>
                  <a:pt x="150" y="436"/>
                </a:cubicBezTo>
                <a:close/>
                <a:moveTo>
                  <a:pt x="149" y="322"/>
                </a:moveTo>
                <a:cubicBezTo>
                  <a:pt x="149" y="323"/>
                  <a:pt x="148" y="322"/>
                  <a:pt x="149" y="322"/>
                </a:cubicBezTo>
                <a:close/>
                <a:moveTo>
                  <a:pt x="149" y="365"/>
                </a:moveTo>
                <a:cubicBezTo>
                  <a:pt x="149" y="366"/>
                  <a:pt x="147" y="366"/>
                  <a:pt x="148" y="365"/>
                </a:cubicBezTo>
                <a:cubicBezTo>
                  <a:pt x="148" y="365"/>
                  <a:pt x="149" y="365"/>
                  <a:pt x="149" y="365"/>
                </a:cubicBezTo>
                <a:close/>
                <a:moveTo>
                  <a:pt x="147" y="197"/>
                </a:moveTo>
                <a:cubicBezTo>
                  <a:pt x="146" y="198"/>
                  <a:pt x="146" y="198"/>
                  <a:pt x="145" y="197"/>
                </a:cubicBezTo>
                <a:cubicBezTo>
                  <a:pt x="142" y="194"/>
                  <a:pt x="150" y="194"/>
                  <a:pt x="147" y="197"/>
                </a:cubicBezTo>
                <a:close/>
                <a:moveTo>
                  <a:pt x="145" y="359"/>
                </a:moveTo>
                <a:cubicBezTo>
                  <a:pt x="147" y="359"/>
                  <a:pt x="145" y="362"/>
                  <a:pt x="145" y="362"/>
                </a:cubicBezTo>
                <a:cubicBezTo>
                  <a:pt x="143" y="363"/>
                  <a:pt x="143" y="358"/>
                  <a:pt x="145" y="359"/>
                </a:cubicBezTo>
                <a:close/>
                <a:moveTo>
                  <a:pt x="145" y="402"/>
                </a:moveTo>
                <a:cubicBezTo>
                  <a:pt x="145" y="404"/>
                  <a:pt x="144" y="404"/>
                  <a:pt x="143" y="405"/>
                </a:cubicBezTo>
                <a:cubicBezTo>
                  <a:pt x="143" y="404"/>
                  <a:pt x="144" y="403"/>
                  <a:pt x="145" y="402"/>
                </a:cubicBezTo>
                <a:close/>
                <a:moveTo>
                  <a:pt x="132" y="456"/>
                </a:moveTo>
                <a:cubicBezTo>
                  <a:pt x="134" y="453"/>
                  <a:pt x="139" y="450"/>
                  <a:pt x="143" y="448"/>
                </a:cubicBezTo>
                <a:cubicBezTo>
                  <a:pt x="139" y="451"/>
                  <a:pt x="137" y="455"/>
                  <a:pt x="132" y="456"/>
                </a:cubicBezTo>
                <a:close/>
                <a:moveTo>
                  <a:pt x="131" y="395"/>
                </a:moveTo>
                <a:cubicBezTo>
                  <a:pt x="132" y="394"/>
                  <a:pt x="132" y="393"/>
                  <a:pt x="134" y="393"/>
                </a:cubicBezTo>
                <a:cubicBezTo>
                  <a:pt x="134" y="393"/>
                  <a:pt x="132" y="395"/>
                  <a:pt x="131" y="395"/>
                </a:cubicBezTo>
                <a:close/>
                <a:moveTo>
                  <a:pt x="134" y="448"/>
                </a:moveTo>
                <a:cubicBezTo>
                  <a:pt x="134" y="448"/>
                  <a:pt x="133" y="449"/>
                  <a:pt x="133" y="448"/>
                </a:cubicBezTo>
                <a:cubicBezTo>
                  <a:pt x="132" y="447"/>
                  <a:pt x="135" y="447"/>
                  <a:pt x="134" y="448"/>
                </a:cubicBezTo>
                <a:close/>
                <a:moveTo>
                  <a:pt x="132" y="422"/>
                </a:moveTo>
                <a:cubicBezTo>
                  <a:pt x="131" y="421"/>
                  <a:pt x="131" y="420"/>
                  <a:pt x="132" y="420"/>
                </a:cubicBezTo>
                <a:cubicBezTo>
                  <a:pt x="133" y="420"/>
                  <a:pt x="134" y="421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5" y="424"/>
                  <a:pt x="130" y="426"/>
                  <a:pt x="130" y="423"/>
                </a:cubicBezTo>
                <a:cubicBezTo>
                  <a:pt x="130" y="422"/>
                  <a:pt x="131" y="422"/>
                  <a:pt x="132" y="422"/>
                </a:cubicBezTo>
                <a:close/>
                <a:moveTo>
                  <a:pt x="138" y="416"/>
                </a:moveTo>
                <a:cubicBezTo>
                  <a:pt x="137" y="417"/>
                  <a:pt x="139" y="415"/>
                  <a:pt x="138" y="416"/>
                </a:cubicBezTo>
                <a:close/>
                <a:moveTo>
                  <a:pt x="139" y="433"/>
                </a:moveTo>
                <a:cubicBezTo>
                  <a:pt x="139" y="432"/>
                  <a:pt x="139" y="432"/>
                  <a:pt x="139" y="432"/>
                </a:cubicBezTo>
                <a:cubicBezTo>
                  <a:pt x="139" y="430"/>
                  <a:pt x="141" y="433"/>
                  <a:pt x="139" y="433"/>
                </a:cubicBezTo>
                <a:close/>
                <a:moveTo>
                  <a:pt x="140" y="443"/>
                </a:moveTo>
                <a:cubicBezTo>
                  <a:pt x="140" y="443"/>
                  <a:pt x="141" y="443"/>
                  <a:pt x="141" y="444"/>
                </a:cubicBezTo>
                <a:cubicBezTo>
                  <a:pt x="141" y="444"/>
                  <a:pt x="140" y="444"/>
                  <a:pt x="140" y="443"/>
                </a:cubicBezTo>
                <a:close/>
                <a:moveTo>
                  <a:pt x="142" y="387"/>
                </a:moveTo>
                <a:cubicBezTo>
                  <a:pt x="141" y="387"/>
                  <a:pt x="144" y="386"/>
                  <a:pt x="142" y="387"/>
                </a:cubicBezTo>
                <a:close/>
                <a:moveTo>
                  <a:pt x="142" y="436"/>
                </a:moveTo>
                <a:cubicBezTo>
                  <a:pt x="143" y="436"/>
                  <a:pt x="142" y="439"/>
                  <a:pt x="141" y="437"/>
                </a:cubicBezTo>
                <a:cubicBezTo>
                  <a:pt x="141" y="436"/>
                  <a:pt x="142" y="436"/>
                  <a:pt x="142" y="436"/>
                </a:cubicBezTo>
                <a:close/>
                <a:moveTo>
                  <a:pt x="142" y="387"/>
                </a:moveTo>
                <a:cubicBezTo>
                  <a:pt x="141" y="389"/>
                  <a:pt x="139" y="391"/>
                  <a:pt x="137" y="392"/>
                </a:cubicBezTo>
                <a:cubicBezTo>
                  <a:pt x="137" y="392"/>
                  <a:pt x="139" y="388"/>
                  <a:pt x="142" y="387"/>
                </a:cubicBezTo>
                <a:close/>
                <a:moveTo>
                  <a:pt x="136" y="246"/>
                </a:moveTo>
                <a:cubicBezTo>
                  <a:pt x="135" y="246"/>
                  <a:pt x="137" y="245"/>
                  <a:pt x="136" y="246"/>
                </a:cubicBezTo>
                <a:close/>
                <a:moveTo>
                  <a:pt x="134" y="301"/>
                </a:moveTo>
                <a:cubicBezTo>
                  <a:pt x="134" y="298"/>
                  <a:pt x="136" y="300"/>
                  <a:pt x="134" y="301"/>
                </a:cubicBezTo>
                <a:close/>
                <a:moveTo>
                  <a:pt x="135" y="342"/>
                </a:moveTo>
                <a:cubicBezTo>
                  <a:pt x="135" y="343"/>
                  <a:pt x="134" y="344"/>
                  <a:pt x="134" y="345"/>
                </a:cubicBezTo>
                <a:cubicBezTo>
                  <a:pt x="133" y="344"/>
                  <a:pt x="134" y="342"/>
                  <a:pt x="135" y="342"/>
                </a:cubicBezTo>
                <a:close/>
                <a:moveTo>
                  <a:pt x="129" y="351"/>
                </a:moveTo>
                <a:cubicBezTo>
                  <a:pt x="129" y="350"/>
                  <a:pt x="132" y="348"/>
                  <a:pt x="132" y="346"/>
                </a:cubicBezTo>
                <a:cubicBezTo>
                  <a:pt x="133" y="347"/>
                  <a:pt x="130" y="349"/>
                  <a:pt x="129" y="351"/>
                </a:cubicBezTo>
                <a:close/>
                <a:moveTo>
                  <a:pt x="132" y="280"/>
                </a:moveTo>
                <a:cubicBezTo>
                  <a:pt x="132" y="282"/>
                  <a:pt x="130" y="281"/>
                  <a:pt x="132" y="280"/>
                </a:cubicBezTo>
                <a:close/>
                <a:moveTo>
                  <a:pt x="129" y="305"/>
                </a:moveTo>
                <a:cubicBezTo>
                  <a:pt x="131" y="306"/>
                  <a:pt x="130" y="307"/>
                  <a:pt x="129" y="307"/>
                </a:cubicBezTo>
                <a:cubicBezTo>
                  <a:pt x="127" y="309"/>
                  <a:pt x="128" y="305"/>
                  <a:pt x="129" y="305"/>
                </a:cubicBezTo>
                <a:close/>
                <a:moveTo>
                  <a:pt x="118" y="327"/>
                </a:moveTo>
                <a:cubicBezTo>
                  <a:pt x="118" y="327"/>
                  <a:pt x="117" y="327"/>
                  <a:pt x="117" y="326"/>
                </a:cubicBezTo>
                <a:cubicBezTo>
                  <a:pt x="117" y="326"/>
                  <a:pt x="119" y="326"/>
                  <a:pt x="118" y="327"/>
                </a:cubicBezTo>
                <a:close/>
                <a:moveTo>
                  <a:pt x="118" y="336"/>
                </a:moveTo>
                <a:cubicBezTo>
                  <a:pt x="118" y="336"/>
                  <a:pt x="118" y="337"/>
                  <a:pt x="117" y="336"/>
                </a:cubicBezTo>
                <a:cubicBezTo>
                  <a:pt x="117" y="336"/>
                  <a:pt x="119" y="334"/>
                  <a:pt x="118" y="336"/>
                </a:cubicBezTo>
                <a:close/>
                <a:moveTo>
                  <a:pt x="115" y="336"/>
                </a:moveTo>
                <a:cubicBezTo>
                  <a:pt x="116" y="335"/>
                  <a:pt x="114" y="337"/>
                  <a:pt x="115" y="336"/>
                </a:cubicBezTo>
                <a:close/>
                <a:moveTo>
                  <a:pt x="115" y="386"/>
                </a:moveTo>
                <a:cubicBezTo>
                  <a:pt x="116" y="387"/>
                  <a:pt x="115" y="387"/>
                  <a:pt x="114" y="387"/>
                </a:cubicBezTo>
                <a:cubicBezTo>
                  <a:pt x="114" y="388"/>
                  <a:pt x="115" y="386"/>
                  <a:pt x="115" y="386"/>
                </a:cubicBezTo>
                <a:close/>
                <a:moveTo>
                  <a:pt x="114" y="388"/>
                </a:moveTo>
                <a:cubicBezTo>
                  <a:pt x="114" y="389"/>
                  <a:pt x="113" y="389"/>
                  <a:pt x="113" y="390"/>
                </a:cubicBezTo>
                <a:cubicBezTo>
                  <a:pt x="112" y="390"/>
                  <a:pt x="113" y="388"/>
                  <a:pt x="114" y="388"/>
                </a:cubicBezTo>
                <a:close/>
                <a:moveTo>
                  <a:pt x="111" y="394"/>
                </a:moveTo>
                <a:cubicBezTo>
                  <a:pt x="110" y="393"/>
                  <a:pt x="112" y="392"/>
                  <a:pt x="112" y="391"/>
                </a:cubicBezTo>
                <a:cubicBezTo>
                  <a:pt x="113" y="392"/>
                  <a:pt x="111" y="393"/>
                  <a:pt x="111" y="394"/>
                </a:cubicBezTo>
                <a:close/>
                <a:moveTo>
                  <a:pt x="112" y="243"/>
                </a:moveTo>
                <a:cubicBezTo>
                  <a:pt x="111" y="245"/>
                  <a:pt x="111" y="241"/>
                  <a:pt x="112" y="242"/>
                </a:cubicBezTo>
                <a:cubicBezTo>
                  <a:pt x="113" y="242"/>
                  <a:pt x="112" y="243"/>
                  <a:pt x="112" y="243"/>
                </a:cubicBezTo>
                <a:close/>
                <a:moveTo>
                  <a:pt x="115" y="433"/>
                </a:moveTo>
                <a:cubicBezTo>
                  <a:pt x="111" y="434"/>
                  <a:pt x="116" y="429"/>
                  <a:pt x="116" y="432"/>
                </a:cubicBezTo>
                <a:cubicBezTo>
                  <a:pt x="116" y="432"/>
                  <a:pt x="115" y="433"/>
                  <a:pt x="115" y="433"/>
                </a:cubicBezTo>
                <a:close/>
                <a:moveTo>
                  <a:pt x="116" y="435"/>
                </a:moveTo>
                <a:cubicBezTo>
                  <a:pt x="115" y="436"/>
                  <a:pt x="117" y="434"/>
                  <a:pt x="116" y="435"/>
                </a:cubicBezTo>
                <a:close/>
                <a:moveTo>
                  <a:pt x="113" y="417"/>
                </a:moveTo>
                <a:cubicBezTo>
                  <a:pt x="115" y="413"/>
                  <a:pt x="118" y="409"/>
                  <a:pt x="121" y="406"/>
                </a:cubicBezTo>
                <a:cubicBezTo>
                  <a:pt x="119" y="410"/>
                  <a:pt x="117" y="414"/>
                  <a:pt x="113" y="417"/>
                </a:cubicBezTo>
                <a:close/>
                <a:moveTo>
                  <a:pt x="121" y="276"/>
                </a:moveTo>
                <a:cubicBezTo>
                  <a:pt x="121" y="276"/>
                  <a:pt x="121" y="277"/>
                  <a:pt x="121" y="277"/>
                </a:cubicBezTo>
                <a:cubicBezTo>
                  <a:pt x="120" y="276"/>
                  <a:pt x="122" y="275"/>
                  <a:pt x="121" y="276"/>
                </a:cubicBezTo>
                <a:close/>
                <a:moveTo>
                  <a:pt x="122" y="193"/>
                </a:moveTo>
                <a:cubicBezTo>
                  <a:pt x="123" y="193"/>
                  <a:pt x="123" y="195"/>
                  <a:pt x="122" y="195"/>
                </a:cubicBezTo>
                <a:cubicBezTo>
                  <a:pt x="121" y="197"/>
                  <a:pt x="121" y="192"/>
                  <a:pt x="122" y="193"/>
                </a:cubicBezTo>
                <a:close/>
                <a:moveTo>
                  <a:pt x="122" y="472"/>
                </a:moveTo>
                <a:cubicBezTo>
                  <a:pt x="122" y="473"/>
                  <a:pt x="121" y="474"/>
                  <a:pt x="120" y="475"/>
                </a:cubicBezTo>
                <a:cubicBezTo>
                  <a:pt x="120" y="474"/>
                  <a:pt x="121" y="472"/>
                  <a:pt x="122" y="472"/>
                </a:cubicBezTo>
                <a:close/>
                <a:moveTo>
                  <a:pt x="120" y="461"/>
                </a:moveTo>
                <a:cubicBezTo>
                  <a:pt x="121" y="463"/>
                  <a:pt x="118" y="467"/>
                  <a:pt x="116" y="466"/>
                </a:cubicBezTo>
                <a:cubicBezTo>
                  <a:pt x="115" y="464"/>
                  <a:pt x="119" y="462"/>
                  <a:pt x="120" y="461"/>
                </a:cubicBezTo>
                <a:close/>
                <a:moveTo>
                  <a:pt x="111" y="479"/>
                </a:moveTo>
                <a:cubicBezTo>
                  <a:pt x="110" y="481"/>
                  <a:pt x="109" y="480"/>
                  <a:pt x="111" y="479"/>
                </a:cubicBezTo>
                <a:close/>
                <a:moveTo>
                  <a:pt x="110" y="496"/>
                </a:moveTo>
                <a:cubicBezTo>
                  <a:pt x="111" y="495"/>
                  <a:pt x="109" y="497"/>
                  <a:pt x="110" y="496"/>
                </a:cubicBezTo>
                <a:close/>
                <a:moveTo>
                  <a:pt x="107" y="477"/>
                </a:moveTo>
                <a:cubicBezTo>
                  <a:pt x="107" y="476"/>
                  <a:pt x="106" y="478"/>
                  <a:pt x="107" y="477"/>
                </a:cubicBezTo>
                <a:close/>
                <a:moveTo>
                  <a:pt x="109" y="509"/>
                </a:moveTo>
                <a:cubicBezTo>
                  <a:pt x="108" y="510"/>
                  <a:pt x="107" y="509"/>
                  <a:pt x="106" y="508"/>
                </a:cubicBezTo>
                <a:cubicBezTo>
                  <a:pt x="104" y="505"/>
                  <a:pt x="110" y="501"/>
                  <a:pt x="111" y="503"/>
                </a:cubicBezTo>
                <a:cubicBezTo>
                  <a:pt x="114" y="504"/>
                  <a:pt x="111" y="509"/>
                  <a:pt x="109" y="509"/>
                </a:cubicBezTo>
                <a:close/>
                <a:moveTo>
                  <a:pt x="115" y="501"/>
                </a:moveTo>
                <a:cubicBezTo>
                  <a:pt x="115" y="499"/>
                  <a:pt x="117" y="501"/>
                  <a:pt x="115" y="501"/>
                </a:cubicBezTo>
                <a:close/>
                <a:moveTo>
                  <a:pt x="115" y="498"/>
                </a:moveTo>
                <a:cubicBezTo>
                  <a:pt x="115" y="498"/>
                  <a:pt x="115" y="498"/>
                  <a:pt x="115" y="498"/>
                </a:cubicBezTo>
                <a:cubicBezTo>
                  <a:pt x="115" y="499"/>
                  <a:pt x="115" y="499"/>
                  <a:pt x="115" y="499"/>
                </a:cubicBezTo>
                <a:cubicBezTo>
                  <a:pt x="114" y="500"/>
                  <a:pt x="114" y="500"/>
                  <a:pt x="114" y="501"/>
                </a:cubicBezTo>
                <a:cubicBezTo>
                  <a:pt x="114" y="501"/>
                  <a:pt x="114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1"/>
                  <a:pt x="113" y="501"/>
                </a:cubicBezTo>
                <a:cubicBezTo>
                  <a:pt x="114" y="499"/>
                  <a:pt x="115" y="496"/>
                  <a:pt x="116" y="494"/>
                </a:cubicBezTo>
                <a:cubicBezTo>
                  <a:pt x="116" y="495"/>
                  <a:pt x="116" y="497"/>
                  <a:pt x="115" y="498"/>
                </a:cubicBezTo>
                <a:close/>
                <a:moveTo>
                  <a:pt x="115" y="482"/>
                </a:moveTo>
                <a:cubicBezTo>
                  <a:pt x="116" y="481"/>
                  <a:pt x="118" y="481"/>
                  <a:pt x="120" y="480"/>
                </a:cubicBezTo>
                <a:cubicBezTo>
                  <a:pt x="119" y="482"/>
                  <a:pt x="117" y="482"/>
                  <a:pt x="115" y="482"/>
                </a:cubicBezTo>
                <a:close/>
                <a:moveTo>
                  <a:pt x="121" y="500"/>
                </a:moveTo>
                <a:cubicBezTo>
                  <a:pt x="122" y="501"/>
                  <a:pt x="121" y="503"/>
                  <a:pt x="119" y="503"/>
                </a:cubicBezTo>
                <a:cubicBezTo>
                  <a:pt x="117" y="502"/>
                  <a:pt x="119" y="499"/>
                  <a:pt x="121" y="500"/>
                </a:cubicBezTo>
                <a:cubicBezTo>
                  <a:pt x="119" y="498"/>
                  <a:pt x="121" y="493"/>
                  <a:pt x="124" y="494"/>
                </a:cubicBezTo>
                <a:cubicBezTo>
                  <a:pt x="128" y="495"/>
                  <a:pt x="124" y="503"/>
                  <a:pt x="121" y="500"/>
                </a:cubicBezTo>
                <a:close/>
                <a:moveTo>
                  <a:pt x="123" y="425"/>
                </a:moveTo>
                <a:cubicBezTo>
                  <a:pt x="123" y="425"/>
                  <a:pt x="123" y="424"/>
                  <a:pt x="124" y="424"/>
                </a:cubicBezTo>
                <a:cubicBezTo>
                  <a:pt x="124" y="424"/>
                  <a:pt x="123" y="425"/>
                  <a:pt x="123" y="425"/>
                </a:cubicBezTo>
                <a:close/>
                <a:moveTo>
                  <a:pt x="123" y="474"/>
                </a:moveTo>
                <a:cubicBezTo>
                  <a:pt x="123" y="472"/>
                  <a:pt x="125" y="474"/>
                  <a:pt x="123" y="474"/>
                </a:cubicBezTo>
                <a:close/>
                <a:moveTo>
                  <a:pt x="123" y="471"/>
                </a:moveTo>
                <a:cubicBezTo>
                  <a:pt x="125" y="469"/>
                  <a:pt x="122" y="472"/>
                  <a:pt x="123" y="471"/>
                </a:cubicBezTo>
                <a:close/>
                <a:moveTo>
                  <a:pt x="126" y="472"/>
                </a:moveTo>
                <a:cubicBezTo>
                  <a:pt x="126" y="472"/>
                  <a:pt x="126" y="472"/>
                  <a:pt x="126" y="472"/>
                </a:cubicBezTo>
                <a:cubicBezTo>
                  <a:pt x="125" y="472"/>
                  <a:pt x="125" y="473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lose/>
                <a:moveTo>
                  <a:pt x="127" y="431"/>
                </a:moveTo>
                <a:cubicBezTo>
                  <a:pt x="127" y="431"/>
                  <a:pt x="128" y="431"/>
                  <a:pt x="127" y="432"/>
                </a:cubicBezTo>
                <a:cubicBezTo>
                  <a:pt x="127" y="433"/>
                  <a:pt x="126" y="431"/>
                  <a:pt x="127" y="431"/>
                </a:cubicBezTo>
                <a:close/>
                <a:moveTo>
                  <a:pt x="127" y="501"/>
                </a:moveTo>
                <a:cubicBezTo>
                  <a:pt x="127" y="500"/>
                  <a:pt x="127" y="500"/>
                  <a:pt x="127" y="500"/>
                </a:cubicBezTo>
                <a:cubicBezTo>
                  <a:pt x="127" y="498"/>
                  <a:pt x="129" y="501"/>
                  <a:pt x="127" y="501"/>
                </a:cubicBezTo>
                <a:close/>
                <a:moveTo>
                  <a:pt x="128" y="501"/>
                </a:moveTo>
                <a:cubicBezTo>
                  <a:pt x="127" y="502"/>
                  <a:pt x="128" y="499"/>
                  <a:pt x="129" y="500"/>
                </a:cubicBezTo>
                <a:cubicBezTo>
                  <a:pt x="130" y="501"/>
                  <a:pt x="129" y="501"/>
                  <a:pt x="128" y="501"/>
                </a:cubicBezTo>
                <a:close/>
                <a:moveTo>
                  <a:pt x="128" y="456"/>
                </a:moveTo>
                <a:cubicBezTo>
                  <a:pt x="129" y="455"/>
                  <a:pt x="127" y="457"/>
                  <a:pt x="128" y="456"/>
                </a:cubicBezTo>
                <a:close/>
                <a:moveTo>
                  <a:pt x="125" y="401"/>
                </a:moveTo>
                <a:cubicBezTo>
                  <a:pt x="125" y="401"/>
                  <a:pt x="122" y="406"/>
                  <a:pt x="123" y="403"/>
                </a:cubicBezTo>
                <a:cubicBezTo>
                  <a:pt x="123" y="401"/>
                  <a:pt x="128" y="398"/>
                  <a:pt x="130" y="396"/>
                </a:cubicBezTo>
                <a:cubicBezTo>
                  <a:pt x="129" y="398"/>
                  <a:pt x="127" y="399"/>
                  <a:pt x="125" y="401"/>
                </a:cubicBezTo>
                <a:close/>
                <a:moveTo>
                  <a:pt x="131" y="424"/>
                </a:moveTo>
                <a:cubicBezTo>
                  <a:pt x="131" y="424"/>
                  <a:pt x="131" y="425"/>
                  <a:pt x="130" y="426"/>
                </a:cubicBezTo>
                <a:cubicBezTo>
                  <a:pt x="130" y="426"/>
                  <a:pt x="130" y="424"/>
                  <a:pt x="131" y="424"/>
                </a:cubicBezTo>
                <a:close/>
                <a:moveTo>
                  <a:pt x="131" y="503"/>
                </a:moveTo>
                <a:cubicBezTo>
                  <a:pt x="129" y="502"/>
                  <a:pt x="134" y="500"/>
                  <a:pt x="132" y="503"/>
                </a:cubicBezTo>
                <a:cubicBezTo>
                  <a:pt x="132" y="503"/>
                  <a:pt x="131" y="504"/>
                  <a:pt x="131" y="503"/>
                </a:cubicBezTo>
                <a:close/>
                <a:moveTo>
                  <a:pt x="132" y="505"/>
                </a:moveTo>
                <a:cubicBezTo>
                  <a:pt x="132" y="506"/>
                  <a:pt x="133" y="504"/>
                  <a:pt x="132" y="505"/>
                </a:cubicBezTo>
                <a:close/>
                <a:moveTo>
                  <a:pt x="132" y="478"/>
                </a:moveTo>
                <a:cubicBezTo>
                  <a:pt x="130" y="480"/>
                  <a:pt x="130" y="474"/>
                  <a:pt x="132" y="475"/>
                </a:cubicBezTo>
                <a:cubicBezTo>
                  <a:pt x="134" y="476"/>
                  <a:pt x="133" y="478"/>
                  <a:pt x="132" y="478"/>
                </a:cubicBezTo>
                <a:close/>
                <a:moveTo>
                  <a:pt x="138" y="496"/>
                </a:moveTo>
                <a:cubicBezTo>
                  <a:pt x="136" y="498"/>
                  <a:pt x="135" y="493"/>
                  <a:pt x="137" y="494"/>
                </a:cubicBezTo>
                <a:cubicBezTo>
                  <a:pt x="138" y="494"/>
                  <a:pt x="138" y="496"/>
                  <a:pt x="138" y="496"/>
                </a:cubicBezTo>
                <a:close/>
                <a:moveTo>
                  <a:pt x="140" y="501"/>
                </a:moveTo>
                <a:cubicBezTo>
                  <a:pt x="141" y="500"/>
                  <a:pt x="141" y="502"/>
                  <a:pt x="140" y="501"/>
                </a:cubicBezTo>
                <a:close/>
                <a:moveTo>
                  <a:pt x="139" y="469"/>
                </a:moveTo>
                <a:cubicBezTo>
                  <a:pt x="138" y="471"/>
                  <a:pt x="136" y="474"/>
                  <a:pt x="135" y="475"/>
                </a:cubicBezTo>
                <a:cubicBezTo>
                  <a:pt x="130" y="476"/>
                  <a:pt x="139" y="468"/>
                  <a:pt x="141" y="467"/>
                </a:cubicBezTo>
                <a:cubicBezTo>
                  <a:pt x="138" y="469"/>
                  <a:pt x="141" y="465"/>
                  <a:pt x="142" y="466"/>
                </a:cubicBezTo>
                <a:cubicBezTo>
                  <a:pt x="143" y="467"/>
                  <a:pt x="140" y="469"/>
                  <a:pt x="139" y="469"/>
                </a:cubicBezTo>
                <a:close/>
                <a:moveTo>
                  <a:pt x="143" y="510"/>
                </a:moveTo>
                <a:cubicBezTo>
                  <a:pt x="142" y="510"/>
                  <a:pt x="142" y="511"/>
                  <a:pt x="142" y="511"/>
                </a:cubicBezTo>
                <a:cubicBezTo>
                  <a:pt x="143" y="510"/>
                  <a:pt x="143" y="509"/>
                  <a:pt x="143" y="510"/>
                </a:cubicBezTo>
                <a:close/>
                <a:moveTo>
                  <a:pt x="143" y="484"/>
                </a:moveTo>
                <a:cubicBezTo>
                  <a:pt x="143" y="484"/>
                  <a:pt x="144" y="483"/>
                  <a:pt x="144" y="483"/>
                </a:cubicBezTo>
                <a:cubicBezTo>
                  <a:pt x="144" y="483"/>
                  <a:pt x="144" y="484"/>
                  <a:pt x="143" y="484"/>
                </a:cubicBezTo>
                <a:close/>
                <a:moveTo>
                  <a:pt x="144" y="494"/>
                </a:moveTo>
                <a:cubicBezTo>
                  <a:pt x="144" y="493"/>
                  <a:pt x="147" y="493"/>
                  <a:pt x="147" y="494"/>
                </a:cubicBezTo>
                <a:cubicBezTo>
                  <a:pt x="147" y="495"/>
                  <a:pt x="144" y="497"/>
                  <a:pt x="144" y="494"/>
                </a:cubicBezTo>
                <a:close/>
                <a:moveTo>
                  <a:pt x="145" y="517"/>
                </a:moveTo>
                <a:cubicBezTo>
                  <a:pt x="144" y="515"/>
                  <a:pt x="148" y="516"/>
                  <a:pt x="148" y="517"/>
                </a:cubicBezTo>
                <a:cubicBezTo>
                  <a:pt x="147" y="518"/>
                  <a:pt x="145" y="519"/>
                  <a:pt x="145" y="517"/>
                </a:cubicBezTo>
                <a:close/>
                <a:moveTo>
                  <a:pt x="142" y="481"/>
                </a:moveTo>
                <a:cubicBezTo>
                  <a:pt x="144" y="479"/>
                  <a:pt x="146" y="477"/>
                  <a:pt x="149" y="476"/>
                </a:cubicBezTo>
                <a:cubicBezTo>
                  <a:pt x="147" y="478"/>
                  <a:pt x="145" y="480"/>
                  <a:pt x="142" y="481"/>
                </a:cubicBezTo>
                <a:close/>
                <a:moveTo>
                  <a:pt x="149" y="515"/>
                </a:moveTo>
                <a:cubicBezTo>
                  <a:pt x="149" y="515"/>
                  <a:pt x="147" y="515"/>
                  <a:pt x="148" y="514"/>
                </a:cubicBezTo>
                <a:cubicBezTo>
                  <a:pt x="148" y="514"/>
                  <a:pt x="150" y="515"/>
                  <a:pt x="149" y="515"/>
                </a:cubicBezTo>
                <a:close/>
                <a:moveTo>
                  <a:pt x="150" y="472"/>
                </a:moveTo>
                <a:cubicBezTo>
                  <a:pt x="149" y="472"/>
                  <a:pt x="150" y="470"/>
                  <a:pt x="150" y="470"/>
                </a:cubicBezTo>
                <a:cubicBezTo>
                  <a:pt x="151" y="471"/>
                  <a:pt x="149" y="472"/>
                  <a:pt x="150" y="472"/>
                </a:cubicBezTo>
                <a:close/>
                <a:moveTo>
                  <a:pt x="150" y="468"/>
                </a:moveTo>
                <a:cubicBezTo>
                  <a:pt x="150" y="468"/>
                  <a:pt x="150" y="468"/>
                  <a:pt x="151" y="468"/>
                </a:cubicBezTo>
                <a:cubicBezTo>
                  <a:pt x="151" y="468"/>
                  <a:pt x="151" y="467"/>
                  <a:pt x="151" y="467"/>
                </a:cubicBezTo>
                <a:cubicBezTo>
                  <a:pt x="151" y="467"/>
                  <a:pt x="151" y="467"/>
                  <a:pt x="151" y="467"/>
                </a:cubicBezTo>
                <a:cubicBezTo>
                  <a:pt x="151" y="468"/>
                  <a:pt x="151" y="468"/>
                  <a:pt x="151" y="468"/>
                </a:cubicBezTo>
                <a:cubicBezTo>
                  <a:pt x="150" y="468"/>
                  <a:pt x="150" y="468"/>
                  <a:pt x="150" y="468"/>
                </a:cubicBezTo>
                <a:close/>
                <a:moveTo>
                  <a:pt x="152" y="551"/>
                </a:moveTo>
                <a:cubicBezTo>
                  <a:pt x="151" y="551"/>
                  <a:pt x="151" y="551"/>
                  <a:pt x="151" y="551"/>
                </a:cubicBezTo>
                <a:cubicBezTo>
                  <a:pt x="150" y="550"/>
                  <a:pt x="153" y="549"/>
                  <a:pt x="152" y="551"/>
                </a:cubicBezTo>
                <a:close/>
                <a:moveTo>
                  <a:pt x="152" y="540"/>
                </a:moveTo>
                <a:cubicBezTo>
                  <a:pt x="150" y="541"/>
                  <a:pt x="150" y="536"/>
                  <a:pt x="153" y="537"/>
                </a:cubicBezTo>
                <a:cubicBezTo>
                  <a:pt x="154" y="537"/>
                  <a:pt x="153" y="539"/>
                  <a:pt x="152" y="540"/>
                </a:cubicBezTo>
                <a:close/>
                <a:moveTo>
                  <a:pt x="154" y="484"/>
                </a:moveTo>
                <a:cubicBezTo>
                  <a:pt x="153" y="483"/>
                  <a:pt x="155" y="483"/>
                  <a:pt x="155" y="484"/>
                </a:cubicBezTo>
                <a:cubicBezTo>
                  <a:pt x="155" y="484"/>
                  <a:pt x="154" y="485"/>
                  <a:pt x="154" y="484"/>
                </a:cubicBezTo>
                <a:close/>
                <a:moveTo>
                  <a:pt x="158" y="546"/>
                </a:moveTo>
                <a:cubicBezTo>
                  <a:pt x="158" y="546"/>
                  <a:pt x="158" y="547"/>
                  <a:pt x="158" y="547"/>
                </a:cubicBezTo>
                <a:cubicBezTo>
                  <a:pt x="158" y="547"/>
                  <a:pt x="158" y="547"/>
                  <a:pt x="158" y="547"/>
                </a:cubicBezTo>
                <a:cubicBezTo>
                  <a:pt x="157" y="547"/>
                  <a:pt x="155" y="548"/>
                  <a:pt x="154" y="548"/>
                </a:cubicBezTo>
                <a:cubicBezTo>
                  <a:pt x="155" y="546"/>
                  <a:pt x="158" y="546"/>
                  <a:pt x="160" y="545"/>
                </a:cubicBezTo>
                <a:cubicBezTo>
                  <a:pt x="160" y="545"/>
                  <a:pt x="159" y="546"/>
                  <a:pt x="158" y="546"/>
                </a:cubicBezTo>
                <a:close/>
                <a:moveTo>
                  <a:pt x="155" y="544"/>
                </a:moveTo>
                <a:cubicBezTo>
                  <a:pt x="155" y="544"/>
                  <a:pt x="156" y="543"/>
                  <a:pt x="156" y="544"/>
                </a:cubicBezTo>
                <a:cubicBezTo>
                  <a:pt x="156" y="544"/>
                  <a:pt x="155" y="546"/>
                  <a:pt x="155" y="544"/>
                </a:cubicBezTo>
                <a:close/>
                <a:moveTo>
                  <a:pt x="160" y="521"/>
                </a:moveTo>
                <a:cubicBezTo>
                  <a:pt x="151" y="525"/>
                  <a:pt x="154" y="511"/>
                  <a:pt x="161" y="512"/>
                </a:cubicBezTo>
                <a:cubicBezTo>
                  <a:pt x="165" y="513"/>
                  <a:pt x="162" y="520"/>
                  <a:pt x="160" y="521"/>
                </a:cubicBezTo>
                <a:close/>
                <a:moveTo>
                  <a:pt x="162" y="544"/>
                </a:moveTo>
                <a:cubicBezTo>
                  <a:pt x="162" y="545"/>
                  <a:pt x="161" y="545"/>
                  <a:pt x="161" y="545"/>
                </a:cubicBezTo>
                <a:cubicBezTo>
                  <a:pt x="160" y="544"/>
                  <a:pt x="165" y="543"/>
                  <a:pt x="162" y="544"/>
                </a:cubicBezTo>
                <a:close/>
                <a:moveTo>
                  <a:pt x="168" y="525"/>
                </a:moveTo>
                <a:cubicBezTo>
                  <a:pt x="168" y="525"/>
                  <a:pt x="169" y="525"/>
                  <a:pt x="169" y="525"/>
                </a:cubicBezTo>
                <a:cubicBezTo>
                  <a:pt x="169" y="526"/>
                  <a:pt x="168" y="526"/>
                  <a:pt x="168" y="525"/>
                </a:cubicBezTo>
                <a:close/>
                <a:moveTo>
                  <a:pt x="170" y="537"/>
                </a:moveTo>
                <a:cubicBezTo>
                  <a:pt x="168" y="538"/>
                  <a:pt x="168" y="535"/>
                  <a:pt x="170" y="535"/>
                </a:cubicBezTo>
                <a:cubicBezTo>
                  <a:pt x="171" y="536"/>
                  <a:pt x="170" y="536"/>
                  <a:pt x="170" y="537"/>
                </a:cubicBezTo>
                <a:close/>
                <a:moveTo>
                  <a:pt x="172" y="521"/>
                </a:moveTo>
                <a:cubicBezTo>
                  <a:pt x="170" y="522"/>
                  <a:pt x="165" y="524"/>
                  <a:pt x="161" y="525"/>
                </a:cubicBezTo>
                <a:cubicBezTo>
                  <a:pt x="164" y="523"/>
                  <a:pt x="170" y="520"/>
                  <a:pt x="173" y="519"/>
                </a:cubicBezTo>
                <a:cubicBezTo>
                  <a:pt x="172" y="519"/>
                  <a:pt x="175" y="519"/>
                  <a:pt x="175" y="519"/>
                </a:cubicBezTo>
                <a:cubicBezTo>
                  <a:pt x="175" y="520"/>
                  <a:pt x="173" y="520"/>
                  <a:pt x="172" y="521"/>
                </a:cubicBezTo>
                <a:close/>
                <a:moveTo>
                  <a:pt x="176" y="546"/>
                </a:moveTo>
                <a:cubicBezTo>
                  <a:pt x="175" y="547"/>
                  <a:pt x="175" y="547"/>
                  <a:pt x="175" y="546"/>
                </a:cubicBezTo>
                <a:cubicBezTo>
                  <a:pt x="174" y="545"/>
                  <a:pt x="177" y="545"/>
                  <a:pt x="176" y="546"/>
                </a:cubicBezTo>
                <a:close/>
                <a:moveTo>
                  <a:pt x="174" y="497"/>
                </a:moveTo>
                <a:cubicBezTo>
                  <a:pt x="174" y="496"/>
                  <a:pt x="176" y="497"/>
                  <a:pt x="176" y="497"/>
                </a:cubicBezTo>
                <a:cubicBezTo>
                  <a:pt x="176" y="498"/>
                  <a:pt x="174" y="499"/>
                  <a:pt x="174" y="497"/>
                </a:cubicBezTo>
                <a:close/>
                <a:moveTo>
                  <a:pt x="176" y="431"/>
                </a:moveTo>
                <a:cubicBezTo>
                  <a:pt x="176" y="431"/>
                  <a:pt x="176" y="431"/>
                  <a:pt x="176" y="431"/>
                </a:cubicBezTo>
                <a:cubicBezTo>
                  <a:pt x="175" y="433"/>
                  <a:pt x="176" y="429"/>
                  <a:pt x="176" y="431"/>
                </a:cubicBezTo>
                <a:close/>
                <a:moveTo>
                  <a:pt x="176" y="487"/>
                </a:moveTo>
                <a:cubicBezTo>
                  <a:pt x="176" y="485"/>
                  <a:pt x="181" y="484"/>
                  <a:pt x="181" y="486"/>
                </a:cubicBezTo>
                <a:cubicBezTo>
                  <a:pt x="182" y="489"/>
                  <a:pt x="176" y="491"/>
                  <a:pt x="176" y="487"/>
                </a:cubicBezTo>
                <a:close/>
                <a:moveTo>
                  <a:pt x="180" y="543"/>
                </a:moveTo>
                <a:cubicBezTo>
                  <a:pt x="180" y="543"/>
                  <a:pt x="181" y="542"/>
                  <a:pt x="182" y="543"/>
                </a:cubicBezTo>
                <a:cubicBezTo>
                  <a:pt x="182" y="544"/>
                  <a:pt x="180" y="544"/>
                  <a:pt x="180" y="543"/>
                </a:cubicBezTo>
                <a:close/>
                <a:moveTo>
                  <a:pt x="182" y="538"/>
                </a:moveTo>
                <a:cubicBezTo>
                  <a:pt x="181" y="539"/>
                  <a:pt x="182" y="536"/>
                  <a:pt x="183" y="537"/>
                </a:cubicBezTo>
                <a:cubicBezTo>
                  <a:pt x="183" y="537"/>
                  <a:pt x="183" y="538"/>
                  <a:pt x="182" y="538"/>
                </a:cubicBezTo>
                <a:close/>
                <a:moveTo>
                  <a:pt x="183" y="485"/>
                </a:moveTo>
                <a:cubicBezTo>
                  <a:pt x="183" y="484"/>
                  <a:pt x="181" y="483"/>
                  <a:pt x="181" y="482"/>
                </a:cubicBezTo>
                <a:cubicBezTo>
                  <a:pt x="182" y="480"/>
                  <a:pt x="183" y="482"/>
                  <a:pt x="184" y="481"/>
                </a:cubicBezTo>
                <a:cubicBezTo>
                  <a:pt x="186" y="479"/>
                  <a:pt x="186" y="475"/>
                  <a:pt x="189" y="472"/>
                </a:cubicBezTo>
                <a:cubicBezTo>
                  <a:pt x="188" y="476"/>
                  <a:pt x="185" y="481"/>
                  <a:pt x="183" y="485"/>
                </a:cubicBezTo>
                <a:close/>
                <a:moveTo>
                  <a:pt x="186" y="544"/>
                </a:moveTo>
                <a:cubicBezTo>
                  <a:pt x="184" y="546"/>
                  <a:pt x="184" y="543"/>
                  <a:pt x="186" y="544"/>
                </a:cubicBezTo>
                <a:close/>
                <a:moveTo>
                  <a:pt x="185" y="507"/>
                </a:moveTo>
                <a:cubicBezTo>
                  <a:pt x="183" y="504"/>
                  <a:pt x="190" y="504"/>
                  <a:pt x="187" y="507"/>
                </a:cubicBezTo>
                <a:cubicBezTo>
                  <a:pt x="187" y="507"/>
                  <a:pt x="186" y="507"/>
                  <a:pt x="185" y="507"/>
                </a:cubicBezTo>
                <a:close/>
                <a:moveTo>
                  <a:pt x="189" y="542"/>
                </a:moveTo>
                <a:cubicBezTo>
                  <a:pt x="189" y="542"/>
                  <a:pt x="190" y="541"/>
                  <a:pt x="190" y="541"/>
                </a:cubicBezTo>
                <a:cubicBezTo>
                  <a:pt x="191" y="541"/>
                  <a:pt x="190" y="541"/>
                  <a:pt x="189" y="542"/>
                </a:cubicBezTo>
                <a:close/>
                <a:moveTo>
                  <a:pt x="193" y="537"/>
                </a:moveTo>
                <a:cubicBezTo>
                  <a:pt x="193" y="537"/>
                  <a:pt x="193" y="538"/>
                  <a:pt x="193" y="538"/>
                </a:cubicBezTo>
                <a:cubicBezTo>
                  <a:pt x="191" y="539"/>
                  <a:pt x="193" y="535"/>
                  <a:pt x="193" y="537"/>
                </a:cubicBezTo>
                <a:close/>
                <a:moveTo>
                  <a:pt x="188" y="542"/>
                </a:moveTo>
                <a:cubicBezTo>
                  <a:pt x="188" y="540"/>
                  <a:pt x="191" y="536"/>
                  <a:pt x="193" y="535"/>
                </a:cubicBezTo>
                <a:cubicBezTo>
                  <a:pt x="191" y="537"/>
                  <a:pt x="190" y="540"/>
                  <a:pt x="188" y="542"/>
                </a:cubicBezTo>
                <a:close/>
                <a:moveTo>
                  <a:pt x="190" y="499"/>
                </a:moveTo>
                <a:cubicBezTo>
                  <a:pt x="191" y="498"/>
                  <a:pt x="192" y="497"/>
                  <a:pt x="194" y="497"/>
                </a:cubicBezTo>
                <a:cubicBezTo>
                  <a:pt x="193" y="498"/>
                  <a:pt x="192" y="499"/>
                  <a:pt x="190" y="499"/>
                </a:cubicBezTo>
                <a:close/>
                <a:moveTo>
                  <a:pt x="194" y="533"/>
                </a:moveTo>
                <a:cubicBezTo>
                  <a:pt x="193" y="533"/>
                  <a:pt x="195" y="531"/>
                  <a:pt x="195" y="531"/>
                </a:cubicBezTo>
                <a:cubicBezTo>
                  <a:pt x="196" y="531"/>
                  <a:pt x="194" y="533"/>
                  <a:pt x="194" y="533"/>
                </a:cubicBezTo>
                <a:close/>
                <a:moveTo>
                  <a:pt x="194" y="497"/>
                </a:moveTo>
                <a:cubicBezTo>
                  <a:pt x="194" y="497"/>
                  <a:pt x="194" y="497"/>
                  <a:pt x="194" y="497"/>
                </a:cubicBezTo>
                <a:close/>
                <a:moveTo>
                  <a:pt x="195" y="497"/>
                </a:move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7"/>
                </a:cubicBezTo>
                <a:close/>
                <a:moveTo>
                  <a:pt x="189" y="398"/>
                </a:moveTo>
                <a:cubicBezTo>
                  <a:pt x="192" y="394"/>
                  <a:pt x="196" y="392"/>
                  <a:pt x="201" y="389"/>
                </a:cubicBezTo>
                <a:cubicBezTo>
                  <a:pt x="198" y="392"/>
                  <a:pt x="192" y="395"/>
                  <a:pt x="189" y="398"/>
                </a:cubicBezTo>
                <a:close/>
                <a:moveTo>
                  <a:pt x="196" y="530"/>
                </a:moveTo>
                <a:cubicBezTo>
                  <a:pt x="196" y="531"/>
                  <a:pt x="195" y="529"/>
                  <a:pt x="196" y="530"/>
                </a:cubicBezTo>
                <a:close/>
                <a:moveTo>
                  <a:pt x="198" y="514"/>
                </a:moveTo>
                <a:cubicBezTo>
                  <a:pt x="198" y="514"/>
                  <a:pt x="198" y="515"/>
                  <a:pt x="197" y="515"/>
                </a:cubicBezTo>
                <a:cubicBezTo>
                  <a:pt x="196" y="516"/>
                  <a:pt x="197" y="513"/>
                  <a:pt x="198" y="514"/>
                </a:cubicBezTo>
                <a:close/>
                <a:moveTo>
                  <a:pt x="198" y="558"/>
                </a:moveTo>
                <a:cubicBezTo>
                  <a:pt x="198" y="556"/>
                  <a:pt x="204" y="555"/>
                  <a:pt x="204" y="558"/>
                </a:cubicBezTo>
                <a:cubicBezTo>
                  <a:pt x="205" y="561"/>
                  <a:pt x="197" y="562"/>
                  <a:pt x="198" y="558"/>
                </a:cubicBezTo>
                <a:close/>
                <a:moveTo>
                  <a:pt x="204" y="554"/>
                </a:moveTo>
                <a:cubicBezTo>
                  <a:pt x="205" y="554"/>
                  <a:pt x="206" y="553"/>
                  <a:pt x="207" y="553"/>
                </a:cubicBezTo>
                <a:cubicBezTo>
                  <a:pt x="207" y="554"/>
                  <a:pt x="204" y="555"/>
                  <a:pt x="204" y="554"/>
                </a:cubicBezTo>
                <a:close/>
                <a:moveTo>
                  <a:pt x="203" y="542"/>
                </a:moveTo>
                <a:cubicBezTo>
                  <a:pt x="200" y="539"/>
                  <a:pt x="203" y="534"/>
                  <a:pt x="205" y="533"/>
                </a:cubicBezTo>
                <a:cubicBezTo>
                  <a:pt x="207" y="532"/>
                  <a:pt x="210" y="533"/>
                  <a:pt x="211" y="532"/>
                </a:cubicBezTo>
                <a:cubicBezTo>
                  <a:pt x="215" y="532"/>
                  <a:pt x="213" y="532"/>
                  <a:pt x="215" y="534"/>
                </a:cubicBezTo>
                <a:cubicBezTo>
                  <a:pt x="217" y="537"/>
                  <a:pt x="216" y="541"/>
                  <a:pt x="213" y="540"/>
                </a:cubicBezTo>
                <a:cubicBezTo>
                  <a:pt x="214" y="535"/>
                  <a:pt x="211" y="542"/>
                  <a:pt x="210" y="543"/>
                </a:cubicBezTo>
                <a:cubicBezTo>
                  <a:pt x="209" y="543"/>
                  <a:pt x="204" y="543"/>
                  <a:pt x="203" y="542"/>
                </a:cubicBezTo>
                <a:close/>
                <a:moveTo>
                  <a:pt x="213" y="545"/>
                </a:moveTo>
                <a:cubicBezTo>
                  <a:pt x="213" y="544"/>
                  <a:pt x="216" y="545"/>
                  <a:pt x="215" y="546"/>
                </a:cubicBezTo>
                <a:cubicBezTo>
                  <a:pt x="215" y="546"/>
                  <a:pt x="214" y="546"/>
                  <a:pt x="213" y="545"/>
                </a:cubicBezTo>
                <a:close/>
                <a:moveTo>
                  <a:pt x="215" y="609"/>
                </a:moveTo>
                <a:cubicBezTo>
                  <a:pt x="215" y="609"/>
                  <a:pt x="215" y="609"/>
                  <a:pt x="215" y="609"/>
                </a:cubicBezTo>
                <a:cubicBezTo>
                  <a:pt x="214" y="607"/>
                  <a:pt x="217" y="611"/>
                  <a:pt x="215" y="609"/>
                </a:cubicBezTo>
                <a:close/>
                <a:moveTo>
                  <a:pt x="214" y="557"/>
                </a:moveTo>
                <a:cubicBezTo>
                  <a:pt x="214" y="556"/>
                  <a:pt x="216" y="555"/>
                  <a:pt x="217" y="556"/>
                </a:cubicBezTo>
                <a:cubicBezTo>
                  <a:pt x="217" y="558"/>
                  <a:pt x="214" y="557"/>
                  <a:pt x="214" y="557"/>
                </a:cubicBezTo>
                <a:close/>
                <a:moveTo>
                  <a:pt x="209" y="544"/>
                </a:moveTo>
                <a:cubicBezTo>
                  <a:pt x="210" y="544"/>
                  <a:pt x="217" y="540"/>
                  <a:pt x="217" y="542"/>
                </a:cubicBezTo>
                <a:cubicBezTo>
                  <a:pt x="217" y="543"/>
                  <a:pt x="211" y="545"/>
                  <a:pt x="209" y="544"/>
                </a:cubicBezTo>
                <a:close/>
                <a:moveTo>
                  <a:pt x="216" y="527"/>
                </a:moveTo>
                <a:cubicBezTo>
                  <a:pt x="216" y="526"/>
                  <a:pt x="216" y="526"/>
                  <a:pt x="216" y="526"/>
                </a:cubicBezTo>
                <a:cubicBezTo>
                  <a:pt x="217" y="525"/>
                  <a:pt x="217" y="527"/>
                  <a:pt x="216" y="527"/>
                </a:cubicBezTo>
                <a:close/>
                <a:moveTo>
                  <a:pt x="217" y="615"/>
                </a:moveTo>
                <a:cubicBezTo>
                  <a:pt x="216" y="614"/>
                  <a:pt x="218" y="613"/>
                  <a:pt x="218" y="614"/>
                </a:cubicBezTo>
                <a:cubicBezTo>
                  <a:pt x="218" y="614"/>
                  <a:pt x="217" y="614"/>
                  <a:pt x="217" y="615"/>
                </a:cubicBezTo>
                <a:close/>
                <a:moveTo>
                  <a:pt x="219" y="542"/>
                </a:moveTo>
                <a:cubicBezTo>
                  <a:pt x="216" y="544"/>
                  <a:pt x="217" y="538"/>
                  <a:pt x="219" y="539"/>
                </a:cubicBezTo>
                <a:cubicBezTo>
                  <a:pt x="221" y="540"/>
                  <a:pt x="219" y="542"/>
                  <a:pt x="219" y="542"/>
                </a:cubicBezTo>
                <a:close/>
                <a:moveTo>
                  <a:pt x="219" y="567"/>
                </a:moveTo>
                <a:cubicBezTo>
                  <a:pt x="219" y="566"/>
                  <a:pt x="220" y="566"/>
                  <a:pt x="221" y="566"/>
                </a:cubicBezTo>
                <a:cubicBezTo>
                  <a:pt x="220" y="567"/>
                  <a:pt x="220" y="567"/>
                  <a:pt x="219" y="567"/>
                </a:cubicBezTo>
                <a:close/>
                <a:moveTo>
                  <a:pt x="222" y="589"/>
                </a:moveTo>
                <a:cubicBezTo>
                  <a:pt x="222" y="589"/>
                  <a:pt x="221" y="589"/>
                  <a:pt x="220" y="589"/>
                </a:cubicBezTo>
                <a:cubicBezTo>
                  <a:pt x="220" y="589"/>
                  <a:pt x="222" y="588"/>
                  <a:pt x="222" y="589"/>
                </a:cubicBezTo>
                <a:close/>
                <a:moveTo>
                  <a:pt x="221" y="615"/>
                </a:moveTo>
                <a:cubicBezTo>
                  <a:pt x="221" y="614"/>
                  <a:pt x="222" y="614"/>
                  <a:pt x="223" y="614"/>
                </a:cubicBezTo>
                <a:cubicBezTo>
                  <a:pt x="222" y="615"/>
                  <a:pt x="221" y="614"/>
                  <a:pt x="221" y="615"/>
                </a:cubicBezTo>
                <a:close/>
                <a:moveTo>
                  <a:pt x="223" y="565"/>
                </a:moveTo>
                <a:cubicBezTo>
                  <a:pt x="223" y="565"/>
                  <a:pt x="223" y="565"/>
                  <a:pt x="223" y="566"/>
                </a:cubicBezTo>
                <a:cubicBezTo>
                  <a:pt x="223" y="566"/>
                  <a:pt x="223" y="566"/>
                  <a:pt x="223" y="566"/>
                </a:cubicBezTo>
                <a:cubicBezTo>
                  <a:pt x="223" y="567"/>
                  <a:pt x="223" y="566"/>
                  <a:pt x="223" y="566"/>
                </a:cubicBezTo>
                <a:cubicBezTo>
                  <a:pt x="223" y="565"/>
                  <a:pt x="223" y="565"/>
                  <a:pt x="223" y="565"/>
                </a:cubicBezTo>
                <a:close/>
                <a:moveTo>
                  <a:pt x="223" y="571"/>
                </a:moveTo>
                <a:cubicBezTo>
                  <a:pt x="223" y="569"/>
                  <a:pt x="227" y="570"/>
                  <a:pt x="226" y="571"/>
                </a:cubicBezTo>
                <a:cubicBezTo>
                  <a:pt x="226" y="572"/>
                  <a:pt x="223" y="572"/>
                  <a:pt x="223" y="571"/>
                </a:cubicBezTo>
                <a:close/>
                <a:moveTo>
                  <a:pt x="226" y="582"/>
                </a:moveTo>
                <a:cubicBezTo>
                  <a:pt x="226" y="581"/>
                  <a:pt x="226" y="583"/>
                  <a:pt x="226" y="582"/>
                </a:cubicBezTo>
                <a:close/>
                <a:moveTo>
                  <a:pt x="227" y="608"/>
                </a:moveTo>
                <a:cubicBezTo>
                  <a:pt x="227" y="608"/>
                  <a:pt x="225" y="608"/>
                  <a:pt x="224" y="607"/>
                </a:cubicBezTo>
                <a:cubicBezTo>
                  <a:pt x="224" y="606"/>
                  <a:pt x="228" y="607"/>
                  <a:pt x="227" y="608"/>
                </a:cubicBezTo>
                <a:close/>
                <a:moveTo>
                  <a:pt x="226" y="578"/>
                </a:moveTo>
                <a:cubicBezTo>
                  <a:pt x="226" y="578"/>
                  <a:pt x="227" y="577"/>
                  <a:pt x="227" y="578"/>
                </a:cubicBezTo>
                <a:cubicBezTo>
                  <a:pt x="227" y="578"/>
                  <a:pt x="226" y="578"/>
                  <a:pt x="226" y="578"/>
                </a:cubicBezTo>
                <a:close/>
                <a:moveTo>
                  <a:pt x="236" y="538"/>
                </a:moveTo>
                <a:cubicBezTo>
                  <a:pt x="237" y="537"/>
                  <a:pt x="238" y="536"/>
                  <a:pt x="239" y="537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40" y="538"/>
                  <a:pt x="239" y="539"/>
                  <a:pt x="239" y="539"/>
                </a:cubicBezTo>
                <a:cubicBezTo>
                  <a:pt x="238" y="540"/>
                  <a:pt x="237" y="539"/>
                  <a:pt x="237" y="539"/>
                </a:cubicBezTo>
                <a:cubicBezTo>
                  <a:pt x="236" y="539"/>
                  <a:pt x="236" y="538"/>
                  <a:pt x="235" y="539"/>
                </a:cubicBezTo>
                <a:cubicBezTo>
                  <a:pt x="234" y="539"/>
                  <a:pt x="228" y="544"/>
                  <a:pt x="227" y="543"/>
                </a:cubicBezTo>
                <a:cubicBezTo>
                  <a:pt x="226" y="541"/>
                  <a:pt x="235" y="538"/>
                  <a:pt x="236" y="538"/>
                </a:cubicBezTo>
                <a:close/>
                <a:moveTo>
                  <a:pt x="235" y="592"/>
                </a:moveTo>
                <a:cubicBezTo>
                  <a:pt x="235" y="592"/>
                  <a:pt x="234" y="593"/>
                  <a:pt x="234" y="592"/>
                </a:cubicBezTo>
                <a:cubicBezTo>
                  <a:pt x="233" y="592"/>
                  <a:pt x="235" y="591"/>
                  <a:pt x="235" y="592"/>
                </a:cubicBezTo>
                <a:close/>
                <a:moveTo>
                  <a:pt x="233" y="585"/>
                </a:moveTo>
                <a:cubicBezTo>
                  <a:pt x="233" y="585"/>
                  <a:pt x="234" y="583"/>
                  <a:pt x="235" y="584"/>
                </a:cubicBezTo>
                <a:cubicBezTo>
                  <a:pt x="235" y="585"/>
                  <a:pt x="233" y="586"/>
                  <a:pt x="233" y="585"/>
                </a:cubicBezTo>
                <a:close/>
                <a:moveTo>
                  <a:pt x="228" y="573"/>
                </a:moveTo>
                <a:cubicBezTo>
                  <a:pt x="228" y="571"/>
                  <a:pt x="230" y="572"/>
                  <a:pt x="228" y="573"/>
                </a:cubicBezTo>
                <a:close/>
                <a:moveTo>
                  <a:pt x="229" y="580"/>
                </a:moveTo>
                <a:cubicBezTo>
                  <a:pt x="229" y="581"/>
                  <a:pt x="228" y="581"/>
                  <a:pt x="228" y="581"/>
                </a:cubicBezTo>
                <a:cubicBezTo>
                  <a:pt x="227" y="579"/>
                  <a:pt x="230" y="579"/>
                  <a:pt x="229" y="580"/>
                </a:cubicBezTo>
                <a:close/>
                <a:moveTo>
                  <a:pt x="231" y="599"/>
                </a:moveTo>
                <a:cubicBezTo>
                  <a:pt x="231" y="599"/>
                  <a:pt x="233" y="598"/>
                  <a:pt x="233" y="599"/>
                </a:cubicBezTo>
                <a:cubicBezTo>
                  <a:pt x="233" y="600"/>
                  <a:pt x="231" y="601"/>
                  <a:pt x="231" y="599"/>
                </a:cubicBezTo>
                <a:close/>
                <a:moveTo>
                  <a:pt x="236" y="624"/>
                </a:moveTo>
                <a:cubicBezTo>
                  <a:pt x="236" y="624"/>
                  <a:pt x="237" y="623"/>
                  <a:pt x="237" y="623"/>
                </a:cubicBezTo>
                <a:cubicBezTo>
                  <a:pt x="237" y="623"/>
                  <a:pt x="237" y="624"/>
                  <a:pt x="236" y="624"/>
                </a:cubicBezTo>
                <a:close/>
                <a:moveTo>
                  <a:pt x="232" y="618"/>
                </a:moveTo>
                <a:cubicBezTo>
                  <a:pt x="233" y="616"/>
                  <a:pt x="237" y="616"/>
                  <a:pt x="239" y="615"/>
                </a:cubicBezTo>
                <a:cubicBezTo>
                  <a:pt x="237" y="617"/>
                  <a:pt x="234" y="617"/>
                  <a:pt x="232" y="618"/>
                </a:cubicBezTo>
                <a:close/>
                <a:moveTo>
                  <a:pt x="238" y="665"/>
                </a:moveTo>
                <a:cubicBezTo>
                  <a:pt x="238" y="664"/>
                  <a:pt x="239" y="665"/>
                  <a:pt x="240" y="665"/>
                </a:cubicBezTo>
                <a:cubicBezTo>
                  <a:pt x="240" y="666"/>
                  <a:pt x="239" y="665"/>
                  <a:pt x="238" y="665"/>
                </a:cubicBezTo>
                <a:close/>
                <a:moveTo>
                  <a:pt x="240" y="664"/>
                </a:moveTo>
                <a:cubicBezTo>
                  <a:pt x="240" y="664"/>
                  <a:pt x="239" y="663"/>
                  <a:pt x="239" y="663"/>
                </a:cubicBezTo>
                <a:cubicBezTo>
                  <a:pt x="239" y="662"/>
                  <a:pt x="241" y="663"/>
                  <a:pt x="240" y="664"/>
                </a:cubicBezTo>
                <a:close/>
                <a:moveTo>
                  <a:pt x="251" y="679"/>
                </a:moveTo>
                <a:cubicBezTo>
                  <a:pt x="249" y="681"/>
                  <a:pt x="247" y="678"/>
                  <a:pt x="244" y="678"/>
                </a:cubicBezTo>
                <a:cubicBezTo>
                  <a:pt x="242" y="678"/>
                  <a:pt x="238" y="679"/>
                  <a:pt x="237" y="677"/>
                </a:cubicBezTo>
                <a:cubicBezTo>
                  <a:pt x="237" y="676"/>
                  <a:pt x="243" y="677"/>
                  <a:pt x="243" y="677"/>
                </a:cubicBezTo>
                <a:cubicBezTo>
                  <a:pt x="243" y="676"/>
                  <a:pt x="241" y="672"/>
                  <a:pt x="241" y="672"/>
                </a:cubicBezTo>
                <a:cubicBezTo>
                  <a:pt x="240" y="664"/>
                  <a:pt x="252" y="669"/>
                  <a:pt x="255" y="671"/>
                </a:cubicBezTo>
                <a:cubicBezTo>
                  <a:pt x="259" y="674"/>
                  <a:pt x="250" y="671"/>
                  <a:pt x="253" y="676"/>
                </a:cubicBezTo>
                <a:cubicBezTo>
                  <a:pt x="250" y="674"/>
                  <a:pt x="251" y="679"/>
                  <a:pt x="251" y="679"/>
                </a:cubicBezTo>
                <a:close/>
                <a:moveTo>
                  <a:pt x="254" y="687"/>
                </a:moveTo>
                <a:cubicBezTo>
                  <a:pt x="254" y="686"/>
                  <a:pt x="254" y="685"/>
                  <a:pt x="255" y="686"/>
                </a:cubicBezTo>
                <a:cubicBezTo>
                  <a:pt x="257" y="686"/>
                  <a:pt x="254" y="689"/>
                  <a:pt x="254" y="687"/>
                </a:cubicBezTo>
                <a:close/>
                <a:moveTo>
                  <a:pt x="254" y="690"/>
                </a:moveTo>
                <a:cubicBezTo>
                  <a:pt x="255" y="689"/>
                  <a:pt x="256" y="689"/>
                  <a:pt x="258" y="689"/>
                </a:cubicBezTo>
                <a:cubicBezTo>
                  <a:pt x="257" y="690"/>
                  <a:pt x="255" y="690"/>
                  <a:pt x="254" y="690"/>
                </a:cubicBezTo>
                <a:close/>
                <a:moveTo>
                  <a:pt x="257" y="690"/>
                </a:moveTo>
                <a:cubicBezTo>
                  <a:pt x="257" y="689"/>
                  <a:pt x="258" y="689"/>
                  <a:pt x="258" y="690"/>
                </a:cubicBezTo>
                <a:cubicBezTo>
                  <a:pt x="258" y="689"/>
                  <a:pt x="258" y="691"/>
                  <a:pt x="257" y="690"/>
                </a:cubicBezTo>
                <a:close/>
                <a:moveTo>
                  <a:pt x="259" y="689"/>
                </a:moveTo>
                <a:cubicBezTo>
                  <a:pt x="258" y="689"/>
                  <a:pt x="261" y="689"/>
                  <a:pt x="259" y="689"/>
                </a:cubicBezTo>
                <a:close/>
                <a:moveTo>
                  <a:pt x="260" y="660"/>
                </a:moveTo>
                <a:cubicBezTo>
                  <a:pt x="259" y="660"/>
                  <a:pt x="259" y="659"/>
                  <a:pt x="260" y="660"/>
                </a:cubicBezTo>
                <a:close/>
                <a:moveTo>
                  <a:pt x="261" y="631"/>
                </a:moveTo>
                <a:cubicBezTo>
                  <a:pt x="260" y="631"/>
                  <a:pt x="261" y="630"/>
                  <a:pt x="261" y="630"/>
                </a:cubicBezTo>
                <a:cubicBezTo>
                  <a:pt x="262" y="630"/>
                  <a:pt x="261" y="631"/>
                  <a:pt x="261" y="631"/>
                </a:cubicBezTo>
                <a:close/>
                <a:moveTo>
                  <a:pt x="263" y="682"/>
                </a:moveTo>
                <a:cubicBezTo>
                  <a:pt x="263" y="681"/>
                  <a:pt x="265" y="681"/>
                  <a:pt x="265" y="682"/>
                </a:cubicBezTo>
                <a:cubicBezTo>
                  <a:pt x="266" y="682"/>
                  <a:pt x="263" y="683"/>
                  <a:pt x="263" y="682"/>
                </a:cubicBezTo>
                <a:close/>
                <a:moveTo>
                  <a:pt x="264" y="690"/>
                </a:moveTo>
                <a:cubicBezTo>
                  <a:pt x="263" y="689"/>
                  <a:pt x="265" y="690"/>
                  <a:pt x="265" y="690"/>
                </a:cubicBezTo>
                <a:cubicBezTo>
                  <a:pt x="265" y="691"/>
                  <a:pt x="264" y="691"/>
                  <a:pt x="264" y="690"/>
                </a:cubicBezTo>
                <a:close/>
                <a:moveTo>
                  <a:pt x="265" y="694"/>
                </a:moveTo>
                <a:cubicBezTo>
                  <a:pt x="266" y="694"/>
                  <a:pt x="266" y="694"/>
                  <a:pt x="267" y="694"/>
                </a:cubicBezTo>
                <a:cubicBezTo>
                  <a:pt x="266" y="695"/>
                  <a:pt x="266" y="695"/>
                  <a:pt x="265" y="694"/>
                </a:cubicBezTo>
                <a:close/>
                <a:moveTo>
                  <a:pt x="263" y="667"/>
                </a:moveTo>
                <a:cubicBezTo>
                  <a:pt x="264" y="666"/>
                  <a:pt x="273" y="668"/>
                  <a:pt x="273" y="668"/>
                </a:cubicBezTo>
                <a:cubicBezTo>
                  <a:pt x="272" y="669"/>
                  <a:pt x="265" y="667"/>
                  <a:pt x="263" y="667"/>
                </a:cubicBezTo>
                <a:close/>
                <a:moveTo>
                  <a:pt x="270" y="681"/>
                </a:moveTo>
                <a:cubicBezTo>
                  <a:pt x="269" y="683"/>
                  <a:pt x="268" y="680"/>
                  <a:pt x="270" y="681"/>
                </a:cubicBezTo>
                <a:close/>
                <a:moveTo>
                  <a:pt x="268" y="696"/>
                </a:moveTo>
                <a:cubicBezTo>
                  <a:pt x="268" y="695"/>
                  <a:pt x="269" y="695"/>
                  <a:pt x="269" y="695"/>
                </a:cubicBezTo>
                <a:cubicBezTo>
                  <a:pt x="270" y="695"/>
                  <a:pt x="269" y="696"/>
                  <a:pt x="268" y="696"/>
                </a:cubicBezTo>
                <a:close/>
                <a:moveTo>
                  <a:pt x="269" y="689"/>
                </a:moveTo>
                <a:cubicBezTo>
                  <a:pt x="268" y="688"/>
                  <a:pt x="270" y="688"/>
                  <a:pt x="270" y="688"/>
                </a:cubicBezTo>
                <a:cubicBezTo>
                  <a:pt x="270" y="689"/>
                  <a:pt x="269" y="689"/>
                  <a:pt x="269" y="689"/>
                </a:cubicBezTo>
                <a:close/>
                <a:moveTo>
                  <a:pt x="269" y="673"/>
                </a:moveTo>
                <a:cubicBezTo>
                  <a:pt x="269" y="671"/>
                  <a:pt x="274" y="673"/>
                  <a:pt x="273" y="674"/>
                </a:cubicBezTo>
                <a:cubicBezTo>
                  <a:pt x="273" y="676"/>
                  <a:pt x="268" y="676"/>
                  <a:pt x="269" y="673"/>
                </a:cubicBezTo>
                <a:close/>
                <a:moveTo>
                  <a:pt x="272" y="683"/>
                </a:moveTo>
                <a:cubicBezTo>
                  <a:pt x="271" y="681"/>
                  <a:pt x="276" y="682"/>
                  <a:pt x="276" y="683"/>
                </a:cubicBezTo>
                <a:cubicBezTo>
                  <a:pt x="277" y="685"/>
                  <a:pt x="272" y="686"/>
                  <a:pt x="272" y="683"/>
                </a:cubicBezTo>
                <a:close/>
                <a:moveTo>
                  <a:pt x="275" y="696"/>
                </a:moveTo>
                <a:cubicBezTo>
                  <a:pt x="275" y="696"/>
                  <a:pt x="274" y="696"/>
                  <a:pt x="274" y="696"/>
                </a:cubicBezTo>
                <a:cubicBezTo>
                  <a:pt x="274" y="694"/>
                  <a:pt x="277" y="698"/>
                  <a:pt x="275" y="696"/>
                </a:cubicBezTo>
                <a:close/>
                <a:moveTo>
                  <a:pt x="274" y="701"/>
                </a:moveTo>
                <a:cubicBezTo>
                  <a:pt x="274" y="699"/>
                  <a:pt x="277" y="699"/>
                  <a:pt x="277" y="700"/>
                </a:cubicBezTo>
                <a:cubicBezTo>
                  <a:pt x="278" y="701"/>
                  <a:pt x="274" y="701"/>
                  <a:pt x="274" y="701"/>
                </a:cubicBezTo>
                <a:close/>
                <a:moveTo>
                  <a:pt x="282" y="681"/>
                </a:moveTo>
                <a:cubicBezTo>
                  <a:pt x="284" y="680"/>
                  <a:pt x="289" y="680"/>
                  <a:pt x="291" y="681"/>
                </a:cubicBezTo>
                <a:cubicBezTo>
                  <a:pt x="292" y="682"/>
                  <a:pt x="291" y="684"/>
                  <a:pt x="290" y="683"/>
                </a:cubicBezTo>
                <a:cubicBezTo>
                  <a:pt x="289" y="683"/>
                  <a:pt x="289" y="682"/>
                  <a:pt x="289" y="682"/>
                </a:cubicBezTo>
                <a:cubicBezTo>
                  <a:pt x="288" y="681"/>
                  <a:pt x="287" y="683"/>
                  <a:pt x="287" y="683"/>
                </a:cubicBezTo>
                <a:cubicBezTo>
                  <a:pt x="287" y="684"/>
                  <a:pt x="288" y="684"/>
                  <a:pt x="288" y="685"/>
                </a:cubicBezTo>
                <a:cubicBezTo>
                  <a:pt x="289" y="684"/>
                  <a:pt x="289" y="685"/>
                  <a:pt x="288" y="685"/>
                </a:cubicBezTo>
                <a:cubicBezTo>
                  <a:pt x="287" y="686"/>
                  <a:pt x="286" y="685"/>
                  <a:pt x="286" y="685"/>
                </a:cubicBezTo>
                <a:cubicBezTo>
                  <a:pt x="285" y="685"/>
                  <a:pt x="284" y="686"/>
                  <a:pt x="283" y="685"/>
                </a:cubicBezTo>
                <a:cubicBezTo>
                  <a:pt x="282" y="685"/>
                  <a:pt x="278" y="682"/>
                  <a:pt x="282" y="681"/>
                </a:cubicBezTo>
                <a:close/>
                <a:moveTo>
                  <a:pt x="291" y="693"/>
                </a:moveTo>
                <a:cubicBezTo>
                  <a:pt x="290" y="694"/>
                  <a:pt x="288" y="696"/>
                  <a:pt x="287" y="694"/>
                </a:cubicBezTo>
                <a:cubicBezTo>
                  <a:pt x="285" y="693"/>
                  <a:pt x="290" y="692"/>
                  <a:pt x="291" y="693"/>
                </a:cubicBezTo>
                <a:close/>
                <a:moveTo>
                  <a:pt x="289" y="706"/>
                </a:moveTo>
                <a:cubicBezTo>
                  <a:pt x="290" y="707"/>
                  <a:pt x="288" y="706"/>
                  <a:pt x="289" y="706"/>
                </a:cubicBezTo>
                <a:close/>
                <a:moveTo>
                  <a:pt x="292" y="708"/>
                </a:moveTo>
                <a:cubicBezTo>
                  <a:pt x="291" y="707"/>
                  <a:pt x="292" y="708"/>
                  <a:pt x="293" y="708"/>
                </a:cubicBezTo>
                <a:cubicBezTo>
                  <a:pt x="293" y="708"/>
                  <a:pt x="292" y="708"/>
                  <a:pt x="292" y="708"/>
                </a:cubicBezTo>
                <a:close/>
                <a:moveTo>
                  <a:pt x="304" y="701"/>
                </a:moveTo>
                <a:cubicBezTo>
                  <a:pt x="299" y="701"/>
                  <a:pt x="295" y="701"/>
                  <a:pt x="290" y="702"/>
                </a:cubicBezTo>
                <a:cubicBezTo>
                  <a:pt x="289" y="702"/>
                  <a:pt x="282" y="702"/>
                  <a:pt x="282" y="700"/>
                </a:cubicBezTo>
                <a:cubicBezTo>
                  <a:pt x="281" y="699"/>
                  <a:pt x="290" y="699"/>
                  <a:pt x="292" y="700"/>
                </a:cubicBezTo>
                <a:cubicBezTo>
                  <a:pt x="296" y="700"/>
                  <a:pt x="299" y="700"/>
                  <a:pt x="301" y="699"/>
                </a:cubicBezTo>
                <a:cubicBezTo>
                  <a:pt x="299" y="699"/>
                  <a:pt x="297" y="697"/>
                  <a:pt x="297" y="695"/>
                </a:cubicBezTo>
                <a:cubicBezTo>
                  <a:pt x="299" y="690"/>
                  <a:pt x="306" y="693"/>
                  <a:pt x="309" y="695"/>
                </a:cubicBezTo>
                <a:cubicBezTo>
                  <a:pt x="309" y="695"/>
                  <a:pt x="309" y="696"/>
                  <a:pt x="310" y="696"/>
                </a:cubicBezTo>
                <a:cubicBezTo>
                  <a:pt x="310" y="697"/>
                  <a:pt x="307" y="699"/>
                  <a:pt x="305" y="699"/>
                </a:cubicBezTo>
                <a:cubicBezTo>
                  <a:pt x="306" y="699"/>
                  <a:pt x="307" y="699"/>
                  <a:pt x="309" y="700"/>
                </a:cubicBezTo>
                <a:cubicBezTo>
                  <a:pt x="313" y="700"/>
                  <a:pt x="305" y="701"/>
                  <a:pt x="304" y="701"/>
                </a:cubicBezTo>
                <a:close/>
                <a:moveTo>
                  <a:pt x="308" y="684"/>
                </a:moveTo>
                <a:cubicBezTo>
                  <a:pt x="309" y="683"/>
                  <a:pt x="312" y="683"/>
                  <a:pt x="314" y="683"/>
                </a:cubicBezTo>
                <a:cubicBezTo>
                  <a:pt x="312" y="684"/>
                  <a:pt x="310" y="684"/>
                  <a:pt x="308" y="684"/>
                </a:cubicBezTo>
                <a:close/>
                <a:moveTo>
                  <a:pt x="313" y="612"/>
                </a:moveTo>
                <a:cubicBezTo>
                  <a:pt x="314" y="612"/>
                  <a:pt x="309" y="616"/>
                  <a:pt x="308" y="614"/>
                </a:cubicBezTo>
                <a:cubicBezTo>
                  <a:pt x="307" y="612"/>
                  <a:pt x="313" y="611"/>
                  <a:pt x="313" y="612"/>
                </a:cubicBezTo>
                <a:close/>
                <a:moveTo>
                  <a:pt x="313" y="683"/>
                </a:moveTo>
                <a:cubicBezTo>
                  <a:pt x="312" y="682"/>
                  <a:pt x="314" y="681"/>
                  <a:pt x="314" y="682"/>
                </a:cubicBezTo>
                <a:cubicBezTo>
                  <a:pt x="314" y="682"/>
                  <a:pt x="313" y="683"/>
                  <a:pt x="313" y="683"/>
                </a:cubicBezTo>
                <a:close/>
                <a:moveTo>
                  <a:pt x="313" y="589"/>
                </a:moveTo>
                <a:cubicBezTo>
                  <a:pt x="311" y="590"/>
                  <a:pt x="308" y="592"/>
                  <a:pt x="307" y="592"/>
                </a:cubicBezTo>
                <a:cubicBezTo>
                  <a:pt x="304" y="593"/>
                  <a:pt x="309" y="590"/>
                  <a:pt x="309" y="590"/>
                </a:cubicBezTo>
                <a:cubicBezTo>
                  <a:pt x="310" y="590"/>
                  <a:pt x="312" y="589"/>
                  <a:pt x="313" y="589"/>
                </a:cubicBezTo>
                <a:cubicBezTo>
                  <a:pt x="314" y="589"/>
                  <a:pt x="314" y="589"/>
                  <a:pt x="315" y="589"/>
                </a:cubicBezTo>
                <a:cubicBezTo>
                  <a:pt x="314" y="589"/>
                  <a:pt x="314" y="589"/>
                  <a:pt x="313" y="589"/>
                </a:cubicBezTo>
                <a:close/>
                <a:moveTo>
                  <a:pt x="315" y="519"/>
                </a:moveTo>
                <a:cubicBezTo>
                  <a:pt x="315" y="517"/>
                  <a:pt x="318" y="518"/>
                  <a:pt x="315" y="519"/>
                </a:cubicBezTo>
                <a:close/>
                <a:moveTo>
                  <a:pt x="317" y="683"/>
                </a:moveTo>
                <a:cubicBezTo>
                  <a:pt x="315" y="684"/>
                  <a:pt x="315" y="682"/>
                  <a:pt x="317" y="683"/>
                </a:cubicBezTo>
                <a:close/>
                <a:moveTo>
                  <a:pt x="317" y="683"/>
                </a:moveTo>
                <a:cubicBezTo>
                  <a:pt x="318" y="682"/>
                  <a:pt x="319" y="682"/>
                  <a:pt x="321" y="682"/>
                </a:cubicBezTo>
                <a:cubicBezTo>
                  <a:pt x="321" y="683"/>
                  <a:pt x="318" y="683"/>
                  <a:pt x="317" y="683"/>
                </a:cubicBezTo>
                <a:close/>
                <a:moveTo>
                  <a:pt x="333" y="104"/>
                </a:moveTo>
                <a:cubicBezTo>
                  <a:pt x="333" y="104"/>
                  <a:pt x="336" y="103"/>
                  <a:pt x="334" y="104"/>
                </a:cubicBezTo>
                <a:cubicBezTo>
                  <a:pt x="331" y="106"/>
                  <a:pt x="326" y="107"/>
                  <a:pt x="322" y="108"/>
                </a:cubicBezTo>
                <a:cubicBezTo>
                  <a:pt x="325" y="106"/>
                  <a:pt x="329" y="104"/>
                  <a:pt x="333" y="104"/>
                </a:cubicBezTo>
                <a:close/>
                <a:moveTo>
                  <a:pt x="323" y="170"/>
                </a:moveTo>
                <a:cubicBezTo>
                  <a:pt x="324" y="170"/>
                  <a:pt x="324" y="170"/>
                  <a:pt x="325" y="170"/>
                </a:cubicBezTo>
                <a:cubicBezTo>
                  <a:pt x="325" y="171"/>
                  <a:pt x="324" y="171"/>
                  <a:pt x="323" y="170"/>
                </a:cubicBezTo>
                <a:close/>
                <a:moveTo>
                  <a:pt x="322" y="617"/>
                </a:moveTo>
                <a:cubicBezTo>
                  <a:pt x="323" y="616"/>
                  <a:pt x="324" y="618"/>
                  <a:pt x="322" y="617"/>
                </a:cubicBezTo>
                <a:close/>
                <a:moveTo>
                  <a:pt x="322" y="627"/>
                </a:moveTo>
                <a:cubicBezTo>
                  <a:pt x="323" y="627"/>
                  <a:pt x="327" y="626"/>
                  <a:pt x="327" y="627"/>
                </a:cubicBezTo>
                <a:cubicBezTo>
                  <a:pt x="326" y="626"/>
                  <a:pt x="324" y="628"/>
                  <a:pt x="322" y="627"/>
                </a:cubicBezTo>
                <a:close/>
                <a:moveTo>
                  <a:pt x="327" y="574"/>
                </a:moveTo>
                <a:cubicBezTo>
                  <a:pt x="327" y="572"/>
                  <a:pt x="330" y="573"/>
                  <a:pt x="329" y="574"/>
                </a:cubicBezTo>
                <a:cubicBezTo>
                  <a:pt x="329" y="575"/>
                  <a:pt x="328" y="574"/>
                  <a:pt x="327" y="574"/>
                </a:cubicBezTo>
                <a:close/>
                <a:moveTo>
                  <a:pt x="329" y="627"/>
                </a:moveTo>
                <a:cubicBezTo>
                  <a:pt x="329" y="626"/>
                  <a:pt x="331" y="626"/>
                  <a:pt x="331" y="626"/>
                </a:cubicBezTo>
                <a:cubicBezTo>
                  <a:pt x="331" y="626"/>
                  <a:pt x="330" y="627"/>
                  <a:pt x="329" y="627"/>
                </a:cubicBezTo>
                <a:close/>
                <a:moveTo>
                  <a:pt x="329" y="589"/>
                </a:moveTo>
                <a:cubicBezTo>
                  <a:pt x="328" y="587"/>
                  <a:pt x="332" y="588"/>
                  <a:pt x="332" y="589"/>
                </a:cubicBezTo>
                <a:cubicBezTo>
                  <a:pt x="332" y="590"/>
                  <a:pt x="329" y="590"/>
                  <a:pt x="329" y="589"/>
                </a:cubicBezTo>
                <a:close/>
                <a:moveTo>
                  <a:pt x="328" y="583"/>
                </a:moveTo>
                <a:cubicBezTo>
                  <a:pt x="329" y="579"/>
                  <a:pt x="336" y="581"/>
                  <a:pt x="336" y="583"/>
                </a:cubicBezTo>
                <a:cubicBezTo>
                  <a:pt x="335" y="586"/>
                  <a:pt x="328" y="587"/>
                  <a:pt x="328" y="583"/>
                </a:cubicBezTo>
                <a:close/>
                <a:moveTo>
                  <a:pt x="335" y="131"/>
                </a:moveTo>
                <a:cubicBezTo>
                  <a:pt x="334" y="130"/>
                  <a:pt x="336" y="131"/>
                  <a:pt x="335" y="131"/>
                </a:cubicBezTo>
                <a:close/>
                <a:moveTo>
                  <a:pt x="336" y="659"/>
                </a:moveTo>
                <a:cubicBezTo>
                  <a:pt x="337" y="661"/>
                  <a:pt x="335" y="659"/>
                  <a:pt x="336" y="659"/>
                </a:cubicBezTo>
                <a:close/>
                <a:moveTo>
                  <a:pt x="336" y="131"/>
                </a:moveTo>
                <a:cubicBezTo>
                  <a:pt x="336" y="130"/>
                  <a:pt x="338" y="130"/>
                  <a:pt x="338" y="130"/>
                </a:cubicBezTo>
                <a:cubicBezTo>
                  <a:pt x="338" y="131"/>
                  <a:pt x="337" y="130"/>
                  <a:pt x="336" y="131"/>
                </a:cubicBezTo>
                <a:close/>
                <a:moveTo>
                  <a:pt x="337" y="711"/>
                </a:moveTo>
                <a:cubicBezTo>
                  <a:pt x="336" y="711"/>
                  <a:pt x="337" y="710"/>
                  <a:pt x="337" y="710"/>
                </a:cubicBezTo>
                <a:cubicBezTo>
                  <a:pt x="338" y="711"/>
                  <a:pt x="338" y="712"/>
                  <a:pt x="337" y="711"/>
                </a:cubicBezTo>
                <a:close/>
                <a:moveTo>
                  <a:pt x="337" y="685"/>
                </a:moveTo>
                <a:cubicBezTo>
                  <a:pt x="337" y="684"/>
                  <a:pt x="339" y="684"/>
                  <a:pt x="339" y="685"/>
                </a:cubicBezTo>
                <a:cubicBezTo>
                  <a:pt x="340" y="685"/>
                  <a:pt x="338" y="686"/>
                  <a:pt x="337" y="685"/>
                </a:cubicBezTo>
                <a:close/>
                <a:moveTo>
                  <a:pt x="338" y="705"/>
                </a:moveTo>
                <a:cubicBezTo>
                  <a:pt x="338" y="704"/>
                  <a:pt x="340" y="704"/>
                  <a:pt x="340" y="705"/>
                </a:cubicBezTo>
                <a:cubicBezTo>
                  <a:pt x="340" y="705"/>
                  <a:pt x="339" y="706"/>
                  <a:pt x="338" y="705"/>
                </a:cubicBezTo>
                <a:close/>
                <a:moveTo>
                  <a:pt x="338" y="680"/>
                </a:moveTo>
                <a:cubicBezTo>
                  <a:pt x="338" y="680"/>
                  <a:pt x="341" y="680"/>
                  <a:pt x="341" y="680"/>
                </a:cubicBezTo>
                <a:cubicBezTo>
                  <a:pt x="341" y="681"/>
                  <a:pt x="337" y="682"/>
                  <a:pt x="338" y="680"/>
                </a:cubicBezTo>
                <a:close/>
                <a:moveTo>
                  <a:pt x="342" y="110"/>
                </a:moveTo>
                <a:cubicBezTo>
                  <a:pt x="341" y="111"/>
                  <a:pt x="341" y="109"/>
                  <a:pt x="342" y="110"/>
                </a:cubicBezTo>
                <a:close/>
                <a:moveTo>
                  <a:pt x="328" y="108"/>
                </a:moveTo>
                <a:cubicBezTo>
                  <a:pt x="326" y="108"/>
                  <a:pt x="329" y="107"/>
                  <a:pt x="331" y="106"/>
                </a:cubicBezTo>
                <a:cubicBezTo>
                  <a:pt x="334" y="106"/>
                  <a:pt x="339" y="104"/>
                  <a:pt x="342" y="104"/>
                </a:cubicBezTo>
                <a:cubicBezTo>
                  <a:pt x="343" y="104"/>
                  <a:pt x="344" y="105"/>
                  <a:pt x="344" y="105"/>
                </a:cubicBezTo>
                <a:cubicBezTo>
                  <a:pt x="344" y="105"/>
                  <a:pt x="330" y="108"/>
                  <a:pt x="328" y="108"/>
                </a:cubicBezTo>
                <a:close/>
                <a:moveTo>
                  <a:pt x="345" y="576"/>
                </a:moveTo>
                <a:cubicBezTo>
                  <a:pt x="345" y="576"/>
                  <a:pt x="345" y="576"/>
                  <a:pt x="345" y="576"/>
                </a:cubicBezTo>
                <a:cubicBezTo>
                  <a:pt x="346" y="576"/>
                  <a:pt x="346" y="576"/>
                  <a:pt x="346" y="576"/>
                </a:cubicBezTo>
                <a:cubicBezTo>
                  <a:pt x="346" y="576"/>
                  <a:pt x="345" y="576"/>
                  <a:pt x="345" y="576"/>
                </a:cubicBezTo>
                <a:close/>
                <a:moveTo>
                  <a:pt x="346" y="704"/>
                </a:moveTo>
                <a:cubicBezTo>
                  <a:pt x="346" y="703"/>
                  <a:pt x="347" y="703"/>
                  <a:pt x="347" y="703"/>
                </a:cubicBezTo>
                <a:cubicBezTo>
                  <a:pt x="348" y="704"/>
                  <a:pt x="346" y="704"/>
                  <a:pt x="346" y="704"/>
                </a:cubicBezTo>
                <a:close/>
                <a:moveTo>
                  <a:pt x="344" y="537"/>
                </a:moveTo>
                <a:cubicBezTo>
                  <a:pt x="345" y="535"/>
                  <a:pt x="348" y="535"/>
                  <a:pt x="349" y="534"/>
                </a:cubicBezTo>
                <a:cubicBezTo>
                  <a:pt x="348" y="535"/>
                  <a:pt x="345" y="536"/>
                  <a:pt x="344" y="537"/>
                </a:cubicBezTo>
                <a:close/>
                <a:moveTo>
                  <a:pt x="348" y="89"/>
                </a:moveTo>
                <a:cubicBezTo>
                  <a:pt x="347" y="90"/>
                  <a:pt x="346" y="89"/>
                  <a:pt x="348" y="89"/>
                </a:cubicBezTo>
                <a:close/>
                <a:moveTo>
                  <a:pt x="347" y="71"/>
                </a:moveTo>
                <a:cubicBezTo>
                  <a:pt x="347" y="72"/>
                  <a:pt x="348" y="72"/>
                  <a:pt x="347" y="72"/>
                </a:cubicBezTo>
                <a:cubicBezTo>
                  <a:pt x="347" y="72"/>
                  <a:pt x="347" y="72"/>
                  <a:pt x="347" y="71"/>
                </a:cubicBezTo>
                <a:close/>
                <a:moveTo>
                  <a:pt x="345" y="44"/>
                </a:moveTo>
                <a:cubicBezTo>
                  <a:pt x="346" y="42"/>
                  <a:pt x="350" y="42"/>
                  <a:pt x="350" y="45"/>
                </a:cubicBezTo>
                <a:cubicBezTo>
                  <a:pt x="349" y="47"/>
                  <a:pt x="345" y="46"/>
                  <a:pt x="345" y="44"/>
                </a:cubicBezTo>
                <a:close/>
                <a:moveTo>
                  <a:pt x="350" y="626"/>
                </a:moveTo>
                <a:cubicBezTo>
                  <a:pt x="350" y="627"/>
                  <a:pt x="349" y="625"/>
                  <a:pt x="350" y="626"/>
                </a:cubicBezTo>
                <a:close/>
                <a:moveTo>
                  <a:pt x="350" y="205"/>
                </a:moveTo>
                <a:cubicBezTo>
                  <a:pt x="349" y="205"/>
                  <a:pt x="350" y="203"/>
                  <a:pt x="350" y="204"/>
                </a:cubicBezTo>
                <a:cubicBezTo>
                  <a:pt x="351" y="204"/>
                  <a:pt x="351" y="205"/>
                  <a:pt x="350" y="205"/>
                </a:cubicBezTo>
                <a:close/>
                <a:moveTo>
                  <a:pt x="538" y="122"/>
                </a:moveTo>
                <a:cubicBezTo>
                  <a:pt x="538" y="121"/>
                  <a:pt x="540" y="121"/>
                  <a:pt x="540" y="122"/>
                </a:cubicBezTo>
                <a:cubicBezTo>
                  <a:pt x="542" y="121"/>
                  <a:pt x="543" y="121"/>
                  <a:pt x="543" y="123"/>
                </a:cubicBezTo>
                <a:cubicBezTo>
                  <a:pt x="543" y="124"/>
                  <a:pt x="539" y="125"/>
                  <a:pt x="538" y="124"/>
                </a:cubicBezTo>
                <a:cubicBezTo>
                  <a:pt x="538" y="123"/>
                  <a:pt x="538" y="123"/>
                  <a:pt x="538" y="122"/>
                </a:cubicBezTo>
                <a:cubicBezTo>
                  <a:pt x="538" y="122"/>
                  <a:pt x="538" y="122"/>
                  <a:pt x="538" y="122"/>
                </a:cubicBezTo>
                <a:close/>
                <a:moveTo>
                  <a:pt x="538" y="121"/>
                </a:moveTo>
                <a:cubicBezTo>
                  <a:pt x="538" y="121"/>
                  <a:pt x="536" y="122"/>
                  <a:pt x="536" y="121"/>
                </a:cubicBezTo>
                <a:cubicBezTo>
                  <a:pt x="536" y="121"/>
                  <a:pt x="537" y="121"/>
                  <a:pt x="538" y="121"/>
                </a:cubicBezTo>
                <a:close/>
                <a:moveTo>
                  <a:pt x="531" y="126"/>
                </a:moveTo>
                <a:cubicBezTo>
                  <a:pt x="531" y="126"/>
                  <a:pt x="531" y="127"/>
                  <a:pt x="530" y="127"/>
                </a:cubicBezTo>
                <a:cubicBezTo>
                  <a:pt x="530" y="127"/>
                  <a:pt x="531" y="126"/>
                  <a:pt x="531" y="126"/>
                </a:cubicBezTo>
                <a:close/>
                <a:moveTo>
                  <a:pt x="531" y="154"/>
                </a:moveTo>
                <a:cubicBezTo>
                  <a:pt x="529" y="157"/>
                  <a:pt x="525" y="158"/>
                  <a:pt x="522" y="159"/>
                </a:cubicBezTo>
                <a:cubicBezTo>
                  <a:pt x="524" y="156"/>
                  <a:pt x="528" y="156"/>
                  <a:pt x="531" y="154"/>
                </a:cubicBezTo>
                <a:close/>
                <a:moveTo>
                  <a:pt x="525" y="201"/>
                </a:moveTo>
                <a:cubicBezTo>
                  <a:pt x="524" y="202"/>
                  <a:pt x="523" y="203"/>
                  <a:pt x="521" y="203"/>
                </a:cubicBezTo>
                <a:cubicBezTo>
                  <a:pt x="522" y="202"/>
                  <a:pt x="523" y="201"/>
                  <a:pt x="525" y="201"/>
                </a:cubicBezTo>
                <a:close/>
                <a:moveTo>
                  <a:pt x="521" y="198"/>
                </a:moveTo>
                <a:cubicBezTo>
                  <a:pt x="521" y="198"/>
                  <a:pt x="521" y="197"/>
                  <a:pt x="522" y="197"/>
                </a:cubicBezTo>
                <a:cubicBezTo>
                  <a:pt x="524" y="195"/>
                  <a:pt x="523" y="200"/>
                  <a:pt x="521" y="198"/>
                </a:cubicBezTo>
                <a:close/>
                <a:moveTo>
                  <a:pt x="524" y="195"/>
                </a:moveTo>
                <a:cubicBezTo>
                  <a:pt x="524" y="194"/>
                  <a:pt x="525" y="194"/>
                  <a:pt x="525" y="194"/>
                </a:cubicBezTo>
                <a:cubicBezTo>
                  <a:pt x="526" y="195"/>
                  <a:pt x="524" y="195"/>
                  <a:pt x="524" y="195"/>
                </a:cubicBezTo>
                <a:close/>
                <a:moveTo>
                  <a:pt x="531" y="196"/>
                </a:moveTo>
                <a:cubicBezTo>
                  <a:pt x="530" y="198"/>
                  <a:pt x="527" y="199"/>
                  <a:pt x="525" y="201"/>
                </a:cubicBezTo>
                <a:cubicBezTo>
                  <a:pt x="526" y="199"/>
                  <a:pt x="529" y="197"/>
                  <a:pt x="531" y="196"/>
                </a:cubicBezTo>
                <a:close/>
                <a:moveTo>
                  <a:pt x="529" y="172"/>
                </a:moveTo>
                <a:cubicBezTo>
                  <a:pt x="531" y="170"/>
                  <a:pt x="530" y="174"/>
                  <a:pt x="528" y="173"/>
                </a:cubicBezTo>
                <a:cubicBezTo>
                  <a:pt x="528" y="173"/>
                  <a:pt x="529" y="172"/>
                  <a:pt x="529" y="172"/>
                </a:cubicBezTo>
                <a:close/>
                <a:moveTo>
                  <a:pt x="522" y="181"/>
                </a:moveTo>
                <a:cubicBezTo>
                  <a:pt x="521" y="181"/>
                  <a:pt x="523" y="180"/>
                  <a:pt x="523" y="181"/>
                </a:cubicBezTo>
                <a:cubicBezTo>
                  <a:pt x="524" y="181"/>
                  <a:pt x="522" y="182"/>
                  <a:pt x="522" y="181"/>
                </a:cubicBezTo>
                <a:close/>
                <a:moveTo>
                  <a:pt x="529" y="135"/>
                </a:moveTo>
                <a:cubicBezTo>
                  <a:pt x="528" y="136"/>
                  <a:pt x="526" y="138"/>
                  <a:pt x="524" y="138"/>
                </a:cubicBezTo>
                <a:cubicBezTo>
                  <a:pt x="525" y="138"/>
                  <a:pt x="526" y="138"/>
                  <a:pt x="525" y="139"/>
                </a:cubicBezTo>
                <a:cubicBezTo>
                  <a:pt x="525" y="140"/>
                  <a:pt x="522" y="140"/>
                  <a:pt x="522" y="139"/>
                </a:cubicBezTo>
                <a:cubicBezTo>
                  <a:pt x="522" y="139"/>
                  <a:pt x="523" y="138"/>
                  <a:pt x="524" y="138"/>
                </a:cubicBezTo>
                <a:cubicBezTo>
                  <a:pt x="524" y="138"/>
                  <a:pt x="524" y="138"/>
                  <a:pt x="524" y="138"/>
                </a:cubicBezTo>
                <a:cubicBezTo>
                  <a:pt x="525" y="136"/>
                  <a:pt x="527" y="136"/>
                  <a:pt x="529" y="135"/>
                </a:cubicBezTo>
                <a:close/>
                <a:moveTo>
                  <a:pt x="525" y="117"/>
                </a:moveTo>
                <a:cubicBezTo>
                  <a:pt x="525" y="117"/>
                  <a:pt x="525" y="117"/>
                  <a:pt x="524" y="117"/>
                </a:cubicBezTo>
                <a:cubicBezTo>
                  <a:pt x="524" y="117"/>
                  <a:pt x="524" y="116"/>
                  <a:pt x="525" y="117"/>
                </a:cubicBezTo>
                <a:close/>
                <a:moveTo>
                  <a:pt x="524" y="86"/>
                </a:moveTo>
                <a:cubicBezTo>
                  <a:pt x="523" y="86"/>
                  <a:pt x="522" y="86"/>
                  <a:pt x="521" y="86"/>
                </a:cubicBezTo>
                <a:cubicBezTo>
                  <a:pt x="522" y="85"/>
                  <a:pt x="523" y="85"/>
                  <a:pt x="524" y="86"/>
                </a:cubicBezTo>
                <a:close/>
                <a:moveTo>
                  <a:pt x="521" y="87"/>
                </a:moveTo>
                <a:cubicBezTo>
                  <a:pt x="521" y="87"/>
                  <a:pt x="523" y="88"/>
                  <a:pt x="523" y="88"/>
                </a:cubicBezTo>
                <a:cubicBezTo>
                  <a:pt x="523" y="88"/>
                  <a:pt x="520" y="88"/>
                  <a:pt x="521" y="87"/>
                </a:cubicBezTo>
                <a:close/>
                <a:moveTo>
                  <a:pt x="523" y="92"/>
                </a:moveTo>
                <a:cubicBezTo>
                  <a:pt x="523" y="92"/>
                  <a:pt x="521" y="92"/>
                  <a:pt x="521" y="91"/>
                </a:cubicBezTo>
                <a:cubicBezTo>
                  <a:pt x="522" y="90"/>
                  <a:pt x="523" y="91"/>
                  <a:pt x="523" y="92"/>
                </a:cubicBezTo>
                <a:close/>
                <a:moveTo>
                  <a:pt x="521" y="105"/>
                </a:moveTo>
                <a:cubicBezTo>
                  <a:pt x="521" y="106"/>
                  <a:pt x="520" y="104"/>
                  <a:pt x="521" y="105"/>
                </a:cubicBezTo>
                <a:close/>
                <a:moveTo>
                  <a:pt x="525" y="106"/>
                </a:moveTo>
                <a:cubicBezTo>
                  <a:pt x="527" y="106"/>
                  <a:pt x="528" y="108"/>
                  <a:pt x="526" y="111"/>
                </a:cubicBezTo>
                <a:cubicBezTo>
                  <a:pt x="525" y="112"/>
                  <a:pt x="523" y="112"/>
                  <a:pt x="522" y="112"/>
                </a:cubicBezTo>
                <a:cubicBezTo>
                  <a:pt x="520" y="112"/>
                  <a:pt x="518" y="112"/>
                  <a:pt x="518" y="112"/>
                </a:cubicBezTo>
                <a:cubicBezTo>
                  <a:pt x="518" y="112"/>
                  <a:pt x="519" y="112"/>
                  <a:pt x="519" y="112"/>
                </a:cubicBezTo>
                <a:cubicBezTo>
                  <a:pt x="519" y="112"/>
                  <a:pt x="518" y="112"/>
                  <a:pt x="518" y="112"/>
                </a:cubicBezTo>
                <a:cubicBezTo>
                  <a:pt x="518" y="112"/>
                  <a:pt x="518" y="111"/>
                  <a:pt x="518" y="111"/>
                </a:cubicBezTo>
                <a:cubicBezTo>
                  <a:pt x="517" y="110"/>
                  <a:pt x="522" y="106"/>
                  <a:pt x="525" y="106"/>
                </a:cubicBezTo>
                <a:close/>
                <a:moveTo>
                  <a:pt x="520" y="133"/>
                </a:moveTo>
                <a:cubicBezTo>
                  <a:pt x="522" y="131"/>
                  <a:pt x="522" y="133"/>
                  <a:pt x="520" y="133"/>
                </a:cubicBezTo>
                <a:close/>
                <a:moveTo>
                  <a:pt x="519" y="147"/>
                </a:moveTo>
                <a:cubicBezTo>
                  <a:pt x="519" y="146"/>
                  <a:pt x="521" y="145"/>
                  <a:pt x="521" y="146"/>
                </a:cubicBezTo>
                <a:cubicBezTo>
                  <a:pt x="522" y="147"/>
                  <a:pt x="520" y="147"/>
                  <a:pt x="519" y="147"/>
                </a:cubicBezTo>
                <a:close/>
                <a:moveTo>
                  <a:pt x="513" y="162"/>
                </a:moveTo>
                <a:cubicBezTo>
                  <a:pt x="512" y="161"/>
                  <a:pt x="516" y="159"/>
                  <a:pt x="516" y="161"/>
                </a:cubicBezTo>
                <a:cubicBezTo>
                  <a:pt x="517" y="162"/>
                  <a:pt x="513" y="163"/>
                  <a:pt x="513" y="162"/>
                </a:cubicBezTo>
                <a:close/>
                <a:moveTo>
                  <a:pt x="516" y="163"/>
                </a:moveTo>
                <a:cubicBezTo>
                  <a:pt x="516" y="164"/>
                  <a:pt x="515" y="165"/>
                  <a:pt x="516" y="164"/>
                </a:cubicBezTo>
                <a:cubicBezTo>
                  <a:pt x="516" y="164"/>
                  <a:pt x="516" y="164"/>
                  <a:pt x="516" y="163"/>
                </a:cubicBezTo>
                <a:close/>
                <a:moveTo>
                  <a:pt x="514" y="191"/>
                </a:moveTo>
                <a:cubicBezTo>
                  <a:pt x="515" y="190"/>
                  <a:pt x="516" y="192"/>
                  <a:pt x="514" y="191"/>
                </a:cubicBezTo>
                <a:close/>
                <a:moveTo>
                  <a:pt x="512" y="192"/>
                </a:moveTo>
                <a:cubicBezTo>
                  <a:pt x="512" y="191"/>
                  <a:pt x="514" y="191"/>
                  <a:pt x="514" y="191"/>
                </a:cubicBezTo>
                <a:cubicBezTo>
                  <a:pt x="514" y="192"/>
                  <a:pt x="512" y="192"/>
                  <a:pt x="512" y="192"/>
                </a:cubicBezTo>
                <a:close/>
                <a:moveTo>
                  <a:pt x="514" y="247"/>
                </a:moveTo>
                <a:cubicBezTo>
                  <a:pt x="514" y="248"/>
                  <a:pt x="513" y="245"/>
                  <a:pt x="514" y="247"/>
                </a:cubicBezTo>
                <a:close/>
                <a:moveTo>
                  <a:pt x="504" y="183"/>
                </a:moveTo>
                <a:cubicBezTo>
                  <a:pt x="506" y="182"/>
                  <a:pt x="506" y="181"/>
                  <a:pt x="504" y="181"/>
                </a:cubicBezTo>
                <a:cubicBezTo>
                  <a:pt x="505" y="178"/>
                  <a:pt x="508" y="175"/>
                  <a:pt x="511" y="176"/>
                </a:cubicBezTo>
                <a:cubicBezTo>
                  <a:pt x="517" y="179"/>
                  <a:pt x="509" y="186"/>
                  <a:pt x="504" y="183"/>
                </a:cubicBezTo>
                <a:close/>
                <a:moveTo>
                  <a:pt x="505" y="184"/>
                </a:moveTo>
                <a:cubicBezTo>
                  <a:pt x="505" y="184"/>
                  <a:pt x="505" y="184"/>
                  <a:pt x="505" y="184"/>
                </a:cubicBezTo>
                <a:cubicBezTo>
                  <a:pt x="506" y="186"/>
                  <a:pt x="503" y="183"/>
                  <a:pt x="505" y="184"/>
                </a:cubicBezTo>
                <a:close/>
                <a:moveTo>
                  <a:pt x="494" y="127"/>
                </a:moveTo>
                <a:cubicBezTo>
                  <a:pt x="494" y="127"/>
                  <a:pt x="497" y="125"/>
                  <a:pt x="498" y="127"/>
                </a:cubicBezTo>
                <a:cubicBezTo>
                  <a:pt x="498" y="128"/>
                  <a:pt x="494" y="129"/>
                  <a:pt x="494" y="127"/>
                </a:cubicBezTo>
                <a:close/>
                <a:moveTo>
                  <a:pt x="496" y="219"/>
                </a:moveTo>
                <a:cubicBezTo>
                  <a:pt x="495" y="219"/>
                  <a:pt x="496" y="218"/>
                  <a:pt x="496" y="218"/>
                </a:cubicBezTo>
                <a:cubicBezTo>
                  <a:pt x="497" y="218"/>
                  <a:pt x="496" y="219"/>
                  <a:pt x="496" y="219"/>
                </a:cubicBezTo>
                <a:close/>
                <a:moveTo>
                  <a:pt x="493" y="182"/>
                </a:moveTo>
                <a:cubicBezTo>
                  <a:pt x="493" y="181"/>
                  <a:pt x="495" y="181"/>
                  <a:pt x="495" y="181"/>
                </a:cubicBezTo>
                <a:cubicBezTo>
                  <a:pt x="496" y="182"/>
                  <a:pt x="494" y="183"/>
                  <a:pt x="493" y="182"/>
                </a:cubicBezTo>
                <a:close/>
                <a:moveTo>
                  <a:pt x="494" y="221"/>
                </a:moveTo>
                <a:cubicBezTo>
                  <a:pt x="494" y="221"/>
                  <a:pt x="495" y="220"/>
                  <a:pt x="495" y="220"/>
                </a:cubicBezTo>
                <a:cubicBezTo>
                  <a:pt x="495" y="220"/>
                  <a:pt x="494" y="222"/>
                  <a:pt x="494" y="221"/>
                </a:cubicBezTo>
                <a:close/>
                <a:moveTo>
                  <a:pt x="484" y="206"/>
                </a:moveTo>
                <a:cubicBezTo>
                  <a:pt x="487" y="204"/>
                  <a:pt x="490" y="201"/>
                  <a:pt x="492" y="200"/>
                </a:cubicBezTo>
                <a:cubicBezTo>
                  <a:pt x="492" y="200"/>
                  <a:pt x="494" y="199"/>
                  <a:pt x="493" y="200"/>
                </a:cubicBezTo>
                <a:cubicBezTo>
                  <a:pt x="492" y="203"/>
                  <a:pt x="487" y="205"/>
                  <a:pt x="484" y="206"/>
                </a:cubicBezTo>
                <a:close/>
                <a:moveTo>
                  <a:pt x="491" y="221"/>
                </a:moveTo>
                <a:cubicBezTo>
                  <a:pt x="491" y="220"/>
                  <a:pt x="493" y="220"/>
                  <a:pt x="493" y="221"/>
                </a:cubicBezTo>
                <a:cubicBezTo>
                  <a:pt x="493" y="222"/>
                  <a:pt x="491" y="222"/>
                  <a:pt x="491" y="221"/>
                </a:cubicBezTo>
                <a:close/>
                <a:moveTo>
                  <a:pt x="480" y="95"/>
                </a:moveTo>
                <a:cubicBezTo>
                  <a:pt x="482" y="94"/>
                  <a:pt x="483" y="93"/>
                  <a:pt x="485" y="93"/>
                </a:cubicBezTo>
                <a:cubicBezTo>
                  <a:pt x="483" y="94"/>
                  <a:pt x="482" y="95"/>
                  <a:pt x="480" y="95"/>
                </a:cubicBezTo>
                <a:close/>
                <a:moveTo>
                  <a:pt x="481" y="162"/>
                </a:moveTo>
                <a:cubicBezTo>
                  <a:pt x="481" y="160"/>
                  <a:pt x="484" y="161"/>
                  <a:pt x="481" y="162"/>
                </a:cubicBezTo>
                <a:close/>
                <a:moveTo>
                  <a:pt x="482" y="109"/>
                </a:moveTo>
                <a:cubicBezTo>
                  <a:pt x="481" y="112"/>
                  <a:pt x="478" y="110"/>
                  <a:pt x="482" y="109"/>
                </a:cubicBezTo>
                <a:close/>
                <a:moveTo>
                  <a:pt x="496" y="72"/>
                </a:moveTo>
                <a:cubicBezTo>
                  <a:pt x="496" y="73"/>
                  <a:pt x="495" y="73"/>
                  <a:pt x="494" y="73"/>
                </a:cubicBezTo>
                <a:cubicBezTo>
                  <a:pt x="494" y="73"/>
                  <a:pt x="496" y="71"/>
                  <a:pt x="496" y="72"/>
                </a:cubicBezTo>
                <a:close/>
                <a:moveTo>
                  <a:pt x="494" y="43"/>
                </a:moveTo>
                <a:cubicBezTo>
                  <a:pt x="494" y="43"/>
                  <a:pt x="496" y="43"/>
                  <a:pt x="496" y="43"/>
                </a:cubicBezTo>
                <a:cubicBezTo>
                  <a:pt x="497" y="45"/>
                  <a:pt x="494" y="44"/>
                  <a:pt x="494" y="43"/>
                </a:cubicBezTo>
                <a:close/>
                <a:moveTo>
                  <a:pt x="493" y="64"/>
                </a:moveTo>
                <a:cubicBezTo>
                  <a:pt x="493" y="64"/>
                  <a:pt x="494" y="64"/>
                  <a:pt x="495" y="65"/>
                </a:cubicBezTo>
                <a:cubicBezTo>
                  <a:pt x="495" y="66"/>
                  <a:pt x="493" y="65"/>
                  <a:pt x="493" y="64"/>
                </a:cubicBezTo>
                <a:close/>
                <a:moveTo>
                  <a:pt x="499" y="87"/>
                </a:moveTo>
                <a:cubicBezTo>
                  <a:pt x="498" y="89"/>
                  <a:pt x="488" y="88"/>
                  <a:pt x="488" y="87"/>
                </a:cubicBezTo>
                <a:cubicBezTo>
                  <a:pt x="489" y="86"/>
                  <a:pt x="496" y="88"/>
                  <a:pt x="499" y="87"/>
                </a:cubicBezTo>
                <a:close/>
                <a:moveTo>
                  <a:pt x="493" y="105"/>
                </a:moveTo>
                <a:cubicBezTo>
                  <a:pt x="493" y="105"/>
                  <a:pt x="493" y="105"/>
                  <a:pt x="493" y="105"/>
                </a:cubicBezTo>
                <a:cubicBezTo>
                  <a:pt x="493" y="105"/>
                  <a:pt x="493" y="105"/>
                  <a:pt x="492" y="105"/>
                </a:cubicBezTo>
                <a:cubicBezTo>
                  <a:pt x="489" y="105"/>
                  <a:pt x="493" y="97"/>
                  <a:pt x="497" y="101"/>
                </a:cubicBezTo>
                <a:cubicBezTo>
                  <a:pt x="498" y="102"/>
                  <a:pt x="498" y="102"/>
                  <a:pt x="498" y="103"/>
                </a:cubicBezTo>
                <a:cubicBezTo>
                  <a:pt x="498" y="106"/>
                  <a:pt x="494" y="107"/>
                  <a:pt x="493" y="105"/>
                </a:cubicBezTo>
                <a:close/>
                <a:moveTo>
                  <a:pt x="495" y="108"/>
                </a:moveTo>
                <a:cubicBezTo>
                  <a:pt x="495" y="108"/>
                  <a:pt x="494" y="109"/>
                  <a:pt x="494" y="108"/>
                </a:cubicBezTo>
                <a:cubicBezTo>
                  <a:pt x="493" y="108"/>
                  <a:pt x="495" y="107"/>
                  <a:pt x="495" y="108"/>
                </a:cubicBezTo>
                <a:close/>
                <a:moveTo>
                  <a:pt x="494" y="174"/>
                </a:moveTo>
                <a:cubicBezTo>
                  <a:pt x="494" y="175"/>
                  <a:pt x="492" y="176"/>
                  <a:pt x="492" y="175"/>
                </a:cubicBezTo>
                <a:cubicBezTo>
                  <a:pt x="492" y="174"/>
                  <a:pt x="494" y="173"/>
                  <a:pt x="494" y="174"/>
                </a:cubicBezTo>
                <a:close/>
                <a:moveTo>
                  <a:pt x="495" y="98"/>
                </a:moveTo>
                <a:cubicBezTo>
                  <a:pt x="496" y="99"/>
                  <a:pt x="494" y="98"/>
                  <a:pt x="495" y="98"/>
                </a:cubicBezTo>
                <a:close/>
                <a:moveTo>
                  <a:pt x="499" y="91"/>
                </a:moveTo>
                <a:cubicBezTo>
                  <a:pt x="498" y="92"/>
                  <a:pt x="497" y="91"/>
                  <a:pt x="499" y="91"/>
                </a:cubicBezTo>
                <a:close/>
                <a:moveTo>
                  <a:pt x="491" y="166"/>
                </a:moveTo>
                <a:cubicBezTo>
                  <a:pt x="491" y="167"/>
                  <a:pt x="489" y="169"/>
                  <a:pt x="488" y="169"/>
                </a:cubicBezTo>
                <a:cubicBezTo>
                  <a:pt x="488" y="167"/>
                  <a:pt x="490" y="167"/>
                  <a:pt x="491" y="166"/>
                </a:cubicBezTo>
                <a:close/>
                <a:moveTo>
                  <a:pt x="485" y="144"/>
                </a:moveTo>
                <a:cubicBezTo>
                  <a:pt x="488" y="143"/>
                  <a:pt x="489" y="145"/>
                  <a:pt x="485" y="144"/>
                </a:cubicBezTo>
                <a:close/>
                <a:moveTo>
                  <a:pt x="486" y="93"/>
                </a:moveTo>
                <a:cubicBezTo>
                  <a:pt x="488" y="92"/>
                  <a:pt x="489" y="91"/>
                  <a:pt x="491" y="90"/>
                </a:cubicBezTo>
                <a:cubicBezTo>
                  <a:pt x="490" y="92"/>
                  <a:pt x="488" y="92"/>
                  <a:pt x="486" y="93"/>
                </a:cubicBezTo>
                <a:close/>
                <a:moveTo>
                  <a:pt x="491" y="61"/>
                </a:moveTo>
                <a:cubicBezTo>
                  <a:pt x="491" y="60"/>
                  <a:pt x="492" y="60"/>
                  <a:pt x="493" y="61"/>
                </a:cubicBezTo>
                <a:cubicBezTo>
                  <a:pt x="492" y="61"/>
                  <a:pt x="492" y="61"/>
                  <a:pt x="491" y="61"/>
                </a:cubicBezTo>
                <a:close/>
                <a:moveTo>
                  <a:pt x="490" y="74"/>
                </a:moveTo>
                <a:cubicBezTo>
                  <a:pt x="491" y="73"/>
                  <a:pt x="491" y="75"/>
                  <a:pt x="490" y="74"/>
                </a:cubicBezTo>
                <a:close/>
                <a:moveTo>
                  <a:pt x="489" y="67"/>
                </a:moveTo>
                <a:cubicBezTo>
                  <a:pt x="488" y="66"/>
                  <a:pt x="490" y="66"/>
                  <a:pt x="490" y="66"/>
                </a:cubicBezTo>
                <a:cubicBezTo>
                  <a:pt x="491" y="67"/>
                  <a:pt x="489" y="68"/>
                  <a:pt x="489" y="67"/>
                </a:cubicBezTo>
                <a:close/>
                <a:moveTo>
                  <a:pt x="488" y="60"/>
                </a:moveTo>
                <a:cubicBezTo>
                  <a:pt x="488" y="60"/>
                  <a:pt x="489" y="60"/>
                  <a:pt x="489" y="60"/>
                </a:cubicBezTo>
                <a:cubicBezTo>
                  <a:pt x="489" y="60"/>
                  <a:pt x="489" y="61"/>
                  <a:pt x="488" y="60"/>
                </a:cubicBezTo>
                <a:close/>
                <a:moveTo>
                  <a:pt x="492" y="82"/>
                </a:moveTo>
                <a:cubicBezTo>
                  <a:pt x="492" y="84"/>
                  <a:pt x="487" y="83"/>
                  <a:pt x="487" y="81"/>
                </a:cubicBezTo>
                <a:cubicBezTo>
                  <a:pt x="487" y="79"/>
                  <a:pt x="492" y="79"/>
                  <a:pt x="492" y="82"/>
                </a:cubicBezTo>
                <a:close/>
                <a:moveTo>
                  <a:pt x="483" y="73"/>
                </a:moveTo>
                <a:cubicBezTo>
                  <a:pt x="482" y="71"/>
                  <a:pt x="487" y="70"/>
                  <a:pt x="487" y="72"/>
                </a:cubicBezTo>
                <a:cubicBezTo>
                  <a:pt x="488" y="75"/>
                  <a:pt x="483" y="74"/>
                  <a:pt x="483" y="73"/>
                </a:cubicBezTo>
                <a:close/>
                <a:moveTo>
                  <a:pt x="483" y="60"/>
                </a:moveTo>
                <a:cubicBezTo>
                  <a:pt x="483" y="60"/>
                  <a:pt x="483" y="60"/>
                  <a:pt x="483" y="60"/>
                </a:cubicBezTo>
                <a:cubicBezTo>
                  <a:pt x="484" y="62"/>
                  <a:pt x="481" y="59"/>
                  <a:pt x="483" y="60"/>
                </a:cubicBezTo>
                <a:close/>
                <a:moveTo>
                  <a:pt x="482" y="62"/>
                </a:moveTo>
                <a:cubicBezTo>
                  <a:pt x="483" y="63"/>
                  <a:pt x="481" y="63"/>
                  <a:pt x="481" y="62"/>
                </a:cubicBezTo>
                <a:cubicBezTo>
                  <a:pt x="481" y="62"/>
                  <a:pt x="482" y="62"/>
                  <a:pt x="482" y="62"/>
                </a:cubicBezTo>
                <a:close/>
                <a:moveTo>
                  <a:pt x="487" y="184"/>
                </a:moveTo>
                <a:cubicBezTo>
                  <a:pt x="487" y="185"/>
                  <a:pt x="485" y="186"/>
                  <a:pt x="484" y="186"/>
                </a:cubicBezTo>
                <a:cubicBezTo>
                  <a:pt x="485" y="185"/>
                  <a:pt x="486" y="185"/>
                  <a:pt x="487" y="184"/>
                </a:cubicBezTo>
                <a:close/>
                <a:moveTo>
                  <a:pt x="495" y="174"/>
                </a:moveTo>
                <a:cubicBezTo>
                  <a:pt x="495" y="174"/>
                  <a:pt x="495" y="174"/>
                  <a:pt x="495" y="174"/>
                </a:cubicBezTo>
                <a:cubicBezTo>
                  <a:pt x="495" y="175"/>
                  <a:pt x="494" y="175"/>
                  <a:pt x="495" y="174"/>
                </a:cubicBezTo>
                <a:close/>
                <a:moveTo>
                  <a:pt x="498" y="141"/>
                </a:moveTo>
                <a:cubicBezTo>
                  <a:pt x="499" y="142"/>
                  <a:pt x="497" y="143"/>
                  <a:pt x="497" y="142"/>
                </a:cubicBezTo>
                <a:cubicBezTo>
                  <a:pt x="496" y="141"/>
                  <a:pt x="498" y="141"/>
                  <a:pt x="498" y="141"/>
                </a:cubicBezTo>
                <a:close/>
                <a:moveTo>
                  <a:pt x="497" y="131"/>
                </a:moveTo>
                <a:cubicBezTo>
                  <a:pt x="497" y="131"/>
                  <a:pt x="498" y="131"/>
                  <a:pt x="498" y="131"/>
                </a:cubicBezTo>
                <a:cubicBezTo>
                  <a:pt x="499" y="132"/>
                  <a:pt x="497" y="132"/>
                  <a:pt x="497" y="131"/>
                </a:cubicBezTo>
                <a:close/>
                <a:moveTo>
                  <a:pt x="498" y="128"/>
                </a:moveTo>
                <a:cubicBezTo>
                  <a:pt x="499" y="129"/>
                  <a:pt x="500" y="126"/>
                  <a:pt x="501" y="126"/>
                </a:cubicBezTo>
                <a:cubicBezTo>
                  <a:pt x="508" y="122"/>
                  <a:pt x="510" y="132"/>
                  <a:pt x="502" y="132"/>
                </a:cubicBezTo>
                <a:cubicBezTo>
                  <a:pt x="501" y="132"/>
                  <a:pt x="498" y="131"/>
                  <a:pt x="498" y="128"/>
                </a:cubicBezTo>
                <a:close/>
                <a:moveTo>
                  <a:pt x="502" y="94"/>
                </a:moveTo>
                <a:cubicBezTo>
                  <a:pt x="503" y="93"/>
                  <a:pt x="504" y="95"/>
                  <a:pt x="502" y="94"/>
                </a:cubicBezTo>
                <a:close/>
                <a:moveTo>
                  <a:pt x="505" y="67"/>
                </a:moveTo>
                <a:cubicBezTo>
                  <a:pt x="505" y="67"/>
                  <a:pt x="505" y="68"/>
                  <a:pt x="504" y="68"/>
                </a:cubicBezTo>
                <a:cubicBezTo>
                  <a:pt x="502" y="68"/>
                  <a:pt x="504" y="64"/>
                  <a:pt x="505" y="67"/>
                </a:cubicBezTo>
                <a:close/>
                <a:moveTo>
                  <a:pt x="503" y="121"/>
                </a:moveTo>
                <a:cubicBezTo>
                  <a:pt x="504" y="121"/>
                  <a:pt x="502" y="123"/>
                  <a:pt x="501" y="122"/>
                </a:cubicBezTo>
                <a:cubicBezTo>
                  <a:pt x="502" y="122"/>
                  <a:pt x="502" y="122"/>
                  <a:pt x="503" y="121"/>
                </a:cubicBezTo>
                <a:close/>
                <a:moveTo>
                  <a:pt x="506" y="123"/>
                </a:moveTo>
                <a:cubicBezTo>
                  <a:pt x="507" y="123"/>
                  <a:pt x="505" y="124"/>
                  <a:pt x="505" y="124"/>
                </a:cubicBezTo>
                <a:cubicBezTo>
                  <a:pt x="505" y="123"/>
                  <a:pt x="505" y="122"/>
                  <a:pt x="506" y="123"/>
                </a:cubicBezTo>
                <a:close/>
                <a:moveTo>
                  <a:pt x="506" y="142"/>
                </a:moveTo>
                <a:cubicBezTo>
                  <a:pt x="507" y="142"/>
                  <a:pt x="505" y="143"/>
                  <a:pt x="505" y="142"/>
                </a:cubicBezTo>
                <a:cubicBezTo>
                  <a:pt x="505" y="142"/>
                  <a:pt x="506" y="142"/>
                  <a:pt x="506" y="142"/>
                </a:cubicBezTo>
                <a:close/>
                <a:moveTo>
                  <a:pt x="502" y="137"/>
                </a:moveTo>
                <a:cubicBezTo>
                  <a:pt x="503" y="139"/>
                  <a:pt x="499" y="139"/>
                  <a:pt x="499" y="138"/>
                </a:cubicBezTo>
                <a:cubicBezTo>
                  <a:pt x="499" y="136"/>
                  <a:pt x="502" y="136"/>
                  <a:pt x="502" y="137"/>
                </a:cubicBezTo>
                <a:close/>
                <a:moveTo>
                  <a:pt x="504" y="199"/>
                </a:moveTo>
                <a:cubicBezTo>
                  <a:pt x="504" y="199"/>
                  <a:pt x="503" y="200"/>
                  <a:pt x="503" y="200"/>
                </a:cubicBezTo>
                <a:cubicBezTo>
                  <a:pt x="501" y="200"/>
                  <a:pt x="503" y="197"/>
                  <a:pt x="504" y="199"/>
                </a:cubicBezTo>
                <a:close/>
                <a:moveTo>
                  <a:pt x="512" y="113"/>
                </a:moveTo>
                <a:cubicBezTo>
                  <a:pt x="512" y="114"/>
                  <a:pt x="509" y="116"/>
                  <a:pt x="507" y="114"/>
                </a:cubicBezTo>
                <a:cubicBezTo>
                  <a:pt x="506" y="113"/>
                  <a:pt x="511" y="111"/>
                  <a:pt x="512" y="113"/>
                </a:cubicBezTo>
                <a:close/>
                <a:moveTo>
                  <a:pt x="508" y="101"/>
                </a:moveTo>
                <a:cubicBezTo>
                  <a:pt x="508" y="100"/>
                  <a:pt x="509" y="100"/>
                  <a:pt x="510" y="101"/>
                </a:cubicBezTo>
                <a:cubicBezTo>
                  <a:pt x="511" y="102"/>
                  <a:pt x="508" y="102"/>
                  <a:pt x="508" y="101"/>
                </a:cubicBezTo>
                <a:close/>
                <a:moveTo>
                  <a:pt x="510" y="102"/>
                </a:moveTo>
                <a:cubicBezTo>
                  <a:pt x="511" y="101"/>
                  <a:pt x="512" y="103"/>
                  <a:pt x="510" y="102"/>
                </a:cubicBezTo>
                <a:close/>
                <a:moveTo>
                  <a:pt x="514" y="132"/>
                </a:moveTo>
                <a:cubicBezTo>
                  <a:pt x="514" y="132"/>
                  <a:pt x="514" y="133"/>
                  <a:pt x="514" y="134"/>
                </a:cubicBezTo>
                <a:cubicBezTo>
                  <a:pt x="512" y="137"/>
                  <a:pt x="512" y="131"/>
                  <a:pt x="514" y="132"/>
                </a:cubicBezTo>
                <a:close/>
                <a:moveTo>
                  <a:pt x="515" y="154"/>
                </a:moveTo>
                <a:cubicBezTo>
                  <a:pt x="515" y="154"/>
                  <a:pt x="515" y="153"/>
                  <a:pt x="515" y="153"/>
                </a:cubicBezTo>
                <a:cubicBezTo>
                  <a:pt x="516" y="154"/>
                  <a:pt x="515" y="155"/>
                  <a:pt x="515" y="154"/>
                </a:cubicBezTo>
                <a:close/>
                <a:moveTo>
                  <a:pt x="516" y="153"/>
                </a:moveTo>
                <a:cubicBezTo>
                  <a:pt x="516" y="151"/>
                  <a:pt x="519" y="152"/>
                  <a:pt x="516" y="153"/>
                </a:cubicBezTo>
                <a:close/>
                <a:moveTo>
                  <a:pt x="513" y="148"/>
                </a:moveTo>
                <a:cubicBezTo>
                  <a:pt x="514" y="147"/>
                  <a:pt x="516" y="145"/>
                  <a:pt x="517" y="145"/>
                </a:cubicBezTo>
                <a:cubicBezTo>
                  <a:pt x="520" y="143"/>
                  <a:pt x="516" y="149"/>
                  <a:pt x="513" y="148"/>
                </a:cubicBezTo>
                <a:close/>
                <a:moveTo>
                  <a:pt x="515" y="134"/>
                </a:moveTo>
                <a:cubicBezTo>
                  <a:pt x="514" y="133"/>
                  <a:pt x="515" y="133"/>
                  <a:pt x="515" y="134"/>
                </a:cubicBezTo>
                <a:close/>
                <a:moveTo>
                  <a:pt x="518" y="86"/>
                </a:moveTo>
                <a:cubicBezTo>
                  <a:pt x="517" y="86"/>
                  <a:pt x="519" y="86"/>
                  <a:pt x="519" y="86"/>
                </a:cubicBezTo>
                <a:cubicBezTo>
                  <a:pt x="520" y="86"/>
                  <a:pt x="518" y="87"/>
                  <a:pt x="518" y="86"/>
                </a:cubicBezTo>
                <a:close/>
                <a:moveTo>
                  <a:pt x="518" y="88"/>
                </a:moveTo>
                <a:cubicBezTo>
                  <a:pt x="519" y="87"/>
                  <a:pt x="520" y="88"/>
                  <a:pt x="518" y="88"/>
                </a:cubicBezTo>
                <a:close/>
                <a:moveTo>
                  <a:pt x="519" y="94"/>
                </a:moveTo>
                <a:cubicBezTo>
                  <a:pt x="519" y="96"/>
                  <a:pt x="514" y="96"/>
                  <a:pt x="515" y="93"/>
                </a:cubicBezTo>
                <a:cubicBezTo>
                  <a:pt x="515" y="92"/>
                  <a:pt x="519" y="92"/>
                  <a:pt x="519" y="94"/>
                </a:cubicBezTo>
                <a:close/>
                <a:moveTo>
                  <a:pt x="516" y="113"/>
                </a:moveTo>
                <a:cubicBezTo>
                  <a:pt x="516" y="112"/>
                  <a:pt x="516" y="112"/>
                  <a:pt x="516" y="112"/>
                </a:cubicBezTo>
                <a:cubicBezTo>
                  <a:pt x="518" y="110"/>
                  <a:pt x="517" y="114"/>
                  <a:pt x="516" y="113"/>
                </a:cubicBezTo>
                <a:close/>
                <a:moveTo>
                  <a:pt x="518" y="143"/>
                </a:moveTo>
                <a:cubicBezTo>
                  <a:pt x="518" y="143"/>
                  <a:pt x="516" y="144"/>
                  <a:pt x="516" y="144"/>
                </a:cubicBezTo>
                <a:cubicBezTo>
                  <a:pt x="516" y="143"/>
                  <a:pt x="517" y="142"/>
                  <a:pt x="518" y="143"/>
                </a:cubicBezTo>
                <a:close/>
                <a:moveTo>
                  <a:pt x="515" y="139"/>
                </a:moveTo>
                <a:cubicBezTo>
                  <a:pt x="516" y="140"/>
                  <a:pt x="515" y="140"/>
                  <a:pt x="515" y="140"/>
                </a:cubicBezTo>
                <a:cubicBezTo>
                  <a:pt x="515" y="140"/>
                  <a:pt x="515" y="139"/>
                  <a:pt x="515" y="139"/>
                </a:cubicBezTo>
                <a:close/>
                <a:moveTo>
                  <a:pt x="519" y="150"/>
                </a:moveTo>
                <a:cubicBezTo>
                  <a:pt x="520" y="150"/>
                  <a:pt x="518" y="151"/>
                  <a:pt x="518" y="151"/>
                </a:cubicBezTo>
                <a:cubicBezTo>
                  <a:pt x="517" y="150"/>
                  <a:pt x="519" y="150"/>
                  <a:pt x="519" y="150"/>
                </a:cubicBezTo>
                <a:close/>
                <a:moveTo>
                  <a:pt x="525" y="72"/>
                </a:moveTo>
                <a:cubicBezTo>
                  <a:pt x="525" y="72"/>
                  <a:pt x="525" y="72"/>
                  <a:pt x="524" y="72"/>
                </a:cubicBezTo>
                <a:cubicBezTo>
                  <a:pt x="524" y="72"/>
                  <a:pt x="525" y="71"/>
                  <a:pt x="525" y="72"/>
                </a:cubicBezTo>
                <a:close/>
                <a:moveTo>
                  <a:pt x="509" y="73"/>
                </a:moveTo>
                <a:cubicBezTo>
                  <a:pt x="510" y="72"/>
                  <a:pt x="513" y="74"/>
                  <a:pt x="516" y="74"/>
                </a:cubicBezTo>
                <a:cubicBezTo>
                  <a:pt x="517" y="73"/>
                  <a:pt x="522" y="72"/>
                  <a:pt x="523" y="73"/>
                </a:cubicBezTo>
                <a:cubicBezTo>
                  <a:pt x="523" y="75"/>
                  <a:pt x="517" y="75"/>
                  <a:pt x="517" y="75"/>
                </a:cubicBezTo>
                <a:cubicBezTo>
                  <a:pt x="517" y="76"/>
                  <a:pt x="520" y="79"/>
                  <a:pt x="520" y="79"/>
                </a:cubicBezTo>
                <a:cubicBezTo>
                  <a:pt x="522" y="87"/>
                  <a:pt x="509" y="84"/>
                  <a:pt x="506" y="82"/>
                </a:cubicBezTo>
                <a:cubicBezTo>
                  <a:pt x="501" y="80"/>
                  <a:pt x="510" y="81"/>
                  <a:pt x="507" y="77"/>
                </a:cubicBezTo>
                <a:cubicBezTo>
                  <a:pt x="511" y="79"/>
                  <a:pt x="508" y="74"/>
                  <a:pt x="509" y="73"/>
                </a:cubicBezTo>
                <a:close/>
                <a:moveTo>
                  <a:pt x="509" y="61"/>
                </a:moveTo>
                <a:cubicBezTo>
                  <a:pt x="510" y="61"/>
                  <a:pt x="508" y="62"/>
                  <a:pt x="507" y="61"/>
                </a:cubicBezTo>
                <a:cubicBezTo>
                  <a:pt x="507" y="61"/>
                  <a:pt x="509" y="60"/>
                  <a:pt x="509" y="61"/>
                </a:cubicBezTo>
                <a:close/>
                <a:moveTo>
                  <a:pt x="511" y="36"/>
                </a:moveTo>
                <a:cubicBezTo>
                  <a:pt x="511" y="37"/>
                  <a:pt x="509" y="37"/>
                  <a:pt x="509" y="36"/>
                </a:cubicBezTo>
                <a:cubicBezTo>
                  <a:pt x="509" y="35"/>
                  <a:pt x="510" y="35"/>
                  <a:pt x="511" y="36"/>
                </a:cubicBezTo>
                <a:close/>
                <a:moveTo>
                  <a:pt x="509" y="38"/>
                </a:moveTo>
                <a:cubicBezTo>
                  <a:pt x="509" y="40"/>
                  <a:pt x="506" y="39"/>
                  <a:pt x="506" y="38"/>
                </a:cubicBezTo>
                <a:cubicBezTo>
                  <a:pt x="506" y="37"/>
                  <a:pt x="509" y="36"/>
                  <a:pt x="509" y="38"/>
                </a:cubicBezTo>
                <a:close/>
                <a:moveTo>
                  <a:pt x="509" y="50"/>
                </a:moveTo>
                <a:cubicBezTo>
                  <a:pt x="504" y="53"/>
                  <a:pt x="503" y="50"/>
                  <a:pt x="509" y="50"/>
                </a:cubicBezTo>
                <a:close/>
                <a:moveTo>
                  <a:pt x="506" y="53"/>
                </a:moveTo>
                <a:cubicBezTo>
                  <a:pt x="505" y="54"/>
                  <a:pt x="504" y="53"/>
                  <a:pt x="504" y="53"/>
                </a:cubicBezTo>
                <a:cubicBezTo>
                  <a:pt x="504" y="53"/>
                  <a:pt x="506" y="53"/>
                  <a:pt x="506" y="53"/>
                </a:cubicBezTo>
                <a:close/>
                <a:moveTo>
                  <a:pt x="504" y="64"/>
                </a:moveTo>
                <a:cubicBezTo>
                  <a:pt x="503" y="65"/>
                  <a:pt x="502" y="65"/>
                  <a:pt x="501" y="65"/>
                </a:cubicBezTo>
                <a:cubicBezTo>
                  <a:pt x="501" y="64"/>
                  <a:pt x="503" y="63"/>
                  <a:pt x="504" y="64"/>
                </a:cubicBezTo>
                <a:close/>
                <a:moveTo>
                  <a:pt x="501" y="64"/>
                </a:moveTo>
                <a:cubicBezTo>
                  <a:pt x="501" y="64"/>
                  <a:pt x="500" y="65"/>
                  <a:pt x="500" y="64"/>
                </a:cubicBezTo>
                <a:cubicBezTo>
                  <a:pt x="500" y="64"/>
                  <a:pt x="501" y="63"/>
                  <a:pt x="501" y="64"/>
                </a:cubicBezTo>
                <a:close/>
                <a:moveTo>
                  <a:pt x="501" y="123"/>
                </a:moveTo>
                <a:cubicBezTo>
                  <a:pt x="501" y="123"/>
                  <a:pt x="501" y="123"/>
                  <a:pt x="501" y="123"/>
                </a:cubicBezTo>
                <a:cubicBezTo>
                  <a:pt x="502" y="125"/>
                  <a:pt x="499" y="121"/>
                  <a:pt x="501" y="123"/>
                </a:cubicBezTo>
                <a:close/>
                <a:moveTo>
                  <a:pt x="499" y="65"/>
                </a:moveTo>
                <a:cubicBezTo>
                  <a:pt x="501" y="65"/>
                  <a:pt x="497" y="65"/>
                  <a:pt x="499" y="65"/>
                </a:cubicBezTo>
                <a:close/>
                <a:moveTo>
                  <a:pt x="498" y="38"/>
                </a:moveTo>
                <a:cubicBezTo>
                  <a:pt x="498" y="38"/>
                  <a:pt x="497" y="39"/>
                  <a:pt x="497" y="38"/>
                </a:cubicBezTo>
                <a:cubicBezTo>
                  <a:pt x="497" y="38"/>
                  <a:pt x="497" y="37"/>
                  <a:pt x="498" y="38"/>
                </a:cubicBezTo>
                <a:close/>
                <a:moveTo>
                  <a:pt x="497" y="31"/>
                </a:moveTo>
                <a:cubicBezTo>
                  <a:pt x="497" y="32"/>
                  <a:pt x="495" y="32"/>
                  <a:pt x="495" y="31"/>
                </a:cubicBezTo>
                <a:cubicBezTo>
                  <a:pt x="495" y="31"/>
                  <a:pt x="496" y="31"/>
                  <a:pt x="497" y="31"/>
                </a:cubicBezTo>
                <a:close/>
                <a:moveTo>
                  <a:pt x="496" y="40"/>
                </a:moveTo>
                <a:cubicBezTo>
                  <a:pt x="496" y="41"/>
                  <a:pt x="493" y="42"/>
                  <a:pt x="493" y="41"/>
                </a:cubicBezTo>
                <a:cubicBezTo>
                  <a:pt x="492" y="40"/>
                  <a:pt x="495" y="39"/>
                  <a:pt x="496" y="40"/>
                </a:cubicBezTo>
                <a:close/>
                <a:moveTo>
                  <a:pt x="492" y="44"/>
                </a:moveTo>
                <a:cubicBezTo>
                  <a:pt x="493" y="43"/>
                  <a:pt x="494" y="45"/>
                  <a:pt x="492" y="44"/>
                </a:cubicBezTo>
                <a:close/>
                <a:moveTo>
                  <a:pt x="488" y="29"/>
                </a:moveTo>
                <a:cubicBezTo>
                  <a:pt x="489" y="30"/>
                  <a:pt x="486" y="30"/>
                  <a:pt x="486" y="29"/>
                </a:cubicBezTo>
                <a:cubicBezTo>
                  <a:pt x="486" y="28"/>
                  <a:pt x="488" y="28"/>
                  <a:pt x="488" y="29"/>
                </a:cubicBezTo>
                <a:close/>
                <a:moveTo>
                  <a:pt x="487" y="31"/>
                </a:moveTo>
                <a:cubicBezTo>
                  <a:pt x="487" y="31"/>
                  <a:pt x="488" y="31"/>
                  <a:pt x="488" y="31"/>
                </a:cubicBezTo>
                <a:cubicBezTo>
                  <a:pt x="489" y="32"/>
                  <a:pt x="487" y="32"/>
                  <a:pt x="487" y="31"/>
                </a:cubicBezTo>
                <a:close/>
                <a:moveTo>
                  <a:pt x="488" y="40"/>
                </a:moveTo>
                <a:cubicBezTo>
                  <a:pt x="488" y="41"/>
                  <a:pt x="487" y="41"/>
                  <a:pt x="486" y="41"/>
                </a:cubicBezTo>
                <a:cubicBezTo>
                  <a:pt x="486" y="40"/>
                  <a:pt x="487" y="40"/>
                  <a:pt x="488" y="40"/>
                </a:cubicBezTo>
                <a:close/>
                <a:moveTo>
                  <a:pt x="484" y="41"/>
                </a:moveTo>
                <a:cubicBezTo>
                  <a:pt x="485" y="42"/>
                  <a:pt x="483" y="42"/>
                  <a:pt x="483" y="42"/>
                </a:cubicBezTo>
                <a:cubicBezTo>
                  <a:pt x="483" y="41"/>
                  <a:pt x="484" y="41"/>
                  <a:pt x="484" y="41"/>
                </a:cubicBezTo>
                <a:close/>
                <a:moveTo>
                  <a:pt x="483" y="38"/>
                </a:moveTo>
                <a:cubicBezTo>
                  <a:pt x="482" y="37"/>
                  <a:pt x="484" y="38"/>
                  <a:pt x="483" y="38"/>
                </a:cubicBezTo>
                <a:close/>
                <a:moveTo>
                  <a:pt x="483" y="51"/>
                </a:moveTo>
                <a:cubicBezTo>
                  <a:pt x="485" y="47"/>
                  <a:pt x="492" y="43"/>
                  <a:pt x="496" y="48"/>
                </a:cubicBezTo>
                <a:cubicBezTo>
                  <a:pt x="496" y="49"/>
                  <a:pt x="494" y="53"/>
                  <a:pt x="493" y="53"/>
                </a:cubicBezTo>
                <a:cubicBezTo>
                  <a:pt x="493" y="53"/>
                  <a:pt x="491" y="53"/>
                  <a:pt x="490" y="53"/>
                </a:cubicBezTo>
                <a:cubicBezTo>
                  <a:pt x="490" y="53"/>
                  <a:pt x="490" y="54"/>
                  <a:pt x="489" y="54"/>
                </a:cubicBezTo>
                <a:cubicBezTo>
                  <a:pt x="488" y="54"/>
                  <a:pt x="485" y="54"/>
                  <a:pt x="483" y="54"/>
                </a:cubicBezTo>
                <a:cubicBezTo>
                  <a:pt x="483" y="54"/>
                  <a:pt x="483" y="54"/>
                  <a:pt x="482" y="54"/>
                </a:cubicBezTo>
                <a:cubicBezTo>
                  <a:pt x="482" y="53"/>
                  <a:pt x="483" y="52"/>
                  <a:pt x="483" y="51"/>
                </a:cubicBezTo>
                <a:close/>
                <a:moveTo>
                  <a:pt x="482" y="56"/>
                </a:moveTo>
                <a:cubicBezTo>
                  <a:pt x="483" y="57"/>
                  <a:pt x="480" y="57"/>
                  <a:pt x="480" y="57"/>
                </a:cubicBezTo>
                <a:cubicBezTo>
                  <a:pt x="479" y="55"/>
                  <a:pt x="482" y="55"/>
                  <a:pt x="482" y="56"/>
                </a:cubicBezTo>
                <a:close/>
                <a:moveTo>
                  <a:pt x="479" y="43"/>
                </a:moveTo>
                <a:cubicBezTo>
                  <a:pt x="479" y="45"/>
                  <a:pt x="475" y="45"/>
                  <a:pt x="474" y="44"/>
                </a:cubicBezTo>
                <a:cubicBezTo>
                  <a:pt x="474" y="43"/>
                  <a:pt x="478" y="42"/>
                  <a:pt x="479" y="43"/>
                </a:cubicBezTo>
                <a:close/>
                <a:moveTo>
                  <a:pt x="473" y="28"/>
                </a:moveTo>
                <a:cubicBezTo>
                  <a:pt x="472" y="28"/>
                  <a:pt x="474" y="28"/>
                  <a:pt x="473" y="28"/>
                </a:cubicBezTo>
                <a:close/>
                <a:moveTo>
                  <a:pt x="471" y="33"/>
                </a:moveTo>
                <a:cubicBezTo>
                  <a:pt x="471" y="34"/>
                  <a:pt x="470" y="34"/>
                  <a:pt x="469" y="34"/>
                </a:cubicBezTo>
                <a:cubicBezTo>
                  <a:pt x="469" y="33"/>
                  <a:pt x="471" y="32"/>
                  <a:pt x="471" y="33"/>
                </a:cubicBezTo>
                <a:close/>
                <a:moveTo>
                  <a:pt x="467" y="32"/>
                </a:moveTo>
                <a:cubicBezTo>
                  <a:pt x="469" y="31"/>
                  <a:pt x="470" y="33"/>
                  <a:pt x="467" y="32"/>
                </a:cubicBezTo>
                <a:close/>
                <a:moveTo>
                  <a:pt x="467" y="46"/>
                </a:moveTo>
                <a:cubicBezTo>
                  <a:pt x="468" y="44"/>
                  <a:pt x="469" y="47"/>
                  <a:pt x="467" y="46"/>
                </a:cubicBezTo>
                <a:close/>
                <a:moveTo>
                  <a:pt x="467" y="52"/>
                </a:moveTo>
                <a:cubicBezTo>
                  <a:pt x="466" y="52"/>
                  <a:pt x="468" y="53"/>
                  <a:pt x="467" y="52"/>
                </a:cubicBezTo>
                <a:close/>
                <a:moveTo>
                  <a:pt x="467" y="30"/>
                </a:moveTo>
                <a:cubicBezTo>
                  <a:pt x="467" y="30"/>
                  <a:pt x="468" y="31"/>
                  <a:pt x="467" y="31"/>
                </a:cubicBezTo>
                <a:cubicBezTo>
                  <a:pt x="465" y="31"/>
                  <a:pt x="467" y="28"/>
                  <a:pt x="467" y="30"/>
                </a:cubicBezTo>
                <a:close/>
                <a:moveTo>
                  <a:pt x="468" y="38"/>
                </a:moveTo>
                <a:cubicBezTo>
                  <a:pt x="468" y="39"/>
                  <a:pt x="466" y="40"/>
                  <a:pt x="465" y="39"/>
                </a:cubicBezTo>
                <a:cubicBezTo>
                  <a:pt x="465" y="38"/>
                  <a:pt x="467" y="37"/>
                  <a:pt x="468" y="38"/>
                </a:cubicBezTo>
                <a:close/>
                <a:moveTo>
                  <a:pt x="464" y="49"/>
                </a:moveTo>
                <a:cubicBezTo>
                  <a:pt x="463" y="50"/>
                  <a:pt x="462" y="48"/>
                  <a:pt x="462" y="49"/>
                </a:cubicBezTo>
                <a:cubicBezTo>
                  <a:pt x="460" y="46"/>
                  <a:pt x="468" y="49"/>
                  <a:pt x="464" y="49"/>
                </a:cubicBezTo>
                <a:close/>
                <a:moveTo>
                  <a:pt x="463" y="51"/>
                </a:moveTo>
                <a:cubicBezTo>
                  <a:pt x="463" y="51"/>
                  <a:pt x="464" y="51"/>
                  <a:pt x="464" y="51"/>
                </a:cubicBezTo>
                <a:cubicBezTo>
                  <a:pt x="465" y="52"/>
                  <a:pt x="464" y="51"/>
                  <a:pt x="463" y="51"/>
                </a:cubicBezTo>
                <a:close/>
                <a:moveTo>
                  <a:pt x="447" y="79"/>
                </a:moveTo>
                <a:cubicBezTo>
                  <a:pt x="448" y="79"/>
                  <a:pt x="446" y="80"/>
                  <a:pt x="446" y="80"/>
                </a:cubicBezTo>
                <a:cubicBezTo>
                  <a:pt x="446" y="79"/>
                  <a:pt x="446" y="79"/>
                  <a:pt x="447" y="79"/>
                </a:cubicBezTo>
                <a:close/>
                <a:moveTo>
                  <a:pt x="446" y="189"/>
                </a:moveTo>
                <a:cubicBezTo>
                  <a:pt x="446" y="188"/>
                  <a:pt x="448" y="188"/>
                  <a:pt x="448" y="189"/>
                </a:cubicBezTo>
                <a:cubicBezTo>
                  <a:pt x="448" y="190"/>
                  <a:pt x="446" y="190"/>
                  <a:pt x="446" y="189"/>
                </a:cubicBezTo>
                <a:close/>
                <a:moveTo>
                  <a:pt x="449" y="610"/>
                </a:moveTo>
                <a:cubicBezTo>
                  <a:pt x="448" y="610"/>
                  <a:pt x="447" y="610"/>
                  <a:pt x="446" y="610"/>
                </a:cubicBezTo>
                <a:cubicBezTo>
                  <a:pt x="447" y="609"/>
                  <a:pt x="448" y="609"/>
                  <a:pt x="449" y="610"/>
                </a:cubicBezTo>
                <a:close/>
                <a:moveTo>
                  <a:pt x="447" y="145"/>
                </a:moveTo>
                <a:cubicBezTo>
                  <a:pt x="446" y="146"/>
                  <a:pt x="445" y="145"/>
                  <a:pt x="447" y="145"/>
                </a:cubicBezTo>
                <a:close/>
                <a:moveTo>
                  <a:pt x="447" y="126"/>
                </a:moveTo>
                <a:cubicBezTo>
                  <a:pt x="447" y="126"/>
                  <a:pt x="446" y="127"/>
                  <a:pt x="446" y="127"/>
                </a:cubicBezTo>
                <a:cubicBezTo>
                  <a:pt x="446" y="127"/>
                  <a:pt x="446" y="126"/>
                  <a:pt x="447" y="126"/>
                </a:cubicBezTo>
                <a:close/>
                <a:moveTo>
                  <a:pt x="446" y="180"/>
                </a:moveTo>
                <a:cubicBezTo>
                  <a:pt x="446" y="184"/>
                  <a:pt x="439" y="183"/>
                  <a:pt x="438" y="180"/>
                </a:cubicBezTo>
                <a:cubicBezTo>
                  <a:pt x="438" y="178"/>
                  <a:pt x="446" y="176"/>
                  <a:pt x="446" y="180"/>
                </a:cubicBezTo>
                <a:close/>
                <a:moveTo>
                  <a:pt x="441" y="175"/>
                </a:moveTo>
                <a:cubicBezTo>
                  <a:pt x="441" y="173"/>
                  <a:pt x="444" y="173"/>
                  <a:pt x="444" y="174"/>
                </a:cubicBezTo>
                <a:cubicBezTo>
                  <a:pt x="445" y="176"/>
                  <a:pt x="442" y="176"/>
                  <a:pt x="441" y="175"/>
                </a:cubicBezTo>
                <a:close/>
                <a:moveTo>
                  <a:pt x="446" y="135"/>
                </a:moveTo>
                <a:cubicBezTo>
                  <a:pt x="444" y="136"/>
                  <a:pt x="441" y="137"/>
                  <a:pt x="440" y="136"/>
                </a:cubicBezTo>
                <a:cubicBezTo>
                  <a:pt x="442" y="136"/>
                  <a:pt x="444" y="134"/>
                  <a:pt x="446" y="135"/>
                </a:cubicBezTo>
                <a:close/>
                <a:moveTo>
                  <a:pt x="443" y="79"/>
                </a:moveTo>
                <a:cubicBezTo>
                  <a:pt x="444" y="78"/>
                  <a:pt x="445" y="80"/>
                  <a:pt x="443" y="79"/>
                </a:cubicBezTo>
                <a:close/>
                <a:moveTo>
                  <a:pt x="443" y="79"/>
                </a:moveTo>
                <a:cubicBezTo>
                  <a:pt x="442" y="80"/>
                  <a:pt x="440" y="81"/>
                  <a:pt x="439" y="81"/>
                </a:cubicBezTo>
                <a:cubicBezTo>
                  <a:pt x="439" y="79"/>
                  <a:pt x="441" y="80"/>
                  <a:pt x="443" y="79"/>
                </a:cubicBezTo>
                <a:close/>
                <a:moveTo>
                  <a:pt x="438" y="137"/>
                </a:moveTo>
                <a:cubicBezTo>
                  <a:pt x="439" y="137"/>
                  <a:pt x="437" y="138"/>
                  <a:pt x="437" y="138"/>
                </a:cubicBezTo>
                <a:cubicBezTo>
                  <a:pt x="437" y="138"/>
                  <a:pt x="438" y="137"/>
                  <a:pt x="438" y="137"/>
                </a:cubicBezTo>
                <a:close/>
                <a:moveTo>
                  <a:pt x="437" y="228"/>
                </a:moveTo>
                <a:cubicBezTo>
                  <a:pt x="436" y="229"/>
                  <a:pt x="433" y="230"/>
                  <a:pt x="432" y="232"/>
                </a:cubicBezTo>
                <a:cubicBezTo>
                  <a:pt x="433" y="230"/>
                  <a:pt x="435" y="229"/>
                  <a:pt x="437" y="228"/>
                </a:cubicBezTo>
                <a:close/>
                <a:moveTo>
                  <a:pt x="431" y="647"/>
                </a:moveTo>
                <a:cubicBezTo>
                  <a:pt x="432" y="648"/>
                  <a:pt x="430" y="646"/>
                  <a:pt x="431" y="647"/>
                </a:cubicBezTo>
                <a:close/>
                <a:moveTo>
                  <a:pt x="430" y="190"/>
                </a:move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lose/>
                <a:moveTo>
                  <a:pt x="430" y="233"/>
                </a:moveTo>
                <a:cubicBezTo>
                  <a:pt x="428" y="236"/>
                  <a:pt x="427" y="233"/>
                  <a:pt x="430" y="233"/>
                </a:cubicBezTo>
                <a:close/>
                <a:moveTo>
                  <a:pt x="430" y="647"/>
                </a:moveTo>
                <a:cubicBezTo>
                  <a:pt x="430" y="648"/>
                  <a:pt x="428" y="648"/>
                  <a:pt x="428" y="648"/>
                </a:cubicBezTo>
                <a:cubicBezTo>
                  <a:pt x="428" y="647"/>
                  <a:pt x="429" y="647"/>
                  <a:pt x="430" y="647"/>
                </a:cubicBezTo>
                <a:close/>
                <a:moveTo>
                  <a:pt x="427" y="105"/>
                </a:moveTo>
                <a:cubicBezTo>
                  <a:pt x="426" y="104"/>
                  <a:pt x="428" y="106"/>
                  <a:pt x="427" y="105"/>
                </a:cubicBezTo>
                <a:close/>
                <a:moveTo>
                  <a:pt x="426" y="572"/>
                </a:moveTo>
                <a:cubicBezTo>
                  <a:pt x="427" y="571"/>
                  <a:pt x="427" y="574"/>
                  <a:pt x="426" y="573"/>
                </a:cubicBezTo>
                <a:cubicBezTo>
                  <a:pt x="426" y="573"/>
                  <a:pt x="426" y="572"/>
                  <a:pt x="426" y="572"/>
                </a:cubicBezTo>
                <a:close/>
                <a:moveTo>
                  <a:pt x="424" y="210"/>
                </a:moveTo>
                <a:cubicBezTo>
                  <a:pt x="425" y="209"/>
                  <a:pt x="426" y="211"/>
                  <a:pt x="424" y="210"/>
                </a:cubicBezTo>
                <a:close/>
                <a:moveTo>
                  <a:pt x="422" y="80"/>
                </a:moveTo>
                <a:cubicBezTo>
                  <a:pt x="423" y="81"/>
                  <a:pt x="421" y="81"/>
                  <a:pt x="420" y="81"/>
                </a:cubicBezTo>
                <a:cubicBezTo>
                  <a:pt x="420" y="80"/>
                  <a:pt x="422" y="80"/>
                  <a:pt x="422" y="80"/>
                </a:cubicBezTo>
                <a:close/>
                <a:moveTo>
                  <a:pt x="423" y="85"/>
                </a:moveTo>
                <a:cubicBezTo>
                  <a:pt x="423" y="85"/>
                  <a:pt x="420" y="86"/>
                  <a:pt x="420" y="85"/>
                </a:cubicBezTo>
                <a:cubicBezTo>
                  <a:pt x="419" y="85"/>
                  <a:pt x="424" y="83"/>
                  <a:pt x="423" y="85"/>
                </a:cubicBezTo>
                <a:close/>
                <a:moveTo>
                  <a:pt x="421" y="667"/>
                </a:moveTo>
                <a:cubicBezTo>
                  <a:pt x="423" y="666"/>
                  <a:pt x="422" y="668"/>
                  <a:pt x="421" y="667"/>
                </a:cubicBezTo>
                <a:close/>
                <a:moveTo>
                  <a:pt x="419" y="54"/>
                </a:moveTo>
                <a:cubicBezTo>
                  <a:pt x="420" y="54"/>
                  <a:pt x="419" y="55"/>
                  <a:pt x="419" y="55"/>
                </a:cubicBezTo>
                <a:cubicBezTo>
                  <a:pt x="418" y="55"/>
                  <a:pt x="418" y="54"/>
                  <a:pt x="419" y="54"/>
                </a:cubicBezTo>
                <a:close/>
                <a:moveTo>
                  <a:pt x="419" y="61"/>
                </a:moveTo>
                <a:cubicBezTo>
                  <a:pt x="419" y="61"/>
                  <a:pt x="417" y="61"/>
                  <a:pt x="417" y="60"/>
                </a:cubicBezTo>
                <a:cubicBezTo>
                  <a:pt x="417" y="60"/>
                  <a:pt x="418" y="60"/>
                  <a:pt x="419" y="61"/>
                </a:cubicBezTo>
                <a:close/>
                <a:moveTo>
                  <a:pt x="411" y="63"/>
                </a:moveTo>
                <a:cubicBezTo>
                  <a:pt x="411" y="63"/>
                  <a:pt x="410" y="64"/>
                  <a:pt x="410" y="63"/>
                </a:cubicBezTo>
                <a:cubicBezTo>
                  <a:pt x="409" y="63"/>
                  <a:pt x="411" y="62"/>
                  <a:pt x="411" y="63"/>
                </a:cubicBezTo>
                <a:close/>
                <a:moveTo>
                  <a:pt x="408" y="93"/>
                </a:moveTo>
                <a:cubicBezTo>
                  <a:pt x="408" y="94"/>
                  <a:pt x="407" y="94"/>
                  <a:pt x="407" y="94"/>
                </a:cubicBezTo>
                <a:cubicBezTo>
                  <a:pt x="406" y="93"/>
                  <a:pt x="408" y="93"/>
                  <a:pt x="408" y="93"/>
                </a:cubicBezTo>
                <a:close/>
                <a:moveTo>
                  <a:pt x="406" y="125"/>
                </a:moveTo>
                <a:cubicBezTo>
                  <a:pt x="406" y="126"/>
                  <a:pt x="404" y="125"/>
                  <a:pt x="406" y="125"/>
                </a:cubicBezTo>
                <a:close/>
                <a:moveTo>
                  <a:pt x="405" y="97"/>
                </a:moveTo>
                <a:cubicBezTo>
                  <a:pt x="404" y="97"/>
                  <a:pt x="404" y="97"/>
                  <a:pt x="404" y="96"/>
                </a:cubicBezTo>
                <a:cubicBezTo>
                  <a:pt x="403" y="95"/>
                  <a:pt x="406" y="97"/>
                  <a:pt x="405" y="97"/>
                </a:cubicBezTo>
                <a:close/>
                <a:moveTo>
                  <a:pt x="408" y="154"/>
                </a:moveTo>
                <a:cubicBezTo>
                  <a:pt x="406" y="156"/>
                  <a:pt x="402" y="158"/>
                  <a:pt x="399" y="158"/>
                </a:cubicBezTo>
                <a:cubicBezTo>
                  <a:pt x="402" y="157"/>
                  <a:pt x="405" y="156"/>
                  <a:pt x="408" y="154"/>
                </a:cubicBezTo>
                <a:close/>
                <a:moveTo>
                  <a:pt x="399" y="122"/>
                </a:moveTo>
                <a:cubicBezTo>
                  <a:pt x="399" y="122"/>
                  <a:pt x="400" y="121"/>
                  <a:pt x="400" y="122"/>
                </a:cubicBezTo>
                <a:cubicBezTo>
                  <a:pt x="400" y="122"/>
                  <a:pt x="400" y="123"/>
                  <a:pt x="399" y="122"/>
                </a:cubicBezTo>
                <a:close/>
                <a:moveTo>
                  <a:pt x="401" y="71"/>
                </a:moveTo>
                <a:cubicBezTo>
                  <a:pt x="402" y="72"/>
                  <a:pt x="400" y="73"/>
                  <a:pt x="399" y="72"/>
                </a:cubicBezTo>
                <a:cubicBezTo>
                  <a:pt x="399" y="71"/>
                  <a:pt x="401" y="70"/>
                  <a:pt x="401" y="71"/>
                </a:cubicBezTo>
                <a:close/>
                <a:moveTo>
                  <a:pt x="399" y="97"/>
                </a:moveTo>
                <a:cubicBezTo>
                  <a:pt x="399" y="97"/>
                  <a:pt x="398" y="98"/>
                  <a:pt x="397" y="97"/>
                </a:cubicBezTo>
                <a:cubicBezTo>
                  <a:pt x="398" y="97"/>
                  <a:pt x="398" y="97"/>
                  <a:pt x="399" y="97"/>
                </a:cubicBezTo>
                <a:close/>
                <a:moveTo>
                  <a:pt x="398" y="160"/>
                </a:moveTo>
                <a:cubicBezTo>
                  <a:pt x="398" y="160"/>
                  <a:pt x="398" y="159"/>
                  <a:pt x="399" y="159"/>
                </a:cubicBezTo>
                <a:cubicBezTo>
                  <a:pt x="399" y="159"/>
                  <a:pt x="398" y="160"/>
                  <a:pt x="398" y="160"/>
                </a:cubicBezTo>
                <a:close/>
                <a:moveTo>
                  <a:pt x="398" y="169"/>
                </a:moveTo>
                <a:cubicBezTo>
                  <a:pt x="399" y="170"/>
                  <a:pt x="397" y="171"/>
                  <a:pt x="397" y="170"/>
                </a:cubicBezTo>
                <a:cubicBezTo>
                  <a:pt x="397" y="169"/>
                  <a:pt x="398" y="169"/>
                  <a:pt x="398" y="169"/>
                </a:cubicBezTo>
                <a:close/>
                <a:moveTo>
                  <a:pt x="397" y="159"/>
                </a:moveTo>
                <a:cubicBezTo>
                  <a:pt x="397" y="160"/>
                  <a:pt x="395" y="162"/>
                  <a:pt x="395" y="161"/>
                </a:cubicBezTo>
                <a:cubicBezTo>
                  <a:pt x="395" y="160"/>
                  <a:pt x="397" y="160"/>
                  <a:pt x="397" y="159"/>
                </a:cubicBezTo>
                <a:close/>
                <a:moveTo>
                  <a:pt x="395" y="78"/>
                </a:moveTo>
                <a:cubicBezTo>
                  <a:pt x="395" y="78"/>
                  <a:pt x="394" y="78"/>
                  <a:pt x="394" y="78"/>
                </a:cubicBezTo>
                <a:cubicBezTo>
                  <a:pt x="393" y="78"/>
                  <a:pt x="395" y="78"/>
                  <a:pt x="395" y="78"/>
                </a:cubicBezTo>
                <a:close/>
                <a:moveTo>
                  <a:pt x="392" y="104"/>
                </a:moveTo>
                <a:cubicBezTo>
                  <a:pt x="393" y="106"/>
                  <a:pt x="390" y="105"/>
                  <a:pt x="390" y="104"/>
                </a:cubicBezTo>
                <a:cubicBezTo>
                  <a:pt x="390" y="102"/>
                  <a:pt x="392" y="103"/>
                  <a:pt x="392" y="104"/>
                </a:cubicBezTo>
                <a:close/>
                <a:moveTo>
                  <a:pt x="388" y="79"/>
                </a:moveTo>
                <a:cubicBezTo>
                  <a:pt x="387" y="80"/>
                  <a:pt x="386" y="79"/>
                  <a:pt x="385" y="80"/>
                </a:cubicBezTo>
                <a:cubicBezTo>
                  <a:pt x="385" y="79"/>
                  <a:pt x="387" y="79"/>
                  <a:pt x="388" y="79"/>
                </a:cubicBezTo>
                <a:close/>
                <a:moveTo>
                  <a:pt x="385" y="112"/>
                </a:moveTo>
                <a:cubicBezTo>
                  <a:pt x="385" y="112"/>
                  <a:pt x="387" y="111"/>
                  <a:pt x="387" y="112"/>
                </a:cubicBezTo>
                <a:cubicBezTo>
                  <a:pt x="388" y="114"/>
                  <a:pt x="384" y="114"/>
                  <a:pt x="385" y="112"/>
                </a:cubicBezTo>
                <a:close/>
                <a:moveTo>
                  <a:pt x="382" y="113"/>
                </a:moveTo>
                <a:cubicBezTo>
                  <a:pt x="384" y="111"/>
                  <a:pt x="385" y="114"/>
                  <a:pt x="382" y="113"/>
                </a:cubicBezTo>
                <a:close/>
                <a:moveTo>
                  <a:pt x="379" y="110"/>
                </a:moveTo>
                <a:cubicBezTo>
                  <a:pt x="380" y="111"/>
                  <a:pt x="376" y="111"/>
                  <a:pt x="376" y="110"/>
                </a:cubicBezTo>
                <a:cubicBezTo>
                  <a:pt x="375" y="109"/>
                  <a:pt x="378" y="108"/>
                  <a:pt x="379" y="110"/>
                </a:cubicBezTo>
                <a:close/>
                <a:moveTo>
                  <a:pt x="379" y="80"/>
                </a:moveTo>
                <a:cubicBezTo>
                  <a:pt x="379" y="80"/>
                  <a:pt x="377" y="81"/>
                  <a:pt x="377" y="81"/>
                </a:cubicBezTo>
                <a:cubicBezTo>
                  <a:pt x="377" y="80"/>
                  <a:pt x="378" y="80"/>
                  <a:pt x="379" y="80"/>
                </a:cubicBezTo>
                <a:close/>
                <a:moveTo>
                  <a:pt x="376" y="81"/>
                </a:moveTo>
                <a:cubicBezTo>
                  <a:pt x="375" y="81"/>
                  <a:pt x="374" y="81"/>
                  <a:pt x="374" y="81"/>
                </a:cubicBezTo>
                <a:cubicBezTo>
                  <a:pt x="373" y="81"/>
                  <a:pt x="375" y="81"/>
                  <a:pt x="376" y="81"/>
                </a:cubicBezTo>
                <a:close/>
                <a:moveTo>
                  <a:pt x="372" y="76"/>
                </a:moveTo>
                <a:cubicBezTo>
                  <a:pt x="372" y="76"/>
                  <a:pt x="372" y="76"/>
                  <a:pt x="372" y="76"/>
                </a:cubicBezTo>
                <a:cubicBezTo>
                  <a:pt x="372" y="76"/>
                  <a:pt x="371" y="76"/>
                  <a:pt x="371" y="76"/>
                </a:cubicBezTo>
                <a:cubicBezTo>
                  <a:pt x="371" y="76"/>
                  <a:pt x="371" y="76"/>
                  <a:pt x="372" y="76"/>
                </a:cubicBezTo>
                <a:close/>
                <a:moveTo>
                  <a:pt x="363" y="95"/>
                </a:moveTo>
                <a:cubicBezTo>
                  <a:pt x="362" y="96"/>
                  <a:pt x="361" y="94"/>
                  <a:pt x="363" y="95"/>
                </a:cubicBezTo>
                <a:close/>
                <a:moveTo>
                  <a:pt x="362" y="110"/>
                </a:moveTo>
                <a:cubicBezTo>
                  <a:pt x="362" y="112"/>
                  <a:pt x="358" y="112"/>
                  <a:pt x="357" y="111"/>
                </a:cubicBezTo>
                <a:cubicBezTo>
                  <a:pt x="357" y="111"/>
                  <a:pt x="357" y="111"/>
                  <a:pt x="356" y="110"/>
                </a:cubicBezTo>
                <a:cubicBezTo>
                  <a:pt x="357" y="111"/>
                  <a:pt x="355" y="112"/>
                  <a:pt x="355" y="111"/>
                </a:cubicBezTo>
                <a:cubicBezTo>
                  <a:pt x="354" y="110"/>
                  <a:pt x="363" y="106"/>
                  <a:pt x="362" y="110"/>
                </a:cubicBezTo>
                <a:close/>
                <a:moveTo>
                  <a:pt x="357" y="127"/>
                </a:moveTo>
                <a:cubicBezTo>
                  <a:pt x="362" y="124"/>
                  <a:pt x="368" y="124"/>
                  <a:pt x="374" y="121"/>
                </a:cubicBezTo>
                <a:cubicBezTo>
                  <a:pt x="379" y="119"/>
                  <a:pt x="384" y="116"/>
                  <a:pt x="389" y="116"/>
                </a:cubicBezTo>
                <a:cubicBezTo>
                  <a:pt x="389" y="116"/>
                  <a:pt x="390" y="117"/>
                  <a:pt x="390" y="117"/>
                </a:cubicBezTo>
                <a:cubicBezTo>
                  <a:pt x="390" y="118"/>
                  <a:pt x="381" y="121"/>
                  <a:pt x="378" y="122"/>
                </a:cubicBezTo>
                <a:cubicBezTo>
                  <a:pt x="373" y="123"/>
                  <a:pt x="369" y="124"/>
                  <a:pt x="364" y="125"/>
                </a:cubicBezTo>
                <a:cubicBezTo>
                  <a:pt x="363" y="126"/>
                  <a:pt x="357" y="129"/>
                  <a:pt x="355" y="129"/>
                </a:cubicBezTo>
                <a:cubicBezTo>
                  <a:pt x="352" y="129"/>
                  <a:pt x="356" y="127"/>
                  <a:pt x="357" y="127"/>
                </a:cubicBezTo>
                <a:close/>
                <a:moveTo>
                  <a:pt x="357" y="587"/>
                </a:moveTo>
                <a:cubicBezTo>
                  <a:pt x="365" y="583"/>
                  <a:pt x="375" y="580"/>
                  <a:pt x="384" y="576"/>
                </a:cubicBezTo>
                <a:cubicBezTo>
                  <a:pt x="385" y="576"/>
                  <a:pt x="387" y="575"/>
                  <a:pt x="387" y="576"/>
                </a:cubicBezTo>
                <a:cubicBezTo>
                  <a:pt x="388" y="577"/>
                  <a:pt x="384" y="578"/>
                  <a:pt x="386" y="577"/>
                </a:cubicBezTo>
                <a:cubicBezTo>
                  <a:pt x="377" y="581"/>
                  <a:pt x="366" y="585"/>
                  <a:pt x="357" y="587"/>
                </a:cubicBezTo>
                <a:close/>
                <a:moveTo>
                  <a:pt x="376" y="609"/>
                </a:moveTo>
                <a:cubicBezTo>
                  <a:pt x="376" y="610"/>
                  <a:pt x="374" y="610"/>
                  <a:pt x="374" y="610"/>
                </a:cubicBezTo>
                <a:cubicBezTo>
                  <a:pt x="373" y="609"/>
                  <a:pt x="376" y="608"/>
                  <a:pt x="376" y="609"/>
                </a:cubicBezTo>
                <a:close/>
                <a:moveTo>
                  <a:pt x="374" y="600"/>
                </a:moveTo>
                <a:cubicBezTo>
                  <a:pt x="373" y="599"/>
                  <a:pt x="375" y="599"/>
                  <a:pt x="375" y="600"/>
                </a:cubicBezTo>
                <a:cubicBezTo>
                  <a:pt x="375" y="601"/>
                  <a:pt x="374" y="600"/>
                  <a:pt x="374" y="600"/>
                </a:cubicBezTo>
                <a:close/>
                <a:moveTo>
                  <a:pt x="372" y="610"/>
                </a:moveTo>
                <a:cubicBezTo>
                  <a:pt x="371" y="610"/>
                  <a:pt x="373" y="609"/>
                  <a:pt x="373" y="610"/>
                </a:cubicBezTo>
                <a:cubicBezTo>
                  <a:pt x="373" y="610"/>
                  <a:pt x="373" y="611"/>
                  <a:pt x="372" y="610"/>
                </a:cubicBezTo>
                <a:close/>
                <a:moveTo>
                  <a:pt x="364" y="137"/>
                </a:moveTo>
                <a:cubicBezTo>
                  <a:pt x="364" y="138"/>
                  <a:pt x="364" y="137"/>
                  <a:pt x="363" y="138"/>
                </a:cubicBezTo>
                <a:cubicBezTo>
                  <a:pt x="363" y="137"/>
                  <a:pt x="364" y="137"/>
                  <a:pt x="364" y="137"/>
                </a:cubicBezTo>
                <a:close/>
                <a:moveTo>
                  <a:pt x="376" y="167"/>
                </a:moveTo>
                <a:cubicBezTo>
                  <a:pt x="377" y="168"/>
                  <a:pt x="373" y="170"/>
                  <a:pt x="371" y="170"/>
                </a:cubicBezTo>
                <a:cubicBezTo>
                  <a:pt x="371" y="170"/>
                  <a:pt x="368" y="169"/>
                  <a:pt x="367" y="169"/>
                </a:cubicBezTo>
                <a:cubicBezTo>
                  <a:pt x="367" y="168"/>
                  <a:pt x="371" y="165"/>
                  <a:pt x="373" y="168"/>
                </a:cubicBezTo>
                <a:cubicBezTo>
                  <a:pt x="373" y="168"/>
                  <a:pt x="373" y="169"/>
                  <a:pt x="373" y="169"/>
                </a:cubicBezTo>
                <a:cubicBezTo>
                  <a:pt x="374" y="169"/>
                  <a:pt x="375" y="168"/>
                  <a:pt x="376" y="167"/>
                </a:cubicBezTo>
                <a:close/>
                <a:moveTo>
                  <a:pt x="369" y="576"/>
                </a:moveTo>
                <a:cubicBezTo>
                  <a:pt x="369" y="574"/>
                  <a:pt x="371" y="574"/>
                  <a:pt x="369" y="576"/>
                </a:cubicBezTo>
                <a:close/>
                <a:moveTo>
                  <a:pt x="368" y="211"/>
                </a:moveTo>
                <a:cubicBezTo>
                  <a:pt x="367" y="211"/>
                  <a:pt x="368" y="209"/>
                  <a:pt x="369" y="210"/>
                </a:cubicBezTo>
                <a:cubicBezTo>
                  <a:pt x="369" y="210"/>
                  <a:pt x="368" y="211"/>
                  <a:pt x="368" y="211"/>
                </a:cubicBezTo>
                <a:close/>
                <a:moveTo>
                  <a:pt x="368" y="576"/>
                </a:moveTo>
                <a:cubicBezTo>
                  <a:pt x="370" y="575"/>
                  <a:pt x="366" y="578"/>
                  <a:pt x="368" y="576"/>
                </a:cubicBezTo>
                <a:close/>
                <a:moveTo>
                  <a:pt x="379" y="184"/>
                </a:moveTo>
                <a:cubicBezTo>
                  <a:pt x="379" y="183"/>
                  <a:pt x="380" y="182"/>
                  <a:pt x="380" y="183"/>
                </a:cubicBezTo>
                <a:cubicBezTo>
                  <a:pt x="380" y="184"/>
                  <a:pt x="379" y="184"/>
                  <a:pt x="379" y="184"/>
                </a:cubicBezTo>
                <a:close/>
                <a:moveTo>
                  <a:pt x="356" y="609"/>
                </a:moveTo>
                <a:cubicBezTo>
                  <a:pt x="355" y="611"/>
                  <a:pt x="353" y="609"/>
                  <a:pt x="356" y="609"/>
                </a:cubicBezTo>
                <a:close/>
                <a:moveTo>
                  <a:pt x="354" y="556"/>
                </a:moveTo>
                <a:cubicBezTo>
                  <a:pt x="353" y="557"/>
                  <a:pt x="352" y="555"/>
                  <a:pt x="354" y="556"/>
                </a:cubicBezTo>
                <a:close/>
                <a:moveTo>
                  <a:pt x="352" y="532"/>
                </a:moveTo>
                <a:cubicBezTo>
                  <a:pt x="354" y="530"/>
                  <a:pt x="354" y="533"/>
                  <a:pt x="352" y="532"/>
                </a:cubicBezTo>
                <a:close/>
                <a:moveTo>
                  <a:pt x="354" y="674"/>
                </a:moveTo>
                <a:cubicBezTo>
                  <a:pt x="354" y="673"/>
                  <a:pt x="355" y="673"/>
                  <a:pt x="355" y="673"/>
                </a:cubicBezTo>
                <a:cubicBezTo>
                  <a:pt x="355" y="674"/>
                  <a:pt x="354" y="674"/>
                  <a:pt x="354" y="674"/>
                </a:cubicBezTo>
                <a:close/>
                <a:moveTo>
                  <a:pt x="357" y="697"/>
                </a:moveTo>
                <a:cubicBezTo>
                  <a:pt x="357" y="696"/>
                  <a:pt x="359" y="695"/>
                  <a:pt x="359" y="696"/>
                </a:cubicBezTo>
                <a:cubicBezTo>
                  <a:pt x="359" y="697"/>
                  <a:pt x="357" y="698"/>
                  <a:pt x="357" y="697"/>
                </a:cubicBezTo>
                <a:close/>
                <a:moveTo>
                  <a:pt x="357" y="671"/>
                </a:moveTo>
                <a:cubicBezTo>
                  <a:pt x="358" y="671"/>
                  <a:pt x="358" y="671"/>
                  <a:pt x="358" y="672"/>
                </a:cubicBezTo>
                <a:cubicBezTo>
                  <a:pt x="358" y="673"/>
                  <a:pt x="356" y="671"/>
                  <a:pt x="357" y="671"/>
                </a:cubicBezTo>
                <a:close/>
                <a:moveTo>
                  <a:pt x="360" y="643"/>
                </a:moveTo>
                <a:cubicBezTo>
                  <a:pt x="360" y="642"/>
                  <a:pt x="362" y="643"/>
                  <a:pt x="360" y="643"/>
                </a:cubicBezTo>
                <a:close/>
                <a:moveTo>
                  <a:pt x="360" y="630"/>
                </a:moveTo>
                <a:cubicBezTo>
                  <a:pt x="358" y="633"/>
                  <a:pt x="350" y="631"/>
                  <a:pt x="351" y="627"/>
                </a:cubicBezTo>
                <a:cubicBezTo>
                  <a:pt x="352" y="621"/>
                  <a:pt x="365" y="624"/>
                  <a:pt x="360" y="630"/>
                </a:cubicBezTo>
                <a:close/>
                <a:moveTo>
                  <a:pt x="371" y="611"/>
                </a:moveTo>
                <a:cubicBezTo>
                  <a:pt x="368" y="612"/>
                  <a:pt x="365" y="612"/>
                  <a:pt x="362" y="613"/>
                </a:cubicBezTo>
                <a:cubicBezTo>
                  <a:pt x="364" y="612"/>
                  <a:pt x="368" y="611"/>
                  <a:pt x="371" y="611"/>
                </a:cubicBezTo>
                <a:close/>
                <a:moveTo>
                  <a:pt x="363" y="671"/>
                </a:moveTo>
                <a:cubicBezTo>
                  <a:pt x="363" y="671"/>
                  <a:pt x="364" y="671"/>
                  <a:pt x="365" y="671"/>
                </a:cubicBezTo>
                <a:cubicBezTo>
                  <a:pt x="364" y="672"/>
                  <a:pt x="363" y="672"/>
                  <a:pt x="363" y="671"/>
                </a:cubicBezTo>
                <a:close/>
                <a:moveTo>
                  <a:pt x="364" y="691"/>
                </a:moveTo>
                <a:cubicBezTo>
                  <a:pt x="364" y="690"/>
                  <a:pt x="365" y="691"/>
                  <a:pt x="365" y="691"/>
                </a:cubicBezTo>
                <a:cubicBezTo>
                  <a:pt x="366" y="691"/>
                  <a:pt x="364" y="691"/>
                  <a:pt x="364" y="691"/>
                </a:cubicBezTo>
                <a:close/>
                <a:moveTo>
                  <a:pt x="365" y="647"/>
                </a:moveTo>
                <a:cubicBezTo>
                  <a:pt x="365" y="646"/>
                  <a:pt x="366" y="646"/>
                  <a:pt x="366" y="646"/>
                </a:cubicBezTo>
                <a:cubicBezTo>
                  <a:pt x="367" y="647"/>
                  <a:pt x="365" y="647"/>
                  <a:pt x="365" y="647"/>
                </a:cubicBezTo>
                <a:close/>
                <a:moveTo>
                  <a:pt x="370" y="666"/>
                </a:moveTo>
                <a:cubicBezTo>
                  <a:pt x="370" y="664"/>
                  <a:pt x="373" y="665"/>
                  <a:pt x="372" y="666"/>
                </a:cubicBezTo>
                <a:cubicBezTo>
                  <a:pt x="372" y="667"/>
                  <a:pt x="370" y="667"/>
                  <a:pt x="370" y="666"/>
                </a:cubicBezTo>
                <a:close/>
                <a:moveTo>
                  <a:pt x="371" y="691"/>
                </a:moveTo>
                <a:cubicBezTo>
                  <a:pt x="372" y="690"/>
                  <a:pt x="373" y="691"/>
                  <a:pt x="374" y="691"/>
                </a:cubicBezTo>
                <a:cubicBezTo>
                  <a:pt x="374" y="692"/>
                  <a:pt x="372" y="691"/>
                  <a:pt x="371" y="691"/>
                </a:cubicBezTo>
                <a:close/>
                <a:moveTo>
                  <a:pt x="379" y="659"/>
                </a:moveTo>
                <a:cubicBezTo>
                  <a:pt x="379" y="658"/>
                  <a:pt x="377" y="660"/>
                  <a:pt x="377" y="658"/>
                </a:cubicBezTo>
                <a:cubicBezTo>
                  <a:pt x="376" y="657"/>
                  <a:pt x="380" y="657"/>
                  <a:pt x="379" y="659"/>
                </a:cubicBezTo>
                <a:close/>
                <a:moveTo>
                  <a:pt x="381" y="691"/>
                </a:moveTo>
                <a:cubicBezTo>
                  <a:pt x="380" y="691"/>
                  <a:pt x="382" y="690"/>
                  <a:pt x="383" y="691"/>
                </a:cubicBezTo>
                <a:cubicBezTo>
                  <a:pt x="382" y="691"/>
                  <a:pt x="381" y="691"/>
                  <a:pt x="381" y="691"/>
                </a:cubicBezTo>
                <a:close/>
                <a:moveTo>
                  <a:pt x="382" y="658"/>
                </a:moveTo>
                <a:cubicBezTo>
                  <a:pt x="380" y="659"/>
                  <a:pt x="379" y="657"/>
                  <a:pt x="382" y="658"/>
                </a:cubicBezTo>
                <a:close/>
                <a:moveTo>
                  <a:pt x="383" y="691"/>
                </a:moveTo>
                <a:cubicBezTo>
                  <a:pt x="384" y="691"/>
                  <a:pt x="385" y="691"/>
                  <a:pt x="386" y="691"/>
                </a:cubicBezTo>
                <a:cubicBezTo>
                  <a:pt x="386" y="691"/>
                  <a:pt x="384" y="691"/>
                  <a:pt x="383" y="691"/>
                </a:cubicBezTo>
                <a:close/>
                <a:moveTo>
                  <a:pt x="387" y="696"/>
                </a:move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lose/>
                <a:moveTo>
                  <a:pt x="384" y="662"/>
                </a:moveTo>
                <a:cubicBezTo>
                  <a:pt x="384" y="660"/>
                  <a:pt x="388" y="661"/>
                  <a:pt x="388" y="662"/>
                </a:cubicBezTo>
                <a:cubicBezTo>
                  <a:pt x="388" y="663"/>
                  <a:pt x="385" y="664"/>
                  <a:pt x="384" y="662"/>
                </a:cubicBezTo>
                <a:close/>
                <a:moveTo>
                  <a:pt x="398" y="679"/>
                </a:moveTo>
                <a:cubicBezTo>
                  <a:pt x="400" y="678"/>
                  <a:pt x="400" y="680"/>
                  <a:pt x="398" y="679"/>
                </a:cubicBezTo>
                <a:close/>
                <a:moveTo>
                  <a:pt x="401" y="664"/>
                </a:moveTo>
                <a:cubicBezTo>
                  <a:pt x="402" y="662"/>
                  <a:pt x="405" y="663"/>
                  <a:pt x="406" y="663"/>
                </a:cubicBezTo>
                <a:cubicBezTo>
                  <a:pt x="406" y="663"/>
                  <a:pt x="407" y="664"/>
                  <a:pt x="407" y="664"/>
                </a:cubicBezTo>
                <a:cubicBezTo>
                  <a:pt x="406" y="664"/>
                  <a:pt x="408" y="663"/>
                  <a:pt x="409" y="664"/>
                </a:cubicBezTo>
                <a:cubicBezTo>
                  <a:pt x="409" y="665"/>
                  <a:pt x="400" y="667"/>
                  <a:pt x="401" y="664"/>
                </a:cubicBezTo>
                <a:close/>
                <a:moveTo>
                  <a:pt x="411" y="704"/>
                </a:moveTo>
                <a:cubicBezTo>
                  <a:pt x="410" y="704"/>
                  <a:pt x="411" y="704"/>
                  <a:pt x="411" y="704"/>
                </a:cubicBezTo>
                <a:cubicBezTo>
                  <a:pt x="411" y="704"/>
                  <a:pt x="411" y="704"/>
                  <a:pt x="411" y="704"/>
                </a:cubicBezTo>
                <a:close/>
                <a:moveTo>
                  <a:pt x="409" y="648"/>
                </a:moveTo>
                <a:cubicBezTo>
                  <a:pt x="403" y="650"/>
                  <a:pt x="397" y="649"/>
                  <a:pt x="391" y="651"/>
                </a:cubicBezTo>
                <a:cubicBezTo>
                  <a:pt x="386" y="652"/>
                  <a:pt x="381" y="655"/>
                  <a:pt x="376" y="654"/>
                </a:cubicBezTo>
                <a:cubicBezTo>
                  <a:pt x="375" y="654"/>
                  <a:pt x="375" y="653"/>
                  <a:pt x="375" y="653"/>
                </a:cubicBezTo>
                <a:cubicBezTo>
                  <a:pt x="374" y="652"/>
                  <a:pt x="384" y="650"/>
                  <a:pt x="387" y="650"/>
                </a:cubicBezTo>
                <a:cubicBezTo>
                  <a:pt x="393" y="649"/>
                  <a:pt x="396" y="649"/>
                  <a:pt x="401" y="648"/>
                </a:cubicBezTo>
                <a:cubicBezTo>
                  <a:pt x="403" y="648"/>
                  <a:pt x="408" y="646"/>
                  <a:pt x="410" y="646"/>
                </a:cubicBezTo>
                <a:cubicBezTo>
                  <a:pt x="413" y="647"/>
                  <a:pt x="409" y="648"/>
                  <a:pt x="409" y="648"/>
                </a:cubicBezTo>
                <a:close/>
                <a:moveTo>
                  <a:pt x="394" y="589"/>
                </a:moveTo>
                <a:cubicBezTo>
                  <a:pt x="394" y="588"/>
                  <a:pt x="395" y="588"/>
                  <a:pt x="395" y="589"/>
                </a:cubicBezTo>
                <a:cubicBezTo>
                  <a:pt x="395" y="589"/>
                  <a:pt x="394" y="590"/>
                  <a:pt x="394" y="589"/>
                </a:cubicBezTo>
                <a:close/>
                <a:moveTo>
                  <a:pt x="398" y="605"/>
                </a:moveTo>
                <a:cubicBezTo>
                  <a:pt x="398" y="605"/>
                  <a:pt x="399" y="604"/>
                  <a:pt x="399" y="604"/>
                </a:cubicBezTo>
                <a:cubicBezTo>
                  <a:pt x="398" y="604"/>
                  <a:pt x="396" y="605"/>
                  <a:pt x="395" y="605"/>
                </a:cubicBezTo>
                <a:cubicBezTo>
                  <a:pt x="395" y="605"/>
                  <a:pt x="399" y="603"/>
                  <a:pt x="400" y="603"/>
                </a:cubicBezTo>
                <a:cubicBezTo>
                  <a:pt x="401" y="603"/>
                  <a:pt x="404" y="605"/>
                  <a:pt x="404" y="605"/>
                </a:cubicBezTo>
                <a:cubicBezTo>
                  <a:pt x="404" y="606"/>
                  <a:pt x="400" y="608"/>
                  <a:pt x="398" y="605"/>
                </a:cubicBezTo>
                <a:close/>
                <a:moveTo>
                  <a:pt x="403" y="636"/>
                </a:moveTo>
                <a:cubicBezTo>
                  <a:pt x="403" y="636"/>
                  <a:pt x="404" y="637"/>
                  <a:pt x="404" y="636"/>
                </a:cubicBezTo>
                <a:cubicBezTo>
                  <a:pt x="404" y="637"/>
                  <a:pt x="403" y="637"/>
                  <a:pt x="403" y="636"/>
                </a:cubicBezTo>
                <a:close/>
                <a:moveTo>
                  <a:pt x="406" y="193"/>
                </a:moveTo>
                <a:cubicBezTo>
                  <a:pt x="406" y="195"/>
                  <a:pt x="404" y="195"/>
                  <a:pt x="406" y="193"/>
                </a:cubicBezTo>
                <a:close/>
                <a:moveTo>
                  <a:pt x="407" y="192"/>
                </a:moveTo>
                <a:cubicBezTo>
                  <a:pt x="406" y="194"/>
                  <a:pt x="409" y="190"/>
                  <a:pt x="407" y="192"/>
                </a:cubicBezTo>
                <a:close/>
                <a:moveTo>
                  <a:pt x="410" y="563"/>
                </a:moveTo>
                <a:cubicBezTo>
                  <a:pt x="410" y="564"/>
                  <a:pt x="410" y="565"/>
                  <a:pt x="409" y="564"/>
                </a:cubicBezTo>
                <a:cubicBezTo>
                  <a:pt x="408" y="564"/>
                  <a:pt x="409" y="563"/>
                  <a:pt x="410" y="563"/>
                </a:cubicBezTo>
                <a:close/>
                <a:moveTo>
                  <a:pt x="412" y="687"/>
                </a:moveTo>
                <a:cubicBezTo>
                  <a:pt x="414" y="686"/>
                  <a:pt x="414" y="687"/>
                  <a:pt x="412" y="687"/>
                </a:cubicBezTo>
                <a:close/>
                <a:moveTo>
                  <a:pt x="391" y="194"/>
                </a:moveTo>
                <a:cubicBezTo>
                  <a:pt x="391" y="194"/>
                  <a:pt x="389" y="196"/>
                  <a:pt x="388" y="195"/>
                </a:cubicBezTo>
                <a:cubicBezTo>
                  <a:pt x="388" y="194"/>
                  <a:pt x="391" y="193"/>
                  <a:pt x="390" y="194"/>
                </a:cubicBezTo>
                <a:cubicBezTo>
                  <a:pt x="398" y="189"/>
                  <a:pt x="408" y="183"/>
                  <a:pt x="417" y="179"/>
                </a:cubicBezTo>
                <a:cubicBezTo>
                  <a:pt x="409" y="185"/>
                  <a:pt x="400" y="189"/>
                  <a:pt x="391" y="194"/>
                </a:cubicBezTo>
                <a:close/>
                <a:moveTo>
                  <a:pt x="414" y="158"/>
                </a:moveTo>
                <a:cubicBezTo>
                  <a:pt x="415" y="156"/>
                  <a:pt x="417" y="157"/>
                  <a:pt x="414" y="158"/>
                </a:cubicBezTo>
                <a:close/>
                <a:moveTo>
                  <a:pt x="407" y="137"/>
                </a:moveTo>
                <a:cubicBezTo>
                  <a:pt x="409" y="134"/>
                  <a:pt x="417" y="135"/>
                  <a:pt x="417" y="139"/>
                </a:cubicBezTo>
                <a:cubicBezTo>
                  <a:pt x="417" y="145"/>
                  <a:pt x="403" y="144"/>
                  <a:pt x="407" y="137"/>
                </a:cubicBezTo>
                <a:close/>
                <a:moveTo>
                  <a:pt x="418" y="140"/>
                </a:moveTo>
                <a:cubicBezTo>
                  <a:pt x="418" y="139"/>
                  <a:pt x="419" y="142"/>
                  <a:pt x="418" y="140"/>
                </a:cubicBezTo>
                <a:close/>
                <a:moveTo>
                  <a:pt x="420" y="672"/>
                </a:moveTo>
                <a:cubicBezTo>
                  <a:pt x="419" y="672"/>
                  <a:pt x="418" y="672"/>
                  <a:pt x="418" y="672"/>
                </a:cubicBezTo>
                <a:cubicBezTo>
                  <a:pt x="418" y="671"/>
                  <a:pt x="432" y="670"/>
                  <a:pt x="435" y="670"/>
                </a:cubicBezTo>
                <a:cubicBezTo>
                  <a:pt x="437" y="671"/>
                  <a:pt x="433" y="672"/>
                  <a:pt x="432" y="672"/>
                </a:cubicBezTo>
                <a:cubicBezTo>
                  <a:pt x="428" y="672"/>
                  <a:pt x="423" y="673"/>
                  <a:pt x="420" y="672"/>
                </a:cubicBezTo>
                <a:close/>
                <a:moveTo>
                  <a:pt x="425" y="681"/>
                </a:moveTo>
                <a:cubicBezTo>
                  <a:pt x="425" y="681"/>
                  <a:pt x="425" y="680"/>
                  <a:pt x="425" y="680"/>
                </a:cubicBezTo>
                <a:cubicBezTo>
                  <a:pt x="425" y="680"/>
                  <a:pt x="425" y="680"/>
                  <a:pt x="425" y="681"/>
                </a:cubicBezTo>
                <a:cubicBezTo>
                  <a:pt x="425" y="681"/>
                  <a:pt x="425" y="681"/>
                  <a:pt x="425" y="681"/>
                </a:cubicBezTo>
                <a:cubicBezTo>
                  <a:pt x="426" y="681"/>
                  <a:pt x="426" y="681"/>
                  <a:pt x="425" y="681"/>
                </a:cubicBezTo>
                <a:close/>
                <a:moveTo>
                  <a:pt x="429" y="674"/>
                </a:moveTo>
                <a:cubicBezTo>
                  <a:pt x="429" y="674"/>
                  <a:pt x="426" y="674"/>
                  <a:pt x="428" y="673"/>
                </a:cubicBezTo>
                <a:cubicBezTo>
                  <a:pt x="431" y="672"/>
                  <a:pt x="437" y="672"/>
                  <a:pt x="441" y="672"/>
                </a:cubicBezTo>
                <a:cubicBezTo>
                  <a:pt x="438" y="673"/>
                  <a:pt x="433" y="674"/>
                  <a:pt x="429" y="674"/>
                </a:cubicBezTo>
                <a:close/>
                <a:moveTo>
                  <a:pt x="442" y="672"/>
                </a:moveTo>
                <a:cubicBezTo>
                  <a:pt x="444" y="671"/>
                  <a:pt x="448" y="669"/>
                  <a:pt x="452" y="670"/>
                </a:cubicBezTo>
                <a:cubicBezTo>
                  <a:pt x="449" y="671"/>
                  <a:pt x="445" y="671"/>
                  <a:pt x="442" y="672"/>
                </a:cubicBezTo>
                <a:close/>
                <a:moveTo>
                  <a:pt x="449" y="142"/>
                </a:moveTo>
                <a:cubicBezTo>
                  <a:pt x="450" y="141"/>
                  <a:pt x="450" y="141"/>
                  <a:pt x="451" y="142"/>
                </a:cubicBezTo>
                <a:cubicBezTo>
                  <a:pt x="451" y="142"/>
                  <a:pt x="450" y="142"/>
                  <a:pt x="449" y="142"/>
                </a:cubicBezTo>
                <a:close/>
                <a:moveTo>
                  <a:pt x="451" y="148"/>
                </a:moveTo>
                <a:cubicBezTo>
                  <a:pt x="452" y="149"/>
                  <a:pt x="450" y="147"/>
                  <a:pt x="451" y="148"/>
                </a:cubicBezTo>
                <a:close/>
                <a:moveTo>
                  <a:pt x="446" y="79"/>
                </a:moveTo>
                <a:cubicBezTo>
                  <a:pt x="448" y="77"/>
                  <a:pt x="450" y="78"/>
                  <a:pt x="452" y="77"/>
                </a:cubicBezTo>
                <a:cubicBezTo>
                  <a:pt x="451" y="78"/>
                  <a:pt x="448" y="79"/>
                  <a:pt x="446" y="79"/>
                </a:cubicBezTo>
                <a:close/>
                <a:moveTo>
                  <a:pt x="454" y="644"/>
                </a:moveTo>
                <a:cubicBezTo>
                  <a:pt x="454" y="644"/>
                  <a:pt x="454" y="644"/>
                  <a:pt x="454" y="644"/>
                </a:cubicBezTo>
                <a:cubicBezTo>
                  <a:pt x="455" y="642"/>
                  <a:pt x="455" y="647"/>
                  <a:pt x="454" y="644"/>
                </a:cubicBezTo>
                <a:close/>
                <a:moveTo>
                  <a:pt x="449" y="66"/>
                </a:moveTo>
                <a:cubicBezTo>
                  <a:pt x="449" y="66"/>
                  <a:pt x="448" y="65"/>
                  <a:pt x="448" y="65"/>
                </a:cubicBezTo>
                <a:cubicBezTo>
                  <a:pt x="448" y="64"/>
                  <a:pt x="451" y="62"/>
                  <a:pt x="453" y="61"/>
                </a:cubicBezTo>
                <a:cubicBezTo>
                  <a:pt x="451" y="61"/>
                  <a:pt x="450" y="62"/>
                  <a:pt x="448" y="62"/>
                </a:cubicBezTo>
                <a:cubicBezTo>
                  <a:pt x="444" y="62"/>
                  <a:pt x="452" y="60"/>
                  <a:pt x="453" y="60"/>
                </a:cubicBezTo>
                <a:cubicBezTo>
                  <a:pt x="458" y="59"/>
                  <a:pt x="462" y="58"/>
                  <a:pt x="466" y="57"/>
                </a:cubicBezTo>
                <a:cubicBezTo>
                  <a:pt x="468" y="57"/>
                  <a:pt x="475" y="56"/>
                  <a:pt x="475" y="57"/>
                </a:cubicBezTo>
                <a:cubicBezTo>
                  <a:pt x="476" y="58"/>
                  <a:pt x="468" y="59"/>
                  <a:pt x="465" y="59"/>
                </a:cubicBezTo>
                <a:cubicBezTo>
                  <a:pt x="461" y="60"/>
                  <a:pt x="459" y="60"/>
                  <a:pt x="456" y="61"/>
                </a:cubicBezTo>
                <a:cubicBezTo>
                  <a:pt x="458" y="61"/>
                  <a:pt x="461" y="62"/>
                  <a:pt x="460" y="64"/>
                </a:cubicBezTo>
                <a:cubicBezTo>
                  <a:pt x="460" y="69"/>
                  <a:pt x="453" y="68"/>
                  <a:pt x="449" y="66"/>
                </a:cubicBezTo>
                <a:close/>
                <a:moveTo>
                  <a:pt x="467" y="66"/>
                </a:moveTo>
                <a:cubicBezTo>
                  <a:pt x="468" y="65"/>
                  <a:pt x="470" y="62"/>
                  <a:pt x="471" y="63"/>
                </a:cubicBezTo>
                <a:cubicBezTo>
                  <a:pt x="473" y="65"/>
                  <a:pt x="469" y="66"/>
                  <a:pt x="467" y="66"/>
                </a:cubicBezTo>
                <a:close/>
                <a:moveTo>
                  <a:pt x="459" y="100"/>
                </a:moveTo>
                <a:cubicBezTo>
                  <a:pt x="458" y="100"/>
                  <a:pt x="458" y="99"/>
                  <a:pt x="459" y="98"/>
                </a:cubicBezTo>
                <a:cubicBezTo>
                  <a:pt x="461" y="96"/>
                  <a:pt x="462" y="100"/>
                  <a:pt x="459" y="100"/>
                </a:cubicBezTo>
                <a:close/>
                <a:moveTo>
                  <a:pt x="456" y="149"/>
                </a:moveTo>
                <a:cubicBezTo>
                  <a:pt x="456" y="149"/>
                  <a:pt x="460" y="145"/>
                  <a:pt x="461" y="146"/>
                </a:cubicBezTo>
                <a:cubicBezTo>
                  <a:pt x="463" y="148"/>
                  <a:pt x="457" y="150"/>
                  <a:pt x="456" y="149"/>
                </a:cubicBezTo>
                <a:close/>
                <a:moveTo>
                  <a:pt x="462" y="681"/>
                </a:moveTo>
                <a:cubicBezTo>
                  <a:pt x="464" y="680"/>
                  <a:pt x="464" y="682"/>
                  <a:pt x="462" y="681"/>
                </a:cubicBezTo>
                <a:close/>
                <a:moveTo>
                  <a:pt x="464" y="170"/>
                </a:moveTo>
                <a:cubicBezTo>
                  <a:pt x="463" y="171"/>
                  <a:pt x="461" y="171"/>
                  <a:pt x="460" y="171"/>
                </a:cubicBezTo>
                <a:cubicBezTo>
                  <a:pt x="459" y="172"/>
                  <a:pt x="459" y="172"/>
                  <a:pt x="458" y="172"/>
                </a:cubicBezTo>
                <a:cubicBezTo>
                  <a:pt x="459" y="172"/>
                  <a:pt x="459" y="172"/>
                  <a:pt x="460" y="171"/>
                </a:cubicBezTo>
                <a:cubicBezTo>
                  <a:pt x="462" y="170"/>
                  <a:pt x="464" y="168"/>
                  <a:pt x="465" y="168"/>
                </a:cubicBezTo>
                <a:cubicBezTo>
                  <a:pt x="468" y="167"/>
                  <a:pt x="464" y="170"/>
                  <a:pt x="464" y="170"/>
                </a:cubicBezTo>
                <a:close/>
                <a:moveTo>
                  <a:pt x="466" y="68"/>
                </a:moveTo>
                <a:cubicBezTo>
                  <a:pt x="466" y="68"/>
                  <a:pt x="466" y="68"/>
                  <a:pt x="466" y="68"/>
                </a:cubicBezTo>
                <a:cubicBezTo>
                  <a:pt x="467" y="70"/>
                  <a:pt x="464" y="67"/>
                  <a:pt x="466" y="68"/>
                </a:cubicBezTo>
                <a:close/>
                <a:moveTo>
                  <a:pt x="468" y="241"/>
                </a:moveTo>
                <a:cubicBezTo>
                  <a:pt x="468" y="243"/>
                  <a:pt x="465" y="242"/>
                  <a:pt x="468" y="241"/>
                </a:cubicBezTo>
                <a:close/>
                <a:moveTo>
                  <a:pt x="470" y="75"/>
                </a:moveTo>
                <a:cubicBezTo>
                  <a:pt x="470" y="75"/>
                  <a:pt x="470" y="76"/>
                  <a:pt x="470" y="77"/>
                </a:cubicBezTo>
                <a:cubicBezTo>
                  <a:pt x="471" y="77"/>
                  <a:pt x="472" y="75"/>
                  <a:pt x="472" y="75"/>
                </a:cubicBezTo>
                <a:cubicBezTo>
                  <a:pt x="472" y="74"/>
                  <a:pt x="471" y="74"/>
                  <a:pt x="471" y="73"/>
                </a:cubicBezTo>
                <a:cubicBezTo>
                  <a:pt x="471" y="74"/>
                  <a:pt x="470" y="73"/>
                  <a:pt x="471" y="73"/>
                </a:cubicBezTo>
                <a:cubicBezTo>
                  <a:pt x="472" y="72"/>
                  <a:pt x="473" y="73"/>
                  <a:pt x="473" y="73"/>
                </a:cubicBezTo>
                <a:cubicBezTo>
                  <a:pt x="474" y="72"/>
                  <a:pt x="475" y="72"/>
                  <a:pt x="476" y="72"/>
                </a:cubicBezTo>
                <a:cubicBezTo>
                  <a:pt x="477" y="72"/>
                  <a:pt x="481" y="75"/>
                  <a:pt x="478" y="76"/>
                </a:cubicBezTo>
                <a:cubicBezTo>
                  <a:pt x="476" y="77"/>
                  <a:pt x="471" y="78"/>
                  <a:pt x="469" y="77"/>
                </a:cubicBezTo>
                <a:cubicBezTo>
                  <a:pt x="468" y="77"/>
                  <a:pt x="468" y="74"/>
                  <a:pt x="470" y="75"/>
                </a:cubicBezTo>
                <a:close/>
                <a:moveTo>
                  <a:pt x="478" y="117"/>
                </a:moveTo>
                <a:cubicBezTo>
                  <a:pt x="479" y="118"/>
                  <a:pt x="477" y="118"/>
                  <a:pt x="476" y="118"/>
                </a:cubicBezTo>
                <a:cubicBezTo>
                  <a:pt x="476" y="117"/>
                  <a:pt x="478" y="117"/>
                  <a:pt x="478" y="117"/>
                </a:cubicBezTo>
                <a:close/>
                <a:moveTo>
                  <a:pt x="478" y="100"/>
                </a:move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lose/>
                <a:moveTo>
                  <a:pt x="478" y="100"/>
                </a:moveTo>
                <a:cubicBezTo>
                  <a:pt x="479" y="100"/>
                  <a:pt x="478" y="100"/>
                  <a:pt x="478" y="100"/>
                </a:cubicBezTo>
                <a:close/>
                <a:moveTo>
                  <a:pt x="476" y="97"/>
                </a:moveTo>
                <a:cubicBezTo>
                  <a:pt x="475" y="96"/>
                  <a:pt x="478" y="96"/>
                  <a:pt x="478" y="96"/>
                </a:cubicBezTo>
                <a:cubicBezTo>
                  <a:pt x="479" y="96"/>
                  <a:pt x="476" y="97"/>
                  <a:pt x="476" y="97"/>
                </a:cubicBezTo>
                <a:close/>
                <a:moveTo>
                  <a:pt x="474" y="91"/>
                </a:moveTo>
                <a:cubicBezTo>
                  <a:pt x="474" y="90"/>
                  <a:pt x="475" y="90"/>
                  <a:pt x="476" y="90"/>
                </a:cubicBezTo>
                <a:cubicBezTo>
                  <a:pt x="477" y="92"/>
                  <a:pt x="474" y="92"/>
                  <a:pt x="474" y="91"/>
                </a:cubicBezTo>
                <a:close/>
                <a:moveTo>
                  <a:pt x="477" y="107"/>
                </a:moveTo>
                <a:cubicBezTo>
                  <a:pt x="477" y="109"/>
                  <a:pt x="474" y="111"/>
                  <a:pt x="473" y="109"/>
                </a:cubicBezTo>
                <a:cubicBezTo>
                  <a:pt x="469" y="106"/>
                  <a:pt x="477" y="104"/>
                  <a:pt x="477" y="107"/>
                </a:cubicBezTo>
                <a:close/>
                <a:moveTo>
                  <a:pt x="472" y="112"/>
                </a:moveTo>
                <a:cubicBezTo>
                  <a:pt x="475" y="114"/>
                  <a:pt x="468" y="116"/>
                  <a:pt x="470" y="113"/>
                </a:cubicBezTo>
                <a:cubicBezTo>
                  <a:pt x="471" y="112"/>
                  <a:pt x="472" y="112"/>
                  <a:pt x="472" y="112"/>
                </a:cubicBezTo>
                <a:close/>
                <a:moveTo>
                  <a:pt x="475" y="122"/>
                </a:moveTo>
                <a:cubicBezTo>
                  <a:pt x="474" y="122"/>
                  <a:pt x="473" y="123"/>
                  <a:pt x="472" y="123"/>
                </a:cubicBezTo>
                <a:cubicBezTo>
                  <a:pt x="472" y="123"/>
                  <a:pt x="473" y="121"/>
                  <a:pt x="475" y="122"/>
                </a:cubicBezTo>
                <a:close/>
                <a:moveTo>
                  <a:pt x="474" y="123"/>
                </a:moveTo>
                <a:cubicBezTo>
                  <a:pt x="474" y="123"/>
                  <a:pt x="475" y="123"/>
                  <a:pt x="475" y="124"/>
                </a:cubicBezTo>
                <a:cubicBezTo>
                  <a:pt x="475" y="124"/>
                  <a:pt x="474" y="124"/>
                  <a:pt x="474" y="123"/>
                </a:cubicBezTo>
                <a:close/>
                <a:moveTo>
                  <a:pt x="477" y="158"/>
                </a:moveTo>
                <a:cubicBezTo>
                  <a:pt x="477" y="158"/>
                  <a:pt x="476" y="159"/>
                  <a:pt x="475" y="159"/>
                </a:cubicBezTo>
                <a:cubicBezTo>
                  <a:pt x="475" y="159"/>
                  <a:pt x="476" y="158"/>
                  <a:pt x="477" y="158"/>
                </a:cubicBezTo>
                <a:close/>
                <a:moveTo>
                  <a:pt x="476" y="121"/>
                </a:moveTo>
                <a:cubicBezTo>
                  <a:pt x="477" y="121"/>
                  <a:pt x="478" y="119"/>
                  <a:pt x="479" y="120"/>
                </a:cubicBezTo>
                <a:cubicBezTo>
                  <a:pt x="478" y="121"/>
                  <a:pt x="477" y="121"/>
                  <a:pt x="476" y="121"/>
                </a:cubicBezTo>
                <a:close/>
                <a:moveTo>
                  <a:pt x="472" y="165"/>
                </a:moveTo>
                <a:cubicBezTo>
                  <a:pt x="472" y="166"/>
                  <a:pt x="470" y="167"/>
                  <a:pt x="469" y="168"/>
                </a:cubicBezTo>
                <a:cubicBezTo>
                  <a:pt x="469" y="166"/>
                  <a:pt x="471" y="166"/>
                  <a:pt x="472" y="165"/>
                </a:cubicBezTo>
                <a:close/>
                <a:moveTo>
                  <a:pt x="471" y="178"/>
                </a:moveTo>
                <a:cubicBezTo>
                  <a:pt x="471" y="175"/>
                  <a:pt x="476" y="174"/>
                  <a:pt x="477" y="177"/>
                </a:cubicBezTo>
                <a:cubicBezTo>
                  <a:pt x="477" y="181"/>
                  <a:pt x="471" y="180"/>
                  <a:pt x="471" y="178"/>
                </a:cubicBezTo>
                <a:close/>
                <a:moveTo>
                  <a:pt x="472" y="233"/>
                </a:moveTo>
                <a:cubicBezTo>
                  <a:pt x="472" y="232"/>
                  <a:pt x="475" y="230"/>
                  <a:pt x="475" y="232"/>
                </a:cubicBezTo>
                <a:cubicBezTo>
                  <a:pt x="476" y="234"/>
                  <a:pt x="473" y="234"/>
                  <a:pt x="472" y="233"/>
                </a:cubicBezTo>
                <a:close/>
                <a:moveTo>
                  <a:pt x="475" y="180"/>
                </a:moveTo>
                <a:cubicBezTo>
                  <a:pt x="475" y="180"/>
                  <a:pt x="476" y="179"/>
                  <a:pt x="477" y="180"/>
                </a:cubicBezTo>
                <a:cubicBezTo>
                  <a:pt x="478" y="181"/>
                  <a:pt x="475" y="181"/>
                  <a:pt x="475" y="180"/>
                </a:cubicBezTo>
                <a:close/>
                <a:moveTo>
                  <a:pt x="482" y="155"/>
                </a:moveTo>
                <a:cubicBezTo>
                  <a:pt x="482" y="156"/>
                  <a:pt x="480" y="157"/>
                  <a:pt x="479" y="157"/>
                </a:cubicBezTo>
                <a:cubicBezTo>
                  <a:pt x="479" y="156"/>
                  <a:pt x="481" y="156"/>
                  <a:pt x="482" y="155"/>
                </a:cubicBezTo>
                <a:close/>
                <a:moveTo>
                  <a:pt x="479" y="164"/>
                </a:moveTo>
                <a:cubicBezTo>
                  <a:pt x="479" y="162"/>
                  <a:pt x="481" y="163"/>
                  <a:pt x="479" y="164"/>
                </a:cubicBezTo>
                <a:close/>
                <a:moveTo>
                  <a:pt x="479" y="175"/>
                </a:moveTo>
                <a:cubicBezTo>
                  <a:pt x="478" y="174"/>
                  <a:pt x="480" y="173"/>
                  <a:pt x="480" y="174"/>
                </a:cubicBezTo>
                <a:cubicBezTo>
                  <a:pt x="480" y="175"/>
                  <a:pt x="480" y="175"/>
                  <a:pt x="479" y="175"/>
                </a:cubicBezTo>
                <a:close/>
                <a:moveTo>
                  <a:pt x="480" y="164"/>
                </a:moveTo>
                <a:cubicBezTo>
                  <a:pt x="480" y="163"/>
                  <a:pt x="484" y="161"/>
                  <a:pt x="484" y="164"/>
                </a:cubicBezTo>
                <a:cubicBezTo>
                  <a:pt x="484" y="166"/>
                  <a:pt x="480" y="166"/>
                  <a:pt x="480" y="164"/>
                </a:cubicBezTo>
                <a:close/>
                <a:moveTo>
                  <a:pt x="482" y="188"/>
                </a:moveTo>
                <a:cubicBezTo>
                  <a:pt x="482" y="187"/>
                  <a:pt x="483" y="187"/>
                  <a:pt x="484" y="187"/>
                </a:cubicBezTo>
                <a:cubicBezTo>
                  <a:pt x="484" y="187"/>
                  <a:pt x="482" y="189"/>
                  <a:pt x="482" y="188"/>
                </a:cubicBezTo>
                <a:close/>
                <a:moveTo>
                  <a:pt x="487" y="253"/>
                </a:moveTo>
                <a:cubicBezTo>
                  <a:pt x="487" y="255"/>
                  <a:pt x="485" y="254"/>
                  <a:pt x="487" y="253"/>
                </a:cubicBezTo>
                <a:close/>
                <a:moveTo>
                  <a:pt x="484" y="228"/>
                </a:moveTo>
                <a:cubicBezTo>
                  <a:pt x="482" y="226"/>
                  <a:pt x="488" y="223"/>
                  <a:pt x="488" y="227"/>
                </a:cubicBezTo>
                <a:cubicBezTo>
                  <a:pt x="488" y="228"/>
                  <a:pt x="485" y="230"/>
                  <a:pt x="484" y="228"/>
                </a:cubicBezTo>
                <a:close/>
                <a:moveTo>
                  <a:pt x="486" y="208"/>
                </a:moveTo>
                <a:cubicBezTo>
                  <a:pt x="486" y="207"/>
                  <a:pt x="488" y="206"/>
                  <a:pt x="488" y="207"/>
                </a:cubicBezTo>
                <a:cubicBezTo>
                  <a:pt x="488" y="208"/>
                  <a:pt x="487" y="209"/>
                  <a:pt x="486" y="208"/>
                </a:cubicBezTo>
                <a:close/>
                <a:moveTo>
                  <a:pt x="490" y="250"/>
                </a:moveTo>
                <a:cubicBezTo>
                  <a:pt x="490" y="248"/>
                  <a:pt x="492" y="246"/>
                  <a:pt x="493" y="245"/>
                </a:cubicBezTo>
                <a:cubicBezTo>
                  <a:pt x="493" y="246"/>
                  <a:pt x="491" y="248"/>
                  <a:pt x="490" y="250"/>
                </a:cubicBezTo>
                <a:close/>
                <a:moveTo>
                  <a:pt x="494" y="245"/>
                </a:moveTo>
                <a:cubicBezTo>
                  <a:pt x="494" y="244"/>
                  <a:pt x="495" y="243"/>
                  <a:pt x="495" y="243"/>
                </a:cubicBezTo>
                <a:cubicBezTo>
                  <a:pt x="496" y="243"/>
                  <a:pt x="494" y="245"/>
                  <a:pt x="494" y="245"/>
                </a:cubicBezTo>
                <a:close/>
                <a:moveTo>
                  <a:pt x="499" y="230"/>
                </a:moveTo>
                <a:cubicBezTo>
                  <a:pt x="499" y="229"/>
                  <a:pt x="501" y="229"/>
                  <a:pt x="501" y="229"/>
                </a:cubicBezTo>
                <a:cubicBezTo>
                  <a:pt x="502" y="229"/>
                  <a:pt x="500" y="230"/>
                  <a:pt x="499" y="230"/>
                </a:cubicBezTo>
                <a:close/>
                <a:moveTo>
                  <a:pt x="496" y="230"/>
                </a:moveTo>
                <a:cubicBezTo>
                  <a:pt x="496" y="230"/>
                  <a:pt x="491" y="233"/>
                  <a:pt x="492" y="231"/>
                </a:cubicBezTo>
                <a:cubicBezTo>
                  <a:pt x="492" y="230"/>
                  <a:pt x="497" y="229"/>
                  <a:pt x="497" y="229"/>
                </a:cubicBezTo>
                <a:cubicBezTo>
                  <a:pt x="500" y="228"/>
                  <a:pt x="503" y="225"/>
                  <a:pt x="506" y="225"/>
                </a:cubicBezTo>
                <a:cubicBezTo>
                  <a:pt x="505" y="228"/>
                  <a:pt x="498" y="229"/>
                  <a:pt x="496" y="230"/>
                </a:cubicBezTo>
                <a:close/>
                <a:moveTo>
                  <a:pt x="505" y="195"/>
                </a:moveTo>
                <a:cubicBezTo>
                  <a:pt x="505" y="194"/>
                  <a:pt x="507" y="192"/>
                  <a:pt x="508" y="193"/>
                </a:cubicBezTo>
                <a:cubicBezTo>
                  <a:pt x="508" y="194"/>
                  <a:pt x="506" y="196"/>
                  <a:pt x="505" y="195"/>
                </a:cubicBezTo>
                <a:close/>
                <a:moveTo>
                  <a:pt x="507" y="222"/>
                </a:moveTo>
                <a:cubicBezTo>
                  <a:pt x="507" y="222"/>
                  <a:pt x="508" y="222"/>
                  <a:pt x="508" y="222"/>
                </a:cubicBezTo>
                <a:cubicBezTo>
                  <a:pt x="510" y="223"/>
                  <a:pt x="504" y="225"/>
                  <a:pt x="507" y="222"/>
                </a:cubicBezTo>
                <a:close/>
                <a:moveTo>
                  <a:pt x="506" y="190"/>
                </a:moveTo>
                <a:cubicBezTo>
                  <a:pt x="506" y="189"/>
                  <a:pt x="507" y="188"/>
                  <a:pt x="509" y="188"/>
                </a:cubicBezTo>
                <a:cubicBezTo>
                  <a:pt x="508" y="189"/>
                  <a:pt x="507" y="190"/>
                  <a:pt x="506" y="190"/>
                </a:cubicBezTo>
                <a:close/>
                <a:moveTo>
                  <a:pt x="516" y="247"/>
                </a:moveTo>
                <a:cubicBezTo>
                  <a:pt x="514" y="248"/>
                  <a:pt x="511" y="250"/>
                  <a:pt x="509" y="250"/>
                </a:cubicBezTo>
                <a:cubicBezTo>
                  <a:pt x="510" y="249"/>
                  <a:pt x="514" y="248"/>
                  <a:pt x="516" y="247"/>
                </a:cubicBezTo>
                <a:close/>
                <a:moveTo>
                  <a:pt x="512" y="258"/>
                </a:moveTo>
                <a:cubicBezTo>
                  <a:pt x="512" y="255"/>
                  <a:pt x="516" y="256"/>
                  <a:pt x="516" y="257"/>
                </a:cubicBezTo>
                <a:cubicBezTo>
                  <a:pt x="517" y="258"/>
                  <a:pt x="512" y="260"/>
                  <a:pt x="512" y="258"/>
                </a:cubicBezTo>
                <a:close/>
                <a:moveTo>
                  <a:pt x="517" y="268"/>
                </a:moveTo>
                <a:cubicBezTo>
                  <a:pt x="516" y="269"/>
                  <a:pt x="517" y="268"/>
                  <a:pt x="517" y="268"/>
                </a:cubicBezTo>
                <a:cubicBezTo>
                  <a:pt x="517" y="268"/>
                  <a:pt x="517" y="268"/>
                  <a:pt x="517" y="268"/>
                </a:cubicBezTo>
                <a:close/>
                <a:moveTo>
                  <a:pt x="517" y="247"/>
                </a:moveTo>
                <a:cubicBezTo>
                  <a:pt x="517" y="247"/>
                  <a:pt x="517" y="247"/>
                  <a:pt x="517" y="247"/>
                </a:cubicBezTo>
                <a:cubicBezTo>
                  <a:pt x="518" y="247"/>
                  <a:pt x="517" y="247"/>
                  <a:pt x="517" y="247"/>
                </a:cubicBezTo>
                <a:close/>
                <a:moveTo>
                  <a:pt x="518" y="154"/>
                </a:moveTo>
                <a:cubicBezTo>
                  <a:pt x="517" y="151"/>
                  <a:pt x="524" y="153"/>
                  <a:pt x="524" y="154"/>
                </a:cubicBezTo>
                <a:cubicBezTo>
                  <a:pt x="524" y="154"/>
                  <a:pt x="523" y="155"/>
                  <a:pt x="523" y="155"/>
                </a:cubicBezTo>
                <a:cubicBezTo>
                  <a:pt x="523" y="156"/>
                  <a:pt x="522" y="158"/>
                  <a:pt x="521" y="156"/>
                </a:cubicBezTo>
                <a:cubicBezTo>
                  <a:pt x="521" y="156"/>
                  <a:pt x="521" y="155"/>
                  <a:pt x="521" y="155"/>
                </a:cubicBezTo>
                <a:cubicBezTo>
                  <a:pt x="520" y="155"/>
                  <a:pt x="518" y="155"/>
                  <a:pt x="518" y="154"/>
                </a:cubicBezTo>
                <a:close/>
                <a:moveTo>
                  <a:pt x="518" y="188"/>
                </a:moveTo>
                <a:cubicBezTo>
                  <a:pt x="518" y="186"/>
                  <a:pt x="524" y="185"/>
                  <a:pt x="524" y="188"/>
                </a:cubicBezTo>
                <a:cubicBezTo>
                  <a:pt x="524" y="190"/>
                  <a:pt x="519" y="190"/>
                  <a:pt x="518" y="188"/>
                </a:cubicBezTo>
                <a:close/>
                <a:moveTo>
                  <a:pt x="522" y="286"/>
                </a:moveTo>
                <a:cubicBezTo>
                  <a:pt x="522" y="285"/>
                  <a:pt x="522" y="285"/>
                  <a:pt x="522" y="285"/>
                </a:cubicBezTo>
                <a:cubicBezTo>
                  <a:pt x="523" y="285"/>
                  <a:pt x="522" y="286"/>
                  <a:pt x="522" y="286"/>
                </a:cubicBezTo>
                <a:close/>
                <a:moveTo>
                  <a:pt x="521" y="231"/>
                </a:moveTo>
                <a:cubicBezTo>
                  <a:pt x="518" y="232"/>
                  <a:pt x="522" y="229"/>
                  <a:pt x="523" y="228"/>
                </a:cubicBezTo>
                <a:cubicBezTo>
                  <a:pt x="524" y="226"/>
                  <a:pt x="526" y="223"/>
                  <a:pt x="528" y="220"/>
                </a:cubicBezTo>
                <a:cubicBezTo>
                  <a:pt x="528" y="221"/>
                  <a:pt x="527" y="221"/>
                  <a:pt x="527" y="220"/>
                </a:cubicBezTo>
                <a:cubicBezTo>
                  <a:pt x="527" y="220"/>
                  <a:pt x="528" y="220"/>
                  <a:pt x="528" y="220"/>
                </a:cubicBezTo>
                <a:cubicBezTo>
                  <a:pt x="528" y="220"/>
                  <a:pt x="528" y="220"/>
                  <a:pt x="528" y="220"/>
                </a:cubicBezTo>
                <a:cubicBezTo>
                  <a:pt x="529" y="219"/>
                  <a:pt x="529" y="218"/>
                  <a:pt x="530" y="218"/>
                </a:cubicBezTo>
                <a:cubicBezTo>
                  <a:pt x="530" y="218"/>
                  <a:pt x="531" y="218"/>
                  <a:pt x="531" y="218"/>
                </a:cubicBezTo>
                <a:cubicBezTo>
                  <a:pt x="531" y="218"/>
                  <a:pt x="529" y="220"/>
                  <a:pt x="528" y="222"/>
                </a:cubicBezTo>
                <a:cubicBezTo>
                  <a:pt x="527" y="223"/>
                  <a:pt x="523" y="230"/>
                  <a:pt x="521" y="231"/>
                </a:cubicBezTo>
                <a:close/>
                <a:moveTo>
                  <a:pt x="530" y="232"/>
                </a:moveTo>
                <a:cubicBezTo>
                  <a:pt x="530" y="232"/>
                  <a:pt x="530" y="232"/>
                  <a:pt x="531" y="232"/>
                </a:cubicBezTo>
                <a:cubicBezTo>
                  <a:pt x="531" y="232"/>
                  <a:pt x="530" y="233"/>
                  <a:pt x="530" y="232"/>
                </a:cubicBezTo>
                <a:close/>
                <a:moveTo>
                  <a:pt x="530" y="268"/>
                </a:move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lose/>
                <a:moveTo>
                  <a:pt x="530" y="256"/>
                </a:moveTo>
                <a:cubicBezTo>
                  <a:pt x="530" y="256"/>
                  <a:pt x="531" y="255"/>
                  <a:pt x="531" y="256"/>
                </a:cubicBezTo>
                <a:cubicBezTo>
                  <a:pt x="532" y="258"/>
                  <a:pt x="529" y="258"/>
                  <a:pt x="530" y="256"/>
                </a:cubicBezTo>
                <a:close/>
                <a:moveTo>
                  <a:pt x="533" y="312"/>
                </a:moveTo>
                <a:cubicBezTo>
                  <a:pt x="533" y="311"/>
                  <a:pt x="533" y="310"/>
                  <a:pt x="534" y="310"/>
                </a:cubicBezTo>
                <a:cubicBezTo>
                  <a:pt x="536" y="308"/>
                  <a:pt x="535" y="313"/>
                  <a:pt x="533" y="312"/>
                </a:cubicBezTo>
                <a:close/>
                <a:moveTo>
                  <a:pt x="533" y="230"/>
                </a:moveTo>
                <a:cubicBezTo>
                  <a:pt x="534" y="229"/>
                  <a:pt x="535" y="232"/>
                  <a:pt x="533" y="231"/>
                </a:cubicBezTo>
                <a:cubicBezTo>
                  <a:pt x="533" y="231"/>
                  <a:pt x="533" y="230"/>
                  <a:pt x="533" y="230"/>
                </a:cubicBezTo>
                <a:close/>
                <a:moveTo>
                  <a:pt x="531" y="215"/>
                </a:moveTo>
                <a:cubicBezTo>
                  <a:pt x="530" y="213"/>
                  <a:pt x="535" y="211"/>
                  <a:pt x="535" y="214"/>
                </a:cubicBezTo>
                <a:cubicBezTo>
                  <a:pt x="535" y="215"/>
                  <a:pt x="531" y="217"/>
                  <a:pt x="531" y="215"/>
                </a:cubicBezTo>
                <a:close/>
                <a:moveTo>
                  <a:pt x="530" y="135"/>
                </a:moveTo>
                <a:cubicBezTo>
                  <a:pt x="532" y="134"/>
                  <a:pt x="534" y="133"/>
                  <a:pt x="536" y="131"/>
                </a:cubicBezTo>
                <a:cubicBezTo>
                  <a:pt x="535" y="134"/>
                  <a:pt x="532" y="134"/>
                  <a:pt x="530" y="135"/>
                </a:cubicBezTo>
                <a:close/>
                <a:moveTo>
                  <a:pt x="598" y="198"/>
                </a:moveTo>
                <a:cubicBezTo>
                  <a:pt x="598" y="198"/>
                  <a:pt x="597" y="199"/>
                  <a:pt x="597" y="199"/>
                </a:cubicBezTo>
                <a:cubicBezTo>
                  <a:pt x="596" y="198"/>
                  <a:pt x="598" y="198"/>
                  <a:pt x="598" y="198"/>
                </a:cubicBezTo>
                <a:close/>
                <a:moveTo>
                  <a:pt x="596" y="204"/>
                </a:moveTo>
                <a:cubicBezTo>
                  <a:pt x="598" y="202"/>
                  <a:pt x="597" y="205"/>
                  <a:pt x="596" y="205"/>
                </a:cubicBezTo>
                <a:cubicBezTo>
                  <a:pt x="596" y="204"/>
                  <a:pt x="596" y="204"/>
                  <a:pt x="596" y="204"/>
                </a:cubicBezTo>
                <a:close/>
                <a:moveTo>
                  <a:pt x="596" y="235"/>
                </a:moveTo>
                <a:cubicBezTo>
                  <a:pt x="597" y="235"/>
                  <a:pt x="598" y="234"/>
                  <a:pt x="598" y="235"/>
                </a:cubicBezTo>
                <a:cubicBezTo>
                  <a:pt x="601" y="237"/>
                  <a:pt x="594" y="238"/>
                  <a:pt x="596" y="235"/>
                </a:cubicBezTo>
                <a:close/>
                <a:moveTo>
                  <a:pt x="599" y="282"/>
                </a:moveTo>
                <a:cubicBezTo>
                  <a:pt x="598" y="284"/>
                  <a:pt x="597" y="283"/>
                  <a:pt x="599" y="282"/>
                </a:cubicBezTo>
                <a:close/>
                <a:moveTo>
                  <a:pt x="594" y="323"/>
                </a:moveTo>
                <a:cubicBezTo>
                  <a:pt x="594" y="322"/>
                  <a:pt x="595" y="322"/>
                  <a:pt x="595" y="322"/>
                </a:cubicBezTo>
                <a:cubicBezTo>
                  <a:pt x="597" y="323"/>
                  <a:pt x="593" y="325"/>
                  <a:pt x="594" y="323"/>
                </a:cubicBezTo>
                <a:close/>
                <a:moveTo>
                  <a:pt x="596" y="370"/>
                </a:moveTo>
                <a:cubicBezTo>
                  <a:pt x="597" y="370"/>
                  <a:pt x="594" y="371"/>
                  <a:pt x="596" y="370"/>
                </a:cubicBezTo>
                <a:close/>
                <a:moveTo>
                  <a:pt x="594" y="263"/>
                </a:moveTo>
                <a:cubicBezTo>
                  <a:pt x="595" y="262"/>
                  <a:pt x="596" y="264"/>
                  <a:pt x="594" y="263"/>
                </a:cubicBezTo>
                <a:close/>
                <a:moveTo>
                  <a:pt x="594" y="231"/>
                </a:moveTo>
                <a:cubicBezTo>
                  <a:pt x="595" y="231"/>
                  <a:pt x="594" y="232"/>
                  <a:pt x="594" y="231"/>
                </a:cubicBezTo>
                <a:cubicBezTo>
                  <a:pt x="594" y="231"/>
                  <a:pt x="594" y="231"/>
                  <a:pt x="594" y="231"/>
                </a:cubicBezTo>
                <a:close/>
                <a:moveTo>
                  <a:pt x="592" y="198"/>
                </a:moveTo>
                <a:cubicBezTo>
                  <a:pt x="594" y="196"/>
                  <a:pt x="594" y="199"/>
                  <a:pt x="592" y="198"/>
                </a:cubicBezTo>
                <a:close/>
                <a:moveTo>
                  <a:pt x="594" y="244"/>
                </a:moveTo>
                <a:cubicBezTo>
                  <a:pt x="594" y="245"/>
                  <a:pt x="593" y="245"/>
                  <a:pt x="591" y="246"/>
                </a:cubicBezTo>
                <a:cubicBezTo>
                  <a:pt x="592" y="245"/>
                  <a:pt x="593" y="244"/>
                  <a:pt x="594" y="244"/>
                </a:cubicBezTo>
                <a:close/>
                <a:moveTo>
                  <a:pt x="589" y="200"/>
                </a:moveTo>
                <a:cubicBezTo>
                  <a:pt x="590" y="201"/>
                  <a:pt x="588" y="202"/>
                  <a:pt x="588" y="202"/>
                </a:cubicBezTo>
                <a:cubicBezTo>
                  <a:pt x="588" y="201"/>
                  <a:pt x="589" y="201"/>
                  <a:pt x="589" y="200"/>
                </a:cubicBezTo>
                <a:close/>
                <a:moveTo>
                  <a:pt x="591" y="200"/>
                </a:moveTo>
                <a:cubicBezTo>
                  <a:pt x="590" y="203"/>
                  <a:pt x="589" y="206"/>
                  <a:pt x="586" y="208"/>
                </a:cubicBezTo>
                <a:cubicBezTo>
                  <a:pt x="588" y="206"/>
                  <a:pt x="589" y="203"/>
                  <a:pt x="591" y="200"/>
                </a:cubicBezTo>
                <a:close/>
                <a:moveTo>
                  <a:pt x="590" y="339"/>
                </a:moveTo>
                <a:cubicBezTo>
                  <a:pt x="591" y="338"/>
                  <a:pt x="590" y="340"/>
                  <a:pt x="590" y="339"/>
                </a:cubicBezTo>
                <a:close/>
                <a:moveTo>
                  <a:pt x="590" y="246"/>
                </a:moveTo>
                <a:cubicBezTo>
                  <a:pt x="591" y="246"/>
                  <a:pt x="591" y="246"/>
                  <a:pt x="590" y="246"/>
                </a:cubicBezTo>
                <a:close/>
                <a:moveTo>
                  <a:pt x="590" y="246"/>
                </a:moveTo>
                <a:cubicBezTo>
                  <a:pt x="590" y="246"/>
                  <a:pt x="590" y="247"/>
                  <a:pt x="590" y="247"/>
                </a:cubicBezTo>
                <a:cubicBezTo>
                  <a:pt x="590" y="247"/>
                  <a:pt x="590" y="247"/>
                  <a:pt x="590" y="247"/>
                </a:cubicBezTo>
                <a:cubicBezTo>
                  <a:pt x="590" y="247"/>
                  <a:pt x="590" y="247"/>
                  <a:pt x="590" y="246"/>
                </a:cubicBezTo>
                <a:close/>
                <a:moveTo>
                  <a:pt x="587" y="206"/>
                </a:moveTo>
                <a:cubicBezTo>
                  <a:pt x="587" y="206"/>
                  <a:pt x="586" y="205"/>
                  <a:pt x="586" y="205"/>
                </a:cubicBezTo>
                <a:cubicBezTo>
                  <a:pt x="587" y="204"/>
                  <a:pt x="587" y="208"/>
                  <a:pt x="587" y="206"/>
                </a:cubicBezTo>
                <a:close/>
                <a:moveTo>
                  <a:pt x="586" y="210"/>
                </a:moveTo>
                <a:cubicBezTo>
                  <a:pt x="587" y="211"/>
                  <a:pt x="585" y="212"/>
                  <a:pt x="585" y="213"/>
                </a:cubicBezTo>
                <a:cubicBezTo>
                  <a:pt x="584" y="212"/>
                  <a:pt x="586" y="210"/>
                  <a:pt x="586" y="210"/>
                </a:cubicBezTo>
                <a:close/>
                <a:moveTo>
                  <a:pt x="585" y="229"/>
                </a:moveTo>
                <a:cubicBezTo>
                  <a:pt x="586" y="228"/>
                  <a:pt x="585" y="230"/>
                  <a:pt x="584" y="230"/>
                </a:cubicBezTo>
                <a:cubicBezTo>
                  <a:pt x="584" y="230"/>
                  <a:pt x="585" y="229"/>
                  <a:pt x="585" y="229"/>
                </a:cubicBezTo>
                <a:close/>
                <a:moveTo>
                  <a:pt x="584" y="214"/>
                </a:moveTo>
                <a:cubicBezTo>
                  <a:pt x="584" y="212"/>
                  <a:pt x="585" y="214"/>
                  <a:pt x="584" y="214"/>
                </a:cubicBezTo>
                <a:close/>
                <a:moveTo>
                  <a:pt x="583" y="250"/>
                </a:moveTo>
                <a:cubicBezTo>
                  <a:pt x="583" y="250"/>
                  <a:pt x="583" y="251"/>
                  <a:pt x="582" y="251"/>
                </a:cubicBezTo>
                <a:cubicBezTo>
                  <a:pt x="582" y="251"/>
                  <a:pt x="581" y="251"/>
                  <a:pt x="581" y="251"/>
                </a:cubicBezTo>
                <a:cubicBezTo>
                  <a:pt x="582" y="251"/>
                  <a:pt x="583" y="251"/>
                  <a:pt x="583" y="250"/>
                </a:cubicBezTo>
                <a:close/>
                <a:moveTo>
                  <a:pt x="579" y="195"/>
                </a:moveTo>
                <a:cubicBezTo>
                  <a:pt x="578" y="194"/>
                  <a:pt x="581" y="195"/>
                  <a:pt x="579" y="195"/>
                </a:cubicBezTo>
                <a:close/>
                <a:moveTo>
                  <a:pt x="578" y="186"/>
                </a:moveTo>
                <a:cubicBezTo>
                  <a:pt x="578" y="188"/>
                  <a:pt x="573" y="190"/>
                  <a:pt x="572" y="187"/>
                </a:cubicBezTo>
                <a:cubicBezTo>
                  <a:pt x="571" y="184"/>
                  <a:pt x="579" y="182"/>
                  <a:pt x="578" y="186"/>
                </a:cubicBezTo>
                <a:close/>
                <a:moveTo>
                  <a:pt x="576" y="196"/>
                </a:moveTo>
                <a:cubicBezTo>
                  <a:pt x="576" y="196"/>
                  <a:pt x="576" y="196"/>
                  <a:pt x="576" y="196"/>
                </a:cubicBezTo>
                <a:cubicBezTo>
                  <a:pt x="577" y="198"/>
                  <a:pt x="574" y="195"/>
                  <a:pt x="576" y="196"/>
                </a:cubicBezTo>
                <a:close/>
                <a:moveTo>
                  <a:pt x="573" y="191"/>
                </a:moveTo>
                <a:cubicBezTo>
                  <a:pt x="572" y="191"/>
                  <a:pt x="571" y="192"/>
                  <a:pt x="570" y="192"/>
                </a:cubicBezTo>
                <a:cubicBezTo>
                  <a:pt x="570" y="191"/>
                  <a:pt x="573" y="190"/>
                  <a:pt x="573" y="191"/>
                </a:cubicBezTo>
                <a:close/>
                <a:moveTo>
                  <a:pt x="565" y="201"/>
                </a:moveTo>
                <a:cubicBezTo>
                  <a:pt x="565" y="202"/>
                  <a:pt x="563" y="202"/>
                  <a:pt x="563" y="201"/>
                </a:cubicBezTo>
                <a:cubicBezTo>
                  <a:pt x="563" y="200"/>
                  <a:pt x="564" y="200"/>
                  <a:pt x="565" y="201"/>
                </a:cubicBezTo>
                <a:close/>
                <a:moveTo>
                  <a:pt x="569" y="202"/>
                </a:moveTo>
                <a:cubicBezTo>
                  <a:pt x="568" y="201"/>
                  <a:pt x="562" y="207"/>
                  <a:pt x="562" y="205"/>
                </a:cubicBezTo>
                <a:cubicBezTo>
                  <a:pt x="562" y="204"/>
                  <a:pt x="567" y="200"/>
                  <a:pt x="569" y="202"/>
                </a:cubicBezTo>
                <a:close/>
                <a:moveTo>
                  <a:pt x="563" y="247"/>
                </a:moveTo>
                <a:cubicBezTo>
                  <a:pt x="563" y="247"/>
                  <a:pt x="561" y="248"/>
                  <a:pt x="561" y="248"/>
                </a:cubicBezTo>
                <a:cubicBezTo>
                  <a:pt x="560" y="247"/>
                  <a:pt x="562" y="245"/>
                  <a:pt x="563" y="247"/>
                </a:cubicBezTo>
                <a:close/>
                <a:moveTo>
                  <a:pt x="562" y="189"/>
                </a:moveTo>
                <a:cubicBezTo>
                  <a:pt x="563" y="190"/>
                  <a:pt x="560" y="191"/>
                  <a:pt x="560" y="190"/>
                </a:cubicBezTo>
                <a:cubicBezTo>
                  <a:pt x="560" y="189"/>
                  <a:pt x="562" y="189"/>
                  <a:pt x="562" y="189"/>
                </a:cubicBezTo>
                <a:close/>
                <a:moveTo>
                  <a:pt x="560" y="205"/>
                </a:moveTo>
                <a:cubicBezTo>
                  <a:pt x="563" y="203"/>
                  <a:pt x="562" y="209"/>
                  <a:pt x="560" y="207"/>
                </a:cubicBezTo>
                <a:cubicBezTo>
                  <a:pt x="558" y="207"/>
                  <a:pt x="560" y="205"/>
                  <a:pt x="560" y="205"/>
                </a:cubicBezTo>
                <a:close/>
                <a:moveTo>
                  <a:pt x="560" y="264"/>
                </a:moveTo>
                <a:cubicBezTo>
                  <a:pt x="562" y="263"/>
                  <a:pt x="559" y="266"/>
                  <a:pt x="560" y="264"/>
                </a:cubicBezTo>
                <a:cubicBezTo>
                  <a:pt x="560" y="264"/>
                  <a:pt x="560" y="264"/>
                  <a:pt x="560" y="264"/>
                </a:cubicBezTo>
                <a:close/>
                <a:moveTo>
                  <a:pt x="556" y="180"/>
                </a:moveTo>
                <a:cubicBezTo>
                  <a:pt x="557" y="181"/>
                  <a:pt x="555" y="182"/>
                  <a:pt x="555" y="181"/>
                </a:cubicBezTo>
                <a:cubicBezTo>
                  <a:pt x="555" y="181"/>
                  <a:pt x="556" y="181"/>
                  <a:pt x="556" y="180"/>
                </a:cubicBezTo>
                <a:close/>
                <a:moveTo>
                  <a:pt x="554" y="138"/>
                </a:moveTo>
                <a:cubicBezTo>
                  <a:pt x="554" y="138"/>
                  <a:pt x="555" y="138"/>
                  <a:pt x="555" y="138"/>
                </a:cubicBezTo>
                <a:cubicBezTo>
                  <a:pt x="555" y="140"/>
                  <a:pt x="552" y="136"/>
                  <a:pt x="554" y="138"/>
                </a:cubicBezTo>
                <a:close/>
                <a:moveTo>
                  <a:pt x="555" y="219"/>
                </a:moveTo>
                <a:cubicBezTo>
                  <a:pt x="555" y="219"/>
                  <a:pt x="554" y="221"/>
                  <a:pt x="553" y="221"/>
                </a:cubicBezTo>
                <a:cubicBezTo>
                  <a:pt x="553" y="220"/>
                  <a:pt x="554" y="218"/>
                  <a:pt x="555" y="219"/>
                </a:cubicBezTo>
                <a:close/>
                <a:moveTo>
                  <a:pt x="553" y="245"/>
                </a:moveTo>
                <a:cubicBezTo>
                  <a:pt x="554" y="245"/>
                  <a:pt x="552" y="246"/>
                  <a:pt x="552" y="245"/>
                </a:cubicBezTo>
                <a:cubicBezTo>
                  <a:pt x="552" y="244"/>
                  <a:pt x="553" y="244"/>
                  <a:pt x="553" y="245"/>
                </a:cubicBezTo>
                <a:close/>
                <a:moveTo>
                  <a:pt x="552" y="182"/>
                </a:move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lose/>
                <a:moveTo>
                  <a:pt x="552" y="133"/>
                </a:moveTo>
                <a:cubicBezTo>
                  <a:pt x="552" y="133"/>
                  <a:pt x="551" y="135"/>
                  <a:pt x="551" y="134"/>
                </a:cubicBezTo>
                <a:cubicBezTo>
                  <a:pt x="550" y="133"/>
                  <a:pt x="552" y="133"/>
                  <a:pt x="552" y="133"/>
                </a:cubicBezTo>
                <a:close/>
                <a:moveTo>
                  <a:pt x="552" y="158"/>
                </a:moveTo>
                <a:cubicBezTo>
                  <a:pt x="552" y="159"/>
                  <a:pt x="550" y="160"/>
                  <a:pt x="550" y="159"/>
                </a:cubicBezTo>
                <a:cubicBezTo>
                  <a:pt x="550" y="158"/>
                  <a:pt x="551" y="158"/>
                  <a:pt x="552" y="158"/>
                </a:cubicBezTo>
                <a:close/>
                <a:moveTo>
                  <a:pt x="552" y="177"/>
                </a:moveTo>
                <a:cubicBezTo>
                  <a:pt x="552" y="179"/>
                  <a:pt x="548" y="179"/>
                  <a:pt x="548" y="177"/>
                </a:cubicBezTo>
                <a:cubicBezTo>
                  <a:pt x="548" y="176"/>
                  <a:pt x="551" y="175"/>
                  <a:pt x="552" y="177"/>
                </a:cubicBezTo>
                <a:close/>
                <a:moveTo>
                  <a:pt x="547" y="170"/>
                </a:moveTo>
                <a:cubicBezTo>
                  <a:pt x="548" y="170"/>
                  <a:pt x="547" y="171"/>
                  <a:pt x="546" y="171"/>
                </a:cubicBezTo>
                <a:cubicBezTo>
                  <a:pt x="546" y="170"/>
                  <a:pt x="547" y="170"/>
                  <a:pt x="547" y="170"/>
                </a:cubicBezTo>
                <a:close/>
                <a:moveTo>
                  <a:pt x="547" y="166"/>
                </a:moveTo>
                <a:cubicBezTo>
                  <a:pt x="548" y="167"/>
                  <a:pt x="547" y="165"/>
                  <a:pt x="547" y="166"/>
                </a:cubicBezTo>
                <a:close/>
                <a:moveTo>
                  <a:pt x="548" y="133"/>
                </a:moveTo>
                <a:cubicBezTo>
                  <a:pt x="548" y="134"/>
                  <a:pt x="547" y="134"/>
                  <a:pt x="546" y="134"/>
                </a:cubicBezTo>
                <a:cubicBezTo>
                  <a:pt x="546" y="133"/>
                  <a:pt x="547" y="134"/>
                  <a:pt x="548" y="133"/>
                </a:cubicBezTo>
                <a:close/>
                <a:moveTo>
                  <a:pt x="547" y="176"/>
                </a:moveTo>
                <a:cubicBezTo>
                  <a:pt x="547" y="177"/>
                  <a:pt x="545" y="176"/>
                  <a:pt x="547" y="176"/>
                </a:cubicBezTo>
                <a:close/>
                <a:moveTo>
                  <a:pt x="546" y="168"/>
                </a:moveTo>
                <a:cubicBezTo>
                  <a:pt x="546" y="169"/>
                  <a:pt x="544" y="170"/>
                  <a:pt x="544" y="168"/>
                </a:cubicBezTo>
                <a:cubicBezTo>
                  <a:pt x="545" y="168"/>
                  <a:pt x="545" y="168"/>
                  <a:pt x="546" y="168"/>
                </a:cubicBezTo>
                <a:close/>
                <a:moveTo>
                  <a:pt x="545" y="141"/>
                </a:moveTo>
                <a:cubicBezTo>
                  <a:pt x="546" y="143"/>
                  <a:pt x="542" y="142"/>
                  <a:pt x="542" y="141"/>
                </a:cubicBezTo>
                <a:cubicBezTo>
                  <a:pt x="543" y="140"/>
                  <a:pt x="545" y="140"/>
                  <a:pt x="545" y="141"/>
                </a:cubicBezTo>
                <a:close/>
                <a:moveTo>
                  <a:pt x="540" y="150"/>
                </a:moveTo>
                <a:cubicBezTo>
                  <a:pt x="540" y="150"/>
                  <a:pt x="538" y="151"/>
                  <a:pt x="537" y="150"/>
                </a:cubicBezTo>
                <a:cubicBezTo>
                  <a:pt x="537" y="149"/>
                  <a:pt x="539" y="148"/>
                  <a:pt x="540" y="150"/>
                </a:cubicBezTo>
                <a:close/>
                <a:moveTo>
                  <a:pt x="537" y="158"/>
                </a:moveTo>
                <a:cubicBezTo>
                  <a:pt x="537" y="158"/>
                  <a:pt x="538" y="157"/>
                  <a:pt x="538" y="157"/>
                </a:cubicBezTo>
                <a:cubicBezTo>
                  <a:pt x="539" y="157"/>
                  <a:pt x="537" y="159"/>
                  <a:pt x="537" y="158"/>
                </a:cubicBezTo>
                <a:close/>
                <a:moveTo>
                  <a:pt x="538" y="165"/>
                </a:moveTo>
                <a:cubicBezTo>
                  <a:pt x="538" y="165"/>
                  <a:pt x="540" y="163"/>
                  <a:pt x="540" y="165"/>
                </a:cubicBezTo>
                <a:cubicBezTo>
                  <a:pt x="540" y="164"/>
                  <a:pt x="539" y="166"/>
                  <a:pt x="538" y="165"/>
                </a:cubicBezTo>
                <a:close/>
                <a:moveTo>
                  <a:pt x="540" y="214"/>
                </a:moveTo>
                <a:cubicBezTo>
                  <a:pt x="541" y="215"/>
                  <a:pt x="540" y="215"/>
                  <a:pt x="540" y="215"/>
                </a:cubicBezTo>
                <a:cubicBezTo>
                  <a:pt x="539" y="214"/>
                  <a:pt x="540" y="214"/>
                  <a:pt x="540" y="214"/>
                </a:cubicBezTo>
                <a:close/>
                <a:moveTo>
                  <a:pt x="541" y="291"/>
                </a:moveTo>
                <a:cubicBezTo>
                  <a:pt x="540" y="291"/>
                  <a:pt x="539" y="291"/>
                  <a:pt x="540" y="290"/>
                </a:cubicBezTo>
                <a:cubicBezTo>
                  <a:pt x="540" y="289"/>
                  <a:pt x="541" y="290"/>
                  <a:pt x="541" y="291"/>
                </a:cubicBezTo>
                <a:close/>
                <a:moveTo>
                  <a:pt x="541" y="212"/>
                </a:moveTo>
                <a:cubicBezTo>
                  <a:pt x="541" y="212"/>
                  <a:pt x="541" y="212"/>
                  <a:pt x="541" y="212"/>
                </a:cubicBezTo>
                <a:cubicBezTo>
                  <a:pt x="541" y="212"/>
                  <a:pt x="541" y="212"/>
                  <a:pt x="541" y="212"/>
                </a:cubicBezTo>
                <a:cubicBezTo>
                  <a:pt x="540" y="212"/>
                  <a:pt x="540" y="211"/>
                  <a:pt x="541" y="210"/>
                </a:cubicBezTo>
                <a:cubicBezTo>
                  <a:pt x="542" y="209"/>
                  <a:pt x="542" y="210"/>
                  <a:pt x="542" y="211"/>
                </a:cubicBezTo>
                <a:cubicBezTo>
                  <a:pt x="543" y="211"/>
                  <a:pt x="544" y="211"/>
                  <a:pt x="544" y="210"/>
                </a:cubicBezTo>
                <a:cubicBezTo>
                  <a:pt x="545" y="210"/>
                  <a:pt x="550" y="204"/>
                  <a:pt x="551" y="205"/>
                </a:cubicBezTo>
                <a:cubicBezTo>
                  <a:pt x="553" y="207"/>
                  <a:pt x="544" y="211"/>
                  <a:pt x="543" y="212"/>
                </a:cubicBezTo>
                <a:cubicBezTo>
                  <a:pt x="542" y="212"/>
                  <a:pt x="542" y="214"/>
                  <a:pt x="541" y="212"/>
                </a:cubicBezTo>
                <a:close/>
                <a:moveTo>
                  <a:pt x="549" y="242"/>
                </a:moveTo>
                <a:cubicBezTo>
                  <a:pt x="549" y="242"/>
                  <a:pt x="547" y="242"/>
                  <a:pt x="547" y="241"/>
                </a:cubicBezTo>
                <a:cubicBezTo>
                  <a:pt x="547" y="241"/>
                  <a:pt x="549" y="240"/>
                  <a:pt x="549" y="242"/>
                </a:cubicBezTo>
                <a:close/>
                <a:moveTo>
                  <a:pt x="543" y="245"/>
                </a:moveTo>
                <a:cubicBezTo>
                  <a:pt x="544" y="247"/>
                  <a:pt x="541" y="246"/>
                  <a:pt x="543" y="245"/>
                </a:cubicBezTo>
                <a:close/>
                <a:moveTo>
                  <a:pt x="547" y="220"/>
                </a:moveTo>
                <a:cubicBezTo>
                  <a:pt x="546" y="220"/>
                  <a:pt x="546" y="220"/>
                  <a:pt x="546" y="220"/>
                </a:cubicBezTo>
                <a:cubicBezTo>
                  <a:pt x="545" y="220"/>
                  <a:pt x="547" y="219"/>
                  <a:pt x="547" y="220"/>
                </a:cubicBezTo>
                <a:close/>
                <a:moveTo>
                  <a:pt x="546" y="265"/>
                </a:moveTo>
                <a:cubicBezTo>
                  <a:pt x="546" y="265"/>
                  <a:pt x="547" y="264"/>
                  <a:pt x="547" y="264"/>
                </a:cubicBezTo>
                <a:cubicBezTo>
                  <a:pt x="547" y="265"/>
                  <a:pt x="546" y="266"/>
                  <a:pt x="546" y="265"/>
                </a:cubicBezTo>
                <a:close/>
                <a:moveTo>
                  <a:pt x="548" y="300"/>
                </a:moveTo>
                <a:cubicBezTo>
                  <a:pt x="548" y="299"/>
                  <a:pt x="548" y="299"/>
                  <a:pt x="548" y="299"/>
                </a:cubicBezTo>
                <a:cubicBezTo>
                  <a:pt x="549" y="299"/>
                  <a:pt x="548" y="301"/>
                  <a:pt x="548" y="300"/>
                </a:cubicBezTo>
                <a:close/>
                <a:moveTo>
                  <a:pt x="547" y="280"/>
                </a:moveTo>
                <a:cubicBezTo>
                  <a:pt x="549" y="276"/>
                  <a:pt x="551" y="272"/>
                  <a:pt x="552" y="269"/>
                </a:cubicBezTo>
                <a:cubicBezTo>
                  <a:pt x="552" y="271"/>
                  <a:pt x="549" y="278"/>
                  <a:pt x="547" y="280"/>
                </a:cubicBezTo>
                <a:close/>
                <a:moveTo>
                  <a:pt x="553" y="329"/>
                </a:moveTo>
                <a:cubicBezTo>
                  <a:pt x="553" y="329"/>
                  <a:pt x="553" y="329"/>
                  <a:pt x="553" y="329"/>
                </a:cubicBezTo>
                <a:cubicBezTo>
                  <a:pt x="553" y="329"/>
                  <a:pt x="553" y="329"/>
                  <a:pt x="553" y="329"/>
                </a:cubicBezTo>
                <a:close/>
                <a:moveTo>
                  <a:pt x="551" y="261"/>
                </a:moveTo>
                <a:cubicBezTo>
                  <a:pt x="553" y="257"/>
                  <a:pt x="553" y="254"/>
                  <a:pt x="555" y="252"/>
                </a:cubicBezTo>
                <a:cubicBezTo>
                  <a:pt x="554" y="254"/>
                  <a:pt x="553" y="259"/>
                  <a:pt x="551" y="261"/>
                </a:cubicBezTo>
                <a:close/>
                <a:moveTo>
                  <a:pt x="554" y="222"/>
                </a:moveTo>
                <a:cubicBezTo>
                  <a:pt x="555" y="221"/>
                  <a:pt x="556" y="222"/>
                  <a:pt x="554" y="222"/>
                </a:cubicBezTo>
                <a:close/>
                <a:moveTo>
                  <a:pt x="554" y="184"/>
                </a:moveTo>
                <a:cubicBezTo>
                  <a:pt x="554" y="183"/>
                  <a:pt x="556" y="182"/>
                  <a:pt x="556" y="183"/>
                </a:cubicBezTo>
                <a:cubicBezTo>
                  <a:pt x="556" y="185"/>
                  <a:pt x="554" y="185"/>
                  <a:pt x="554" y="184"/>
                </a:cubicBezTo>
                <a:close/>
                <a:moveTo>
                  <a:pt x="557" y="285"/>
                </a:moveTo>
                <a:cubicBezTo>
                  <a:pt x="557" y="283"/>
                  <a:pt x="556" y="286"/>
                  <a:pt x="557" y="285"/>
                </a:cubicBezTo>
                <a:close/>
                <a:moveTo>
                  <a:pt x="560" y="320"/>
                </a:moveTo>
                <a:cubicBezTo>
                  <a:pt x="560" y="321"/>
                  <a:pt x="561" y="319"/>
                  <a:pt x="560" y="320"/>
                </a:cubicBezTo>
                <a:close/>
                <a:moveTo>
                  <a:pt x="557" y="283"/>
                </a:moveTo>
                <a:cubicBezTo>
                  <a:pt x="556" y="281"/>
                  <a:pt x="561" y="279"/>
                  <a:pt x="561" y="281"/>
                </a:cubicBezTo>
                <a:cubicBezTo>
                  <a:pt x="562" y="283"/>
                  <a:pt x="558" y="284"/>
                  <a:pt x="557" y="283"/>
                </a:cubicBezTo>
                <a:close/>
                <a:moveTo>
                  <a:pt x="562" y="258"/>
                </a:moveTo>
                <a:cubicBezTo>
                  <a:pt x="562" y="258"/>
                  <a:pt x="563" y="257"/>
                  <a:pt x="563" y="257"/>
                </a:cubicBezTo>
                <a:cubicBezTo>
                  <a:pt x="564" y="258"/>
                  <a:pt x="561" y="259"/>
                  <a:pt x="562" y="258"/>
                </a:cubicBezTo>
                <a:close/>
                <a:moveTo>
                  <a:pt x="565" y="221"/>
                </a:moveTo>
                <a:cubicBezTo>
                  <a:pt x="564" y="221"/>
                  <a:pt x="564" y="219"/>
                  <a:pt x="565" y="220"/>
                </a:cubicBezTo>
                <a:cubicBezTo>
                  <a:pt x="565" y="220"/>
                  <a:pt x="565" y="221"/>
                  <a:pt x="565" y="221"/>
                </a:cubicBezTo>
                <a:close/>
                <a:moveTo>
                  <a:pt x="566" y="206"/>
                </a:moveTo>
                <a:cubicBezTo>
                  <a:pt x="565" y="211"/>
                  <a:pt x="567" y="204"/>
                  <a:pt x="568" y="203"/>
                </a:cubicBezTo>
                <a:cubicBezTo>
                  <a:pt x="569" y="202"/>
                  <a:pt x="574" y="202"/>
                  <a:pt x="576" y="203"/>
                </a:cubicBezTo>
                <a:cubicBezTo>
                  <a:pt x="579" y="205"/>
                  <a:pt x="577" y="210"/>
                  <a:pt x="574" y="212"/>
                </a:cubicBezTo>
                <a:cubicBezTo>
                  <a:pt x="573" y="213"/>
                  <a:pt x="570" y="213"/>
                  <a:pt x="569" y="213"/>
                </a:cubicBezTo>
                <a:cubicBezTo>
                  <a:pt x="566" y="214"/>
                  <a:pt x="567" y="214"/>
                  <a:pt x="565" y="212"/>
                </a:cubicBezTo>
                <a:cubicBezTo>
                  <a:pt x="562" y="210"/>
                  <a:pt x="562" y="205"/>
                  <a:pt x="566" y="206"/>
                </a:cubicBezTo>
                <a:close/>
                <a:moveTo>
                  <a:pt x="573" y="236"/>
                </a:moveTo>
                <a:cubicBezTo>
                  <a:pt x="575" y="234"/>
                  <a:pt x="572" y="237"/>
                  <a:pt x="573" y="236"/>
                </a:cubicBezTo>
                <a:close/>
                <a:moveTo>
                  <a:pt x="571" y="238"/>
                </a:moveTo>
                <a:cubicBezTo>
                  <a:pt x="573" y="236"/>
                  <a:pt x="569" y="239"/>
                  <a:pt x="571" y="238"/>
                </a:cubicBezTo>
                <a:close/>
                <a:moveTo>
                  <a:pt x="569" y="326"/>
                </a:moveTo>
                <a:cubicBezTo>
                  <a:pt x="568" y="326"/>
                  <a:pt x="569" y="325"/>
                  <a:pt x="569" y="325"/>
                </a:cubicBezTo>
                <a:cubicBezTo>
                  <a:pt x="570" y="324"/>
                  <a:pt x="570" y="327"/>
                  <a:pt x="569" y="326"/>
                </a:cubicBezTo>
                <a:close/>
                <a:moveTo>
                  <a:pt x="567" y="224"/>
                </a:moveTo>
                <a:cubicBezTo>
                  <a:pt x="566" y="223"/>
                  <a:pt x="567" y="222"/>
                  <a:pt x="567" y="222"/>
                </a:cubicBezTo>
                <a:cubicBezTo>
                  <a:pt x="568" y="222"/>
                  <a:pt x="567" y="223"/>
                  <a:pt x="567" y="224"/>
                </a:cubicBezTo>
                <a:close/>
                <a:moveTo>
                  <a:pt x="567" y="311"/>
                </a:moveTo>
                <a:cubicBezTo>
                  <a:pt x="568" y="312"/>
                  <a:pt x="566" y="312"/>
                  <a:pt x="567" y="311"/>
                </a:cubicBezTo>
                <a:close/>
                <a:moveTo>
                  <a:pt x="565" y="280"/>
                </a:moveTo>
                <a:cubicBezTo>
                  <a:pt x="565" y="277"/>
                  <a:pt x="567" y="277"/>
                  <a:pt x="565" y="280"/>
                </a:cubicBezTo>
                <a:close/>
                <a:moveTo>
                  <a:pt x="566" y="411"/>
                </a:moveTo>
                <a:cubicBezTo>
                  <a:pt x="568" y="409"/>
                  <a:pt x="569" y="406"/>
                  <a:pt x="572" y="405"/>
                </a:cubicBezTo>
                <a:cubicBezTo>
                  <a:pt x="570" y="407"/>
                  <a:pt x="568" y="410"/>
                  <a:pt x="566" y="411"/>
                </a:cubicBezTo>
                <a:close/>
                <a:moveTo>
                  <a:pt x="571" y="279"/>
                </a:moveTo>
                <a:cubicBezTo>
                  <a:pt x="571" y="279"/>
                  <a:pt x="573" y="279"/>
                  <a:pt x="572" y="279"/>
                </a:cubicBezTo>
                <a:cubicBezTo>
                  <a:pt x="572" y="280"/>
                  <a:pt x="571" y="280"/>
                  <a:pt x="571" y="279"/>
                </a:cubicBezTo>
                <a:close/>
                <a:moveTo>
                  <a:pt x="573" y="383"/>
                </a:moveTo>
                <a:cubicBezTo>
                  <a:pt x="571" y="382"/>
                  <a:pt x="573" y="380"/>
                  <a:pt x="574" y="379"/>
                </a:cubicBezTo>
                <a:cubicBezTo>
                  <a:pt x="577" y="377"/>
                  <a:pt x="575" y="384"/>
                  <a:pt x="573" y="383"/>
                </a:cubicBezTo>
                <a:close/>
                <a:moveTo>
                  <a:pt x="578" y="218"/>
                </a:moveTo>
                <a:cubicBezTo>
                  <a:pt x="583" y="216"/>
                  <a:pt x="584" y="224"/>
                  <a:pt x="580" y="226"/>
                </a:cubicBezTo>
                <a:cubicBezTo>
                  <a:pt x="573" y="230"/>
                  <a:pt x="572" y="220"/>
                  <a:pt x="578" y="218"/>
                </a:cubicBezTo>
                <a:close/>
                <a:moveTo>
                  <a:pt x="577" y="295"/>
                </a:moveTo>
                <a:cubicBezTo>
                  <a:pt x="577" y="295"/>
                  <a:pt x="577" y="295"/>
                  <a:pt x="577" y="296"/>
                </a:cubicBezTo>
                <a:cubicBezTo>
                  <a:pt x="576" y="296"/>
                  <a:pt x="577" y="295"/>
                  <a:pt x="577" y="295"/>
                </a:cubicBezTo>
                <a:close/>
                <a:moveTo>
                  <a:pt x="577" y="425"/>
                </a:moveTo>
                <a:cubicBezTo>
                  <a:pt x="576" y="426"/>
                  <a:pt x="578" y="423"/>
                  <a:pt x="577" y="425"/>
                </a:cubicBezTo>
                <a:close/>
                <a:moveTo>
                  <a:pt x="577" y="371"/>
                </a:moveTo>
                <a:cubicBezTo>
                  <a:pt x="576" y="370"/>
                  <a:pt x="578" y="370"/>
                  <a:pt x="577" y="371"/>
                </a:cubicBezTo>
                <a:close/>
                <a:moveTo>
                  <a:pt x="577" y="297"/>
                </a:moveTo>
                <a:cubicBezTo>
                  <a:pt x="578" y="296"/>
                  <a:pt x="578" y="297"/>
                  <a:pt x="578" y="297"/>
                </a:cubicBezTo>
                <a:cubicBezTo>
                  <a:pt x="579" y="299"/>
                  <a:pt x="576" y="297"/>
                  <a:pt x="577" y="297"/>
                </a:cubicBezTo>
                <a:close/>
                <a:moveTo>
                  <a:pt x="580" y="277"/>
                </a:moveTo>
                <a:cubicBezTo>
                  <a:pt x="580" y="277"/>
                  <a:pt x="580" y="277"/>
                  <a:pt x="580" y="277"/>
                </a:cubicBezTo>
                <a:cubicBezTo>
                  <a:pt x="581" y="277"/>
                  <a:pt x="579" y="278"/>
                  <a:pt x="580" y="277"/>
                </a:cubicBezTo>
                <a:close/>
                <a:moveTo>
                  <a:pt x="580" y="387"/>
                </a:moveTo>
                <a:cubicBezTo>
                  <a:pt x="580" y="386"/>
                  <a:pt x="582" y="385"/>
                  <a:pt x="582" y="384"/>
                </a:cubicBezTo>
                <a:cubicBezTo>
                  <a:pt x="583" y="385"/>
                  <a:pt x="581" y="386"/>
                  <a:pt x="580" y="387"/>
                </a:cubicBezTo>
                <a:close/>
                <a:moveTo>
                  <a:pt x="578" y="268"/>
                </a:moveTo>
                <a:cubicBezTo>
                  <a:pt x="578" y="266"/>
                  <a:pt x="584" y="266"/>
                  <a:pt x="582" y="269"/>
                </a:cubicBezTo>
                <a:cubicBezTo>
                  <a:pt x="582" y="271"/>
                  <a:pt x="578" y="270"/>
                  <a:pt x="578" y="268"/>
                </a:cubicBezTo>
                <a:close/>
                <a:moveTo>
                  <a:pt x="582" y="302"/>
                </a:moveTo>
                <a:cubicBezTo>
                  <a:pt x="582" y="302"/>
                  <a:pt x="582" y="301"/>
                  <a:pt x="583" y="301"/>
                </a:cubicBezTo>
                <a:cubicBezTo>
                  <a:pt x="585" y="299"/>
                  <a:pt x="584" y="304"/>
                  <a:pt x="582" y="302"/>
                </a:cubicBezTo>
                <a:close/>
                <a:moveTo>
                  <a:pt x="584" y="367"/>
                </a:moveTo>
                <a:cubicBezTo>
                  <a:pt x="584" y="369"/>
                  <a:pt x="582" y="368"/>
                  <a:pt x="584" y="367"/>
                </a:cubicBezTo>
                <a:close/>
                <a:moveTo>
                  <a:pt x="584" y="364"/>
                </a:moveTo>
                <a:cubicBezTo>
                  <a:pt x="584" y="363"/>
                  <a:pt x="584" y="363"/>
                  <a:pt x="585" y="363"/>
                </a:cubicBezTo>
                <a:cubicBezTo>
                  <a:pt x="586" y="363"/>
                  <a:pt x="583" y="365"/>
                  <a:pt x="584" y="364"/>
                </a:cubicBezTo>
                <a:close/>
                <a:moveTo>
                  <a:pt x="585" y="305"/>
                </a:moveTo>
                <a:cubicBezTo>
                  <a:pt x="585" y="305"/>
                  <a:pt x="586" y="304"/>
                  <a:pt x="586" y="305"/>
                </a:cubicBezTo>
                <a:cubicBezTo>
                  <a:pt x="587" y="305"/>
                  <a:pt x="585" y="306"/>
                  <a:pt x="585" y="305"/>
                </a:cubicBezTo>
                <a:close/>
                <a:moveTo>
                  <a:pt x="585" y="289"/>
                </a:moveTo>
                <a:cubicBezTo>
                  <a:pt x="585" y="288"/>
                  <a:pt x="586" y="288"/>
                  <a:pt x="586" y="288"/>
                </a:cubicBezTo>
                <a:cubicBezTo>
                  <a:pt x="586" y="288"/>
                  <a:pt x="585" y="289"/>
                  <a:pt x="585" y="289"/>
                </a:cubicBezTo>
                <a:close/>
                <a:moveTo>
                  <a:pt x="585" y="250"/>
                </a:moveTo>
                <a:cubicBezTo>
                  <a:pt x="586" y="249"/>
                  <a:pt x="587" y="248"/>
                  <a:pt x="589" y="247"/>
                </a:cubicBezTo>
                <a:cubicBezTo>
                  <a:pt x="588" y="248"/>
                  <a:pt x="586" y="249"/>
                  <a:pt x="585" y="250"/>
                </a:cubicBezTo>
                <a:close/>
                <a:moveTo>
                  <a:pt x="590" y="437"/>
                </a:moveTo>
                <a:cubicBezTo>
                  <a:pt x="589" y="435"/>
                  <a:pt x="591" y="433"/>
                  <a:pt x="593" y="431"/>
                </a:cubicBezTo>
                <a:cubicBezTo>
                  <a:pt x="592" y="433"/>
                  <a:pt x="591" y="435"/>
                  <a:pt x="590" y="437"/>
                </a:cubicBezTo>
                <a:close/>
                <a:moveTo>
                  <a:pt x="594" y="251"/>
                </a:moveTo>
                <a:cubicBezTo>
                  <a:pt x="596" y="250"/>
                  <a:pt x="595" y="255"/>
                  <a:pt x="593" y="253"/>
                </a:cubicBezTo>
                <a:cubicBezTo>
                  <a:pt x="593" y="253"/>
                  <a:pt x="593" y="252"/>
                  <a:pt x="594" y="251"/>
                </a:cubicBezTo>
                <a:close/>
                <a:moveTo>
                  <a:pt x="594" y="357"/>
                </a:moveTo>
                <a:cubicBezTo>
                  <a:pt x="594" y="357"/>
                  <a:pt x="594" y="356"/>
                  <a:pt x="595" y="356"/>
                </a:cubicBezTo>
                <a:cubicBezTo>
                  <a:pt x="596" y="357"/>
                  <a:pt x="592" y="359"/>
                  <a:pt x="594" y="357"/>
                </a:cubicBezTo>
                <a:close/>
                <a:moveTo>
                  <a:pt x="595" y="371"/>
                </a:moveTo>
                <a:cubicBezTo>
                  <a:pt x="595" y="372"/>
                  <a:pt x="594" y="373"/>
                  <a:pt x="593" y="373"/>
                </a:cubicBezTo>
                <a:cubicBezTo>
                  <a:pt x="593" y="372"/>
                  <a:pt x="594" y="371"/>
                  <a:pt x="595" y="371"/>
                </a:cubicBezTo>
                <a:close/>
                <a:moveTo>
                  <a:pt x="593" y="429"/>
                </a:move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lose/>
                <a:moveTo>
                  <a:pt x="594" y="472"/>
                </a:moveTo>
                <a:cubicBezTo>
                  <a:pt x="594" y="472"/>
                  <a:pt x="595" y="470"/>
                  <a:pt x="595" y="470"/>
                </a:cubicBezTo>
                <a:cubicBezTo>
                  <a:pt x="596" y="471"/>
                  <a:pt x="594" y="472"/>
                  <a:pt x="594" y="472"/>
                </a:cubicBezTo>
                <a:close/>
                <a:moveTo>
                  <a:pt x="598" y="422"/>
                </a:moveTo>
                <a:cubicBezTo>
                  <a:pt x="598" y="423"/>
                  <a:pt x="596" y="426"/>
                  <a:pt x="594" y="428"/>
                </a:cubicBezTo>
                <a:cubicBezTo>
                  <a:pt x="594" y="425"/>
                  <a:pt x="599" y="418"/>
                  <a:pt x="598" y="422"/>
                </a:cubicBezTo>
                <a:close/>
                <a:moveTo>
                  <a:pt x="595" y="356"/>
                </a:moveTo>
                <a:cubicBezTo>
                  <a:pt x="596" y="355"/>
                  <a:pt x="597" y="354"/>
                  <a:pt x="599" y="353"/>
                </a:cubicBezTo>
                <a:cubicBezTo>
                  <a:pt x="598" y="355"/>
                  <a:pt x="597" y="355"/>
                  <a:pt x="595" y="356"/>
                </a:cubicBezTo>
                <a:close/>
                <a:moveTo>
                  <a:pt x="686" y="310"/>
                </a:moveTo>
                <a:cubicBezTo>
                  <a:pt x="686" y="309"/>
                  <a:pt x="686" y="312"/>
                  <a:pt x="686" y="310"/>
                </a:cubicBezTo>
                <a:close/>
                <a:moveTo>
                  <a:pt x="679" y="298"/>
                </a:moveTo>
                <a:cubicBezTo>
                  <a:pt x="682" y="297"/>
                  <a:pt x="678" y="302"/>
                  <a:pt x="678" y="299"/>
                </a:cubicBezTo>
                <a:cubicBezTo>
                  <a:pt x="678" y="299"/>
                  <a:pt x="678" y="298"/>
                  <a:pt x="679" y="298"/>
                </a:cubicBezTo>
                <a:close/>
                <a:moveTo>
                  <a:pt x="676" y="297"/>
                </a:moveTo>
                <a:cubicBezTo>
                  <a:pt x="677" y="295"/>
                  <a:pt x="676" y="298"/>
                  <a:pt x="676" y="297"/>
                </a:cubicBezTo>
                <a:close/>
                <a:moveTo>
                  <a:pt x="671" y="307"/>
                </a:moveTo>
                <a:cubicBezTo>
                  <a:pt x="671" y="307"/>
                  <a:pt x="672" y="308"/>
                  <a:pt x="671" y="308"/>
                </a:cubicBezTo>
                <a:cubicBezTo>
                  <a:pt x="670" y="309"/>
                  <a:pt x="671" y="307"/>
                  <a:pt x="671" y="307"/>
                </a:cubicBezTo>
                <a:close/>
                <a:moveTo>
                  <a:pt x="672" y="331"/>
                </a:moveTo>
                <a:cubicBezTo>
                  <a:pt x="672" y="331"/>
                  <a:pt x="675" y="326"/>
                  <a:pt x="675" y="328"/>
                </a:cubicBezTo>
                <a:cubicBezTo>
                  <a:pt x="675" y="331"/>
                  <a:pt x="670" y="334"/>
                  <a:pt x="668" y="337"/>
                </a:cubicBezTo>
                <a:cubicBezTo>
                  <a:pt x="669" y="335"/>
                  <a:pt x="671" y="333"/>
                  <a:pt x="672" y="331"/>
                </a:cubicBezTo>
                <a:close/>
                <a:moveTo>
                  <a:pt x="669" y="271"/>
                </a:moveTo>
                <a:cubicBezTo>
                  <a:pt x="668" y="270"/>
                  <a:pt x="671" y="264"/>
                  <a:pt x="672" y="266"/>
                </a:cubicBezTo>
                <a:cubicBezTo>
                  <a:pt x="674" y="267"/>
                  <a:pt x="670" y="270"/>
                  <a:pt x="669" y="271"/>
                </a:cubicBezTo>
                <a:close/>
                <a:moveTo>
                  <a:pt x="674" y="235"/>
                </a:moveTo>
                <a:cubicBezTo>
                  <a:pt x="673" y="236"/>
                  <a:pt x="675" y="233"/>
                  <a:pt x="674" y="235"/>
                </a:cubicBezTo>
                <a:close/>
                <a:moveTo>
                  <a:pt x="676" y="252"/>
                </a:moveTo>
                <a:cubicBezTo>
                  <a:pt x="676" y="250"/>
                  <a:pt x="677" y="251"/>
                  <a:pt x="676" y="252"/>
                </a:cubicBezTo>
                <a:close/>
                <a:moveTo>
                  <a:pt x="673" y="222"/>
                </a:moveTo>
                <a:cubicBezTo>
                  <a:pt x="674" y="221"/>
                  <a:pt x="676" y="222"/>
                  <a:pt x="676" y="222"/>
                </a:cubicBezTo>
                <a:cubicBezTo>
                  <a:pt x="678" y="225"/>
                  <a:pt x="674" y="230"/>
                  <a:pt x="672" y="229"/>
                </a:cubicBezTo>
                <a:cubicBezTo>
                  <a:pt x="669" y="227"/>
                  <a:pt x="671" y="223"/>
                  <a:pt x="673" y="222"/>
                </a:cubicBezTo>
                <a:close/>
                <a:moveTo>
                  <a:pt x="669" y="233"/>
                </a:moveTo>
                <a:cubicBezTo>
                  <a:pt x="669" y="232"/>
                  <a:pt x="670" y="231"/>
                  <a:pt x="670" y="230"/>
                </a:cubicBezTo>
                <a:cubicBezTo>
                  <a:pt x="669" y="230"/>
                  <a:pt x="669" y="230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1" y="229"/>
                </a:cubicBezTo>
                <a:cubicBezTo>
                  <a:pt x="670" y="230"/>
                  <a:pt x="670" y="230"/>
                  <a:pt x="670" y="230"/>
                </a:cubicBezTo>
                <a:cubicBezTo>
                  <a:pt x="670" y="233"/>
                  <a:pt x="669" y="236"/>
                  <a:pt x="668" y="238"/>
                </a:cubicBezTo>
                <a:cubicBezTo>
                  <a:pt x="668" y="237"/>
                  <a:pt x="668" y="235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lose/>
                <a:moveTo>
                  <a:pt x="668" y="231"/>
                </a:moveTo>
                <a:cubicBezTo>
                  <a:pt x="668" y="233"/>
                  <a:pt x="666" y="231"/>
                  <a:pt x="668" y="231"/>
                </a:cubicBezTo>
                <a:close/>
                <a:moveTo>
                  <a:pt x="671" y="249"/>
                </a:moveTo>
                <a:cubicBezTo>
                  <a:pt x="670" y="250"/>
                  <a:pt x="668" y="251"/>
                  <a:pt x="666" y="252"/>
                </a:cubicBezTo>
                <a:cubicBezTo>
                  <a:pt x="667" y="250"/>
                  <a:pt x="669" y="250"/>
                  <a:pt x="671" y="249"/>
                </a:cubicBezTo>
                <a:close/>
                <a:moveTo>
                  <a:pt x="667" y="257"/>
                </a:moveTo>
                <a:cubicBezTo>
                  <a:pt x="667" y="258"/>
                  <a:pt x="666" y="260"/>
                  <a:pt x="665" y="261"/>
                </a:cubicBezTo>
                <a:cubicBezTo>
                  <a:pt x="665" y="259"/>
                  <a:pt x="667" y="259"/>
                  <a:pt x="667" y="257"/>
                </a:cubicBezTo>
                <a:close/>
                <a:moveTo>
                  <a:pt x="666" y="302"/>
                </a:moveTo>
                <a:cubicBezTo>
                  <a:pt x="666" y="302"/>
                  <a:pt x="666" y="302"/>
                  <a:pt x="666" y="301"/>
                </a:cubicBezTo>
                <a:cubicBezTo>
                  <a:pt x="666" y="300"/>
                  <a:pt x="667" y="302"/>
                  <a:pt x="666" y="302"/>
                </a:cubicBezTo>
                <a:close/>
                <a:moveTo>
                  <a:pt x="657" y="233"/>
                </a:moveTo>
                <a:cubicBezTo>
                  <a:pt x="657" y="233"/>
                  <a:pt x="657" y="233"/>
                  <a:pt x="657" y="233"/>
                </a:cubicBezTo>
                <a:cubicBezTo>
                  <a:pt x="657" y="235"/>
                  <a:pt x="655" y="233"/>
                  <a:pt x="657" y="233"/>
                </a:cubicBezTo>
                <a:close/>
                <a:moveTo>
                  <a:pt x="655" y="232"/>
                </a:moveTo>
                <a:cubicBezTo>
                  <a:pt x="656" y="232"/>
                  <a:pt x="656" y="234"/>
                  <a:pt x="655" y="234"/>
                </a:cubicBezTo>
                <a:cubicBezTo>
                  <a:pt x="654" y="233"/>
                  <a:pt x="655" y="232"/>
                  <a:pt x="655" y="232"/>
                </a:cubicBezTo>
                <a:close/>
                <a:moveTo>
                  <a:pt x="655" y="256"/>
                </a:moveTo>
                <a:cubicBezTo>
                  <a:pt x="657" y="254"/>
                  <a:pt x="657" y="259"/>
                  <a:pt x="655" y="259"/>
                </a:cubicBezTo>
                <a:cubicBezTo>
                  <a:pt x="654" y="258"/>
                  <a:pt x="654" y="256"/>
                  <a:pt x="655" y="256"/>
                </a:cubicBezTo>
                <a:close/>
                <a:moveTo>
                  <a:pt x="651" y="231"/>
                </a:moveTo>
                <a:cubicBezTo>
                  <a:pt x="651" y="231"/>
                  <a:pt x="652" y="230"/>
                  <a:pt x="653" y="231"/>
                </a:cubicBezTo>
                <a:cubicBezTo>
                  <a:pt x="654" y="232"/>
                  <a:pt x="650" y="234"/>
                  <a:pt x="651" y="231"/>
                </a:cubicBezTo>
                <a:close/>
                <a:moveTo>
                  <a:pt x="651" y="229"/>
                </a:moveTo>
                <a:cubicBezTo>
                  <a:pt x="651" y="228"/>
                  <a:pt x="650" y="231"/>
                  <a:pt x="651" y="229"/>
                </a:cubicBezTo>
                <a:close/>
                <a:moveTo>
                  <a:pt x="647" y="239"/>
                </a:moveTo>
                <a:cubicBezTo>
                  <a:pt x="648" y="237"/>
                  <a:pt x="650" y="241"/>
                  <a:pt x="647" y="241"/>
                </a:cubicBezTo>
                <a:cubicBezTo>
                  <a:pt x="647" y="240"/>
                  <a:pt x="646" y="239"/>
                  <a:pt x="647" y="239"/>
                </a:cubicBezTo>
                <a:close/>
                <a:moveTo>
                  <a:pt x="649" y="265"/>
                </a:moveTo>
                <a:cubicBezTo>
                  <a:pt x="650" y="264"/>
                  <a:pt x="651" y="260"/>
                  <a:pt x="653" y="260"/>
                </a:cubicBezTo>
                <a:cubicBezTo>
                  <a:pt x="657" y="258"/>
                  <a:pt x="649" y="267"/>
                  <a:pt x="648" y="268"/>
                </a:cubicBezTo>
                <a:cubicBezTo>
                  <a:pt x="650" y="266"/>
                  <a:pt x="648" y="270"/>
                  <a:pt x="647" y="269"/>
                </a:cubicBezTo>
                <a:cubicBezTo>
                  <a:pt x="646" y="269"/>
                  <a:pt x="648" y="266"/>
                  <a:pt x="649" y="265"/>
                </a:cubicBezTo>
                <a:close/>
                <a:moveTo>
                  <a:pt x="652" y="271"/>
                </a:moveTo>
                <a:cubicBezTo>
                  <a:pt x="653" y="272"/>
                  <a:pt x="651" y="272"/>
                  <a:pt x="651" y="272"/>
                </a:cubicBezTo>
                <a:cubicBezTo>
                  <a:pt x="651" y="271"/>
                  <a:pt x="652" y="270"/>
                  <a:pt x="652" y="271"/>
                </a:cubicBezTo>
                <a:close/>
                <a:moveTo>
                  <a:pt x="657" y="273"/>
                </a:moveTo>
                <a:cubicBezTo>
                  <a:pt x="653" y="278"/>
                  <a:pt x="649" y="282"/>
                  <a:pt x="643" y="286"/>
                </a:cubicBezTo>
                <a:cubicBezTo>
                  <a:pt x="648" y="281"/>
                  <a:pt x="652" y="277"/>
                  <a:pt x="657" y="273"/>
                </a:cubicBezTo>
                <a:close/>
                <a:moveTo>
                  <a:pt x="645" y="387"/>
                </a:moveTo>
                <a:cubicBezTo>
                  <a:pt x="645" y="389"/>
                  <a:pt x="643" y="388"/>
                  <a:pt x="645" y="387"/>
                </a:cubicBezTo>
                <a:close/>
                <a:moveTo>
                  <a:pt x="645" y="390"/>
                </a:moveTo>
                <a:cubicBezTo>
                  <a:pt x="645" y="388"/>
                  <a:pt x="644" y="391"/>
                  <a:pt x="645" y="390"/>
                </a:cubicBezTo>
                <a:close/>
                <a:moveTo>
                  <a:pt x="641" y="392"/>
                </a:moveTo>
                <a:cubicBezTo>
                  <a:pt x="642" y="391"/>
                  <a:pt x="642" y="390"/>
                  <a:pt x="643" y="389"/>
                </a:cubicBezTo>
                <a:cubicBezTo>
                  <a:pt x="643" y="390"/>
                  <a:pt x="643" y="391"/>
                  <a:pt x="641" y="392"/>
                </a:cubicBezTo>
                <a:close/>
                <a:moveTo>
                  <a:pt x="642" y="393"/>
                </a:moveTo>
                <a:cubicBezTo>
                  <a:pt x="643" y="393"/>
                  <a:pt x="640" y="395"/>
                  <a:pt x="642" y="393"/>
                </a:cubicBezTo>
                <a:close/>
                <a:moveTo>
                  <a:pt x="643" y="300"/>
                </a:moveTo>
                <a:cubicBezTo>
                  <a:pt x="642" y="300"/>
                  <a:pt x="643" y="299"/>
                  <a:pt x="643" y="299"/>
                </a:cubicBezTo>
                <a:cubicBezTo>
                  <a:pt x="644" y="297"/>
                  <a:pt x="644" y="301"/>
                  <a:pt x="643" y="300"/>
                </a:cubicBezTo>
                <a:close/>
                <a:moveTo>
                  <a:pt x="642" y="297"/>
                </a:moveTo>
                <a:cubicBezTo>
                  <a:pt x="642" y="296"/>
                  <a:pt x="643" y="296"/>
                  <a:pt x="644" y="295"/>
                </a:cubicBezTo>
                <a:cubicBezTo>
                  <a:pt x="644" y="296"/>
                  <a:pt x="643" y="297"/>
                  <a:pt x="642" y="297"/>
                </a:cubicBezTo>
                <a:close/>
                <a:moveTo>
                  <a:pt x="639" y="297"/>
                </a:moveTo>
                <a:cubicBezTo>
                  <a:pt x="638" y="296"/>
                  <a:pt x="644" y="290"/>
                  <a:pt x="645" y="290"/>
                </a:cubicBezTo>
                <a:cubicBezTo>
                  <a:pt x="645" y="289"/>
                  <a:pt x="646" y="289"/>
                  <a:pt x="647" y="289"/>
                </a:cubicBezTo>
                <a:cubicBezTo>
                  <a:pt x="647" y="289"/>
                  <a:pt x="640" y="298"/>
                  <a:pt x="639" y="297"/>
                </a:cubicBezTo>
                <a:close/>
                <a:moveTo>
                  <a:pt x="642" y="298"/>
                </a:moveTo>
                <a:cubicBezTo>
                  <a:pt x="641" y="300"/>
                  <a:pt x="639" y="299"/>
                  <a:pt x="642" y="298"/>
                </a:cubicBezTo>
                <a:close/>
                <a:moveTo>
                  <a:pt x="639" y="303"/>
                </a:moveTo>
                <a:cubicBezTo>
                  <a:pt x="639" y="303"/>
                  <a:pt x="639" y="302"/>
                  <a:pt x="639" y="302"/>
                </a:cubicBezTo>
                <a:cubicBezTo>
                  <a:pt x="641" y="300"/>
                  <a:pt x="640" y="304"/>
                  <a:pt x="639" y="303"/>
                </a:cubicBezTo>
                <a:close/>
                <a:moveTo>
                  <a:pt x="640" y="320"/>
                </a:moveTo>
                <a:cubicBezTo>
                  <a:pt x="640" y="320"/>
                  <a:pt x="639" y="321"/>
                  <a:pt x="639" y="321"/>
                </a:cubicBezTo>
                <a:cubicBezTo>
                  <a:pt x="638" y="321"/>
                  <a:pt x="639" y="320"/>
                  <a:pt x="640" y="320"/>
                </a:cubicBezTo>
                <a:close/>
                <a:moveTo>
                  <a:pt x="638" y="266"/>
                </a:moveTo>
                <a:cubicBezTo>
                  <a:pt x="637" y="266"/>
                  <a:pt x="639" y="265"/>
                  <a:pt x="638" y="264"/>
                </a:cubicBezTo>
                <a:cubicBezTo>
                  <a:pt x="639" y="264"/>
                  <a:pt x="638" y="266"/>
                  <a:pt x="638" y="266"/>
                </a:cubicBezTo>
                <a:close/>
                <a:moveTo>
                  <a:pt x="638" y="268"/>
                </a:moveTo>
                <a:cubicBezTo>
                  <a:pt x="638" y="268"/>
                  <a:pt x="638" y="269"/>
                  <a:pt x="638" y="269"/>
                </a:cubicBezTo>
                <a:cubicBezTo>
                  <a:pt x="638" y="269"/>
                  <a:pt x="638" y="269"/>
                  <a:pt x="638" y="269"/>
                </a:cubicBezTo>
                <a:cubicBezTo>
                  <a:pt x="638" y="269"/>
                  <a:pt x="638" y="269"/>
                  <a:pt x="638" y="268"/>
                </a:cubicBezTo>
                <a:close/>
                <a:moveTo>
                  <a:pt x="642" y="286"/>
                </a:moveTo>
                <a:cubicBezTo>
                  <a:pt x="642" y="287"/>
                  <a:pt x="639" y="289"/>
                  <a:pt x="638" y="290"/>
                </a:cubicBezTo>
                <a:cubicBezTo>
                  <a:pt x="638" y="288"/>
                  <a:pt x="641" y="288"/>
                  <a:pt x="642" y="286"/>
                </a:cubicBezTo>
                <a:close/>
                <a:moveTo>
                  <a:pt x="644" y="234"/>
                </a:moveTo>
                <a:cubicBezTo>
                  <a:pt x="643" y="235"/>
                  <a:pt x="643" y="234"/>
                  <a:pt x="644" y="234"/>
                </a:cubicBezTo>
                <a:close/>
                <a:moveTo>
                  <a:pt x="643" y="251"/>
                </a:moveTo>
                <a:cubicBezTo>
                  <a:pt x="643" y="252"/>
                  <a:pt x="642" y="253"/>
                  <a:pt x="642" y="253"/>
                </a:cubicBezTo>
                <a:cubicBezTo>
                  <a:pt x="642" y="253"/>
                  <a:pt x="642" y="251"/>
                  <a:pt x="643" y="251"/>
                </a:cubicBezTo>
                <a:close/>
                <a:moveTo>
                  <a:pt x="645" y="254"/>
                </a:moveTo>
                <a:cubicBezTo>
                  <a:pt x="643" y="257"/>
                  <a:pt x="641" y="258"/>
                  <a:pt x="638" y="260"/>
                </a:cubicBezTo>
                <a:cubicBezTo>
                  <a:pt x="640" y="258"/>
                  <a:pt x="642" y="256"/>
                  <a:pt x="645" y="254"/>
                </a:cubicBezTo>
                <a:close/>
                <a:moveTo>
                  <a:pt x="640" y="225"/>
                </a:moveTo>
                <a:cubicBezTo>
                  <a:pt x="640" y="225"/>
                  <a:pt x="640" y="225"/>
                  <a:pt x="640" y="225"/>
                </a:cubicBezTo>
                <a:cubicBezTo>
                  <a:pt x="640" y="225"/>
                  <a:pt x="640" y="225"/>
                  <a:pt x="640" y="226"/>
                </a:cubicBezTo>
                <a:cubicBezTo>
                  <a:pt x="640" y="226"/>
                  <a:pt x="640" y="226"/>
                  <a:pt x="640" y="225"/>
                </a:cubicBezTo>
                <a:close/>
                <a:moveTo>
                  <a:pt x="640" y="241"/>
                </a:moveTo>
                <a:cubicBezTo>
                  <a:pt x="641" y="243"/>
                  <a:pt x="638" y="244"/>
                  <a:pt x="638" y="242"/>
                </a:cubicBezTo>
                <a:cubicBezTo>
                  <a:pt x="637" y="241"/>
                  <a:pt x="640" y="239"/>
                  <a:pt x="640" y="241"/>
                </a:cubicBezTo>
                <a:close/>
                <a:moveTo>
                  <a:pt x="638" y="290"/>
                </a:moveTo>
                <a:cubicBezTo>
                  <a:pt x="639" y="291"/>
                  <a:pt x="635" y="292"/>
                  <a:pt x="636" y="290"/>
                </a:cubicBezTo>
                <a:cubicBezTo>
                  <a:pt x="637" y="289"/>
                  <a:pt x="637" y="289"/>
                  <a:pt x="638" y="290"/>
                </a:cubicBezTo>
                <a:close/>
                <a:moveTo>
                  <a:pt x="637" y="302"/>
                </a:move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lose/>
                <a:moveTo>
                  <a:pt x="632" y="265"/>
                </a:moveTo>
                <a:cubicBezTo>
                  <a:pt x="633" y="264"/>
                  <a:pt x="635" y="262"/>
                  <a:pt x="636" y="262"/>
                </a:cubicBezTo>
                <a:cubicBezTo>
                  <a:pt x="636" y="262"/>
                  <a:pt x="634" y="265"/>
                  <a:pt x="632" y="265"/>
                </a:cubicBezTo>
                <a:close/>
                <a:moveTo>
                  <a:pt x="637" y="219"/>
                </a:moveTo>
                <a:cubicBezTo>
                  <a:pt x="637" y="221"/>
                  <a:pt x="634" y="221"/>
                  <a:pt x="634" y="219"/>
                </a:cubicBezTo>
                <a:cubicBezTo>
                  <a:pt x="634" y="218"/>
                  <a:pt x="636" y="217"/>
                  <a:pt x="637" y="219"/>
                </a:cubicBezTo>
                <a:close/>
                <a:moveTo>
                  <a:pt x="633" y="221"/>
                </a:moveTo>
                <a:cubicBezTo>
                  <a:pt x="633" y="221"/>
                  <a:pt x="635" y="221"/>
                  <a:pt x="634" y="222"/>
                </a:cubicBezTo>
                <a:cubicBezTo>
                  <a:pt x="634" y="222"/>
                  <a:pt x="632" y="222"/>
                  <a:pt x="633" y="221"/>
                </a:cubicBezTo>
                <a:close/>
                <a:moveTo>
                  <a:pt x="633" y="253"/>
                </a:moveTo>
                <a:cubicBezTo>
                  <a:pt x="633" y="254"/>
                  <a:pt x="632" y="254"/>
                  <a:pt x="631" y="254"/>
                </a:cubicBezTo>
                <a:cubicBezTo>
                  <a:pt x="631" y="253"/>
                  <a:pt x="632" y="252"/>
                  <a:pt x="633" y="253"/>
                </a:cubicBezTo>
                <a:close/>
                <a:moveTo>
                  <a:pt x="630" y="260"/>
                </a:moveTo>
                <a:cubicBezTo>
                  <a:pt x="630" y="260"/>
                  <a:pt x="630" y="260"/>
                  <a:pt x="630" y="261"/>
                </a:cubicBezTo>
                <a:cubicBezTo>
                  <a:pt x="630" y="261"/>
                  <a:pt x="630" y="261"/>
                  <a:pt x="630" y="261"/>
                </a:cubicBezTo>
                <a:cubicBezTo>
                  <a:pt x="630" y="261"/>
                  <a:pt x="630" y="260"/>
                  <a:pt x="630" y="260"/>
                </a:cubicBezTo>
                <a:close/>
                <a:moveTo>
                  <a:pt x="632" y="277"/>
                </a:moveTo>
                <a:cubicBezTo>
                  <a:pt x="634" y="279"/>
                  <a:pt x="631" y="281"/>
                  <a:pt x="629" y="281"/>
                </a:cubicBezTo>
                <a:cubicBezTo>
                  <a:pt x="629" y="280"/>
                  <a:pt x="631" y="277"/>
                  <a:pt x="632" y="277"/>
                </a:cubicBezTo>
                <a:close/>
                <a:moveTo>
                  <a:pt x="632" y="347"/>
                </a:moveTo>
                <a:cubicBezTo>
                  <a:pt x="632" y="347"/>
                  <a:pt x="632" y="346"/>
                  <a:pt x="632" y="346"/>
                </a:cubicBezTo>
                <a:cubicBezTo>
                  <a:pt x="633" y="344"/>
                  <a:pt x="632" y="348"/>
                  <a:pt x="632" y="347"/>
                </a:cubicBezTo>
                <a:close/>
                <a:moveTo>
                  <a:pt x="630" y="294"/>
                </a:moveTo>
                <a:cubicBezTo>
                  <a:pt x="630" y="295"/>
                  <a:pt x="629" y="295"/>
                  <a:pt x="629" y="295"/>
                </a:cubicBezTo>
                <a:cubicBezTo>
                  <a:pt x="629" y="295"/>
                  <a:pt x="629" y="294"/>
                  <a:pt x="630" y="294"/>
                </a:cubicBezTo>
                <a:close/>
                <a:moveTo>
                  <a:pt x="627" y="314"/>
                </a:moveTo>
                <a:cubicBezTo>
                  <a:pt x="627" y="314"/>
                  <a:pt x="628" y="314"/>
                  <a:pt x="628" y="314"/>
                </a:cubicBezTo>
                <a:cubicBezTo>
                  <a:pt x="629" y="315"/>
                  <a:pt x="627" y="315"/>
                  <a:pt x="627" y="314"/>
                </a:cubicBezTo>
                <a:close/>
                <a:moveTo>
                  <a:pt x="628" y="256"/>
                </a:moveTo>
                <a:cubicBezTo>
                  <a:pt x="628" y="254"/>
                  <a:pt x="627" y="257"/>
                  <a:pt x="628" y="256"/>
                </a:cubicBezTo>
                <a:close/>
                <a:moveTo>
                  <a:pt x="626" y="201"/>
                </a:moveTo>
                <a:cubicBezTo>
                  <a:pt x="624" y="200"/>
                  <a:pt x="625" y="198"/>
                  <a:pt x="626" y="198"/>
                </a:cubicBezTo>
                <a:cubicBezTo>
                  <a:pt x="629" y="196"/>
                  <a:pt x="628" y="201"/>
                  <a:pt x="626" y="201"/>
                </a:cubicBezTo>
                <a:close/>
                <a:moveTo>
                  <a:pt x="625" y="187"/>
                </a:moveTo>
                <a:cubicBezTo>
                  <a:pt x="625" y="186"/>
                  <a:pt x="626" y="186"/>
                  <a:pt x="626" y="186"/>
                </a:cubicBezTo>
                <a:cubicBezTo>
                  <a:pt x="627" y="187"/>
                  <a:pt x="624" y="188"/>
                  <a:pt x="625" y="187"/>
                </a:cubicBezTo>
                <a:close/>
                <a:moveTo>
                  <a:pt x="622" y="226"/>
                </a:moveTo>
                <a:cubicBezTo>
                  <a:pt x="617" y="226"/>
                  <a:pt x="619" y="218"/>
                  <a:pt x="621" y="217"/>
                </a:cubicBezTo>
                <a:cubicBezTo>
                  <a:pt x="629" y="212"/>
                  <a:pt x="628" y="227"/>
                  <a:pt x="622" y="226"/>
                </a:cubicBezTo>
                <a:close/>
                <a:moveTo>
                  <a:pt x="619" y="233"/>
                </a:moveTo>
                <a:cubicBezTo>
                  <a:pt x="618" y="232"/>
                  <a:pt x="623" y="228"/>
                  <a:pt x="624" y="228"/>
                </a:cubicBezTo>
                <a:cubicBezTo>
                  <a:pt x="628" y="226"/>
                  <a:pt x="620" y="234"/>
                  <a:pt x="619" y="233"/>
                </a:cubicBezTo>
                <a:close/>
                <a:moveTo>
                  <a:pt x="625" y="235"/>
                </a:moveTo>
                <a:cubicBezTo>
                  <a:pt x="625" y="236"/>
                  <a:pt x="623" y="237"/>
                  <a:pt x="623" y="236"/>
                </a:cubicBezTo>
                <a:cubicBezTo>
                  <a:pt x="622" y="235"/>
                  <a:pt x="624" y="234"/>
                  <a:pt x="625" y="235"/>
                </a:cubicBezTo>
                <a:close/>
                <a:moveTo>
                  <a:pt x="622" y="357"/>
                </a:move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lose/>
                <a:moveTo>
                  <a:pt x="608" y="328"/>
                </a:moveTo>
                <a:cubicBezTo>
                  <a:pt x="608" y="327"/>
                  <a:pt x="611" y="326"/>
                  <a:pt x="612" y="324"/>
                </a:cubicBezTo>
                <a:cubicBezTo>
                  <a:pt x="615" y="321"/>
                  <a:pt x="617" y="315"/>
                  <a:pt x="621" y="313"/>
                </a:cubicBezTo>
                <a:cubicBezTo>
                  <a:pt x="621" y="317"/>
                  <a:pt x="615" y="319"/>
                  <a:pt x="614" y="322"/>
                </a:cubicBezTo>
                <a:cubicBezTo>
                  <a:pt x="613" y="324"/>
                  <a:pt x="610" y="329"/>
                  <a:pt x="607" y="331"/>
                </a:cubicBezTo>
                <a:cubicBezTo>
                  <a:pt x="607" y="331"/>
                  <a:pt x="607" y="333"/>
                  <a:pt x="606" y="332"/>
                </a:cubicBezTo>
                <a:cubicBezTo>
                  <a:pt x="605" y="331"/>
                  <a:pt x="608" y="328"/>
                  <a:pt x="608" y="328"/>
                </a:cubicBezTo>
                <a:close/>
                <a:moveTo>
                  <a:pt x="605" y="271"/>
                </a:moveTo>
                <a:cubicBezTo>
                  <a:pt x="604" y="270"/>
                  <a:pt x="605" y="269"/>
                  <a:pt x="605" y="269"/>
                </a:cubicBezTo>
                <a:cubicBezTo>
                  <a:pt x="608" y="267"/>
                  <a:pt x="606" y="272"/>
                  <a:pt x="605" y="271"/>
                </a:cubicBezTo>
                <a:close/>
                <a:moveTo>
                  <a:pt x="609" y="243"/>
                </a:moveTo>
                <a:cubicBezTo>
                  <a:pt x="608" y="242"/>
                  <a:pt x="610" y="241"/>
                  <a:pt x="611" y="243"/>
                </a:cubicBezTo>
                <a:cubicBezTo>
                  <a:pt x="611" y="244"/>
                  <a:pt x="609" y="244"/>
                  <a:pt x="609" y="243"/>
                </a:cubicBezTo>
                <a:close/>
                <a:moveTo>
                  <a:pt x="611" y="305"/>
                </a:moveTo>
                <a:cubicBezTo>
                  <a:pt x="610" y="306"/>
                  <a:pt x="611" y="304"/>
                  <a:pt x="611" y="305"/>
                </a:cubicBezTo>
                <a:close/>
                <a:moveTo>
                  <a:pt x="613" y="298"/>
                </a:moveTo>
                <a:cubicBezTo>
                  <a:pt x="613" y="298"/>
                  <a:pt x="613" y="298"/>
                  <a:pt x="613" y="298"/>
                </a:cubicBezTo>
                <a:cubicBezTo>
                  <a:pt x="614" y="295"/>
                  <a:pt x="613" y="300"/>
                  <a:pt x="613" y="298"/>
                </a:cubicBezTo>
                <a:close/>
                <a:moveTo>
                  <a:pt x="617" y="261"/>
                </a:moveTo>
                <a:cubicBezTo>
                  <a:pt x="617" y="262"/>
                  <a:pt x="616" y="262"/>
                  <a:pt x="615" y="263"/>
                </a:cubicBezTo>
                <a:cubicBezTo>
                  <a:pt x="615" y="262"/>
                  <a:pt x="616" y="261"/>
                  <a:pt x="617" y="261"/>
                </a:cubicBezTo>
                <a:close/>
                <a:moveTo>
                  <a:pt x="616" y="238"/>
                </a:moveTo>
                <a:cubicBezTo>
                  <a:pt x="616" y="238"/>
                  <a:pt x="616" y="239"/>
                  <a:pt x="615" y="239"/>
                </a:cubicBezTo>
                <a:cubicBezTo>
                  <a:pt x="615" y="238"/>
                  <a:pt x="615" y="238"/>
                  <a:pt x="616" y="238"/>
                </a:cubicBezTo>
                <a:close/>
                <a:moveTo>
                  <a:pt x="618" y="309"/>
                </a:moveTo>
                <a:cubicBezTo>
                  <a:pt x="618" y="309"/>
                  <a:pt x="618" y="308"/>
                  <a:pt x="618" y="308"/>
                </a:cubicBezTo>
                <a:cubicBezTo>
                  <a:pt x="619" y="306"/>
                  <a:pt x="618" y="311"/>
                  <a:pt x="618" y="309"/>
                </a:cubicBezTo>
                <a:close/>
                <a:moveTo>
                  <a:pt x="618" y="295"/>
                </a:moveTo>
                <a:cubicBezTo>
                  <a:pt x="619" y="293"/>
                  <a:pt x="618" y="296"/>
                  <a:pt x="618" y="295"/>
                </a:cubicBezTo>
                <a:close/>
                <a:moveTo>
                  <a:pt x="620" y="301"/>
                </a:moveTo>
                <a:cubicBezTo>
                  <a:pt x="619" y="302"/>
                  <a:pt x="621" y="300"/>
                  <a:pt x="620" y="301"/>
                </a:cubicBezTo>
                <a:close/>
                <a:moveTo>
                  <a:pt x="621" y="333"/>
                </a:moveTo>
                <a:cubicBezTo>
                  <a:pt x="620" y="335"/>
                  <a:pt x="619" y="336"/>
                  <a:pt x="618" y="337"/>
                </a:cubicBezTo>
                <a:cubicBezTo>
                  <a:pt x="619" y="336"/>
                  <a:pt x="620" y="334"/>
                  <a:pt x="621" y="333"/>
                </a:cubicBezTo>
                <a:close/>
                <a:moveTo>
                  <a:pt x="622" y="194"/>
                </a:moveTo>
                <a:cubicBezTo>
                  <a:pt x="621" y="194"/>
                  <a:pt x="622" y="192"/>
                  <a:pt x="623" y="193"/>
                </a:cubicBezTo>
                <a:cubicBezTo>
                  <a:pt x="623" y="194"/>
                  <a:pt x="622" y="195"/>
                  <a:pt x="622" y="194"/>
                </a:cubicBezTo>
                <a:close/>
                <a:moveTo>
                  <a:pt x="619" y="192"/>
                </a:moveTo>
                <a:cubicBezTo>
                  <a:pt x="619" y="192"/>
                  <a:pt x="619" y="192"/>
                  <a:pt x="620" y="191"/>
                </a:cubicBezTo>
                <a:cubicBezTo>
                  <a:pt x="620" y="192"/>
                  <a:pt x="620" y="192"/>
                  <a:pt x="620" y="192"/>
                </a:cubicBezTo>
                <a:cubicBezTo>
                  <a:pt x="621" y="191"/>
                  <a:pt x="622" y="190"/>
                  <a:pt x="623" y="190"/>
                </a:cubicBezTo>
                <a:cubicBezTo>
                  <a:pt x="622" y="192"/>
                  <a:pt x="620" y="193"/>
                  <a:pt x="617" y="194"/>
                </a:cubicBezTo>
                <a:cubicBezTo>
                  <a:pt x="618" y="193"/>
                  <a:pt x="618" y="193"/>
                  <a:pt x="619" y="192"/>
                </a:cubicBezTo>
                <a:close/>
                <a:moveTo>
                  <a:pt x="615" y="194"/>
                </a:moveTo>
                <a:cubicBezTo>
                  <a:pt x="616" y="194"/>
                  <a:pt x="617" y="193"/>
                  <a:pt x="617" y="194"/>
                </a:cubicBezTo>
                <a:cubicBezTo>
                  <a:pt x="618" y="195"/>
                  <a:pt x="613" y="196"/>
                  <a:pt x="615" y="194"/>
                </a:cubicBezTo>
                <a:close/>
                <a:moveTo>
                  <a:pt x="612" y="214"/>
                </a:moveTo>
                <a:cubicBezTo>
                  <a:pt x="613" y="215"/>
                  <a:pt x="612" y="215"/>
                  <a:pt x="611" y="214"/>
                </a:cubicBezTo>
                <a:cubicBezTo>
                  <a:pt x="611" y="214"/>
                  <a:pt x="612" y="213"/>
                  <a:pt x="612" y="214"/>
                </a:cubicBezTo>
                <a:close/>
                <a:moveTo>
                  <a:pt x="609" y="203"/>
                </a:moveTo>
                <a:cubicBezTo>
                  <a:pt x="611" y="201"/>
                  <a:pt x="611" y="205"/>
                  <a:pt x="609" y="205"/>
                </a:cubicBezTo>
                <a:cubicBezTo>
                  <a:pt x="609" y="204"/>
                  <a:pt x="609" y="204"/>
                  <a:pt x="609" y="203"/>
                </a:cubicBezTo>
                <a:close/>
                <a:moveTo>
                  <a:pt x="609" y="219"/>
                </a:moveTo>
                <a:cubicBezTo>
                  <a:pt x="612" y="218"/>
                  <a:pt x="616" y="215"/>
                  <a:pt x="620" y="214"/>
                </a:cubicBezTo>
                <a:cubicBezTo>
                  <a:pt x="617" y="216"/>
                  <a:pt x="611" y="220"/>
                  <a:pt x="608" y="221"/>
                </a:cubicBezTo>
                <a:cubicBezTo>
                  <a:pt x="609" y="221"/>
                  <a:pt x="607" y="222"/>
                  <a:pt x="607" y="221"/>
                </a:cubicBezTo>
                <a:cubicBezTo>
                  <a:pt x="606" y="220"/>
                  <a:pt x="609" y="220"/>
                  <a:pt x="609" y="219"/>
                </a:cubicBezTo>
                <a:close/>
                <a:moveTo>
                  <a:pt x="610" y="253"/>
                </a:moveTo>
                <a:cubicBezTo>
                  <a:pt x="610" y="255"/>
                  <a:pt x="605" y="256"/>
                  <a:pt x="605" y="255"/>
                </a:cubicBezTo>
                <a:cubicBezTo>
                  <a:pt x="604" y="252"/>
                  <a:pt x="610" y="249"/>
                  <a:pt x="610" y="253"/>
                </a:cubicBezTo>
                <a:close/>
                <a:moveTo>
                  <a:pt x="602" y="194"/>
                </a:moveTo>
                <a:cubicBezTo>
                  <a:pt x="602" y="194"/>
                  <a:pt x="603" y="194"/>
                  <a:pt x="603" y="194"/>
                </a:cubicBezTo>
                <a:cubicBezTo>
                  <a:pt x="604" y="196"/>
                  <a:pt x="601" y="196"/>
                  <a:pt x="602" y="194"/>
                </a:cubicBezTo>
                <a:close/>
                <a:moveTo>
                  <a:pt x="604" y="256"/>
                </a:moveTo>
                <a:cubicBezTo>
                  <a:pt x="604" y="257"/>
                  <a:pt x="606" y="258"/>
                  <a:pt x="606" y="259"/>
                </a:cubicBezTo>
                <a:cubicBezTo>
                  <a:pt x="605" y="261"/>
                  <a:pt x="604" y="259"/>
                  <a:pt x="603" y="260"/>
                </a:cubicBezTo>
                <a:cubicBezTo>
                  <a:pt x="601" y="262"/>
                  <a:pt x="602" y="267"/>
                  <a:pt x="600" y="270"/>
                </a:cubicBezTo>
                <a:cubicBezTo>
                  <a:pt x="600" y="265"/>
                  <a:pt x="602" y="261"/>
                  <a:pt x="604" y="256"/>
                </a:cubicBezTo>
                <a:close/>
                <a:moveTo>
                  <a:pt x="600" y="272"/>
                </a:moveTo>
                <a:cubicBezTo>
                  <a:pt x="600" y="271"/>
                  <a:pt x="602" y="269"/>
                  <a:pt x="603" y="271"/>
                </a:cubicBezTo>
                <a:cubicBezTo>
                  <a:pt x="603" y="273"/>
                  <a:pt x="601" y="273"/>
                  <a:pt x="600" y="272"/>
                </a:cubicBezTo>
                <a:close/>
                <a:moveTo>
                  <a:pt x="601" y="310"/>
                </a:moveTo>
                <a:cubicBezTo>
                  <a:pt x="600" y="310"/>
                  <a:pt x="601" y="310"/>
                  <a:pt x="601" y="310"/>
                </a:cubicBezTo>
                <a:cubicBezTo>
                  <a:pt x="602" y="310"/>
                  <a:pt x="601" y="310"/>
                  <a:pt x="601" y="310"/>
                </a:cubicBezTo>
                <a:close/>
                <a:moveTo>
                  <a:pt x="602" y="303"/>
                </a:moveTo>
                <a:cubicBezTo>
                  <a:pt x="602" y="302"/>
                  <a:pt x="603" y="302"/>
                  <a:pt x="603" y="302"/>
                </a:cubicBezTo>
                <a:cubicBezTo>
                  <a:pt x="604" y="302"/>
                  <a:pt x="602" y="304"/>
                  <a:pt x="602" y="303"/>
                </a:cubicBezTo>
                <a:close/>
                <a:moveTo>
                  <a:pt x="607" y="416"/>
                </a:moveTo>
                <a:cubicBezTo>
                  <a:pt x="607" y="415"/>
                  <a:pt x="607" y="415"/>
                  <a:pt x="608" y="414"/>
                </a:cubicBezTo>
                <a:cubicBezTo>
                  <a:pt x="607" y="415"/>
                  <a:pt x="607" y="416"/>
                  <a:pt x="607" y="416"/>
                </a:cubicBezTo>
                <a:close/>
                <a:moveTo>
                  <a:pt x="608" y="393"/>
                </a:moveTo>
                <a:cubicBezTo>
                  <a:pt x="608" y="392"/>
                  <a:pt x="609" y="391"/>
                  <a:pt x="610" y="390"/>
                </a:cubicBezTo>
                <a:cubicBezTo>
                  <a:pt x="610" y="390"/>
                  <a:pt x="609" y="392"/>
                  <a:pt x="608" y="393"/>
                </a:cubicBezTo>
                <a:close/>
                <a:moveTo>
                  <a:pt x="600" y="353"/>
                </a:moveTo>
                <a:cubicBezTo>
                  <a:pt x="601" y="350"/>
                  <a:pt x="607" y="346"/>
                  <a:pt x="610" y="343"/>
                </a:cubicBezTo>
                <a:cubicBezTo>
                  <a:pt x="608" y="347"/>
                  <a:pt x="603" y="350"/>
                  <a:pt x="600" y="353"/>
                </a:cubicBezTo>
                <a:close/>
                <a:moveTo>
                  <a:pt x="611" y="388"/>
                </a:moveTo>
                <a:cubicBezTo>
                  <a:pt x="610" y="388"/>
                  <a:pt x="612" y="387"/>
                  <a:pt x="611" y="388"/>
                </a:cubicBezTo>
                <a:close/>
                <a:moveTo>
                  <a:pt x="612" y="387"/>
                </a:moveTo>
                <a:cubicBezTo>
                  <a:pt x="612" y="386"/>
                  <a:pt x="612" y="386"/>
                  <a:pt x="613" y="385"/>
                </a:cubicBezTo>
                <a:cubicBezTo>
                  <a:pt x="613" y="386"/>
                  <a:pt x="612" y="387"/>
                  <a:pt x="612" y="387"/>
                </a:cubicBezTo>
                <a:close/>
                <a:moveTo>
                  <a:pt x="611" y="344"/>
                </a:moveTo>
                <a:cubicBezTo>
                  <a:pt x="612" y="342"/>
                  <a:pt x="613" y="341"/>
                  <a:pt x="616" y="339"/>
                </a:cubicBezTo>
                <a:cubicBezTo>
                  <a:pt x="614" y="341"/>
                  <a:pt x="613" y="343"/>
                  <a:pt x="611" y="344"/>
                </a:cubicBezTo>
                <a:close/>
                <a:moveTo>
                  <a:pt x="615" y="357"/>
                </a:moveTo>
                <a:cubicBezTo>
                  <a:pt x="615" y="357"/>
                  <a:pt x="616" y="356"/>
                  <a:pt x="617" y="356"/>
                </a:cubicBezTo>
                <a:cubicBezTo>
                  <a:pt x="616" y="357"/>
                  <a:pt x="615" y="357"/>
                  <a:pt x="615" y="357"/>
                </a:cubicBezTo>
                <a:close/>
                <a:moveTo>
                  <a:pt x="617" y="539"/>
                </a:moveTo>
                <a:cubicBezTo>
                  <a:pt x="616" y="539"/>
                  <a:pt x="617" y="537"/>
                  <a:pt x="618" y="537"/>
                </a:cubicBezTo>
                <a:cubicBezTo>
                  <a:pt x="618" y="538"/>
                  <a:pt x="617" y="539"/>
                  <a:pt x="617" y="539"/>
                </a:cubicBezTo>
                <a:close/>
                <a:moveTo>
                  <a:pt x="618" y="445"/>
                </a:moveTo>
                <a:cubicBezTo>
                  <a:pt x="617" y="445"/>
                  <a:pt x="618" y="443"/>
                  <a:pt x="618" y="443"/>
                </a:cubicBezTo>
                <a:cubicBezTo>
                  <a:pt x="620" y="441"/>
                  <a:pt x="619" y="446"/>
                  <a:pt x="618" y="445"/>
                </a:cubicBezTo>
                <a:close/>
                <a:moveTo>
                  <a:pt x="619" y="557"/>
                </a:moveTo>
                <a:cubicBezTo>
                  <a:pt x="619" y="557"/>
                  <a:pt x="619" y="556"/>
                  <a:pt x="619" y="557"/>
                </a:cubicBezTo>
                <a:cubicBezTo>
                  <a:pt x="620" y="557"/>
                  <a:pt x="619" y="558"/>
                  <a:pt x="619" y="557"/>
                </a:cubicBezTo>
                <a:close/>
                <a:moveTo>
                  <a:pt x="619" y="347"/>
                </a:moveTo>
                <a:cubicBezTo>
                  <a:pt x="618" y="347"/>
                  <a:pt x="619" y="345"/>
                  <a:pt x="619" y="345"/>
                </a:cubicBezTo>
                <a:cubicBezTo>
                  <a:pt x="621" y="342"/>
                  <a:pt x="620" y="348"/>
                  <a:pt x="619" y="347"/>
                </a:cubicBezTo>
                <a:close/>
                <a:moveTo>
                  <a:pt x="620" y="435"/>
                </a:moveTo>
                <a:cubicBezTo>
                  <a:pt x="621" y="434"/>
                  <a:pt x="619" y="437"/>
                  <a:pt x="620" y="435"/>
                </a:cubicBezTo>
                <a:close/>
                <a:moveTo>
                  <a:pt x="623" y="526"/>
                </a:moveTo>
                <a:cubicBezTo>
                  <a:pt x="624" y="527"/>
                  <a:pt x="622" y="529"/>
                  <a:pt x="621" y="530"/>
                </a:cubicBezTo>
                <a:cubicBezTo>
                  <a:pt x="621" y="529"/>
                  <a:pt x="623" y="527"/>
                  <a:pt x="623" y="526"/>
                </a:cubicBezTo>
                <a:close/>
                <a:moveTo>
                  <a:pt x="622" y="561"/>
                </a:moveTo>
                <a:cubicBezTo>
                  <a:pt x="621" y="560"/>
                  <a:pt x="622" y="558"/>
                  <a:pt x="622" y="558"/>
                </a:cubicBezTo>
                <a:cubicBezTo>
                  <a:pt x="625" y="555"/>
                  <a:pt x="624" y="562"/>
                  <a:pt x="622" y="561"/>
                </a:cubicBezTo>
                <a:close/>
                <a:moveTo>
                  <a:pt x="624" y="492"/>
                </a:moveTo>
                <a:cubicBezTo>
                  <a:pt x="624" y="490"/>
                  <a:pt x="623" y="493"/>
                  <a:pt x="624" y="492"/>
                </a:cubicBezTo>
                <a:close/>
                <a:moveTo>
                  <a:pt x="625" y="381"/>
                </a:moveTo>
                <a:cubicBezTo>
                  <a:pt x="625" y="381"/>
                  <a:pt x="624" y="381"/>
                  <a:pt x="624" y="381"/>
                </a:cubicBezTo>
                <a:cubicBezTo>
                  <a:pt x="625" y="379"/>
                  <a:pt x="626" y="381"/>
                  <a:pt x="625" y="381"/>
                </a:cubicBezTo>
                <a:close/>
                <a:moveTo>
                  <a:pt x="624" y="254"/>
                </a:moveTo>
                <a:cubicBezTo>
                  <a:pt x="624" y="254"/>
                  <a:pt x="625" y="253"/>
                  <a:pt x="625" y="253"/>
                </a:cubicBezTo>
                <a:cubicBezTo>
                  <a:pt x="626" y="252"/>
                  <a:pt x="625" y="255"/>
                  <a:pt x="624" y="254"/>
                </a:cubicBezTo>
                <a:close/>
                <a:moveTo>
                  <a:pt x="626" y="488"/>
                </a:moveTo>
                <a:cubicBezTo>
                  <a:pt x="626" y="488"/>
                  <a:pt x="627" y="486"/>
                  <a:pt x="627" y="486"/>
                </a:cubicBezTo>
                <a:cubicBezTo>
                  <a:pt x="627" y="487"/>
                  <a:pt x="626" y="487"/>
                  <a:pt x="626" y="488"/>
                </a:cubicBezTo>
                <a:close/>
                <a:moveTo>
                  <a:pt x="628" y="522"/>
                </a:moveTo>
                <a:cubicBezTo>
                  <a:pt x="626" y="521"/>
                  <a:pt x="628" y="521"/>
                  <a:pt x="628" y="522"/>
                </a:cubicBezTo>
                <a:close/>
                <a:moveTo>
                  <a:pt x="633" y="526"/>
                </a:moveTo>
                <a:cubicBezTo>
                  <a:pt x="634" y="528"/>
                  <a:pt x="631" y="529"/>
                  <a:pt x="633" y="526"/>
                </a:cubicBezTo>
                <a:close/>
                <a:moveTo>
                  <a:pt x="628" y="417"/>
                </a:moveTo>
                <a:cubicBezTo>
                  <a:pt x="630" y="415"/>
                  <a:pt x="631" y="410"/>
                  <a:pt x="634" y="409"/>
                </a:cubicBezTo>
                <a:cubicBezTo>
                  <a:pt x="633" y="409"/>
                  <a:pt x="631" y="417"/>
                  <a:pt x="628" y="417"/>
                </a:cubicBezTo>
                <a:close/>
                <a:moveTo>
                  <a:pt x="633" y="310"/>
                </a:moveTo>
                <a:cubicBezTo>
                  <a:pt x="632" y="309"/>
                  <a:pt x="634" y="305"/>
                  <a:pt x="634" y="305"/>
                </a:cubicBezTo>
                <a:cubicBezTo>
                  <a:pt x="638" y="302"/>
                  <a:pt x="636" y="311"/>
                  <a:pt x="633" y="310"/>
                </a:cubicBezTo>
                <a:close/>
                <a:moveTo>
                  <a:pt x="637" y="496"/>
                </a:moveTo>
                <a:cubicBezTo>
                  <a:pt x="636" y="497"/>
                  <a:pt x="637" y="495"/>
                  <a:pt x="637" y="496"/>
                </a:cubicBezTo>
                <a:close/>
                <a:moveTo>
                  <a:pt x="637" y="495"/>
                </a:moveTo>
                <a:cubicBezTo>
                  <a:pt x="635" y="495"/>
                  <a:pt x="637" y="490"/>
                  <a:pt x="638" y="490"/>
                </a:cubicBezTo>
                <a:cubicBezTo>
                  <a:pt x="640" y="489"/>
                  <a:pt x="639" y="496"/>
                  <a:pt x="637" y="495"/>
                </a:cubicBezTo>
                <a:close/>
                <a:moveTo>
                  <a:pt x="638" y="424"/>
                </a:move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lose/>
                <a:moveTo>
                  <a:pt x="634" y="368"/>
                </a:moveTo>
                <a:cubicBezTo>
                  <a:pt x="637" y="365"/>
                  <a:pt x="639" y="361"/>
                  <a:pt x="643" y="358"/>
                </a:cubicBezTo>
                <a:cubicBezTo>
                  <a:pt x="641" y="362"/>
                  <a:pt x="638" y="365"/>
                  <a:pt x="634" y="368"/>
                </a:cubicBezTo>
                <a:close/>
                <a:moveTo>
                  <a:pt x="641" y="395"/>
                </a:moveTo>
                <a:cubicBezTo>
                  <a:pt x="641" y="395"/>
                  <a:pt x="641" y="395"/>
                  <a:pt x="641" y="395"/>
                </a:cubicBezTo>
                <a:cubicBezTo>
                  <a:pt x="641" y="395"/>
                  <a:pt x="641" y="394"/>
                  <a:pt x="641" y="395"/>
                </a:cubicBezTo>
                <a:close/>
                <a:moveTo>
                  <a:pt x="640" y="430"/>
                </a:moveTo>
                <a:cubicBezTo>
                  <a:pt x="640" y="430"/>
                  <a:pt x="640" y="428"/>
                  <a:pt x="642" y="428"/>
                </a:cubicBezTo>
                <a:cubicBezTo>
                  <a:pt x="643" y="427"/>
                  <a:pt x="644" y="427"/>
                  <a:pt x="645" y="428"/>
                </a:cubicBezTo>
                <a:cubicBezTo>
                  <a:pt x="648" y="432"/>
                  <a:pt x="641" y="434"/>
                  <a:pt x="640" y="430"/>
                </a:cubicBezTo>
                <a:close/>
                <a:moveTo>
                  <a:pt x="645" y="387"/>
                </a:moveTo>
                <a:cubicBezTo>
                  <a:pt x="645" y="386"/>
                  <a:pt x="645" y="385"/>
                  <a:pt x="646" y="385"/>
                </a:cubicBezTo>
                <a:cubicBezTo>
                  <a:pt x="646" y="386"/>
                  <a:pt x="646" y="386"/>
                  <a:pt x="645" y="387"/>
                </a:cubicBezTo>
                <a:close/>
                <a:moveTo>
                  <a:pt x="647" y="552"/>
                </a:moveTo>
                <a:cubicBezTo>
                  <a:pt x="646" y="553"/>
                  <a:pt x="648" y="551"/>
                  <a:pt x="647" y="552"/>
                </a:cubicBezTo>
                <a:close/>
                <a:moveTo>
                  <a:pt x="647" y="429"/>
                </a:moveTo>
                <a:cubicBezTo>
                  <a:pt x="648" y="428"/>
                  <a:pt x="645" y="431"/>
                  <a:pt x="647" y="429"/>
                </a:cubicBezTo>
                <a:close/>
                <a:moveTo>
                  <a:pt x="646" y="388"/>
                </a:moveTo>
                <a:cubicBezTo>
                  <a:pt x="646" y="387"/>
                  <a:pt x="647" y="386"/>
                  <a:pt x="647" y="385"/>
                </a:cubicBezTo>
                <a:cubicBezTo>
                  <a:pt x="647" y="386"/>
                  <a:pt x="647" y="387"/>
                  <a:pt x="646" y="388"/>
                </a:cubicBezTo>
                <a:close/>
                <a:moveTo>
                  <a:pt x="646" y="385"/>
                </a:moveTo>
                <a:cubicBezTo>
                  <a:pt x="647" y="384"/>
                  <a:pt x="647" y="383"/>
                  <a:pt x="648" y="383"/>
                </a:cubicBezTo>
                <a:cubicBezTo>
                  <a:pt x="648" y="384"/>
                  <a:pt x="647" y="384"/>
                  <a:pt x="646" y="385"/>
                </a:cubicBezTo>
                <a:close/>
                <a:moveTo>
                  <a:pt x="647" y="345"/>
                </a:moveTo>
                <a:cubicBezTo>
                  <a:pt x="646" y="345"/>
                  <a:pt x="647" y="344"/>
                  <a:pt x="647" y="344"/>
                </a:cubicBezTo>
                <a:cubicBezTo>
                  <a:pt x="648" y="342"/>
                  <a:pt x="648" y="345"/>
                  <a:pt x="647" y="345"/>
                </a:cubicBezTo>
                <a:close/>
                <a:moveTo>
                  <a:pt x="648" y="529"/>
                </a:moveTo>
                <a:cubicBezTo>
                  <a:pt x="647" y="529"/>
                  <a:pt x="648" y="528"/>
                  <a:pt x="648" y="528"/>
                </a:cubicBezTo>
                <a:cubicBezTo>
                  <a:pt x="649" y="528"/>
                  <a:pt x="648" y="529"/>
                  <a:pt x="648" y="529"/>
                </a:cubicBezTo>
                <a:close/>
                <a:moveTo>
                  <a:pt x="648" y="382"/>
                </a:moveTo>
                <a:cubicBezTo>
                  <a:pt x="649" y="381"/>
                  <a:pt x="647" y="383"/>
                  <a:pt x="648" y="382"/>
                </a:cubicBezTo>
                <a:close/>
                <a:moveTo>
                  <a:pt x="650" y="335"/>
                </a:moveTo>
                <a:cubicBezTo>
                  <a:pt x="647" y="337"/>
                  <a:pt x="652" y="333"/>
                  <a:pt x="650" y="335"/>
                </a:cubicBezTo>
                <a:close/>
                <a:moveTo>
                  <a:pt x="651" y="357"/>
                </a:moveTo>
                <a:cubicBezTo>
                  <a:pt x="651" y="355"/>
                  <a:pt x="650" y="358"/>
                  <a:pt x="651" y="357"/>
                </a:cubicBezTo>
                <a:close/>
                <a:moveTo>
                  <a:pt x="651" y="299"/>
                </a:moveTo>
                <a:cubicBezTo>
                  <a:pt x="649" y="299"/>
                  <a:pt x="651" y="296"/>
                  <a:pt x="652" y="298"/>
                </a:cubicBezTo>
                <a:cubicBezTo>
                  <a:pt x="652" y="298"/>
                  <a:pt x="651" y="299"/>
                  <a:pt x="651" y="299"/>
                </a:cubicBezTo>
                <a:close/>
                <a:moveTo>
                  <a:pt x="651" y="291"/>
                </a:moveTo>
                <a:cubicBezTo>
                  <a:pt x="651" y="291"/>
                  <a:pt x="652" y="291"/>
                  <a:pt x="652" y="291"/>
                </a:cubicBezTo>
                <a:cubicBezTo>
                  <a:pt x="652" y="292"/>
                  <a:pt x="651" y="291"/>
                  <a:pt x="651" y="291"/>
                </a:cubicBezTo>
                <a:close/>
                <a:moveTo>
                  <a:pt x="652" y="333"/>
                </a:moveTo>
                <a:cubicBezTo>
                  <a:pt x="652" y="331"/>
                  <a:pt x="654" y="331"/>
                  <a:pt x="654" y="330"/>
                </a:cubicBezTo>
                <a:cubicBezTo>
                  <a:pt x="654" y="331"/>
                  <a:pt x="653" y="332"/>
                  <a:pt x="652" y="333"/>
                </a:cubicBezTo>
                <a:close/>
                <a:moveTo>
                  <a:pt x="654" y="302"/>
                </a:moveTo>
                <a:cubicBezTo>
                  <a:pt x="655" y="302"/>
                  <a:pt x="654" y="302"/>
                  <a:pt x="654" y="302"/>
                </a:cubicBezTo>
                <a:cubicBezTo>
                  <a:pt x="655" y="304"/>
                  <a:pt x="652" y="302"/>
                  <a:pt x="654" y="302"/>
                </a:cubicBezTo>
                <a:close/>
                <a:moveTo>
                  <a:pt x="654" y="370"/>
                </a:moveTo>
                <a:cubicBezTo>
                  <a:pt x="654" y="369"/>
                  <a:pt x="656" y="369"/>
                  <a:pt x="655" y="370"/>
                </a:cubicBezTo>
                <a:cubicBezTo>
                  <a:pt x="655" y="370"/>
                  <a:pt x="654" y="370"/>
                  <a:pt x="654" y="370"/>
                </a:cubicBezTo>
                <a:close/>
                <a:moveTo>
                  <a:pt x="648" y="287"/>
                </a:moveTo>
                <a:cubicBezTo>
                  <a:pt x="651" y="284"/>
                  <a:pt x="653" y="280"/>
                  <a:pt x="658" y="277"/>
                </a:cubicBezTo>
                <a:cubicBezTo>
                  <a:pt x="657" y="281"/>
                  <a:pt x="652" y="285"/>
                  <a:pt x="648" y="287"/>
                </a:cubicBezTo>
                <a:close/>
                <a:moveTo>
                  <a:pt x="657" y="286"/>
                </a:moveTo>
                <a:cubicBezTo>
                  <a:pt x="657" y="285"/>
                  <a:pt x="658" y="285"/>
                  <a:pt x="658" y="285"/>
                </a:cubicBezTo>
                <a:cubicBezTo>
                  <a:pt x="659" y="286"/>
                  <a:pt x="656" y="287"/>
                  <a:pt x="657" y="286"/>
                </a:cubicBezTo>
                <a:close/>
                <a:moveTo>
                  <a:pt x="658" y="318"/>
                </a:moveTo>
                <a:cubicBezTo>
                  <a:pt x="659" y="317"/>
                  <a:pt x="657" y="319"/>
                  <a:pt x="658" y="318"/>
                </a:cubicBezTo>
                <a:close/>
                <a:moveTo>
                  <a:pt x="658" y="348"/>
                </a:moveTo>
                <a:cubicBezTo>
                  <a:pt x="659" y="347"/>
                  <a:pt x="656" y="349"/>
                  <a:pt x="658" y="348"/>
                </a:cubicBezTo>
                <a:close/>
                <a:moveTo>
                  <a:pt x="658" y="477"/>
                </a:moveTo>
                <a:cubicBezTo>
                  <a:pt x="658" y="476"/>
                  <a:pt x="658" y="476"/>
                  <a:pt x="658" y="476"/>
                </a:cubicBezTo>
                <a:cubicBezTo>
                  <a:pt x="659" y="474"/>
                  <a:pt x="660" y="477"/>
                  <a:pt x="658" y="477"/>
                </a:cubicBezTo>
                <a:close/>
                <a:moveTo>
                  <a:pt x="658" y="376"/>
                </a:moveTo>
                <a:cubicBezTo>
                  <a:pt x="657" y="375"/>
                  <a:pt x="658" y="373"/>
                  <a:pt x="658" y="373"/>
                </a:cubicBezTo>
                <a:cubicBezTo>
                  <a:pt x="661" y="371"/>
                  <a:pt x="661" y="376"/>
                  <a:pt x="658" y="376"/>
                </a:cubicBezTo>
                <a:close/>
                <a:moveTo>
                  <a:pt x="660" y="413"/>
                </a:moveTo>
                <a:cubicBezTo>
                  <a:pt x="660" y="412"/>
                  <a:pt x="661" y="412"/>
                  <a:pt x="660" y="413"/>
                </a:cubicBezTo>
                <a:close/>
                <a:moveTo>
                  <a:pt x="658" y="347"/>
                </a:moveTo>
                <a:cubicBezTo>
                  <a:pt x="659" y="345"/>
                  <a:pt x="660" y="343"/>
                  <a:pt x="662" y="342"/>
                </a:cubicBezTo>
                <a:cubicBezTo>
                  <a:pt x="662" y="342"/>
                  <a:pt x="660" y="346"/>
                  <a:pt x="658" y="347"/>
                </a:cubicBezTo>
                <a:close/>
                <a:moveTo>
                  <a:pt x="663" y="312"/>
                </a:moveTo>
                <a:cubicBezTo>
                  <a:pt x="663" y="312"/>
                  <a:pt x="664" y="313"/>
                  <a:pt x="663" y="313"/>
                </a:cubicBezTo>
                <a:cubicBezTo>
                  <a:pt x="662" y="314"/>
                  <a:pt x="661" y="312"/>
                  <a:pt x="662" y="312"/>
                </a:cubicBezTo>
                <a:cubicBezTo>
                  <a:pt x="662" y="312"/>
                  <a:pt x="662" y="312"/>
                  <a:pt x="662" y="312"/>
                </a:cubicBezTo>
                <a:cubicBezTo>
                  <a:pt x="662" y="311"/>
                  <a:pt x="662" y="311"/>
                  <a:pt x="661" y="311"/>
                </a:cubicBezTo>
                <a:cubicBezTo>
                  <a:pt x="660" y="310"/>
                  <a:pt x="664" y="308"/>
                  <a:pt x="664" y="310"/>
                </a:cubicBezTo>
                <a:cubicBezTo>
                  <a:pt x="664" y="311"/>
                  <a:pt x="664" y="311"/>
                  <a:pt x="663" y="312"/>
                </a:cubicBezTo>
                <a:close/>
                <a:moveTo>
                  <a:pt x="662" y="277"/>
                </a:moveTo>
                <a:cubicBezTo>
                  <a:pt x="661" y="279"/>
                  <a:pt x="662" y="276"/>
                  <a:pt x="662" y="277"/>
                </a:cubicBezTo>
                <a:close/>
                <a:moveTo>
                  <a:pt x="662" y="261"/>
                </a:moveTo>
                <a:cubicBezTo>
                  <a:pt x="662" y="261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ubicBezTo>
                  <a:pt x="662" y="260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lose/>
                <a:moveTo>
                  <a:pt x="664" y="309"/>
                </a:moveTo>
                <a:cubicBezTo>
                  <a:pt x="663" y="309"/>
                  <a:pt x="663" y="308"/>
                  <a:pt x="664" y="308"/>
                </a:cubicBezTo>
                <a:cubicBezTo>
                  <a:pt x="664" y="307"/>
                  <a:pt x="665" y="309"/>
                  <a:pt x="664" y="309"/>
                </a:cubicBezTo>
                <a:close/>
                <a:moveTo>
                  <a:pt x="664" y="258"/>
                </a:moveTo>
                <a:cubicBezTo>
                  <a:pt x="664" y="260"/>
                  <a:pt x="662" y="259"/>
                  <a:pt x="664" y="258"/>
                </a:cubicBezTo>
                <a:close/>
                <a:moveTo>
                  <a:pt x="665" y="262"/>
                </a:moveTo>
                <a:cubicBezTo>
                  <a:pt x="663" y="263"/>
                  <a:pt x="666" y="260"/>
                  <a:pt x="665" y="262"/>
                </a:cubicBezTo>
                <a:close/>
                <a:moveTo>
                  <a:pt x="663" y="233"/>
                </a:moveTo>
                <a:cubicBezTo>
                  <a:pt x="665" y="234"/>
                  <a:pt x="663" y="240"/>
                  <a:pt x="660" y="239"/>
                </a:cubicBezTo>
                <a:cubicBezTo>
                  <a:pt x="657" y="239"/>
                  <a:pt x="659" y="230"/>
                  <a:pt x="663" y="233"/>
                </a:cubicBezTo>
                <a:cubicBezTo>
                  <a:pt x="662" y="232"/>
                  <a:pt x="662" y="229"/>
                  <a:pt x="664" y="230"/>
                </a:cubicBezTo>
                <a:cubicBezTo>
                  <a:pt x="666" y="230"/>
                  <a:pt x="665" y="234"/>
                  <a:pt x="663" y="233"/>
                </a:cubicBezTo>
                <a:close/>
                <a:moveTo>
                  <a:pt x="665" y="341"/>
                </a:moveTo>
                <a:cubicBezTo>
                  <a:pt x="665" y="340"/>
                  <a:pt x="667" y="338"/>
                  <a:pt x="668" y="337"/>
                </a:cubicBezTo>
                <a:cubicBezTo>
                  <a:pt x="667" y="339"/>
                  <a:pt x="667" y="340"/>
                  <a:pt x="665" y="341"/>
                </a:cubicBezTo>
                <a:close/>
                <a:moveTo>
                  <a:pt x="668" y="481"/>
                </a:moveTo>
                <a:cubicBezTo>
                  <a:pt x="668" y="481"/>
                  <a:pt x="668" y="480"/>
                  <a:pt x="668" y="481"/>
                </a:cubicBezTo>
                <a:cubicBezTo>
                  <a:pt x="669" y="481"/>
                  <a:pt x="668" y="482"/>
                  <a:pt x="668" y="481"/>
                </a:cubicBezTo>
                <a:close/>
                <a:moveTo>
                  <a:pt x="671" y="391"/>
                </a:moveTo>
                <a:cubicBezTo>
                  <a:pt x="671" y="390"/>
                  <a:pt x="672" y="389"/>
                  <a:pt x="672" y="388"/>
                </a:cubicBezTo>
                <a:cubicBezTo>
                  <a:pt x="673" y="389"/>
                  <a:pt x="672" y="391"/>
                  <a:pt x="671" y="391"/>
                </a:cubicBezTo>
                <a:close/>
                <a:moveTo>
                  <a:pt x="673" y="387"/>
                </a:moveTo>
                <a:cubicBezTo>
                  <a:pt x="673" y="385"/>
                  <a:pt x="675" y="383"/>
                  <a:pt x="675" y="381"/>
                </a:cubicBezTo>
                <a:cubicBezTo>
                  <a:pt x="676" y="383"/>
                  <a:pt x="674" y="385"/>
                  <a:pt x="673" y="387"/>
                </a:cubicBezTo>
                <a:close/>
                <a:moveTo>
                  <a:pt x="683" y="314"/>
                </a:moveTo>
                <a:cubicBezTo>
                  <a:pt x="681" y="318"/>
                  <a:pt x="678" y="322"/>
                  <a:pt x="676" y="326"/>
                </a:cubicBezTo>
                <a:cubicBezTo>
                  <a:pt x="678" y="322"/>
                  <a:pt x="679" y="317"/>
                  <a:pt x="683" y="314"/>
                </a:cubicBezTo>
                <a:close/>
                <a:moveTo>
                  <a:pt x="678" y="432"/>
                </a:moveTo>
                <a:cubicBezTo>
                  <a:pt x="678" y="434"/>
                  <a:pt x="676" y="433"/>
                  <a:pt x="678" y="432"/>
                </a:cubicBezTo>
                <a:close/>
                <a:moveTo>
                  <a:pt x="682" y="426"/>
                </a:moveTo>
                <a:cubicBezTo>
                  <a:pt x="681" y="426"/>
                  <a:pt x="681" y="425"/>
                  <a:pt x="682" y="424"/>
                </a:cubicBezTo>
                <a:cubicBezTo>
                  <a:pt x="683" y="423"/>
                  <a:pt x="684" y="427"/>
                  <a:pt x="682" y="426"/>
                </a:cubicBezTo>
                <a:close/>
                <a:moveTo>
                  <a:pt x="683" y="451"/>
                </a:moveTo>
                <a:cubicBezTo>
                  <a:pt x="683" y="450"/>
                  <a:pt x="685" y="451"/>
                  <a:pt x="683" y="451"/>
                </a:cubicBezTo>
                <a:close/>
                <a:moveTo>
                  <a:pt x="683" y="486"/>
                </a:moveTo>
                <a:cubicBezTo>
                  <a:pt x="684" y="486"/>
                  <a:pt x="682" y="487"/>
                  <a:pt x="683" y="486"/>
                </a:cubicBezTo>
                <a:close/>
                <a:moveTo>
                  <a:pt x="685" y="289"/>
                </a:moveTo>
                <a:cubicBezTo>
                  <a:pt x="686" y="289"/>
                  <a:pt x="684" y="290"/>
                  <a:pt x="684" y="290"/>
                </a:cubicBezTo>
                <a:cubicBezTo>
                  <a:pt x="684" y="290"/>
                  <a:pt x="685" y="290"/>
                  <a:pt x="685" y="289"/>
                </a:cubicBezTo>
                <a:close/>
                <a:moveTo>
                  <a:pt x="685" y="345"/>
                </a:moveTo>
                <a:cubicBezTo>
                  <a:pt x="684" y="344"/>
                  <a:pt x="685" y="344"/>
                  <a:pt x="685" y="343"/>
                </a:cubicBezTo>
                <a:cubicBezTo>
                  <a:pt x="686" y="343"/>
                  <a:pt x="685" y="345"/>
                  <a:pt x="685" y="345"/>
                </a:cubicBezTo>
                <a:close/>
                <a:moveTo>
                  <a:pt x="686" y="342"/>
                </a:moveTo>
                <a:cubicBezTo>
                  <a:pt x="685" y="341"/>
                  <a:pt x="686" y="341"/>
                  <a:pt x="686" y="340"/>
                </a:cubicBezTo>
                <a:cubicBezTo>
                  <a:pt x="687" y="340"/>
                  <a:pt x="686" y="342"/>
                  <a:pt x="686" y="342"/>
                </a:cubicBezTo>
                <a:close/>
                <a:moveTo>
                  <a:pt x="687" y="340"/>
                </a:moveTo>
                <a:cubicBezTo>
                  <a:pt x="686" y="339"/>
                  <a:pt x="687" y="337"/>
                  <a:pt x="688" y="336"/>
                </a:cubicBezTo>
                <a:cubicBezTo>
                  <a:pt x="688" y="337"/>
                  <a:pt x="687" y="339"/>
                  <a:pt x="687" y="340"/>
                </a:cubicBezTo>
                <a:close/>
                <a:moveTo>
                  <a:pt x="688" y="329"/>
                </a:moveTo>
                <a:cubicBezTo>
                  <a:pt x="688" y="329"/>
                  <a:pt x="688" y="329"/>
                  <a:pt x="688" y="329"/>
                </a:cubicBezTo>
                <a:cubicBezTo>
                  <a:pt x="688" y="329"/>
                  <a:pt x="687" y="330"/>
                  <a:pt x="688" y="329"/>
                </a:cubicBezTo>
                <a:close/>
                <a:moveTo>
                  <a:pt x="688" y="284"/>
                </a:moveTo>
                <a:cubicBezTo>
                  <a:pt x="689" y="283"/>
                  <a:pt x="686" y="286"/>
                  <a:pt x="688" y="284"/>
                </a:cubicBezTo>
                <a:close/>
                <a:moveTo>
                  <a:pt x="693" y="290"/>
                </a:moveTo>
                <a:cubicBezTo>
                  <a:pt x="697" y="288"/>
                  <a:pt x="695" y="297"/>
                  <a:pt x="692" y="296"/>
                </a:cubicBezTo>
                <a:cubicBezTo>
                  <a:pt x="690" y="295"/>
                  <a:pt x="692" y="291"/>
                  <a:pt x="693" y="290"/>
                </a:cubicBezTo>
                <a:close/>
                <a:moveTo>
                  <a:pt x="691" y="285"/>
                </a:moveTo>
                <a:cubicBezTo>
                  <a:pt x="691" y="286"/>
                  <a:pt x="692" y="284"/>
                  <a:pt x="691" y="285"/>
                </a:cubicBezTo>
                <a:close/>
                <a:moveTo>
                  <a:pt x="689" y="285"/>
                </a:moveTo>
                <a:cubicBezTo>
                  <a:pt x="690" y="285"/>
                  <a:pt x="690" y="284"/>
                  <a:pt x="691" y="284"/>
                </a:cubicBezTo>
                <a:cubicBezTo>
                  <a:pt x="693" y="285"/>
                  <a:pt x="688" y="288"/>
                  <a:pt x="689" y="285"/>
                </a:cubicBezTo>
                <a:close/>
                <a:moveTo>
                  <a:pt x="689" y="316"/>
                </a:moveTo>
                <a:cubicBezTo>
                  <a:pt x="690" y="317"/>
                  <a:pt x="688" y="316"/>
                  <a:pt x="689" y="316"/>
                </a:cubicBezTo>
                <a:close/>
                <a:moveTo>
                  <a:pt x="689" y="395"/>
                </a:moveTo>
                <a:cubicBezTo>
                  <a:pt x="689" y="395"/>
                  <a:pt x="689" y="394"/>
                  <a:pt x="689" y="394"/>
                </a:cubicBezTo>
                <a:cubicBezTo>
                  <a:pt x="690" y="394"/>
                  <a:pt x="688" y="397"/>
                  <a:pt x="689" y="395"/>
                </a:cubicBezTo>
                <a:close/>
                <a:moveTo>
                  <a:pt x="690" y="404"/>
                </a:moveTo>
                <a:cubicBezTo>
                  <a:pt x="690" y="403"/>
                  <a:pt x="691" y="404"/>
                  <a:pt x="691" y="404"/>
                </a:cubicBezTo>
                <a:cubicBezTo>
                  <a:pt x="691" y="405"/>
                  <a:pt x="689" y="405"/>
                  <a:pt x="690" y="404"/>
                </a:cubicBezTo>
                <a:close/>
                <a:moveTo>
                  <a:pt x="691" y="343"/>
                </a:moveTo>
                <a:cubicBezTo>
                  <a:pt x="691" y="342"/>
                  <a:pt x="691" y="341"/>
                  <a:pt x="691" y="341"/>
                </a:cubicBezTo>
                <a:cubicBezTo>
                  <a:pt x="692" y="340"/>
                  <a:pt x="692" y="343"/>
                  <a:pt x="691" y="343"/>
                </a:cubicBezTo>
                <a:close/>
                <a:moveTo>
                  <a:pt x="692" y="394"/>
                </a:moveTo>
                <a:cubicBezTo>
                  <a:pt x="691" y="395"/>
                  <a:pt x="693" y="393"/>
                  <a:pt x="692" y="394"/>
                </a:cubicBezTo>
                <a:close/>
                <a:moveTo>
                  <a:pt x="692" y="300"/>
                </a:moveTo>
                <a:cubicBezTo>
                  <a:pt x="690" y="300"/>
                  <a:pt x="691" y="299"/>
                  <a:pt x="692" y="298"/>
                </a:cubicBezTo>
                <a:cubicBezTo>
                  <a:pt x="693" y="297"/>
                  <a:pt x="693" y="300"/>
                  <a:pt x="692" y="300"/>
                </a:cubicBezTo>
                <a:close/>
                <a:moveTo>
                  <a:pt x="694" y="330"/>
                </a:moveTo>
                <a:cubicBezTo>
                  <a:pt x="695" y="329"/>
                  <a:pt x="695" y="332"/>
                  <a:pt x="694" y="331"/>
                </a:cubicBezTo>
                <a:cubicBezTo>
                  <a:pt x="693" y="331"/>
                  <a:pt x="694" y="330"/>
                  <a:pt x="694" y="330"/>
                </a:cubicBezTo>
                <a:close/>
                <a:moveTo>
                  <a:pt x="694" y="454"/>
                </a:moveTo>
                <a:cubicBezTo>
                  <a:pt x="694" y="454"/>
                  <a:pt x="694" y="454"/>
                  <a:pt x="695" y="454"/>
                </a:cubicBezTo>
                <a:cubicBezTo>
                  <a:pt x="696" y="454"/>
                  <a:pt x="693" y="455"/>
                  <a:pt x="694" y="454"/>
                </a:cubicBezTo>
                <a:close/>
                <a:moveTo>
                  <a:pt x="696" y="312"/>
                </a:moveTo>
                <a:cubicBezTo>
                  <a:pt x="694" y="313"/>
                  <a:pt x="694" y="308"/>
                  <a:pt x="695" y="307"/>
                </a:cubicBezTo>
                <a:cubicBezTo>
                  <a:pt x="700" y="304"/>
                  <a:pt x="697" y="312"/>
                  <a:pt x="696" y="312"/>
                </a:cubicBezTo>
                <a:close/>
                <a:moveTo>
                  <a:pt x="699" y="327"/>
                </a:moveTo>
                <a:cubicBezTo>
                  <a:pt x="699" y="327"/>
                  <a:pt x="700" y="326"/>
                  <a:pt x="700" y="326"/>
                </a:cubicBezTo>
                <a:cubicBezTo>
                  <a:pt x="702" y="327"/>
                  <a:pt x="698" y="329"/>
                  <a:pt x="699" y="327"/>
                </a:cubicBezTo>
                <a:close/>
                <a:moveTo>
                  <a:pt x="702" y="431"/>
                </a:moveTo>
                <a:cubicBezTo>
                  <a:pt x="702" y="430"/>
                  <a:pt x="704" y="429"/>
                  <a:pt x="704" y="428"/>
                </a:cubicBezTo>
                <a:cubicBezTo>
                  <a:pt x="704" y="429"/>
                  <a:pt x="704" y="431"/>
                  <a:pt x="702" y="431"/>
                </a:cubicBezTo>
                <a:close/>
                <a:moveTo>
                  <a:pt x="704" y="427"/>
                </a:moveTo>
                <a:cubicBezTo>
                  <a:pt x="705" y="425"/>
                  <a:pt x="705" y="423"/>
                  <a:pt x="706" y="421"/>
                </a:cubicBezTo>
                <a:cubicBezTo>
                  <a:pt x="707" y="422"/>
                  <a:pt x="705" y="426"/>
                  <a:pt x="704" y="427"/>
                </a:cubicBezTo>
                <a:close/>
                <a:moveTo>
                  <a:pt x="706" y="392"/>
                </a:moveTo>
                <a:cubicBezTo>
                  <a:pt x="706" y="393"/>
                  <a:pt x="706" y="393"/>
                  <a:pt x="706" y="392"/>
                </a:cubicBezTo>
                <a:close/>
                <a:moveTo>
                  <a:pt x="709" y="396"/>
                </a:moveTo>
                <a:cubicBezTo>
                  <a:pt x="710" y="397"/>
                  <a:pt x="708" y="397"/>
                  <a:pt x="709" y="396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259" name="Freeform 97">
            <a:extLst>
              <a:ext uri="{FF2B5EF4-FFF2-40B4-BE49-F238E27FC236}">
                <a16:creationId xmlns="" xmlns:a16="http://schemas.microsoft.com/office/drawing/2014/main" id="{691F7756-43DF-442A-9C46-4CAE5D9F522A}"/>
              </a:ext>
            </a:extLst>
          </p:cNvPr>
          <p:cNvSpPr>
            <a:spLocks noEditPoints="1"/>
          </p:cNvSpPr>
          <p:nvPr/>
        </p:nvSpPr>
        <p:spPr bwMode="auto">
          <a:xfrm>
            <a:off x="9465509" y="3907810"/>
            <a:ext cx="1604882" cy="1604882"/>
          </a:xfrm>
          <a:custGeom>
            <a:avLst/>
            <a:gdLst>
              <a:gd name="T0" fmla="*/ 677 w 714"/>
              <a:gd name="T1" fmla="*/ 212 h 715"/>
              <a:gd name="T2" fmla="*/ 626 w 714"/>
              <a:gd name="T3" fmla="*/ 179 h 715"/>
              <a:gd name="T4" fmla="*/ 573 w 714"/>
              <a:gd name="T5" fmla="*/ 139 h 715"/>
              <a:gd name="T6" fmla="*/ 553 w 714"/>
              <a:gd name="T7" fmla="*/ 94 h 715"/>
              <a:gd name="T8" fmla="*/ 516 w 714"/>
              <a:gd name="T9" fmla="*/ 53 h 715"/>
              <a:gd name="T10" fmla="*/ 421 w 714"/>
              <a:gd name="T11" fmla="*/ 60 h 715"/>
              <a:gd name="T12" fmla="*/ 429 w 714"/>
              <a:gd name="T13" fmla="*/ 26 h 715"/>
              <a:gd name="T14" fmla="*/ 22 w 714"/>
              <a:gd name="T15" fmla="*/ 436 h 715"/>
              <a:gd name="T16" fmla="*/ 39 w 714"/>
              <a:gd name="T17" fmla="*/ 451 h 715"/>
              <a:gd name="T18" fmla="*/ 60 w 714"/>
              <a:gd name="T19" fmla="*/ 465 h 715"/>
              <a:gd name="T20" fmla="*/ 108 w 714"/>
              <a:gd name="T21" fmla="*/ 446 h 715"/>
              <a:gd name="T22" fmla="*/ 102 w 714"/>
              <a:gd name="T23" fmla="*/ 508 h 715"/>
              <a:gd name="T24" fmla="*/ 146 w 714"/>
              <a:gd name="T25" fmla="*/ 552 h 715"/>
              <a:gd name="T26" fmla="*/ 190 w 714"/>
              <a:gd name="T27" fmla="*/ 596 h 715"/>
              <a:gd name="T28" fmla="*/ 214 w 714"/>
              <a:gd name="T29" fmla="*/ 647 h 715"/>
              <a:gd name="T30" fmla="*/ 296 w 714"/>
              <a:gd name="T31" fmla="*/ 709 h 715"/>
              <a:gd name="T32" fmla="*/ 684 w 714"/>
              <a:gd name="T33" fmla="*/ 227 h 715"/>
              <a:gd name="T34" fmla="*/ 434 w 714"/>
              <a:gd name="T35" fmla="*/ 24 h 715"/>
              <a:gd name="T36" fmla="*/ 9 w 714"/>
              <a:gd name="T37" fmla="*/ 371 h 715"/>
              <a:gd name="T38" fmla="*/ 37 w 714"/>
              <a:gd name="T39" fmla="*/ 344 h 715"/>
              <a:gd name="T40" fmla="*/ 45 w 714"/>
              <a:gd name="T41" fmla="*/ 192 h 715"/>
              <a:gd name="T42" fmla="*/ 64 w 714"/>
              <a:gd name="T43" fmla="*/ 419 h 715"/>
              <a:gd name="T44" fmla="*/ 84 w 714"/>
              <a:gd name="T45" fmla="*/ 332 h 715"/>
              <a:gd name="T46" fmla="*/ 87 w 714"/>
              <a:gd name="T47" fmla="*/ 502 h 715"/>
              <a:gd name="T48" fmla="*/ 234 w 714"/>
              <a:gd name="T49" fmla="*/ 679 h 715"/>
              <a:gd name="T50" fmla="*/ 287 w 714"/>
              <a:gd name="T51" fmla="*/ 641 h 715"/>
              <a:gd name="T52" fmla="*/ 303 w 714"/>
              <a:gd name="T53" fmla="*/ 67 h 715"/>
              <a:gd name="T54" fmla="*/ 270 w 714"/>
              <a:gd name="T55" fmla="*/ 571 h 715"/>
              <a:gd name="T56" fmla="*/ 246 w 714"/>
              <a:gd name="T57" fmla="*/ 640 h 715"/>
              <a:gd name="T58" fmla="*/ 249 w 714"/>
              <a:gd name="T59" fmla="*/ 640 h 715"/>
              <a:gd name="T60" fmla="*/ 227 w 714"/>
              <a:gd name="T61" fmla="*/ 527 h 715"/>
              <a:gd name="T62" fmla="*/ 209 w 714"/>
              <a:gd name="T63" fmla="*/ 468 h 715"/>
              <a:gd name="T64" fmla="*/ 178 w 714"/>
              <a:gd name="T65" fmla="*/ 383 h 715"/>
              <a:gd name="T66" fmla="*/ 165 w 714"/>
              <a:gd name="T67" fmla="*/ 345 h 715"/>
              <a:gd name="T68" fmla="*/ 156 w 714"/>
              <a:gd name="T69" fmla="*/ 435 h 715"/>
              <a:gd name="T70" fmla="*/ 132 w 714"/>
              <a:gd name="T71" fmla="*/ 280 h 715"/>
              <a:gd name="T72" fmla="*/ 123 w 714"/>
              <a:gd name="T73" fmla="*/ 474 h 715"/>
              <a:gd name="T74" fmla="*/ 154 w 714"/>
              <a:gd name="T75" fmla="*/ 484 h 715"/>
              <a:gd name="T76" fmla="*/ 189 w 714"/>
              <a:gd name="T77" fmla="*/ 398 h 715"/>
              <a:gd name="T78" fmla="*/ 235 w 714"/>
              <a:gd name="T79" fmla="*/ 592 h 715"/>
              <a:gd name="T80" fmla="*/ 277 w 714"/>
              <a:gd name="T81" fmla="*/ 700 h 715"/>
              <a:gd name="T82" fmla="*/ 335 w 714"/>
              <a:gd name="T83" fmla="*/ 131 h 715"/>
              <a:gd name="T84" fmla="*/ 522 w 714"/>
              <a:gd name="T85" fmla="*/ 181 h 715"/>
              <a:gd name="T86" fmla="*/ 480 w 714"/>
              <a:gd name="T87" fmla="*/ 95 h 715"/>
              <a:gd name="T88" fmla="*/ 502 w 714"/>
              <a:gd name="T89" fmla="*/ 132 h 715"/>
              <a:gd name="T90" fmla="*/ 509 w 714"/>
              <a:gd name="T91" fmla="*/ 36 h 715"/>
              <a:gd name="T92" fmla="*/ 462 w 714"/>
              <a:gd name="T93" fmla="*/ 49 h 715"/>
              <a:gd name="T94" fmla="*/ 406 w 714"/>
              <a:gd name="T95" fmla="*/ 125 h 715"/>
              <a:gd name="T96" fmla="*/ 372 w 714"/>
              <a:gd name="T97" fmla="*/ 610 h 715"/>
              <a:gd name="T98" fmla="*/ 398 w 714"/>
              <a:gd name="T99" fmla="*/ 679 h 715"/>
              <a:gd name="T100" fmla="*/ 454 w 714"/>
              <a:gd name="T101" fmla="*/ 644 h 715"/>
              <a:gd name="T102" fmla="*/ 469 w 714"/>
              <a:gd name="T103" fmla="*/ 168 h 715"/>
              <a:gd name="T104" fmla="*/ 522 w 714"/>
              <a:gd name="T105" fmla="*/ 285 h 715"/>
              <a:gd name="T106" fmla="*/ 585 w 714"/>
              <a:gd name="T107" fmla="*/ 213 h 715"/>
              <a:gd name="T108" fmla="*/ 544 w 714"/>
              <a:gd name="T109" fmla="*/ 168 h 715"/>
              <a:gd name="T110" fmla="*/ 573 w 714"/>
              <a:gd name="T111" fmla="*/ 236 h 715"/>
              <a:gd name="T112" fmla="*/ 595 w 714"/>
              <a:gd name="T113" fmla="*/ 470 h 715"/>
              <a:gd name="T114" fmla="*/ 651 w 714"/>
              <a:gd name="T115" fmla="*/ 272 h 715"/>
              <a:gd name="T116" fmla="*/ 630 w 714"/>
              <a:gd name="T117" fmla="*/ 261 h 715"/>
              <a:gd name="T118" fmla="*/ 615 w 714"/>
              <a:gd name="T119" fmla="*/ 194 h 715"/>
              <a:gd name="T120" fmla="*/ 625 w 714"/>
              <a:gd name="T121" fmla="*/ 381 h 715"/>
              <a:gd name="T122" fmla="*/ 658 w 714"/>
              <a:gd name="T123" fmla="*/ 277 h 715"/>
              <a:gd name="T124" fmla="*/ 686 w 714"/>
              <a:gd name="T125" fmla="*/ 342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14" h="715">
                <a:moveTo>
                  <a:pt x="710" y="304"/>
                </a:moveTo>
                <a:cubicBezTo>
                  <a:pt x="710" y="305"/>
                  <a:pt x="710" y="305"/>
                  <a:pt x="709" y="305"/>
                </a:cubicBezTo>
                <a:cubicBezTo>
                  <a:pt x="709" y="304"/>
                  <a:pt x="710" y="303"/>
                  <a:pt x="710" y="303"/>
                </a:cubicBezTo>
                <a:cubicBezTo>
                  <a:pt x="710" y="303"/>
                  <a:pt x="710" y="303"/>
                  <a:pt x="710" y="303"/>
                </a:cubicBezTo>
                <a:cubicBezTo>
                  <a:pt x="709" y="297"/>
                  <a:pt x="708" y="292"/>
                  <a:pt x="707" y="286"/>
                </a:cubicBezTo>
                <a:cubicBezTo>
                  <a:pt x="707" y="287"/>
                  <a:pt x="707" y="288"/>
                  <a:pt x="706" y="290"/>
                </a:cubicBezTo>
                <a:cubicBezTo>
                  <a:pt x="706" y="289"/>
                  <a:pt x="707" y="289"/>
                  <a:pt x="707" y="289"/>
                </a:cubicBezTo>
                <a:cubicBezTo>
                  <a:pt x="707" y="290"/>
                  <a:pt x="706" y="290"/>
                  <a:pt x="706" y="290"/>
                </a:cubicBezTo>
                <a:cubicBezTo>
                  <a:pt x="706" y="292"/>
                  <a:pt x="706" y="294"/>
                  <a:pt x="705" y="295"/>
                </a:cubicBezTo>
                <a:cubicBezTo>
                  <a:pt x="703" y="298"/>
                  <a:pt x="703" y="301"/>
                  <a:pt x="703" y="301"/>
                </a:cubicBezTo>
                <a:cubicBezTo>
                  <a:pt x="702" y="302"/>
                  <a:pt x="700" y="300"/>
                  <a:pt x="699" y="300"/>
                </a:cubicBezTo>
                <a:cubicBezTo>
                  <a:pt x="697" y="301"/>
                  <a:pt x="697" y="303"/>
                  <a:pt x="696" y="300"/>
                </a:cubicBezTo>
                <a:cubicBezTo>
                  <a:pt x="696" y="299"/>
                  <a:pt x="696" y="301"/>
                  <a:pt x="695" y="298"/>
                </a:cubicBezTo>
                <a:cubicBezTo>
                  <a:pt x="695" y="297"/>
                  <a:pt x="697" y="291"/>
                  <a:pt x="700" y="292"/>
                </a:cubicBezTo>
                <a:cubicBezTo>
                  <a:pt x="701" y="293"/>
                  <a:pt x="702" y="295"/>
                  <a:pt x="703" y="292"/>
                </a:cubicBezTo>
                <a:cubicBezTo>
                  <a:pt x="703" y="291"/>
                  <a:pt x="703" y="290"/>
                  <a:pt x="703" y="289"/>
                </a:cubicBezTo>
                <a:cubicBezTo>
                  <a:pt x="703" y="287"/>
                  <a:pt x="705" y="284"/>
                  <a:pt x="706" y="282"/>
                </a:cubicBezTo>
                <a:cubicBezTo>
                  <a:pt x="705" y="276"/>
                  <a:pt x="704" y="270"/>
                  <a:pt x="702" y="264"/>
                </a:cubicBezTo>
                <a:cubicBezTo>
                  <a:pt x="701" y="268"/>
                  <a:pt x="695" y="273"/>
                  <a:pt x="691" y="270"/>
                </a:cubicBezTo>
                <a:cubicBezTo>
                  <a:pt x="691" y="271"/>
                  <a:pt x="691" y="270"/>
                  <a:pt x="690" y="270"/>
                </a:cubicBezTo>
                <a:cubicBezTo>
                  <a:pt x="690" y="270"/>
                  <a:pt x="690" y="270"/>
                  <a:pt x="690" y="270"/>
                </a:cubicBezTo>
                <a:cubicBezTo>
                  <a:pt x="690" y="271"/>
                  <a:pt x="690" y="270"/>
                  <a:pt x="690" y="270"/>
                </a:cubicBezTo>
                <a:cubicBezTo>
                  <a:pt x="690" y="270"/>
                  <a:pt x="690" y="270"/>
                  <a:pt x="690" y="269"/>
                </a:cubicBezTo>
                <a:cubicBezTo>
                  <a:pt x="689" y="270"/>
                  <a:pt x="688" y="271"/>
                  <a:pt x="688" y="271"/>
                </a:cubicBezTo>
                <a:cubicBezTo>
                  <a:pt x="686" y="270"/>
                  <a:pt x="686" y="273"/>
                  <a:pt x="685" y="274"/>
                </a:cubicBezTo>
                <a:cubicBezTo>
                  <a:pt x="684" y="274"/>
                  <a:pt x="682" y="273"/>
                  <a:pt x="682" y="275"/>
                </a:cubicBezTo>
                <a:cubicBezTo>
                  <a:pt x="681" y="270"/>
                  <a:pt x="674" y="279"/>
                  <a:pt x="674" y="281"/>
                </a:cubicBezTo>
                <a:cubicBezTo>
                  <a:pt x="675" y="280"/>
                  <a:pt x="681" y="280"/>
                  <a:pt x="680" y="280"/>
                </a:cubicBezTo>
                <a:cubicBezTo>
                  <a:pt x="680" y="280"/>
                  <a:pt x="681" y="280"/>
                  <a:pt x="681" y="280"/>
                </a:cubicBezTo>
                <a:cubicBezTo>
                  <a:pt x="681" y="280"/>
                  <a:pt x="681" y="280"/>
                  <a:pt x="681" y="280"/>
                </a:cubicBezTo>
                <a:cubicBezTo>
                  <a:pt x="681" y="279"/>
                  <a:pt x="682" y="278"/>
                  <a:pt x="682" y="279"/>
                </a:cubicBezTo>
                <a:cubicBezTo>
                  <a:pt x="684" y="280"/>
                  <a:pt x="681" y="280"/>
                  <a:pt x="681" y="281"/>
                </a:cubicBezTo>
                <a:cubicBezTo>
                  <a:pt x="681" y="282"/>
                  <a:pt x="681" y="282"/>
                  <a:pt x="681" y="282"/>
                </a:cubicBezTo>
                <a:cubicBezTo>
                  <a:pt x="682" y="282"/>
                  <a:pt x="683" y="282"/>
                  <a:pt x="683" y="284"/>
                </a:cubicBezTo>
                <a:cubicBezTo>
                  <a:pt x="683" y="284"/>
                  <a:pt x="683" y="284"/>
                  <a:pt x="683" y="284"/>
                </a:cubicBezTo>
                <a:cubicBezTo>
                  <a:pt x="683" y="284"/>
                  <a:pt x="684" y="285"/>
                  <a:pt x="684" y="286"/>
                </a:cubicBezTo>
                <a:cubicBezTo>
                  <a:pt x="684" y="286"/>
                  <a:pt x="681" y="289"/>
                  <a:pt x="681" y="290"/>
                </a:cubicBezTo>
                <a:cubicBezTo>
                  <a:pt x="680" y="290"/>
                  <a:pt x="679" y="295"/>
                  <a:pt x="678" y="295"/>
                </a:cubicBezTo>
                <a:cubicBezTo>
                  <a:pt x="676" y="295"/>
                  <a:pt x="679" y="293"/>
                  <a:pt x="677" y="292"/>
                </a:cubicBezTo>
                <a:cubicBezTo>
                  <a:pt x="677" y="291"/>
                  <a:pt x="675" y="293"/>
                  <a:pt x="674" y="293"/>
                </a:cubicBezTo>
                <a:cubicBezTo>
                  <a:pt x="673" y="292"/>
                  <a:pt x="674" y="291"/>
                  <a:pt x="673" y="290"/>
                </a:cubicBezTo>
                <a:cubicBezTo>
                  <a:pt x="673" y="290"/>
                  <a:pt x="671" y="292"/>
                  <a:pt x="670" y="290"/>
                </a:cubicBezTo>
                <a:cubicBezTo>
                  <a:pt x="669" y="288"/>
                  <a:pt x="672" y="289"/>
                  <a:pt x="672" y="288"/>
                </a:cubicBezTo>
                <a:cubicBezTo>
                  <a:pt x="672" y="287"/>
                  <a:pt x="671" y="287"/>
                  <a:pt x="671" y="287"/>
                </a:cubicBezTo>
                <a:cubicBezTo>
                  <a:pt x="671" y="286"/>
                  <a:pt x="672" y="285"/>
                  <a:pt x="672" y="283"/>
                </a:cubicBezTo>
                <a:cubicBezTo>
                  <a:pt x="672" y="283"/>
                  <a:pt x="672" y="282"/>
                  <a:pt x="672" y="282"/>
                </a:cubicBezTo>
                <a:cubicBezTo>
                  <a:pt x="673" y="279"/>
                  <a:pt x="678" y="276"/>
                  <a:pt x="677" y="271"/>
                </a:cubicBezTo>
                <a:cubicBezTo>
                  <a:pt x="676" y="270"/>
                  <a:pt x="675" y="271"/>
                  <a:pt x="674" y="272"/>
                </a:cubicBezTo>
                <a:cubicBezTo>
                  <a:pt x="675" y="269"/>
                  <a:pt x="676" y="260"/>
                  <a:pt x="681" y="259"/>
                </a:cubicBezTo>
                <a:cubicBezTo>
                  <a:pt x="681" y="259"/>
                  <a:pt x="684" y="259"/>
                  <a:pt x="685" y="259"/>
                </a:cubicBezTo>
                <a:cubicBezTo>
                  <a:pt x="685" y="259"/>
                  <a:pt x="686" y="260"/>
                  <a:pt x="687" y="261"/>
                </a:cubicBezTo>
                <a:cubicBezTo>
                  <a:pt x="687" y="261"/>
                  <a:pt x="687" y="261"/>
                  <a:pt x="688" y="261"/>
                </a:cubicBezTo>
                <a:cubicBezTo>
                  <a:pt x="688" y="261"/>
                  <a:pt x="688" y="261"/>
                  <a:pt x="688" y="261"/>
                </a:cubicBezTo>
                <a:cubicBezTo>
                  <a:pt x="688" y="262"/>
                  <a:pt x="688" y="262"/>
                  <a:pt x="689" y="262"/>
                </a:cubicBezTo>
                <a:cubicBezTo>
                  <a:pt x="690" y="261"/>
                  <a:pt x="691" y="259"/>
                  <a:pt x="692" y="258"/>
                </a:cubicBezTo>
                <a:cubicBezTo>
                  <a:pt x="691" y="257"/>
                  <a:pt x="690" y="258"/>
                  <a:pt x="689" y="259"/>
                </a:cubicBezTo>
                <a:cubicBezTo>
                  <a:pt x="689" y="258"/>
                  <a:pt x="689" y="258"/>
                  <a:pt x="689" y="258"/>
                </a:cubicBezTo>
                <a:cubicBezTo>
                  <a:pt x="688" y="258"/>
                  <a:pt x="687" y="258"/>
                  <a:pt x="687" y="257"/>
                </a:cubicBezTo>
                <a:cubicBezTo>
                  <a:pt x="686" y="256"/>
                  <a:pt x="688" y="256"/>
                  <a:pt x="688" y="256"/>
                </a:cubicBezTo>
                <a:cubicBezTo>
                  <a:pt x="689" y="254"/>
                  <a:pt x="687" y="255"/>
                  <a:pt x="688" y="253"/>
                </a:cubicBezTo>
                <a:cubicBezTo>
                  <a:pt x="689" y="252"/>
                  <a:pt x="692" y="252"/>
                  <a:pt x="692" y="251"/>
                </a:cubicBezTo>
                <a:cubicBezTo>
                  <a:pt x="692" y="251"/>
                  <a:pt x="692" y="250"/>
                  <a:pt x="692" y="250"/>
                </a:cubicBezTo>
                <a:cubicBezTo>
                  <a:pt x="692" y="250"/>
                  <a:pt x="691" y="249"/>
                  <a:pt x="691" y="249"/>
                </a:cubicBezTo>
                <a:cubicBezTo>
                  <a:pt x="691" y="249"/>
                  <a:pt x="692" y="247"/>
                  <a:pt x="691" y="246"/>
                </a:cubicBezTo>
                <a:cubicBezTo>
                  <a:pt x="690" y="245"/>
                  <a:pt x="690" y="246"/>
                  <a:pt x="690" y="246"/>
                </a:cubicBezTo>
                <a:cubicBezTo>
                  <a:pt x="689" y="246"/>
                  <a:pt x="688" y="242"/>
                  <a:pt x="688" y="242"/>
                </a:cubicBezTo>
                <a:cubicBezTo>
                  <a:pt x="689" y="240"/>
                  <a:pt x="691" y="242"/>
                  <a:pt x="693" y="241"/>
                </a:cubicBezTo>
                <a:cubicBezTo>
                  <a:pt x="692" y="241"/>
                  <a:pt x="693" y="239"/>
                  <a:pt x="694" y="239"/>
                </a:cubicBezTo>
                <a:cubicBezTo>
                  <a:pt x="693" y="235"/>
                  <a:pt x="691" y="231"/>
                  <a:pt x="690" y="227"/>
                </a:cubicBezTo>
                <a:cubicBezTo>
                  <a:pt x="690" y="227"/>
                  <a:pt x="689" y="227"/>
                  <a:pt x="689" y="227"/>
                </a:cubicBezTo>
                <a:cubicBezTo>
                  <a:pt x="688" y="227"/>
                  <a:pt x="689" y="225"/>
                  <a:pt x="688" y="224"/>
                </a:cubicBezTo>
                <a:cubicBezTo>
                  <a:pt x="688" y="223"/>
                  <a:pt x="688" y="223"/>
                  <a:pt x="688" y="223"/>
                </a:cubicBezTo>
                <a:cubicBezTo>
                  <a:pt x="688" y="222"/>
                  <a:pt x="688" y="222"/>
                  <a:pt x="688" y="221"/>
                </a:cubicBezTo>
                <a:cubicBezTo>
                  <a:pt x="685" y="222"/>
                  <a:pt x="682" y="222"/>
                  <a:pt x="681" y="222"/>
                </a:cubicBezTo>
                <a:cubicBezTo>
                  <a:pt x="679" y="222"/>
                  <a:pt x="680" y="219"/>
                  <a:pt x="678" y="220"/>
                </a:cubicBezTo>
                <a:cubicBezTo>
                  <a:pt x="680" y="218"/>
                  <a:pt x="676" y="218"/>
                  <a:pt x="676" y="216"/>
                </a:cubicBezTo>
                <a:cubicBezTo>
                  <a:pt x="675" y="215"/>
                  <a:pt x="677" y="215"/>
                  <a:pt x="677" y="215"/>
                </a:cubicBezTo>
                <a:cubicBezTo>
                  <a:pt x="678" y="214"/>
                  <a:pt x="676" y="213"/>
                  <a:pt x="677" y="212"/>
                </a:cubicBezTo>
                <a:cubicBezTo>
                  <a:pt x="677" y="212"/>
                  <a:pt x="677" y="212"/>
                  <a:pt x="677" y="212"/>
                </a:cubicBezTo>
                <a:cubicBezTo>
                  <a:pt x="676" y="212"/>
                  <a:pt x="675" y="210"/>
                  <a:pt x="675" y="209"/>
                </a:cubicBezTo>
                <a:cubicBezTo>
                  <a:pt x="674" y="209"/>
                  <a:pt x="674" y="209"/>
                  <a:pt x="673" y="209"/>
                </a:cubicBezTo>
                <a:cubicBezTo>
                  <a:pt x="674" y="210"/>
                  <a:pt x="674" y="210"/>
                  <a:pt x="674" y="211"/>
                </a:cubicBezTo>
                <a:cubicBezTo>
                  <a:pt x="674" y="212"/>
                  <a:pt x="674" y="212"/>
                  <a:pt x="673" y="213"/>
                </a:cubicBezTo>
                <a:cubicBezTo>
                  <a:pt x="673" y="214"/>
                  <a:pt x="673" y="214"/>
                  <a:pt x="673" y="215"/>
                </a:cubicBezTo>
                <a:cubicBezTo>
                  <a:pt x="673" y="215"/>
                  <a:pt x="673" y="215"/>
                  <a:pt x="673" y="215"/>
                </a:cubicBezTo>
                <a:cubicBezTo>
                  <a:pt x="673" y="215"/>
                  <a:pt x="672" y="216"/>
                  <a:pt x="672" y="216"/>
                </a:cubicBezTo>
                <a:cubicBezTo>
                  <a:pt x="671" y="217"/>
                  <a:pt x="669" y="218"/>
                  <a:pt x="669" y="220"/>
                </a:cubicBezTo>
                <a:cubicBezTo>
                  <a:pt x="670" y="217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7" y="219"/>
                </a:cubicBezTo>
                <a:cubicBezTo>
                  <a:pt x="668" y="220"/>
                  <a:pt x="668" y="224"/>
                  <a:pt x="667" y="225"/>
                </a:cubicBezTo>
                <a:cubicBezTo>
                  <a:pt x="667" y="225"/>
                  <a:pt x="667" y="224"/>
                  <a:pt x="666" y="224"/>
                </a:cubicBezTo>
                <a:cubicBezTo>
                  <a:pt x="665" y="225"/>
                  <a:pt x="663" y="228"/>
                  <a:pt x="660" y="228"/>
                </a:cubicBezTo>
                <a:cubicBezTo>
                  <a:pt x="661" y="226"/>
                  <a:pt x="663" y="226"/>
                  <a:pt x="663" y="225"/>
                </a:cubicBezTo>
                <a:cubicBezTo>
                  <a:pt x="663" y="224"/>
                  <a:pt x="662" y="225"/>
                  <a:pt x="661" y="224"/>
                </a:cubicBezTo>
                <a:cubicBezTo>
                  <a:pt x="660" y="223"/>
                  <a:pt x="662" y="219"/>
                  <a:pt x="665" y="218"/>
                </a:cubicBezTo>
                <a:cubicBezTo>
                  <a:pt x="665" y="217"/>
                  <a:pt x="665" y="216"/>
                  <a:pt x="665" y="216"/>
                </a:cubicBezTo>
                <a:cubicBezTo>
                  <a:pt x="665" y="215"/>
                  <a:pt x="664" y="215"/>
                  <a:pt x="664" y="215"/>
                </a:cubicBezTo>
                <a:cubicBezTo>
                  <a:pt x="663" y="217"/>
                  <a:pt x="661" y="218"/>
                  <a:pt x="660" y="220"/>
                </a:cubicBezTo>
                <a:cubicBezTo>
                  <a:pt x="660" y="221"/>
                  <a:pt x="661" y="222"/>
                  <a:pt x="660" y="223"/>
                </a:cubicBezTo>
                <a:cubicBezTo>
                  <a:pt x="660" y="223"/>
                  <a:pt x="659" y="224"/>
                  <a:pt x="659" y="225"/>
                </a:cubicBezTo>
                <a:cubicBezTo>
                  <a:pt x="659" y="226"/>
                  <a:pt x="661" y="225"/>
                  <a:pt x="660" y="226"/>
                </a:cubicBezTo>
                <a:cubicBezTo>
                  <a:pt x="660" y="227"/>
                  <a:pt x="659" y="228"/>
                  <a:pt x="659" y="227"/>
                </a:cubicBezTo>
                <a:cubicBezTo>
                  <a:pt x="658" y="227"/>
                  <a:pt x="658" y="225"/>
                  <a:pt x="657" y="224"/>
                </a:cubicBezTo>
                <a:cubicBezTo>
                  <a:pt x="657" y="223"/>
                  <a:pt x="656" y="224"/>
                  <a:pt x="655" y="223"/>
                </a:cubicBezTo>
                <a:cubicBezTo>
                  <a:pt x="653" y="223"/>
                  <a:pt x="653" y="221"/>
                  <a:pt x="650" y="224"/>
                </a:cubicBezTo>
                <a:cubicBezTo>
                  <a:pt x="653" y="220"/>
                  <a:pt x="649" y="222"/>
                  <a:pt x="648" y="221"/>
                </a:cubicBezTo>
                <a:cubicBezTo>
                  <a:pt x="648" y="222"/>
                  <a:pt x="647" y="215"/>
                  <a:pt x="647" y="215"/>
                </a:cubicBezTo>
                <a:cubicBezTo>
                  <a:pt x="647" y="214"/>
                  <a:pt x="648" y="211"/>
                  <a:pt x="648" y="209"/>
                </a:cubicBezTo>
                <a:cubicBezTo>
                  <a:pt x="648" y="210"/>
                  <a:pt x="648" y="210"/>
                  <a:pt x="647" y="210"/>
                </a:cubicBezTo>
                <a:cubicBezTo>
                  <a:pt x="647" y="210"/>
                  <a:pt x="647" y="209"/>
                  <a:pt x="648" y="208"/>
                </a:cubicBezTo>
                <a:cubicBezTo>
                  <a:pt x="648" y="208"/>
                  <a:pt x="648" y="208"/>
                  <a:pt x="648" y="208"/>
                </a:cubicBezTo>
                <a:cubicBezTo>
                  <a:pt x="647" y="208"/>
                  <a:pt x="647" y="209"/>
                  <a:pt x="647" y="209"/>
                </a:cubicBezTo>
                <a:cubicBezTo>
                  <a:pt x="647" y="209"/>
                  <a:pt x="647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4" y="211"/>
                  <a:pt x="639" y="212"/>
                  <a:pt x="635" y="212"/>
                </a:cubicBezTo>
                <a:cubicBezTo>
                  <a:pt x="635" y="213"/>
                  <a:pt x="635" y="214"/>
                  <a:pt x="635" y="214"/>
                </a:cubicBezTo>
                <a:cubicBezTo>
                  <a:pt x="634" y="214"/>
                  <a:pt x="634" y="213"/>
                  <a:pt x="634" y="212"/>
                </a:cubicBezTo>
                <a:cubicBezTo>
                  <a:pt x="633" y="212"/>
                  <a:pt x="633" y="212"/>
                  <a:pt x="633" y="212"/>
                </a:cubicBezTo>
                <a:cubicBezTo>
                  <a:pt x="633" y="211"/>
                  <a:pt x="633" y="210"/>
                  <a:pt x="635" y="210"/>
                </a:cubicBezTo>
                <a:cubicBezTo>
                  <a:pt x="634" y="210"/>
                  <a:pt x="634" y="209"/>
                  <a:pt x="634" y="209"/>
                </a:cubicBezTo>
                <a:cubicBezTo>
                  <a:pt x="633" y="208"/>
                  <a:pt x="634" y="207"/>
                  <a:pt x="635" y="206"/>
                </a:cubicBezTo>
                <a:cubicBezTo>
                  <a:pt x="634" y="205"/>
                  <a:pt x="634" y="204"/>
                  <a:pt x="635" y="203"/>
                </a:cubicBezTo>
                <a:cubicBezTo>
                  <a:pt x="636" y="203"/>
                  <a:pt x="636" y="203"/>
                  <a:pt x="637" y="203"/>
                </a:cubicBezTo>
                <a:cubicBezTo>
                  <a:pt x="637" y="202"/>
                  <a:pt x="636" y="202"/>
                  <a:pt x="635" y="203"/>
                </a:cubicBezTo>
                <a:cubicBezTo>
                  <a:pt x="634" y="203"/>
                  <a:pt x="632" y="206"/>
                  <a:pt x="632" y="206"/>
                </a:cubicBezTo>
                <a:cubicBezTo>
                  <a:pt x="632" y="207"/>
                  <a:pt x="632" y="207"/>
                  <a:pt x="633" y="207"/>
                </a:cubicBezTo>
                <a:cubicBezTo>
                  <a:pt x="629" y="209"/>
                  <a:pt x="629" y="201"/>
                  <a:pt x="631" y="201"/>
                </a:cubicBezTo>
                <a:cubicBezTo>
                  <a:pt x="631" y="201"/>
                  <a:pt x="632" y="203"/>
                  <a:pt x="632" y="203"/>
                </a:cubicBezTo>
                <a:cubicBezTo>
                  <a:pt x="633" y="203"/>
                  <a:pt x="636" y="199"/>
                  <a:pt x="638" y="198"/>
                </a:cubicBezTo>
                <a:cubicBezTo>
                  <a:pt x="638" y="198"/>
                  <a:pt x="638" y="197"/>
                  <a:pt x="639" y="197"/>
                </a:cubicBezTo>
                <a:cubicBezTo>
                  <a:pt x="639" y="196"/>
                  <a:pt x="637" y="195"/>
                  <a:pt x="637" y="194"/>
                </a:cubicBezTo>
                <a:cubicBezTo>
                  <a:pt x="637" y="193"/>
                  <a:pt x="639" y="193"/>
                  <a:pt x="639" y="193"/>
                </a:cubicBezTo>
                <a:cubicBezTo>
                  <a:pt x="639" y="192"/>
                  <a:pt x="640" y="189"/>
                  <a:pt x="639" y="189"/>
                </a:cubicBezTo>
                <a:cubicBezTo>
                  <a:pt x="639" y="188"/>
                  <a:pt x="637" y="189"/>
                  <a:pt x="638" y="190"/>
                </a:cubicBezTo>
                <a:cubicBezTo>
                  <a:pt x="638" y="190"/>
                  <a:pt x="636" y="188"/>
                  <a:pt x="637" y="187"/>
                </a:cubicBezTo>
                <a:cubicBezTo>
                  <a:pt x="637" y="187"/>
                  <a:pt x="637" y="187"/>
                  <a:pt x="637" y="187"/>
                </a:cubicBezTo>
                <a:cubicBezTo>
                  <a:pt x="637" y="186"/>
                  <a:pt x="637" y="186"/>
                  <a:pt x="636" y="186"/>
                </a:cubicBezTo>
                <a:cubicBezTo>
                  <a:pt x="636" y="187"/>
                  <a:pt x="636" y="188"/>
                  <a:pt x="636" y="188"/>
                </a:cubicBezTo>
                <a:cubicBezTo>
                  <a:pt x="636" y="188"/>
                  <a:pt x="636" y="188"/>
                  <a:pt x="637" y="188"/>
                </a:cubicBezTo>
                <a:cubicBezTo>
                  <a:pt x="637" y="189"/>
                  <a:pt x="637" y="189"/>
                  <a:pt x="636" y="189"/>
                </a:cubicBezTo>
                <a:cubicBezTo>
                  <a:pt x="637" y="190"/>
                  <a:pt x="636" y="191"/>
                  <a:pt x="635" y="190"/>
                </a:cubicBezTo>
                <a:cubicBezTo>
                  <a:pt x="635" y="190"/>
                  <a:pt x="635" y="190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4" y="190"/>
                  <a:pt x="633" y="190"/>
                  <a:pt x="632" y="189"/>
                </a:cubicBezTo>
                <a:cubicBezTo>
                  <a:pt x="631" y="188"/>
                  <a:pt x="631" y="186"/>
                  <a:pt x="632" y="185"/>
                </a:cubicBezTo>
                <a:cubicBezTo>
                  <a:pt x="632" y="185"/>
                  <a:pt x="632" y="185"/>
                  <a:pt x="631" y="185"/>
                </a:cubicBezTo>
                <a:cubicBezTo>
                  <a:pt x="630" y="186"/>
                  <a:pt x="632" y="185"/>
                  <a:pt x="631" y="184"/>
                </a:cubicBezTo>
                <a:cubicBezTo>
                  <a:pt x="630" y="184"/>
                  <a:pt x="630" y="185"/>
                  <a:pt x="630" y="185"/>
                </a:cubicBezTo>
                <a:cubicBezTo>
                  <a:pt x="629" y="185"/>
                  <a:pt x="630" y="185"/>
                  <a:pt x="630" y="185"/>
                </a:cubicBezTo>
                <a:cubicBezTo>
                  <a:pt x="629" y="185"/>
                  <a:pt x="629" y="186"/>
                  <a:pt x="628" y="185"/>
                </a:cubicBezTo>
                <a:cubicBezTo>
                  <a:pt x="625" y="185"/>
                  <a:pt x="628" y="181"/>
                  <a:pt x="626" y="179"/>
                </a:cubicBezTo>
                <a:cubicBezTo>
                  <a:pt x="625" y="180"/>
                  <a:pt x="624" y="180"/>
                  <a:pt x="624" y="180"/>
                </a:cubicBezTo>
                <a:cubicBezTo>
                  <a:pt x="623" y="181"/>
                  <a:pt x="623" y="182"/>
                  <a:pt x="623" y="183"/>
                </a:cubicBezTo>
                <a:cubicBezTo>
                  <a:pt x="624" y="184"/>
                  <a:pt x="625" y="185"/>
                  <a:pt x="624" y="186"/>
                </a:cubicBezTo>
                <a:cubicBezTo>
                  <a:pt x="624" y="191"/>
                  <a:pt x="618" y="190"/>
                  <a:pt x="617" y="188"/>
                </a:cubicBezTo>
                <a:cubicBezTo>
                  <a:pt x="616" y="188"/>
                  <a:pt x="615" y="188"/>
                  <a:pt x="615" y="189"/>
                </a:cubicBezTo>
                <a:cubicBezTo>
                  <a:pt x="615" y="189"/>
                  <a:pt x="616" y="188"/>
                  <a:pt x="615" y="188"/>
                </a:cubicBezTo>
                <a:cubicBezTo>
                  <a:pt x="614" y="189"/>
                  <a:pt x="612" y="190"/>
                  <a:pt x="610" y="190"/>
                </a:cubicBezTo>
                <a:cubicBezTo>
                  <a:pt x="609" y="191"/>
                  <a:pt x="607" y="191"/>
                  <a:pt x="607" y="191"/>
                </a:cubicBezTo>
                <a:cubicBezTo>
                  <a:pt x="607" y="190"/>
                  <a:pt x="608" y="190"/>
                  <a:pt x="609" y="189"/>
                </a:cubicBezTo>
                <a:cubicBezTo>
                  <a:pt x="609" y="189"/>
                  <a:pt x="608" y="189"/>
                  <a:pt x="608" y="189"/>
                </a:cubicBezTo>
                <a:cubicBezTo>
                  <a:pt x="608" y="188"/>
                  <a:pt x="607" y="187"/>
                  <a:pt x="607" y="186"/>
                </a:cubicBezTo>
                <a:cubicBezTo>
                  <a:pt x="606" y="186"/>
                  <a:pt x="604" y="186"/>
                  <a:pt x="605" y="183"/>
                </a:cubicBezTo>
                <a:cubicBezTo>
                  <a:pt x="606" y="181"/>
                  <a:pt x="605" y="180"/>
                  <a:pt x="605" y="179"/>
                </a:cubicBezTo>
                <a:cubicBezTo>
                  <a:pt x="605" y="179"/>
                  <a:pt x="606" y="178"/>
                  <a:pt x="605" y="177"/>
                </a:cubicBezTo>
                <a:cubicBezTo>
                  <a:pt x="604" y="179"/>
                  <a:pt x="603" y="181"/>
                  <a:pt x="601" y="183"/>
                </a:cubicBezTo>
                <a:cubicBezTo>
                  <a:pt x="604" y="184"/>
                  <a:pt x="606" y="186"/>
                  <a:pt x="602" y="189"/>
                </a:cubicBezTo>
                <a:cubicBezTo>
                  <a:pt x="602" y="189"/>
                  <a:pt x="601" y="189"/>
                  <a:pt x="600" y="190"/>
                </a:cubicBezTo>
                <a:cubicBezTo>
                  <a:pt x="602" y="190"/>
                  <a:pt x="602" y="194"/>
                  <a:pt x="599" y="193"/>
                </a:cubicBezTo>
                <a:cubicBezTo>
                  <a:pt x="598" y="192"/>
                  <a:pt x="599" y="191"/>
                  <a:pt x="599" y="191"/>
                </a:cubicBezTo>
                <a:cubicBezTo>
                  <a:pt x="600" y="190"/>
                  <a:pt x="600" y="190"/>
                  <a:pt x="600" y="190"/>
                </a:cubicBezTo>
                <a:cubicBezTo>
                  <a:pt x="598" y="190"/>
                  <a:pt x="596" y="191"/>
                  <a:pt x="595" y="192"/>
                </a:cubicBezTo>
                <a:cubicBezTo>
                  <a:pt x="593" y="194"/>
                  <a:pt x="594" y="195"/>
                  <a:pt x="592" y="194"/>
                </a:cubicBezTo>
                <a:cubicBezTo>
                  <a:pt x="592" y="193"/>
                  <a:pt x="591" y="192"/>
                  <a:pt x="590" y="193"/>
                </a:cubicBezTo>
                <a:cubicBezTo>
                  <a:pt x="590" y="193"/>
                  <a:pt x="587" y="198"/>
                  <a:pt x="587" y="195"/>
                </a:cubicBezTo>
                <a:cubicBezTo>
                  <a:pt x="587" y="194"/>
                  <a:pt x="588" y="194"/>
                  <a:pt x="588" y="194"/>
                </a:cubicBezTo>
                <a:cubicBezTo>
                  <a:pt x="587" y="193"/>
                  <a:pt x="584" y="194"/>
                  <a:pt x="583" y="193"/>
                </a:cubicBezTo>
                <a:cubicBezTo>
                  <a:pt x="583" y="192"/>
                  <a:pt x="587" y="190"/>
                  <a:pt x="584" y="189"/>
                </a:cubicBezTo>
                <a:cubicBezTo>
                  <a:pt x="583" y="188"/>
                  <a:pt x="583" y="188"/>
                  <a:pt x="583" y="188"/>
                </a:cubicBezTo>
                <a:cubicBezTo>
                  <a:pt x="583" y="188"/>
                  <a:pt x="583" y="188"/>
                  <a:pt x="583" y="187"/>
                </a:cubicBezTo>
                <a:cubicBezTo>
                  <a:pt x="584" y="186"/>
                  <a:pt x="584" y="185"/>
                  <a:pt x="583" y="185"/>
                </a:cubicBezTo>
                <a:cubicBezTo>
                  <a:pt x="582" y="186"/>
                  <a:pt x="581" y="186"/>
                  <a:pt x="580" y="185"/>
                </a:cubicBezTo>
                <a:cubicBezTo>
                  <a:pt x="580" y="184"/>
                  <a:pt x="581" y="184"/>
                  <a:pt x="581" y="183"/>
                </a:cubicBezTo>
                <a:cubicBezTo>
                  <a:pt x="582" y="183"/>
                  <a:pt x="582" y="183"/>
                  <a:pt x="582" y="183"/>
                </a:cubicBezTo>
                <a:cubicBezTo>
                  <a:pt x="581" y="182"/>
                  <a:pt x="580" y="182"/>
                  <a:pt x="579" y="182"/>
                </a:cubicBezTo>
                <a:cubicBezTo>
                  <a:pt x="578" y="181"/>
                  <a:pt x="580" y="179"/>
                  <a:pt x="580" y="178"/>
                </a:cubicBezTo>
                <a:cubicBezTo>
                  <a:pt x="578" y="176"/>
                  <a:pt x="577" y="179"/>
                  <a:pt x="574" y="179"/>
                </a:cubicBezTo>
                <a:cubicBezTo>
                  <a:pt x="574" y="179"/>
                  <a:pt x="572" y="177"/>
                  <a:pt x="570" y="179"/>
                </a:cubicBezTo>
                <a:cubicBezTo>
                  <a:pt x="569" y="180"/>
                  <a:pt x="571" y="182"/>
                  <a:pt x="568" y="184"/>
                </a:cubicBezTo>
                <a:cubicBezTo>
                  <a:pt x="567" y="184"/>
                  <a:pt x="562" y="186"/>
                  <a:pt x="562" y="185"/>
                </a:cubicBezTo>
                <a:cubicBezTo>
                  <a:pt x="561" y="184"/>
                  <a:pt x="563" y="184"/>
                  <a:pt x="563" y="184"/>
                </a:cubicBezTo>
                <a:cubicBezTo>
                  <a:pt x="564" y="182"/>
                  <a:pt x="562" y="180"/>
                  <a:pt x="562" y="181"/>
                </a:cubicBezTo>
                <a:cubicBezTo>
                  <a:pt x="563" y="179"/>
                  <a:pt x="565" y="179"/>
                  <a:pt x="565" y="178"/>
                </a:cubicBezTo>
                <a:cubicBezTo>
                  <a:pt x="565" y="178"/>
                  <a:pt x="565" y="178"/>
                  <a:pt x="564" y="178"/>
                </a:cubicBezTo>
                <a:cubicBezTo>
                  <a:pt x="564" y="177"/>
                  <a:pt x="565" y="177"/>
                  <a:pt x="565" y="177"/>
                </a:cubicBezTo>
                <a:cubicBezTo>
                  <a:pt x="565" y="176"/>
                  <a:pt x="564" y="174"/>
                  <a:pt x="565" y="173"/>
                </a:cubicBezTo>
                <a:cubicBezTo>
                  <a:pt x="565" y="173"/>
                  <a:pt x="565" y="173"/>
                  <a:pt x="565" y="173"/>
                </a:cubicBezTo>
                <a:cubicBezTo>
                  <a:pt x="565" y="173"/>
                  <a:pt x="565" y="172"/>
                  <a:pt x="565" y="172"/>
                </a:cubicBezTo>
                <a:cubicBezTo>
                  <a:pt x="564" y="172"/>
                  <a:pt x="564" y="171"/>
                  <a:pt x="566" y="170"/>
                </a:cubicBezTo>
                <a:cubicBezTo>
                  <a:pt x="566" y="170"/>
                  <a:pt x="566" y="170"/>
                  <a:pt x="566" y="170"/>
                </a:cubicBezTo>
                <a:cubicBezTo>
                  <a:pt x="566" y="170"/>
                  <a:pt x="565" y="170"/>
                  <a:pt x="565" y="170"/>
                </a:cubicBezTo>
                <a:cubicBezTo>
                  <a:pt x="564" y="170"/>
                  <a:pt x="563" y="170"/>
                  <a:pt x="563" y="169"/>
                </a:cubicBezTo>
                <a:cubicBezTo>
                  <a:pt x="562" y="169"/>
                  <a:pt x="562" y="169"/>
                  <a:pt x="562" y="169"/>
                </a:cubicBezTo>
                <a:cubicBezTo>
                  <a:pt x="562" y="169"/>
                  <a:pt x="562" y="168"/>
                  <a:pt x="563" y="167"/>
                </a:cubicBezTo>
                <a:cubicBezTo>
                  <a:pt x="563" y="167"/>
                  <a:pt x="563" y="166"/>
                  <a:pt x="562" y="166"/>
                </a:cubicBezTo>
                <a:cubicBezTo>
                  <a:pt x="563" y="165"/>
                  <a:pt x="566" y="165"/>
                  <a:pt x="568" y="164"/>
                </a:cubicBezTo>
                <a:cubicBezTo>
                  <a:pt x="567" y="165"/>
                  <a:pt x="568" y="167"/>
                  <a:pt x="569" y="165"/>
                </a:cubicBezTo>
                <a:cubicBezTo>
                  <a:pt x="571" y="164"/>
                  <a:pt x="569" y="164"/>
                  <a:pt x="569" y="164"/>
                </a:cubicBezTo>
                <a:cubicBezTo>
                  <a:pt x="569" y="164"/>
                  <a:pt x="570" y="163"/>
                  <a:pt x="569" y="162"/>
                </a:cubicBezTo>
                <a:cubicBezTo>
                  <a:pt x="569" y="162"/>
                  <a:pt x="569" y="162"/>
                  <a:pt x="569" y="162"/>
                </a:cubicBezTo>
                <a:cubicBezTo>
                  <a:pt x="567" y="163"/>
                  <a:pt x="565" y="164"/>
                  <a:pt x="563" y="163"/>
                </a:cubicBezTo>
                <a:cubicBezTo>
                  <a:pt x="563" y="163"/>
                  <a:pt x="563" y="163"/>
                  <a:pt x="563" y="164"/>
                </a:cubicBezTo>
                <a:cubicBezTo>
                  <a:pt x="563" y="164"/>
                  <a:pt x="564" y="164"/>
                  <a:pt x="564" y="164"/>
                </a:cubicBezTo>
                <a:cubicBezTo>
                  <a:pt x="563" y="165"/>
                  <a:pt x="563" y="164"/>
                  <a:pt x="563" y="163"/>
                </a:cubicBezTo>
                <a:cubicBezTo>
                  <a:pt x="562" y="163"/>
                  <a:pt x="562" y="162"/>
                  <a:pt x="562" y="161"/>
                </a:cubicBezTo>
                <a:cubicBezTo>
                  <a:pt x="562" y="160"/>
                  <a:pt x="564" y="158"/>
                  <a:pt x="567" y="158"/>
                </a:cubicBezTo>
                <a:cubicBezTo>
                  <a:pt x="566" y="157"/>
                  <a:pt x="565" y="156"/>
                  <a:pt x="566" y="155"/>
                </a:cubicBezTo>
                <a:cubicBezTo>
                  <a:pt x="566" y="153"/>
                  <a:pt x="570" y="153"/>
                  <a:pt x="569" y="152"/>
                </a:cubicBezTo>
                <a:cubicBezTo>
                  <a:pt x="570" y="152"/>
                  <a:pt x="572" y="151"/>
                  <a:pt x="574" y="151"/>
                </a:cubicBezTo>
                <a:cubicBezTo>
                  <a:pt x="576" y="153"/>
                  <a:pt x="575" y="153"/>
                  <a:pt x="579" y="152"/>
                </a:cubicBezTo>
                <a:cubicBezTo>
                  <a:pt x="579" y="152"/>
                  <a:pt x="580" y="151"/>
                  <a:pt x="581" y="151"/>
                </a:cubicBezTo>
                <a:cubicBezTo>
                  <a:pt x="584" y="150"/>
                  <a:pt x="583" y="150"/>
                  <a:pt x="582" y="148"/>
                </a:cubicBezTo>
                <a:cubicBezTo>
                  <a:pt x="584" y="150"/>
                  <a:pt x="583" y="148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0" y="147"/>
                  <a:pt x="580" y="147"/>
                </a:cubicBezTo>
                <a:cubicBezTo>
                  <a:pt x="580" y="147"/>
                  <a:pt x="579" y="149"/>
                  <a:pt x="578" y="148"/>
                </a:cubicBezTo>
                <a:cubicBezTo>
                  <a:pt x="577" y="147"/>
                  <a:pt x="581" y="144"/>
                  <a:pt x="577" y="144"/>
                </a:cubicBezTo>
                <a:cubicBezTo>
                  <a:pt x="583" y="142"/>
                  <a:pt x="575" y="140"/>
                  <a:pt x="573" y="139"/>
                </a:cubicBezTo>
                <a:cubicBezTo>
                  <a:pt x="572" y="138"/>
                  <a:pt x="571" y="137"/>
                  <a:pt x="570" y="135"/>
                </a:cubicBezTo>
                <a:cubicBezTo>
                  <a:pt x="570" y="135"/>
                  <a:pt x="569" y="134"/>
                  <a:pt x="569" y="134"/>
                </a:cubicBezTo>
                <a:cubicBezTo>
                  <a:pt x="569" y="134"/>
                  <a:pt x="569" y="134"/>
                  <a:pt x="569" y="133"/>
                </a:cubicBezTo>
                <a:cubicBezTo>
                  <a:pt x="569" y="133"/>
                  <a:pt x="568" y="132"/>
                  <a:pt x="568" y="132"/>
                </a:cubicBezTo>
                <a:cubicBezTo>
                  <a:pt x="567" y="132"/>
                  <a:pt x="567" y="132"/>
                  <a:pt x="567" y="132"/>
                </a:cubicBezTo>
                <a:cubicBezTo>
                  <a:pt x="567" y="132"/>
                  <a:pt x="566" y="133"/>
                  <a:pt x="566" y="133"/>
                </a:cubicBezTo>
                <a:cubicBezTo>
                  <a:pt x="566" y="134"/>
                  <a:pt x="564" y="135"/>
                  <a:pt x="563" y="135"/>
                </a:cubicBezTo>
                <a:cubicBezTo>
                  <a:pt x="562" y="135"/>
                  <a:pt x="561" y="134"/>
                  <a:pt x="561" y="133"/>
                </a:cubicBezTo>
                <a:cubicBezTo>
                  <a:pt x="560" y="134"/>
                  <a:pt x="559" y="134"/>
                  <a:pt x="558" y="134"/>
                </a:cubicBezTo>
                <a:cubicBezTo>
                  <a:pt x="557" y="134"/>
                  <a:pt x="559" y="133"/>
                  <a:pt x="560" y="133"/>
                </a:cubicBezTo>
                <a:cubicBezTo>
                  <a:pt x="560" y="132"/>
                  <a:pt x="560" y="131"/>
                  <a:pt x="561" y="131"/>
                </a:cubicBezTo>
                <a:cubicBezTo>
                  <a:pt x="560" y="131"/>
                  <a:pt x="558" y="131"/>
                  <a:pt x="557" y="131"/>
                </a:cubicBezTo>
                <a:cubicBezTo>
                  <a:pt x="557" y="131"/>
                  <a:pt x="557" y="131"/>
                  <a:pt x="557" y="131"/>
                </a:cubicBezTo>
                <a:cubicBezTo>
                  <a:pt x="558" y="131"/>
                  <a:pt x="559" y="131"/>
                  <a:pt x="559" y="132"/>
                </a:cubicBezTo>
                <a:cubicBezTo>
                  <a:pt x="558" y="132"/>
                  <a:pt x="557" y="132"/>
                  <a:pt x="556" y="132"/>
                </a:cubicBezTo>
                <a:cubicBezTo>
                  <a:pt x="555" y="132"/>
                  <a:pt x="555" y="132"/>
                  <a:pt x="555" y="133"/>
                </a:cubicBezTo>
                <a:cubicBezTo>
                  <a:pt x="556" y="133"/>
                  <a:pt x="555" y="135"/>
                  <a:pt x="554" y="134"/>
                </a:cubicBezTo>
                <a:cubicBezTo>
                  <a:pt x="553" y="135"/>
                  <a:pt x="552" y="135"/>
                  <a:pt x="552" y="135"/>
                </a:cubicBezTo>
                <a:cubicBezTo>
                  <a:pt x="552" y="134"/>
                  <a:pt x="552" y="134"/>
                  <a:pt x="553" y="133"/>
                </a:cubicBezTo>
                <a:cubicBezTo>
                  <a:pt x="552" y="133"/>
                  <a:pt x="551" y="131"/>
                  <a:pt x="553" y="132"/>
                </a:cubicBezTo>
                <a:cubicBezTo>
                  <a:pt x="553" y="132"/>
                  <a:pt x="553" y="132"/>
                  <a:pt x="553" y="132"/>
                </a:cubicBezTo>
                <a:cubicBezTo>
                  <a:pt x="553" y="133"/>
                  <a:pt x="553" y="133"/>
                  <a:pt x="553" y="133"/>
                </a:cubicBezTo>
                <a:cubicBezTo>
                  <a:pt x="554" y="133"/>
                  <a:pt x="554" y="132"/>
                  <a:pt x="554" y="132"/>
                </a:cubicBezTo>
                <a:cubicBezTo>
                  <a:pt x="553" y="132"/>
                  <a:pt x="552" y="131"/>
                  <a:pt x="552" y="131"/>
                </a:cubicBezTo>
                <a:cubicBezTo>
                  <a:pt x="552" y="131"/>
                  <a:pt x="553" y="131"/>
                  <a:pt x="555" y="131"/>
                </a:cubicBezTo>
                <a:cubicBezTo>
                  <a:pt x="554" y="130"/>
                  <a:pt x="554" y="130"/>
                  <a:pt x="554" y="130"/>
                </a:cubicBezTo>
                <a:cubicBezTo>
                  <a:pt x="553" y="130"/>
                  <a:pt x="552" y="131"/>
                  <a:pt x="552" y="131"/>
                </a:cubicBezTo>
                <a:cubicBezTo>
                  <a:pt x="551" y="130"/>
                  <a:pt x="550" y="127"/>
                  <a:pt x="548" y="129"/>
                </a:cubicBezTo>
                <a:cubicBezTo>
                  <a:pt x="548" y="130"/>
                  <a:pt x="549" y="131"/>
                  <a:pt x="549" y="130"/>
                </a:cubicBezTo>
                <a:cubicBezTo>
                  <a:pt x="549" y="131"/>
                  <a:pt x="549" y="131"/>
                  <a:pt x="549" y="131"/>
                </a:cubicBezTo>
                <a:cubicBezTo>
                  <a:pt x="549" y="131"/>
                  <a:pt x="549" y="131"/>
                  <a:pt x="550" y="131"/>
                </a:cubicBezTo>
                <a:cubicBezTo>
                  <a:pt x="551" y="131"/>
                  <a:pt x="549" y="133"/>
                  <a:pt x="549" y="132"/>
                </a:cubicBezTo>
                <a:cubicBezTo>
                  <a:pt x="549" y="132"/>
                  <a:pt x="549" y="132"/>
                  <a:pt x="549" y="132"/>
                </a:cubicBezTo>
                <a:cubicBezTo>
                  <a:pt x="548" y="133"/>
                  <a:pt x="544" y="131"/>
                  <a:pt x="543" y="131"/>
                </a:cubicBezTo>
                <a:cubicBezTo>
                  <a:pt x="545" y="130"/>
                  <a:pt x="543" y="130"/>
                  <a:pt x="542" y="129"/>
                </a:cubicBezTo>
                <a:cubicBezTo>
                  <a:pt x="540" y="130"/>
                  <a:pt x="539" y="131"/>
                  <a:pt x="537" y="132"/>
                </a:cubicBezTo>
                <a:cubicBezTo>
                  <a:pt x="538" y="130"/>
                  <a:pt x="540" y="129"/>
                  <a:pt x="542" y="129"/>
                </a:cubicBezTo>
                <a:cubicBezTo>
                  <a:pt x="541" y="128"/>
                  <a:pt x="541" y="127"/>
                  <a:pt x="541" y="127"/>
                </a:cubicBezTo>
                <a:cubicBezTo>
                  <a:pt x="542" y="125"/>
                  <a:pt x="546" y="126"/>
                  <a:pt x="546" y="124"/>
                </a:cubicBezTo>
                <a:cubicBezTo>
                  <a:pt x="547" y="123"/>
                  <a:pt x="545" y="124"/>
                  <a:pt x="545" y="124"/>
                </a:cubicBezTo>
                <a:cubicBezTo>
                  <a:pt x="546" y="122"/>
                  <a:pt x="547" y="121"/>
                  <a:pt x="545" y="120"/>
                </a:cubicBezTo>
                <a:cubicBezTo>
                  <a:pt x="545" y="120"/>
                  <a:pt x="540" y="120"/>
                  <a:pt x="538" y="120"/>
                </a:cubicBezTo>
                <a:cubicBezTo>
                  <a:pt x="536" y="120"/>
                  <a:pt x="534" y="121"/>
                  <a:pt x="531" y="119"/>
                </a:cubicBezTo>
                <a:cubicBezTo>
                  <a:pt x="534" y="119"/>
                  <a:pt x="535" y="117"/>
                  <a:pt x="537" y="117"/>
                </a:cubicBezTo>
                <a:cubicBezTo>
                  <a:pt x="537" y="117"/>
                  <a:pt x="537" y="116"/>
                  <a:pt x="537" y="116"/>
                </a:cubicBezTo>
                <a:cubicBezTo>
                  <a:pt x="537" y="116"/>
                  <a:pt x="537" y="117"/>
                  <a:pt x="537" y="117"/>
                </a:cubicBezTo>
                <a:cubicBezTo>
                  <a:pt x="538" y="116"/>
                  <a:pt x="538" y="116"/>
                  <a:pt x="539" y="116"/>
                </a:cubicBezTo>
                <a:cubicBezTo>
                  <a:pt x="542" y="115"/>
                  <a:pt x="545" y="118"/>
                  <a:pt x="548" y="117"/>
                </a:cubicBezTo>
                <a:cubicBezTo>
                  <a:pt x="548" y="117"/>
                  <a:pt x="551" y="114"/>
                  <a:pt x="552" y="114"/>
                </a:cubicBezTo>
                <a:cubicBezTo>
                  <a:pt x="553" y="114"/>
                  <a:pt x="554" y="115"/>
                  <a:pt x="554" y="114"/>
                </a:cubicBezTo>
                <a:cubicBezTo>
                  <a:pt x="553" y="114"/>
                  <a:pt x="553" y="113"/>
                  <a:pt x="553" y="113"/>
                </a:cubicBezTo>
                <a:cubicBezTo>
                  <a:pt x="553" y="113"/>
                  <a:pt x="552" y="113"/>
                  <a:pt x="552" y="113"/>
                </a:cubicBezTo>
                <a:cubicBezTo>
                  <a:pt x="552" y="114"/>
                  <a:pt x="551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8" y="114"/>
                  <a:pt x="547" y="114"/>
                  <a:pt x="547" y="114"/>
                </a:cubicBezTo>
                <a:cubicBezTo>
                  <a:pt x="547" y="114"/>
                  <a:pt x="547" y="113"/>
                  <a:pt x="547" y="113"/>
                </a:cubicBezTo>
                <a:cubicBezTo>
                  <a:pt x="547" y="112"/>
                  <a:pt x="548" y="111"/>
                  <a:pt x="549" y="110"/>
                </a:cubicBezTo>
                <a:cubicBezTo>
                  <a:pt x="550" y="110"/>
                  <a:pt x="552" y="111"/>
                  <a:pt x="552" y="112"/>
                </a:cubicBezTo>
                <a:cubicBezTo>
                  <a:pt x="552" y="112"/>
                  <a:pt x="552" y="112"/>
                  <a:pt x="553" y="112"/>
                </a:cubicBezTo>
                <a:cubicBezTo>
                  <a:pt x="552" y="111"/>
                  <a:pt x="554" y="110"/>
                  <a:pt x="555" y="111"/>
                </a:cubicBezTo>
                <a:cubicBezTo>
                  <a:pt x="555" y="110"/>
                  <a:pt x="555" y="110"/>
                  <a:pt x="554" y="109"/>
                </a:cubicBezTo>
                <a:cubicBezTo>
                  <a:pt x="554" y="110"/>
                  <a:pt x="554" y="110"/>
                  <a:pt x="554" y="110"/>
                </a:cubicBezTo>
                <a:cubicBezTo>
                  <a:pt x="554" y="110"/>
                  <a:pt x="554" y="109"/>
                  <a:pt x="554" y="109"/>
                </a:cubicBezTo>
                <a:cubicBezTo>
                  <a:pt x="553" y="108"/>
                  <a:pt x="550" y="108"/>
                  <a:pt x="549" y="107"/>
                </a:cubicBezTo>
                <a:cubicBezTo>
                  <a:pt x="550" y="106"/>
                  <a:pt x="551" y="106"/>
                  <a:pt x="550" y="105"/>
                </a:cubicBezTo>
                <a:cubicBezTo>
                  <a:pt x="549" y="106"/>
                  <a:pt x="546" y="106"/>
                  <a:pt x="548" y="104"/>
                </a:cubicBezTo>
                <a:cubicBezTo>
                  <a:pt x="548" y="104"/>
                  <a:pt x="548" y="104"/>
                  <a:pt x="548" y="104"/>
                </a:cubicBezTo>
                <a:cubicBezTo>
                  <a:pt x="548" y="104"/>
                  <a:pt x="547" y="103"/>
                  <a:pt x="547" y="103"/>
                </a:cubicBezTo>
                <a:cubicBezTo>
                  <a:pt x="545" y="104"/>
                  <a:pt x="543" y="105"/>
                  <a:pt x="541" y="106"/>
                </a:cubicBezTo>
                <a:cubicBezTo>
                  <a:pt x="537" y="107"/>
                  <a:pt x="541" y="104"/>
                  <a:pt x="543" y="103"/>
                </a:cubicBezTo>
                <a:cubicBezTo>
                  <a:pt x="544" y="103"/>
                  <a:pt x="546" y="102"/>
                  <a:pt x="548" y="101"/>
                </a:cubicBezTo>
                <a:cubicBezTo>
                  <a:pt x="548" y="101"/>
                  <a:pt x="548" y="101"/>
                  <a:pt x="548" y="100"/>
                </a:cubicBezTo>
                <a:cubicBezTo>
                  <a:pt x="549" y="100"/>
                  <a:pt x="549" y="100"/>
                  <a:pt x="550" y="100"/>
                </a:cubicBezTo>
                <a:cubicBezTo>
                  <a:pt x="552" y="99"/>
                  <a:pt x="553" y="99"/>
                  <a:pt x="554" y="98"/>
                </a:cubicBezTo>
                <a:cubicBezTo>
                  <a:pt x="555" y="97"/>
                  <a:pt x="555" y="95"/>
                  <a:pt x="555" y="94"/>
                </a:cubicBezTo>
                <a:cubicBezTo>
                  <a:pt x="554" y="95"/>
                  <a:pt x="554" y="94"/>
                  <a:pt x="553" y="94"/>
                </a:cubicBezTo>
                <a:cubicBezTo>
                  <a:pt x="553" y="94"/>
                  <a:pt x="553" y="94"/>
                  <a:pt x="553" y="94"/>
                </a:cubicBezTo>
                <a:cubicBezTo>
                  <a:pt x="553" y="94"/>
                  <a:pt x="553" y="94"/>
                  <a:pt x="552" y="94"/>
                </a:cubicBezTo>
                <a:cubicBezTo>
                  <a:pt x="552" y="94"/>
                  <a:pt x="550" y="93"/>
                  <a:pt x="550" y="93"/>
                </a:cubicBezTo>
                <a:cubicBezTo>
                  <a:pt x="550" y="93"/>
                  <a:pt x="550" y="93"/>
                  <a:pt x="550" y="92"/>
                </a:cubicBezTo>
                <a:cubicBezTo>
                  <a:pt x="549" y="91"/>
                  <a:pt x="551" y="90"/>
                  <a:pt x="552" y="90"/>
                </a:cubicBezTo>
                <a:cubicBezTo>
                  <a:pt x="552" y="89"/>
                  <a:pt x="552" y="89"/>
                  <a:pt x="553" y="88"/>
                </a:cubicBezTo>
                <a:cubicBezTo>
                  <a:pt x="553" y="88"/>
                  <a:pt x="553" y="88"/>
                  <a:pt x="553" y="88"/>
                </a:cubicBezTo>
                <a:cubicBezTo>
                  <a:pt x="552" y="87"/>
                  <a:pt x="550" y="87"/>
                  <a:pt x="549" y="87"/>
                </a:cubicBezTo>
                <a:cubicBezTo>
                  <a:pt x="548" y="87"/>
                  <a:pt x="546" y="87"/>
                  <a:pt x="546" y="86"/>
                </a:cubicBezTo>
                <a:cubicBezTo>
                  <a:pt x="545" y="86"/>
                  <a:pt x="544" y="85"/>
                  <a:pt x="544" y="84"/>
                </a:cubicBezTo>
                <a:cubicBezTo>
                  <a:pt x="543" y="85"/>
                  <a:pt x="542" y="85"/>
                  <a:pt x="542" y="84"/>
                </a:cubicBezTo>
                <a:cubicBezTo>
                  <a:pt x="541" y="84"/>
                  <a:pt x="540" y="82"/>
                  <a:pt x="542" y="81"/>
                </a:cubicBezTo>
                <a:cubicBezTo>
                  <a:pt x="542" y="81"/>
                  <a:pt x="542" y="81"/>
                  <a:pt x="542" y="81"/>
                </a:cubicBezTo>
                <a:cubicBezTo>
                  <a:pt x="541" y="80"/>
                  <a:pt x="542" y="80"/>
                  <a:pt x="542" y="79"/>
                </a:cubicBezTo>
                <a:cubicBezTo>
                  <a:pt x="541" y="80"/>
                  <a:pt x="540" y="80"/>
                  <a:pt x="539" y="80"/>
                </a:cubicBezTo>
                <a:cubicBezTo>
                  <a:pt x="539" y="80"/>
                  <a:pt x="538" y="81"/>
                  <a:pt x="539" y="82"/>
                </a:cubicBezTo>
                <a:cubicBezTo>
                  <a:pt x="538" y="82"/>
                  <a:pt x="536" y="83"/>
                  <a:pt x="535" y="84"/>
                </a:cubicBezTo>
                <a:cubicBezTo>
                  <a:pt x="534" y="85"/>
                  <a:pt x="533" y="85"/>
                  <a:pt x="532" y="86"/>
                </a:cubicBezTo>
                <a:cubicBezTo>
                  <a:pt x="532" y="86"/>
                  <a:pt x="532" y="87"/>
                  <a:pt x="532" y="87"/>
                </a:cubicBezTo>
                <a:cubicBezTo>
                  <a:pt x="531" y="87"/>
                  <a:pt x="530" y="86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8" y="87"/>
                </a:cubicBezTo>
                <a:cubicBezTo>
                  <a:pt x="527" y="87"/>
                  <a:pt x="527" y="88"/>
                  <a:pt x="526" y="88"/>
                </a:cubicBezTo>
                <a:cubicBezTo>
                  <a:pt x="526" y="88"/>
                  <a:pt x="526" y="87"/>
                  <a:pt x="526" y="87"/>
                </a:cubicBezTo>
                <a:cubicBezTo>
                  <a:pt x="525" y="85"/>
                  <a:pt x="521" y="83"/>
                  <a:pt x="520" y="81"/>
                </a:cubicBezTo>
                <a:cubicBezTo>
                  <a:pt x="520" y="79"/>
                  <a:pt x="524" y="78"/>
                  <a:pt x="525" y="76"/>
                </a:cubicBezTo>
                <a:cubicBezTo>
                  <a:pt x="526" y="76"/>
                  <a:pt x="524" y="74"/>
                  <a:pt x="525" y="74"/>
                </a:cubicBezTo>
                <a:cubicBezTo>
                  <a:pt x="526" y="73"/>
                  <a:pt x="526" y="75"/>
                  <a:pt x="527" y="75"/>
                </a:cubicBezTo>
                <a:cubicBezTo>
                  <a:pt x="528" y="76"/>
                  <a:pt x="533" y="76"/>
                  <a:pt x="535" y="76"/>
                </a:cubicBezTo>
                <a:cubicBezTo>
                  <a:pt x="536" y="76"/>
                  <a:pt x="537" y="76"/>
                  <a:pt x="538" y="77"/>
                </a:cubicBezTo>
                <a:cubicBezTo>
                  <a:pt x="539" y="75"/>
                  <a:pt x="543" y="75"/>
                  <a:pt x="543" y="74"/>
                </a:cubicBezTo>
                <a:cubicBezTo>
                  <a:pt x="544" y="74"/>
                  <a:pt x="542" y="74"/>
                  <a:pt x="542" y="73"/>
                </a:cubicBezTo>
                <a:cubicBezTo>
                  <a:pt x="543" y="73"/>
                  <a:pt x="544" y="73"/>
                  <a:pt x="545" y="74"/>
                </a:cubicBezTo>
                <a:cubicBezTo>
                  <a:pt x="547" y="73"/>
                  <a:pt x="550" y="72"/>
                  <a:pt x="553" y="72"/>
                </a:cubicBezTo>
                <a:cubicBezTo>
                  <a:pt x="552" y="71"/>
                  <a:pt x="552" y="70"/>
                  <a:pt x="551" y="70"/>
                </a:cubicBezTo>
                <a:cubicBezTo>
                  <a:pt x="551" y="70"/>
                  <a:pt x="550" y="71"/>
                  <a:pt x="550" y="71"/>
                </a:cubicBezTo>
                <a:cubicBezTo>
                  <a:pt x="550" y="71"/>
                  <a:pt x="547" y="70"/>
                  <a:pt x="545" y="69"/>
                </a:cubicBezTo>
                <a:cubicBezTo>
                  <a:pt x="544" y="69"/>
                  <a:pt x="543" y="69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2" y="67"/>
                  <a:pt x="543" y="66"/>
                  <a:pt x="542" y="66"/>
                </a:cubicBezTo>
                <a:cubicBezTo>
                  <a:pt x="540" y="64"/>
                  <a:pt x="537" y="66"/>
                  <a:pt x="535" y="66"/>
                </a:cubicBezTo>
                <a:cubicBezTo>
                  <a:pt x="535" y="66"/>
                  <a:pt x="534" y="65"/>
                  <a:pt x="534" y="65"/>
                </a:cubicBezTo>
                <a:cubicBezTo>
                  <a:pt x="534" y="65"/>
                  <a:pt x="534" y="65"/>
                  <a:pt x="534" y="65"/>
                </a:cubicBezTo>
                <a:cubicBezTo>
                  <a:pt x="534" y="67"/>
                  <a:pt x="529" y="69"/>
                  <a:pt x="528" y="68"/>
                </a:cubicBezTo>
                <a:cubicBezTo>
                  <a:pt x="527" y="66"/>
                  <a:pt x="528" y="64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2"/>
                  <a:pt x="529" y="62"/>
                </a:cubicBezTo>
                <a:cubicBezTo>
                  <a:pt x="529" y="62"/>
                  <a:pt x="529" y="62"/>
                  <a:pt x="529" y="62"/>
                </a:cubicBezTo>
                <a:cubicBezTo>
                  <a:pt x="528" y="62"/>
                  <a:pt x="527" y="63"/>
                  <a:pt x="526" y="63"/>
                </a:cubicBezTo>
                <a:cubicBezTo>
                  <a:pt x="526" y="63"/>
                  <a:pt x="526" y="63"/>
                  <a:pt x="526" y="63"/>
                </a:cubicBezTo>
                <a:cubicBezTo>
                  <a:pt x="526" y="64"/>
                  <a:pt x="526" y="64"/>
                  <a:pt x="526" y="65"/>
                </a:cubicBezTo>
                <a:cubicBezTo>
                  <a:pt x="525" y="66"/>
                  <a:pt x="522" y="66"/>
                  <a:pt x="520" y="68"/>
                </a:cubicBezTo>
                <a:cubicBezTo>
                  <a:pt x="519" y="69"/>
                  <a:pt x="517" y="72"/>
                  <a:pt x="515" y="72"/>
                </a:cubicBezTo>
                <a:cubicBezTo>
                  <a:pt x="514" y="71"/>
                  <a:pt x="514" y="70"/>
                  <a:pt x="513" y="70"/>
                </a:cubicBezTo>
                <a:cubicBezTo>
                  <a:pt x="513" y="69"/>
                  <a:pt x="513" y="70"/>
                  <a:pt x="512" y="70"/>
                </a:cubicBezTo>
                <a:cubicBezTo>
                  <a:pt x="511" y="71"/>
                  <a:pt x="510" y="70"/>
                  <a:pt x="510" y="69"/>
                </a:cubicBezTo>
                <a:cubicBezTo>
                  <a:pt x="509" y="69"/>
                  <a:pt x="508" y="69"/>
                  <a:pt x="508" y="68"/>
                </a:cubicBezTo>
                <a:cubicBezTo>
                  <a:pt x="508" y="68"/>
                  <a:pt x="509" y="67"/>
                  <a:pt x="510" y="66"/>
                </a:cubicBezTo>
                <a:cubicBezTo>
                  <a:pt x="510" y="65"/>
                  <a:pt x="511" y="65"/>
                  <a:pt x="512" y="66"/>
                </a:cubicBezTo>
                <a:cubicBezTo>
                  <a:pt x="513" y="67"/>
                  <a:pt x="513" y="66"/>
                  <a:pt x="513" y="65"/>
                </a:cubicBezTo>
                <a:cubicBezTo>
                  <a:pt x="512" y="64"/>
                  <a:pt x="511" y="64"/>
                  <a:pt x="511" y="63"/>
                </a:cubicBezTo>
                <a:cubicBezTo>
                  <a:pt x="511" y="63"/>
                  <a:pt x="511" y="62"/>
                  <a:pt x="513" y="61"/>
                </a:cubicBezTo>
                <a:cubicBezTo>
                  <a:pt x="511" y="61"/>
                  <a:pt x="510" y="60"/>
                  <a:pt x="509" y="59"/>
                </a:cubicBezTo>
                <a:cubicBezTo>
                  <a:pt x="509" y="59"/>
                  <a:pt x="510" y="56"/>
                  <a:pt x="511" y="55"/>
                </a:cubicBezTo>
                <a:cubicBezTo>
                  <a:pt x="512" y="54"/>
                  <a:pt x="515" y="54"/>
                  <a:pt x="515" y="53"/>
                </a:cubicBezTo>
                <a:cubicBezTo>
                  <a:pt x="515" y="53"/>
                  <a:pt x="514" y="53"/>
                  <a:pt x="514" y="53"/>
                </a:cubicBezTo>
                <a:cubicBezTo>
                  <a:pt x="514" y="53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2" y="54"/>
                  <a:pt x="511" y="55"/>
                  <a:pt x="510" y="54"/>
                </a:cubicBezTo>
                <a:cubicBezTo>
                  <a:pt x="510" y="54"/>
                  <a:pt x="510" y="53"/>
                  <a:pt x="510" y="53"/>
                </a:cubicBezTo>
                <a:cubicBezTo>
                  <a:pt x="510" y="53"/>
                  <a:pt x="510" y="53"/>
                  <a:pt x="510" y="53"/>
                </a:cubicBezTo>
                <a:cubicBezTo>
                  <a:pt x="510" y="53"/>
                  <a:pt x="510" y="52"/>
                  <a:pt x="510" y="52"/>
                </a:cubicBezTo>
                <a:cubicBezTo>
                  <a:pt x="510" y="52"/>
                  <a:pt x="510" y="52"/>
                  <a:pt x="510" y="52"/>
                </a:cubicBezTo>
                <a:cubicBezTo>
                  <a:pt x="511" y="51"/>
                  <a:pt x="513" y="51"/>
                  <a:pt x="513" y="52"/>
                </a:cubicBezTo>
                <a:cubicBezTo>
                  <a:pt x="515" y="52"/>
                  <a:pt x="517" y="52"/>
                  <a:pt x="516" y="53"/>
                </a:cubicBezTo>
                <a:cubicBezTo>
                  <a:pt x="516" y="53"/>
                  <a:pt x="515" y="54"/>
                  <a:pt x="515" y="54"/>
                </a:cubicBezTo>
                <a:cubicBezTo>
                  <a:pt x="516" y="54"/>
                  <a:pt x="517" y="54"/>
                  <a:pt x="517" y="54"/>
                </a:cubicBezTo>
                <a:cubicBezTo>
                  <a:pt x="518" y="54"/>
                  <a:pt x="519" y="55"/>
                  <a:pt x="520" y="55"/>
                </a:cubicBezTo>
                <a:cubicBezTo>
                  <a:pt x="521" y="55"/>
                  <a:pt x="522" y="55"/>
                  <a:pt x="522" y="56"/>
                </a:cubicBezTo>
                <a:cubicBezTo>
                  <a:pt x="522" y="57"/>
                  <a:pt x="522" y="57"/>
                  <a:pt x="521" y="57"/>
                </a:cubicBezTo>
                <a:cubicBezTo>
                  <a:pt x="521" y="57"/>
                  <a:pt x="521" y="58"/>
                  <a:pt x="521" y="58"/>
                </a:cubicBezTo>
                <a:cubicBezTo>
                  <a:pt x="522" y="57"/>
                  <a:pt x="523" y="57"/>
                  <a:pt x="525" y="58"/>
                </a:cubicBezTo>
                <a:cubicBezTo>
                  <a:pt x="525" y="59"/>
                  <a:pt x="524" y="59"/>
                  <a:pt x="524" y="59"/>
                </a:cubicBezTo>
                <a:cubicBezTo>
                  <a:pt x="525" y="59"/>
                  <a:pt x="526" y="58"/>
                  <a:pt x="528" y="58"/>
                </a:cubicBezTo>
                <a:cubicBezTo>
                  <a:pt x="528" y="58"/>
                  <a:pt x="528" y="57"/>
                  <a:pt x="528" y="57"/>
                </a:cubicBezTo>
                <a:cubicBezTo>
                  <a:pt x="528" y="57"/>
                  <a:pt x="527" y="57"/>
                  <a:pt x="527" y="56"/>
                </a:cubicBezTo>
                <a:cubicBezTo>
                  <a:pt x="527" y="54"/>
                  <a:pt x="532" y="55"/>
                  <a:pt x="530" y="57"/>
                </a:cubicBezTo>
                <a:cubicBezTo>
                  <a:pt x="530" y="57"/>
                  <a:pt x="530" y="57"/>
                  <a:pt x="530" y="57"/>
                </a:cubicBezTo>
                <a:cubicBezTo>
                  <a:pt x="531" y="56"/>
                  <a:pt x="533" y="55"/>
                  <a:pt x="533" y="55"/>
                </a:cubicBezTo>
                <a:cubicBezTo>
                  <a:pt x="532" y="54"/>
                  <a:pt x="530" y="55"/>
                  <a:pt x="529" y="54"/>
                </a:cubicBezTo>
                <a:cubicBezTo>
                  <a:pt x="529" y="53"/>
                  <a:pt x="532" y="51"/>
                  <a:pt x="532" y="51"/>
                </a:cubicBezTo>
                <a:cubicBezTo>
                  <a:pt x="532" y="51"/>
                  <a:pt x="532" y="50"/>
                  <a:pt x="532" y="50"/>
                </a:cubicBezTo>
                <a:cubicBezTo>
                  <a:pt x="530" y="52"/>
                  <a:pt x="527" y="52"/>
                  <a:pt x="525" y="52"/>
                </a:cubicBezTo>
                <a:cubicBezTo>
                  <a:pt x="523" y="51"/>
                  <a:pt x="522" y="48"/>
                  <a:pt x="521" y="48"/>
                </a:cubicBezTo>
                <a:cubicBezTo>
                  <a:pt x="520" y="48"/>
                  <a:pt x="518" y="48"/>
                  <a:pt x="516" y="49"/>
                </a:cubicBezTo>
                <a:cubicBezTo>
                  <a:pt x="517" y="48"/>
                  <a:pt x="518" y="48"/>
                  <a:pt x="519" y="47"/>
                </a:cubicBezTo>
                <a:cubicBezTo>
                  <a:pt x="519" y="47"/>
                  <a:pt x="520" y="47"/>
                  <a:pt x="520" y="47"/>
                </a:cubicBezTo>
                <a:cubicBezTo>
                  <a:pt x="521" y="46"/>
                  <a:pt x="521" y="46"/>
                  <a:pt x="521" y="45"/>
                </a:cubicBezTo>
                <a:cubicBezTo>
                  <a:pt x="520" y="45"/>
                  <a:pt x="520" y="45"/>
                  <a:pt x="519" y="45"/>
                </a:cubicBezTo>
                <a:cubicBezTo>
                  <a:pt x="519" y="44"/>
                  <a:pt x="520" y="44"/>
                  <a:pt x="521" y="44"/>
                </a:cubicBezTo>
                <a:cubicBezTo>
                  <a:pt x="521" y="44"/>
                  <a:pt x="521" y="44"/>
                  <a:pt x="521" y="44"/>
                </a:cubicBezTo>
                <a:cubicBezTo>
                  <a:pt x="521" y="43"/>
                  <a:pt x="521" y="41"/>
                  <a:pt x="521" y="40"/>
                </a:cubicBezTo>
                <a:cubicBezTo>
                  <a:pt x="521" y="40"/>
                  <a:pt x="520" y="40"/>
                  <a:pt x="520" y="40"/>
                </a:cubicBezTo>
                <a:cubicBezTo>
                  <a:pt x="520" y="40"/>
                  <a:pt x="520" y="40"/>
                  <a:pt x="520" y="40"/>
                </a:cubicBezTo>
                <a:cubicBezTo>
                  <a:pt x="520" y="40"/>
                  <a:pt x="520" y="40"/>
                  <a:pt x="520" y="39"/>
                </a:cubicBezTo>
                <a:cubicBezTo>
                  <a:pt x="520" y="39"/>
                  <a:pt x="520" y="39"/>
                  <a:pt x="520" y="39"/>
                </a:cubicBezTo>
                <a:cubicBezTo>
                  <a:pt x="510" y="34"/>
                  <a:pt x="501" y="30"/>
                  <a:pt x="491" y="26"/>
                </a:cubicBezTo>
                <a:cubicBezTo>
                  <a:pt x="491" y="26"/>
                  <a:pt x="489" y="27"/>
                  <a:pt x="489" y="27"/>
                </a:cubicBezTo>
                <a:cubicBezTo>
                  <a:pt x="489" y="26"/>
                  <a:pt x="489" y="26"/>
                  <a:pt x="490" y="26"/>
                </a:cubicBezTo>
                <a:cubicBezTo>
                  <a:pt x="487" y="24"/>
                  <a:pt x="483" y="23"/>
                  <a:pt x="480" y="22"/>
                </a:cubicBezTo>
                <a:cubicBezTo>
                  <a:pt x="480" y="22"/>
                  <a:pt x="480" y="22"/>
                  <a:pt x="480" y="22"/>
                </a:cubicBezTo>
                <a:cubicBezTo>
                  <a:pt x="478" y="22"/>
                  <a:pt x="476" y="25"/>
                  <a:pt x="474" y="25"/>
                </a:cubicBezTo>
                <a:cubicBezTo>
                  <a:pt x="472" y="25"/>
                  <a:pt x="473" y="25"/>
                  <a:pt x="471" y="25"/>
                </a:cubicBezTo>
                <a:cubicBezTo>
                  <a:pt x="471" y="25"/>
                  <a:pt x="469" y="26"/>
                  <a:pt x="468" y="27"/>
                </a:cubicBezTo>
                <a:cubicBezTo>
                  <a:pt x="467" y="27"/>
                  <a:pt x="464" y="29"/>
                  <a:pt x="464" y="29"/>
                </a:cubicBezTo>
                <a:cubicBezTo>
                  <a:pt x="462" y="30"/>
                  <a:pt x="464" y="30"/>
                  <a:pt x="462" y="30"/>
                </a:cubicBezTo>
                <a:cubicBezTo>
                  <a:pt x="461" y="30"/>
                  <a:pt x="461" y="30"/>
                  <a:pt x="460" y="30"/>
                </a:cubicBezTo>
                <a:cubicBezTo>
                  <a:pt x="461" y="30"/>
                  <a:pt x="461" y="30"/>
                  <a:pt x="461" y="30"/>
                </a:cubicBezTo>
                <a:cubicBezTo>
                  <a:pt x="462" y="31"/>
                  <a:pt x="459" y="32"/>
                  <a:pt x="459" y="31"/>
                </a:cubicBezTo>
                <a:cubicBezTo>
                  <a:pt x="459" y="31"/>
                  <a:pt x="458" y="32"/>
                  <a:pt x="458" y="32"/>
                </a:cubicBezTo>
                <a:cubicBezTo>
                  <a:pt x="458" y="32"/>
                  <a:pt x="458" y="33"/>
                  <a:pt x="458" y="33"/>
                </a:cubicBezTo>
                <a:cubicBezTo>
                  <a:pt x="461" y="34"/>
                  <a:pt x="463" y="32"/>
                  <a:pt x="461" y="36"/>
                </a:cubicBezTo>
                <a:cubicBezTo>
                  <a:pt x="461" y="37"/>
                  <a:pt x="462" y="37"/>
                  <a:pt x="461" y="37"/>
                </a:cubicBezTo>
                <a:cubicBezTo>
                  <a:pt x="460" y="39"/>
                  <a:pt x="459" y="37"/>
                  <a:pt x="459" y="36"/>
                </a:cubicBezTo>
                <a:cubicBezTo>
                  <a:pt x="458" y="37"/>
                  <a:pt x="458" y="38"/>
                  <a:pt x="460" y="39"/>
                </a:cubicBezTo>
                <a:cubicBezTo>
                  <a:pt x="460" y="39"/>
                  <a:pt x="457" y="39"/>
                  <a:pt x="456" y="39"/>
                </a:cubicBezTo>
                <a:cubicBezTo>
                  <a:pt x="456" y="39"/>
                  <a:pt x="454" y="36"/>
                  <a:pt x="453" y="35"/>
                </a:cubicBezTo>
                <a:cubicBezTo>
                  <a:pt x="452" y="35"/>
                  <a:pt x="451" y="36"/>
                  <a:pt x="451" y="36"/>
                </a:cubicBezTo>
                <a:cubicBezTo>
                  <a:pt x="449" y="37"/>
                  <a:pt x="446" y="38"/>
                  <a:pt x="444" y="39"/>
                </a:cubicBezTo>
                <a:cubicBezTo>
                  <a:pt x="443" y="40"/>
                  <a:pt x="443" y="40"/>
                  <a:pt x="442" y="40"/>
                </a:cubicBezTo>
                <a:cubicBezTo>
                  <a:pt x="441" y="40"/>
                  <a:pt x="440" y="41"/>
                  <a:pt x="439" y="41"/>
                </a:cubicBezTo>
                <a:cubicBezTo>
                  <a:pt x="437" y="42"/>
                  <a:pt x="435" y="43"/>
                  <a:pt x="432" y="44"/>
                </a:cubicBezTo>
                <a:cubicBezTo>
                  <a:pt x="433" y="44"/>
                  <a:pt x="433" y="44"/>
                  <a:pt x="433" y="44"/>
                </a:cubicBezTo>
                <a:cubicBezTo>
                  <a:pt x="433" y="44"/>
                  <a:pt x="433" y="44"/>
                  <a:pt x="432" y="44"/>
                </a:cubicBezTo>
                <a:cubicBezTo>
                  <a:pt x="432" y="44"/>
                  <a:pt x="431" y="44"/>
                  <a:pt x="431" y="44"/>
                </a:cubicBezTo>
                <a:cubicBezTo>
                  <a:pt x="430" y="44"/>
                  <a:pt x="427" y="45"/>
                  <a:pt x="427" y="46"/>
                </a:cubicBezTo>
                <a:cubicBezTo>
                  <a:pt x="427" y="46"/>
                  <a:pt x="433" y="44"/>
                  <a:pt x="432" y="48"/>
                </a:cubicBezTo>
                <a:cubicBezTo>
                  <a:pt x="432" y="49"/>
                  <a:pt x="431" y="49"/>
                  <a:pt x="431" y="49"/>
                </a:cubicBezTo>
                <a:cubicBezTo>
                  <a:pt x="435" y="49"/>
                  <a:pt x="440" y="49"/>
                  <a:pt x="444" y="50"/>
                </a:cubicBezTo>
                <a:cubicBezTo>
                  <a:pt x="444" y="47"/>
                  <a:pt x="436" y="48"/>
                  <a:pt x="436" y="45"/>
                </a:cubicBezTo>
                <a:cubicBezTo>
                  <a:pt x="436" y="42"/>
                  <a:pt x="442" y="45"/>
                  <a:pt x="444" y="43"/>
                </a:cubicBezTo>
                <a:cubicBezTo>
                  <a:pt x="445" y="43"/>
                  <a:pt x="444" y="42"/>
                  <a:pt x="445" y="42"/>
                </a:cubicBezTo>
                <a:cubicBezTo>
                  <a:pt x="446" y="42"/>
                  <a:pt x="449" y="43"/>
                  <a:pt x="448" y="41"/>
                </a:cubicBezTo>
                <a:cubicBezTo>
                  <a:pt x="448" y="38"/>
                  <a:pt x="459" y="43"/>
                  <a:pt x="460" y="46"/>
                </a:cubicBezTo>
                <a:cubicBezTo>
                  <a:pt x="460" y="48"/>
                  <a:pt x="459" y="52"/>
                  <a:pt x="458" y="52"/>
                </a:cubicBezTo>
                <a:cubicBezTo>
                  <a:pt x="458" y="53"/>
                  <a:pt x="452" y="54"/>
                  <a:pt x="452" y="54"/>
                </a:cubicBezTo>
                <a:cubicBezTo>
                  <a:pt x="451" y="53"/>
                  <a:pt x="449" y="53"/>
                  <a:pt x="448" y="53"/>
                </a:cubicBezTo>
                <a:cubicBezTo>
                  <a:pt x="449" y="53"/>
                  <a:pt x="449" y="53"/>
                  <a:pt x="449" y="54"/>
                </a:cubicBezTo>
                <a:cubicBezTo>
                  <a:pt x="450" y="55"/>
                  <a:pt x="450" y="57"/>
                  <a:pt x="450" y="58"/>
                </a:cubicBezTo>
                <a:cubicBezTo>
                  <a:pt x="447" y="62"/>
                  <a:pt x="436" y="61"/>
                  <a:pt x="432" y="59"/>
                </a:cubicBezTo>
                <a:cubicBezTo>
                  <a:pt x="432" y="60"/>
                  <a:pt x="432" y="61"/>
                  <a:pt x="432" y="62"/>
                </a:cubicBezTo>
                <a:cubicBezTo>
                  <a:pt x="431" y="65"/>
                  <a:pt x="423" y="63"/>
                  <a:pt x="423" y="60"/>
                </a:cubicBezTo>
                <a:cubicBezTo>
                  <a:pt x="423" y="61"/>
                  <a:pt x="421" y="60"/>
                  <a:pt x="421" y="60"/>
                </a:cubicBezTo>
                <a:cubicBezTo>
                  <a:pt x="421" y="59"/>
                  <a:pt x="423" y="59"/>
                  <a:pt x="423" y="60"/>
                </a:cubicBezTo>
                <a:cubicBezTo>
                  <a:pt x="424" y="58"/>
                  <a:pt x="427" y="58"/>
                  <a:pt x="429" y="58"/>
                </a:cubicBezTo>
                <a:cubicBezTo>
                  <a:pt x="430" y="58"/>
                  <a:pt x="431" y="57"/>
                  <a:pt x="432" y="55"/>
                </a:cubicBezTo>
                <a:cubicBezTo>
                  <a:pt x="432" y="55"/>
                  <a:pt x="432" y="53"/>
                  <a:pt x="432" y="54"/>
                </a:cubicBezTo>
                <a:cubicBezTo>
                  <a:pt x="432" y="53"/>
                  <a:pt x="434" y="52"/>
                  <a:pt x="435" y="52"/>
                </a:cubicBezTo>
                <a:cubicBezTo>
                  <a:pt x="435" y="50"/>
                  <a:pt x="431" y="50"/>
                  <a:pt x="429" y="50"/>
                </a:cubicBezTo>
                <a:cubicBezTo>
                  <a:pt x="427" y="50"/>
                  <a:pt x="423" y="49"/>
                  <a:pt x="422" y="48"/>
                </a:cubicBezTo>
                <a:cubicBezTo>
                  <a:pt x="422" y="48"/>
                  <a:pt x="422" y="47"/>
                  <a:pt x="422" y="47"/>
                </a:cubicBezTo>
                <a:cubicBezTo>
                  <a:pt x="422" y="47"/>
                  <a:pt x="421" y="47"/>
                  <a:pt x="421" y="48"/>
                </a:cubicBezTo>
                <a:cubicBezTo>
                  <a:pt x="420" y="48"/>
                  <a:pt x="419" y="49"/>
                  <a:pt x="417" y="50"/>
                </a:cubicBezTo>
                <a:cubicBezTo>
                  <a:pt x="417" y="50"/>
                  <a:pt x="416" y="50"/>
                  <a:pt x="416" y="51"/>
                </a:cubicBezTo>
                <a:cubicBezTo>
                  <a:pt x="418" y="53"/>
                  <a:pt x="416" y="54"/>
                  <a:pt x="414" y="54"/>
                </a:cubicBezTo>
                <a:cubicBezTo>
                  <a:pt x="413" y="54"/>
                  <a:pt x="412" y="54"/>
                  <a:pt x="412" y="54"/>
                </a:cubicBezTo>
                <a:cubicBezTo>
                  <a:pt x="412" y="54"/>
                  <a:pt x="412" y="54"/>
                  <a:pt x="412" y="53"/>
                </a:cubicBezTo>
                <a:cubicBezTo>
                  <a:pt x="411" y="53"/>
                  <a:pt x="411" y="53"/>
                  <a:pt x="411" y="53"/>
                </a:cubicBezTo>
                <a:cubicBezTo>
                  <a:pt x="410" y="53"/>
                  <a:pt x="410" y="53"/>
                  <a:pt x="410" y="53"/>
                </a:cubicBezTo>
                <a:cubicBezTo>
                  <a:pt x="409" y="53"/>
                  <a:pt x="409" y="54"/>
                  <a:pt x="409" y="54"/>
                </a:cubicBezTo>
                <a:cubicBezTo>
                  <a:pt x="408" y="55"/>
                  <a:pt x="407" y="54"/>
                  <a:pt x="407" y="55"/>
                </a:cubicBezTo>
                <a:cubicBezTo>
                  <a:pt x="406" y="55"/>
                  <a:pt x="405" y="56"/>
                  <a:pt x="404" y="57"/>
                </a:cubicBezTo>
                <a:cubicBezTo>
                  <a:pt x="404" y="57"/>
                  <a:pt x="404" y="58"/>
                  <a:pt x="402" y="58"/>
                </a:cubicBezTo>
                <a:cubicBezTo>
                  <a:pt x="401" y="59"/>
                  <a:pt x="401" y="59"/>
                  <a:pt x="400" y="60"/>
                </a:cubicBezTo>
                <a:cubicBezTo>
                  <a:pt x="396" y="62"/>
                  <a:pt x="392" y="63"/>
                  <a:pt x="388" y="64"/>
                </a:cubicBezTo>
                <a:cubicBezTo>
                  <a:pt x="387" y="65"/>
                  <a:pt x="387" y="65"/>
                  <a:pt x="387" y="65"/>
                </a:cubicBezTo>
                <a:cubicBezTo>
                  <a:pt x="387" y="65"/>
                  <a:pt x="388" y="65"/>
                  <a:pt x="388" y="65"/>
                </a:cubicBezTo>
                <a:cubicBezTo>
                  <a:pt x="389" y="65"/>
                  <a:pt x="391" y="66"/>
                  <a:pt x="392" y="67"/>
                </a:cubicBezTo>
                <a:cubicBezTo>
                  <a:pt x="392" y="67"/>
                  <a:pt x="393" y="68"/>
                  <a:pt x="392" y="68"/>
                </a:cubicBezTo>
                <a:cubicBezTo>
                  <a:pt x="393" y="69"/>
                  <a:pt x="394" y="70"/>
                  <a:pt x="393" y="71"/>
                </a:cubicBezTo>
                <a:cubicBezTo>
                  <a:pt x="393" y="78"/>
                  <a:pt x="380" y="78"/>
                  <a:pt x="374" y="76"/>
                </a:cubicBezTo>
                <a:cubicBezTo>
                  <a:pt x="373" y="75"/>
                  <a:pt x="371" y="73"/>
                  <a:pt x="370" y="72"/>
                </a:cubicBezTo>
                <a:cubicBezTo>
                  <a:pt x="368" y="73"/>
                  <a:pt x="366" y="74"/>
                  <a:pt x="366" y="73"/>
                </a:cubicBezTo>
                <a:cubicBezTo>
                  <a:pt x="365" y="72"/>
                  <a:pt x="367" y="71"/>
                  <a:pt x="369" y="70"/>
                </a:cubicBezTo>
                <a:cubicBezTo>
                  <a:pt x="369" y="70"/>
                  <a:pt x="369" y="70"/>
                  <a:pt x="369" y="70"/>
                </a:cubicBezTo>
                <a:cubicBezTo>
                  <a:pt x="368" y="69"/>
                  <a:pt x="366" y="69"/>
                  <a:pt x="366" y="69"/>
                </a:cubicBezTo>
                <a:cubicBezTo>
                  <a:pt x="366" y="67"/>
                  <a:pt x="370" y="65"/>
                  <a:pt x="374" y="64"/>
                </a:cubicBezTo>
                <a:cubicBezTo>
                  <a:pt x="369" y="65"/>
                  <a:pt x="362" y="65"/>
                  <a:pt x="358" y="66"/>
                </a:cubicBezTo>
                <a:cubicBezTo>
                  <a:pt x="358" y="66"/>
                  <a:pt x="351" y="68"/>
                  <a:pt x="351" y="67"/>
                </a:cubicBezTo>
                <a:cubicBezTo>
                  <a:pt x="350" y="66"/>
                  <a:pt x="356" y="66"/>
                  <a:pt x="357" y="65"/>
                </a:cubicBezTo>
                <a:cubicBezTo>
                  <a:pt x="363" y="65"/>
                  <a:pt x="372" y="62"/>
                  <a:pt x="379" y="62"/>
                </a:cubicBezTo>
                <a:cubicBezTo>
                  <a:pt x="379" y="62"/>
                  <a:pt x="379" y="62"/>
                  <a:pt x="379" y="62"/>
                </a:cubicBezTo>
                <a:cubicBezTo>
                  <a:pt x="379" y="62"/>
                  <a:pt x="380" y="62"/>
                  <a:pt x="379" y="62"/>
                </a:cubicBezTo>
                <a:cubicBezTo>
                  <a:pt x="379" y="63"/>
                  <a:pt x="379" y="63"/>
                  <a:pt x="378" y="63"/>
                </a:cubicBezTo>
                <a:cubicBezTo>
                  <a:pt x="379" y="63"/>
                  <a:pt x="381" y="63"/>
                  <a:pt x="382" y="63"/>
                </a:cubicBezTo>
                <a:cubicBezTo>
                  <a:pt x="382" y="62"/>
                  <a:pt x="383" y="61"/>
                  <a:pt x="383" y="61"/>
                </a:cubicBezTo>
                <a:cubicBezTo>
                  <a:pt x="384" y="61"/>
                  <a:pt x="384" y="62"/>
                  <a:pt x="384" y="62"/>
                </a:cubicBezTo>
                <a:cubicBezTo>
                  <a:pt x="385" y="61"/>
                  <a:pt x="385" y="60"/>
                  <a:pt x="386" y="60"/>
                </a:cubicBezTo>
                <a:cubicBezTo>
                  <a:pt x="387" y="59"/>
                  <a:pt x="389" y="59"/>
                  <a:pt x="390" y="59"/>
                </a:cubicBezTo>
                <a:cubicBezTo>
                  <a:pt x="392" y="58"/>
                  <a:pt x="393" y="57"/>
                  <a:pt x="395" y="56"/>
                </a:cubicBezTo>
                <a:cubicBezTo>
                  <a:pt x="396" y="56"/>
                  <a:pt x="396" y="56"/>
                  <a:pt x="396" y="56"/>
                </a:cubicBezTo>
                <a:cubicBezTo>
                  <a:pt x="398" y="55"/>
                  <a:pt x="399" y="53"/>
                  <a:pt x="400" y="52"/>
                </a:cubicBezTo>
                <a:cubicBezTo>
                  <a:pt x="401" y="52"/>
                  <a:pt x="402" y="53"/>
                  <a:pt x="402" y="52"/>
                </a:cubicBezTo>
                <a:cubicBezTo>
                  <a:pt x="404" y="52"/>
                  <a:pt x="405" y="51"/>
                  <a:pt x="407" y="50"/>
                </a:cubicBezTo>
                <a:cubicBezTo>
                  <a:pt x="409" y="50"/>
                  <a:pt x="411" y="48"/>
                  <a:pt x="411" y="48"/>
                </a:cubicBezTo>
                <a:cubicBezTo>
                  <a:pt x="412" y="48"/>
                  <a:pt x="412" y="49"/>
                  <a:pt x="412" y="49"/>
                </a:cubicBezTo>
                <a:cubicBezTo>
                  <a:pt x="413" y="48"/>
                  <a:pt x="413" y="48"/>
                  <a:pt x="413" y="47"/>
                </a:cubicBezTo>
                <a:cubicBezTo>
                  <a:pt x="414" y="47"/>
                  <a:pt x="414" y="48"/>
                  <a:pt x="415" y="48"/>
                </a:cubicBezTo>
                <a:cubicBezTo>
                  <a:pt x="415" y="47"/>
                  <a:pt x="415" y="47"/>
                  <a:pt x="416" y="46"/>
                </a:cubicBezTo>
                <a:cubicBezTo>
                  <a:pt x="416" y="46"/>
                  <a:pt x="416" y="47"/>
                  <a:pt x="417" y="47"/>
                </a:cubicBezTo>
                <a:cubicBezTo>
                  <a:pt x="417" y="47"/>
                  <a:pt x="417" y="46"/>
                  <a:pt x="418" y="45"/>
                </a:cubicBezTo>
                <a:cubicBezTo>
                  <a:pt x="419" y="45"/>
                  <a:pt x="419" y="46"/>
                  <a:pt x="420" y="45"/>
                </a:cubicBezTo>
                <a:cubicBezTo>
                  <a:pt x="420" y="45"/>
                  <a:pt x="420" y="44"/>
                  <a:pt x="421" y="44"/>
                </a:cubicBezTo>
                <a:cubicBezTo>
                  <a:pt x="422" y="43"/>
                  <a:pt x="424" y="43"/>
                  <a:pt x="425" y="42"/>
                </a:cubicBezTo>
                <a:cubicBezTo>
                  <a:pt x="427" y="40"/>
                  <a:pt x="432" y="39"/>
                  <a:pt x="435" y="36"/>
                </a:cubicBezTo>
                <a:cubicBezTo>
                  <a:pt x="438" y="35"/>
                  <a:pt x="441" y="33"/>
                  <a:pt x="444" y="32"/>
                </a:cubicBezTo>
                <a:cubicBezTo>
                  <a:pt x="444" y="32"/>
                  <a:pt x="443" y="32"/>
                  <a:pt x="443" y="32"/>
                </a:cubicBezTo>
                <a:cubicBezTo>
                  <a:pt x="440" y="31"/>
                  <a:pt x="439" y="28"/>
                  <a:pt x="438" y="28"/>
                </a:cubicBezTo>
                <a:cubicBezTo>
                  <a:pt x="437" y="28"/>
                  <a:pt x="437" y="28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5" y="30"/>
                  <a:pt x="434" y="30"/>
                  <a:pt x="433" y="31"/>
                </a:cubicBezTo>
                <a:cubicBezTo>
                  <a:pt x="432" y="31"/>
                  <a:pt x="431" y="31"/>
                  <a:pt x="431" y="30"/>
                </a:cubicBezTo>
                <a:cubicBezTo>
                  <a:pt x="431" y="30"/>
                  <a:pt x="431" y="30"/>
                  <a:pt x="431" y="30"/>
                </a:cubicBezTo>
                <a:cubicBezTo>
                  <a:pt x="430" y="30"/>
                  <a:pt x="430" y="31"/>
                  <a:pt x="429" y="31"/>
                </a:cubicBezTo>
                <a:cubicBezTo>
                  <a:pt x="428" y="32"/>
                  <a:pt x="425" y="32"/>
                  <a:pt x="424" y="31"/>
                </a:cubicBezTo>
                <a:cubicBezTo>
                  <a:pt x="424" y="31"/>
                  <a:pt x="425" y="30"/>
                  <a:pt x="426" y="30"/>
                </a:cubicBezTo>
                <a:cubicBezTo>
                  <a:pt x="426" y="30"/>
                  <a:pt x="425" y="29"/>
                  <a:pt x="425" y="29"/>
                </a:cubicBezTo>
                <a:cubicBezTo>
                  <a:pt x="424" y="30"/>
                  <a:pt x="423" y="30"/>
                  <a:pt x="423" y="30"/>
                </a:cubicBezTo>
                <a:cubicBezTo>
                  <a:pt x="418" y="29"/>
                  <a:pt x="416" y="25"/>
                  <a:pt x="419" y="23"/>
                </a:cubicBezTo>
                <a:cubicBezTo>
                  <a:pt x="421" y="21"/>
                  <a:pt x="429" y="22"/>
                  <a:pt x="429" y="26"/>
                </a:cubicBezTo>
                <a:cubicBezTo>
                  <a:pt x="429" y="29"/>
                  <a:pt x="428" y="27"/>
                  <a:pt x="431" y="27"/>
                </a:cubicBezTo>
                <a:cubicBezTo>
                  <a:pt x="434" y="26"/>
                  <a:pt x="435" y="27"/>
                  <a:pt x="436" y="25"/>
                </a:cubicBezTo>
                <a:cubicBezTo>
                  <a:pt x="439" y="21"/>
                  <a:pt x="442" y="21"/>
                  <a:pt x="446" y="22"/>
                </a:cubicBezTo>
                <a:cubicBezTo>
                  <a:pt x="446" y="21"/>
                  <a:pt x="448" y="21"/>
                  <a:pt x="449" y="22"/>
                </a:cubicBezTo>
                <a:cubicBezTo>
                  <a:pt x="450" y="22"/>
                  <a:pt x="450" y="21"/>
                  <a:pt x="451" y="21"/>
                </a:cubicBezTo>
                <a:cubicBezTo>
                  <a:pt x="452" y="22"/>
                  <a:pt x="451" y="23"/>
                  <a:pt x="450" y="24"/>
                </a:cubicBezTo>
                <a:cubicBezTo>
                  <a:pt x="451" y="25"/>
                  <a:pt x="452" y="26"/>
                  <a:pt x="452" y="28"/>
                </a:cubicBezTo>
                <a:cubicBezTo>
                  <a:pt x="451" y="28"/>
                  <a:pt x="451" y="29"/>
                  <a:pt x="451" y="30"/>
                </a:cubicBezTo>
                <a:cubicBezTo>
                  <a:pt x="451" y="29"/>
                  <a:pt x="451" y="29"/>
                  <a:pt x="452" y="29"/>
                </a:cubicBezTo>
                <a:cubicBezTo>
                  <a:pt x="453" y="29"/>
                  <a:pt x="455" y="29"/>
                  <a:pt x="457" y="29"/>
                </a:cubicBezTo>
                <a:cubicBezTo>
                  <a:pt x="458" y="28"/>
                  <a:pt x="458" y="27"/>
                  <a:pt x="460" y="27"/>
                </a:cubicBezTo>
                <a:cubicBezTo>
                  <a:pt x="461" y="26"/>
                  <a:pt x="463" y="26"/>
                  <a:pt x="465" y="26"/>
                </a:cubicBezTo>
                <a:cubicBezTo>
                  <a:pt x="463" y="25"/>
                  <a:pt x="462" y="25"/>
                  <a:pt x="460" y="25"/>
                </a:cubicBezTo>
                <a:cubicBezTo>
                  <a:pt x="462" y="25"/>
                  <a:pt x="462" y="23"/>
                  <a:pt x="461" y="23"/>
                </a:cubicBezTo>
                <a:cubicBezTo>
                  <a:pt x="461" y="23"/>
                  <a:pt x="462" y="21"/>
                  <a:pt x="463" y="20"/>
                </a:cubicBezTo>
                <a:cubicBezTo>
                  <a:pt x="464" y="20"/>
                  <a:pt x="465" y="20"/>
                  <a:pt x="466" y="20"/>
                </a:cubicBezTo>
                <a:cubicBezTo>
                  <a:pt x="466" y="20"/>
                  <a:pt x="467" y="20"/>
                  <a:pt x="468" y="20"/>
                </a:cubicBezTo>
                <a:cubicBezTo>
                  <a:pt x="468" y="21"/>
                  <a:pt x="467" y="21"/>
                  <a:pt x="466" y="21"/>
                </a:cubicBezTo>
                <a:cubicBezTo>
                  <a:pt x="468" y="22"/>
                  <a:pt x="468" y="23"/>
                  <a:pt x="468" y="24"/>
                </a:cubicBezTo>
                <a:cubicBezTo>
                  <a:pt x="469" y="23"/>
                  <a:pt x="470" y="23"/>
                  <a:pt x="471" y="22"/>
                </a:cubicBezTo>
                <a:cubicBezTo>
                  <a:pt x="471" y="22"/>
                  <a:pt x="470" y="22"/>
                  <a:pt x="470" y="21"/>
                </a:cubicBezTo>
                <a:cubicBezTo>
                  <a:pt x="469" y="20"/>
                  <a:pt x="471" y="19"/>
                  <a:pt x="473" y="19"/>
                </a:cubicBezTo>
                <a:cubicBezTo>
                  <a:pt x="473" y="19"/>
                  <a:pt x="473" y="19"/>
                  <a:pt x="473" y="19"/>
                </a:cubicBezTo>
                <a:cubicBezTo>
                  <a:pt x="456" y="13"/>
                  <a:pt x="438" y="9"/>
                  <a:pt x="419" y="5"/>
                </a:cubicBezTo>
                <a:cubicBezTo>
                  <a:pt x="427" y="10"/>
                  <a:pt x="416" y="16"/>
                  <a:pt x="410" y="12"/>
                </a:cubicBezTo>
                <a:cubicBezTo>
                  <a:pt x="408" y="10"/>
                  <a:pt x="409" y="9"/>
                  <a:pt x="407" y="7"/>
                </a:cubicBezTo>
                <a:cubicBezTo>
                  <a:pt x="408" y="6"/>
                  <a:pt x="410" y="5"/>
                  <a:pt x="412" y="4"/>
                </a:cubicBezTo>
                <a:cubicBezTo>
                  <a:pt x="408" y="4"/>
                  <a:pt x="405" y="3"/>
                  <a:pt x="401" y="3"/>
                </a:cubicBezTo>
                <a:cubicBezTo>
                  <a:pt x="401" y="3"/>
                  <a:pt x="401" y="3"/>
                  <a:pt x="401" y="3"/>
                </a:cubicBezTo>
                <a:cubicBezTo>
                  <a:pt x="398" y="2"/>
                  <a:pt x="396" y="2"/>
                  <a:pt x="393" y="2"/>
                </a:cubicBezTo>
                <a:cubicBezTo>
                  <a:pt x="392" y="6"/>
                  <a:pt x="385" y="4"/>
                  <a:pt x="382" y="1"/>
                </a:cubicBezTo>
                <a:cubicBezTo>
                  <a:pt x="374" y="0"/>
                  <a:pt x="366" y="0"/>
                  <a:pt x="357" y="0"/>
                </a:cubicBezTo>
                <a:cubicBezTo>
                  <a:pt x="343" y="0"/>
                  <a:pt x="328" y="1"/>
                  <a:pt x="314" y="3"/>
                </a:cubicBezTo>
                <a:cubicBezTo>
                  <a:pt x="314" y="3"/>
                  <a:pt x="314" y="3"/>
                  <a:pt x="315" y="3"/>
                </a:cubicBezTo>
                <a:cubicBezTo>
                  <a:pt x="315" y="3"/>
                  <a:pt x="315" y="3"/>
                  <a:pt x="315" y="3"/>
                </a:cubicBezTo>
                <a:cubicBezTo>
                  <a:pt x="315" y="4"/>
                  <a:pt x="314" y="3"/>
                  <a:pt x="314" y="3"/>
                </a:cubicBezTo>
                <a:cubicBezTo>
                  <a:pt x="138" y="24"/>
                  <a:pt x="1" y="173"/>
                  <a:pt x="0" y="354"/>
                </a:cubicBezTo>
                <a:cubicBezTo>
                  <a:pt x="0" y="354"/>
                  <a:pt x="0" y="353"/>
                  <a:pt x="1" y="353"/>
                </a:cubicBezTo>
                <a:cubicBezTo>
                  <a:pt x="1" y="353"/>
                  <a:pt x="2" y="356"/>
                  <a:pt x="1" y="356"/>
                </a:cubicBezTo>
                <a:cubicBezTo>
                  <a:pt x="0" y="357"/>
                  <a:pt x="0" y="356"/>
                  <a:pt x="0" y="356"/>
                </a:cubicBezTo>
                <a:cubicBezTo>
                  <a:pt x="0" y="356"/>
                  <a:pt x="0" y="357"/>
                  <a:pt x="0" y="357"/>
                </a:cubicBezTo>
                <a:cubicBezTo>
                  <a:pt x="0" y="375"/>
                  <a:pt x="1" y="392"/>
                  <a:pt x="4" y="409"/>
                </a:cubicBezTo>
                <a:cubicBezTo>
                  <a:pt x="4" y="409"/>
                  <a:pt x="4" y="409"/>
                  <a:pt x="4" y="409"/>
                </a:cubicBezTo>
                <a:cubicBezTo>
                  <a:pt x="5" y="409"/>
                  <a:pt x="5" y="412"/>
                  <a:pt x="5" y="412"/>
                </a:cubicBezTo>
                <a:cubicBezTo>
                  <a:pt x="4" y="413"/>
                  <a:pt x="4" y="413"/>
                  <a:pt x="4" y="413"/>
                </a:cubicBezTo>
                <a:cubicBezTo>
                  <a:pt x="5" y="418"/>
                  <a:pt x="6" y="424"/>
                  <a:pt x="7" y="429"/>
                </a:cubicBezTo>
                <a:cubicBezTo>
                  <a:pt x="8" y="429"/>
                  <a:pt x="8" y="429"/>
                  <a:pt x="8" y="429"/>
                </a:cubicBezTo>
                <a:cubicBezTo>
                  <a:pt x="9" y="430"/>
                  <a:pt x="8" y="430"/>
                  <a:pt x="7" y="431"/>
                </a:cubicBezTo>
                <a:cubicBezTo>
                  <a:pt x="8" y="433"/>
                  <a:pt x="8" y="435"/>
                  <a:pt x="9" y="438"/>
                </a:cubicBezTo>
                <a:cubicBezTo>
                  <a:pt x="9" y="438"/>
                  <a:pt x="9" y="438"/>
                  <a:pt x="9" y="438"/>
                </a:cubicBezTo>
                <a:cubicBezTo>
                  <a:pt x="9" y="440"/>
                  <a:pt x="10" y="441"/>
                  <a:pt x="10" y="443"/>
                </a:cubicBezTo>
                <a:cubicBezTo>
                  <a:pt x="10" y="443"/>
                  <a:pt x="10" y="443"/>
                  <a:pt x="10" y="442"/>
                </a:cubicBezTo>
                <a:cubicBezTo>
                  <a:pt x="10" y="442"/>
                  <a:pt x="10" y="442"/>
                  <a:pt x="10" y="441"/>
                </a:cubicBezTo>
                <a:cubicBezTo>
                  <a:pt x="10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2" y="441"/>
                  <a:pt x="13" y="440"/>
                  <a:pt x="14" y="440"/>
                </a:cubicBezTo>
                <a:cubicBezTo>
                  <a:pt x="14" y="439"/>
                  <a:pt x="15" y="438"/>
                  <a:pt x="16" y="439"/>
                </a:cubicBezTo>
                <a:cubicBezTo>
                  <a:pt x="17" y="439"/>
                  <a:pt x="17" y="439"/>
                  <a:pt x="18" y="440"/>
                </a:cubicBezTo>
                <a:cubicBezTo>
                  <a:pt x="20" y="443"/>
                  <a:pt x="19" y="438"/>
                  <a:pt x="18" y="438"/>
                </a:cubicBezTo>
                <a:cubicBezTo>
                  <a:pt x="18" y="438"/>
                  <a:pt x="18" y="438"/>
                  <a:pt x="17" y="437"/>
                </a:cubicBezTo>
                <a:cubicBezTo>
                  <a:pt x="17" y="437"/>
                  <a:pt x="17" y="437"/>
                  <a:pt x="17" y="436"/>
                </a:cubicBezTo>
                <a:cubicBezTo>
                  <a:pt x="17" y="435"/>
                  <a:pt x="17" y="432"/>
                  <a:pt x="17" y="431"/>
                </a:cubicBezTo>
                <a:cubicBezTo>
                  <a:pt x="17" y="433"/>
                  <a:pt x="18" y="434"/>
                  <a:pt x="19" y="435"/>
                </a:cubicBezTo>
                <a:cubicBezTo>
                  <a:pt x="19" y="435"/>
                  <a:pt x="19" y="435"/>
                  <a:pt x="19" y="435"/>
                </a:cubicBezTo>
                <a:cubicBezTo>
                  <a:pt x="20" y="435"/>
                  <a:pt x="19" y="436"/>
                  <a:pt x="19" y="436"/>
                </a:cubicBezTo>
                <a:cubicBezTo>
                  <a:pt x="19" y="437"/>
                  <a:pt x="19" y="437"/>
                  <a:pt x="19" y="438"/>
                </a:cubicBezTo>
                <a:cubicBezTo>
                  <a:pt x="20" y="437"/>
                  <a:pt x="19" y="435"/>
                  <a:pt x="21" y="434"/>
                </a:cubicBezTo>
                <a:cubicBezTo>
                  <a:pt x="20" y="436"/>
                  <a:pt x="20" y="437"/>
                  <a:pt x="21" y="438"/>
                </a:cubicBezTo>
                <a:cubicBezTo>
                  <a:pt x="21" y="438"/>
                  <a:pt x="22" y="438"/>
                  <a:pt x="22" y="438"/>
                </a:cubicBezTo>
                <a:cubicBezTo>
                  <a:pt x="22" y="438"/>
                  <a:pt x="22" y="438"/>
                  <a:pt x="22" y="438"/>
                </a:cubicBezTo>
                <a:cubicBezTo>
                  <a:pt x="23" y="438"/>
                  <a:pt x="23" y="438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3" y="435"/>
                  <a:pt x="23" y="434"/>
                  <a:pt x="23" y="434"/>
                </a:cubicBezTo>
                <a:cubicBezTo>
                  <a:pt x="23" y="433"/>
                  <a:pt x="22" y="433"/>
                  <a:pt x="21" y="434"/>
                </a:cubicBezTo>
                <a:cubicBezTo>
                  <a:pt x="20" y="434"/>
                  <a:pt x="20" y="435"/>
                  <a:pt x="19" y="434"/>
                </a:cubicBezTo>
                <a:cubicBezTo>
                  <a:pt x="19" y="434"/>
                  <a:pt x="19" y="434"/>
                  <a:pt x="19" y="433"/>
                </a:cubicBezTo>
                <a:cubicBezTo>
                  <a:pt x="19" y="433"/>
                  <a:pt x="19" y="433"/>
                  <a:pt x="19" y="433"/>
                </a:cubicBezTo>
                <a:cubicBezTo>
                  <a:pt x="18" y="433"/>
                  <a:pt x="19" y="431"/>
                  <a:pt x="18" y="429"/>
                </a:cubicBezTo>
                <a:cubicBezTo>
                  <a:pt x="17" y="430"/>
                  <a:pt x="16" y="429"/>
                  <a:pt x="16" y="426"/>
                </a:cubicBezTo>
                <a:cubicBezTo>
                  <a:pt x="16" y="426"/>
                  <a:pt x="16" y="426"/>
                  <a:pt x="16" y="426"/>
                </a:cubicBezTo>
                <a:cubicBezTo>
                  <a:pt x="16" y="427"/>
                  <a:pt x="14" y="432"/>
                  <a:pt x="15" y="433"/>
                </a:cubicBezTo>
                <a:cubicBezTo>
                  <a:pt x="15" y="433"/>
                  <a:pt x="16" y="437"/>
                  <a:pt x="14" y="435"/>
                </a:cubicBezTo>
                <a:cubicBezTo>
                  <a:pt x="12" y="434"/>
                  <a:pt x="15" y="429"/>
                  <a:pt x="15" y="426"/>
                </a:cubicBezTo>
                <a:cubicBezTo>
                  <a:pt x="14" y="426"/>
                  <a:pt x="14" y="426"/>
                  <a:pt x="14" y="425"/>
                </a:cubicBezTo>
                <a:cubicBezTo>
                  <a:pt x="13" y="424"/>
                  <a:pt x="14" y="424"/>
                  <a:pt x="14" y="423"/>
                </a:cubicBezTo>
                <a:cubicBezTo>
                  <a:pt x="14" y="423"/>
                  <a:pt x="14" y="422"/>
                  <a:pt x="15" y="422"/>
                </a:cubicBezTo>
                <a:cubicBezTo>
                  <a:pt x="14" y="421"/>
                  <a:pt x="13" y="422"/>
                  <a:pt x="12" y="421"/>
                </a:cubicBezTo>
                <a:cubicBezTo>
                  <a:pt x="13" y="421"/>
                  <a:pt x="11" y="419"/>
                  <a:pt x="11" y="420"/>
                </a:cubicBezTo>
                <a:cubicBezTo>
                  <a:pt x="11" y="417"/>
                  <a:pt x="14" y="417"/>
                  <a:pt x="15" y="419"/>
                </a:cubicBezTo>
                <a:cubicBezTo>
                  <a:pt x="14" y="418"/>
                  <a:pt x="16" y="419"/>
                  <a:pt x="17" y="418"/>
                </a:cubicBezTo>
                <a:cubicBezTo>
                  <a:pt x="16" y="418"/>
                  <a:pt x="17" y="413"/>
                  <a:pt x="19" y="413"/>
                </a:cubicBezTo>
                <a:cubicBezTo>
                  <a:pt x="19" y="413"/>
                  <a:pt x="18" y="416"/>
                  <a:pt x="19" y="417"/>
                </a:cubicBezTo>
                <a:cubicBezTo>
                  <a:pt x="19" y="417"/>
                  <a:pt x="19" y="417"/>
                  <a:pt x="19" y="417"/>
                </a:cubicBezTo>
                <a:cubicBezTo>
                  <a:pt x="19" y="417"/>
                  <a:pt x="19" y="416"/>
                  <a:pt x="20" y="417"/>
                </a:cubicBezTo>
                <a:cubicBezTo>
                  <a:pt x="20" y="417"/>
                  <a:pt x="21" y="418"/>
                  <a:pt x="20" y="419"/>
                </a:cubicBezTo>
                <a:cubicBezTo>
                  <a:pt x="20" y="419"/>
                  <a:pt x="20" y="419"/>
                  <a:pt x="20" y="419"/>
                </a:cubicBezTo>
                <a:cubicBezTo>
                  <a:pt x="21" y="419"/>
                  <a:pt x="20" y="420"/>
                  <a:pt x="19" y="420"/>
                </a:cubicBezTo>
                <a:cubicBezTo>
                  <a:pt x="17" y="421"/>
                  <a:pt x="19" y="421"/>
                  <a:pt x="20" y="422"/>
                </a:cubicBezTo>
                <a:cubicBezTo>
                  <a:pt x="20" y="422"/>
                  <a:pt x="20" y="422"/>
                  <a:pt x="21" y="422"/>
                </a:cubicBezTo>
                <a:cubicBezTo>
                  <a:pt x="21" y="422"/>
                  <a:pt x="21" y="422"/>
                  <a:pt x="21" y="422"/>
                </a:cubicBezTo>
                <a:cubicBezTo>
                  <a:pt x="22" y="423"/>
                  <a:pt x="22" y="423"/>
                  <a:pt x="22" y="424"/>
                </a:cubicBezTo>
                <a:cubicBezTo>
                  <a:pt x="22" y="424"/>
                  <a:pt x="23" y="423"/>
                  <a:pt x="24" y="423"/>
                </a:cubicBezTo>
                <a:cubicBezTo>
                  <a:pt x="25" y="423"/>
                  <a:pt x="24" y="425"/>
                  <a:pt x="26" y="425"/>
                </a:cubicBezTo>
                <a:cubicBezTo>
                  <a:pt x="26" y="425"/>
                  <a:pt x="26" y="425"/>
                  <a:pt x="26" y="425"/>
                </a:cubicBezTo>
                <a:cubicBezTo>
                  <a:pt x="27" y="422"/>
                  <a:pt x="30" y="417"/>
                  <a:pt x="26" y="418"/>
                </a:cubicBezTo>
                <a:cubicBezTo>
                  <a:pt x="29" y="416"/>
                  <a:pt x="25" y="414"/>
                  <a:pt x="24" y="414"/>
                </a:cubicBezTo>
                <a:cubicBezTo>
                  <a:pt x="23" y="412"/>
                  <a:pt x="25" y="415"/>
                  <a:pt x="25" y="414"/>
                </a:cubicBezTo>
                <a:cubicBezTo>
                  <a:pt x="27" y="413"/>
                  <a:pt x="24" y="411"/>
                  <a:pt x="24" y="408"/>
                </a:cubicBezTo>
                <a:cubicBezTo>
                  <a:pt x="24" y="408"/>
                  <a:pt x="26" y="406"/>
                  <a:pt x="26" y="406"/>
                </a:cubicBezTo>
                <a:cubicBezTo>
                  <a:pt x="27" y="404"/>
                  <a:pt x="24" y="405"/>
                  <a:pt x="27" y="404"/>
                </a:cubicBezTo>
                <a:cubicBezTo>
                  <a:pt x="29" y="404"/>
                  <a:pt x="29" y="400"/>
                  <a:pt x="30" y="399"/>
                </a:cubicBezTo>
                <a:cubicBezTo>
                  <a:pt x="30" y="399"/>
                  <a:pt x="34" y="398"/>
                  <a:pt x="34" y="396"/>
                </a:cubicBezTo>
                <a:cubicBezTo>
                  <a:pt x="30" y="400"/>
                  <a:pt x="28" y="395"/>
                  <a:pt x="29" y="394"/>
                </a:cubicBezTo>
                <a:cubicBezTo>
                  <a:pt x="29" y="394"/>
                  <a:pt x="28" y="391"/>
                  <a:pt x="31" y="391"/>
                </a:cubicBezTo>
                <a:cubicBezTo>
                  <a:pt x="33" y="390"/>
                  <a:pt x="32" y="391"/>
                  <a:pt x="34" y="389"/>
                </a:cubicBezTo>
                <a:cubicBezTo>
                  <a:pt x="35" y="388"/>
                  <a:pt x="34" y="396"/>
                  <a:pt x="35" y="396"/>
                </a:cubicBezTo>
                <a:cubicBezTo>
                  <a:pt x="36" y="398"/>
                  <a:pt x="36" y="395"/>
                  <a:pt x="37" y="398"/>
                </a:cubicBezTo>
                <a:cubicBezTo>
                  <a:pt x="38" y="404"/>
                  <a:pt x="42" y="414"/>
                  <a:pt x="34" y="417"/>
                </a:cubicBezTo>
                <a:cubicBezTo>
                  <a:pt x="32" y="418"/>
                  <a:pt x="31" y="417"/>
                  <a:pt x="30" y="418"/>
                </a:cubicBezTo>
                <a:cubicBezTo>
                  <a:pt x="28" y="420"/>
                  <a:pt x="28" y="422"/>
                  <a:pt x="27" y="425"/>
                </a:cubicBezTo>
                <a:cubicBezTo>
                  <a:pt x="27" y="425"/>
                  <a:pt x="27" y="425"/>
                  <a:pt x="27" y="425"/>
                </a:cubicBezTo>
                <a:cubicBezTo>
                  <a:pt x="28" y="425"/>
                  <a:pt x="27" y="426"/>
                  <a:pt x="28" y="427"/>
                </a:cubicBezTo>
                <a:cubicBezTo>
                  <a:pt x="28" y="427"/>
                  <a:pt x="29" y="427"/>
                  <a:pt x="30" y="427"/>
                </a:cubicBezTo>
                <a:cubicBezTo>
                  <a:pt x="30" y="426"/>
                  <a:pt x="30" y="426"/>
                  <a:pt x="31" y="426"/>
                </a:cubicBezTo>
                <a:cubicBezTo>
                  <a:pt x="31" y="426"/>
                  <a:pt x="31" y="426"/>
                  <a:pt x="31" y="427"/>
                </a:cubicBezTo>
                <a:cubicBezTo>
                  <a:pt x="31" y="427"/>
                  <a:pt x="32" y="427"/>
                  <a:pt x="32" y="427"/>
                </a:cubicBezTo>
                <a:cubicBezTo>
                  <a:pt x="32" y="428"/>
                  <a:pt x="31" y="430"/>
                  <a:pt x="33" y="429"/>
                </a:cubicBezTo>
                <a:cubicBezTo>
                  <a:pt x="33" y="430"/>
                  <a:pt x="33" y="432"/>
                  <a:pt x="33" y="433"/>
                </a:cubicBezTo>
                <a:cubicBezTo>
                  <a:pt x="33" y="433"/>
                  <a:pt x="33" y="433"/>
                  <a:pt x="33" y="433"/>
                </a:cubicBezTo>
                <a:cubicBezTo>
                  <a:pt x="34" y="433"/>
                  <a:pt x="36" y="432"/>
                  <a:pt x="35" y="432"/>
                </a:cubicBezTo>
                <a:cubicBezTo>
                  <a:pt x="36" y="432"/>
                  <a:pt x="35" y="435"/>
                  <a:pt x="34" y="436"/>
                </a:cubicBezTo>
                <a:cubicBezTo>
                  <a:pt x="34" y="437"/>
                  <a:pt x="34" y="437"/>
                  <a:pt x="35" y="437"/>
                </a:cubicBezTo>
                <a:cubicBezTo>
                  <a:pt x="34" y="437"/>
                  <a:pt x="38" y="431"/>
                  <a:pt x="39" y="435"/>
                </a:cubicBezTo>
                <a:cubicBezTo>
                  <a:pt x="39" y="434"/>
                  <a:pt x="39" y="434"/>
                  <a:pt x="39" y="434"/>
                </a:cubicBezTo>
                <a:cubicBezTo>
                  <a:pt x="39" y="434"/>
                  <a:pt x="41" y="432"/>
                  <a:pt x="41" y="432"/>
                </a:cubicBezTo>
                <a:cubicBezTo>
                  <a:pt x="43" y="433"/>
                  <a:pt x="41" y="437"/>
                  <a:pt x="40" y="439"/>
                </a:cubicBezTo>
                <a:cubicBezTo>
                  <a:pt x="42" y="439"/>
                  <a:pt x="43" y="440"/>
                  <a:pt x="42" y="441"/>
                </a:cubicBezTo>
                <a:cubicBezTo>
                  <a:pt x="42" y="441"/>
                  <a:pt x="42" y="442"/>
                  <a:pt x="42" y="442"/>
                </a:cubicBezTo>
                <a:cubicBezTo>
                  <a:pt x="42" y="442"/>
                  <a:pt x="42" y="443"/>
                  <a:pt x="41" y="443"/>
                </a:cubicBezTo>
                <a:cubicBezTo>
                  <a:pt x="41" y="443"/>
                  <a:pt x="40" y="444"/>
                  <a:pt x="40" y="444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5"/>
                  <a:pt x="39" y="447"/>
                  <a:pt x="38" y="448"/>
                </a:cubicBezTo>
                <a:cubicBezTo>
                  <a:pt x="38" y="449"/>
                  <a:pt x="38" y="449"/>
                  <a:pt x="38" y="450"/>
                </a:cubicBezTo>
                <a:cubicBezTo>
                  <a:pt x="38" y="450"/>
                  <a:pt x="38" y="450"/>
                  <a:pt x="39" y="450"/>
                </a:cubicBezTo>
                <a:cubicBezTo>
                  <a:pt x="39" y="449"/>
                  <a:pt x="40" y="448"/>
                  <a:pt x="41" y="447"/>
                </a:cubicBezTo>
                <a:cubicBezTo>
                  <a:pt x="41" y="448"/>
                  <a:pt x="40" y="450"/>
                  <a:pt x="39" y="451"/>
                </a:cubicBezTo>
                <a:cubicBezTo>
                  <a:pt x="39" y="451"/>
                  <a:pt x="39" y="451"/>
                  <a:pt x="39" y="451"/>
                </a:cubicBezTo>
                <a:cubicBezTo>
                  <a:pt x="39" y="451"/>
                  <a:pt x="40" y="451"/>
                  <a:pt x="40" y="451"/>
                </a:cubicBezTo>
                <a:cubicBezTo>
                  <a:pt x="40" y="451"/>
                  <a:pt x="39" y="452"/>
                  <a:pt x="39" y="451"/>
                </a:cubicBezTo>
                <a:cubicBezTo>
                  <a:pt x="38" y="453"/>
                  <a:pt x="35" y="455"/>
                  <a:pt x="35" y="457"/>
                </a:cubicBezTo>
                <a:cubicBezTo>
                  <a:pt x="35" y="456"/>
                  <a:pt x="35" y="456"/>
                  <a:pt x="35" y="456"/>
                </a:cubicBezTo>
                <a:cubicBezTo>
                  <a:pt x="36" y="456"/>
                  <a:pt x="36" y="458"/>
                  <a:pt x="36" y="459"/>
                </a:cubicBezTo>
                <a:cubicBezTo>
                  <a:pt x="36" y="459"/>
                  <a:pt x="37" y="459"/>
                  <a:pt x="37" y="460"/>
                </a:cubicBezTo>
                <a:cubicBezTo>
                  <a:pt x="37" y="461"/>
                  <a:pt x="35" y="463"/>
                  <a:pt x="34" y="463"/>
                </a:cubicBezTo>
                <a:cubicBezTo>
                  <a:pt x="34" y="463"/>
                  <a:pt x="34" y="462"/>
                  <a:pt x="34" y="462"/>
                </a:cubicBezTo>
                <a:cubicBezTo>
                  <a:pt x="34" y="462"/>
                  <a:pt x="34" y="462"/>
                  <a:pt x="34" y="462"/>
                </a:cubicBezTo>
                <a:cubicBezTo>
                  <a:pt x="34" y="462"/>
                  <a:pt x="33" y="463"/>
                  <a:pt x="33" y="463"/>
                </a:cubicBezTo>
                <a:cubicBezTo>
                  <a:pt x="31" y="462"/>
                  <a:pt x="33" y="461"/>
                  <a:pt x="34" y="461"/>
                </a:cubicBezTo>
                <a:cubicBezTo>
                  <a:pt x="34" y="461"/>
                  <a:pt x="34" y="460"/>
                  <a:pt x="33" y="460"/>
                </a:cubicBezTo>
                <a:cubicBezTo>
                  <a:pt x="33" y="460"/>
                  <a:pt x="33" y="460"/>
                  <a:pt x="33" y="461"/>
                </a:cubicBezTo>
                <a:cubicBezTo>
                  <a:pt x="32" y="462"/>
                  <a:pt x="31" y="461"/>
                  <a:pt x="32" y="460"/>
                </a:cubicBezTo>
                <a:cubicBezTo>
                  <a:pt x="29" y="460"/>
                  <a:pt x="23" y="461"/>
                  <a:pt x="24" y="461"/>
                </a:cubicBezTo>
                <a:cubicBezTo>
                  <a:pt x="23" y="461"/>
                  <a:pt x="21" y="469"/>
                  <a:pt x="21" y="464"/>
                </a:cubicBezTo>
                <a:cubicBezTo>
                  <a:pt x="21" y="464"/>
                  <a:pt x="21" y="465"/>
                  <a:pt x="20" y="465"/>
                </a:cubicBezTo>
                <a:cubicBezTo>
                  <a:pt x="20" y="465"/>
                  <a:pt x="20" y="465"/>
                  <a:pt x="20" y="465"/>
                </a:cubicBezTo>
                <a:cubicBezTo>
                  <a:pt x="20" y="465"/>
                  <a:pt x="20" y="466"/>
                  <a:pt x="19" y="465"/>
                </a:cubicBezTo>
                <a:cubicBezTo>
                  <a:pt x="19" y="465"/>
                  <a:pt x="19" y="466"/>
                  <a:pt x="19" y="466"/>
                </a:cubicBezTo>
                <a:cubicBezTo>
                  <a:pt x="19" y="467"/>
                  <a:pt x="18" y="465"/>
                  <a:pt x="18" y="465"/>
                </a:cubicBezTo>
                <a:cubicBezTo>
                  <a:pt x="17" y="464"/>
                  <a:pt x="17" y="464"/>
                  <a:pt x="16" y="464"/>
                </a:cubicBezTo>
                <a:cubicBezTo>
                  <a:pt x="16" y="464"/>
                  <a:pt x="16" y="463"/>
                  <a:pt x="16" y="463"/>
                </a:cubicBezTo>
                <a:cubicBezTo>
                  <a:pt x="17" y="466"/>
                  <a:pt x="17" y="468"/>
                  <a:pt x="18" y="470"/>
                </a:cubicBezTo>
                <a:cubicBezTo>
                  <a:pt x="18" y="471"/>
                  <a:pt x="19" y="471"/>
                  <a:pt x="18" y="471"/>
                </a:cubicBezTo>
                <a:cubicBezTo>
                  <a:pt x="18" y="472"/>
                  <a:pt x="19" y="472"/>
                  <a:pt x="19" y="472"/>
                </a:cubicBezTo>
                <a:cubicBezTo>
                  <a:pt x="19" y="472"/>
                  <a:pt x="19" y="472"/>
                  <a:pt x="19" y="471"/>
                </a:cubicBezTo>
                <a:cubicBezTo>
                  <a:pt x="20" y="470"/>
                  <a:pt x="21" y="470"/>
                  <a:pt x="22" y="469"/>
                </a:cubicBezTo>
                <a:cubicBezTo>
                  <a:pt x="21" y="468"/>
                  <a:pt x="22" y="466"/>
                  <a:pt x="23" y="467"/>
                </a:cubicBezTo>
                <a:cubicBezTo>
                  <a:pt x="24" y="467"/>
                  <a:pt x="24" y="468"/>
                  <a:pt x="23" y="469"/>
                </a:cubicBezTo>
                <a:cubicBezTo>
                  <a:pt x="23" y="469"/>
                  <a:pt x="23" y="469"/>
                  <a:pt x="24" y="469"/>
                </a:cubicBezTo>
                <a:cubicBezTo>
                  <a:pt x="24" y="469"/>
                  <a:pt x="24" y="469"/>
                  <a:pt x="24" y="469"/>
                </a:cubicBezTo>
                <a:cubicBezTo>
                  <a:pt x="26" y="468"/>
                  <a:pt x="28" y="469"/>
                  <a:pt x="29" y="470"/>
                </a:cubicBezTo>
                <a:cubicBezTo>
                  <a:pt x="29" y="470"/>
                  <a:pt x="30" y="470"/>
                  <a:pt x="30" y="470"/>
                </a:cubicBezTo>
                <a:cubicBezTo>
                  <a:pt x="30" y="470"/>
                  <a:pt x="30" y="470"/>
                  <a:pt x="30" y="470"/>
                </a:cubicBezTo>
                <a:cubicBezTo>
                  <a:pt x="30" y="470"/>
                  <a:pt x="31" y="471"/>
                  <a:pt x="30" y="471"/>
                </a:cubicBezTo>
                <a:cubicBezTo>
                  <a:pt x="32" y="472"/>
                  <a:pt x="33" y="475"/>
                  <a:pt x="33" y="477"/>
                </a:cubicBezTo>
                <a:cubicBezTo>
                  <a:pt x="33" y="477"/>
                  <a:pt x="32" y="480"/>
                  <a:pt x="31" y="480"/>
                </a:cubicBezTo>
                <a:cubicBezTo>
                  <a:pt x="31" y="480"/>
                  <a:pt x="30" y="479"/>
                  <a:pt x="30" y="480"/>
                </a:cubicBezTo>
                <a:cubicBezTo>
                  <a:pt x="30" y="480"/>
                  <a:pt x="30" y="480"/>
                  <a:pt x="30" y="480"/>
                </a:cubicBezTo>
                <a:cubicBezTo>
                  <a:pt x="29" y="480"/>
                  <a:pt x="29" y="481"/>
                  <a:pt x="29" y="481"/>
                </a:cubicBezTo>
                <a:cubicBezTo>
                  <a:pt x="29" y="481"/>
                  <a:pt x="30" y="481"/>
                  <a:pt x="30" y="482"/>
                </a:cubicBezTo>
                <a:cubicBezTo>
                  <a:pt x="30" y="482"/>
                  <a:pt x="29" y="483"/>
                  <a:pt x="28" y="482"/>
                </a:cubicBezTo>
                <a:cubicBezTo>
                  <a:pt x="28" y="482"/>
                  <a:pt x="28" y="482"/>
                  <a:pt x="28" y="482"/>
                </a:cubicBezTo>
                <a:cubicBezTo>
                  <a:pt x="28" y="483"/>
                  <a:pt x="28" y="484"/>
                  <a:pt x="28" y="485"/>
                </a:cubicBezTo>
                <a:cubicBezTo>
                  <a:pt x="29" y="485"/>
                  <a:pt x="31" y="483"/>
                  <a:pt x="32" y="485"/>
                </a:cubicBezTo>
                <a:cubicBezTo>
                  <a:pt x="29" y="485"/>
                  <a:pt x="31" y="486"/>
                  <a:pt x="31" y="489"/>
                </a:cubicBezTo>
                <a:cubicBezTo>
                  <a:pt x="31" y="493"/>
                  <a:pt x="30" y="491"/>
                  <a:pt x="32" y="488"/>
                </a:cubicBezTo>
                <a:cubicBezTo>
                  <a:pt x="33" y="487"/>
                  <a:pt x="33" y="489"/>
                  <a:pt x="35" y="487"/>
                </a:cubicBezTo>
                <a:cubicBezTo>
                  <a:pt x="35" y="486"/>
                  <a:pt x="35" y="484"/>
                  <a:pt x="35" y="482"/>
                </a:cubicBezTo>
                <a:cubicBezTo>
                  <a:pt x="35" y="482"/>
                  <a:pt x="35" y="482"/>
                  <a:pt x="35" y="482"/>
                </a:cubicBezTo>
                <a:cubicBezTo>
                  <a:pt x="35" y="481"/>
                  <a:pt x="35" y="481"/>
                  <a:pt x="35" y="480"/>
                </a:cubicBezTo>
                <a:cubicBezTo>
                  <a:pt x="35" y="482"/>
                  <a:pt x="31" y="480"/>
                  <a:pt x="33" y="479"/>
                </a:cubicBezTo>
                <a:cubicBezTo>
                  <a:pt x="33" y="479"/>
                  <a:pt x="33" y="479"/>
                  <a:pt x="34" y="478"/>
                </a:cubicBezTo>
                <a:cubicBezTo>
                  <a:pt x="34" y="477"/>
                  <a:pt x="35" y="474"/>
                  <a:pt x="36" y="473"/>
                </a:cubicBezTo>
                <a:cubicBezTo>
                  <a:pt x="36" y="470"/>
                  <a:pt x="37" y="470"/>
                  <a:pt x="36" y="473"/>
                </a:cubicBezTo>
                <a:cubicBezTo>
                  <a:pt x="36" y="475"/>
                  <a:pt x="36" y="477"/>
                  <a:pt x="35" y="478"/>
                </a:cubicBezTo>
                <a:cubicBezTo>
                  <a:pt x="37" y="477"/>
                  <a:pt x="35" y="476"/>
                  <a:pt x="36" y="475"/>
                </a:cubicBezTo>
                <a:cubicBezTo>
                  <a:pt x="36" y="474"/>
                  <a:pt x="38" y="473"/>
                  <a:pt x="39" y="472"/>
                </a:cubicBezTo>
                <a:cubicBezTo>
                  <a:pt x="39" y="472"/>
                  <a:pt x="39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39" y="469"/>
                  <a:pt x="43" y="469"/>
                  <a:pt x="42" y="470"/>
                </a:cubicBezTo>
                <a:cubicBezTo>
                  <a:pt x="43" y="470"/>
                  <a:pt x="43" y="470"/>
                  <a:pt x="43" y="470"/>
                </a:cubicBezTo>
                <a:cubicBezTo>
                  <a:pt x="43" y="470"/>
                  <a:pt x="44" y="470"/>
                  <a:pt x="44" y="471"/>
                </a:cubicBezTo>
                <a:cubicBezTo>
                  <a:pt x="44" y="471"/>
                  <a:pt x="44" y="471"/>
                  <a:pt x="44" y="471"/>
                </a:cubicBezTo>
                <a:cubicBezTo>
                  <a:pt x="44" y="471"/>
                  <a:pt x="45" y="473"/>
                  <a:pt x="46" y="474"/>
                </a:cubicBezTo>
                <a:cubicBezTo>
                  <a:pt x="46" y="474"/>
                  <a:pt x="47" y="474"/>
                  <a:pt x="47" y="474"/>
                </a:cubicBezTo>
                <a:cubicBezTo>
                  <a:pt x="47" y="474"/>
                  <a:pt x="47" y="475"/>
                  <a:pt x="47" y="475"/>
                </a:cubicBezTo>
                <a:cubicBezTo>
                  <a:pt x="47" y="475"/>
                  <a:pt x="48" y="475"/>
                  <a:pt x="48" y="474"/>
                </a:cubicBezTo>
                <a:cubicBezTo>
                  <a:pt x="48" y="474"/>
                  <a:pt x="48" y="473"/>
                  <a:pt x="48" y="473"/>
                </a:cubicBezTo>
                <a:cubicBezTo>
                  <a:pt x="49" y="473"/>
                  <a:pt x="56" y="472"/>
                  <a:pt x="53" y="470"/>
                </a:cubicBezTo>
                <a:cubicBezTo>
                  <a:pt x="52" y="470"/>
                  <a:pt x="52" y="471"/>
                  <a:pt x="52" y="471"/>
                </a:cubicBezTo>
                <a:cubicBezTo>
                  <a:pt x="52" y="471"/>
                  <a:pt x="52" y="470"/>
                  <a:pt x="51" y="470"/>
                </a:cubicBezTo>
                <a:cubicBezTo>
                  <a:pt x="50" y="470"/>
                  <a:pt x="49" y="472"/>
                  <a:pt x="48" y="472"/>
                </a:cubicBezTo>
                <a:cubicBezTo>
                  <a:pt x="50" y="471"/>
                  <a:pt x="48" y="468"/>
                  <a:pt x="49" y="467"/>
                </a:cubicBezTo>
                <a:cubicBezTo>
                  <a:pt x="51" y="467"/>
                  <a:pt x="53" y="470"/>
                  <a:pt x="55" y="470"/>
                </a:cubicBezTo>
                <a:cubicBezTo>
                  <a:pt x="58" y="469"/>
                  <a:pt x="59" y="467"/>
                  <a:pt x="60" y="465"/>
                </a:cubicBezTo>
                <a:cubicBezTo>
                  <a:pt x="59" y="466"/>
                  <a:pt x="57" y="466"/>
                  <a:pt x="56" y="465"/>
                </a:cubicBezTo>
                <a:cubicBezTo>
                  <a:pt x="55" y="466"/>
                  <a:pt x="54" y="467"/>
                  <a:pt x="53" y="465"/>
                </a:cubicBezTo>
                <a:cubicBezTo>
                  <a:pt x="52" y="463"/>
                  <a:pt x="48" y="460"/>
                  <a:pt x="50" y="458"/>
                </a:cubicBezTo>
                <a:cubicBezTo>
                  <a:pt x="53" y="455"/>
                  <a:pt x="58" y="451"/>
                  <a:pt x="59" y="445"/>
                </a:cubicBezTo>
                <a:cubicBezTo>
                  <a:pt x="55" y="450"/>
                  <a:pt x="54" y="444"/>
                  <a:pt x="59" y="443"/>
                </a:cubicBezTo>
                <a:cubicBezTo>
                  <a:pt x="58" y="445"/>
                  <a:pt x="60" y="444"/>
                  <a:pt x="61" y="445"/>
                </a:cubicBezTo>
                <a:cubicBezTo>
                  <a:pt x="61" y="445"/>
                  <a:pt x="61" y="446"/>
                  <a:pt x="61" y="446"/>
                </a:cubicBezTo>
                <a:cubicBezTo>
                  <a:pt x="61" y="446"/>
                  <a:pt x="61" y="446"/>
                  <a:pt x="61" y="446"/>
                </a:cubicBezTo>
                <a:cubicBezTo>
                  <a:pt x="63" y="446"/>
                  <a:pt x="60" y="450"/>
                  <a:pt x="60" y="447"/>
                </a:cubicBezTo>
                <a:cubicBezTo>
                  <a:pt x="60" y="447"/>
                  <a:pt x="60" y="447"/>
                  <a:pt x="60" y="447"/>
                </a:cubicBezTo>
                <a:cubicBezTo>
                  <a:pt x="60" y="448"/>
                  <a:pt x="59" y="448"/>
                  <a:pt x="59" y="449"/>
                </a:cubicBezTo>
                <a:cubicBezTo>
                  <a:pt x="59" y="452"/>
                  <a:pt x="59" y="456"/>
                  <a:pt x="60" y="459"/>
                </a:cubicBezTo>
                <a:cubicBezTo>
                  <a:pt x="61" y="459"/>
                  <a:pt x="61" y="459"/>
                  <a:pt x="62" y="460"/>
                </a:cubicBezTo>
                <a:cubicBezTo>
                  <a:pt x="62" y="460"/>
                  <a:pt x="62" y="460"/>
                  <a:pt x="62" y="461"/>
                </a:cubicBezTo>
                <a:cubicBezTo>
                  <a:pt x="63" y="462"/>
                  <a:pt x="64" y="461"/>
                  <a:pt x="66" y="457"/>
                </a:cubicBezTo>
                <a:cubicBezTo>
                  <a:pt x="67" y="464"/>
                  <a:pt x="71" y="455"/>
                  <a:pt x="70" y="453"/>
                </a:cubicBezTo>
                <a:cubicBezTo>
                  <a:pt x="70" y="453"/>
                  <a:pt x="68" y="453"/>
                  <a:pt x="68" y="452"/>
                </a:cubicBezTo>
                <a:cubicBezTo>
                  <a:pt x="67" y="452"/>
                  <a:pt x="68" y="449"/>
                  <a:pt x="68" y="447"/>
                </a:cubicBezTo>
                <a:cubicBezTo>
                  <a:pt x="69" y="446"/>
                  <a:pt x="73" y="440"/>
                  <a:pt x="72" y="445"/>
                </a:cubicBezTo>
                <a:cubicBezTo>
                  <a:pt x="71" y="446"/>
                  <a:pt x="71" y="448"/>
                  <a:pt x="71" y="449"/>
                </a:cubicBezTo>
                <a:cubicBezTo>
                  <a:pt x="72" y="449"/>
                  <a:pt x="72" y="449"/>
                  <a:pt x="71" y="449"/>
                </a:cubicBezTo>
                <a:cubicBezTo>
                  <a:pt x="71" y="449"/>
                  <a:pt x="71" y="449"/>
                  <a:pt x="71" y="449"/>
                </a:cubicBezTo>
                <a:cubicBezTo>
                  <a:pt x="71" y="450"/>
                  <a:pt x="71" y="452"/>
                  <a:pt x="71" y="453"/>
                </a:cubicBezTo>
                <a:cubicBezTo>
                  <a:pt x="71" y="455"/>
                  <a:pt x="70" y="457"/>
                  <a:pt x="70" y="458"/>
                </a:cubicBezTo>
                <a:cubicBezTo>
                  <a:pt x="70" y="458"/>
                  <a:pt x="70" y="458"/>
                  <a:pt x="71" y="459"/>
                </a:cubicBezTo>
                <a:cubicBezTo>
                  <a:pt x="71" y="459"/>
                  <a:pt x="72" y="459"/>
                  <a:pt x="72" y="460"/>
                </a:cubicBezTo>
                <a:cubicBezTo>
                  <a:pt x="71" y="460"/>
                  <a:pt x="71" y="460"/>
                  <a:pt x="71" y="460"/>
                </a:cubicBezTo>
                <a:cubicBezTo>
                  <a:pt x="71" y="461"/>
                  <a:pt x="72" y="461"/>
                  <a:pt x="72" y="461"/>
                </a:cubicBezTo>
                <a:cubicBezTo>
                  <a:pt x="74" y="461"/>
                  <a:pt x="74" y="453"/>
                  <a:pt x="73" y="450"/>
                </a:cubicBezTo>
                <a:cubicBezTo>
                  <a:pt x="73" y="450"/>
                  <a:pt x="73" y="451"/>
                  <a:pt x="73" y="450"/>
                </a:cubicBezTo>
                <a:cubicBezTo>
                  <a:pt x="72" y="450"/>
                  <a:pt x="73" y="449"/>
                  <a:pt x="73" y="449"/>
                </a:cubicBezTo>
                <a:cubicBezTo>
                  <a:pt x="73" y="449"/>
                  <a:pt x="73" y="449"/>
                  <a:pt x="73" y="449"/>
                </a:cubicBezTo>
                <a:cubicBezTo>
                  <a:pt x="73" y="449"/>
                  <a:pt x="74" y="448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5"/>
                  <a:pt x="74" y="442"/>
                  <a:pt x="75" y="442"/>
                </a:cubicBezTo>
                <a:cubicBezTo>
                  <a:pt x="78" y="440"/>
                  <a:pt x="73" y="455"/>
                  <a:pt x="78" y="450"/>
                </a:cubicBezTo>
                <a:cubicBezTo>
                  <a:pt x="79" y="450"/>
                  <a:pt x="83" y="445"/>
                  <a:pt x="83" y="445"/>
                </a:cubicBezTo>
                <a:cubicBezTo>
                  <a:pt x="82" y="444"/>
                  <a:pt x="81" y="445"/>
                  <a:pt x="80" y="445"/>
                </a:cubicBezTo>
                <a:cubicBezTo>
                  <a:pt x="78" y="444"/>
                  <a:pt x="79" y="441"/>
                  <a:pt x="80" y="441"/>
                </a:cubicBezTo>
                <a:cubicBezTo>
                  <a:pt x="82" y="440"/>
                  <a:pt x="82" y="442"/>
                  <a:pt x="83" y="442"/>
                </a:cubicBezTo>
                <a:cubicBezTo>
                  <a:pt x="85" y="441"/>
                  <a:pt x="85" y="439"/>
                  <a:pt x="86" y="437"/>
                </a:cubicBezTo>
                <a:cubicBezTo>
                  <a:pt x="86" y="438"/>
                  <a:pt x="85" y="438"/>
                  <a:pt x="85" y="438"/>
                </a:cubicBezTo>
                <a:cubicBezTo>
                  <a:pt x="85" y="437"/>
                  <a:pt x="86" y="437"/>
                  <a:pt x="86" y="437"/>
                </a:cubicBezTo>
                <a:cubicBezTo>
                  <a:pt x="86" y="435"/>
                  <a:pt x="87" y="434"/>
                  <a:pt x="88" y="432"/>
                </a:cubicBezTo>
                <a:cubicBezTo>
                  <a:pt x="90" y="430"/>
                  <a:pt x="91" y="426"/>
                  <a:pt x="91" y="426"/>
                </a:cubicBezTo>
                <a:cubicBezTo>
                  <a:pt x="91" y="426"/>
                  <a:pt x="93" y="428"/>
                  <a:pt x="95" y="428"/>
                </a:cubicBezTo>
                <a:cubicBezTo>
                  <a:pt x="97" y="428"/>
                  <a:pt x="96" y="426"/>
                  <a:pt x="97" y="428"/>
                </a:cubicBezTo>
                <a:cubicBezTo>
                  <a:pt x="97" y="430"/>
                  <a:pt x="98" y="428"/>
                  <a:pt x="98" y="430"/>
                </a:cubicBezTo>
                <a:cubicBezTo>
                  <a:pt x="98" y="432"/>
                  <a:pt x="95" y="437"/>
                  <a:pt x="92" y="435"/>
                </a:cubicBezTo>
                <a:cubicBezTo>
                  <a:pt x="91" y="435"/>
                  <a:pt x="91" y="433"/>
                  <a:pt x="89" y="435"/>
                </a:cubicBezTo>
                <a:cubicBezTo>
                  <a:pt x="89" y="436"/>
                  <a:pt x="90" y="437"/>
                  <a:pt x="89" y="439"/>
                </a:cubicBezTo>
                <a:cubicBezTo>
                  <a:pt x="88" y="441"/>
                  <a:pt x="84" y="445"/>
                  <a:pt x="83" y="448"/>
                </a:cubicBezTo>
                <a:cubicBezTo>
                  <a:pt x="82" y="450"/>
                  <a:pt x="83" y="453"/>
                  <a:pt x="81" y="456"/>
                </a:cubicBezTo>
                <a:cubicBezTo>
                  <a:pt x="80" y="458"/>
                  <a:pt x="75" y="461"/>
                  <a:pt x="75" y="463"/>
                </a:cubicBezTo>
                <a:cubicBezTo>
                  <a:pt x="75" y="463"/>
                  <a:pt x="76" y="464"/>
                  <a:pt x="76" y="464"/>
                </a:cubicBezTo>
                <a:cubicBezTo>
                  <a:pt x="77" y="464"/>
                  <a:pt x="77" y="464"/>
                  <a:pt x="77" y="464"/>
                </a:cubicBezTo>
                <a:cubicBezTo>
                  <a:pt x="77" y="465"/>
                  <a:pt x="77" y="465"/>
                  <a:pt x="77" y="465"/>
                </a:cubicBezTo>
                <a:cubicBezTo>
                  <a:pt x="79" y="466"/>
                  <a:pt x="83" y="467"/>
                  <a:pt x="86" y="467"/>
                </a:cubicBezTo>
                <a:cubicBezTo>
                  <a:pt x="86" y="467"/>
                  <a:pt x="86" y="466"/>
                  <a:pt x="86" y="466"/>
                </a:cubicBezTo>
                <a:cubicBezTo>
                  <a:pt x="86" y="465"/>
                  <a:pt x="86" y="465"/>
                  <a:pt x="86" y="464"/>
                </a:cubicBezTo>
                <a:cubicBezTo>
                  <a:pt x="87" y="460"/>
                  <a:pt x="94" y="456"/>
                  <a:pt x="98" y="458"/>
                </a:cubicBezTo>
                <a:cubicBezTo>
                  <a:pt x="98" y="458"/>
                  <a:pt x="98" y="459"/>
                  <a:pt x="99" y="459"/>
                </a:cubicBezTo>
                <a:cubicBezTo>
                  <a:pt x="99" y="459"/>
                  <a:pt x="99" y="459"/>
                  <a:pt x="99" y="459"/>
                </a:cubicBezTo>
                <a:cubicBezTo>
                  <a:pt x="100" y="458"/>
                  <a:pt x="99" y="459"/>
                  <a:pt x="99" y="459"/>
                </a:cubicBezTo>
                <a:cubicBezTo>
                  <a:pt x="99" y="459"/>
                  <a:pt x="99" y="459"/>
                  <a:pt x="99" y="460"/>
                </a:cubicBezTo>
                <a:cubicBezTo>
                  <a:pt x="100" y="459"/>
                  <a:pt x="101" y="459"/>
                  <a:pt x="101" y="458"/>
                </a:cubicBezTo>
                <a:cubicBezTo>
                  <a:pt x="103" y="459"/>
                  <a:pt x="103" y="456"/>
                  <a:pt x="105" y="456"/>
                </a:cubicBezTo>
                <a:cubicBezTo>
                  <a:pt x="106" y="455"/>
                  <a:pt x="108" y="458"/>
                  <a:pt x="108" y="455"/>
                </a:cubicBezTo>
                <a:cubicBezTo>
                  <a:pt x="108" y="460"/>
                  <a:pt x="116" y="452"/>
                  <a:pt x="116" y="451"/>
                </a:cubicBezTo>
                <a:cubicBezTo>
                  <a:pt x="116" y="451"/>
                  <a:pt x="110" y="450"/>
                  <a:pt x="110" y="450"/>
                </a:cubicBezTo>
                <a:cubicBezTo>
                  <a:pt x="110" y="450"/>
                  <a:pt x="110" y="450"/>
                  <a:pt x="110" y="450"/>
                </a:cubicBezTo>
                <a:cubicBezTo>
                  <a:pt x="110" y="451"/>
                  <a:pt x="110" y="451"/>
                  <a:pt x="110" y="451"/>
                </a:cubicBezTo>
                <a:cubicBezTo>
                  <a:pt x="109" y="451"/>
                  <a:pt x="109" y="452"/>
                  <a:pt x="108" y="451"/>
                </a:cubicBezTo>
                <a:cubicBezTo>
                  <a:pt x="107" y="450"/>
                  <a:pt x="109" y="450"/>
                  <a:pt x="110" y="449"/>
                </a:cubicBezTo>
                <a:cubicBezTo>
                  <a:pt x="110" y="449"/>
                  <a:pt x="110" y="449"/>
                  <a:pt x="109" y="449"/>
                </a:cubicBezTo>
                <a:cubicBezTo>
                  <a:pt x="109" y="449"/>
                  <a:pt x="108" y="448"/>
                  <a:pt x="108" y="447"/>
                </a:cubicBezTo>
                <a:cubicBezTo>
                  <a:pt x="108" y="447"/>
                  <a:pt x="108" y="446"/>
                  <a:pt x="108" y="446"/>
                </a:cubicBezTo>
                <a:cubicBezTo>
                  <a:pt x="108" y="446"/>
                  <a:pt x="108" y="445"/>
                  <a:pt x="108" y="444"/>
                </a:cubicBezTo>
                <a:cubicBezTo>
                  <a:pt x="108" y="444"/>
                  <a:pt x="110" y="441"/>
                  <a:pt x="111" y="441"/>
                </a:cubicBezTo>
                <a:cubicBezTo>
                  <a:pt x="112" y="440"/>
                  <a:pt x="114" y="435"/>
                  <a:pt x="115" y="436"/>
                </a:cubicBezTo>
                <a:cubicBezTo>
                  <a:pt x="116" y="436"/>
                  <a:pt x="114" y="438"/>
                  <a:pt x="115" y="439"/>
                </a:cubicBezTo>
                <a:cubicBezTo>
                  <a:pt x="115" y="440"/>
                  <a:pt x="117" y="439"/>
                  <a:pt x="118" y="439"/>
                </a:cubicBezTo>
                <a:cubicBezTo>
                  <a:pt x="119" y="439"/>
                  <a:pt x="118" y="441"/>
                  <a:pt x="119" y="442"/>
                </a:cubicBezTo>
                <a:cubicBezTo>
                  <a:pt x="119" y="441"/>
                  <a:pt x="121" y="440"/>
                  <a:pt x="122" y="442"/>
                </a:cubicBezTo>
                <a:cubicBezTo>
                  <a:pt x="122" y="444"/>
                  <a:pt x="120" y="443"/>
                  <a:pt x="120" y="444"/>
                </a:cubicBezTo>
                <a:cubicBezTo>
                  <a:pt x="119" y="444"/>
                  <a:pt x="120" y="445"/>
                  <a:pt x="120" y="445"/>
                </a:cubicBezTo>
                <a:cubicBezTo>
                  <a:pt x="121" y="446"/>
                  <a:pt x="119" y="447"/>
                  <a:pt x="118" y="448"/>
                </a:cubicBezTo>
                <a:cubicBezTo>
                  <a:pt x="118" y="449"/>
                  <a:pt x="119" y="450"/>
                  <a:pt x="119" y="450"/>
                </a:cubicBezTo>
                <a:cubicBezTo>
                  <a:pt x="117" y="453"/>
                  <a:pt x="112" y="455"/>
                  <a:pt x="113" y="460"/>
                </a:cubicBezTo>
                <a:cubicBezTo>
                  <a:pt x="113" y="461"/>
                  <a:pt x="114" y="460"/>
                  <a:pt x="115" y="460"/>
                </a:cubicBezTo>
                <a:cubicBezTo>
                  <a:pt x="114" y="463"/>
                  <a:pt x="112" y="471"/>
                  <a:pt x="107" y="472"/>
                </a:cubicBezTo>
                <a:cubicBezTo>
                  <a:pt x="106" y="472"/>
                  <a:pt x="104" y="471"/>
                  <a:pt x="103" y="471"/>
                </a:cubicBezTo>
                <a:cubicBezTo>
                  <a:pt x="102" y="471"/>
                  <a:pt x="102" y="470"/>
                  <a:pt x="101" y="469"/>
                </a:cubicBezTo>
                <a:cubicBezTo>
                  <a:pt x="101" y="469"/>
                  <a:pt x="100" y="469"/>
                  <a:pt x="100" y="468"/>
                </a:cubicBezTo>
                <a:cubicBezTo>
                  <a:pt x="100" y="468"/>
                  <a:pt x="100" y="468"/>
                  <a:pt x="100" y="468"/>
                </a:cubicBezTo>
                <a:cubicBezTo>
                  <a:pt x="100" y="468"/>
                  <a:pt x="100" y="467"/>
                  <a:pt x="99" y="467"/>
                </a:cubicBezTo>
                <a:cubicBezTo>
                  <a:pt x="98" y="468"/>
                  <a:pt x="96" y="470"/>
                  <a:pt x="95" y="470"/>
                </a:cubicBezTo>
                <a:cubicBezTo>
                  <a:pt x="96" y="472"/>
                  <a:pt x="98" y="470"/>
                  <a:pt x="99" y="470"/>
                </a:cubicBezTo>
                <a:cubicBezTo>
                  <a:pt x="98" y="471"/>
                  <a:pt x="98" y="471"/>
                  <a:pt x="98" y="472"/>
                </a:cubicBezTo>
                <a:cubicBezTo>
                  <a:pt x="99" y="472"/>
                  <a:pt x="100" y="472"/>
                  <a:pt x="100" y="472"/>
                </a:cubicBezTo>
                <a:cubicBezTo>
                  <a:pt x="101" y="473"/>
                  <a:pt x="99" y="473"/>
                  <a:pt x="99" y="473"/>
                </a:cubicBezTo>
                <a:cubicBezTo>
                  <a:pt x="98" y="475"/>
                  <a:pt x="100" y="474"/>
                  <a:pt x="99" y="476"/>
                </a:cubicBezTo>
                <a:cubicBezTo>
                  <a:pt x="98" y="478"/>
                  <a:pt x="95" y="477"/>
                  <a:pt x="94" y="478"/>
                </a:cubicBezTo>
                <a:cubicBezTo>
                  <a:pt x="94" y="478"/>
                  <a:pt x="94" y="478"/>
                  <a:pt x="94" y="479"/>
                </a:cubicBezTo>
                <a:cubicBezTo>
                  <a:pt x="95" y="479"/>
                  <a:pt x="95" y="479"/>
                  <a:pt x="96" y="479"/>
                </a:cubicBezTo>
                <a:cubicBezTo>
                  <a:pt x="96" y="480"/>
                  <a:pt x="94" y="481"/>
                  <a:pt x="95" y="483"/>
                </a:cubicBezTo>
                <a:cubicBezTo>
                  <a:pt x="95" y="483"/>
                  <a:pt x="96" y="483"/>
                  <a:pt x="96" y="483"/>
                </a:cubicBezTo>
                <a:cubicBezTo>
                  <a:pt x="96" y="483"/>
                  <a:pt x="97" y="487"/>
                  <a:pt x="97" y="487"/>
                </a:cubicBezTo>
                <a:cubicBezTo>
                  <a:pt x="96" y="489"/>
                  <a:pt x="94" y="487"/>
                  <a:pt x="92" y="488"/>
                </a:cubicBezTo>
                <a:cubicBezTo>
                  <a:pt x="93" y="488"/>
                  <a:pt x="90" y="490"/>
                  <a:pt x="90" y="490"/>
                </a:cubicBezTo>
                <a:cubicBezTo>
                  <a:pt x="90" y="491"/>
                  <a:pt x="91" y="491"/>
                  <a:pt x="91" y="492"/>
                </a:cubicBezTo>
                <a:cubicBezTo>
                  <a:pt x="90" y="495"/>
                  <a:pt x="89" y="494"/>
                  <a:pt x="89" y="497"/>
                </a:cubicBezTo>
                <a:cubicBezTo>
                  <a:pt x="89" y="498"/>
                  <a:pt x="86" y="502"/>
                  <a:pt x="84" y="502"/>
                </a:cubicBezTo>
                <a:cubicBezTo>
                  <a:pt x="80" y="502"/>
                  <a:pt x="82" y="494"/>
                  <a:pt x="76" y="496"/>
                </a:cubicBezTo>
                <a:cubicBezTo>
                  <a:pt x="75" y="491"/>
                  <a:pt x="70" y="501"/>
                  <a:pt x="69" y="501"/>
                </a:cubicBezTo>
                <a:cubicBezTo>
                  <a:pt x="69" y="501"/>
                  <a:pt x="69" y="501"/>
                  <a:pt x="69" y="501"/>
                </a:cubicBezTo>
                <a:cubicBezTo>
                  <a:pt x="69" y="501"/>
                  <a:pt x="69" y="502"/>
                  <a:pt x="68" y="501"/>
                </a:cubicBezTo>
                <a:cubicBezTo>
                  <a:pt x="68" y="501"/>
                  <a:pt x="68" y="501"/>
                  <a:pt x="68" y="501"/>
                </a:cubicBezTo>
                <a:cubicBezTo>
                  <a:pt x="68" y="500"/>
                  <a:pt x="69" y="500"/>
                  <a:pt x="69" y="501"/>
                </a:cubicBezTo>
                <a:cubicBezTo>
                  <a:pt x="69" y="499"/>
                  <a:pt x="73" y="494"/>
                  <a:pt x="68" y="496"/>
                </a:cubicBezTo>
                <a:cubicBezTo>
                  <a:pt x="67" y="497"/>
                  <a:pt x="69" y="499"/>
                  <a:pt x="68" y="500"/>
                </a:cubicBezTo>
                <a:cubicBezTo>
                  <a:pt x="67" y="501"/>
                  <a:pt x="64" y="500"/>
                  <a:pt x="62" y="500"/>
                </a:cubicBezTo>
                <a:cubicBezTo>
                  <a:pt x="62" y="500"/>
                  <a:pt x="61" y="504"/>
                  <a:pt x="61" y="505"/>
                </a:cubicBezTo>
                <a:cubicBezTo>
                  <a:pt x="62" y="506"/>
                  <a:pt x="63" y="506"/>
                  <a:pt x="62" y="508"/>
                </a:cubicBezTo>
                <a:cubicBezTo>
                  <a:pt x="62" y="508"/>
                  <a:pt x="62" y="507"/>
                  <a:pt x="63" y="507"/>
                </a:cubicBezTo>
                <a:cubicBezTo>
                  <a:pt x="62" y="508"/>
                  <a:pt x="62" y="509"/>
                  <a:pt x="65" y="508"/>
                </a:cubicBezTo>
                <a:cubicBezTo>
                  <a:pt x="63" y="511"/>
                  <a:pt x="60" y="511"/>
                  <a:pt x="61" y="514"/>
                </a:cubicBezTo>
                <a:cubicBezTo>
                  <a:pt x="61" y="514"/>
                  <a:pt x="67" y="516"/>
                  <a:pt x="66" y="517"/>
                </a:cubicBezTo>
                <a:cubicBezTo>
                  <a:pt x="70" y="515"/>
                  <a:pt x="64" y="513"/>
                  <a:pt x="65" y="510"/>
                </a:cubicBezTo>
                <a:cubicBezTo>
                  <a:pt x="66" y="507"/>
                  <a:pt x="68" y="514"/>
                  <a:pt x="69" y="514"/>
                </a:cubicBezTo>
                <a:cubicBezTo>
                  <a:pt x="70" y="515"/>
                  <a:pt x="69" y="514"/>
                  <a:pt x="70" y="514"/>
                </a:cubicBezTo>
                <a:cubicBezTo>
                  <a:pt x="72" y="513"/>
                  <a:pt x="73" y="516"/>
                  <a:pt x="74" y="514"/>
                </a:cubicBezTo>
                <a:cubicBezTo>
                  <a:pt x="74" y="514"/>
                  <a:pt x="71" y="514"/>
                  <a:pt x="72" y="512"/>
                </a:cubicBezTo>
                <a:cubicBezTo>
                  <a:pt x="73" y="511"/>
                  <a:pt x="75" y="513"/>
                  <a:pt x="75" y="513"/>
                </a:cubicBezTo>
                <a:cubicBezTo>
                  <a:pt x="76" y="513"/>
                  <a:pt x="77" y="513"/>
                  <a:pt x="78" y="514"/>
                </a:cubicBezTo>
                <a:cubicBezTo>
                  <a:pt x="78" y="513"/>
                  <a:pt x="78" y="513"/>
                  <a:pt x="78" y="513"/>
                </a:cubicBezTo>
                <a:cubicBezTo>
                  <a:pt x="78" y="513"/>
                  <a:pt x="78" y="514"/>
                  <a:pt x="78" y="515"/>
                </a:cubicBezTo>
                <a:cubicBezTo>
                  <a:pt x="78" y="517"/>
                  <a:pt x="78" y="519"/>
                  <a:pt x="78" y="520"/>
                </a:cubicBezTo>
                <a:cubicBezTo>
                  <a:pt x="78" y="520"/>
                  <a:pt x="78" y="520"/>
                  <a:pt x="78" y="520"/>
                </a:cubicBezTo>
                <a:cubicBezTo>
                  <a:pt x="79" y="520"/>
                  <a:pt x="78" y="519"/>
                  <a:pt x="79" y="519"/>
                </a:cubicBezTo>
                <a:cubicBezTo>
                  <a:pt x="80" y="520"/>
                  <a:pt x="80" y="520"/>
                  <a:pt x="81" y="520"/>
                </a:cubicBezTo>
                <a:cubicBezTo>
                  <a:pt x="81" y="518"/>
                  <a:pt x="82" y="515"/>
                  <a:pt x="82" y="515"/>
                </a:cubicBezTo>
                <a:cubicBezTo>
                  <a:pt x="84" y="514"/>
                  <a:pt x="85" y="516"/>
                  <a:pt x="86" y="514"/>
                </a:cubicBezTo>
                <a:cubicBezTo>
                  <a:pt x="86" y="513"/>
                  <a:pt x="84" y="512"/>
                  <a:pt x="84" y="511"/>
                </a:cubicBezTo>
                <a:cubicBezTo>
                  <a:pt x="84" y="511"/>
                  <a:pt x="83" y="509"/>
                  <a:pt x="84" y="509"/>
                </a:cubicBezTo>
                <a:cubicBezTo>
                  <a:pt x="82" y="509"/>
                  <a:pt x="80" y="511"/>
                  <a:pt x="80" y="510"/>
                </a:cubicBezTo>
                <a:cubicBezTo>
                  <a:pt x="79" y="510"/>
                  <a:pt x="80" y="508"/>
                  <a:pt x="81" y="507"/>
                </a:cubicBezTo>
                <a:cubicBezTo>
                  <a:pt x="82" y="510"/>
                  <a:pt x="84" y="506"/>
                  <a:pt x="85" y="505"/>
                </a:cubicBezTo>
                <a:cubicBezTo>
                  <a:pt x="86" y="504"/>
                  <a:pt x="89" y="504"/>
                  <a:pt x="89" y="504"/>
                </a:cubicBezTo>
                <a:cubicBezTo>
                  <a:pt x="90" y="503"/>
                  <a:pt x="88" y="501"/>
                  <a:pt x="90" y="501"/>
                </a:cubicBezTo>
                <a:cubicBezTo>
                  <a:pt x="91" y="501"/>
                  <a:pt x="90" y="502"/>
                  <a:pt x="90" y="502"/>
                </a:cubicBezTo>
                <a:cubicBezTo>
                  <a:pt x="91" y="503"/>
                  <a:pt x="93" y="501"/>
                  <a:pt x="94" y="502"/>
                </a:cubicBezTo>
                <a:cubicBezTo>
                  <a:pt x="95" y="502"/>
                  <a:pt x="94" y="504"/>
                  <a:pt x="94" y="505"/>
                </a:cubicBezTo>
                <a:cubicBezTo>
                  <a:pt x="94" y="506"/>
                  <a:pt x="94" y="507"/>
                  <a:pt x="94" y="508"/>
                </a:cubicBezTo>
                <a:cubicBezTo>
                  <a:pt x="97" y="507"/>
                  <a:pt x="101" y="507"/>
                  <a:pt x="102" y="508"/>
                </a:cubicBezTo>
                <a:cubicBezTo>
                  <a:pt x="103" y="509"/>
                  <a:pt x="101" y="511"/>
                  <a:pt x="104" y="510"/>
                </a:cubicBezTo>
                <a:cubicBezTo>
                  <a:pt x="102" y="512"/>
                  <a:pt x="106" y="513"/>
                  <a:pt x="106" y="514"/>
                </a:cubicBezTo>
                <a:cubicBezTo>
                  <a:pt x="106" y="515"/>
                  <a:pt x="104" y="516"/>
                  <a:pt x="104" y="516"/>
                </a:cubicBezTo>
                <a:cubicBezTo>
                  <a:pt x="104" y="516"/>
                  <a:pt x="105" y="517"/>
                  <a:pt x="104" y="518"/>
                </a:cubicBezTo>
                <a:cubicBezTo>
                  <a:pt x="104" y="518"/>
                  <a:pt x="104" y="518"/>
                  <a:pt x="104" y="518"/>
                </a:cubicBezTo>
                <a:cubicBezTo>
                  <a:pt x="105" y="519"/>
                  <a:pt x="106" y="520"/>
                  <a:pt x="106" y="522"/>
                </a:cubicBezTo>
                <a:cubicBezTo>
                  <a:pt x="106" y="522"/>
                  <a:pt x="107" y="522"/>
                  <a:pt x="107" y="522"/>
                </a:cubicBezTo>
                <a:cubicBezTo>
                  <a:pt x="107" y="521"/>
                  <a:pt x="106" y="521"/>
                  <a:pt x="106" y="520"/>
                </a:cubicBezTo>
                <a:cubicBezTo>
                  <a:pt x="106" y="519"/>
                  <a:pt x="107" y="518"/>
                  <a:pt x="108" y="518"/>
                </a:cubicBezTo>
                <a:cubicBezTo>
                  <a:pt x="108" y="517"/>
                  <a:pt x="108" y="517"/>
                  <a:pt x="109" y="516"/>
                </a:cubicBezTo>
                <a:cubicBezTo>
                  <a:pt x="109" y="516"/>
                  <a:pt x="108" y="516"/>
                  <a:pt x="108" y="516"/>
                </a:cubicBezTo>
                <a:cubicBezTo>
                  <a:pt x="108" y="515"/>
                  <a:pt x="109" y="515"/>
                  <a:pt x="109" y="515"/>
                </a:cubicBezTo>
                <a:cubicBezTo>
                  <a:pt x="111" y="514"/>
                  <a:pt x="112" y="513"/>
                  <a:pt x="113" y="512"/>
                </a:cubicBezTo>
                <a:cubicBezTo>
                  <a:pt x="112" y="514"/>
                  <a:pt x="115" y="514"/>
                  <a:pt x="115" y="514"/>
                </a:cubicBezTo>
                <a:cubicBezTo>
                  <a:pt x="115" y="514"/>
                  <a:pt x="116" y="514"/>
                  <a:pt x="116" y="514"/>
                </a:cubicBezTo>
                <a:cubicBezTo>
                  <a:pt x="116" y="514"/>
                  <a:pt x="116" y="514"/>
                  <a:pt x="116" y="514"/>
                </a:cubicBezTo>
                <a:cubicBezTo>
                  <a:pt x="115" y="514"/>
                  <a:pt x="115" y="513"/>
                  <a:pt x="115" y="513"/>
                </a:cubicBezTo>
                <a:cubicBezTo>
                  <a:pt x="114" y="512"/>
                  <a:pt x="115" y="508"/>
                  <a:pt x="115" y="507"/>
                </a:cubicBezTo>
                <a:cubicBezTo>
                  <a:pt x="116" y="507"/>
                  <a:pt x="116" y="508"/>
                  <a:pt x="117" y="508"/>
                </a:cubicBezTo>
                <a:cubicBezTo>
                  <a:pt x="118" y="507"/>
                  <a:pt x="120" y="504"/>
                  <a:pt x="123" y="505"/>
                </a:cubicBezTo>
                <a:cubicBezTo>
                  <a:pt x="122" y="507"/>
                  <a:pt x="120" y="506"/>
                  <a:pt x="120" y="507"/>
                </a:cubicBezTo>
                <a:cubicBezTo>
                  <a:pt x="119" y="508"/>
                  <a:pt x="121" y="508"/>
                  <a:pt x="121" y="508"/>
                </a:cubicBezTo>
                <a:cubicBezTo>
                  <a:pt x="122" y="510"/>
                  <a:pt x="120" y="514"/>
                  <a:pt x="117" y="514"/>
                </a:cubicBezTo>
                <a:cubicBezTo>
                  <a:pt x="117" y="515"/>
                  <a:pt x="117" y="516"/>
                  <a:pt x="116" y="517"/>
                </a:cubicBezTo>
                <a:cubicBezTo>
                  <a:pt x="117" y="517"/>
                  <a:pt x="117" y="517"/>
                  <a:pt x="117" y="517"/>
                </a:cubicBezTo>
                <a:cubicBezTo>
                  <a:pt x="118" y="515"/>
                  <a:pt x="121" y="515"/>
                  <a:pt x="122" y="513"/>
                </a:cubicBezTo>
                <a:cubicBezTo>
                  <a:pt x="122" y="512"/>
                  <a:pt x="122" y="511"/>
                  <a:pt x="122" y="510"/>
                </a:cubicBezTo>
                <a:cubicBezTo>
                  <a:pt x="122" y="510"/>
                  <a:pt x="123" y="509"/>
                  <a:pt x="123" y="508"/>
                </a:cubicBezTo>
                <a:cubicBezTo>
                  <a:pt x="123" y="507"/>
                  <a:pt x="122" y="508"/>
                  <a:pt x="122" y="507"/>
                </a:cubicBezTo>
                <a:cubicBezTo>
                  <a:pt x="123" y="506"/>
                  <a:pt x="124" y="505"/>
                  <a:pt x="124" y="506"/>
                </a:cubicBezTo>
                <a:cubicBezTo>
                  <a:pt x="125" y="506"/>
                  <a:pt x="124" y="508"/>
                  <a:pt x="125" y="510"/>
                </a:cubicBezTo>
                <a:cubicBezTo>
                  <a:pt x="125" y="510"/>
                  <a:pt x="127" y="510"/>
                  <a:pt x="128" y="510"/>
                </a:cubicBezTo>
                <a:cubicBezTo>
                  <a:pt x="129" y="511"/>
                  <a:pt x="129" y="513"/>
                  <a:pt x="132" y="511"/>
                </a:cubicBezTo>
                <a:cubicBezTo>
                  <a:pt x="129" y="514"/>
                  <a:pt x="133" y="512"/>
                  <a:pt x="134" y="513"/>
                </a:cubicBezTo>
                <a:cubicBezTo>
                  <a:pt x="133" y="513"/>
                  <a:pt x="134" y="519"/>
                  <a:pt x="134" y="520"/>
                </a:cubicBezTo>
                <a:cubicBezTo>
                  <a:pt x="134" y="521"/>
                  <a:pt x="132" y="523"/>
                  <a:pt x="132" y="525"/>
                </a:cubicBezTo>
                <a:cubicBezTo>
                  <a:pt x="132" y="525"/>
                  <a:pt x="133" y="524"/>
                  <a:pt x="133" y="524"/>
                </a:cubicBezTo>
                <a:cubicBezTo>
                  <a:pt x="133" y="525"/>
                  <a:pt x="133" y="525"/>
                  <a:pt x="132" y="526"/>
                </a:cubicBezTo>
                <a:cubicBezTo>
                  <a:pt x="132" y="526"/>
                  <a:pt x="132" y="526"/>
                  <a:pt x="132" y="527"/>
                </a:cubicBezTo>
                <a:cubicBezTo>
                  <a:pt x="133" y="526"/>
                  <a:pt x="133" y="526"/>
                  <a:pt x="133" y="526"/>
                </a:cubicBezTo>
                <a:cubicBezTo>
                  <a:pt x="133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6" y="524"/>
                  <a:pt x="142" y="524"/>
                  <a:pt x="145" y="524"/>
                </a:cubicBezTo>
                <a:cubicBezTo>
                  <a:pt x="145" y="523"/>
                  <a:pt x="146" y="522"/>
                  <a:pt x="146" y="522"/>
                </a:cubicBezTo>
                <a:cubicBezTo>
                  <a:pt x="147" y="522"/>
                  <a:pt x="147" y="523"/>
                  <a:pt x="147" y="524"/>
                </a:cubicBezTo>
                <a:cubicBezTo>
                  <a:pt x="147" y="524"/>
                  <a:pt x="148" y="524"/>
                  <a:pt x="148" y="525"/>
                </a:cubicBezTo>
                <a:cubicBezTo>
                  <a:pt x="148" y="526"/>
                  <a:pt x="147" y="526"/>
                  <a:pt x="145" y="527"/>
                </a:cubicBezTo>
                <a:cubicBezTo>
                  <a:pt x="146" y="527"/>
                  <a:pt x="146" y="527"/>
                  <a:pt x="146" y="527"/>
                </a:cubicBezTo>
                <a:cubicBezTo>
                  <a:pt x="146" y="529"/>
                  <a:pt x="146" y="530"/>
                  <a:pt x="145" y="530"/>
                </a:cubicBezTo>
                <a:cubicBezTo>
                  <a:pt x="145" y="531"/>
                  <a:pt x="145" y="532"/>
                  <a:pt x="144" y="533"/>
                </a:cubicBezTo>
                <a:cubicBezTo>
                  <a:pt x="144" y="533"/>
                  <a:pt x="143" y="533"/>
                  <a:pt x="142" y="533"/>
                </a:cubicBezTo>
                <a:cubicBezTo>
                  <a:pt x="142" y="534"/>
                  <a:pt x="143" y="534"/>
                  <a:pt x="144" y="533"/>
                </a:cubicBezTo>
                <a:cubicBezTo>
                  <a:pt x="145" y="533"/>
                  <a:pt x="147" y="530"/>
                  <a:pt x="147" y="530"/>
                </a:cubicBezTo>
                <a:cubicBezTo>
                  <a:pt x="148" y="530"/>
                  <a:pt x="148" y="529"/>
                  <a:pt x="147" y="529"/>
                </a:cubicBezTo>
                <a:cubicBezTo>
                  <a:pt x="151" y="528"/>
                  <a:pt x="150" y="537"/>
                  <a:pt x="148" y="535"/>
                </a:cubicBezTo>
                <a:cubicBezTo>
                  <a:pt x="148" y="535"/>
                  <a:pt x="147" y="533"/>
                  <a:pt x="147" y="533"/>
                </a:cubicBezTo>
                <a:cubicBezTo>
                  <a:pt x="146" y="533"/>
                  <a:pt x="143" y="537"/>
                  <a:pt x="141" y="538"/>
                </a:cubicBezTo>
                <a:cubicBezTo>
                  <a:pt x="140" y="538"/>
                  <a:pt x="140" y="538"/>
                  <a:pt x="139" y="539"/>
                </a:cubicBezTo>
                <a:cubicBezTo>
                  <a:pt x="140" y="540"/>
                  <a:pt x="141" y="541"/>
                  <a:pt x="140" y="542"/>
                </a:cubicBezTo>
                <a:cubicBezTo>
                  <a:pt x="140" y="542"/>
                  <a:pt x="139" y="543"/>
                  <a:pt x="139" y="543"/>
                </a:cubicBezTo>
                <a:cubicBezTo>
                  <a:pt x="139" y="543"/>
                  <a:pt x="138" y="546"/>
                  <a:pt x="138" y="547"/>
                </a:cubicBezTo>
                <a:cubicBezTo>
                  <a:pt x="138" y="547"/>
                  <a:pt x="140" y="546"/>
                  <a:pt x="139" y="546"/>
                </a:cubicBezTo>
                <a:cubicBezTo>
                  <a:pt x="139" y="546"/>
                  <a:pt x="141" y="548"/>
                  <a:pt x="140" y="549"/>
                </a:cubicBezTo>
                <a:cubicBezTo>
                  <a:pt x="140" y="549"/>
                  <a:pt x="140" y="549"/>
                  <a:pt x="139" y="549"/>
                </a:cubicBezTo>
                <a:cubicBezTo>
                  <a:pt x="140" y="549"/>
                  <a:pt x="140" y="550"/>
                  <a:pt x="141" y="550"/>
                </a:cubicBezTo>
                <a:cubicBezTo>
                  <a:pt x="141" y="549"/>
                  <a:pt x="141" y="548"/>
                  <a:pt x="142" y="548"/>
                </a:cubicBezTo>
                <a:cubicBezTo>
                  <a:pt x="141" y="548"/>
                  <a:pt x="141" y="548"/>
                  <a:pt x="140" y="548"/>
                </a:cubicBezTo>
                <a:cubicBezTo>
                  <a:pt x="140" y="547"/>
                  <a:pt x="140" y="547"/>
                  <a:pt x="141" y="547"/>
                </a:cubicBezTo>
                <a:cubicBezTo>
                  <a:pt x="141" y="546"/>
                  <a:pt x="142" y="544"/>
                  <a:pt x="142" y="546"/>
                </a:cubicBezTo>
                <a:cubicBezTo>
                  <a:pt x="143" y="546"/>
                  <a:pt x="142" y="546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3" y="546"/>
                  <a:pt x="144" y="546"/>
                  <a:pt x="145" y="548"/>
                </a:cubicBezTo>
                <a:cubicBezTo>
                  <a:pt x="146" y="549"/>
                  <a:pt x="145" y="550"/>
                  <a:pt x="145" y="551"/>
                </a:cubicBezTo>
                <a:cubicBezTo>
                  <a:pt x="145" y="551"/>
                  <a:pt x="145" y="551"/>
                  <a:pt x="145" y="551"/>
                </a:cubicBezTo>
                <a:cubicBezTo>
                  <a:pt x="147" y="551"/>
                  <a:pt x="145" y="551"/>
                  <a:pt x="146" y="552"/>
                </a:cubicBezTo>
                <a:cubicBezTo>
                  <a:pt x="146" y="552"/>
                  <a:pt x="146" y="552"/>
                  <a:pt x="147" y="552"/>
                </a:cubicBezTo>
                <a:cubicBezTo>
                  <a:pt x="147" y="552"/>
                  <a:pt x="147" y="552"/>
                  <a:pt x="147" y="552"/>
                </a:cubicBezTo>
                <a:cubicBezTo>
                  <a:pt x="147" y="551"/>
                  <a:pt x="148" y="551"/>
                  <a:pt x="148" y="551"/>
                </a:cubicBezTo>
                <a:cubicBezTo>
                  <a:pt x="151" y="552"/>
                  <a:pt x="148" y="556"/>
                  <a:pt x="149" y="558"/>
                </a:cubicBezTo>
                <a:cubicBezTo>
                  <a:pt x="150" y="558"/>
                  <a:pt x="152" y="558"/>
                  <a:pt x="152" y="557"/>
                </a:cubicBezTo>
                <a:cubicBezTo>
                  <a:pt x="153" y="557"/>
                  <a:pt x="153" y="556"/>
                  <a:pt x="154" y="555"/>
                </a:cubicBezTo>
                <a:cubicBezTo>
                  <a:pt x="152" y="554"/>
                  <a:pt x="152" y="553"/>
                  <a:pt x="152" y="551"/>
                </a:cubicBezTo>
                <a:cubicBezTo>
                  <a:pt x="154" y="547"/>
                  <a:pt x="159" y="548"/>
                  <a:pt x="160" y="551"/>
                </a:cubicBezTo>
                <a:cubicBezTo>
                  <a:pt x="161" y="551"/>
                  <a:pt x="161" y="551"/>
                  <a:pt x="162" y="550"/>
                </a:cubicBezTo>
                <a:cubicBezTo>
                  <a:pt x="161" y="550"/>
                  <a:pt x="161" y="551"/>
                  <a:pt x="161" y="551"/>
                </a:cubicBezTo>
                <a:cubicBezTo>
                  <a:pt x="163" y="550"/>
                  <a:pt x="165" y="549"/>
                  <a:pt x="167" y="550"/>
                </a:cubicBezTo>
                <a:cubicBezTo>
                  <a:pt x="169" y="549"/>
                  <a:pt x="170" y="549"/>
                  <a:pt x="170" y="549"/>
                </a:cubicBezTo>
                <a:cubicBezTo>
                  <a:pt x="171" y="550"/>
                  <a:pt x="170" y="550"/>
                  <a:pt x="168" y="551"/>
                </a:cubicBezTo>
                <a:cubicBezTo>
                  <a:pt x="168" y="551"/>
                  <a:pt x="169" y="551"/>
                  <a:pt x="169" y="551"/>
                </a:cubicBezTo>
                <a:cubicBezTo>
                  <a:pt x="169" y="552"/>
                  <a:pt x="169" y="553"/>
                  <a:pt x="169" y="554"/>
                </a:cubicBezTo>
                <a:cubicBezTo>
                  <a:pt x="171" y="554"/>
                  <a:pt x="172" y="555"/>
                  <a:pt x="171" y="557"/>
                </a:cubicBezTo>
                <a:cubicBezTo>
                  <a:pt x="170" y="559"/>
                  <a:pt x="171" y="560"/>
                  <a:pt x="171" y="561"/>
                </a:cubicBezTo>
                <a:cubicBezTo>
                  <a:pt x="171" y="561"/>
                  <a:pt x="170" y="562"/>
                  <a:pt x="170" y="563"/>
                </a:cubicBezTo>
                <a:cubicBezTo>
                  <a:pt x="172" y="561"/>
                  <a:pt x="173" y="559"/>
                  <a:pt x="175" y="558"/>
                </a:cubicBezTo>
                <a:cubicBezTo>
                  <a:pt x="173" y="556"/>
                  <a:pt x="171" y="554"/>
                  <a:pt x="175" y="552"/>
                </a:cubicBezTo>
                <a:cubicBezTo>
                  <a:pt x="175" y="551"/>
                  <a:pt x="176" y="551"/>
                  <a:pt x="177" y="551"/>
                </a:cubicBezTo>
                <a:cubicBezTo>
                  <a:pt x="175" y="551"/>
                  <a:pt x="176" y="547"/>
                  <a:pt x="178" y="548"/>
                </a:cubicBezTo>
                <a:cubicBezTo>
                  <a:pt x="179" y="549"/>
                  <a:pt x="178" y="550"/>
                  <a:pt x="178" y="550"/>
                </a:cubicBezTo>
                <a:cubicBezTo>
                  <a:pt x="177" y="551"/>
                  <a:pt x="177" y="551"/>
                  <a:pt x="177" y="551"/>
                </a:cubicBezTo>
                <a:cubicBezTo>
                  <a:pt x="179" y="551"/>
                  <a:pt x="181" y="550"/>
                  <a:pt x="182" y="550"/>
                </a:cubicBezTo>
                <a:cubicBezTo>
                  <a:pt x="184" y="548"/>
                  <a:pt x="183" y="547"/>
                  <a:pt x="185" y="549"/>
                </a:cubicBezTo>
                <a:cubicBezTo>
                  <a:pt x="186" y="549"/>
                  <a:pt x="186" y="550"/>
                  <a:pt x="188" y="549"/>
                </a:cubicBezTo>
                <a:cubicBezTo>
                  <a:pt x="188" y="549"/>
                  <a:pt x="191" y="545"/>
                  <a:pt x="191" y="548"/>
                </a:cubicBezTo>
                <a:cubicBezTo>
                  <a:pt x="191" y="549"/>
                  <a:pt x="189" y="549"/>
                  <a:pt x="189" y="549"/>
                </a:cubicBezTo>
                <a:cubicBezTo>
                  <a:pt x="190" y="550"/>
                  <a:pt x="194" y="550"/>
                  <a:pt x="194" y="550"/>
                </a:cubicBezTo>
                <a:cubicBezTo>
                  <a:pt x="194" y="551"/>
                  <a:pt x="190" y="553"/>
                  <a:pt x="192" y="555"/>
                </a:cubicBezTo>
                <a:cubicBezTo>
                  <a:pt x="193" y="555"/>
                  <a:pt x="194" y="555"/>
                  <a:pt x="194" y="555"/>
                </a:cubicBezTo>
                <a:cubicBezTo>
                  <a:pt x="194" y="555"/>
                  <a:pt x="193" y="556"/>
                  <a:pt x="193" y="556"/>
                </a:cubicBezTo>
                <a:cubicBezTo>
                  <a:pt x="192" y="558"/>
                  <a:pt x="192" y="558"/>
                  <a:pt x="193" y="558"/>
                </a:cubicBezTo>
                <a:cubicBezTo>
                  <a:pt x="194" y="558"/>
                  <a:pt x="195" y="558"/>
                  <a:pt x="196" y="559"/>
                </a:cubicBezTo>
                <a:cubicBezTo>
                  <a:pt x="196" y="560"/>
                  <a:pt x="195" y="560"/>
                  <a:pt x="194" y="560"/>
                </a:cubicBezTo>
                <a:cubicBezTo>
                  <a:pt x="194" y="561"/>
                  <a:pt x="194" y="561"/>
                  <a:pt x="194" y="561"/>
                </a:cubicBezTo>
                <a:cubicBezTo>
                  <a:pt x="194" y="562"/>
                  <a:pt x="196" y="561"/>
                  <a:pt x="196" y="562"/>
                </a:cubicBezTo>
                <a:cubicBezTo>
                  <a:pt x="197" y="563"/>
                  <a:pt x="195" y="565"/>
                  <a:pt x="195" y="566"/>
                </a:cubicBezTo>
                <a:cubicBezTo>
                  <a:pt x="197" y="568"/>
                  <a:pt x="199" y="565"/>
                  <a:pt x="201" y="566"/>
                </a:cubicBezTo>
                <a:cubicBezTo>
                  <a:pt x="201" y="566"/>
                  <a:pt x="203" y="568"/>
                  <a:pt x="205" y="566"/>
                </a:cubicBezTo>
                <a:cubicBezTo>
                  <a:pt x="206" y="565"/>
                  <a:pt x="204" y="563"/>
                  <a:pt x="208" y="562"/>
                </a:cubicBezTo>
                <a:cubicBezTo>
                  <a:pt x="209" y="561"/>
                  <a:pt x="214" y="560"/>
                  <a:pt x="214" y="562"/>
                </a:cubicBezTo>
                <a:cubicBezTo>
                  <a:pt x="214" y="563"/>
                  <a:pt x="213" y="562"/>
                  <a:pt x="212" y="563"/>
                </a:cubicBezTo>
                <a:cubicBezTo>
                  <a:pt x="211" y="563"/>
                  <a:pt x="213" y="566"/>
                  <a:pt x="213" y="566"/>
                </a:cubicBezTo>
                <a:cubicBezTo>
                  <a:pt x="212" y="567"/>
                  <a:pt x="210" y="567"/>
                  <a:pt x="210" y="568"/>
                </a:cubicBezTo>
                <a:cubicBezTo>
                  <a:pt x="210" y="568"/>
                  <a:pt x="210" y="568"/>
                  <a:pt x="210" y="568"/>
                </a:cubicBezTo>
                <a:cubicBezTo>
                  <a:pt x="210" y="569"/>
                  <a:pt x="210" y="569"/>
                  <a:pt x="210" y="569"/>
                </a:cubicBezTo>
                <a:cubicBezTo>
                  <a:pt x="210" y="570"/>
                  <a:pt x="211" y="572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10" y="574"/>
                  <a:pt x="210" y="575"/>
                  <a:pt x="208" y="576"/>
                </a:cubicBezTo>
                <a:cubicBezTo>
                  <a:pt x="208" y="576"/>
                  <a:pt x="208" y="576"/>
                  <a:pt x="208" y="576"/>
                </a:cubicBezTo>
                <a:cubicBezTo>
                  <a:pt x="208" y="576"/>
                  <a:pt x="209" y="576"/>
                  <a:pt x="209" y="576"/>
                </a:cubicBezTo>
                <a:cubicBezTo>
                  <a:pt x="210" y="576"/>
                  <a:pt x="210" y="576"/>
                  <a:pt x="211" y="577"/>
                </a:cubicBezTo>
                <a:cubicBezTo>
                  <a:pt x="211" y="577"/>
                  <a:pt x="212" y="577"/>
                  <a:pt x="212" y="577"/>
                </a:cubicBezTo>
                <a:cubicBezTo>
                  <a:pt x="212" y="578"/>
                  <a:pt x="211" y="578"/>
                  <a:pt x="211" y="579"/>
                </a:cubicBezTo>
                <a:cubicBezTo>
                  <a:pt x="211" y="579"/>
                  <a:pt x="211" y="580"/>
                  <a:pt x="211" y="580"/>
                </a:cubicBezTo>
                <a:cubicBezTo>
                  <a:pt x="210" y="581"/>
                  <a:pt x="207" y="580"/>
                  <a:pt x="205" y="581"/>
                </a:cubicBezTo>
                <a:cubicBezTo>
                  <a:pt x="206" y="580"/>
                  <a:pt x="206" y="578"/>
                  <a:pt x="204" y="580"/>
                </a:cubicBezTo>
                <a:cubicBezTo>
                  <a:pt x="202" y="581"/>
                  <a:pt x="204" y="581"/>
                  <a:pt x="204" y="582"/>
                </a:cubicBezTo>
                <a:cubicBezTo>
                  <a:pt x="204" y="582"/>
                  <a:pt x="203" y="582"/>
                  <a:pt x="204" y="583"/>
                </a:cubicBezTo>
                <a:cubicBezTo>
                  <a:pt x="204" y="583"/>
                  <a:pt x="204" y="583"/>
                  <a:pt x="204" y="583"/>
                </a:cubicBezTo>
                <a:cubicBezTo>
                  <a:pt x="206" y="582"/>
                  <a:pt x="208" y="582"/>
                  <a:pt x="210" y="583"/>
                </a:cubicBezTo>
                <a:cubicBezTo>
                  <a:pt x="209" y="583"/>
                  <a:pt x="209" y="582"/>
                  <a:pt x="209" y="582"/>
                </a:cubicBezTo>
                <a:cubicBezTo>
                  <a:pt x="209" y="582"/>
                  <a:pt x="209" y="582"/>
                  <a:pt x="209" y="582"/>
                </a:cubicBezTo>
                <a:cubicBezTo>
                  <a:pt x="210" y="581"/>
                  <a:pt x="210" y="582"/>
                  <a:pt x="210" y="583"/>
                </a:cubicBezTo>
                <a:cubicBezTo>
                  <a:pt x="210" y="583"/>
                  <a:pt x="211" y="584"/>
                  <a:pt x="210" y="585"/>
                </a:cubicBezTo>
                <a:cubicBezTo>
                  <a:pt x="210" y="586"/>
                  <a:pt x="208" y="588"/>
                  <a:pt x="205" y="588"/>
                </a:cubicBezTo>
                <a:cubicBezTo>
                  <a:pt x="206" y="588"/>
                  <a:pt x="206" y="590"/>
                  <a:pt x="206" y="591"/>
                </a:cubicBezTo>
                <a:cubicBezTo>
                  <a:pt x="205" y="592"/>
                  <a:pt x="201" y="592"/>
                  <a:pt x="202" y="593"/>
                </a:cubicBezTo>
                <a:cubicBezTo>
                  <a:pt x="201" y="593"/>
                  <a:pt x="199" y="594"/>
                  <a:pt x="198" y="593"/>
                </a:cubicBezTo>
                <a:cubicBezTo>
                  <a:pt x="195" y="591"/>
                  <a:pt x="196" y="591"/>
                  <a:pt x="192" y="592"/>
                </a:cubicBezTo>
                <a:cubicBezTo>
                  <a:pt x="192" y="592"/>
                  <a:pt x="191" y="592"/>
                  <a:pt x="190" y="592"/>
                </a:cubicBezTo>
                <a:cubicBezTo>
                  <a:pt x="188" y="592"/>
                  <a:pt x="189" y="593"/>
                  <a:pt x="189" y="595"/>
                </a:cubicBezTo>
                <a:cubicBezTo>
                  <a:pt x="187" y="593"/>
                  <a:pt x="188" y="595"/>
                  <a:pt x="189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1" y="597"/>
                  <a:pt x="191" y="596"/>
                </a:cubicBezTo>
                <a:cubicBezTo>
                  <a:pt x="190" y="597"/>
                  <a:pt x="192" y="594"/>
                  <a:pt x="193" y="596"/>
                </a:cubicBezTo>
                <a:cubicBezTo>
                  <a:pt x="193" y="596"/>
                  <a:pt x="190" y="600"/>
                  <a:pt x="193" y="600"/>
                </a:cubicBezTo>
                <a:cubicBezTo>
                  <a:pt x="187" y="601"/>
                  <a:pt x="195" y="604"/>
                  <a:pt x="197" y="605"/>
                </a:cubicBezTo>
                <a:cubicBezTo>
                  <a:pt x="198" y="606"/>
                  <a:pt x="198" y="608"/>
                  <a:pt x="198" y="609"/>
                </a:cubicBezTo>
                <a:cubicBezTo>
                  <a:pt x="199" y="610"/>
                  <a:pt x="200" y="610"/>
                  <a:pt x="199" y="611"/>
                </a:cubicBezTo>
                <a:cubicBezTo>
                  <a:pt x="199" y="611"/>
                  <a:pt x="199" y="611"/>
                  <a:pt x="199" y="611"/>
                </a:cubicBezTo>
                <a:cubicBezTo>
                  <a:pt x="200" y="612"/>
                  <a:pt x="200" y="613"/>
                  <a:pt x="201" y="613"/>
                </a:cubicBezTo>
                <a:cubicBezTo>
                  <a:pt x="201" y="613"/>
                  <a:pt x="201" y="613"/>
                  <a:pt x="202" y="613"/>
                </a:cubicBezTo>
                <a:cubicBezTo>
                  <a:pt x="202" y="613"/>
                  <a:pt x="202" y="613"/>
                  <a:pt x="202" y="612"/>
                </a:cubicBezTo>
                <a:cubicBezTo>
                  <a:pt x="203" y="611"/>
                  <a:pt x="204" y="611"/>
                  <a:pt x="206" y="611"/>
                </a:cubicBezTo>
                <a:cubicBezTo>
                  <a:pt x="207" y="611"/>
                  <a:pt x="208" y="612"/>
                  <a:pt x="208" y="613"/>
                </a:cubicBezTo>
                <a:cubicBezTo>
                  <a:pt x="209" y="613"/>
                  <a:pt x="209" y="612"/>
                  <a:pt x="211" y="612"/>
                </a:cubicBezTo>
                <a:cubicBezTo>
                  <a:pt x="211" y="613"/>
                  <a:pt x="210" y="613"/>
                  <a:pt x="208" y="613"/>
                </a:cubicBezTo>
                <a:cubicBezTo>
                  <a:pt x="208" y="614"/>
                  <a:pt x="208" y="615"/>
                  <a:pt x="207" y="615"/>
                </a:cubicBezTo>
                <a:cubicBezTo>
                  <a:pt x="209" y="616"/>
                  <a:pt x="211" y="616"/>
                  <a:pt x="211" y="616"/>
                </a:cubicBezTo>
                <a:cubicBezTo>
                  <a:pt x="211" y="616"/>
                  <a:pt x="211" y="616"/>
                  <a:pt x="212" y="616"/>
                </a:cubicBezTo>
                <a:cubicBezTo>
                  <a:pt x="211" y="615"/>
                  <a:pt x="210" y="615"/>
                  <a:pt x="209" y="615"/>
                </a:cubicBezTo>
                <a:cubicBezTo>
                  <a:pt x="210" y="614"/>
                  <a:pt x="211" y="614"/>
                  <a:pt x="213" y="615"/>
                </a:cubicBezTo>
                <a:cubicBezTo>
                  <a:pt x="213" y="614"/>
                  <a:pt x="213" y="614"/>
                  <a:pt x="213" y="614"/>
                </a:cubicBezTo>
                <a:cubicBezTo>
                  <a:pt x="213" y="614"/>
                  <a:pt x="214" y="612"/>
                  <a:pt x="215" y="613"/>
                </a:cubicBezTo>
                <a:cubicBezTo>
                  <a:pt x="216" y="612"/>
                  <a:pt x="216" y="612"/>
                  <a:pt x="217" y="613"/>
                </a:cubicBezTo>
                <a:cubicBezTo>
                  <a:pt x="217" y="613"/>
                  <a:pt x="216" y="613"/>
                  <a:pt x="216" y="614"/>
                </a:cubicBezTo>
                <a:cubicBezTo>
                  <a:pt x="216" y="614"/>
                  <a:pt x="217" y="616"/>
                  <a:pt x="216" y="615"/>
                </a:cubicBezTo>
                <a:cubicBezTo>
                  <a:pt x="216" y="615"/>
                  <a:pt x="215" y="615"/>
                  <a:pt x="215" y="615"/>
                </a:cubicBezTo>
                <a:cubicBezTo>
                  <a:pt x="215" y="614"/>
                  <a:pt x="215" y="614"/>
                  <a:pt x="215" y="614"/>
                </a:cubicBezTo>
                <a:cubicBezTo>
                  <a:pt x="215" y="614"/>
                  <a:pt x="214" y="615"/>
                  <a:pt x="214" y="615"/>
                </a:cubicBezTo>
                <a:cubicBezTo>
                  <a:pt x="215" y="615"/>
                  <a:pt x="216" y="616"/>
                  <a:pt x="216" y="616"/>
                </a:cubicBezTo>
                <a:cubicBezTo>
                  <a:pt x="216" y="617"/>
                  <a:pt x="215" y="616"/>
                  <a:pt x="214" y="616"/>
                </a:cubicBezTo>
                <a:cubicBezTo>
                  <a:pt x="214" y="616"/>
                  <a:pt x="214" y="617"/>
                  <a:pt x="214" y="617"/>
                </a:cubicBezTo>
                <a:cubicBezTo>
                  <a:pt x="215" y="617"/>
                  <a:pt x="216" y="616"/>
                  <a:pt x="216" y="616"/>
                </a:cubicBezTo>
                <a:cubicBezTo>
                  <a:pt x="217" y="617"/>
                  <a:pt x="218" y="620"/>
                  <a:pt x="220" y="618"/>
                </a:cubicBezTo>
                <a:cubicBezTo>
                  <a:pt x="220" y="618"/>
                  <a:pt x="219" y="617"/>
                  <a:pt x="219" y="617"/>
                </a:cubicBezTo>
                <a:cubicBezTo>
                  <a:pt x="219" y="617"/>
                  <a:pt x="219" y="617"/>
                  <a:pt x="219" y="617"/>
                </a:cubicBezTo>
                <a:cubicBezTo>
                  <a:pt x="219" y="617"/>
                  <a:pt x="219" y="617"/>
                  <a:pt x="218" y="617"/>
                </a:cubicBezTo>
                <a:cubicBezTo>
                  <a:pt x="218" y="616"/>
                  <a:pt x="219" y="615"/>
                  <a:pt x="220" y="616"/>
                </a:cubicBezTo>
                <a:cubicBezTo>
                  <a:pt x="220" y="616"/>
                  <a:pt x="220" y="616"/>
                  <a:pt x="220" y="616"/>
                </a:cubicBezTo>
                <a:cubicBezTo>
                  <a:pt x="221" y="615"/>
                  <a:pt x="224" y="617"/>
                  <a:pt x="225" y="617"/>
                </a:cubicBezTo>
                <a:cubicBezTo>
                  <a:pt x="223" y="618"/>
                  <a:pt x="225" y="619"/>
                  <a:pt x="226" y="620"/>
                </a:cubicBezTo>
                <a:cubicBezTo>
                  <a:pt x="227" y="619"/>
                  <a:pt x="229" y="618"/>
                  <a:pt x="231" y="618"/>
                </a:cubicBezTo>
                <a:cubicBezTo>
                  <a:pt x="230" y="619"/>
                  <a:pt x="228" y="620"/>
                  <a:pt x="226" y="620"/>
                </a:cubicBezTo>
                <a:cubicBezTo>
                  <a:pt x="227" y="621"/>
                  <a:pt x="227" y="621"/>
                  <a:pt x="226" y="622"/>
                </a:cubicBezTo>
                <a:cubicBezTo>
                  <a:pt x="225" y="624"/>
                  <a:pt x="222" y="622"/>
                  <a:pt x="221" y="624"/>
                </a:cubicBezTo>
                <a:cubicBezTo>
                  <a:pt x="220" y="624"/>
                  <a:pt x="222" y="624"/>
                  <a:pt x="222" y="624"/>
                </a:cubicBezTo>
                <a:cubicBezTo>
                  <a:pt x="221" y="626"/>
                  <a:pt x="219" y="627"/>
                  <a:pt x="222" y="628"/>
                </a:cubicBezTo>
                <a:cubicBezTo>
                  <a:pt x="222" y="628"/>
                  <a:pt x="227" y="629"/>
                  <a:pt x="228" y="629"/>
                </a:cubicBezTo>
                <a:cubicBezTo>
                  <a:pt x="231" y="629"/>
                  <a:pt x="233" y="629"/>
                  <a:pt x="235" y="631"/>
                </a:cubicBezTo>
                <a:cubicBezTo>
                  <a:pt x="232" y="631"/>
                  <a:pt x="231" y="632"/>
                  <a:pt x="228" y="633"/>
                </a:cubicBezTo>
                <a:cubicBezTo>
                  <a:pt x="228" y="633"/>
                  <a:pt x="229" y="633"/>
                  <a:pt x="229" y="633"/>
                </a:cubicBezTo>
                <a:cubicBezTo>
                  <a:pt x="229" y="633"/>
                  <a:pt x="228" y="633"/>
                  <a:pt x="228" y="633"/>
                </a:cubicBezTo>
                <a:cubicBezTo>
                  <a:pt x="228" y="633"/>
                  <a:pt x="228" y="633"/>
                  <a:pt x="227" y="633"/>
                </a:cubicBezTo>
                <a:cubicBezTo>
                  <a:pt x="224" y="633"/>
                  <a:pt x="221" y="630"/>
                  <a:pt x="218" y="630"/>
                </a:cubicBezTo>
                <a:cubicBezTo>
                  <a:pt x="218" y="630"/>
                  <a:pt x="215" y="633"/>
                  <a:pt x="214" y="633"/>
                </a:cubicBezTo>
                <a:cubicBezTo>
                  <a:pt x="213" y="633"/>
                  <a:pt x="212" y="632"/>
                  <a:pt x="212" y="633"/>
                </a:cubicBezTo>
                <a:cubicBezTo>
                  <a:pt x="212" y="633"/>
                  <a:pt x="213" y="633"/>
                  <a:pt x="213" y="634"/>
                </a:cubicBezTo>
                <a:cubicBezTo>
                  <a:pt x="213" y="634"/>
                  <a:pt x="213" y="634"/>
                  <a:pt x="214" y="634"/>
                </a:cubicBezTo>
                <a:cubicBezTo>
                  <a:pt x="214" y="633"/>
                  <a:pt x="215" y="633"/>
                  <a:pt x="216" y="633"/>
                </a:cubicBezTo>
                <a:cubicBezTo>
                  <a:pt x="216" y="633"/>
                  <a:pt x="217" y="633"/>
                  <a:pt x="217" y="633"/>
                </a:cubicBezTo>
                <a:cubicBezTo>
                  <a:pt x="217" y="633"/>
                  <a:pt x="217" y="633"/>
                  <a:pt x="217" y="633"/>
                </a:cubicBezTo>
                <a:cubicBezTo>
                  <a:pt x="218" y="633"/>
                  <a:pt x="219" y="633"/>
                  <a:pt x="219" y="634"/>
                </a:cubicBezTo>
                <a:cubicBezTo>
                  <a:pt x="219" y="634"/>
                  <a:pt x="219" y="635"/>
                  <a:pt x="218" y="635"/>
                </a:cubicBezTo>
                <a:cubicBezTo>
                  <a:pt x="218" y="636"/>
                  <a:pt x="217" y="637"/>
                  <a:pt x="216" y="637"/>
                </a:cubicBezTo>
                <a:cubicBezTo>
                  <a:pt x="215" y="637"/>
                  <a:pt x="213" y="636"/>
                  <a:pt x="213" y="635"/>
                </a:cubicBezTo>
                <a:cubicBezTo>
                  <a:pt x="213" y="635"/>
                  <a:pt x="213" y="635"/>
                  <a:pt x="213" y="635"/>
                </a:cubicBezTo>
                <a:cubicBezTo>
                  <a:pt x="213" y="636"/>
                  <a:pt x="211" y="636"/>
                  <a:pt x="210" y="636"/>
                </a:cubicBezTo>
                <a:cubicBezTo>
                  <a:pt x="210" y="636"/>
                  <a:pt x="210" y="637"/>
                  <a:pt x="211" y="637"/>
                </a:cubicBezTo>
                <a:cubicBezTo>
                  <a:pt x="211" y="637"/>
                  <a:pt x="211" y="637"/>
                  <a:pt x="211" y="637"/>
                </a:cubicBezTo>
                <a:cubicBezTo>
                  <a:pt x="212" y="637"/>
                  <a:pt x="211" y="637"/>
                  <a:pt x="211" y="637"/>
                </a:cubicBezTo>
                <a:cubicBezTo>
                  <a:pt x="212" y="639"/>
                  <a:pt x="215" y="640"/>
                  <a:pt x="216" y="641"/>
                </a:cubicBezTo>
                <a:cubicBezTo>
                  <a:pt x="214" y="641"/>
                  <a:pt x="214" y="642"/>
                  <a:pt x="214" y="642"/>
                </a:cubicBezTo>
                <a:cubicBezTo>
                  <a:pt x="216" y="641"/>
                  <a:pt x="219" y="642"/>
                  <a:pt x="216" y="643"/>
                </a:cubicBezTo>
                <a:cubicBezTo>
                  <a:pt x="216" y="643"/>
                  <a:pt x="216" y="644"/>
                  <a:pt x="216" y="644"/>
                </a:cubicBezTo>
                <a:cubicBezTo>
                  <a:pt x="216" y="644"/>
                  <a:pt x="217" y="644"/>
                  <a:pt x="217" y="645"/>
                </a:cubicBezTo>
                <a:cubicBezTo>
                  <a:pt x="219" y="644"/>
                  <a:pt x="222" y="643"/>
                  <a:pt x="224" y="643"/>
                </a:cubicBezTo>
                <a:cubicBezTo>
                  <a:pt x="228" y="642"/>
                  <a:pt x="223" y="645"/>
                  <a:pt x="221" y="645"/>
                </a:cubicBezTo>
                <a:cubicBezTo>
                  <a:pt x="220" y="645"/>
                  <a:pt x="218" y="646"/>
                  <a:pt x="216" y="646"/>
                </a:cubicBezTo>
                <a:cubicBezTo>
                  <a:pt x="216" y="647"/>
                  <a:pt x="216" y="647"/>
                  <a:pt x="215" y="647"/>
                </a:cubicBezTo>
                <a:cubicBezTo>
                  <a:pt x="215" y="647"/>
                  <a:pt x="214" y="647"/>
                  <a:pt x="214" y="647"/>
                </a:cubicBezTo>
                <a:cubicBezTo>
                  <a:pt x="212" y="648"/>
                  <a:pt x="211" y="648"/>
                  <a:pt x="210" y="649"/>
                </a:cubicBezTo>
                <a:cubicBezTo>
                  <a:pt x="209" y="650"/>
                  <a:pt x="208" y="651"/>
                  <a:pt x="208" y="652"/>
                </a:cubicBezTo>
                <a:cubicBezTo>
                  <a:pt x="209" y="652"/>
                  <a:pt x="209" y="652"/>
                  <a:pt x="210" y="653"/>
                </a:cubicBezTo>
                <a:cubicBezTo>
                  <a:pt x="210" y="653"/>
                  <a:pt x="210" y="653"/>
                  <a:pt x="210" y="653"/>
                </a:cubicBezTo>
                <a:cubicBezTo>
                  <a:pt x="210" y="653"/>
                  <a:pt x="210" y="653"/>
                  <a:pt x="211" y="653"/>
                </a:cubicBezTo>
                <a:cubicBezTo>
                  <a:pt x="211" y="653"/>
                  <a:pt x="213" y="654"/>
                  <a:pt x="213" y="654"/>
                </a:cubicBezTo>
                <a:cubicBezTo>
                  <a:pt x="213" y="654"/>
                  <a:pt x="213" y="655"/>
                  <a:pt x="213" y="655"/>
                </a:cubicBezTo>
                <a:cubicBezTo>
                  <a:pt x="213" y="656"/>
                  <a:pt x="212" y="657"/>
                  <a:pt x="210" y="657"/>
                </a:cubicBezTo>
                <a:cubicBezTo>
                  <a:pt x="210" y="658"/>
                  <a:pt x="210" y="658"/>
                  <a:pt x="209" y="659"/>
                </a:cubicBezTo>
                <a:cubicBezTo>
                  <a:pt x="209" y="659"/>
                  <a:pt x="209" y="659"/>
                  <a:pt x="209" y="659"/>
                </a:cubicBezTo>
                <a:cubicBezTo>
                  <a:pt x="210" y="660"/>
                  <a:pt x="212" y="660"/>
                  <a:pt x="213" y="660"/>
                </a:cubicBezTo>
                <a:cubicBezTo>
                  <a:pt x="214" y="660"/>
                  <a:pt x="216" y="660"/>
                  <a:pt x="216" y="661"/>
                </a:cubicBezTo>
                <a:cubicBezTo>
                  <a:pt x="217" y="662"/>
                  <a:pt x="218" y="663"/>
                  <a:pt x="218" y="663"/>
                </a:cubicBezTo>
                <a:cubicBezTo>
                  <a:pt x="218" y="663"/>
                  <a:pt x="219" y="663"/>
                  <a:pt x="220" y="664"/>
                </a:cubicBezTo>
                <a:cubicBezTo>
                  <a:pt x="221" y="665"/>
                  <a:pt x="221" y="667"/>
                  <a:pt x="219" y="667"/>
                </a:cubicBezTo>
                <a:cubicBezTo>
                  <a:pt x="219" y="667"/>
                  <a:pt x="219" y="667"/>
                  <a:pt x="219" y="667"/>
                </a:cubicBezTo>
                <a:cubicBezTo>
                  <a:pt x="219" y="668"/>
                  <a:pt x="219" y="668"/>
                  <a:pt x="219" y="669"/>
                </a:cubicBezTo>
                <a:cubicBezTo>
                  <a:pt x="220" y="669"/>
                  <a:pt x="221" y="668"/>
                  <a:pt x="222" y="669"/>
                </a:cubicBezTo>
                <a:cubicBezTo>
                  <a:pt x="222" y="668"/>
                  <a:pt x="223" y="667"/>
                  <a:pt x="223" y="667"/>
                </a:cubicBezTo>
                <a:cubicBezTo>
                  <a:pt x="223" y="667"/>
                  <a:pt x="225" y="666"/>
                  <a:pt x="226" y="666"/>
                </a:cubicBezTo>
                <a:cubicBezTo>
                  <a:pt x="227" y="664"/>
                  <a:pt x="228" y="664"/>
                  <a:pt x="229" y="664"/>
                </a:cubicBezTo>
                <a:cubicBezTo>
                  <a:pt x="230" y="664"/>
                  <a:pt x="229" y="663"/>
                  <a:pt x="230" y="663"/>
                </a:cubicBezTo>
                <a:cubicBezTo>
                  <a:pt x="231" y="662"/>
                  <a:pt x="232" y="664"/>
                  <a:pt x="232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4" y="663"/>
                </a:cubicBezTo>
                <a:cubicBezTo>
                  <a:pt x="235" y="664"/>
                  <a:pt x="235" y="662"/>
                  <a:pt x="236" y="663"/>
                </a:cubicBezTo>
                <a:cubicBezTo>
                  <a:pt x="236" y="663"/>
                  <a:pt x="235" y="664"/>
                  <a:pt x="235" y="664"/>
                </a:cubicBezTo>
                <a:cubicBezTo>
                  <a:pt x="236" y="665"/>
                  <a:pt x="241" y="668"/>
                  <a:pt x="241" y="670"/>
                </a:cubicBezTo>
                <a:cubicBezTo>
                  <a:pt x="241" y="672"/>
                  <a:pt x="236" y="672"/>
                  <a:pt x="235" y="674"/>
                </a:cubicBezTo>
                <a:cubicBezTo>
                  <a:pt x="235" y="675"/>
                  <a:pt x="236" y="676"/>
                  <a:pt x="235" y="677"/>
                </a:cubicBezTo>
                <a:cubicBezTo>
                  <a:pt x="233" y="677"/>
                  <a:pt x="234" y="675"/>
                  <a:pt x="233" y="675"/>
                </a:cubicBezTo>
                <a:cubicBezTo>
                  <a:pt x="232" y="674"/>
                  <a:pt x="227" y="674"/>
                  <a:pt x="225" y="673"/>
                </a:cubicBezTo>
                <a:cubicBezTo>
                  <a:pt x="225" y="673"/>
                  <a:pt x="224" y="672"/>
                  <a:pt x="223" y="672"/>
                </a:cubicBezTo>
                <a:cubicBezTo>
                  <a:pt x="221" y="673"/>
                  <a:pt x="217" y="673"/>
                  <a:pt x="217" y="674"/>
                </a:cubicBezTo>
                <a:cubicBezTo>
                  <a:pt x="216" y="674"/>
                  <a:pt x="218" y="674"/>
                  <a:pt x="218" y="675"/>
                </a:cubicBezTo>
                <a:cubicBezTo>
                  <a:pt x="217" y="675"/>
                  <a:pt x="216" y="674"/>
                  <a:pt x="215" y="674"/>
                </a:cubicBezTo>
                <a:cubicBezTo>
                  <a:pt x="213" y="674"/>
                  <a:pt x="210" y="675"/>
                  <a:pt x="207" y="675"/>
                </a:cubicBezTo>
                <a:cubicBezTo>
                  <a:pt x="208" y="676"/>
                  <a:pt x="208" y="677"/>
                  <a:pt x="208" y="677"/>
                </a:cubicBezTo>
                <a:cubicBezTo>
                  <a:pt x="209" y="677"/>
                  <a:pt x="209" y="676"/>
                  <a:pt x="209" y="676"/>
                </a:cubicBezTo>
                <a:cubicBezTo>
                  <a:pt x="210" y="676"/>
                  <a:pt x="212" y="677"/>
                  <a:pt x="214" y="679"/>
                </a:cubicBezTo>
                <a:cubicBezTo>
                  <a:pt x="215" y="679"/>
                  <a:pt x="216" y="679"/>
                  <a:pt x="216" y="679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7" y="681"/>
                  <a:pt x="216" y="682"/>
                  <a:pt x="216" y="682"/>
                </a:cubicBezTo>
                <a:cubicBezTo>
                  <a:pt x="218" y="684"/>
                  <a:pt x="222" y="683"/>
                  <a:pt x="224" y="683"/>
                </a:cubicBezTo>
                <a:cubicBezTo>
                  <a:pt x="224" y="683"/>
                  <a:pt x="224" y="684"/>
                  <a:pt x="225" y="684"/>
                </a:cubicBezTo>
                <a:cubicBezTo>
                  <a:pt x="225" y="684"/>
                  <a:pt x="225" y="684"/>
                  <a:pt x="225" y="684"/>
                </a:cubicBezTo>
                <a:cubicBezTo>
                  <a:pt x="225" y="683"/>
                  <a:pt x="230" y="681"/>
                  <a:pt x="231" y="682"/>
                </a:cubicBezTo>
                <a:cubicBezTo>
                  <a:pt x="232" y="684"/>
                  <a:pt x="231" y="686"/>
                  <a:pt x="229" y="686"/>
                </a:cubicBezTo>
                <a:cubicBezTo>
                  <a:pt x="229" y="686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30" y="688"/>
                  <a:pt x="231" y="688"/>
                  <a:pt x="232" y="687"/>
                </a:cubicBezTo>
                <a:cubicBezTo>
                  <a:pt x="232" y="687"/>
                  <a:pt x="232" y="687"/>
                  <a:pt x="232" y="687"/>
                </a:cubicBezTo>
                <a:cubicBezTo>
                  <a:pt x="232" y="687"/>
                  <a:pt x="233" y="686"/>
                  <a:pt x="233" y="686"/>
                </a:cubicBezTo>
                <a:cubicBezTo>
                  <a:pt x="234" y="685"/>
                  <a:pt x="237" y="685"/>
                  <a:pt x="239" y="683"/>
                </a:cubicBezTo>
                <a:cubicBezTo>
                  <a:pt x="240" y="682"/>
                  <a:pt x="243" y="680"/>
                  <a:pt x="244" y="680"/>
                </a:cubicBezTo>
                <a:cubicBezTo>
                  <a:pt x="245" y="681"/>
                  <a:pt x="245" y="682"/>
                  <a:pt x="246" y="683"/>
                </a:cubicBezTo>
                <a:cubicBezTo>
                  <a:pt x="246" y="683"/>
                  <a:pt x="246" y="682"/>
                  <a:pt x="247" y="682"/>
                </a:cubicBezTo>
                <a:cubicBezTo>
                  <a:pt x="248" y="682"/>
                  <a:pt x="249" y="683"/>
                  <a:pt x="249" y="684"/>
                </a:cubicBezTo>
                <a:cubicBezTo>
                  <a:pt x="250" y="684"/>
                  <a:pt x="251" y="684"/>
                  <a:pt x="251" y="685"/>
                </a:cubicBezTo>
                <a:cubicBezTo>
                  <a:pt x="251" y="685"/>
                  <a:pt x="250" y="686"/>
                  <a:pt x="249" y="686"/>
                </a:cubicBezTo>
                <a:cubicBezTo>
                  <a:pt x="248" y="687"/>
                  <a:pt x="247" y="688"/>
                  <a:pt x="246" y="686"/>
                </a:cubicBezTo>
                <a:cubicBezTo>
                  <a:pt x="246" y="685"/>
                  <a:pt x="246" y="686"/>
                  <a:pt x="246" y="687"/>
                </a:cubicBezTo>
                <a:cubicBezTo>
                  <a:pt x="247" y="688"/>
                  <a:pt x="248" y="688"/>
                  <a:pt x="248" y="689"/>
                </a:cubicBezTo>
                <a:cubicBezTo>
                  <a:pt x="248" y="690"/>
                  <a:pt x="247" y="690"/>
                  <a:pt x="245" y="691"/>
                </a:cubicBezTo>
                <a:cubicBezTo>
                  <a:pt x="247" y="692"/>
                  <a:pt x="248" y="693"/>
                  <a:pt x="248" y="694"/>
                </a:cubicBezTo>
                <a:cubicBezTo>
                  <a:pt x="248" y="694"/>
                  <a:pt x="247" y="696"/>
                  <a:pt x="246" y="697"/>
                </a:cubicBezTo>
                <a:cubicBezTo>
                  <a:pt x="252" y="699"/>
                  <a:pt x="257" y="700"/>
                  <a:pt x="263" y="702"/>
                </a:cubicBezTo>
                <a:cubicBezTo>
                  <a:pt x="263" y="702"/>
                  <a:pt x="263" y="702"/>
                  <a:pt x="264" y="701"/>
                </a:cubicBezTo>
                <a:cubicBezTo>
                  <a:pt x="264" y="701"/>
                  <a:pt x="265" y="702"/>
                  <a:pt x="266" y="702"/>
                </a:cubicBezTo>
                <a:cubicBezTo>
                  <a:pt x="267" y="702"/>
                  <a:pt x="267" y="701"/>
                  <a:pt x="268" y="701"/>
                </a:cubicBezTo>
                <a:cubicBezTo>
                  <a:pt x="269" y="701"/>
                  <a:pt x="271" y="702"/>
                  <a:pt x="273" y="702"/>
                </a:cubicBezTo>
                <a:cubicBezTo>
                  <a:pt x="274" y="703"/>
                  <a:pt x="274" y="702"/>
                  <a:pt x="274" y="703"/>
                </a:cubicBezTo>
                <a:cubicBezTo>
                  <a:pt x="275" y="703"/>
                  <a:pt x="274" y="704"/>
                  <a:pt x="274" y="705"/>
                </a:cubicBezTo>
                <a:cubicBezTo>
                  <a:pt x="281" y="707"/>
                  <a:pt x="289" y="708"/>
                  <a:pt x="296" y="709"/>
                </a:cubicBezTo>
                <a:cubicBezTo>
                  <a:pt x="297" y="708"/>
                  <a:pt x="297" y="708"/>
                  <a:pt x="298" y="707"/>
                </a:cubicBezTo>
                <a:cubicBezTo>
                  <a:pt x="298" y="707"/>
                  <a:pt x="304" y="707"/>
                  <a:pt x="305" y="707"/>
                </a:cubicBezTo>
                <a:cubicBezTo>
                  <a:pt x="306" y="707"/>
                  <a:pt x="307" y="708"/>
                  <a:pt x="308" y="708"/>
                </a:cubicBezTo>
                <a:cubicBezTo>
                  <a:pt x="307" y="708"/>
                  <a:pt x="307" y="708"/>
                  <a:pt x="307" y="707"/>
                </a:cubicBezTo>
                <a:cubicBezTo>
                  <a:pt x="306" y="706"/>
                  <a:pt x="306" y="704"/>
                  <a:pt x="307" y="703"/>
                </a:cubicBezTo>
                <a:cubicBezTo>
                  <a:pt x="311" y="699"/>
                  <a:pt x="321" y="702"/>
                  <a:pt x="325" y="704"/>
                </a:cubicBezTo>
                <a:cubicBezTo>
                  <a:pt x="325" y="703"/>
                  <a:pt x="325" y="703"/>
                  <a:pt x="325" y="702"/>
                </a:cubicBezTo>
                <a:cubicBezTo>
                  <a:pt x="326" y="699"/>
                  <a:pt x="334" y="701"/>
                  <a:pt x="334" y="704"/>
                </a:cubicBezTo>
                <a:cubicBezTo>
                  <a:pt x="334" y="704"/>
                  <a:pt x="336" y="705"/>
                  <a:pt x="336" y="705"/>
                </a:cubicBezTo>
                <a:cubicBezTo>
                  <a:pt x="336" y="706"/>
                  <a:pt x="334" y="706"/>
                  <a:pt x="334" y="705"/>
                </a:cubicBezTo>
                <a:cubicBezTo>
                  <a:pt x="333" y="706"/>
                  <a:pt x="330" y="707"/>
                  <a:pt x="328" y="706"/>
                </a:cubicBezTo>
                <a:cubicBezTo>
                  <a:pt x="327" y="706"/>
                  <a:pt x="325" y="706"/>
                  <a:pt x="324" y="708"/>
                </a:cubicBezTo>
                <a:cubicBezTo>
                  <a:pt x="324" y="708"/>
                  <a:pt x="324" y="710"/>
                  <a:pt x="324" y="710"/>
                </a:cubicBezTo>
                <a:cubicBezTo>
                  <a:pt x="323" y="711"/>
                  <a:pt x="321" y="711"/>
                  <a:pt x="321" y="711"/>
                </a:cubicBezTo>
                <a:cubicBezTo>
                  <a:pt x="321" y="712"/>
                  <a:pt x="322" y="713"/>
                  <a:pt x="323" y="713"/>
                </a:cubicBezTo>
                <a:cubicBezTo>
                  <a:pt x="328" y="713"/>
                  <a:pt x="334" y="714"/>
                  <a:pt x="339" y="714"/>
                </a:cubicBezTo>
                <a:cubicBezTo>
                  <a:pt x="338" y="712"/>
                  <a:pt x="340" y="712"/>
                  <a:pt x="342" y="712"/>
                </a:cubicBezTo>
                <a:cubicBezTo>
                  <a:pt x="342" y="712"/>
                  <a:pt x="343" y="712"/>
                  <a:pt x="344" y="712"/>
                </a:cubicBezTo>
                <a:cubicBezTo>
                  <a:pt x="344" y="712"/>
                  <a:pt x="344" y="713"/>
                  <a:pt x="344" y="713"/>
                </a:cubicBezTo>
                <a:cubicBezTo>
                  <a:pt x="344" y="713"/>
                  <a:pt x="345" y="713"/>
                  <a:pt x="345" y="714"/>
                </a:cubicBezTo>
                <a:cubicBezTo>
                  <a:pt x="345" y="714"/>
                  <a:pt x="346" y="714"/>
                  <a:pt x="346" y="714"/>
                </a:cubicBezTo>
                <a:cubicBezTo>
                  <a:pt x="346" y="713"/>
                  <a:pt x="347" y="712"/>
                  <a:pt x="347" y="712"/>
                </a:cubicBezTo>
                <a:cubicBezTo>
                  <a:pt x="348" y="712"/>
                  <a:pt x="349" y="712"/>
                  <a:pt x="349" y="712"/>
                </a:cubicBezTo>
                <a:cubicBezTo>
                  <a:pt x="350" y="712"/>
                  <a:pt x="351" y="711"/>
                  <a:pt x="352" y="711"/>
                </a:cubicBezTo>
                <a:cubicBezTo>
                  <a:pt x="352" y="710"/>
                  <a:pt x="352" y="710"/>
                  <a:pt x="354" y="709"/>
                </a:cubicBezTo>
                <a:cubicBezTo>
                  <a:pt x="355" y="709"/>
                  <a:pt x="355" y="708"/>
                  <a:pt x="357" y="708"/>
                </a:cubicBezTo>
                <a:cubicBezTo>
                  <a:pt x="360" y="707"/>
                  <a:pt x="365" y="706"/>
                  <a:pt x="369" y="705"/>
                </a:cubicBezTo>
                <a:cubicBezTo>
                  <a:pt x="370" y="705"/>
                  <a:pt x="370" y="705"/>
                  <a:pt x="370" y="705"/>
                </a:cubicBezTo>
                <a:cubicBezTo>
                  <a:pt x="370" y="705"/>
                  <a:pt x="369" y="705"/>
                  <a:pt x="369" y="705"/>
                </a:cubicBezTo>
                <a:cubicBezTo>
                  <a:pt x="368" y="705"/>
                  <a:pt x="367" y="704"/>
                  <a:pt x="366" y="702"/>
                </a:cubicBezTo>
                <a:cubicBezTo>
                  <a:pt x="365" y="702"/>
                  <a:pt x="365" y="702"/>
                  <a:pt x="365" y="701"/>
                </a:cubicBezTo>
                <a:cubicBezTo>
                  <a:pt x="365" y="700"/>
                  <a:pt x="364" y="699"/>
                  <a:pt x="365" y="698"/>
                </a:cubicBezTo>
                <a:cubicBezTo>
                  <a:pt x="366" y="692"/>
                  <a:pt x="379" y="693"/>
                  <a:pt x="384" y="696"/>
                </a:cubicBezTo>
                <a:cubicBezTo>
                  <a:pt x="386" y="697"/>
                  <a:pt x="387" y="699"/>
                  <a:pt x="388" y="701"/>
                </a:cubicBezTo>
                <a:cubicBezTo>
                  <a:pt x="390" y="700"/>
                  <a:pt x="392" y="699"/>
                  <a:pt x="392" y="700"/>
                </a:cubicBezTo>
                <a:cubicBezTo>
                  <a:pt x="393" y="701"/>
                  <a:pt x="391" y="702"/>
                  <a:pt x="389" y="702"/>
                </a:cubicBezTo>
                <a:cubicBezTo>
                  <a:pt x="389" y="702"/>
                  <a:pt x="389" y="702"/>
                  <a:pt x="389" y="702"/>
                </a:cubicBezTo>
                <a:cubicBezTo>
                  <a:pt x="390" y="703"/>
                  <a:pt x="391" y="704"/>
                  <a:pt x="391" y="704"/>
                </a:cubicBezTo>
                <a:cubicBezTo>
                  <a:pt x="391" y="706"/>
                  <a:pt x="387" y="707"/>
                  <a:pt x="383" y="708"/>
                </a:cubicBezTo>
                <a:cubicBezTo>
                  <a:pt x="388" y="708"/>
                  <a:pt x="395" y="708"/>
                  <a:pt x="399" y="708"/>
                </a:cubicBezTo>
                <a:cubicBezTo>
                  <a:pt x="399" y="708"/>
                  <a:pt x="406" y="707"/>
                  <a:pt x="406" y="708"/>
                </a:cubicBezTo>
                <a:cubicBezTo>
                  <a:pt x="407" y="710"/>
                  <a:pt x="401" y="709"/>
                  <a:pt x="400" y="709"/>
                </a:cubicBezTo>
                <a:cubicBezTo>
                  <a:pt x="394" y="709"/>
                  <a:pt x="384" y="709"/>
                  <a:pt x="378" y="709"/>
                </a:cubicBezTo>
                <a:cubicBezTo>
                  <a:pt x="378" y="709"/>
                  <a:pt x="377" y="709"/>
                  <a:pt x="377" y="709"/>
                </a:cubicBezTo>
                <a:cubicBezTo>
                  <a:pt x="377" y="709"/>
                  <a:pt x="377" y="709"/>
                  <a:pt x="377" y="708"/>
                </a:cubicBezTo>
                <a:cubicBezTo>
                  <a:pt x="378" y="708"/>
                  <a:pt x="378" y="708"/>
                  <a:pt x="379" y="708"/>
                </a:cubicBezTo>
                <a:cubicBezTo>
                  <a:pt x="377" y="708"/>
                  <a:pt x="376" y="708"/>
                  <a:pt x="375" y="708"/>
                </a:cubicBezTo>
                <a:cubicBezTo>
                  <a:pt x="374" y="708"/>
                  <a:pt x="374" y="709"/>
                  <a:pt x="373" y="709"/>
                </a:cubicBezTo>
                <a:cubicBezTo>
                  <a:pt x="373" y="709"/>
                  <a:pt x="372" y="709"/>
                  <a:pt x="372" y="709"/>
                </a:cubicBezTo>
                <a:cubicBezTo>
                  <a:pt x="372" y="709"/>
                  <a:pt x="371" y="710"/>
                  <a:pt x="370" y="710"/>
                </a:cubicBezTo>
                <a:cubicBezTo>
                  <a:pt x="369" y="710"/>
                  <a:pt x="367" y="710"/>
                  <a:pt x="366" y="711"/>
                </a:cubicBezTo>
                <a:cubicBezTo>
                  <a:pt x="364" y="711"/>
                  <a:pt x="363" y="712"/>
                  <a:pt x="361" y="713"/>
                </a:cubicBezTo>
                <a:cubicBezTo>
                  <a:pt x="360" y="713"/>
                  <a:pt x="360" y="713"/>
                  <a:pt x="360" y="713"/>
                </a:cubicBezTo>
                <a:cubicBezTo>
                  <a:pt x="359" y="713"/>
                  <a:pt x="358" y="714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554" y="715"/>
                  <a:pt x="714" y="555"/>
                  <a:pt x="714" y="357"/>
                </a:cubicBezTo>
                <a:cubicBezTo>
                  <a:pt x="714" y="339"/>
                  <a:pt x="713" y="322"/>
                  <a:pt x="710" y="304"/>
                </a:cubicBezTo>
                <a:close/>
                <a:moveTo>
                  <a:pt x="703" y="277"/>
                </a:moveTo>
                <a:cubicBezTo>
                  <a:pt x="704" y="277"/>
                  <a:pt x="703" y="279"/>
                  <a:pt x="702" y="279"/>
                </a:cubicBezTo>
                <a:cubicBezTo>
                  <a:pt x="702" y="278"/>
                  <a:pt x="703" y="278"/>
                  <a:pt x="703" y="277"/>
                </a:cubicBezTo>
                <a:close/>
                <a:moveTo>
                  <a:pt x="702" y="292"/>
                </a:moveTo>
                <a:cubicBezTo>
                  <a:pt x="702" y="292"/>
                  <a:pt x="702" y="292"/>
                  <a:pt x="702" y="292"/>
                </a:cubicBezTo>
                <a:cubicBezTo>
                  <a:pt x="702" y="292"/>
                  <a:pt x="701" y="293"/>
                  <a:pt x="701" y="293"/>
                </a:cubicBezTo>
                <a:cubicBezTo>
                  <a:pt x="701" y="293"/>
                  <a:pt x="701" y="292"/>
                  <a:pt x="702" y="292"/>
                </a:cubicBezTo>
                <a:close/>
                <a:moveTo>
                  <a:pt x="699" y="271"/>
                </a:moveTo>
                <a:cubicBezTo>
                  <a:pt x="697" y="274"/>
                  <a:pt x="700" y="270"/>
                  <a:pt x="699" y="271"/>
                </a:cubicBezTo>
                <a:close/>
                <a:moveTo>
                  <a:pt x="681" y="279"/>
                </a:moveTo>
                <a:cubicBezTo>
                  <a:pt x="681" y="277"/>
                  <a:pt x="683" y="278"/>
                  <a:pt x="681" y="279"/>
                </a:cubicBezTo>
                <a:close/>
                <a:moveTo>
                  <a:pt x="682" y="275"/>
                </a:moveTo>
                <a:cubicBezTo>
                  <a:pt x="683" y="276"/>
                  <a:pt x="681" y="277"/>
                  <a:pt x="682" y="275"/>
                </a:cubicBezTo>
                <a:close/>
                <a:moveTo>
                  <a:pt x="686" y="247"/>
                </a:moveTo>
                <a:cubicBezTo>
                  <a:pt x="687" y="248"/>
                  <a:pt x="687" y="250"/>
                  <a:pt x="687" y="252"/>
                </a:cubicBezTo>
                <a:cubicBezTo>
                  <a:pt x="686" y="251"/>
                  <a:pt x="686" y="249"/>
                  <a:pt x="686" y="247"/>
                </a:cubicBezTo>
                <a:close/>
                <a:moveTo>
                  <a:pt x="680" y="254"/>
                </a:moveTo>
                <a:cubicBezTo>
                  <a:pt x="680" y="255"/>
                  <a:pt x="681" y="252"/>
                  <a:pt x="680" y="254"/>
                </a:cubicBezTo>
                <a:close/>
                <a:moveTo>
                  <a:pt x="684" y="227"/>
                </a:moveTo>
                <a:cubicBezTo>
                  <a:pt x="687" y="230"/>
                  <a:pt x="682" y="233"/>
                  <a:pt x="680" y="234"/>
                </a:cubicBezTo>
                <a:cubicBezTo>
                  <a:pt x="678" y="231"/>
                  <a:pt x="681" y="225"/>
                  <a:pt x="684" y="227"/>
                </a:cubicBezTo>
                <a:close/>
                <a:moveTo>
                  <a:pt x="634" y="190"/>
                </a:moveTo>
                <a:cubicBezTo>
                  <a:pt x="634" y="190"/>
                  <a:pt x="634" y="191"/>
                  <a:pt x="634" y="191"/>
                </a:cubicBezTo>
                <a:cubicBezTo>
                  <a:pt x="635" y="194"/>
                  <a:pt x="630" y="192"/>
                  <a:pt x="634" y="190"/>
                </a:cubicBezTo>
                <a:close/>
                <a:moveTo>
                  <a:pt x="574" y="146"/>
                </a:moveTo>
                <a:cubicBezTo>
                  <a:pt x="575" y="147"/>
                  <a:pt x="573" y="147"/>
                  <a:pt x="573" y="146"/>
                </a:cubicBezTo>
                <a:cubicBezTo>
                  <a:pt x="572" y="146"/>
                  <a:pt x="574" y="145"/>
                  <a:pt x="574" y="146"/>
                </a:cubicBezTo>
                <a:close/>
                <a:moveTo>
                  <a:pt x="571" y="138"/>
                </a:moveTo>
                <a:cubicBezTo>
                  <a:pt x="571" y="138"/>
                  <a:pt x="571" y="138"/>
                  <a:pt x="571" y="138"/>
                </a:cubicBezTo>
                <a:cubicBezTo>
                  <a:pt x="572" y="140"/>
                  <a:pt x="569" y="137"/>
                  <a:pt x="571" y="138"/>
                </a:cubicBezTo>
                <a:close/>
                <a:moveTo>
                  <a:pt x="566" y="136"/>
                </a:moveTo>
                <a:cubicBezTo>
                  <a:pt x="566" y="137"/>
                  <a:pt x="564" y="137"/>
                  <a:pt x="564" y="137"/>
                </a:cubicBezTo>
                <a:cubicBezTo>
                  <a:pt x="564" y="136"/>
                  <a:pt x="566" y="135"/>
                  <a:pt x="566" y="136"/>
                </a:cubicBezTo>
                <a:close/>
                <a:moveTo>
                  <a:pt x="562" y="145"/>
                </a:moveTo>
                <a:cubicBezTo>
                  <a:pt x="563" y="146"/>
                  <a:pt x="562" y="146"/>
                  <a:pt x="562" y="146"/>
                </a:cubicBezTo>
                <a:cubicBezTo>
                  <a:pt x="561" y="145"/>
                  <a:pt x="562" y="145"/>
                  <a:pt x="562" y="145"/>
                </a:cubicBezTo>
                <a:close/>
                <a:moveTo>
                  <a:pt x="549" y="88"/>
                </a:moveTo>
                <a:cubicBezTo>
                  <a:pt x="549" y="88"/>
                  <a:pt x="549" y="88"/>
                  <a:pt x="549" y="88"/>
                </a:cubicBezTo>
                <a:cubicBezTo>
                  <a:pt x="549" y="88"/>
                  <a:pt x="549" y="88"/>
                  <a:pt x="549" y="88"/>
                </a:cubicBezTo>
                <a:close/>
                <a:moveTo>
                  <a:pt x="549" y="88"/>
                </a:moveTo>
                <a:cubicBezTo>
                  <a:pt x="549" y="88"/>
                  <a:pt x="548" y="88"/>
                  <a:pt x="549" y="88"/>
                </a:cubicBezTo>
                <a:close/>
                <a:moveTo>
                  <a:pt x="549" y="90"/>
                </a:moveTo>
                <a:cubicBezTo>
                  <a:pt x="549" y="91"/>
                  <a:pt x="548" y="91"/>
                  <a:pt x="548" y="91"/>
                </a:cubicBezTo>
                <a:cubicBezTo>
                  <a:pt x="548" y="91"/>
                  <a:pt x="549" y="90"/>
                  <a:pt x="549" y="90"/>
                </a:cubicBezTo>
                <a:close/>
                <a:moveTo>
                  <a:pt x="547" y="89"/>
                </a:moveTo>
                <a:cubicBezTo>
                  <a:pt x="546" y="89"/>
                  <a:pt x="546" y="90"/>
                  <a:pt x="545" y="90"/>
                </a:cubicBezTo>
                <a:cubicBezTo>
                  <a:pt x="546" y="90"/>
                  <a:pt x="544" y="88"/>
                  <a:pt x="544" y="88"/>
                </a:cubicBezTo>
                <a:cubicBezTo>
                  <a:pt x="545" y="87"/>
                  <a:pt x="547" y="87"/>
                  <a:pt x="547" y="89"/>
                </a:cubicBezTo>
                <a:close/>
                <a:moveTo>
                  <a:pt x="540" y="94"/>
                </a:moveTo>
                <a:cubicBezTo>
                  <a:pt x="541" y="94"/>
                  <a:pt x="539" y="94"/>
                  <a:pt x="539" y="94"/>
                </a:cubicBezTo>
                <a:cubicBezTo>
                  <a:pt x="539" y="93"/>
                  <a:pt x="540" y="93"/>
                  <a:pt x="540" y="94"/>
                </a:cubicBezTo>
                <a:close/>
                <a:moveTo>
                  <a:pt x="540" y="97"/>
                </a:moveTo>
                <a:cubicBezTo>
                  <a:pt x="540" y="96"/>
                  <a:pt x="538" y="98"/>
                  <a:pt x="539" y="97"/>
                </a:cubicBezTo>
                <a:cubicBezTo>
                  <a:pt x="539" y="96"/>
                  <a:pt x="542" y="93"/>
                  <a:pt x="544" y="93"/>
                </a:cubicBezTo>
                <a:cubicBezTo>
                  <a:pt x="546" y="93"/>
                  <a:pt x="549" y="94"/>
                  <a:pt x="548" y="96"/>
                </a:cubicBezTo>
                <a:cubicBezTo>
                  <a:pt x="548" y="98"/>
                  <a:pt x="544" y="100"/>
                  <a:pt x="542" y="100"/>
                </a:cubicBezTo>
                <a:cubicBezTo>
                  <a:pt x="541" y="100"/>
                  <a:pt x="540" y="99"/>
                  <a:pt x="540" y="99"/>
                </a:cubicBezTo>
                <a:cubicBezTo>
                  <a:pt x="539" y="99"/>
                  <a:pt x="538" y="101"/>
                  <a:pt x="538" y="99"/>
                </a:cubicBezTo>
                <a:cubicBezTo>
                  <a:pt x="538" y="99"/>
                  <a:pt x="540" y="97"/>
                  <a:pt x="540" y="97"/>
                </a:cubicBezTo>
                <a:close/>
                <a:moveTo>
                  <a:pt x="535" y="95"/>
                </a:moveTo>
                <a:cubicBezTo>
                  <a:pt x="536" y="96"/>
                  <a:pt x="533" y="95"/>
                  <a:pt x="535" y="95"/>
                </a:cubicBezTo>
                <a:close/>
                <a:moveTo>
                  <a:pt x="535" y="97"/>
                </a:moveTo>
                <a:cubicBezTo>
                  <a:pt x="535" y="97"/>
                  <a:pt x="535" y="96"/>
                  <a:pt x="535" y="96"/>
                </a:cubicBezTo>
                <a:cubicBezTo>
                  <a:pt x="535" y="97"/>
                  <a:pt x="536" y="97"/>
                  <a:pt x="535" y="97"/>
                </a:cubicBezTo>
                <a:close/>
                <a:moveTo>
                  <a:pt x="534" y="111"/>
                </a:moveTo>
                <a:cubicBezTo>
                  <a:pt x="534" y="110"/>
                  <a:pt x="535" y="109"/>
                  <a:pt x="536" y="110"/>
                </a:cubicBezTo>
                <a:cubicBezTo>
                  <a:pt x="537" y="111"/>
                  <a:pt x="535" y="111"/>
                  <a:pt x="534" y="111"/>
                </a:cubicBezTo>
                <a:close/>
                <a:moveTo>
                  <a:pt x="535" y="84"/>
                </a:moveTo>
                <a:cubicBezTo>
                  <a:pt x="538" y="83"/>
                  <a:pt x="536" y="88"/>
                  <a:pt x="534" y="87"/>
                </a:cubicBezTo>
                <a:cubicBezTo>
                  <a:pt x="532" y="86"/>
                  <a:pt x="534" y="85"/>
                  <a:pt x="535" y="84"/>
                </a:cubicBezTo>
                <a:close/>
                <a:moveTo>
                  <a:pt x="545" y="73"/>
                </a:moveTo>
                <a:cubicBezTo>
                  <a:pt x="544" y="74"/>
                  <a:pt x="544" y="72"/>
                  <a:pt x="545" y="73"/>
                </a:cubicBezTo>
                <a:close/>
                <a:moveTo>
                  <a:pt x="541" y="72"/>
                </a:moveTo>
                <a:cubicBezTo>
                  <a:pt x="540" y="73"/>
                  <a:pt x="539" y="73"/>
                  <a:pt x="537" y="73"/>
                </a:cubicBezTo>
                <a:cubicBezTo>
                  <a:pt x="539" y="73"/>
                  <a:pt x="539" y="71"/>
                  <a:pt x="541" y="72"/>
                </a:cubicBezTo>
                <a:close/>
                <a:moveTo>
                  <a:pt x="534" y="73"/>
                </a:moveTo>
                <a:cubicBezTo>
                  <a:pt x="534" y="74"/>
                  <a:pt x="532" y="75"/>
                  <a:pt x="532" y="74"/>
                </a:cubicBezTo>
                <a:cubicBezTo>
                  <a:pt x="531" y="74"/>
                  <a:pt x="534" y="73"/>
                  <a:pt x="534" y="73"/>
                </a:cubicBezTo>
                <a:close/>
                <a:moveTo>
                  <a:pt x="531" y="74"/>
                </a:moveTo>
                <a:cubicBezTo>
                  <a:pt x="532" y="75"/>
                  <a:pt x="530" y="74"/>
                  <a:pt x="530" y="74"/>
                </a:cubicBezTo>
                <a:cubicBezTo>
                  <a:pt x="529" y="73"/>
                  <a:pt x="531" y="73"/>
                  <a:pt x="531" y="74"/>
                </a:cubicBezTo>
                <a:close/>
                <a:moveTo>
                  <a:pt x="458" y="41"/>
                </a:moveTo>
                <a:cubicBezTo>
                  <a:pt x="458" y="42"/>
                  <a:pt x="458" y="42"/>
                  <a:pt x="458" y="42"/>
                </a:cubicBezTo>
                <a:cubicBezTo>
                  <a:pt x="458" y="41"/>
                  <a:pt x="457" y="40"/>
                  <a:pt x="458" y="41"/>
                </a:cubicBezTo>
                <a:close/>
                <a:moveTo>
                  <a:pt x="421" y="34"/>
                </a:moveTo>
                <a:cubicBezTo>
                  <a:pt x="420" y="34"/>
                  <a:pt x="420" y="33"/>
                  <a:pt x="421" y="34"/>
                </a:cubicBezTo>
                <a:close/>
                <a:moveTo>
                  <a:pt x="421" y="29"/>
                </a:moveTo>
                <a:cubicBezTo>
                  <a:pt x="422" y="30"/>
                  <a:pt x="420" y="30"/>
                  <a:pt x="420" y="30"/>
                </a:cubicBezTo>
                <a:cubicBezTo>
                  <a:pt x="419" y="29"/>
                  <a:pt x="421" y="29"/>
                  <a:pt x="421" y="29"/>
                </a:cubicBezTo>
                <a:close/>
                <a:moveTo>
                  <a:pt x="461" y="19"/>
                </a:moveTo>
                <a:cubicBezTo>
                  <a:pt x="461" y="20"/>
                  <a:pt x="458" y="20"/>
                  <a:pt x="458" y="19"/>
                </a:cubicBezTo>
                <a:cubicBezTo>
                  <a:pt x="457" y="18"/>
                  <a:pt x="461" y="17"/>
                  <a:pt x="461" y="19"/>
                </a:cubicBezTo>
                <a:close/>
                <a:moveTo>
                  <a:pt x="456" y="20"/>
                </a:moveTo>
                <a:cubicBezTo>
                  <a:pt x="457" y="21"/>
                  <a:pt x="454" y="22"/>
                  <a:pt x="454" y="20"/>
                </a:cubicBezTo>
                <a:cubicBezTo>
                  <a:pt x="454" y="20"/>
                  <a:pt x="456" y="20"/>
                  <a:pt x="456" y="20"/>
                </a:cubicBezTo>
                <a:close/>
                <a:moveTo>
                  <a:pt x="455" y="23"/>
                </a:moveTo>
                <a:cubicBezTo>
                  <a:pt x="456" y="24"/>
                  <a:pt x="453" y="23"/>
                  <a:pt x="453" y="23"/>
                </a:cubicBezTo>
                <a:cubicBezTo>
                  <a:pt x="453" y="22"/>
                  <a:pt x="455" y="22"/>
                  <a:pt x="455" y="23"/>
                </a:cubicBezTo>
                <a:close/>
                <a:moveTo>
                  <a:pt x="434" y="24"/>
                </a:moveTo>
                <a:cubicBezTo>
                  <a:pt x="434" y="25"/>
                  <a:pt x="430" y="24"/>
                  <a:pt x="430" y="23"/>
                </a:cubicBezTo>
                <a:cubicBezTo>
                  <a:pt x="430" y="22"/>
                  <a:pt x="433" y="22"/>
                  <a:pt x="434" y="24"/>
                </a:cubicBezTo>
                <a:close/>
                <a:moveTo>
                  <a:pt x="427" y="20"/>
                </a:moveTo>
                <a:cubicBezTo>
                  <a:pt x="427" y="21"/>
                  <a:pt x="425" y="20"/>
                  <a:pt x="425" y="20"/>
                </a:cubicBezTo>
                <a:cubicBezTo>
                  <a:pt x="425" y="20"/>
                  <a:pt x="427" y="19"/>
                  <a:pt x="427" y="20"/>
                </a:cubicBezTo>
                <a:close/>
                <a:moveTo>
                  <a:pt x="418" y="41"/>
                </a:moveTo>
                <a:cubicBezTo>
                  <a:pt x="418" y="41"/>
                  <a:pt x="418" y="40"/>
                  <a:pt x="418" y="40"/>
                </a:cubicBezTo>
                <a:cubicBezTo>
                  <a:pt x="416" y="39"/>
                  <a:pt x="420" y="40"/>
                  <a:pt x="418" y="41"/>
                </a:cubicBezTo>
                <a:close/>
                <a:moveTo>
                  <a:pt x="415" y="43"/>
                </a:moveTo>
                <a:cubicBezTo>
                  <a:pt x="416" y="44"/>
                  <a:pt x="414" y="44"/>
                  <a:pt x="414" y="44"/>
                </a:cubicBezTo>
                <a:cubicBezTo>
                  <a:pt x="414" y="44"/>
                  <a:pt x="414" y="43"/>
                  <a:pt x="415" y="43"/>
                </a:cubicBezTo>
                <a:close/>
                <a:moveTo>
                  <a:pt x="388" y="45"/>
                </a:moveTo>
                <a:cubicBezTo>
                  <a:pt x="388" y="43"/>
                  <a:pt x="393" y="43"/>
                  <a:pt x="393" y="45"/>
                </a:cubicBezTo>
                <a:cubicBezTo>
                  <a:pt x="393" y="48"/>
                  <a:pt x="388" y="46"/>
                  <a:pt x="388" y="45"/>
                </a:cubicBezTo>
                <a:close/>
                <a:moveTo>
                  <a:pt x="394" y="10"/>
                </a:moveTo>
                <a:cubicBezTo>
                  <a:pt x="394" y="11"/>
                  <a:pt x="393" y="11"/>
                  <a:pt x="392" y="11"/>
                </a:cubicBezTo>
                <a:cubicBezTo>
                  <a:pt x="393" y="10"/>
                  <a:pt x="394" y="10"/>
                  <a:pt x="394" y="10"/>
                </a:cubicBezTo>
                <a:close/>
                <a:moveTo>
                  <a:pt x="389" y="10"/>
                </a:moveTo>
                <a:cubicBezTo>
                  <a:pt x="391" y="9"/>
                  <a:pt x="391" y="12"/>
                  <a:pt x="389" y="10"/>
                </a:cubicBezTo>
                <a:close/>
                <a:moveTo>
                  <a:pt x="387" y="32"/>
                </a:moveTo>
                <a:cubicBezTo>
                  <a:pt x="393" y="30"/>
                  <a:pt x="399" y="30"/>
                  <a:pt x="404" y="30"/>
                </a:cubicBezTo>
                <a:cubicBezTo>
                  <a:pt x="399" y="31"/>
                  <a:pt x="391" y="32"/>
                  <a:pt x="384" y="33"/>
                </a:cubicBezTo>
                <a:cubicBezTo>
                  <a:pt x="379" y="35"/>
                  <a:pt x="386" y="32"/>
                  <a:pt x="387" y="32"/>
                </a:cubicBezTo>
                <a:close/>
                <a:moveTo>
                  <a:pt x="380" y="25"/>
                </a:moveTo>
                <a:cubicBezTo>
                  <a:pt x="381" y="24"/>
                  <a:pt x="382" y="26"/>
                  <a:pt x="380" y="25"/>
                </a:cubicBezTo>
                <a:close/>
                <a:moveTo>
                  <a:pt x="355" y="52"/>
                </a:moveTo>
                <a:cubicBezTo>
                  <a:pt x="355" y="51"/>
                  <a:pt x="357" y="50"/>
                  <a:pt x="357" y="51"/>
                </a:cubicBezTo>
                <a:cubicBezTo>
                  <a:pt x="358" y="53"/>
                  <a:pt x="356" y="52"/>
                  <a:pt x="355" y="52"/>
                </a:cubicBezTo>
                <a:close/>
                <a:moveTo>
                  <a:pt x="375" y="42"/>
                </a:move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lose/>
                <a:moveTo>
                  <a:pt x="371" y="6"/>
                </a:moveTo>
                <a:cubicBezTo>
                  <a:pt x="372" y="5"/>
                  <a:pt x="373" y="7"/>
                  <a:pt x="371" y="6"/>
                </a:cubicBezTo>
                <a:close/>
                <a:moveTo>
                  <a:pt x="367" y="52"/>
                </a:moveTo>
                <a:cubicBezTo>
                  <a:pt x="366" y="53"/>
                  <a:pt x="365" y="53"/>
                  <a:pt x="364" y="53"/>
                </a:cubicBezTo>
                <a:cubicBezTo>
                  <a:pt x="365" y="52"/>
                  <a:pt x="366" y="52"/>
                  <a:pt x="367" y="52"/>
                </a:cubicBezTo>
                <a:close/>
                <a:moveTo>
                  <a:pt x="360" y="41"/>
                </a:moveTo>
                <a:cubicBezTo>
                  <a:pt x="358" y="42"/>
                  <a:pt x="354" y="43"/>
                  <a:pt x="351" y="41"/>
                </a:cubicBezTo>
                <a:cubicBezTo>
                  <a:pt x="351" y="40"/>
                  <a:pt x="360" y="41"/>
                  <a:pt x="360" y="41"/>
                </a:cubicBezTo>
                <a:close/>
                <a:moveTo>
                  <a:pt x="2" y="391"/>
                </a:moveTo>
                <a:cubicBezTo>
                  <a:pt x="2" y="392"/>
                  <a:pt x="2" y="389"/>
                  <a:pt x="2" y="391"/>
                </a:cubicBezTo>
                <a:close/>
                <a:moveTo>
                  <a:pt x="2" y="338"/>
                </a:moveTo>
                <a:cubicBezTo>
                  <a:pt x="1" y="339"/>
                  <a:pt x="1" y="336"/>
                  <a:pt x="2" y="337"/>
                </a:cubicBezTo>
                <a:cubicBezTo>
                  <a:pt x="2" y="337"/>
                  <a:pt x="2" y="337"/>
                  <a:pt x="2" y="338"/>
                </a:cubicBezTo>
                <a:close/>
                <a:moveTo>
                  <a:pt x="6" y="411"/>
                </a:moveTo>
                <a:cubicBezTo>
                  <a:pt x="7" y="410"/>
                  <a:pt x="8" y="410"/>
                  <a:pt x="6" y="411"/>
                </a:cubicBezTo>
                <a:close/>
                <a:moveTo>
                  <a:pt x="7" y="377"/>
                </a:moveTo>
                <a:cubicBezTo>
                  <a:pt x="8" y="377"/>
                  <a:pt x="8" y="378"/>
                  <a:pt x="7" y="379"/>
                </a:cubicBezTo>
                <a:cubicBezTo>
                  <a:pt x="6" y="380"/>
                  <a:pt x="7" y="377"/>
                  <a:pt x="7" y="377"/>
                </a:cubicBezTo>
                <a:close/>
                <a:moveTo>
                  <a:pt x="7" y="415"/>
                </a:moveTo>
                <a:cubicBezTo>
                  <a:pt x="7" y="416"/>
                  <a:pt x="7" y="413"/>
                  <a:pt x="8" y="414"/>
                </a:cubicBezTo>
                <a:cubicBezTo>
                  <a:pt x="9" y="414"/>
                  <a:pt x="8" y="415"/>
                  <a:pt x="7" y="415"/>
                </a:cubicBezTo>
                <a:close/>
                <a:moveTo>
                  <a:pt x="7" y="368"/>
                </a:moveTo>
                <a:cubicBezTo>
                  <a:pt x="6" y="367"/>
                  <a:pt x="7" y="364"/>
                  <a:pt x="8" y="363"/>
                </a:cubicBezTo>
                <a:cubicBezTo>
                  <a:pt x="8" y="365"/>
                  <a:pt x="7" y="366"/>
                  <a:pt x="7" y="368"/>
                </a:cubicBezTo>
                <a:close/>
                <a:moveTo>
                  <a:pt x="13" y="438"/>
                </a:moveTo>
                <a:cubicBezTo>
                  <a:pt x="13" y="438"/>
                  <a:pt x="13" y="439"/>
                  <a:pt x="13" y="439"/>
                </a:cubicBezTo>
                <a:cubicBezTo>
                  <a:pt x="13" y="441"/>
                  <a:pt x="12" y="437"/>
                  <a:pt x="13" y="438"/>
                </a:cubicBezTo>
                <a:close/>
                <a:moveTo>
                  <a:pt x="12" y="423"/>
                </a:moveTo>
                <a:cubicBezTo>
                  <a:pt x="13" y="423"/>
                  <a:pt x="11" y="425"/>
                  <a:pt x="12" y="423"/>
                </a:cubicBezTo>
                <a:close/>
                <a:moveTo>
                  <a:pt x="15" y="295"/>
                </a:moveTo>
                <a:cubicBezTo>
                  <a:pt x="15" y="298"/>
                  <a:pt x="13" y="296"/>
                  <a:pt x="15" y="295"/>
                </a:cubicBezTo>
                <a:close/>
                <a:moveTo>
                  <a:pt x="13" y="368"/>
                </a:moveTo>
                <a:cubicBezTo>
                  <a:pt x="14" y="368"/>
                  <a:pt x="13" y="369"/>
                  <a:pt x="13" y="369"/>
                </a:cubicBezTo>
                <a:cubicBezTo>
                  <a:pt x="12" y="370"/>
                  <a:pt x="12" y="367"/>
                  <a:pt x="13" y="368"/>
                </a:cubicBezTo>
                <a:close/>
                <a:moveTo>
                  <a:pt x="12" y="352"/>
                </a:moveTo>
                <a:cubicBezTo>
                  <a:pt x="11" y="353"/>
                  <a:pt x="11" y="350"/>
                  <a:pt x="12" y="351"/>
                </a:cubicBezTo>
                <a:cubicBezTo>
                  <a:pt x="13" y="351"/>
                  <a:pt x="12" y="352"/>
                  <a:pt x="12" y="352"/>
                </a:cubicBezTo>
                <a:close/>
                <a:moveTo>
                  <a:pt x="10" y="333"/>
                </a:moveTo>
                <a:cubicBezTo>
                  <a:pt x="12" y="332"/>
                  <a:pt x="14" y="337"/>
                  <a:pt x="12" y="338"/>
                </a:cubicBezTo>
                <a:cubicBezTo>
                  <a:pt x="9" y="339"/>
                  <a:pt x="9" y="334"/>
                  <a:pt x="10" y="333"/>
                </a:cubicBezTo>
                <a:close/>
                <a:moveTo>
                  <a:pt x="10" y="355"/>
                </a:moveTo>
                <a:cubicBezTo>
                  <a:pt x="9" y="356"/>
                  <a:pt x="10" y="353"/>
                  <a:pt x="10" y="353"/>
                </a:cubicBezTo>
                <a:cubicBezTo>
                  <a:pt x="11" y="354"/>
                  <a:pt x="10" y="355"/>
                  <a:pt x="10" y="355"/>
                </a:cubicBezTo>
                <a:close/>
                <a:moveTo>
                  <a:pt x="9" y="371"/>
                </a:moveTo>
                <a:cubicBezTo>
                  <a:pt x="8" y="372"/>
                  <a:pt x="8" y="369"/>
                  <a:pt x="9" y="370"/>
                </a:cubicBezTo>
                <a:cubicBezTo>
                  <a:pt x="9" y="370"/>
                  <a:pt x="9" y="371"/>
                  <a:pt x="9" y="371"/>
                </a:cubicBezTo>
                <a:close/>
                <a:moveTo>
                  <a:pt x="9" y="359"/>
                </a:moveTo>
                <a:cubicBezTo>
                  <a:pt x="8" y="359"/>
                  <a:pt x="9" y="357"/>
                  <a:pt x="10" y="357"/>
                </a:cubicBezTo>
                <a:cubicBezTo>
                  <a:pt x="9" y="358"/>
                  <a:pt x="9" y="358"/>
                  <a:pt x="9" y="359"/>
                </a:cubicBezTo>
                <a:close/>
                <a:moveTo>
                  <a:pt x="10" y="438"/>
                </a:moveTo>
                <a:cubicBezTo>
                  <a:pt x="9" y="439"/>
                  <a:pt x="10" y="436"/>
                  <a:pt x="11" y="436"/>
                </a:cubicBezTo>
                <a:cubicBezTo>
                  <a:pt x="12" y="437"/>
                  <a:pt x="11" y="437"/>
                  <a:pt x="10" y="438"/>
                </a:cubicBezTo>
                <a:close/>
                <a:moveTo>
                  <a:pt x="10" y="424"/>
                </a:moveTo>
                <a:cubicBezTo>
                  <a:pt x="9" y="425"/>
                  <a:pt x="10" y="422"/>
                  <a:pt x="11" y="423"/>
                </a:cubicBezTo>
                <a:cubicBezTo>
                  <a:pt x="12" y="424"/>
                  <a:pt x="11" y="424"/>
                  <a:pt x="10" y="424"/>
                </a:cubicBezTo>
                <a:close/>
                <a:moveTo>
                  <a:pt x="11" y="386"/>
                </a:moveTo>
                <a:cubicBezTo>
                  <a:pt x="10" y="386"/>
                  <a:pt x="10" y="387"/>
                  <a:pt x="10" y="385"/>
                </a:cubicBezTo>
                <a:cubicBezTo>
                  <a:pt x="10" y="383"/>
                  <a:pt x="14" y="374"/>
                  <a:pt x="14" y="374"/>
                </a:cubicBezTo>
                <a:cubicBezTo>
                  <a:pt x="16" y="374"/>
                  <a:pt x="13" y="377"/>
                  <a:pt x="13" y="378"/>
                </a:cubicBezTo>
                <a:cubicBezTo>
                  <a:pt x="12" y="381"/>
                  <a:pt x="14" y="385"/>
                  <a:pt x="11" y="386"/>
                </a:cubicBezTo>
                <a:close/>
                <a:moveTo>
                  <a:pt x="14" y="394"/>
                </a:moveTo>
                <a:cubicBezTo>
                  <a:pt x="13" y="396"/>
                  <a:pt x="14" y="393"/>
                  <a:pt x="14" y="393"/>
                </a:cubicBezTo>
                <a:cubicBezTo>
                  <a:pt x="15" y="393"/>
                  <a:pt x="15" y="394"/>
                  <a:pt x="14" y="394"/>
                </a:cubicBezTo>
                <a:close/>
                <a:moveTo>
                  <a:pt x="15" y="388"/>
                </a:moveTo>
                <a:cubicBezTo>
                  <a:pt x="14" y="388"/>
                  <a:pt x="15" y="387"/>
                  <a:pt x="15" y="387"/>
                </a:cubicBezTo>
                <a:cubicBezTo>
                  <a:pt x="15" y="387"/>
                  <a:pt x="15" y="388"/>
                  <a:pt x="15" y="388"/>
                </a:cubicBezTo>
                <a:close/>
                <a:moveTo>
                  <a:pt x="15" y="300"/>
                </a:moveTo>
                <a:cubicBezTo>
                  <a:pt x="16" y="302"/>
                  <a:pt x="14" y="301"/>
                  <a:pt x="15" y="300"/>
                </a:cubicBezTo>
                <a:close/>
                <a:moveTo>
                  <a:pt x="16" y="366"/>
                </a:moveTo>
                <a:cubicBezTo>
                  <a:pt x="15" y="367"/>
                  <a:pt x="17" y="364"/>
                  <a:pt x="16" y="366"/>
                </a:cubicBezTo>
                <a:close/>
                <a:moveTo>
                  <a:pt x="17" y="380"/>
                </a:moveTo>
                <a:cubicBezTo>
                  <a:pt x="16" y="381"/>
                  <a:pt x="16" y="379"/>
                  <a:pt x="17" y="379"/>
                </a:cubicBezTo>
                <a:cubicBezTo>
                  <a:pt x="17" y="378"/>
                  <a:pt x="17" y="380"/>
                  <a:pt x="17" y="380"/>
                </a:cubicBezTo>
                <a:close/>
                <a:moveTo>
                  <a:pt x="27" y="420"/>
                </a:move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lose/>
                <a:moveTo>
                  <a:pt x="23" y="346"/>
                </a:moveTo>
                <a:cubicBezTo>
                  <a:pt x="23" y="346"/>
                  <a:pt x="23" y="347"/>
                  <a:pt x="23" y="347"/>
                </a:cubicBezTo>
                <a:cubicBezTo>
                  <a:pt x="22" y="347"/>
                  <a:pt x="22" y="346"/>
                  <a:pt x="23" y="346"/>
                </a:cubicBezTo>
                <a:close/>
                <a:moveTo>
                  <a:pt x="19" y="405"/>
                </a:moveTo>
                <a:cubicBezTo>
                  <a:pt x="19" y="405"/>
                  <a:pt x="18" y="404"/>
                  <a:pt x="18" y="404"/>
                </a:cubicBezTo>
                <a:cubicBezTo>
                  <a:pt x="18" y="404"/>
                  <a:pt x="20" y="404"/>
                  <a:pt x="19" y="405"/>
                </a:cubicBezTo>
                <a:close/>
                <a:moveTo>
                  <a:pt x="20" y="406"/>
                </a:moveTo>
                <a:cubicBezTo>
                  <a:pt x="19" y="406"/>
                  <a:pt x="20" y="405"/>
                  <a:pt x="20" y="404"/>
                </a:cubicBezTo>
                <a:cubicBezTo>
                  <a:pt x="21" y="404"/>
                  <a:pt x="20" y="405"/>
                  <a:pt x="20" y="406"/>
                </a:cubicBezTo>
                <a:close/>
                <a:moveTo>
                  <a:pt x="20" y="360"/>
                </a:moveTo>
                <a:cubicBezTo>
                  <a:pt x="19" y="359"/>
                  <a:pt x="21" y="359"/>
                  <a:pt x="20" y="360"/>
                </a:cubicBezTo>
                <a:close/>
                <a:moveTo>
                  <a:pt x="22" y="268"/>
                </a:moveTo>
                <a:cubicBezTo>
                  <a:pt x="23" y="268"/>
                  <a:pt x="22" y="270"/>
                  <a:pt x="22" y="271"/>
                </a:cubicBezTo>
                <a:cubicBezTo>
                  <a:pt x="19" y="273"/>
                  <a:pt x="19" y="267"/>
                  <a:pt x="22" y="268"/>
                </a:cubicBezTo>
                <a:close/>
                <a:moveTo>
                  <a:pt x="21" y="397"/>
                </a:moveTo>
                <a:cubicBezTo>
                  <a:pt x="21" y="396"/>
                  <a:pt x="22" y="397"/>
                  <a:pt x="22" y="398"/>
                </a:cubicBezTo>
                <a:cubicBezTo>
                  <a:pt x="21" y="399"/>
                  <a:pt x="20" y="397"/>
                  <a:pt x="21" y="397"/>
                </a:cubicBezTo>
                <a:close/>
                <a:moveTo>
                  <a:pt x="21" y="415"/>
                </a:moveTo>
                <a:cubicBezTo>
                  <a:pt x="22" y="416"/>
                  <a:pt x="21" y="417"/>
                  <a:pt x="21" y="415"/>
                </a:cubicBezTo>
                <a:close/>
                <a:moveTo>
                  <a:pt x="21" y="413"/>
                </a:moveTo>
                <a:cubicBezTo>
                  <a:pt x="21" y="413"/>
                  <a:pt x="23" y="413"/>
                  <a:pt x="23" y="413"/>
                </a:cubicBezTo>
                <a:cubicBezTo>
                  <a:pt x="23" y="414"/>
                  <a:pt x="20" y="414"/>
                  <a:pt x="21" y="413"/>
                </a:cubicBezTo>
                <a:close/>
                <a:moveTo>
                  <a:pt x="24" y="367"/>
                </a:moveTo>
                <a:cubicBezTo>
                  <a:pt x="25" y="368"/>
                  <a:pt x="23" y="369"/>
                  <a:pt x="24" y="367"/>
                </a:cubicBezTo>
                <a:close/>
                <a:moveTo>
                  <a:pt x="24" y="412"/>
                </a:moveTo>
                <a:cubicBezTo>
                  <a:pt x="24" y="413"/>
                  <a:pt x="24" y="410"/>
                  <a:pt x="24" y="412"/>
                </a:cubicBezTo>
                <a:close/>
                <a:moveTo>
                  <a:pt x="25" y="401"/>
                </a:moveTo>
                <a:cubicBezTo>
                  <a:pt x="24" y="402"/>
                  <a:pt x="24" y="400"/>
                  <a:pt x="24" y="399"/>
                </a:cubicBezTo>
                <a:cubicBezTo>
                  <a:pt x="25" y="399"/>
                  <a:pt x="25" y="401"/>
                  <a:pt x="25" y="401"/>
                </a:cubicBezTo>
                <a:close/>
                <a:moveTo>
                  <a:pt x="27" y="397"/>
                </a:moveTo>
                <a:cubicBezTo>
                  <a:pt x="27" y="398"/>
                  <a:pt x="28" y="396"/>
                  <a:pt x="27" y="397"/>
                </a:cubicBezTo>
                <a:close/>
                <a:moveTo>
                  <a:pt x="25" y="343"/>
                </a:moveTo>
                <a:cubicBezTo>
                  <a:pt x="23" y="342"/>
                  <a:pt x="25" y="340"/>
                  <a:pt x="25" y="338"/>
                </a:cubicBezTo>
                <a:cubicBezTo>
                  <a:pt x="25" y="340"/>
                  <a:pt x="26" y="339"/>
                  <a:pt x="27" y="340"/>
                </a:cubicBezTo>
                <a:cubicBezTo>
                  <a:pt x="29" y="342"/>
                  <a:pt x="26" y="345"/>
                  <a:pt x="25" y="343"/>
                </a:cubicBezTo>
                <a:close/>
                <a:moveTo>
                  <a:pt x="31" y="233"/>
                </a:moveTo>
                <a:cubicBezTo>
                  <a:pt x="30" y="234"/>
                  <a:pt x="30" y="231"/>
                  <a:pt x="30" y="231"/>
                </a:cubicBezTo>
                <a:cubicBezTo>
                  <a:pt x="32" y="231"/>
                  <a:pt x="31" y="233"/>
                  <a:pt x="31" y="233"/>
                </a:cubicBezTo>
                <a:close/>
                <a:moveTo>
                  <a:pt x="33" y="290"/>
                </a:moveTo>
                <a:cubicBezTo>
                  <a:pt x="32" y="291"/>
                  <a:pt x="32" y="288"/>
                  <a:pt x="33" y="289"/>
                </a:cubicBezTo>
                <a:cubicBezTo>
                  <a:pt x="34" y="289"/>
                  <a:pt x="33" y="290"/>
                  <a:pt x="33" y="290"/>
                </a:cubicBezTo>
                <a:close/>
                <a:moveTo>
                  <a:pt x="34" y="385"/>
                </a:moveTo>
                <a:cubicBezTo>
                  <a:pt x="33" y="386"/>
                  <a:pt x="34" y="383"/>
                  <a:pt x="35" y="383"/>
                </a:cubicBezTo>
                <a:cubicBezTo>
                  <a:pt x="35" y="384"/>
                  <a:pt x="34" y="385"/>
                  <a:pt x="34" y="385"/>
                </a:cubicBezTo>
                <a:close/>
                <a:moveTo>
                  <a:pt x="36" y="305"/>
                </a:moveTo>
                <a:cubicBezTo>
                  <a:pt x="35" y="307"/>
                  <a:pt x="37" y="303"/>
                  <a:pt x="36" y="305"/>
                </a:cubicBezTo>
                <a:close/>
                <a:moveTo>
                  <a:pt x="37" y="344"/>
                </a:moveTo>
                <a:cubicBezTo>
                  <a:pt x="37" y="344"/>
                  <a:pt x="38" y="344"/>
                  <a:pt x="38" y="344"/>
                </a:cubicBezTo>
                <a:cubicBezTo>
                  <a:pt x="38" y="345"/>
                  <a:pt x="37" y="345"/>
                  <a:pt x="37" y="344"/>
                </a:cubicBezTo>
                <a:close/>
                <a:moveTo>
                  <a:pt x="29" y="469"/>
                </a:moveTo>
                <a:cubicBezTo>
                  <a:pt x="25" y="471"/>
                  <a:pt x="25" y="463"/>
                  <a:pt x="29" y="464"/>
                </a:cubicBezTo>
                <a:cubicBezTo>
                  <a:pt x="31" y="464"/>
                  <a:pt x="31" y="468"/>
                  <a:pt x="29" y="469"/>
                </a:cubicBezTo>
                <a:close/>
                <a:moveTo>
                  <a:pt x="34" y="484"/>
                </a:moveTo>
                <a:cubicBezTo>
                  <a:pt x="34" y="485"/>
                  <a:pt x="34" y="485"/>
                  <a:pt x="33" y="485"/>
                </a:cubicBezTo>
                <a:cubicBezTo>
                  <a:pt x="32" y="486"/>
                  <a:pt x="33" y="483"/>
                  <a:pt x="34" y="484"/>
                </a:cubicBezTo>
                <a:close/>
                <a:moveTo>
                  <a:pt x="36" y="466"/>
                </a:moveTo>
                <a:cubicBezTo>
                  <a:pt x="34" y="467"/>
                  <a:pt x="34" y="464"/>
                  <a:pt x="35" y="463"/>
                </a:cubicBezTo>
                <a:cubicBezTo>
                  <a:pt x="36" y="463"/>
                  <a:pt x="37" y="465"/>
                  <a:pt x="36" y="466"/>
                </a:cubicBezTo>
                <a:close/>
                <a:moveTo>
                  <a:pt x="38" y="455"/>
                </a:moveTo>
                <a:cubicBezTo>
                  <a:pt x="38" y="455"/>
                  <a:pt x="38" y="456"/>
                  <a:pt x="38" y="456"/>
                </a:cubicBezTo>
                <a:cubicBezTo>
                  <a:pt x="37" y="458"/>
                  <a:pt x="36" y="454"/>
                  <a:pt x="38" y="455"/>
                </a:cubicBezTo>
                <a:close/>
                <a:moveTo>
                  <a:pt x="38" y="461"/>
                </a:moveTo>
                <a:cubicBezTo>
                  <a:pt x="36" y="462"/>
                  <a:pt x="38" y="459"/>
                  <a:pt x="39" y="459"/>
                </a:cubicBezTo>
                <a:cubicBezTo>
                  <a:pt x="39" y="460"/>
                  <a:pt x="38" y="461"/>
                  <a:pt x="38" y="461"/>
                </a:cubicBezTo>
                <a:close/>
                <a:moveTo>
                  <a:pt x="66" y="337"/>
                </a:moveTo>
                <a:cubicBezTo>
                  <a:pt x="66" y="337"/>
                  <a:pt x="66" y="338"/>
                  <a:pt x="66" y="338"/>
                </a:cubicBezTo>
                <a:cubicBezTo>
                  <a:pt x="65" y="339"/>
                  <a:pt x="65" y="336"/>
                  <a:pt x="66" y="337"/>
                </a:cubicBezTo>
                <a:close/>
                <a:moveTo>
                  <a:pt x="66" y="380"/>
                </a:moveTo>
                <a:cubicBezTo>
                  <a:pt x="67" y="380"/>
                  <a:pt x="67" y="382"/>
                  <a:pt x="66" y="382"/>
                </a:cubicBezTo>
                <a:cubicBezTo>
                  <a:pt x="65" y="384"/>
                  <a:pt x="65" y="379"/>
                  <a:pt x="66" y="380"/>
                </a:cubicBezTo>
                <a:close/>
                <a:moveTo>
                  <a:pt x="63" y="330"/>
                </a:moveTo>
                <a:cubicBezTo>
                  <a:pt x="62" y="331"/>
                  <a:pt x="64" y="329"/>
                  <a:pt x="63" y="330"/>
                </a:cubicBezTo>
                <a:close/>
                <a:moveTo>
                  <a:pt x="64" y="346"/>
                </a:moveTo>
                <a:cubicBezTo>
                  <a:pt x="66" y="346"/>
                  <a:pt x="65" y="351"/>
                  <a:pt x="62" y="351"/>
                </a:cubicBezTo>
                <a:cubicBezTo>
                  <a:pt x="62" y="351"/>
                  <a:pt x="62" y="345"/>
                  <a:pt x="64" y="346"/>
                </a:cubicBezTo>
                <a:close/>
                <a:moveTo>
                  <a:pt x="64" y="393"/>
                </a:moveTo>
                <a:cubicBezTo>
                  <a:pt x="64" y="392"/>
                  <a:pt x="65" y="394"/>
                  <a:pt x="64" y="393"/>
                </a:cubicBezTo>
                <a:close/>
                <a:moveTo>
                  <a:pt x="61" y="364"/>
                </a:moveTo>
                <a:cubicBezTo>
                  <a:pt x="61" y="362"/>
                  <a:pt x="62" y="363"/>
                  <a:pt x="61" y="364"/>
                </a:cubicBezTo>
                <a:close/>
                <a:moveTo>
                  <a:pt x="61" y="403"/>
                </a:moveTo>
                <a:cubicBezTo>
                  <a:pt x="61" y="403"/>
                  <a:pt x="61" y="403"/>
                  <a:pt x="62" y="403"/>
                </a:cubicBezTo>
                <a:cubicBezTo>
                  <a:pt x="63" y="402"/>
                  <a:pt x="61" y="403"/>
                  <a:pt x="61" y="403"/>
                </a:cubicBezTo>
                <a:close/>
                <a:moveTo>
                  <a:pt x="61" y="365"/>
                </a:moveTo>
                <a:cubicBezTo>
                  <a:pt x="61" y="366"/>
                  <a:pt x="59" y="365"/>
                  <a:pt x="61" y="365"/>
                </a:cubicBezTo>
                <a:close/>
                <a:moveTo>
                  <a:pt x="58" y="357"/>
                </a:moveTo>
                <a:cubicBezTo>
                  <a:pt x="59" y="357"/>
                  <a:pt x="58" y="359"/>
                  <a:pt x="58" y="359"/>
                </a:cubicBezTo>
                <a:cubicBezTo>
                  <a:pt x="56" y="361"/>
                  <a:pt x="55" y="356"/>
                  <a:pt x="58" y="357"/>
                </a:cubicBezTo>
                <a:close/>
                <a:moveTo>
                  <a:pt x="56" y="405"/>
                </a:moveTo>
                <a:cubicBezTo>
                  <a:pt x="56" y="405"/>
                  <a:pt x="56" y="406"/>
                  <a:pt x="56" y="406"/>
                </a:cubicBezTo>
                <a:cubicBezTo>
                  <a:pt x="55" y="407"/>
                  <a:pt x="55" y="405"/>
                  <a:pt x="56" y="405"/>
                </a:cubicBezTo>
                <a:close/>
                <a:moveTo>
                  <a:pt x="54" y="374"/>
                </a:moveTo>
                <a:cubicBezTo>
                  <a:pt x="55" y="374"/>
                  <a:pt x="55" y="375"/>
                  <a:pt x="54" y="375"/>
                </a:cubicBezTo>
                <a:cubicBezTo>
                  <a:pt x="53" y="376"/>
                  <a:pt x="53" y="374"/>
                  <a:pt x="54" y="374"/>
                </a:cubicBezTo>
                <a:close/>
                <a:moveTo>
                  <a:pt x="49" y="398"/>
                </a:moveTo>
                <a:cubicBezTo>
                  <a:pt x="51" y="396"/>
                  <a:pt x="52" y="393"/>
                  <a:pt x="54" y="390"/>
                </a:cubicBezTo>
                <a:cubicBezTo>
                  <a:pt x="53" y="393"/>
                  <a:pt x="51" y="396"/>
                  <a:pt x="49" y="398"/>
                </a:cubicBezTo>
                <a:close/>
                <a:moveTo>
                  <a:pt x="51" y="408"/>
                </a:moveTo>
                <a:cubicBezTo>
                  <a:pt x="50" y="407"/>
                  <a:pt x="52" y="406"/>
                  <a:pt x="52" y="407"/>
                </a:cubicBezTo>
                <a:cubicBezTo>
                  <a:pt x="54" y="408"/>
                  <a:pt x="52" y="410"/>
                  <a:pt x="51" y="408"/>
                </a:cubicBezTo>
                <a:close/>
                <a:moveTo>
                  <a:pt x="46" y="404"/>
                </a:moveTo>
                <a:cubicBezTo>
                  <a:pt x="46" y="404"/>
                  <a:pt x="47" y="400"/>
                  <a:pt x="48" y="399"/>
                </a:cubicBezTo>
                <a:cubicBezTo>
                  <a:pt x="48" y="400"/>
                  <a:pt x="47" y="404"/>
                  <a:pt x="46" y="404"/>
                </a:cubicBezTo>
                <a:close/>
                <a:moveTo>
                  <a:pt x="47" y="409"/>
                </a:moveTo>
                <a:cubicBezTo>
                  <a:pt x="48" y="408"/>
                  <a:pt x="47" y="410"/>
                  <a:pt x="47" y="409"/>
                </a:cubicBezTo>
                <a:close/>
                <a:moveTo>
                  <a:pt x="48" y="392"/>
                </a:moveTo>
                <a:cubicBezTo>
                  <a:pt x="46" y="393"/>
                  <a:pt x="46" y="388"/>
                  <a:pt x="49" y="389"/>
                </a:cubicBezTo>
                <a:cubicBezTo>
                  <a:pt x="50" y="389"/>
                  <a:pt x="49" y="392"/>
                  <a:pt x="48" y="392"/>
                </a:cubicBezTo>
                <a:close/>
                <a:moveTo>
                  <a:pt x="53" y="323"/>
                </a:moveTo>
                <a:cubicBezTo>
                  <a:pt x="54" y="323"/>
                  <a:pt x="54" y="325"/>
                  <a:pt x="53" y="325"/>
                </a:cubicBezTo>
                <a:cubicBezTo>
                  <a:pt x="52" y="326"/>
                  <a:pt x="52" y="323"/>
                  <a:pt x="53" y="323"/>
                </a:cubicBezTo>
                <a:close/>
                <a:moveTo>
                  <a:pt x="50" y="354"/>
                </a:moveTo>
                <a:cubicBezTo>
                  <a:pt x="53" y="355"/>
                  <a:pt x="51" y="360"/>
                  <a:pt x="50" y="360"/>
                </a:cubicBezTo>
                <a:cubicBezTo>
                  <a:pt x="45" y="362"/>
                  <a:pt x="47" y="352"/>
                  <a:pt x="50" y="354"/>
                </a:cubicBezTo>
                <a:close/>
                <a:moveTo>
                  <a:pt x="47" y="328"/>
                </a:moveTo>
                <a:cubicBezTo>
                  <a:pt x="47" y="328"/>
                  <a:pt x="48" y="328"/>
                  <a:pt x="48" y="327"/>
                </a:cubicBezTo>
                <a:cubicBezTo>
                  <a:pt x="49" y="327"/>
                  <a:pt x="49" y="328"/>
                  <a:pt x="47" y="328"/>
                </a:cubicBezTo>
                <a:close/>
                <a:moveTo>
                  <a:pt x="48" y="267"/>
                </a:moveTo>
                <a:cubicBezTo>
                  <a:pt x="47" y="267"/>
                  <a:pt x="47" y="267"/>
                  <a:pt x="47" y="266"/>
                </a:cubicBezTo>
                <a:cubicBezTo>
                  <a:pt x="47" y="266"/>
                  <a:pt x="49" y="266"/>
                  <a:pt x="48" y="267"/>
                </a:cubicBezTo>
                <a:close/>
                <a:moveTo>
                  <a:pt x="46" y="377"/>
                </a:moveTo>
                <a:cubicBezTo>
                  <a:pt x="45" y="378"/>
                  <a:pt x="45" y="376"/>
                  <a:pt x="46" y="376"/>
                </a:cubicBezTo>
                <a:cubicBezTo>
                  <a:pt x="47" y="376"/>
                  <a:pt x="46" y="377"/>
                  <a:pt x="46" y="377"/>
                </a:cubicBezTo>
                <a:close/>
                <a:moveTo>
                  <a:pt x="45" y="192"/>
                </a:moveTo>
                <a:cubicBezTo>
                  <a:pt x="46" y="192"/>
                  <a:pt x="46" y="193"/>
                  <a:pt x="46" y="193"/>
                </a:cubicBezTo>
                <a:cubicBezTo>
                  <a:pt x="44" y="195"/>
                  <a:pt x="44" y="191"/>
                  <a:pt x="45" y="192"/>
                </a:cubicBezTo>
                <a:close/>
                <a:moveTo>
                  <a:pt x="45" y="207"/>
                </a:moveTo>
                <a:cubicBezTo>
                  <a:pt x="46" y="207"/>
                  <a:pt x="45" y="208"/>
                  <a:pt x="45" y="209"/>
                </a:cubicBezTo>
                <a:cubicBezTo>
                  <a:pt x="44" y="210"/>
                  <a:pt x="44" y="207"/>
                  <a:pt x="45" y="207"/>
                </a:cubicBezTo>
                <a:close/>
                <a:moveTo>
                  <a:pt x="44" y="360"/>
                </a:moveTo>
                <a:cubicBezTo>
                  <a:pt x="45" y="361"/>
                  <a:pt x="44" y="363"/>
                  <a:pt x="44" y="363"/>
                </a:cubicBezTo>
                <a:cubicBezTo>
                  <a:pt x="42" y="364"/>
                  <a:pt x="43" y="360"/>
                  <a:pt x="44" y="360"/>
                </a:cubicBezTo>
                <a:close/>
                <a:moveTo>
                  <a:pt x="43" y="227"/>
                </a:moveTo>
                <a:cubicBezTo>
                  <a:pt x="43" y="227"/>
                  <a:pt x="43" y="228"/>
                  <a:pt x="43" y="228"/>
                </a:cubicBezTo>
                <a:cubicBezTo>
                  <a:pt x="42" y="229"/>
                  <a:pt x="43" y="226"/>
                  <a:pt x="43" y="227"/>
                </a:cubicBezTo>
                <a:close/>
                <a:moveTo>
                  <a:pt x="40" y="322"/>
                </a:moveTo>
                <a:cubicBezTo>
                  <a:pt x="41" y="320"/>
                  <a:pt x="39" y="322"/>
                  <a:pt x="40" y="322"/>
                </a:cubicBezTo>
                <a:close/>
                <a:moveTo>
                  <a:pt x="36" y="429"/>
                </a:moveTo>
                <a:cubicBezTo>
                  <a:pt x="35" y="431"/>
                  <a:pt x="35" y="428"/>
                  <a:pt x="36" y="428"/>
                </a:cubicBezTo>
                <a:cubicBezTo>
                  <a:pt x="36" y="429"/>
                  <a:pt x="36" y="429"/>
                  <a:pt x="36" y="429"/>
                </a:cubicBezTo>
                <a:close/>
                <a:moveTo>
                  <a:pt x="35" y="428"/>
                </a:moveTo>
                <a:cubicBezTo>
                  <a:pt x="34" y="427"/>
                  <a:pt x="36" y="425"/>
                  <a:pt x="36" y="426"/>
                </a:cubicBezTo>
                <a:cubicBezTo>
                  <a:pt x="37" y="428"/>
                  <a:pt x="35" y="429"/>
                  <a:pt x="35" y="428"/>
                </a:cubicBezTo>
                <a:close/>
                <a:moveTo>
                  <a:pt x="38" y="424"/>
                </a:moveTo>
                <a:cubicBezTo>
                  <a:pt x="35" y="427"/>
                  <a:pt x="33" y="418"/>
                  <a:pt x="37" y="417"/>
                </a:cubicBezTo>
                <a:cubicBezTo>
                  <a:pt x="35" y="420"/>
                  <a:pt x="39" y="419"/>
                  <a:pt x="39" y="420"/>
                </a:cubicBezTo>
                <a:cubicBezTo>
                  <a:pt x="39" y="421"/>
                  <a:pt x="39" y="423"/>
                  <a:pt x="38" y="424"/>
                </a:cubicBezTo>
                <a:close/>
                <a:moveTo>
                  <a:pt x="40" y="358"/>
                </a:moveTo>
                <a:cubicBezTo>
                  <a:pt x="38" y="358"/>
                  <a:pt x="41" y="356"/>
                  <a:pt x="40" y="357"/>
                </a:cubicBezTo>
                <a:cubicBezTo>
                  <a:pt x="40" y="357"/>
                  <a:pt x="40" y="358"/>
                  <a:pt x="40" y="358"/>
                </a:cubicBezTo>
                <a:close/>
                <a:moveTo>
                  <a:pt x="41" y="431"/>
                </a:moveTo>
                <a:cubicBezTo>
                  <a:pt x="42" y="430"/>
                  <a:pt x="43" y="432"/>
                  <a:pt x="41" y="431"/>
                </a:cubicBezTo>
                <a:close/>
                <a:moveTo>
                  <a:pt x="42" y="382"/>
                </a:moveTo>
                <a:cubicBezTo>
                  <a:pt x="42" y="380"/>
                  <a:pt x="43" y="381"/>
                  <a:pt x="44" y="380"/>
                </a:cubicBezTo>
                <a:cubicBezTo>
                  <a:pt x="44" y="379"/>
                  <a:pt x="44" y="378"/>
                  <a:pt x="46" y="378"/>
                </a:cubicBezTo>
                <a:cubicBezTo>
                  <a:pt x="50" y="378"/>
                  <a:pt x="48" y="384"/>
                  <a:pt x="45" y="385"/>
                </a:cubicBezTo>
                <a:cubicBezTo>
                  <a:pt x="43" y="385"/>
                  <a:pt x="41" y="385"/>
                  <a:pt x="42" y="382"/>
                </a:cubicBezTo>
                <a:close/>
                <a:moveTo>
                  <a:pt x="44" y="391"/>
                </a:moveTo>
                <a:cubicBezTo>
                  <a:pt x="43" y="392"/>
                  <a:pt x="45" y="389"/>
                  <a:pt x="44" y="391"/>
                </a:cubicBezTo>
                <a:close/>
                <a:moveTo>
                  <a:pt x="42" y="449"/>
                </a:moveTo>
                <a:cubicBezTo>
                  <a:pt x="42" y="450"/>
                  <a:pt x="43" y="447"/>
                  <a:pt x="42" y="449"/>
                </a:cubicBezTo>
                <a:close/>
                <a:moveTo>
                  <a:pt x="44" y="465"/>
                </a:moveTo>
                <a:cubicBezTo>
                  <a:pt x="45" y="464"/>
                  <a:pt x="43" y="466"/>
                  <a:pt x="44" y="465"/>
                </a:cubicBezTo>
                <a:close/>
                <a:moveTo>
                  <a:pt x="45" y="462"/>
                </a:moveTo>
                <a:cubicBezTo>
                  <a:pt x="45" y="462"/>
                  <a:pt x="45" y="462"/>
                  <a:pt x="46" y="462"/>
                </a:cubicBezTo>
                <a:cubicBezTo>
                  <a:pt x="46" y="462"/>
                  <a:pt x="46" y="462"/>
                  <a:pt x="46" y="462"/>
                </a:cubicBezTo>
                <a:cubicBezTo>
                  <a:pt x="46" y="462"/>
                  <a:pt x="45" y="462"/>
                  <a:pt x="45" y="462"/>
                </a:cubicBezTo>
                <a:close/>
                <a:moveTo>
                  <a:pt x="43" y="445"/>
                </a:moveTo>
                <a:cubicBezTo>
                  <a:pt x="43" y="443"/>
                  <a:pt x="45" y="441"/>
                  <a:pt x="47" y="439"/>
                </a:cubicBezTo>
                <a:cubicBezTo>
                  <a:pt x="47" y="442"/>
                  <a:pt x="44" y="443"/>
                  <a:pt x="43" y="445"/>
                </a:cubicBezTo>
                <a:close/>
                <a:moveTo>
                  <a:pt x="46" y="434"/>
                </a:moveTo>
                <a:cubicBezTo>
                  <a:pt x="46" y="434"/>
                  <a:pt x="47" y="433"/>
                  <a:pt x="46" y="434"/>
                </a:cubicBezTo>
                <a:cubicBezTo>
                  <a:pt x="46" y="434"/>
                  <a:pt x="46" y="434"/>
                  <a:pt x="46" y="434"/>
                </a:cubicBezTo>
                <a:close/>
                <a:moveTo>
                  <a:pt x="47" y="432"/>
                </a:moveTo>
                <a:cubicBezTo>
                  <a:pt x="48" y="430"/>
                  <a:pt x="50" y="431"/>
                  <a:pt x="47" y="432"/>
                </a:cubicBezTo>
                <a:close/>
                <a:moveTo>
                  <a:pt x="50" y="418"/>
                </a:moveTo>
                <a:cubicBezTo>
                  <a:pt x="50" y="419"/>
                  <a:pt x="52" y="419"/>
                  <a:pt x="51" y="420"/>
                </a:cubicBezTo>
                <a:cubicBezTo>
                  <a:pt x="52" y="419"/>
                  <a:pt x="48" y="420"/>
                  <a:pt x="49" y="421"/>
                </a:cubicBezTo>
                <a:cubicBezTo>
                  <a:pt x="48" y="420"/>
                  <a:pt x="48" y="419"/>
                  <a:pt x="49" y="418"/>
                </a:cubicBezTo>
                <a:cubicBezTo>
                  <a:pt x="47" y="418"/>
                  <a:pt x="45" y="417"/>
                  <a:pt x="45" y="416"/>
                </a:cubicBezTo>
                <a:cubicBezTo>
                  <a:pt x="44" y="413"/>
                  <a:pt x="47" y="411"/>
                  <a:pt x="49" y="410"/>
                </a:cubicBezTo>
                <a:cubicBezTo>
                  <a:pt x="49" y="410"/>
                  <a:pt x="49" y="409"/>
                  <a:pt x="49" y="409"/>
                </a:cubicBezTo>
                <a:cubicBezTo>
                  <a:pt x="50" y="409"/>
                  <a:pt x="51" y="411"/>
                  <a:pt x="51" y="411"/>
                </a:cubicBezTo>
                <a:cubicBezTo>
                  <a:pt x="53" y="412"/>
                  <a:pt x="52" y="407"/>
                  <a:pt x="54" y="407"/>
                </a:cubicBezTo>
                <a:cubicBezTo>
                  <a:pt x="56" y="408"/>
                  <a:pt x="54" y="410"/>
                  <a:pt x="54" y="411"/>
                </a:cubicBezTo>
                <a:cubicBezTo>
                  <a:pt x="54" y="413"/>
                  <a:pt x="55" y="413"/>
                  <a:pt x="53" y="414"/>
                </a:cubicBezTo>
                <a:cubicBezTo>
                  <a:pt x="52" y="415"/>
                  <a:pt x="51" y="418"/>
                  <a:pt x="50" y="418"/>
                </a:cubicBezTo>
                <a:close/>
                <a:moveTo>
                  <a:pt x="58" y="443"/>
                </a:moveTo>
                <a:cubicBezTo>
                  <a:pt x="57" y="444"/>
                  <a:pt x="57" y="442"/>
                  <a:pt x="58" y="441"/>
                </a:cubicBezTo>
                <a:cubicBezTo>
                  <a:pt x="59" y="441"/>
                  <a:pt x="58" y="442"/>
                  <a:pt x="58" y="443"/>
                </a:cubicBezTo>
                <a:close/>
                <a:moveTo>
                  <a:pt x="59" y="440"/>
                </a:moveTo>
                <a:cubicBezTo>
                  <a:pt x="57" y="441"/>
                  <a:pt x="59" y="437"/>
                  <a:pt x="60" y="439"/>
                </a:cubicBezTo>
                <a:cubicBezTo>
                  <a:pt x="60" y="439"/>
                  <a:pt x="59" y="440"/>
                  <a:pt x="59" y="440"/>
                </a:cubicBezTo>
                <a:close/>
                <a:moveTo>
                  <a:pt x="63" y="454"/>
                </a:moveTo>
                <a:cubicBezTo>
                  <a:pt x="64" y="455"/>
                  <a:pt x="62" y="456"/>
                  <a:pt x="63" y="454"/>
                </a:cubicBezTo>
                <a:close/>
                <a:moveTo>
                  <a:pt x="60" y="436"/>
                </a:moveTo>
                <a:cubicBezTo>
                  <a:pt x="60" y="435"/>
                  <a:pt x="64" y="434"/>
                  <a:pt x="64" y="437"/>
                </a:cubicBezTo>
                <a:cubicBezTo>
                  <a:pt x="64" y="439"/>
                  <a:pt x="58" y="440"/>
                  <a:pt x="60" y="436"/>
                </a:cubicBezTo>
                <a:close/>
                <a:moveTo>
                  <a:pt x="63" y="432"/>
                </a:moveTo>
                <a:cubicBezTo>
                  <a:pt x="62" y="431"/>
                  <a:pt x="64" y="430"/>
                  <a:pt x="63" y="432"/>
                </a:cubicBezTo>
                <a:close/>
                <a:moveTo>
                  <a:pt x="64" y="427"/>
                </a:moveTo>
                <a:cubicBezTo>
                  <a:pt x="64" y="427"/>
                  <a:pt x="64" y="428"/>
                  <a:pt x="64" y="428"/>
                </a:cubicBezTo>
                <a:cubicBezTo>
                  <a:pt x="63" y="429"/>
                  <a:pt x="63" y="426"/>
                  <a:pt x="64" y="427"/>
                </a:cubicBezTo>
                <a:close/>
                <a:moveTo>
                  <a:pt x="64" y="419"/>
                </a:moveTo>
                <a:cubicBezTo>
                  <a:pt x="62" y="420"/>
                  <a:pt x="59" y="423"/>
                  <a:pt x="58" y="424"/>
                </a:cubicBezTo>
                <a:cubicBezTo>
                  <a:pt x="57" y="426"/>
                  <a:pt x="56" y="428"/>
                  <a:pt x="54" y="429"/>
                </a:cubicBezTo>
                <a:cubicBezTo>
                  <a:pt x="57" y="423"/>
                  <a:pt x="63" y="418"/>
                  <a:pt x="66" y="413"/>
                </a:cubicBezTo>
                <a:cubicBezTo>
                  <a:pt x="69" y="409"/>
                  <a:pt x="65" y="417"/>
                  <a:pt x="64" y="419"/>
                </a:cubicBezTo>
                <a:close/>
                <a:moveTo>
                  <a:pt x="66" y="423"/>
                </a:moveTo>
                <a:cubicBezTo>
                  <a:pt x="66" y="423"/>
                  <a:pt x="65" y="423"/>
                  <a:pt x="65" y="423"/>
                </a:cubicBezTo>
                <a:cubicBezTo>
                  <a:pt x="64" y="423"/>
                  <a:pt x="66" y="422"/>
                  <a:pt x="66" y="423"/>
                </a:cubicBezTo>
                <a:close/>
                <a:moveTo>
                  <a:pt x="67" y="443"/>
                </a:moveTo>
                <a:cubicBezTo>
                  <a:pt x="67" y="443"/>
                  <a:pt x="67" y="443"/>
                  <a:pt x="67" y="443"/>
                </a:cubicBezTo>
                <a:cubicBezTo>
                  <a:pt x="67" y="441"/>
                  <a:pt x="69" y="445"/>
                  <a:pt x="67" y="443"/>
                </a:cubicBezTo>
                <a:close/>
                <a:moveTo>
                  <a:pt x="67" y="430"/>
                </a:moveTo>
                <a:cubicBezTo>
                  <a:pt x="67" y="431"/>
                  <a:pt x="66" y="432"/>
                  <a:pt x="66" y="431"/>
                </a:cubicBezTo>
                <a:cubicBezTo>
                  <a:pt x="62" y="428"/>
                  <a:pt x="71" y="428"/>
                  <a:pt x="67" y="430"/>
                </a:cubicBezTo>
                <a:close/>
                <a:moveTo>
                  <a:pt x="68" y="358"/>
                </a:moveTo>
                <a:cubicBezTo>
                  <a:pt x="65" y="360"/>
                  <a:pt x="65" y="354"/>
                  <a:pt x="67" y="355"/>
                </a:cubicBezTo>
                <a:cubicBezTo>
                  <a:pt x="69" y="355"/>
                  <a:pt x="68" y="357"/>
                  <a:pt x="68" y="358"/>
                </a:cubicBezTo>
                <a:close/>
                <a:moveTo>
                  <a:pt x="80" y="396"/>
                </a:moveTo>
                <a:cubicBezTo>
                  <a:pt x="79" y="397"/>
                  <a:pt x="80" y="395"/>
                  <a:pt x="80" y="396"/>
                </a:cubicBezTo>
                <a:close/>
                <a:moveTo>
                  <a:pt x="76" y="428"/>
                </a:moveTo>
                <a:cubicBezTo>
                  <a:pt x="76" y="428"/>
                  <a:pt x="76" y="428"/>
                  <a:pt x="76" y="428"/>
                </a:cubicBezTo>
                <a:cubicBezTo>
                  <a:pt x="77" y="427"/>
                  <a:pt x="76" y="428"/>
                  <a:pt x="76" y="428"/>
                </a:cubicBezTo>
                <a:close/>
                <a:moveTo>
                  <a:pt x="76" y="353"/>
                </a:moveTo>
                <a:cubicBezTo>
                  <a:pt x="76" y="355"/>
                  <a:pt x="75" y="355"/>
                  <a:pt x="75" y="356"/>
                </a:cubicBezTo>
                <a:cubicBezTo>
                  <a:pt x="74" y="355"/>
                  <a:pt x="76" y="354"/>
                  <a:pt x="76" y="353"/>
                </a:cubicBezTo>
                <a:close/>
                <a:moveTo>
                  <a:pt x="75" y="387"/>
                </a:moveTo>
                <a:cubicBezTo>
                  <a:pt x="74" y="387"/>
                  <a:pt x="77" y="386"/>
                  <a:pt x="75" y="387"/>
                </a:cubicBezTo>
                <a:close/>
                <a:moveTo>
                  <a:pt x="73" y="290"/>
                </a:moveTo>
                <a:cubicBezTo>
                  <a:pt x="73" y="291"/>
                  <a:pt x="73" y="292"/>
                  <a:pt x="72" y="293"/>
                </a:cubicBezTo>
                <a:cubicBezTo>
                  <a:pt x="72" y="292"/>
                  <a:pt x="73" y="290"/>
                  <a:pt x="73" y="290"/>
                </a:cubicBezTo>
                <a:close/>
                <a:moveTo>
                  <a:pt x="69" y="327"/>
                </a:moveTo>
                <a:cubicBezTo>
                  <a:pt x="69" y="326"/>
                  <a:pt x="71" y="325"/>
                  <a:pt x="72" y="324"/>
                </a:cubicBezTo>
                <a:cubicBezTo>
                  <a:pt x="72" y="326"/>
                  <a:pt x="70" y="326"/>
                  <a:pt x="69" y="327"/>
                </a:cubicBezTo>
                <a:close/>
                <a:moveTo>
                  <a:pt x="72" y="428"/>
                </a:moveTo>
                <a:cubicBezTo>
                  <a:pt x="70" y="430"/>
                  <a:pt x="71" y="426"/>
                  <a:pt x="72" y="427"/>
                </a:cubicBezTo>
                <a:cubicBezTo>
                  <a:pt x="73" y="427"/>
                  <a:pt x="73" y="428"/>
                  <a:pt x="72" y="428"/>
                </a:cubicBezTo>
                <a:close/>
                <a:moveTo>
                  <a:pt x="72" y="367"/>
                </a:moveTo>
                <a:cubicBezTo>
                  <a:pt x="72" y="367"/>
                  <a:pt x="72" y="368"/>
                  <a:pt x="72" y="368"/>
                </a:cubicBezTo>
                <a:cubicBezTo>
                  <a:pt x="71" y="369"/>
                  <a:pt x="71" y="366"/>
                  <a:pt x="72" y="367"/>
                </a:cubicBezTo>
                <a:close/>
                <a:moveTo>
                  <a:pt x="73" y="356"/>
                </a:moveTo>
                <a:cubicBezTo>
                  <a:pt x="70" y="358"/>
                  <a:pt x="71" y="351"/>
                  <a:pt x="73" y="352"/>
                </a:cubicBezTo>
                <a:cubicBezTo>
                  <a:pt x="75" y="353"/>
                  <a:pt x="73" y="356"/>
                  <a:pt x="73" y="356"/>
                </a:cubicBezTo>
                <a:close/>
                <a:moveTo>
                  <a:pt x="75" y="401"/>
                </a:moveTo>
                <a:cubicBezTo>
                  <a:pt x="73" y="402"/>
                  <a:pt x="73" y="397"/>
                  <a:pt x="75" y="398"/>
                </a:cubicBezTo>
                <a:cubicBezTo>
                  <a:pt x="76" y="399"/>
                  <a:pt x="76" y="400"/>
                  <a:pt x="75" y="401"/>
                </a:cubicBezTo>
                <a:close/>
                <a:moveTo>
                  <a:pt x="76" y="434"/>
                </a:moveTo>
                <a:cubicBezTo>
                  <a:pt x="77" y="432"/>
                  <a:pt x="79" y="430"/>
                  <a:pt x="80" y="429"/>
                </a:cubicBezTo>
                <a:cubicBezTo>
                  <a:pt x="79" y="431"/>
                  <a:pt x="78" y="432"/>
                  <a:pt x="76" y="434"/>
                </a:cubicBezTo>
                <a:close/>
                <a:moveTo>
                  <a:pt x="81" y="418"/>
                </a:moveTo>
                <a:cubicBezTo>
                  <a:pt x="80" y="418"/>
                  <a:pt x="82" y="417"/>
                  <a:pt x="81" y="418"/>
                </a:cubicBezTo>
                <a:close/>
                <a:moveTo>
                  <a:pt x="81" y="339"/>
                </a:moveTo>
                <a:cubicBezTo>
                  <a:pt x="80" y="339"/>
                  <a:pt x="81" y="337"/>
                  <a:pt x="82" y="337"/>
                </a:cubicBezTo>
                <a:cubicBezTo>
                  <a:pt x="82" y="338"/>
                  <a:pt x="81" y="338"/>
                  <a:pt x="81" y="339"/>
                </a:cubicBezTo>
                <a:close/>
                <a:moveTo>
                  <a:pt x="87" y="450"/>
                </a:moveTo>
                <a:cubicBezTo>
                  <a:pt x="87" y="450"/>
                  <a:pt x="88" y="449"/>
                  <a:pt x="89" y="449"/>
                </a:cubicBezTo>
                <a:cubicBezTo>
                  <a:pt x="89" y="449"/>
                  <a:pt x="88" y="450"/>
                  <a:pt x="87" y="450"/>
                </a:cubicBezTo>
                <a:close/>
                <a:moveTo>
                  <a:pt x="90" y="457"/>
                </a:moveTo>
                <a:cubicBezTo>
                  <a:pt x="90" y="457"/>
                  <a:pt x="90" y="457"/>
                  <a:pt x="90" y="456"/>
                </a:cubicBezTo>
                <a:cubicBezTo>
                  <a:pt x="92" y="455"/>
                  <a:pt x="91" y="456"/>
                  <a:pt x="90" y="457"/>
                </a:cubicBezTo>
                <a:close/>
                <a:moveTo>
                  <a:pt x="91" y="435"/>
                </a:moveTo>
                <a:cubicBezTo>
                  <a:pt x="89" y="437"/>
                  <a:pt x="92" y="434"/>
                  <a:pt x="91" y="435"/>
                </a:cubicBezTo>
                <a:close/>
                <a:moveTo>
                  <a:pt x="109" y="452"/>
                </a:moveTo>
                <a:cubicBezTo>
                  <a:pt x="109" y="453"/>
                  <a:pt x="108" y="452"/>
                  <a:pt x="109" y="452"/>
                </a:cubicBezTo>
                <a:close/>
                <a:moveTo>
                  <a:pt x="104" y="235"/>
                </a:moveTo>
                <a:cubicBezTo>
                  <a:pt x="103" y="236"/>
                  <a:pt x="105" y="234"/>
                  <a:pt x="104" y="235"/>
                </a:cubicBezTo>
                <a:close/>
                <a:moveTo>
                  <a:pt x="100" y="336"/>
                </a:moveTo>
                <a:cubicBezTo>
                  <a:pt x="101" y="335"/>
                  <a:pt x="101" y="335"/>
                  <a:pt x="100" y="336"/>
                </a:cubicBezTo>
                <a:close/>
                <a:moveTo>
                  <a:pt x="98" y="332"/>
                </a:moveTo>
                <a:cubicBezTo>
                  <a:pt x="97" y="331"/>
                  <a:pt x="100" y="331"/>
                  <a:pt x="98" y="332"/>
                </a:cubicBezTo>
                <a:close/>
                <a:moveTo>
                  <a:pt x="96" y="215"/>
                </a:moveTo>
                <a:cubicBezTo>
                  <a:pt x="97" y="215"/>
                  <a:pt x="97" y="216"/>
                  <a:pt x="96" y="217"/>
                </a:cubicBezTo>
                <a:cubicBezTo>
                  <a:pt x="95" y="219"/>
                  <a:pt x="95" y="214"/>
                  <a:pt x="96" y="215"/>
                </a:cubicBezTo>
                <a:close/>
                <a:moveTo>
                  <a:pt x="87" y="329"/>
                </a:moveTo>
                <a:cubicBezTo>
                  <a:pt x="87" y="330"/>
                  <a:pt x="86" y="330"/>
                  <a:pt x="86" y="331"/>
                </a:cubicBezTo>
                <a:cubicBezTo>
                  <a:pt x="85" y="331"/>
                  <a:pt x="86" y="329"/>
                  <a:pt x="87" y="329"/>
                </a:cubicBezTo>
                <a:close/>
                <a:moveTo>
                  <a:pt x="85" y="293"/>
                </a:moveTo>
                <a:cubicBezTo>
                  <a:pt x="85" y="293"/>
                  <a:pt x="85" y="294"/>
                  <a:pt x="85" y="294"/>
                </a:cubicBezTo>
                <a:cubicBezTo>
                  <a:pt x="83" y="296"/>
                  <a:pt x="83" y="291"/>
                  <a:pt x="85" y="293"/>
                </a:cubicBezTo>
                <a:close/>
                <a:moveTo>
                  <a:pt x="84" y="332"/>
                </a:moveTo>
                <a:cubicBezTo>
                  <a:pt x="86" y="333"/>
                  <a:pt x="84" y="335"/>
                  <a:pt x="82" y="336"/>
                </a:cubicBezTo>
                <a:cubicBezTo>
                  <a:pt x="83" y="334"/>
                  <a:pt x="85" y="333"/>
                  <a:pt x="84" y="332"/>
                </a:cubicBezTo>
                <a:close/>
                <a:moveTo>
                  <a:pt x="83" y="441"/>
                </a:moveTo>
                <a:cubicBezTo>
                  <a:pt x="82" y="442"/>
                  <a:pt x="84" y="440"/>
                  <a:pt x="83" y="441"/>
                </a:cubicBezTo>
                <a:close/>
                <a:moveTo>
                  <a:pt x="84" y="423"/>
                </a:moveTo>
                <a:cubicBezTo>
                  <a:pt x="83" y="424"/>
                  <a:pt x="84" y="421"/>
                  <a:pt x="85" y="422"/>
                </a:cubicBezTo>
                <a:cubicBezTo>
                  <a:pt x="86" y="422"/>
                  <a:pt x="85" y="423"/>
                  <a:pt x="84" y="423"/>
                </a:cubicBezTo>
                <a:close/>
                <a:moveTo>
                  <a:pt x="88" y="356"/>
                </a:moveTo>
                <a:cubicBezTo>
                  <a:pt x="86" y="358"/>
                  <a:pt x="87" y="353"/>
                  <a:pt x="88" y="354"/>
                </a:cubicBezTo>
                <a:cubicBezTo>
                  <a:pt x="89" y="355"/>
                  <a:pt x="88" y="356"/>
                  <a:pt x="88" y="356"/>
                </a:cubicBezTo>
                <a:close/>
                <a:moveTo>
                  <a:pt x="96" y="325"/>
                </a:moveTo>
                <a:cubicBezTo>
                  <a:pt x="96" y="326"/>
                  <a:pt x="95" y="326"/>
                  <a:pt x="94" y="328"/>
                </a:cubicBezTo>
                <a:cubicBezTo>
                  <a:pt x="92" y="330"/>
                  <a:pt x="89" y="335"/>
                  <a:pt x="87" y="340"/>
                </a:cubicBezTo>
                <a:cubicBezTo>
                  <a:pt x="85" y="344"/>
                  <a:pt x="85" y="347"/>
                  <a:pt x="83" y="350"/>
                </a:cubicBezTo>
                <a:cubicBezTo>
                  <a:pt x="83" y="350"/>
                  <a:pt x="82" y="350"/>
                  <a:pt x="82" y="350"/>
                </a:cubicBezTo>
                <a:cubicBezTo>
                  <a:pt x="81" y="350"/>
                  <a:pt x="84" y="344"/>
                  <a:pt x="85" y="342"/>
                </a:cubicBezTo>
                <a:cubicBezTo>
                  <a:pt x="86" y="339"/>
                  <a:pt x="87" y="337"/>
                  <a:pt x="89" y="334"/>
                </a:cubicBezTo>
                <a:cubicBezTo>
                  <a:pt x="90" y="332"/>
                  <a:pt x="93" y="329"/>
                  <a:pt x="93" y="326"/>
                </a:cubicBezTo>
                <a:cubicBezTo>
                  <a:pt x="93" y="326"/>
                  <a:pt x="92" y="325"/>
                  <a:pt x="92" y="324"/>
                </a:cubicBezTo>
                <a:cubicBezTo>
                  <a:pt x="92" y="320"/>
                  <a:pt x="99" y="320"/>
                  <a:pt x="96" y="325"/>
                </a:cubicBezTo>
                <a:close/>
                <a:moveTo>
                  <a:pt x="96" y="227"/>
                </a:moveTo>
                <a:cubicBezTo>
                  <a:pt x="97" y="227"/>
                  <a:pt x="97" y="228"/>
                  <a:pt x="97" y="229"/>
                </a:cubicBezTo>
                <a:cubicBezTo>
                  <a:pt x="96" y="230"/>
                  <a:pt x="96" y="227"/>
                  <a:pt x="96" y="227"/>
                </a:cubicBezTo>
                <a:close/>
                <a:moveTo>
                  <a:pt x="98" y="402"/>
                </a:moveTo>
                <a:cubicBezTo>
                  <a:pt x="98" y="402"/>
                  <a:pt x="98" y="402"/>
                  <a:pt x="97" y="402"/>
                </a:cubicBezTo>
                <a:cubicBezTo>
                  <a:pt x="95" y="401"/>
                  <a:pt x="100" y="400"/>
                  <a:pt x="98" y="402"/>
                </a:cubicBezTo>
                <a:close/>
                <a:moveTo>
                  <a:pt x="99" y="416"/>
                </a:moveTo>
                <a:cubicBezTo>
                  <a:pt x="101" y="416"/>
                  <a:pt x="100" y="421"/>
                  <a:pt x="99" y="422"/>
                </a:cubicBezTo>
                <a:cubicBezTo>
                  <a:pt x="94" y="424"/>
                  <a:pt x="98" y="416"/>
                  <a:pt x="99" y="416"/>
                </a:cubicBezTo>
                <a:close/>
                <a:moveTo>
                  <a:pt x="101" y="433"/>
                </a:moveTo>
                <a:cubicBezTo>
                  <a:pt x="103" y="434"/>
                  <a:pt x="100" y="438"/>
                  <a:pt x="100" y="439"/>
                </a:cubicBezTo>
                <a:cubicBezTo>
                  <a:pt x="94" y="441"/>
                  <a:pt x="98" y="431"/>
                  <a:pt x="101" y="433"/>
                </a:cubicBezTo>
                <a:close/>
                <a:moveTo>
                  <a:pt x="100" y="444"/>
                </a:moveTo>
                <a:cubicBezTo>
                  <a:pt x="101" y="443"/>
                  <a:pt x="99" y="445"/>
                  <a:pt x="100" y="444"/>
                </a:cubicBezTo>
                <a:close/>
                <a:moveTo>
                  <a:pt x="102" y="444"/>
                </a:moveTo>
                <a:cubicBezTo>
                  <a:pt x="102" y="445"/>
                  <a:pt x="101" y="445"/>
                  <a:pt x="101" y="445"/>
                </a:cubicBezTo>
                <a:cubicBezTo>
                  <a:pt x="99" y="443"/>
                  <a:pt x="104" y="442"/>
                  <a:pt x="102" y="444"/>
                </a:cubicBezTo>
                <a:close/>
                <a:moveTo>
                  <a:pt x="102" y="431"/>
                </a:moveTo>
                <a:cubicBezTo>
                  <a:pt x="100" y="432"/>
                  <a:pt x="100" y="428"/>
                  <a:pt x="102" y="429"/>
                </a:cubicBezTo>
                <a:cubicBezTo>
                  <a:pt x="103" y="429"/>
                  <a:pt x="103" y="430"/>
                  <a:pt x="102" y="431"/>
                </a:cubicBezTo>
                <a:close/>
                <a:moveTo>
                  <a:pt x="103" y="445"/>
                </a:moveTo>
                <a:cubicBezTo>
                  <a:pt x="102" y="447"/>
                  <a:pt x="105" y="444"/>
                  <a:pt x="103" y="445"/>
                </a:cubicBezTo>
                <a:close/>
                <a:moveTo>
                  <a:pt x="104" y="399"/>
                </a:moveTo>
                <a:cubicBezTo>
                  <a:pt x="103" y="399"/>
                  <a:pt x="103" y="397"/>
                  <a:pt x="104" y="398"/>
                </a:cubicBezTo>
                <a:cubicBezTo>
                  <a:pt x="104" y="398"/>
                  <a:pt x="104" y="399"/>
                  <a:pt x="104" y="399"/>
                </a:cubicBezTo>
                <a:close/>
                <a:moveTo>
                  <a:pt x="104" y="288"/>
                </a:moveTo>
                <a:cubicBezTo>
                  <a:pt x="103" y="290"/>
                  <a:pt x="105" y="287"/>
                  <a:pt x="104" y="288"/>
                </a:cubicBezTo>
                <a:close/>
                <a:moveTo>
                  <a:pt x="105" y="307"/>
                </a:moveTo>
                <a:cubicBezTo>
                  <a:pt x="104" y="306"/>
                  <a:pt x="106" y="303"/>
                  <a:pt x="107" y="302"/>
                </a:cubicBezTo>
                <a:cubicBezTo>
                  <a:pt x="107" y="304"/>
                  <a:pt x="106" y="306"/>
                  <a:pt x="105" y="307"/>
                </a:cubicBezTo>
                <a:close/>
                <a:moveTo>
                  <a:pt x="106" y="414"/>
                </a:moveTo>
                <a:cubicBezTo>
                  <a:pt x="106" y="413"/>
                  <a:pt x="108" y="413"/>
                  <a:pt x="106" y="414"/>
                </a:cubicBezTo>
                <a:close/>
                <a:moveTo>
                  <a:pt x="108" y="455"/>
                </a:moveTo>
                <a:cubicBezTo>
                  <a:pt x="107" y="454"/>
                  <a:pt x="109" y="454"/>
                  <a:pt x="108" y="455"/>
                </a:cubicBezTo>
                <a:close/>
                <a:moveTo>
                  <a:pt x="107" y="441"/>
                </a:moveTo>
                <a:cubicBezTo>
                  <a:pt x="106" y="441"/>
                  <a:pt x="108" y="440"/>
                  <a:pt x="108" y="440"/>
                </a:cubicBezTo>
                <a:cubicBezTo>
                  <a:pt x="108" y="440"/>
                  <a:pt x="107" y="440"/>
                  <a:pt x="107" y="441"/>
                </a:cubicBezTo>
                <a:close/>
                <a:moveTo>
                  <a:pt x="108" y="388"/>
                </a:moveTo>
                <a:cubicBezTo>
                  <a:pt x="107" y="390"/>
                  <a:pt x="107" y="386"/>
                  <a:pt x="108" y="387"/>
                </a:cubicBezTo>
                <a:cubicBezTo>
                  <a:pt x="109" y="387"/>
                  <a:pt x="108" y="388"/>
                  <a:pt x="108" y="388"/>
                </a:cubicBezTo>
                <a:close/>
                <a:moveTo>
                  <a:pt x="109" y="420"/>
                </a:moveTo>
                <a:cubicBezTo>
                  <a:pt x="109" y="421"/>
                  <a:pt x="109" y="418"/>
                  <a:pt x="109" y="420"/>
                </a:cubicBezTo>
                <a:close/>
                <a:moveTo>
                  <a:pt x="108" y="301"/>
                </a:moveTo>
                <a:cubicBezTo>
                  <a:pt x="107" y="300"/>
                  <a:pt x="108" y="298"/>
                  <a:pt x="110" y="298"/>
                </a:cubicBezTo>
                <a:cubicBezTo>
                  <a:pt x="110" y="299"/>
                  <a:pt x="108" y="300"/>
                  <a:pt x="108" y="301"/>
                </a:cubicBezTo>
                <a:close/>
                <a:moveTo>
                  <a:pt x="110" y="401"/>
                </a:moveTo>
                <a:cubicBezTo>
                  <a:pt x="110" y="401"/>
                  <a:pt x="110" y="401"/>
                  <a:pt x="110" y="401"/>
                </a:cubicBezTo>
                <a:cubicBezTo>
                  <a:pt x="110" y="401"/>
                  <a:pt x="110" y="400"/>
                  <a:pt x="110" y="401"/>
                </a:cubicBezTo>
                <a:close/>
                <a:moveTo>
                  <a:pt x="69" y="513"/>
                </a:moveTo>
                <a:cubicBezTo>
                  <a:pt x="69" y="513"/>
                  <a:pt x="70" y="512"/>
                  <a:pt x="70" y="512"/>
                </a:cubicBezTo>
                <a:cubicBezTo>
                  <a:pt x="70" y="513"/>
                  <a:pt x="69" y="513"/>
                  <a:pt x="69" y="513"/>
                </a:cubicBezTo>
                <a:close/>
                <a:moveTo>
                  <a:pt x="73" y="498"/>
                </a:moveTo>
                <a:cubicBezTo>
                  <a:pt x="73" y="497"/>
                  <a:pt x="74" y="496"/>
                  <a:pt x="75" y="496"/>
                </a:cubicBezTo>
                <a:cubicBezTo>
                  <a:pt x="75" y="497"/>
                  <a:pt x="74" y="498"/>
                  <a:pt x="73" y="498"/>
                </a:cubicBezTo>
                <a:close/>
                <a:moveTo>
                  <a:pt x="76" y="499"/>
                </a:moveTo>
                <a:cubicBezTo>
                  <a:pt x="76" y="500"/>
                  <a:pt x="77" y="498"/>
                  <a:pt x="76" y="499"/>
                </a:cubicBezTo>
                <a:close/>
                <a:moveTo>
                  <a:pt x="87" y="502"/>
                </a:moveTo>
                <a:cubicBezTo>
                  <a:pt x="86" y="500"/>
                  <a:pt x="89" y="499"/>
                  <a:pt x="87" y="502"/>
                </a:cubicBezTo>
                <a:close/>
                <a:moveTo>
                  <a:pt x="100" y="477"/>
                </a:moveTo>
                <a:cubicBezTo>
                  <a:pt x="101" y="479"/>
                  <a:pt x="100" y="481"/>
                  <a:pt x="100" y="483"/>
                </a:cubicBezTo>
                <a:cubicBezTo>
                  <a:pt x="99" y="481"/>
                  <a:pt x="99" y="479"/>
                  <a:pt x="100" y="477"/>
                </a:cubicBezTo>
                <a:close/>
                <a:moveTo>
                  <a:pt x="100" y="502"/>
                </a:moveTo>
                <a:cubicBezTo>
                  <a:pt x="97" y="499"/>
                  <a:pt x="102" y="497"/>
                  <a:pt x="104" y="496"/>
                </a:cubicBezTo>
                <a:cubicBezTo>
                  <a:pt x="105" y="499"/>
                  <a:pt x="102" y="505"/>
                  <a:pt x="100" y="502"/>
                </a:cubicBezTo>
                <a:close/>
                <a:moveTo>
                  <a:pt x="144" y="546"/>
                </a:moveTo>
                <a:cubicBezTo>
                  <a:pt x="143" y="546"/>
                  <a:pt x="144" y="546"/>
                  <a:pt x="144" y="545"/>
                </a:cubicBezTo>
                <a:cubicBezTo>
                  <a:pt x="143" y="542"/>
                  <a:pt x="147" y="545"/>
                  <a:pt x="144" y="546"/>
                </a:cubicBezTo>
                <a:close/>
                <a:moveTo>
                  <a:pt x="196" y="598"/>
                </a:moveTo>
                <a:cubicBezTo>
                  <a:pt x="196" y="598"/>
                  <a:pt x="198" y="597"/>
                  <a:pt x="198" y="598"/>
                </a:cubicBezTo>
                <a:cubicBezTo>
                  <a:pt x="198" y="599"/>
                  <a:pt x="197" y="599"/>
                  <a:pt x="196" y="598"/>
                </a:cubicBezTo>
                <a:close/>
                <a:moveTo>
                  <a:pt x="199" y="607"/>
                </a:moveTo>
                <a:cubicBezTo>
                  <a:pt x="198" y="607"/>
                  <a:pt x="198" y="607"/>
                  <a:pt x="198" y="607"/>
                </a:cubicBezTo>
                <a:cubicBezTo>
                  <a:pt x="198" y="605"/>
                  <a:pt x="200" y="608"/>
                  <a:pt x="199" y="607"/>
                </a:cubicBezTo>
                <a:close/>
                <a:moveTo>
                  <a:pt x="203" y="609"/>
                </a:moveTo>
                <a:cubicBezTo>
                  <a:pt x="203" y="608"/>
                  <a:pt x="205" y="608"/>
                  <a:pt x="205" y="609"/>
                </a:cubicBezTo>
                <a:cubicBezTo>
                  <a:pt x="205" y="609"/>
                  <a:pt x="203" y="610"/>
                  <a:pt x="203" y="609"/>
                </a:cubicBezTo>
                <a:close/>
                <a:moveTo>
                  <a:pt x="208" y="600"/>
                </a:moveTo>
                <a:cubicBezTo>
                  <a:pt x="207" y="600"/>
                  <a:pt x="209" y="600"/>
                  <a:pt x="209" y="600"/>
                </a:cubicBezTo>
                <a:cubicBezTo>
                  <a:pt x="209" y="601"/>
                  <a:pt x="208" y="601"/>
                  <a:pt x="208" y="600"/>
                </a:cubicBezTo>
                <a:close/>
                <a:moveTo>
                  <a:pt x="226" y="627"/>
                </a:moveTo>
                <a:cubicBezTo>
                  <a:pt x="225" y="627"/>
                  <a:pt x="223" y="627"/>
                  <a:pt x="224" y="625"/>
                </a:cubicBezTo>
                <a:cubicBezTo>
                  <a:pt x="225" y="624"/>
                  <a:pt x="229" y="624"/>
                  <a:pt x="229" y="625"/>
                </a:cubicBezTo>
                <a:cubicBezTo>
                  <a:pt x="229" y="626"/>
                  <a:pt x="229" y="626"/>
                  <a:pt x="228" y="627"/>
                </a:cubicBezTo>
                <a:cubicBezTo>
                  <a:pt x="229" y="627"/>
                  <a:pt x="229" y="627"/>
                  <a:pt x="229" y="627"/>
                </a:cubicBezTo>
                <a:cubicBezTo>
                  <a:pt x="228" y="628"/>
                  <a:pt x="227" y="628"/>
                  <a:pt x="226" y="627"/>
                </a:cubicBezTo>
                <a:close/>
                <a:moveTo>
                  <a:pt x="229" y="628"/>
                </a:moveTo>
                <a:cubicBezTo>
                  <a:pt x="229" y="628"/>
                  <a:pt x="231" y="628"/>
                  <a:pt x="231" y="628"/>
                </a:cubicBezTo>
                <a:cubicBezTo>
                  <a:pt x="231" y="629"/>
                  <a:pt x="229" y="628"/>
                  <a:pt x="229" y="628"/>
                </a:cubicBezTo>
                <a:close/>
                <a:moveTo>
                  <a:pt x="228" y="653"/>
                </a:moveTo>
                <a:cubicBezTo>
                  <a:pt x="228" y="653"/>
                  <a:pt x="228" y="653"/>
                  <a:pt x="228" y="653"/>
                </a:cubicBezTo>
                <a:cubicBezTo>
                  <a:pt x="228" y="653"/>
                  <a:pt x="228" y="652"/>
                  <a:pt x="228" y="653"/>
                </a:cubicBezTo>
                <a:close/>
                <a:moveTo>
                  <a:pt x="213" y="659"/>
                </a:moveTo>
                <a:cubicBezTo>
                  <a:pt x="213" y="659"/>
                  <a:pt x="213" y="659"/>
                  <a:pt x="213" y="659"/>
                </a:cubicBezTo>
                <a:cubicBezTo>
                  <a:pt x="213" y="659"/>
                  <a:pt x="213" y="659"/>
                  <a:pt x="213" y="659"/>
                </a:cubicBezTo>
                <a:close/>
                <a:moveTo>
                  <a:pt x="213" y="659"/>
                </a:moveTo>
                <a:cubicBezTo>
                  <a:pt x="214" y="659"/>
                  <a:pt x="213" y="659"/>
                  <a:pt x="213" y="659"/>
                </a:cubicBezTo>
                <a:close/>
                <a:moveTo>
                  <a:pt x="213" y="657"/>
                </a:moveTo>
                <a:cubicBezTo>
                  <a:pt x="213" y="656"/>
                  <a:pt x="214" y="656"/>
                  <a:pt x="214" y="656"/>
                </a:cubicBezTo>
                <a:cubicBezTo>
                  <a:pt x="215" y="657"/>
                  <a:pt x="214" y="657"/>
                  <a:pt x="213" y="657"/>
                </a:cubicBezTo>
                <a:close/>
                <a:moveTo>
                  <a:pt x="216" y="659"/>
                </a:moveTo>
                <a:cubicBezTo>
                  <a:pt x="216" y="658"/>
                  <a:pt x="216" y="657"/>
                  <a:pt x="217" y="658"/>
                </a:cubicBezTo>
                <a:cubicBezTo>
                  <a:pt x="216" y="658"/>
                  <a:pt x="218" y="660"/>
                  <a:pt x="218" y="660"/>
                </a:cubicBezTo>
                <a:cubicBezTo>
                  <a:pt x="217" y="661"/>
                  <a:pt x="215" y="661"/>
                  <a:pt x="216" y="659"/>
                </a:cubicBezTo>
                <a:close/>
                <a:moveTo>
                  <a:pt x="223" y="655"/>
                </a:moveTo>
                <a:cubicBezTo>
                  <a:pt x="222" y="654"/>
                  <a:pt x="224" y="654"/>
                  <a:pt x="224" y="655"/>
                </a:cubicBezTo>
                <a:cubicBezTo>
                  <a:pt x="224" y="655"/>
                  <a:pt x="223" y="655"/>
                  <a:pt x="223" y="655"/>
                </a:cubicBezTo>
                <a:close/>
                <a:moveTo>
                  <a:pt x="218" y="655"/>
                </a:moveTo>
                <a:cubicBezTo>
                  <a:pt x="217" y="655"/>
                  <a:pt x="214" y="653"/>
                  <a:pt x="215" y="651"/>
                </a:cubicBezTo>
                <a:cubicBezTo>
                  <a:pt x="216" y="650"/>
                  <a:pt x="220" y="648"/>
                  <a:pt x="222" y="648"/>
                </a:cubicBezTo>
                <a:cubicBezTo>
                  <a:pt x="223" y="649"/>
                  <a:pt x="224" y="649"/>
                  <a:pt x="224" y="650"/>
                </a:cubicBezTo>
                <a:cubicBezTo>
                  <a:pt x="224" y="650"/>
                  <a:pt x="226" y="648"/>
                  <a:pt x="225" y="650"/>
                </a:cubicBezTo>
                <a:cubicBezTo>
                  <a:pt x="225" y="650"/>
                  <a:pt x="223" y="651"/>
                  <a:pt x="223" y="652"/>
                </a:cubicBezTo>
                <a:cubicBezTo>
                  <a:pt x="224" y="652"/>
                  <a:pt x="225" y="651"/>
                  <a:pt x="225" y="652"/>
                </a:cubicBezTo>
                <a:cubicBezTo>
                  <a:pt x="224" y="652"/>
                  <a:pt x="221" y="655"/>
                  <a:pt x="218" y="655"/>
                </a:cubicBezTo>
                <a:close/>
                <a:moveTo>
                  <a:pt x="227" y="665"/>
                </a:moveTo>
                <a:cubicBezTo>
                  <a:pt x="223" y="666"/>
                  <a:pt x="226" y="661"/>
                  <a:pt x="228" y="662"/>
                </a:cubicBezTo>
                <a:cubicBezTo>
                  <a:pt x="229" y="664"/>
                  <a:pt x="228" y="664"/>
                  <a:pt x="227" y="665"/>
                </a:cubicBezTo>
                <a:close/>
                <a:moveTo>
                  <a:pt x="228" y="654"/>
                </a:moveTo>
                <a:cubicBezTo>
                  <a:pt x="227" y="653"/>
                  <a:pt x="230" y="655"/>
                  <a:pt x="228" y="654"/>
                </a:cubicBezTo>
                <a:close/>
                <a:moveTo>
                  <a:pt x="229" y="639"/>
                </a:moveTo>
                <a:cubicBezTo>
                  <a:pt x="228" y="638"/>
                  <a:pt x="231" y="638"/>
                  <a:pt x="231" y="639"/>
                </a:cubicBezTo>
                <a:cubicBezTo>
                  <a:pt x="231" y="639"/>
                  <a:pt x="230" y="640"/>
                  <a:pt x="229" y="639"/>
                </a:cubicBezTo>
                <a:close/>
                <a:moveTo>
                  <a:pt x="215" y="675"/>
                </a:moveTo>
                <a:cubicBezTo>
                  <a:pt x="216" y="673"/>
                  <a:pt x="216" y="675"/>
                  <a:pt x="215" y="675"/>
                </a:cubicBezTo>
                <a:close/>
                <a:moveTo>
                  <a:pt x="219" y="676"/>
                </a:moveTo>
                <a:cubicBezTo>
                  <a:pt x="220" y="675"/>
                  <a:pt x="221" y="676"/>
                  <a:pt x="223" y="676"/>
                </a:cubicBezTo>
                <a:cubicBezTo>
                  <a:pt x="221" y="676"/>
                  <a:pt x="220" y="677"/>
                  <a:pt x="219" y="676"/>
                </a:cubicBezTo>
                <a:close/>
                <a:moveTo>
                  <a:pt x="226" y="676"/>
                </a:moveTo>
                <a:cubicBezTo>
                  <a:pt x="226" y="675"/>
                  <a:pt x="228" y="675"/>
                  <a:pt x="228" y="675"/>
                </a:cubicBezTo>
                <a:cubicBezTo>
                  <a:pt x="228" y="676"/>
                  <a:pt x="226" y="676"/>
                  <a:pt x="226" y="676"/>
                </a:cubicBezTo>
                <a:close/>
                <a:moveTo>
                  <a:pt x="229" y="676"/>
                </a:moveTo>
                <a:cubicBezTo>
                  <a:pt x="229" y="675"/>
                  <a:pt x="230" y="676"/>
                  <a:pt x="230" y="676"/>
                </a:cubicBezTo>
                <a:cubicBezTo>
                  <a:pt x="230" y="676"/>
                  <a:pt x="229" y="677"/>
                  <a:pt x="229" y="676"/>
                </a:cubicBezTo>
                <a:close/>
                <a:moveTo>
                  <a:pt x="234" y="679"/>
                </a:moveTo>
                <a:cubicBezTo>
                  <a:pt x="234" y="678"/>
                  <a:pt x="235" y="678"/>
                  <a:pt x="235" y="678"/>
                </a:cubicBezTo>
                <a:cubicBezTo>
                  <a:pt x="236" y="679"/>
                  <a:pt x="234" y="679"/>
                  <a:pt x="234" y="679"/>
                </a:cubicBezTo>
                <a:close/>
                <a:moveTo>
                  <a:pt x="248" y="692"/>
                </a:moveTo>
                <a:cubicBezTo>
                  <a:pt x="248" y="691"/>
                  <a:pt x="250" y="691"/>
                  <a:pt x="250" y="691"/>
                </a:cubicBezTo>
                <a:cubicBezTo>
                  <a:pt x="251" y="692"/>
                  <a:pt x="249" y="692"/>
                  <a:pt x="248" y="692"/>
                </a:cubicBezTo>
                <a:close/>
                <a:moveTo>
                  <a:pt x="349" y="41"/>
                </a:moveTo>
                <a:cubicBezTo>
                  <a:pt x="348" y="41"/>
                  <a:pt x="345" y="42"/>
                  <a:pt x="344" y="41"/>
                </a:cubicBezTo>
                <a:cubicBezTo>
                  <a:pt x="344" y="40"/>
                  <a:pt x="348" y="40"/>
                  <a:pt x="349" y="41"/>
                </a:cubicBezTo>
                <a:close/>
                <a:moveTo>
                  <a:pt x="343" y="7"/>
                </a:moveTo>
                <a:cubicBezTo>
                  <a:pt x="344" y="6"/>
                  <a:pt x="345" y="8"/>
                  <a:pt x="343" y="7"/>
                </a:cubicBezTo>
                <a:close/>
                <a:moveTo>
                  <a:pt x="342" y="38"/>
                </a:moveTo>
                <a:cubicBezTo>
                  <a:pt x="341" y="38"/>
                  <a:pt x="340" y="37"/>
                  <a:pt x="339" y="38"/>
                </a:cubicBezTo>
                <a:cubicBezTo>
                  <a:pt x="339" y="37"/>
                  <a:pt x="341" y="37"/>
                  <a:pt x="342" y="38"/>
                </a:cubicBezTo>
                <a:close/>
                <a:moveTo>
                  <a:pt x="335" y="37"/>
                </a:moveTo>
                <a:cubicBezTo>
                  <a:pt x="336" y="36"/>
                  <a:pt x="337" y="39"/>
                  <a:pt x="335" y="37"/>
                </a:cubicBezTo>
                <a:close/>
                <a:moveTo>
                  <a:pt x="336" y="97"/>
                </a:move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5" y="96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lose/>
                <a:moveTo>
                  <a:pt x="316" y="49"/>
                </a:moveTo>
                <a:cubicBezTo>
                  <a:pt x="316" y="49"/>
                  <a:pt x="313" y="50"/>
                  <a:pt x="313" y="49"/>
                </a:cubicBezTo>
                <a:cubicBezTo>
                  <a:pt x="312" y="49"/>
                  <a:pt x="315" y="48"/>
                  <a:pt x="316" y="49"/>
                </a:cubicBezTo>
                <a:close/>
                <a:moveTo>
                  <a:pt x="321" y="108"/>
                </a:moveTo>
                <a:cubicBezTo>
                  <a:pt x="319" y="109"/>
                  <a:pt x="315" y="112"/>
                  <a:pt x="311" y="111"/>
                </a:cubicBezTo>
                <a:cubicBezTo>
                  <a:pt x="314" y="109"/>
                  <a:pt x="317" y="109"/>
                  <a:pt x="321" y="108"/>
                </a:cubicBezTo>
                <a:close/>
                <a:moveTo>
                  <a:pt x="320" y="636"/>
                </a:moveTo>
                <a:cubicBezTo>
                  <a:pt x="319" y="636"/>
                  <a:pt x="320" y="635"/>
                  <a:pt x="320" y="635"/>
                </a:cubicBezTo>
                <a:cubicBezTo>
                  <a:pt x="321" y="635"/>
                  <a:pt x="320" y="636"/>
                  <a:pt x="320" y="636"/>
                </a:cubicBezTo>
                <a:close/>
                <a:moveTo>
                  <a:pt x="319" y="620"/>
                </a:moveTo>
                <a:cubicBezTo>
                  <a:pt x="319" y="620"/>
                  <a:pt x="318" y="620"/>
                  <a:pt x="317" y="620"/>
                </a:cubicBezTo>
                <a:cubicBezTo>
                  <a:pt x="318" y="620"/>
                  <a:pt x="319" y="619"/>
                  <a:pt x="319" y="620"/>
                </a:cubicBezTo>
                <a:close/>
                <a:moveTo>
                  <a:pt x="318" y="614"/>
                </a:moveTo>
                <a:cubicBezTo>
                  <a:pt x="317" y="613"/>
                  <a:pt x="319" y="615"/>
                  <a:pt x="318" y="614"/>
                </a:cubicBezTo>
                <a:close/>
                <a:moveTo>
                  <a:pt x="313" y="137"/>
                </a:moveTo>
                <a:cubicBezTo>
                  <a:pt x="312" y="140"/>
                  <a:pt x="312" y="135"/>
                  <a:pt x="312" y="137"/>
                </a:cubicBezTo>
                <a:cubicBezTo>
                  <a:pt x="312" y="137"/>
                  <a:pt x="313" y="137"/>
                  <a:pt x="313" y="137"/>
                </a:cubicBezTo>
                <a:close/>
                <a:moveTo>
                  <a:pt x="311" y="41"/>
                </a:moveTo>
                <a:cubicBezTo>
                  <a:pt x="310" y="42"/>
                  <a:pt x="309" y="40"/>
                  <a:pt x="311" y="41"/>
                </a:cubicBezTo>
                <a:close/>
                <a:moveTo>
                  <a:pt x="309" y="527"/>
                </a:moveTo>
                <a:cubicBezTo>
                  <a:pt x="309" y="528"/>
                  <a:pt x="306" y="529"/>
                  <a:pt x="306" y="527"/>
                </a:cubicBezTo>
                <a:cubicBezTo>
                  <a:pt x="306" y="525"/>
                  <a:pt x="309" y="526"/>
                  <a:pt x="309" y="527"/>
                </a:cubicBezTo>
                <a:close/>
                <a:moveTo>
                  <a:pt x="307" y="61"/>
                </a:moveTo>
                <a:cubicBezTo>
                  <a:pt x="306" y="60"/>
                  <a:pt x="308" y="61"/>
                  <a:pt x="307" y="61"/>
                </a:cubicBezTo>
                <a:close/>
                <a:moveTo>
                  <a:pt x="293" y="53"/>
                </a:moveTo>
                <a:cubicBezTo>
                  <a:pt x="298" y="52"/>
                  <a:pt x="304" y="52"/>
                  <a:pt x="309" y="51"/>
                </a:cubicBezTo>
                <a:cubicBezTo>
                  <a:pt x="304" y="53"/>
                  <a:pt x="299" y="53"/>
                  <a:pt x="293" y="53"/>
                </a:cubicBezTo>
                <a:close/>
                <a:moveTo>
                  <a:pt x="282" y="662"/>
                </a:moveTo>
                <a:cubicBezTo>
                  <a:pt x="281" y="662"/>
                  <a:pt x="279" y="663"/>
                  <a:pt x="277" y="663"/>
                </a:cubicBezTo>
                <a:cubicBezTo>
                  <a:pt x="279" y="662"/>
                  <a:pt x="281" y="661"/>
                  <a:pt x="282" y="662"/>
                </a:cubicBezTo>
                <a:close/>
                <a:moveTo>
                  <a:pt x="278" y="582"/>
                </a:moveTo>
                <a:cubicBezTo>
                  <a:pt x="278" y="581"/>
                  <a:pt x="280" y="581"/>
                  <a:pt x="279" y="582"/>
                </a:cubicBezTo>
                <a:cubicBezTo>
                  <a:pt x="279" y="582"/>
                  <a:pt x="279" y="582"/>
                  <a:pt x="278" y="582"/>
                </a:cubicBezTo>
                <a:close/>
                <a:moveTo>
                  <a:pt x="282" y="582"/>
                </a:moveTo>
                <a:cubicBezTo>
                  <a:pt x="282" y="582"/>
                  <a:pt x="280" y="583"/>
                  <a:pt x="280" y="581"/>
                </a:cubicBezTo>
                <a:cubicBezTo>
                  <a:pt x="280" y="580"/>
                  <a:pt x="282" y="581"/>
                  <a:pt x="282" y="582"/>
                </a:cubicBezTo>
                <a:close/>
                <a:moveTo>
                  <a:pt x="281" y="574"/>
                </a:moveTo>
                <a:cubicBezTo>
                  <a:pt x="281" y="575"/>
                  <a:pt x="280" y="575"/>
                  <a:pt x="280" y="574"/>
                </a:cubicBezTo>
                <a:cubicBezTo>
                  <a:pt x="279" y="574"/>
                  <a:pt x="281" y="573"/>
                  <a:pt x="281" y="574"/>
                </a:cubicBezTo>
                <a:close/>
                <a:moveTo>
                  <a:pt x="294" y="551"/>
                </a:moveTo>
                <a:cubicBezTo>
                  <a:pt x="291" y="553"/>
                  <a:pt x="287" y="555"/>
                  <a:pt x="285" y="556"/>
                </a:cubicBezTo>
                <a:cubicBezTo>
                  <a:pt x="285" y="556"/>
                  <a:pt x="283" y="557"/>
                  <a:pt x="284" y="556"/>
                </a:cubicBezTo>
                <a:cubicBezTo>
                  <a:pt x="286" y="553"/>
                  <a:pt x="291" y="553"/>
                  <a:pt x="294" y="551"/>
                </a:cubicBezTo>
                <a:close/>
                <a:moveTo>
                  <a:pt x="286" y="536"/>
                </a:moveTo>
                <a:cubicBezTo>
                  <a:pt x="286" y="535"/>
                  <a:pt x="286" y="536"/>
                  <a:pt x="286" y="536"/>
                </a:cubicBezTo>
                <a:cubicBezTo>
                  <a:pt x="285" y="536"/>
                  <a:pt x="286" y="535"/>
                  <a:pt x="286" y="536"/>
                </a:cubicBezTo>
                <a:close/>
                <a:moveTo>
                  <a:pt x="287" y="536"/>
                </a:moveTo>
                <a:cubicBezTo>
                  <a:pt x="287" y="534"/>
                  <a:pt x="289" y="534"/>
                  <a:pt x="289" y="536"/>
                </a:cubicBezTo>
                <a:cubicBezTo>
                  <a:pt x="289" y="537"/>
                  <a:pt x="287" y="536"/>
                  <a:pt x="287" y="536"/>
                </a:cubicBezTo>
                <a:close/>
                <a:moveTo>
                  <a:pt x="290" y="512"/>
                </a:moveTo>
                <a:cubicBezTo>
                  <a:pt x="291" y="510"/>
                  <a:pt x="293" y="509"/>
                  <a:pt x="294" y="508"/>
                </a:cubicBezTo>
                <a:cubicBezTo>
                  <a:pt x="294" y="509"/>
                  <a:pt x="292" y="510"/>
                  <a:pt x="290" y="512"/>
                </a:cubicBezTo>
                <a:close/>
                <a:moveTo>
                  <a:pt x="290" y="550"/>
                </a:moveTo>
                <a:cubicBezTo>
                  <a:pt x="290" y="549"/>
                  <a:pt x="291" y="548"/>
                  <a:pt x="292" y="549"/>
                </a:cubicBezTo>
                <a:cubicBezTo>
                  <a:pt x="292" y="550"/>
                  <a:pt x="290" y="551"/>
                  <a:pt x="290" y="550"/>
                </a:cubicBezTo>
                <a:close/>
                <a:moveTo>
                  <a:pt x="287" y="638"/>
                </a:moveTo>
                <a:cubicBezTo>
                  <a:pt x="288" y="637"/>
                  <a:pt x="289" y="637"/>
                  <a:pt x="290" y="637"/>
                </a:cubicBezTo>
                <a:cubicBezTo>
                  <a:pt x="289" y="637"/>
                  <a:pt x="288" y="638"/>
                  <a:pt x="287" y="638"/>
                </a:cubicBezTo>
                <a:close/>
                <a:moveTo>
                  <a:pt x="290" y="640"/>
                </a:moveTo>
                <a:cubicBezTo>
                  <a:pt x="289" y="641"/>
                  <a:pt x="288" y="640"/>
                  <a:pt x="287" y="641"/>
                </a:cubicBezTo>
                <a:cubicBezTo>
                  <a:pt x="287" y="640"/>
                  <a:pt x="289" y="639"/>
                  <a:pt x="290" y="640"/>
                </a:cubicBezTo>
                <a:close/>
                <a:moveTo>
                  <a:pt x="292" y="594"/>
                </a:moveTo>
                <a:cubicBezTo>
                  <a:pt x="292" y="595"/>
                  <a:pt x="288" y="596"/>
                  <a:pt x="288" y="593"/>
                </a:cubicBezTo>
                <a:cubicBezTo>
                  <a:pt x="288" y="591"/>
                  <a:pt x="292" y="592"/>
                  <a:pt x="292" y="594"/>
                </a:cubicBezTo>
                <a:close/>
                <a:moveTo>
                  <a:pt x="288" y="573"/>
                </a:moveTo>
                <a:cubicBezTo>
                  <a:pt x="288" y="572"/>
                  <a:pt x="290" y="571"/>
                  <a:pt x="291" y="571"/>
                </a:cubicBezTo>
                <a:cubicBezTo>
                  <a:pt x="290" y="572"/>
                  <a:pt x="289" y="572"/>
                  <a:pt x="288" y="573"/>
                </a:cubicBezTo>
                <a:close/>
                <a:moveTo>
                  <a:pt x="292" y="571"/>
                </a:moveTo>
                <a:cubicBezTo>
                  <a:pt x="292" y="570"/>
                  <a:pt x="293" y="569"/>
                  <a:pt x="294" y="570"/>
                </a:cubicBezTo>
                <a:cubicBezTo>
                  <a:pt x="294" y="571"/>
                  <a:pt x="292" y="571"/>
                  <a:pt x="292" y="571"/>
                </a:cubicBezTo>
                <a:close/>
                <a:moveTo>
                  <a:pt x="293" y="594"/>
                </a:moveTo>
                <a:cubicBezTo>
                  <a:pt x="293" y="596"/>
                  <a:pt x="291" y="595"/>
                  <a:pt x="293" y="594"/>
                </a:cubicBezTo>
                <a:close/>
                <a:moveTo>
                  <a:pt x="291" y="595"/>
                </a:moveTo>
                <a:cubicBezTo>
                  <a:pt x="290" y="597"/>
                  <a:pt x="288" y="596"/>
                  <a:pt x="291" y="595"/>
                </a:cubicBezTo>
                <a:close/>
                <a:moveTo>
                  <a:pt x="290" y="625"/>
                </a:moveTo>
                <a:cubicBezTo>
                  <a:pt x="291" y="626"/>
                  <a:pt x="290" y="625"/>
                  <a:pt x="290" y="625"/>
                </a:cubicBezTo>
                <a:cubicBezTo>
                  <a:pt x="290" y="625"/>
                  <a:pt x="290" y="625"/>
                  <a:pt x="290" y="625"/>
                </a:cubicBezTo>
                <a:close/>
                <a:moveTo>
                  <a:pt x="289" y="602"/>
                </a:moveTo>
                <a:cubicBezTo>
                  <a:pt x="289" y="601"/>
                  <a:pt x="292" y="601"/>
                  <a:pt x="293" y="601"/>
                </a:cubicBezTo>
                <a:cubicBezTo>
                  <a:pt x="292" y="602"/>
                  <a:pt x="290" y="602"/>
                  <a:pt x="289" y="602"/>
                </a:cubicBezTo>
                <a:close/>
                <a:moveTo>
                  <a:pt x="291" y="634"/>
                </a:moveTo>
                <a:cubicBezTo>
                  <a:pt x="292" y="634"/>
                  <a:pt x="293" y="634"/>
                  <a:pt x="292" y="635"/>
                </a:cubicBezTo>
                <a:cubicBezTo>
                  <a:pt x="292" y="636"/>
                  <a:pt x="291" y="635"/>
                  <a:pt x="291" y="634"/>
                </a:cubicBezTo>
                <a:close/>
                <a:moveTo>
                  <a:pt x="295" y="635"/>
                </a:moveTo>
                <a:cubicBezTo>
                  <a:pt x="294" y="636"/>
                  <a:pt x="293" y="637"/>
                  <a:pt x="291" y="636"/>
                </a:cubicBezTo>
                <a:cubicBezTo>
                  <a:pt x="292" y="636"/>
                  <a:pt x="294" y="636"/>
                  <a:pt x="295" y="635"/>
                </a:cubicBezTo>
                <a:close/>
                <a:moveTo>
                  <a:pt x="293" y="583"/>
                </a:moveTo>
                <a:cubicBezTo>
                  <a:pt x="293" y="583"/>
                  <a:pt x="294" y="583"/>
                  <a:pt x="294" y="583"/>
                </a:cubicBezTo>
                <a:cubicBezTo>
                  <a:pt x="295" y="584"/>
                  <a:pt x="293" y="585"/>
                  <a:pt x="293" y="583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538"/>
                </a:moveTo>
                <a:cubicBezTo>
                  <a:pt x="283" y="538"/>
                  <a:pt x="284" y="537"/>
                  <a:pt x="284" y="537"/>
                </a:cubicBezTo>
                <a:cubicBezTo>
                  <a:pt x="285" y="537"/>
                  <a:pt x="284" y="538"/>
                  <a:pt x="284" y="538"/>
                </a:cubicBezTo>
                <a:close/>
                <a:moveTo>
                  <a:pt x="285" y="588"/>
                </a:moveTo>
                <a:cubicBezTo>
                  <a:pt x="284" y="589"/>
                  <a:pt x="283" y="589"/>
                  <a:pt x="282" y="590"/>
                </a:cubicBezTo>
                <a:cubicBezTo>
                  <a:pt x="282" y="590"/>
                  <a:pt x="284" y="588"/>
                  <a:pt x="285" y="588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612"/>
                </a:moveTo>
                <a:cubicBezTo>
                  <a:pt x="281" y="614"/>
                  <a:pt x="281" y="612"/>
                  <a:pt x="284" y="612"/>
                </a:cubicBezTo>
                <a:close/>
                <a:moveTo>
                  <a:pt x="283" y="648"/>
                </a:moveTo>
                <a:cubicBezTo>
                  <a:pt x="284" y="645"/>
                  <a:pt x="286" y="647"/>
                  <a:pt x="283" y="648"/>
                </a:cubicBezTo>
                <a:close/>
                <a:moveTo>
                  <a:pt x="287" y="661"/>
                </a:moveTo>
                <a:cubicBezTo>
                  <a:pt x="287" y="661"/>
                  <a:pt x="285" y="662"/>
                  <a:pt x="284" y="662"/>
                </a:cubicBezTo>
                <a:cubicBezTo>
                  <a:pt x="284" y="661"/>
                  <a:pt x="287" y="660"/>
                  <a:pt x="287" y="661"/>
                </a:cubicBezTo>
                <a:close/>
                <a:moveTo>
                  <a:pt x="288" y="667"/>
                </a:moveTo>
                <a:cubicBezTo>
                  <a:pt x="288" y="668"/>
                  <a:pt x="286" y="668"/>
                  <a:pt x="286" y="667"/>
                </a:cubicBezTo>
                <a:cubicBezTo>
                  <a:pt x="285" y="666"/>
                  <a:pt x="288" y="666"/>
                  <a:pt x="288" y="667"/>
                </a:cubicBezTo>
                <a:close/>
                <a:moveTo>
                  <a:pt x="287" y="650"/>
                </a:moveTo>
                <a:cubicBezTo>
                  <a:pt x="287" y="648"/>
                  <a:pt x="290" y="647"/>
                  <a:pt x="291" y="649"/>
                </a:cubicBezTo>
                <a:cubicBezTo>
                  <a:pt x="295" y="653"/>
                  <a:pt x="286" y="654"/>
                  <a:pt x="287" y="650"/>
                </a:cubicBezTo>
                <a:close/>
                <a:moveTo>
                  <a:pt x="292" y="691"/>
                </a:moveTo>
                <a:cubicBezTo>
                  <a:pt x="292" y="691"/>
                  <a:pt x="292" y="691"/>
                  <a:pt x="292" y="691"/>
                </a:cubicBezTo>
                <a:cubicBezTo>
                  <a:pt x="292" y="689"/>
                  <a:pt x="294" y="692"/>
                  <a:pt x="292" y="691"/>
                </a:cubicBezTo>
                <a:close/>
                <a:moveTo>
                  <a:pt x="292" y="646"/>
                </a:moveTo>
                <a:cubicBezTo>
                  <a:pt x="290" y="644"/>
                  <a:pt x="297" y="643"/>
                  <a:pt x="294" y="646"/>
                </a:cubicBezTo>
                <a:cubicBezTo>
                  <a:pt x="294" y="646"/>
                  <a:pt x="293" y="646"/>
                  <a:pt x="292" y="646"/>
                </a:cubicBezTo>
                <a:close/>
                <a:moveTo>
                  <a:pt x="294" y="600"/>
                </a:moveTo>
                <a:cubicBezTo>
                  <a:pt x="294" y="600"/>
                  <a:pt x="296" y="599"/>
                  <a:pt x="297" y="599"/>
                </a:cubicBezTo>
                <a:cubicBezTo>
                  <a:pt x="296" y="600"/>
                  <a:pt x="295" y="600"/>
                  <a:pt x="294" y="600"/>
                </a:cubicBezTo>
                <a:close/>
                <a:moveTo>
                  <a:pt x="293" y="530"/>
                </a:moveTo>
                <a:cubicBezTo>
                  <a:pt x="294" y="529"/>
                  <a:pt x="296" y="528"/>
                  <a:pt x="297" y="530"/>
                </a:cubicBezTo>
                <a:cubicBezTo>
                  <a:pt x="298" y="532"/>
                  <a:pt x="293" y="534"/>
                  <a:pt x="293" y="530"/>
                </a:cubicBezTo>
                <a:close/>
                <a:moveTo>
                  <a:pt x="303" y="581"/>
                </a:moveTo>
                <a:cubicBezTo>
                  <a:pt x="303" y="584"/>
                  <a:pt x="298" y="584"/>
                  <a:pt x="297" y="581"/>
                </a:cubicBezTo>
                <a:cubicBezTo>
                  <a:pt x="297" y="578"/>
                  <a:pt x="303" y="579"/>
                  <a:pt x="303" y="581"/>
                </a:cubicBezTo>
                <a:close/>
                <a:moveTo>
                  <a:pt x="298" y="504"/>
                </a:moveTo>
                <a:cubicBezTo>
                  <a:pt x="298" y="503"/>
                  <a:pt x="300" y="504"/>
                  <a:pt x="298" y="504"/>
                </a:cubicBezTo>
                <a:close/>
                <a:moveTo>
                  <a:pt x="300" y="102"/>
                </a:moveTo>
                <a:cubicBezTo>
                  <a:pt x="298" y="103"/>
                  <a:pt x="297" y="101"/>
                  <a:pt x="300" y="102"/>
                </a:cubicBezTo>
                <a:close/>
                <a:moveTo>
                  <a:pt x="299" y="578"/>
                </a:moveTo>
                <a:cubicBezTo>
                  <a:pt x="299" y="578"/>
                  <a:pt x="298" y="579"/>
                  <a:pt x="298" y="578"/>
                </a:cubicBezTo>
                <a:cubicBezTo>
                  <a:pt x="297" y="577"/>
                  <a:pt x="300" y="577"/>
                  <a:pt x="299" y="578"/>
                </a:cubicBezTo>
                <a:close/>
                <a:moveTo>
                  <a:pt x="303" y="67"/>
                </a:moveTo>
                <a:cubicBezTo>
                  <a:pt x="302" y="69"/>
                  <a:pt x="302" y="67"/>
                  <a:pt x="303" y="67"/>
                </a:cubicBezTo>
                <a:close/>
                <a:moveTo>
                  <a:pt x="304" y="592"/>
                </a:moveTo>
                <a:cubicBezTo>
                  <a:pt x="304" y="593"/>
                  <a:pt x="301" y="593"/>
                  <a:pt x="300" y="594"/>
                </a:cubicBezTo>
                <a:cubicBezTo>
                  <a:pt x="301" y="593"/>
                  <a:pt x="303" y="592"/>
                  <a:pt x="304" y="592"/>
                </a:cubicBezTo>
                <a:close/>
                <a:moveTo>
                  <a:pt x="304" y="660"/>
                </a:moveTo>
                <a:cubicBezTo>
                  <a:pt x="304" y="661"/>
                  <a:pt x="304" y="662"/>
                  <a:pt x="304" y="662"/>
                </a:cubicBezTo>
                <a:cubicBezTo>
                  <a:pt x="302" y="664"/>
                  <a:pt x="301" y="659"/>
                  <a:pt x="304" y="660"/>
                </a:cubicBezTo>
                <a:close/>
                <a:moveTo>
                  <a:pt x="308" y="41"/>
                </a:moveTo>
                <a:cubicBezTo>
                  <a:pt x="308" y="41"/>
                  <a:pt x="307" y="42"/>
                  <a:pt x="307" y="42"/>
                </a:cubicBezTo>
                <a:cubicBezTo>
                  <a:pt x="306" y="42"/>
                  <a:pt x="307" y="41"/>
                  <a:pt x="308" y="41"/>
                </a:cubicBezTo>
                <a:close/>
                <a:moveTo>
                  <a:pt x="298" y="26"/>
                </a:moveTo>
                <a:cubicBezTo>
                  <a:pt x="300" y="25"/>
                  <a:pt x="300" y="27"/>
                  <a:pt x="298" y="26"/>
                </a:cubicBezTo>
                <a:close/>
                <a:moveTo>
                  <a:pt x="299" y="30"/>
                </a:moveTo>
                <a:cubicBezTo>
                  <a:pt x="297" y="31"/>
                  <a:pt x="295" y="30"/>
                  <a:pt x="293" y="30"/>
                </a:cubicBezTo>
                <a:cubicBezTo>
                  <a:pt x="295" y="29"/>
                  <a:pt x="297" y="29"/>
                  <a:pt x="299" y="30"/>
                </a:cubicBezTo>
                <a:close/>
                <a:moveTo>
                  <a:pt x="291" y="53"/>
                </a:moveTo>
                <a:cubicBezTo>
                  <a:pt x="287" y="54"/>
                  <a:pt x="283" y="55"/>
                  <a:pt x="279" y="55"/>
                </a:cubicBezTo>
                <a:cubicBezTo>
                  <a:pt x="283" y="54"/>
                  <a:pt x="287" y="53"/>
                  <a:pt x="291" y="53"/>
                </a:cubicBezTo>
                <a:close/>
                <a:moveTo>
                  <a:pt x="288" y="513"/>
                </a:moveTo>
                <a:cubicBezTo>
                  <a:pt x="287" y="513"/>
                  <a:pt x="290" y="512"/>
                  <a:pt x="289" y="512"/>
                </a:cubicBezTo>
                <a:cubicBezTo>
                  <a:pt x="290" y="512"/>
                  <a:pt x="289" y="514"/>
                  <a:pt x="288" y="513"/>
                </a:cubicBezTo>
                <a:close/>
                <a:moveTo>
                  <a:pt x="282" y="526"/>
                </a:moveTo>
                <a:cubicBezTo>
                  <a:pt x="282" y="526"/>
                  <a:pt x="281" y="527"/>
                  <a:pt x="280" y="526"/>
                </a:cubicBezTo>
                <a:cubicBezTo>
                  <a:pt x="280" y="526"/>
                  <a:pt x="282" y="525"/>
                  <a:pt x="282" y="526"/>
                </a:cubicBezTo>
                <a:close/>
                <a:moveTo>
                  <a:pt x="286" y="526"/>
                </a:moveTo>
                <a:cubicBezTo>
                  <a:pt x="286" y="526"/>
                  <a:pt x="291" y="524"/>
                  <a:pt x="290" y="526"/>
                </a:cubicBezTo>
                <a:cubicBezTo>
                  <a:pt x="290" y="527"/>
                  <a:pt x="285" y="527"/>
                  <a:pt x="284" y="527"/>
                </a:cubicBezTo>
                <a:cubicBezTo>
                  <a:pt x="281" y="527"/>
                  <a:pt x="278" y="530"/>
                  <a:pt x="275" y="529"/>
                </a:cubicBezTo>
                <a:cubicBezTo>
                  <a:pt x="276" y="527"/>
                  <a:pt x="284" y="527"/>
                  <a:pt x="286" y="526"/>
                </a:cubicBezTo>
                <a:close/>
                <a:moveTo>
                  <a:pt x="277" y="694"/>
                </a:moveTo>
                <a:cubicBezTo>
                  <a:pt x="277" y="695"/>
                  <a:pt x="275" y="695"/>
                  <a:pt x="275" y="694"/>
                </a:cubicBezTo>
                <a:cubicBezTo>
                  <a:pt x="275" y="693"/>
                  <a:pt x="277" y="694"/>
                  <a:pt x="277" y="694"/>
                </a:cubicBezTo>
                <a:close/>
                <a:moveTo>
                  <a:pt x="266" y="653"/>
                </a:moveTo>
                <a:cubicBezTo>
                  <a:pt x="266" y="653"/>
                  <a:pt x="266" y="652"/>
                  <a:pt x="266" y="651"/>
                </a:cubicBezTo>
                <a:cubicBezTo>
                  <a:pt x="267" y="648"/>
                  <a:pt x="270" y="649"/>
                  <a:pt x="271" y="650"/>
                </a:cubicBezTo>
                <a:cubicBezTo>
                  <a:pt x="271" y="650"/>
                  <a:pt x="271" y="650"/>
                  <a:pt x="271" y="650"/>
                </a:cubicBezTo>
                <a:cubicBezTo>
                  <a:pt x="271" y="650"/>
                  <a:pt x="271" y="650"/>
                  <a:pt x="272" y="650"/>
                </a:cubicBezTo>
                <a:cubicBezTo>
                  <a:pt x="275" y="651"/>
                  <a:pt x="270" y="659"/>
                  <a:pt x="266" y="653"/>
                </a:cubicBezTo>
                <a:close/>
                <a:moveTo>
                  <a:pt x="268" y="657"/>
                </a:moveTo>
                <a:cubicBezTo>
                  <a:pt x="267" y="656"/>
                  <a:pt x="269" y="657"/>
                  <a:pt x="268" y="657"/>
                </a:cubicBezTo>
                <a:close/>
                <a:moveTo>
                  <a:pt x="264" y="633"/>
                </a:moveTo>
                <a:cubicBezTo>
                  <a:pt x="263" y="633"/>
                  <a:pt x="264" y="632"/>
                  <a:pt x="265" y="632"/>
                </a:cubicBezTo>
                <a:cubicBezTo>
                  <a:pt x="265" y="633"/>
                  <a:pt x="264" y="632"/>
                  <a:pt x="264" y="633"/>
                </a:cubicBezTo>
                <a:close/>
                <a:moveTo>
                  <a:pt x="263" y="663"/>
                </a:moveTo>
                <a:cubicBezTo>
                  <a:pt x="265" y="662"/>
                  <a:pt x="265" y="664"/>
                  <a:pt x="263" y="663"/>
                </a:cubicBezTo>
                <a:close/>
                <a:moveTo>
                  <a:pt x="265" y="623"/>
                </a:moveTo>
                <a:cubicBezTo>
                  <a:pt x="267" y="623"/>
                  <a:pt x="269" y="624"/>
                  <a:pt x="269" y="627"/>
                </a:cubicBezTo>
                <a:cubicBezTo>
                  <a:pt x="268" y="625"/>
                  <a:pt x="267" y="628"/>
                  <a:pt x="265" y="629"/>
                </a:cubicBezTo>
                <a:cubicBezTo>
                  <a:pt x="258" y="631"/>
                  <a:pt x="258" y="621"/>
                  <a:pt x="265" y="623"/>
                </a:cubicBezTo>
                <a:close/>
                <a:moveTo>
                  <a:pt x="271" y="560"/>
                </a:moveTo>
                <a:cubicBezTo>
                  <a:pt x="272" y="561"/>
                  <a:pt x="269" y="562"/>
                  <a:pt x="269" y="561"/>
                </a:cubicBezTo>
                <a:cubicBezTo>
                  <a:pt x="269" y="560"/>
                  <a:pt x="271" y="559"/>
                  <a:pt x="271" y="560"/>
                </a:cubicBezTo>
                <a:close/>
                <a:moveTo>
                  <a:pt x="271" y="507"/>
                </a:moveTo>
                <a:cubicBezTo>
                  <a:pt x="271" y="505"/>
                  <a:pt x="271" y="509"/>
                  <a:pt x="271" y="507"/>
                </a:cubicBezTo>
                <a:close/>
                <a:moveTo>
                  <a:pt x="273" y="532"/>
                </a:moveTo>
                <a:cubicBezTo>
                  <a:pt x="273" y="532"/>
                  <a:pt x="273" y="533"/>
                  <a:pt x="273" y="533"/>
                </a:cubicBezTo>
                <a:cubicBezTo>
                  <a:pt x="270" y="531"/>
                  <a:pt x="277" y="530"/>
                  <a:pt x="273" y="532"/>
                </a:cubicBezTo>
                <a:close/>
                <a:moveTo>
                  <a:pt x="273" y="556"/>
                </a:moveTo>
                <a:cubicBezTo>
                  <a:pt x="273" y="555"/>
                  <a:pt x="274" y="555"/>
                  <a:pt x="274" y="555"/>
                </a:cubicBezTo>
                <a:cubicBezTo>
                  <a:pt x="277" y="555"/>
                  <a:pt x="274" y="558"/>
                  <a:pt x="273" y="556"/>
                </a:cubicBezTo>
                <a:close/>
                <a:moveTo>
                  <a:pt x="270" y="624"/>
                </a:moveTo>
                <a:cubicBezTo>
                  <a:pt x="270" y="624"/>
                  <a:pt x="269" y="624"/>
                  <a:pt x="269" y="624"/>
                </a:cubicBezTo>
                <a:cubicBezTo>
                  <a:pt x="269" y="623"/>
                  <a:pt x="271" y="623"/>
                  <a:pt x="270" y="624"/>
                </a:cubicBezTo>
                <a:close/>
                <a:moveTo>
                  <a:pt x="266" y="617"/>
                </a:moveTo>
                <a:cubicBezTo>
                  <a:pt x="266" y="615"/>
                  <a:pt x="269" y="616"/>
                  <a:pt x="269" y="617"/>
                </a:cubicBezTo>
                <a:cubicBezTo>
                  <a:pt x="269" y="618"/>
                  <a:pt x="267" y="618"/>
                  <a:pt x="266" y="617"/>
                </a:cubicBezTo>
                <a:close/>
                <a:moveTo>
                  <a:pt x="271" y="647"/>
                </a:moveTo>
                <a:cubicBezTo>
                  <a:pt x="271" y="648"/>
                  <a:pt x="269" y="648"/>
                  <a:pt x="269" y="647"/>
                </a:cubicBezTo>
                <a:cubicBezTo>
                  <a:pt x="269" y="647"/>
                  <a:pt x="270" y="646"/>
                  <a:pt x="271" y="647"/>
                </a:cubicBezTo>
                <a:close/>
                <a:moveTo>
                  <a:pt x="270" y="628"/>
                </a:moveTo>
                <a:cubicBezTo>
                  <a:pt x="270" y="627"/>
                  <a:pt x="273" y="626"/>
                  <a:pt x="273" y="628"/>
                </a:cubicBezTo>
                <a:cubicBezTo>
                  <a:pt x="273" y="628"/>
                  <a:pt x="270" y="630"/>
                  <a:pt x="270" y="628"/>
                </a:cubicBezTo>
                <a:close/>
                <a:moveTo>
                  <a:pt x="273" y="613"/>
                </a:moveTo>
                <a:cubicBezTo>
                  <a:pt x="273" y="614"/>
                  <a:pt x="271" y="614"/>
                  <a:pt x="271" y="614"/>
                </a:cubicBezTo>
                <a:cubicBezTo>
                  <a:pt x="270" y="613"/>
                  <a:pt x="272" y="613"/>
                  <a:pt x="273" y="613"/>
                </a:cubicBezTo>
                <a:close/>
                <a:moveTo>
                  <a:pt x="270" y="571"/>
                </a:moveTo>
                <a:cubicBezTo>
                  <a:pt x="270" y="571"/>
                  <a:pt x="270" y="571"/>
                  <a:pt x="270" y="571"/>
                </a:cubicBezTo>
                <a:cubicBezTo>
                  <a:pt x="270" y="569"/>
                  <a:pt x="272" y="572"/>
                  <a:pt x="270" y="571"/>
                </a:cubicBezTo>
                <a:close/>
                <a:moveTo>
                  <a:pt x="271" y="564"/>
                </a:moveTo>
                <a:cubicBezTo>
                  <a:pt x="269" y="565"/>
                  <a:pt x="268" y="566"/>
                  <a:pt x="267" y="566"/>
                </a:cubicBezTo>
                <a:cubicBezTo>
                  <a:pt x="268" y="565"/>
                  <a:pt x="269" y="564"/>
                  <a:pt x="271" y="564"/>
                </a:cubicBezTo>
                <a:close/>
                <a:moveTo>
                  <a:pt x="271" y="572"/>
                </a:moveTo>
                <a:cubicBezTo>
                  <a:pt x="269" y="573"/>
                  <a:pt x="269" y="574"/>
                  <a:pt x="271" y="574"/>
                </a:cubicBezTo>
                <a:cubicBezTo>
                  <a:pt x="270" y="576"/>
                  <a:pt x="266" y="579"/>
                  <a:pt x="263" y="577"/>
                </a:cubicBezTo>
                <a:cubicBezTo>
                  <a:pt x="258" y="573"/>
                  <a:pt x="266" y="568"/>
                  <a:pt x="271" y="572"/>
                </a:cubicBezTo>
                <a:close/>
                <a:moveTo>
                  <a:pt x="264" y="612"/>
                </a:moveTo>
                <a:cubicBezTo>
                  <a:pt x="265" y="612"/>
                  <a:pt x="263" y="612"/>
                  <a:pt x="263" y="612"/>
                </a:cubicBezTo>
                <a:cubicBezTo>
                  <a:pt x="263" y="611"/>
                  <a:pt x="264" y="611"/>
                  <a:pt x="264" y="612"/>
                </a:cubicBezTo>
                <a:close/>
                <a:moveTo>
                  <a:pt x="266" y="632"/>
                </a:moveTo>
                <a:cubicBezTo>
                  <a:pt x="266" y="632"/>
                  <a:pt x="266" y="632"/>
                  <a:pt x="266" y="632"/>
                </a:cubicBezTo>
                <a:cubicBezTo>
                  <a:pt x="265" y="630"/>
                  <a:pt x="268" y="633"/>
                  <a:pt x="266" y="632"/>
                </a:cubicBezTo>
                <a:close/>
                <a:moveTo>
                  <a:pt x="276" y="663"/>
                </a:moveTo>
                <a:cubicBezTo>
                  <a:pt x="274" y="664"/>
                  <a:pt x="273" y="665"/>
                  <a:pt x="271" y="665"/>
                </a:cubicBezTo>
                <a:cubicBezTo>
                  <a:pt x="272" y="663"/>
                  <a:pt x="274" y="663"/>
                  <a:pt x="276" y="663"/>
                </a:cubicBezTo>
                <a:close/>
                <a:moveTo>
                  <a:pt x="270" y="486"/>
                </a:moveTo>
                <a:cubicBezTo>
                  <a:pt x="270" y="486"/>
                  <a:pt x="270" y="486"/>
                  <a:pt x="270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0" y="485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lose/>
                <a:moveTo>
                  <a:pt x="274" y="496"/>
                </a:moveTo>
                <a:cubicBezTo>
                  <a:pt x="274" y="499"/>
                  <a:pt x="269" y="498"/>
                  <a:pt x="269" y="496"/>
                </a:cubicBezTo>
                <a:cubicBezTo>
                  <a:pt x="269" y="496"/>
                  <a:pt x="274" y="494"/>
                  <a:pt x="274" y="496"/>
                </a:cubicBezTo>
                <a:close/>
                <a:moveTo>
                  <a:pt x="276" y="504"/>
                </a:moveTo>
                <a:cubicBezTo>
                  <a:pt x="274" y="506"/>
                  <a:pt x="271" y="506"/>
                  <a:pt x="269" y="507"/>
                </a:cubicBezTo>
                <a:cubicBezTo>
                  <a:pt x="270" y="506"/>
                  <a:pt x="274" y="504"/>
                  <a:pt x="276" y="504"/>
                </a:cubicBezTo>
                <a:close/>
                <a:moveTo>
                  <a:pt x="268" y="467"/>
                </a:moveTo>
                <a:cubicBezTo>
                  <a:pt x="268" y="468"/>
                  <a:pt x="268" y="468"/>
                  <a:pt x="267" y="468"/>
                </a:cubicBezTo>
                <a:cubicBezTo>
                  <a:pt x="267" y="468"/>
                  <a:pt x="268" y="467"/>
                  <a:pt x="268" y="467"/>
                </a:cubicBezTo>
                <a:close/>
                <a:moveTo>
                  <a:pt x="267" y="506"/>
                </a:moveTo>
                <a:cubicBezTo>
                  <a:pt x="268" y="506"/>
                  <a:pt x="267" y="507"/>
                  <a:pt x="267" y="507"/>
                </a:cubicBezTo>
                <a:cubicBezTo>
                  <a:pt x="266" y="506"/>
                  <a:pt x="267" y="506"/>
                  <a:pt x="267" y="506"/>
                </a:cubicBezTo>
                <a:close/>
                <a:moveTo>
                  <a:pt x="264" y="562"/>
                </a:moveTo>
                <a:cubicBezTo>
                  <a:pt x="265" y="562"/>
                  <a:pt x="262" y="562"/>
                  <a:pt x="262" y="562"/>
                </a:cubicBezTo>
                <a:cubicBezTo>
                  <a:pt x="262" y="562"/>
                  <a:pt x="264" y="561"/>
                  <a:pt x="264" y="562"/>
                </a:cubicBezTo>
                <a:close/>
                <a:moveTo>
                  <a:pt x="262" y="562"/>
                </a:moveTo>
                <a:cubicBezTo>
                  <a:pt x="261" y="563"/>
                  <a:pt x="260" y="561"/>
                  <a:pt x="262" y="562"/>
                </a:cubicBezTo>
                <a:close/>
                <a:moveTo>
                  <a:pt x="260" y="440"/>
                </a:moveTo>
                <a:cubicBezTo>
                  <a:pt x="261" y="440"/>
                  <a:pt x="260" y="441"/>
                  <a:pt x="260" y="441"/>
                </a:cubicBezTo>
                <a:cubicBezTo>
                  <a:pt x="257" y="443"/>
                  <a:pt x="259" y="439"/>
                  <a:pt x="260" y="440"/>
                </a:cubicBezTo>
                <a:close/>
                <a:moveTo>
                  <a:pt x="257" y="484"/>
                </a:moveTo>
                <a:cubicBezTo>
                  <a:pt x="257" y="484"/>
                  <a:pt x="257" y="483"/>
                  <a:pt x="257" y="483"/>
                </a:cubicBezTo>
                <a:cubicBezTo>
                  <a:pt x="257" y="484"/>
                  <a:pt x="257" y="484"/>
                  <a:pt x="257" y="484"/>
                </a:cubicBezTo>
                <a:cubicBezTo>
                  <a:pt x="257" y="484"/>
                  <a:pt x="257" y="484"/>
                  <a:pt x="257" y="484"/>
                </a:cubicBezTo>
                <a:close/>
                <a:moveTo>
                  <a:pt x="256" y="495"/>
                </a:moveTo>
                <a:cubicBezTo>
                  <a:pt x="255" y="496"/>
                  <a:pt x="255" y="496"/>
                  <a:pt x="254" y="495"/>
                </a:cubicBezTo>
                <a:cubicBezTo>
                  <a:pt x="254" y="494"/>
                  <a:pt x="257" y="494"/>
                  <a:pt x="256" y="495"/>
                </a:cubicBezTo>
                <a:close/>
                <a:moveTo>
                  <a:pt x="252" y="519"/>
                </a:moveTo>
                <a:cubicBezTo>
                  <a:pt x="252" y="519"/>
                  <a:pt x="252" y="520"/>
                  <a:pt x="252" y="520"/>
                </a:cubicBezTo>
                <a:cubicBezTo>
                  <a:pt x="251" y="519"/>
                  <a:pt x="252" y="518"/>
                  <a:pt x="252" y="519"/>
                </a:cubicBezTo>
                <a:close/>
                <a:moveTo>
                  <a:pt x="250" y="460"/>
                </a:moveTo>
                <a:cubicBezTo>
                  <a:pt x="251" y="459"/>
                  <a:pt x="251" y="460"/>
                  <a:pt x="251" y="461"/>
                </a:cubicBezTo>
                <a:cubicBezTo>
                  <a:pt x="250" y="462"/>
                  <a:pt x="249" y="460"/>
                  <a:pt x="250" y="460"/>
                </a:cubicBezTo>
                <a:close/>
                <a:moveTo>
                  <a:pt x="253" y="530"/>
                </a:moveTo>
                <a:cubicBezTo>
                  <a:pt x="254" y="528"/>
                  <a:pt x="259" y="522"/>
                  <a:pt x="261" y="522"/>
                </a:cubicBezTo>
                <a:cubicBezTo>
                  <a:pt x="264" y="521"/>
                  <a:pt x="260" y="524"/>
                  <a:pt x="259" y="524"/>
                </a:cubicBezTo>
                <a:cubicBezTo>
                  <a:pt x="257" y="526"/>
                  <a:pt x="255" y="529"/>
                  <a:pt x="253" y="531"/>
                </a:cubicBezTo>
                <a:cubicBezTo>
                  <a:pt x="253" y="531"/>
                  <a:pt x="253" y="531"/>
                  <a:pt x="253" y="531"/>
                </a:cubicBezTo>
                <a:cubicBezTo>
                  <a:pt x="253" y="531"/>
                  <a:pt x="253" y="532"/>
                  <a:pt x="252" y="532"/>
                </a:cubicBezTo>
                <a:cubicBezTo>
                  <a:pt x="252" y="532"/>
                  <a:pt x="252" y="532"/>
                  <a:pt x="252" y="532"/>
                </a:cubicBezTo>
                <a:cubicBezTo>
                  <a:pt x="251" y="533"/>
                  <a:pt x="251" y="533"/>
                  <a:pt x="250" y="534"/>
                </a:cubicBezTo>
                <a:cubicBezTo>
                  <a:pt x="250" y="534"/>
                  <a:pt x="249" y="533"/>
                  <a:pt x="249" y="533"/>
                </a:cubicBezTo>
                <a:cubicBezTo>
                  <a:pt x="249" y="533"/>
                  <a:pt x="251" y="531"/>
                  <a:pt x="253" y="530"/>
                </a:cubicBezTo>
                <a:close/>
                <a:moveTo>
                  <a:pt x="253" y="640"/>
                </a:moveTo>
                <a:cubicBezTo>
                  <a:pt x="253" y="638"/>
                  <a:pt x="257" y="638"/>
                  <a:pt x="258" y="639"/>
                </a:cubicBezTo>
                <a:cubicBezTo>
                  <a:pt x="259" y="641"/>
                  <a:pt x="254" y="642"/>
                  <a:pt x="253" y="640"/>
                </a:cubicBezTo>
                <a:close/>
                <a:moveTo>
                  <a:pt x="255" y="652"/>
                </a:moveTo>
                <a:cubicBezTo>
                  <a:pt x="256" y="653"/>
                  <a:pt x="254" y="653"/>
                  <a:pt x="254" y="652"/>
                </a:cubicBezTo>
                <a:cubicBezTo>
                  <a:pt x="253" y="651"/>
                  <a:pt x="255" y="651"/>
                  <a:pt x="255" y="652"/>
                </a:cubicBezTo>
                <a:close/>
                <a:moveTo>
                  <a:pt x="240" y="645"/>
                </a:moveTo>
                <a:cubicBezTo>
                  <a:pt x="238" y="644"/>
                  <a:pt x="237" y="642"/>
                  <a:pt x="239" y="640"/>
                </a:cubicBezTo>
                <a:cubicBezTo>
                  <a:pt x="240" y="639"/>
                  <a:pt x="242" y="639"/>
                  <a:pt x="244" y="639"/>
                </a:cubicBezTo>
                <a:cubicBezTo>
                  <a:pt x="245" y="639"/>
                  <a:pt x="247" y="639"/>
                  <a:pt x="247" y="640"/>
                </a:cubicBezTo>
                <a:cubicBezTo>
                  <a:pt x="247" y="640"/>
                  <a:pt x="247" y="640"/>
                  <a:pt x="246" y="640"/>
                </a:cubicBezTo>
                <a:cubicBezTo>
                  <a:pt x="246" y="640"/>
                  <a:pt x="247" y="640"/>
                  <a:pt x="247" y="640"/>
                </a:cubicBezTo>
                <a:cubicBezTo>
                  <a:pt x="247" y="640"/>
                  <a:pt x="247" y="641"/>
                  <a:pt x="247" y="641"/>
                </a:cubicBezTo>
                <a:cubicBezTo>
                  <a:pt x="248" y="642"/>
                  <a:pt x="242" y="646"/>
                  <a:pt x="240" y="645"/>
                </a:cubicBezTo>
                <a:close/>
                <a:moveTo>
                  <a:pt x="241" y="660"/>
                </a:moveTo>
                <a:cubicBezTo>
                  <a:pt x="240" y="661"/>
                  <a:pt x="239" y="660"/>
                  <a:pt x="240" y="659"/>
                </a:cubicBezTo>
                <a:cubicBezTo>
                  <a:pt x="240" y="659"/>
                  <a:pt x="242" y="659"/>
                  <a:pt x="241" y="660"/>
                </a:cubicBezTo>
                <a:close/>
                <a:moveTo>
                  <a:pt x="250" y="593"/>
                </a:moveTo>
                <a:cubicBezTo>
                  <a:pt x="247" y="595"/>
                  <a:pt x="244" y="594"/>
                  <a:pt x="240" y="596"/>
                </a:cubicBezTo>
                <a:cubicBezTo>
                  <a:pt x="243" y="594"/>
                  <a:pt x="247" y="594"/>
                  <a:pt x="250" y="593"/>
                </a:cubicBezTo>
                <a:close/>
                <a:moveTo>
                  <a:pt x="245" y="578"/>
                </a:moveTo>
                <a:cubicBezTo>
                  <a:pt x="246" y="579"/>
                  <a:pt x="245" y="579"/>
                  <a:pt x="245" y="579"/>
                </a:cubicBezTo>
                <a:cubicBezTo>
                  <a:pt x="243" y="581"/>
                  <a:pt x="244" y="577"/>
                  <a:pt x="245" y="578"/>
                </a:cubicBezTo>
                <a:close/>
                <a:moveTo>
                  <a:pt x="253" y="551"/>
                </a:moveTo>
                <a:cubicBezTo>
                  <a:pt x="254" y="550"/>
                  <a:pt x="255" y="549"/>
                  <a:pt x="257" y="549"/>
                </a:cubicBezTo>
                <a:cubicBezTo>
                  <a:pt x="256" y="550"/>
                  <a:pt x="254" y="551"/>
                  <a:pt x="253" y="551"/>
                </a:cubicBezTo>
                <a:close/>
                <a:moveTo>
                  <a:pt x="255" y="555"/>
                </a:moveTo>
                <a:cubicBezTo>
                  <a:pt x="253" y="557"/>
                  <a:pt x="254" y="552"/>
                  <a:pt x="256" y="554"/>
                </a:cubicBezTo>
                <a:cubicBezTo>
                  <a:pt x="257" y="554"/>
                  <a:pt x="256" y="555"/>
                  <a:pt x="255" y="555"/>
                </a:cubicBezTo>
                <a:close/>
                <a:moveTo>
                  <a:pt x="258" y="564"/>
                </a:moveTo>
                <a:cubicBezTo>
                  <a:pt x="258" y="566"/>
                  <a:pt x="252" y="567"/>
                  <a:pt x="252" y="564"/>
                </a:cubicBezTo>
                <a:cubicBezTo>
                  <a:pt x="252" y="561"/>
                  <a:pt x="258" y="562"/>
                  <a:pt x="258" y="564"/>
                </a:cubicBezTo>
                <a:close/>
                <a:moveTo>
                  <a:pt x="257" y="589"/>
                </a:moveTo>
                <a:cubicBezTo>
                  <a:pt x="256" y="590"/>
                  <a:pt x="258" y="588"/>
                  <a:pt x="257" y="589"/>
                </a:cubicBezTo>
                <a:close/>
                <a:moveTo>
                  <a:pt x="254" y="619"/>
                </a:moveTo>
                <a:cubicBezTo>
                  <a:pt x="254" y="619"/>
                  <a:pt x="253" y="619"/>
                  <a:pt x="254" y="619"/>
                </a:cubicBezTo>
                <a:close/>
                <a:moveTo>
                  <a:pt x="254" y="612"/>
                </a:moveTo>
                <a:cubicBezTo>
                  <a:pt x="254" y="612"/>
                  <a:pt x="254" y="613"/>
                  <a:pt x="254" y="613"/>
                </a:cubicBezTo>
                <a:cubicBezTo>
                  <a:pt x="253" y="613"/>
                  <a:pt x="254" y="612"/>
                  <a:pt x="254" y="612"/>
                </a:cubicBezTo>
                <a:close/>
                <a:moveTo>
                  <a:pt x="254" y="619"/>
                </a:moveTo>
                <a:cubicBezTo>
                  <a:pt x="257" y="616"/>
                  <a:pt x="255" y="621"/>
                  <a:pt x="254" y="620"/>
                </a:cubicBezTo>
                <a:cubicBezTo>
                  <a:pt x="254" y="620"/>
                  <a:pt x="254" y="619"/>
                  <a:pt x="254" y="619"/>
                </a:cubicBezTo>
                <a:close/>
                <a:moveTo>
                  <a:pt x="253" y="608"/>
                </a:moveTo>
                <a:cubicBezTo>
                  <a:pt x="250" y="609"/>
                  <a:pt x="255" y="604"/>
                  <a:pt x="257" y="605"/>
                </a:cubicBezTo>
                <a:cubicBezTo>
                  <a:pt x="256" y="605"/>
                  <a:pt x="254" y="607"/>
                  <a:pt x="253" y="608"/>
                </a:cubicBezTo>
                <a:close/>
                <a:moveTo>
                  <a:pt x="255" y="600"/>
                </a:moveTo>
                <a:cubicBezTo>
                  <a:pt x="254" y="602"/>
                  <a:pt x="252" y="601"/>
                  <a:pt x="255" y="600"/>
                </a:cubicBezTo>
                <a:close/>
                <a:moveTo>
                  <a:pt x="256" y="599"/>
                </a:moveTo>
                <a:cubicBezTo>
                  <a:pt x="255" y="599"/>
                  <a:pt x="256" y="598"/>
                  <a:pt x="256" y="599"/>
                </a:cubicBezTo>
                <a:cubicBezTo>
                  <a:pt x="256" y="599"/>
                  <a:pt x="256" y="599"/>
                  <a:pt x="256" y="599"/>
                </a:cubicBezTo>
                <a:close/>
                <a:moveTo>
                  <a:pt x="253" y="571"/>
                </a:moveTo>
                <a:cubicBezTo>
                  <a:pt x="253" y="571"/>
                  <a:pt x="252" y="572"/>
                  <a:pt x="252" y="571"/>
                </a:cubicBezTo>
                <a:cubicBezTo>
                  <a:pt x="251" y="570"/>
                  <a:pt x="253" y="570"/>
                  <a:pt x="253" y="571"/>
                </a:cubicBezTo>
                <a:close/>
                <a:moveTo>
                  <a:pt x="251" y="558"/>
                </a:moveTo>
                <a:cubicBezTo>
                  <a:pt x="251" y="557"/>
                  <a:pt x="253" y="556"/>
                  <a:pt x="253" y="557"/>
                </a:cubicBezTo>
                <a:cubicBezTo>
                  <a:pt x="253" y="558"/>
                  <a:pt x="252" y="558"/>
                  <a:pt x="251" y="558"/>
                </a:cubicBezTo>
                <a:close/>
                <a:moveTo>
                  <a:pt x="246" y="555"/>
                </a:moveTo>
                <a:cubicBezTo>
                  <a:pt x="247" y="553"/>
                  <a:pt x="251" y="552"/>
                  <a:pt x="253" y="551"/>
                </a:cubicBezTo>
                <a:cubicBezTo>
                  <a:pt x="251" y="553"/>
                  <a:pt x="248" y="554"/>
                  <a:pt x="246" y="555"/>
                </a:cubicBezTo>
                <a:close/>
                <a:moveTo>
                  <a:pt x="245" y="613"/>
                </a:moveTo>
                <a:cubicBezTo>
                  <a:pt x="244" y="615"/>
                  <a:pt x="242" y="615"/>
                  <a:pt x="240" y="615"/>
                </a:cubicBezTo>
                <a:cubicBezTo>
                  <a:pt x="241" y="614"/>
                  <a:pt x="243" y="613"/>
                  <a:pt x="244" y="613"/>
                </a:cubicBezTo>
                <a:cubicBezTo>
                  <a:pt x="244" y="613"/>
                  <a:pt x="243" y="613"/>
                  <a:pt x="244" y="612"/>
                </a:cubicBezTo>
                <a:cubicBezTo>
                  <a:pt x="244" y="611"/>
                  <a:pt x="247" y="612"/>
                  <a:pt x="247" y="612"/>
                </a:cubicBezTo>
                <a:cubicBezTo>
                  <a:pt x="247" y="613"/>
                  <a:pt x="246" y="613"/>
                  <a:pt x="245" y="613"/>
                </a:cubicBezTo>
                <a:cubicBezTo>
                  <a:pt x="245" y="613"/>
                  <a:pt x="245" y="613"/>
                  <a:pt x="245" y="613"/>
                </a:cubicBezTo>
                <a:close/>
                <a:moveTo>
                  <a:pt x="241" y="634"/>
                </a:moveTo>
                <a:cubicBezTo>
                  <a:pt x="241" y="634"/>
                  <a:pt x="241" y="634"/>
                  <a:pt x="242" y="634"/>
                </a:cubicBezTo>
                <a:cubicBezTo>
                  <a:pt x="242" y="634"/>
                  <a:pt x="242" y="635"/>
                  <a:pt x="241" y="634"/>
                </a:cubicBezTo>
                <a:close/>
                <a:moveTo>
                  <a:pt x="240" y="485"/>
                </a:moveTo>
                <a:cubicBezTo>
                  <a:pt x="240" y="485"/>
                  <a:pt x="241" y="484"/>
                  <a:pt x="241" y="484"/>
                </a:cubicBezTo>
                <a:cubicBezTo>
                  <a:pt x="241" y="485"/>
                  <a:pt x="240" y="485"/>
                  <a:pt x="240" y="485"/>
                </a:cubicBezTo>
                <a:close/>
                <a:moveTo>
                  <a:pt x="240" y="535"/>
                </a:moveTo>
                <a:cubicBezTo>
                  <a:pt x="240" y="535"/>
                  <a:pt x="240" y="535"/>
                  <a:pt x="239" y="535"/>
                </a:cubicBezTo>
                <a:cubicBezTo>
                  <a:pt x="239" y="535"/>
                  <a:pt x="240" y="534"/>
                  <a:pt x="240" y="535"/>
                </a:cubicBezTo>
                <a:close/>
                <a:moveTo>
                  <a:pt x="243" y="647"/>
                </a:moveTo>
                <a:cubicBezTo>
                  <a:pt x="243" y="646"/>
                  <a:pt x="244" y="647"/>
                  <a:pt x="243" y="647"/>
                </a:cubicBezTo>
                <a:close/>
                <a:moveTo>
                  <a:pt x="243" y="664"/>
                </a:moveTo>
                <a:cubicBezTo>
                  <a:pt x="242" y="665"/>
                  <a:pt x="242" y="663"/>
                  <a:pt x="243" y="664"/>
                </a:cubicBezTo>
                <a:close/>
                <a:moveTo>
                  <a:pt x="244" y="665"/>
                </a:moveTo>
                <a:cubicBezTo>
                  <a:pt x="244" y="666"/>
                  <a:pt x="243" y="666"/>
                  <a:pt x="243" y="666"/>
                </a:cubicBezTo>
                <a:cubicBezTo>
                  <a:pt x="242" y="665"/>
                  <a:pt x="244" y="665"/>
                  <a:pt x="244" y="665"/>
                </a:cubicBezTo>
                <a:close/>
                <a:moveTo>
                  <a:pt x="244" y="658"/>
                </a:moveTo>
                <a:cubicBezTo>
                  <a:pt x="244" y="656"/>
                  <a:pt x="249" y="657"/>
                  <a:pt x="247" y="659"/>
                </a:cubicBezTo>
                <a:cubicBezTo>
                  <a:pt x="247" y="660"/>
                  <a:pt x="244" y="659"/>
                  <a:pt x="244" y="658"/>
                </a:cubicBezTo>
                <a:close/>
                <a:moveTo>
                  <a:pt x="248" y="619"/>
                </a:moveTo>
                <a:cubicBezTo>
                  <a:pt x="246" y="620"/>
                  <a:pt x="246" y="618"/>
                  <a:pt x="248" y="619"/>
                </a:cubicBezTo>
                <a:close/>
                <a:moveTo>
                  <a:pt x="249" y="639"/>
                </a:moveTo>
                <a:cubicBezTo>
                  <a:pt x="250" y="640"/>
                  <a:pt x="249" y="640"/>
                  <a:pt x="249" y="640"/>
                </a:cubicBezTo>
                <a:cubicBezTo>
                  <a:pt x="247" y="642"/>
                  <a:pt x="248" y="638"/>
                  <a:pt x="249" y="639"/>
                </a:cubicBezTo>
                <a:close/>
                <a:moveTo>
                  <a:pt x="249" y="606"/>
                </a:moveTo>
                <a:cubicBezTo>
                  <a:pt x="248" y="605"/>
                  <a:pt x="251" y="605"/>
                  <a:pt x="251" y="605"/>
                </a:cubicBezTo>
                <a:cubicBezTo>
                  <a:pt x="251" y="606"/>
                  <a:pt x="249" y="606"/>
                  <a:pt x="249" y="606"/>
                </a:cubicBezTo>
                <a:close/>
                <a:moveTo>
                  <a:pt x="247" y="598"/>
                </a:moveTo>
                <a:cubicBezTo>
                  <a:pt x="247" y="598"/>
                  <a:pt x="248" y="596"/>
                  <a:pt x="248" y="596"/>
                </a:cubicBezTo>
                <a:cubicBezTo>
                  <a:pt x="249" y="595"/>
                  <a:pt x="250" y="594"/>
                  <a:pt x="251" y="596"/>
                </a:cubicBezTo>
                <a:cubicBezTo>
                  <a:pt x="251" y="596"/>
                  <a:pt x="251" y="596"/>
                  <a:pt x="250" y="597"/>
                </a:cubicBezTo>
                <a:cubicBezTo>
                  <a:pt x="251" y="597"/>
                  <a:pt x="253" y="598"/>
                  <a:pt x="253" y="598"/>
                </a:cubicBezTo>
                <a:cubicBezTo>
                  <a:pt x="254" y="602"/>
                  <a:pt x="247" y="599"/>
                  <a:pt x="247" y="598"/>
                </a:cubicBezTo>
                <a:close/>
                <a:moveTo>
                  <a:pt x="253" y="601"/>
                </a:moveTo>
                <a:cubicBezTo>
                  <a:pt x="253" y="602"/>
                  <a:pt x="252" y="602"/>
                  <a:pt x="251" y="602"/>
                </a:cubicBezTo>
                <a:cubicBezTo>
                  <a:pt x="251" y="602"/>
                  <a:pt x="252" y="601"/>
                  <a:pt x="253" y="601"/>
                </a:cubicBezTo>
                <a:close/>
                <a:moveTo>
                  <a:pt x="253" y="609"/>
                </a:moveTo>
                <a:cubicBezTo>
                  <a:pt x="254" y="609"/>
                  <a:pt x="252" y="610"/>
                  <a:pt x="252" y="610"/>
                </a:cubicBezTo>
                <a:cubicBezTo>
                  <a:pt x="251" y="609"/>
                  <a:pt x="253" y="608"/>
                  <a:pt x="253" y="609"/>
                </a:cubicBezTo>
                <a:close/>
                <a:moveTo>
                  <a:pt x="254" y="650"/>
                </a:moveTo>
                <a:cubicBezTo>
                  <a:pt x="253" y="652"/>
                  <a:pt x="252" y="649"/>
                  <a:pt x="254" y="650"/>
                </a:cubicBezTo>
                <a:close/>
                <a:moveTo>
                  <a:pt x="256" y="592"/>
                </a:moveTo>
                <a:cubicBezTo>
                  <a:pt x="255" y="590"/>
                  <a:pt x="259" y="590"/>
                  <a:pt x="260" y="591"/>
                </a:cubicBezTo>
                <a:cubicBezTo>
                  <a:pt x="260" y="592"/>
                  <a:pt x="256" y="594"/>
                  <a:pt x="256" y="592"/>
                </a:cubicBezTo>
                <a:close/>
                <a:moveTo>
                  <a:pt x="249" y="520"/>
                </a:moveTo>
                <a:cubicBezTo>
                  <a:pt x="249" y="520"/>
                  <a:pt x="249" y="521"/>
                  <a:pt x="249" y="521"/>
                </a:cubicBezTo>
                <a:cubicBezTo>
                  <a:pt x="248" y="522"/>
                  <a:pt x="248" y="519"/>
                  <a:pt x="249" y="520"/>
                </a:cubicBezTo>
                <a:close/>
                <a:moveTo>
                  <a:pt x="249" y="536"/>
                </a:moveTo>
                <a:cubicBezTo>
                  <a:pt x="249" y="538"/>
                  <a:pt x="244" y="540"/>
                  <a:pt x="244" y="536"/>
                </a:cubicBezTo>
                <a:cubicBezTo>
                  <a:pt x="244" y="535"/>
                  <a:pt x="249" y="534"/>
                  <a:pt x="249" y="536"/>
                </a:cubicBezTo>
                <a:close/>
                <a:moveTo>
                  <a:pt x="244" y="450"/>
                </a:moveTo>
                <a:cubicBezTo>
                  <a:pt x="244" y="450"/>
                  <a:pt x="244" y="450"/>
                  <a:pt x="244" y="450"/>
                </a:cubicBezTo>
                <a:cubicBezTo>
                  <a:pt x="243" y="450"/>
                  <a:pt x="244" y="449"/>
                  <a:pt x="244" y="450"/>
                </a:cubicBezTo>
                <a:close/>
                <a:moveTo>
                  <a:pt x="243" y="420"/>
                </a:moveTo>
                <a:cubicBezTo>
                  <a:pt x="243" y="420"/>
                  <a:pt x="243" y="420"/>
                  <a:pt x="243" y="420"/>
                </a:cubicBezTo>
                <a:cubicBezTo>
                  <a:pt x="244" y="420"/>
                  <a:pt x="244" y="420"/>
                  <a:pt x="243" y="420"/>
                </a:cubicBezTo>
                <a:close/>
                <a:moveTo>
                  <a:pt x="241" y="504"/>
                </a:moveTo>
                <a:cubicBezTo>
                  <a:pt x="240" y="502"/>
                  <a:pt x="243" y="504"/>
                  <a:pt x="241" y="504"/>
                </a:cubicBezTo>
                <a:close/>
                <a:moveTo>
                  <a:pt x="235" y="479"/>
                </a:moveTo>
                <a:cubicBezTo>
                  <a:pt x="236" y="477"/>
                  <a:pt x="240" y="471"/>
                  <a:pt x="242" y="470"/>
                </a:cubicBezTo>
                <a:cubicBezTo>
                  <a:pt x="240" y="473"/>
                  <a:pt x="238" y="476"/>
                  <a:pt x="235" y="479"/>
                </a:cubicBezTo>
                <a:close/>
                <a:moveTo>
                  <a:pt x="236" y="507"/>
                </a:moveTo>
                <a:cubicBezTo>
                  <a:pt x="236" y="508"/>
                  <a:pt x="235" y="508"/>
                  <a:pt x="235" y="507"/>
                </a:cubicBezTo>
                <a:cubicBezTo>
                  <a:pt x="235" y="506"/>
                  <a:pt x="236" y="507"/>
                  <a:pt x="236" y="507"/>
                </a:cubicBezTo>
                <a:close/>
                <a:moveTo>
                  <a:pt x="242" y="337"/>
                </a:moveTo>
                <a:cubicBezTo>
                  <a:pt x="240" y="339"/>
                  <a:pt x="238" y="341"/>
                  <a:pt x="235" y="343"/>
                </a:cubicBezTo>
                <a:cubicBezTo>
                  <a:pt x="237" y="341"/>
                  <a:pt x="240" y="338"/>
                  <a:pt x="242" y="337"/>
                </a:cubicBezTo>
                <a:close/>
                <a:moveTo>
                  <a:pt x="235" y="428"/>
                </a:moveTo>
                <a:cubicBezTo>
                  <a:pt x="235" y="427"/>
                  <a:pt x="234" y="429"/>
                  <a:pt x="235" y="428"/>
                </a:cubicBezTo>
                <a:close/>
                <a:moveTo>
                  <a:pt x="236" y="488"/>
                </a:moveTo>
                <a:cubicBezTo>
                  <a:pt x="233" y="491"/>
                  <a:pt x="233" y="494"/>
                  <a:pt x="230" y="496"/>
                </a:cubicBezTo>
                <a:cubicBezTo>
                  <a:pt x="231" y="494"/>
                  <a:pt x="233" y="489"/>
                  <a:pt x="236" y="488"/>
                </a:cubicBezTo>
                <a:close/>
                <a:moveTo>
                  <a:pt x="235" y="529"/>
                </a:moveTo>
                <a:cubicBezTo>
                  <a:pt x="235" y="529"/>
                  <a:pt x="234" y="529"/>
                  <a:pt x="234" y="529"/>
                </a:cubicBezTo>
                <a:cubicBezTo>
                  <a:pt x="234" y="528"/>
                  <a:pt x="235" y="529"/>
                  <a:pt x="235" y="529"/>
                </a:cubicBezTo>
                <a:close/>
                <a:moveTo>
                  <a:pt x="232" y="503"/>
                </a:moveTo>
                <a:cubicBezTo>
                  <a:pt x="232" y="504"/>
                  <a:pt x="231" y="504"/>
                  <a:pt x="231" y="504"/>
                </a:cubicBezTo>
                <a:cubicBezTo>
                  <a:pt x="231" y="503"/>
                  <a:pt x="232" y="502"/>
                  <a:pt x="232" y="503"/>
                </a:cubicBezTo>
                <a:close/>
                <a:moveTo>
                  <a:pt x="233" y="322"/>
                </a:moveTo>
                <a:cubicBezTo>
                  <a:pt x="234" y="320"/>
                  <a:pt x="232" y="323"/>
                  <a:pt x="233" y="322"/>
                </a:cubicBezTo>
                <a:close/>
                <a:moveTo>
                  <a:pt x="233" y="463"/>
                </a:moveTo>
                <a:cubicBezTo>
                  <a:pt x="232" y="465"/>
                  <a:pt x="234" y="462"/>
                  <a:pt x="233" y="463"/>
                </a:cubicBezTo>
                <a:close/>
                <a:moveTo>
                  <a:pt x="232" y="465"/>
                </a:moveTo>
                <a:cubicBezTo>
                  <a:pt x="233" y="467"/>
                  <a:pt x="229" y="469"/>
                  <a:pt x="228" y="466"/>
                </a:cubicBezTo>
                <a:cubicBezTo>
                  <a:pt x="228" y="464"/>
                  <a:pt x="231" y="463"/>
                  <a:pt x="232" y="465"/>
                </a:cubicBezTo>
                <a:close/>
                <a:moveTo>
                  <a:pt x="231" y="364"/>
                </a:moveTo>
                <a:cubicBezTo>
                  <a:pt x="232" y="365"/>
                  <a:pt x="230" y="367"/>
                  <a:pt x="230" y="367"/>
                </a:cubicBezTo>
                <a:cubicBezTo>
                  <a:pt x="226" y="369"/>
                  <a:pt x="229" y="363"/>
                  <a:pt x="231" y="364"/>
                </a:cubicBezTo>
                <a:close/>
                <a:moveTo>
                  <a:pt x="227" y="421"/>
                </a:moveTo>
                <a:cubicBezTo>
                  <a:pt x="228" y="421"/>
                  <a:pt x="227" y="422"/>
                  <a:pt x="227" y="422"/>
                </a:cubicBezTo>
                <a:cubicBezTo>
                  <a:pt x="225" y="423"/>
                  <a:pt x="226" y="420"/>
                  <a:pt x="227" y="421"/>
                </a:cubicBezTo>
                <a:close/>
                <a:moveTo>
                  <a:pt x="227" y="484"/>
                </a:moveTo>
                <a:cubicBezTo>
                  <a:pt x="225" y="484"/>
                  <a:pt x="228" y="482"/>
                  <a:pt x="227" y="483"/>
                </a:cubicBezTo>
                <a:cubicBezTo>
                  <a:pt x="227" y="483"/>
                  <a:pt x="227" y="484"/>
                  <a:pt x="227" y="484"/>
                </a:cubicBezTo>
                <a:close/>
                <a:moveTo>
                  <a:pt x="227" y="436"/>
                </a:moveTo>
                <a:cubicBezTo>
                  <a:pt x="226" y="435"/>
                  <a:pt x="228" y="435"/>
                  <a:pt x="227" y="436"/>
                </a:cubicBezTo>
                <a:close/>
                <a:moveTo>
                  <a:pt x="227" y="526"/>
                </a:moveTo>
                <a:cubicBezTo>
                  <a:pt x="226" y="527"/>
                  <a:pt x="225" y="526"/>
                  <a:pt x="227" y="526"/>
                </a:cubicBezTo>
                <a:close/>
                <a:moveTo>
                  <a:pt x="227" y="527"/>
                </a:moveTo>
                <a:cubicBezTo>
                  <a:pt x="228" y="528"/>
                  <a:pt x="226" y="529"/>
                  <a:pt x="226" y="529"/>
                </a:cubicBezTo>
                <a:cubicBezTo>
                  <a:pt x="225" y="529"/>
                  <a:pt x="227" y="527"/>
                  <a:pt x="227" y="527"/>
                </a:cubicBezTo>
                <a:close/>
                <a:moveTo>
                  <a:pt x="225" y="375"/>
                </a:moveTo>
                <a:cubicBezTo>
                  <a:pt x="227" y="376"/>
                  <a:pt x="225" y="376"/>
                  <a:pt x="225" y="375"/>
                </a:cubicBezTo>
                <a:close/>
                <a:moveTo>
                  <a:pt x="224" y="359"/>
                </a:moveTo>
                <a:cubicBezTo>
                  <a:pt x="224" y="360"/>
                  <a:pt x="223" y="360"/>
                  <a:pt x="223" y="361"/>
                </a:cubicBezTo>
                <a:cubicBezTo>
                  <a:pt x="222" y="360"/>
                  <a:pt x="224" y="360"/>
                  <a:pt x="224" y="359"/>
                </a:cubicBezTo>
                <a:close/>
                <a:moveTo>
                  <a:pt x="222" y="500"/>
                </a:moveTo>
                <a:cubicBezTo>
                  <a:pt x="222" y="499"/>
                  <a:pt x="223" y="499"/>
                  <a:pt x="224" y="499"/>
                </a:cubicBezTo>
                <a:cubicBezTo>
                  <a:pt x="224" y="500"/>
                  <a:pt x="222" y="501"/>
                  <a:pt x="222" y="500"/>
                </a:cubicBezTo>
                <a:close/>
                <a:moveTo>
                  <a:pt x="222" y="564"/>
                </a:moveTo>
                <a:cubicBezTo>
                  <a:pt x="222" y="565"/>
                  <a:pt x="219" y="565"/>
                  <a:pt x="219" y="564"/>
                </a:cubicBezTo>
                <a:cubicBezTo>
                  <a:pt x="219" y="562"/>
                  <a:pt x="222" y="563"/>
                  <a:pt x="222" y="564"/>
                </a:cubicBezTo>
                <a:close/>
                <a:moveTo>
                  <a:pt x="224" y="489"/>
                </a:moveTo>
                <a:cubicBezTo>
                  <a:pt x="224" y="489"/>
                  <a:pt x="223" y="490"/>
                  <a:pt x="223" y="490"/>
                </a:cubicBezTo>
                <a:cubicBezTo>
                  <a:pt x="222" y="489"/>
                  <a:pt x="225" y="488"/>
                  <a:pt x="224" y="489"/>
                </a:cubicBezTo>
                <a:close/>
                <a:moveTo>
                  <a:pt x="224" y="467"/>
                </a:moveTo>
                <a:cubicBezTo>
                  <a:pt x="224" y="470"/>
                  <a:pt x="222" y="469"/>
                  <a:pt x="224" y="467"/>
                </a:cubicBezTo>
                <a:close/>
                <a:moveTo>
                  <a:pt x="223" y="272"/>
                </a:moveTo>
                <a:cubicBezTo>
                  <a:pt x="223" y="273"/>
                  <a:pt x="222" y="274"/>
                  <a:pt x="221" y="275"/>
                </a:cubicBezTo>
                <a:cubicBezTo>
                  <a:pt x="221" y="273"/>
                  <a:pt x="222" y="273"/>
                  <a:pt x="223" y="272"/>
                </a:cubicBezTo>
                <a:close/>
                <a:moveTo>
                  <a:pt x="222" y="308"/>
                </a:moveTo>
                <a:cubicBezTo>
                  <a:pt x="222" y="310"/>
                  <a:pt x="220" y="312"/>
                  <a:pt x="218" y="313"/>
                </a:cubicBezTo>
                <a:cubicBezTo>
                  <a:pt x="220" y="312"/>
                  <a:pt x="220" y="310"/>
                  <a:pt x="222" y="308"/>
                </a:cubicBezTo>
                <a:close/>
                <a:moveTo>
                  <a:pt x="218" y="378"/>
                </a:moveTo>
                <a:cubicBezTo>
                  <a:pt x="218" y="376"/>
                  <a:pt x="220" y="378"/>
                  <a:pt x="218" y="378"/>
                </a:cubicBezTo>
                <a:close/>
                <a:moveTo>
                  <a:pt x="218" y="467"/>
                </a:moveTo>
                <a:cubicBezTo>
                  <a:pt x="218" y="467"/>
                  <a:pt x="217" y="467"/>
                  <a:pt x="217" y="466"/>
                </a:cubicBezTo>
                <a:cubicBezTo>
                  <a:pt x="217" y="466"/>
                  <a:pt x="218" y="466"/>
                  <a:pt x="218" y="467"/>
                </a:cubicBezTo>
                <a:close/>
                <a:moveTo>
                  <a:pt x="217" y="315"/>
                </a:move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lose/>
                <a:moveTo>
                  <a:pt x="218" y="382"/>
                </a:moveTo>
                <a:cubicBezTo>
                  <a:pt x="217" y="382"/>
                  <a:pt x="217" y="382"/>
                  <a:pt x="217" y="382"/>
                </a:cubicBezTo>
                <a:cubicBezTo>
                  <a:pt x="216" y="381"/>
                  <a:pt x="219" y="380"/>
                  <a:pt x="218" y="382"/>
                </a:cubicBezTo>
                <a:close/>
                <a:moveTo>
                  <a:pt x="212" y="322"/>
                </a:moveTo>
                <a:cubicBezTo>
                  <a:pt x="212" y="321"/>
                  <a:pt x="215" y="318"/>
                  <a:pt x="216" y="316"/>
                </a:cubicBezTo>
                <a:cubicBezTo>
                  <a:pt x="216" y="319"/>
                  <a:pt x="210" y="325"/>
                  <a:pt x="212" y="322"/>
                </a:cubicBezTo>
                <a:close/>
                <a:moveTo>
                  <a:pt x="215" y="450"/>
                </a:moveTo>
                <a:cubicBezTo>
                  <a:pt x="215" y="450"/>
                  <a:pt x="215" y="450"/>
                  <a:pt x="215" y="450"/>
                </a:cubicBezTo>
                <a:cubicBezTo>
                  <a:pt x="215" y="450"/>
                  <a:pt x="215" y="450"/>
                  <a:pt x="215" y="450"/>
                </a:cubicBezTo>
                <a:close/>
                <a:moveTo>
                  <a:pt x="214" y="449"/>
                </a:moveTo>
                <a:cubicBezTo>
                  <a:pt x="214" y="449"/>
                  <a:pt x="214" y="448"/>
                  <a:pt x="214" y="448"/>
                </a:cubicBezTo>
                <a:cubicBezTo>
                  <a:pt x="214" y="446"/>
                  <a:pt x="216" y="448"/>
                  <a:pt x="214" y="449"/>
                </a:cubicBezTo>
                <a:close/>
                <a:moveTo>
                  <a:pt x="214" y="524"/>
                </a:moveTo>
                <a:cubicBezTo>
                  <a:pt x="213" y="523"/>
                  <a:pt x="214" y="523"/>
                  <a:pt x="215" y="522"/>
                </a:cubicBezTo>
                <a:cubicBezTo>
                  <a:pt x="215" y="523"/>
                  <a:pt x="214" y="523"/>
                  <a:pt x="214" y="524"/>
                </a:cubicBezTo>
                <a:close/>
                <a:moveTo>
                  <a:pt x="212" y="508"/>
                </a:moveTo>
                <a:cubicBezTo>
                  <a:pt x="210" y="509"/>
                  <a:pt x="214" y="507"/>
                  <a:pt x="212" y="508"/>
                </a:cubicBezTo>
                <a:close/>
                <a:moveTo>
                  <a:pt x="202" y="518"/>
                </a:moveTo>
                <a:cubicBezTo>
                  <a:pt x="210" y="516"/>
                  <a:pt x="209" y="525"/>
                  <a:pt x="203" y="526"/>
                </a:cubicBezTo>
                <a:cubicBezTo>
                  <a:pt x="198" y="527"/>
                  <a:pt x="197" y="520"/>
                  <a:pt x="202" y="518"/>
                </a:cubicBezTo>
                <a:close/>
                <a:moveTo>
                  <a:pt x="201" y="548"/>
                </a:moveTo>
                <a:cubicBezTo>
                  <a:pt x="201" y="548"/>
                  <a:pt x="201" y="548"/>
                  <a:pt x="201" y="548"/>
                </a:cubicBezTo>
                <a:cubicBezTo>
                  <a:pt x="201" y="546"/>
                  <a:pt x="203" y="550"/>
                  <a:pt x="201" y="548"/>
                </a:cubicBezTo>
                <a:close/>
                <a:moveTo>
                  <a:pt x="199" y="549"/>
                </a:moveTo>
                <a:cubicBezTo>
                  <a:pt x="199" y="551"/>
                  <a:pt x="197" y="549"/>
                  <a:pt x="199" y="549"/>
                </a:cubicBezTo>
                <a:close/>
                <a:moveTo>
                  <a:pt x="200" y="494"/>
                </a:moveTo>
                <a:cubicBezTo>
                  <a:pt x="199" y="495"/>
                  <a:pt x="198" y="496"/>
                  <a:pt x="196" y="496"/>
                </a:cubicBezTo>
                <a:cubicBezTo>
                  <a:pt x="197" y="495"/>
                  <a:pt x="199" y="495"/>
                  <a:pt x="200" y="494"/>
                </a:cubicBezTo>
                <a:close/>
                <a:moveTo>
                  <a:pt x="202" y="420"/>
                </a:moveTo>
                <a:cubicBezTo>
                  <a:pt x="201" y="421"/>
                  <a:pt x="201" y="421"/>
                  <a:pt x="200" y="421"/>
                </a:cubicBezTo>
                <a:cubicBezTo>
                  <a:pt x="199" y="420"/>
                  <a:pt x="203" y="418"/>
                  <a:pt x="202" y="420"/>
                </a:cubicBezTo>
                <a:close/>
                <a:moveTo>
                  <a:pt x="203" y="493"/>
                </a:moveTo>
                <a:cubicBezTo>
                  <a:pt x="204" y="493"/>
                  <a:pt x="204" y="493"/>
                  <a:pt x="204" y="493"/>
                </a:cubicBezTo>
                <a:cubicBezTo>
                  <a:pt x="204" y="493"/>
                  <a:pt x="200" y="494"/>
                  <a:pt x="203" y="493"/>
                </a:cubicBezTo>
                <a:close/>
                <a:moveTo>
                  <a:pt x="206" y="456"/>
                </a:moveTo>
                <a:cubicBezTo>
                  <a:pt x="206" y="456"/>
                  <a:pt x="205" y="456"/>
                  <a:pt x="205" y="456"/>
                </a:cubicBezTo>
                <a:cubicBezTo>
                  <a:pt x="204" y="456"/>
                  <a:pt x="206" y="455"/>
                  <a:pt x="206" y="456"/>
                </a:cubicBezTo>
                <a:close/>
                <a:moveTo>
                  <a:pt x="206" y="475"/>
                </a:moveTo>
                <a:cubicBezTo>
                  <a:pt x="206" y="473"/>
                  <a:pt x="210" y="475"/>
                  <a:pt x="210" y="477"/>
                </a:cubicBezTo>
                <a:cubicBezTo>
                  <a:pt x="209" y="479"/>
                  <a:pt x="204" y="479"/>
                  <a:pt x="206" y="475"/>
                </a:cubicBezTo>
                <a:close/>
                <a:moveTo>
                  <a:pt x="208" y="439"/>
                </a:moveTo>
                <a:cubicBezTo>
                  <a:pt x="208" y="440"/>
                  <a:pt x="207" y="440"/>
                  <a:pt x="207" y="440"/>
                </a:cubicBezTo>
                <a:cubicBezTo>
                  <a:pt x="207" y="439"/>
                  <a:pt x="208" y="439"/>
                  <a:pt x="208" y="439"/>
                </a:cubicBezTo>
                <a:close/>
                <a:moveTo>
                  <a:pt x="208" y="405"/>
                </a:moveTo>
                <a:cubicBezTo>
                  <a:pt x="207" y="406"/>
                  <a:pt x="208" y="404"/>
                  <a:pt x="208" y="405"/>
                </a:cubicBezTo>
                <a:close/>
                <a:moveTo>
                  <a:pt x="209" y="467"/>
                </a:moveTo>
                <a:cubicBezTo>
                  <a:pt x="209" y="467"/>
                  <a:pt x="209" y="468"/>
                  <a:pt x="209" y="468"/>
                </a:cubicBezTo>
                <a:cubicBezTo>
                  <a:pt x="208" y="467"/>
                  <a:pt x="210" y="466"/>
                  <a:pt x="209" y="467"/>
                </a:cubicBezTo>
                <a:close/>
                <a:moveTo>
                  <a:pt x="210" y="509"/>
                </a:moveTo>
                <a:cubicBezTo>
                  <a:pt x="208" y="511"/>
                  <a:pt x="211" y="508"/>
                  <a:pt x="210" y="509"/>
                </a:cubicBezTo>
                <a:close/>
                <a:moveTo>
                  <a:pt x="210" y="444"/>
                </a:moveTo>
                <a:cubicBezTo>
                  <a:pt x="207" y="445"/>
                  <a:pt x="209" y="441"/>
                  <a:pt x="210" y="443"/>
                </a:cubicBezTo>
                <a:cubicBezTo>
                  <a:pt x="211" y="443"/>
                  <a:pt x="210" y="443"/>
                  <a:pt x="210" y="444"/>
                </a:cubicBezTo>
                <a:close/>
                <a:moveTo>
                  <a:pt x="210" y="185"/>
                </a:moveTo>
                <a:cubicBezTo>
                  <a:pt x="210" y="185"/>
                  <a:pt x="210" y="185"/>
                  <a:pt x="210" y="185"/>
                </a:cubicBezTo>
                <a:cubicBezTo>
                  <a:pt x="209" y="185"/>
                  <a:pt x="211" y="184"/>
                  <a:pt x="210" y="185"/>
                </a:cubicBezTo>
                <a:close/>
                <a:moveTo>
                  <a:pt x="210" y="203"/>
                </a:moveTo>
                <a:cubicBezTo>
                  <a:pt x="211" y="203"/>
                  <a:pt x="209" y="205"/>
                  <a:pt x="209" y="205"/>
                </a:cubicBezTo>
                <a:cubicBezTo>
                  <a:pt x="209" y="204"/>
                  <a:pt x="209" y="204"/>
                  <a:pt x="210" y="203"/>
                </a:cubicBezTo>
                <a:close/>
                <a:moveTo>
                  <a:pt x="210" y="371"/>
                </a:moveTo>
                <a:cubicBezTo>
                  <a:pt x="209" y="372"/>
                  <a:pt x="209" y="372"/>
                  <a:pt x="208" y="372"/>
                </a:cubicBezTo>
                <a:cubicBezTo>
                  <a:pt x="208" y="372"/>
                  <a:pt x="208" y="371"/>
                  <a:pt x="210" y="371"/>
                </a:cubicBezTo>
                <a:close/>
                <a:moveTo>
                  <a:pt x="208" y="181"/>
                </a:moveTo>
                <a:cubicBezTo>
                  <a:pt x="209" y="181"/>
                  <a:pt x="207" y="184"/>
                  <a:pt x="207" y="184"/>
                </a:cubicBezTo>
                <a:cubicBezTo>
                  <a:pt x="204" y="186"/>
                  <a:pt x="206" y="180"/>
                  <a:pt x="208" y="181"/>
                </a:cubicBezTo>
                <a:close/>
                <a:moveTo>
                  <a:pt x="207" y="374"/>
                </a:moveTo>
                <a:cubicBezTo>
                  <a:pt x="206" y="373"/>
                  <a:pt x="208" y="373"/>
                  <a:pt x="207" y="374"/>
                </a:cubicBezTo>
                <a:close/>
                <a:moveTo>
                  <a:pt x="207" y="387"/>
                </a:moveTo>
                <a:cubicBezTo>
                  <a:pt x="206" y="387"/>
                  <a:pt x="206" y="388"/>
                  <a:pt x="206" y="387"/>
                </a:cubicBezTo>
                <a:cubicBezTo>
                  <a:pt x="205" y="386"/>
                  <a:pt x="209" y="385"/>
                  <a:pt x="207" y="387"/>
                </a:cubicBezTo>
                <a:close/>
                <a:moveTo>
                  <a:pt x="204" y="211"/>
                </a:moveTo>
                <a:cubicBezTo>
                  <a:pt x="204" y="213"/>
                  <a:pt x="202" y="214"/>
                  <a:pt x="201" y="216"/>
                </a:cubicBezTo>
                <a:cubicBezTo>
                  <a:pt x="201" y="214"/>
                  <a:pt x="203" y="213"/>
                  <a:pt x="204" y="211"/>
                </a:cubicBezTo>
                <a:close/>
                <a:moveTo>
                  <a:pt x="202" y="326"/>
                </a:moveTo>
                <a:cubicBezTo>
                  <a:pt x="202" y="327"/>
                  <a:pt x="202" y="328"/>
                  <a:pt x="201" y="328"/>
                </a:cubicBezTo>
                <a:cubicBezTo>
                  <a:pt x="201" y="327"/>
                  <a:pt x="202" y="327"/>
                  <a:pt x="202" y="326"/>
                </a:cubicBezTo>
                <a:close/>
                <a:moveTo>
                  <a:pt x="205" y="387"/>
                </a:moveTo>
                <a:cubicBezTo>
                  <a:pt x="205" y="388"/>
                  <a:pt x="203" y="389"/>
                  <a:pt x="201" y="390"/>
                </a:cubicBezTo>
                <a:cubicBezTo>
                  <a:pt x="202" y="388"/>
                  <a:pt x="204" y="388"/>
                  <a:pt x="205" y="387"/>
                </a:cubicBezTo>
                <a:close/>
                <a:moveTo>
                  <a:pt x="196" y="218"/>
                </a:moveTo>
                <a:cubicBezTo>
                  <a:pt x="198" y="219"/>
                  <a:pt x="196" y="220"/>
                  <a:pt x="196" y="218"/>
                </a:cubicBezTo>
                <a:close/>
                <a:moveTo>
                  <a:pt x="196" y="249"/>
                </a:moveTo>
                <a:cubicBezTo>
                  <a:pt x="195" y="251"/>
                  <a:pt x="197" y="248"/>
                  <a:pt x="196" y="249"/>
                </a:cubicBezTo>
                <a:close/>
                <a:moveTo>
                  <a:pt x="198" y="349"/>
                </a:moveTo>
                <a:cubicBezTo>
                  <a:pt x="198" y="350"/>
                  <a:pt x="196" y="351"/>
                  <a:pt x="196" y="352"/>
                </a:cubicBezTo>
                <a:cubicBezTo>
                  <a:pt x="195" y="351"/>
                  <a:pt x="197" y="350"/>
                  <a:pt x="198" y="349"/>
                </a:cubicBezTo>
                <a:close/>
                <a:moveTo>
                  <a:pt x="196" y="296"/>
                </a:moveTo>
                <a:cubicBezTo>
                  <a:pt x="196" y="296"/>
                  <a:pt x="195" y="298"/>
                  <a:pt x="195" y="298"/>
                </a:cubicBezTo>
                <a:cubicBezTo>
                  <a:pt x="193" y="300"/>
                  <a:pt x="194" y="295"/>
                  <a:pt x="196" y="296"/>
                </a:cubicBezTo>
                <a:close/>
                <a:moveTo>
                  <a:pt x="194" y="353"/>
                </a:moveTo>
                <a:cubicBezTo>
                  <a:pt x="195" y="354"/>
                  <a:pt x="193" y="354"/>
                  <a:pt x="194" y="353"/>
                </a:cubicBezTo>
                <a:close/>
                <a:moveTo>
                  <a:pt x="192" y="213"/>
                </a:moveTo>
                <a:cubicBezTo>
                  <a:pt x="192" y="212"/>
                  <a:pt x="194" y="211"/>
                  <a:pt x="192" y="213"/>
                </a:cubicBezTo>
                <a:close/>
                <a:moveTo>
                  <a:pt x="193" y="252"/>
                </a:moveTo>
                <a:cubicBezTo>
                  <a:pt x="194" y="253"/>
                  <a:pt x="193" y="254"/>
                  <a:pt x="192" y="254"/>
                </a:cubicBezTo>
                <a:cubicBezTo>
                  <a:pt x="192" y="253"/>
                  <a:pt x="193" y="253"/>
                  <a:pt x="193" y="252"/>
                </a:cubicBezTo>
                <a:close/>
                <a:moveTo>
                  <a:pt x="193" y="354"/>
                </a:moveTo>
                <a:cubicBezTo>
                  <a:pt x="193" y="355"/>
                  <a:pt x="193" y="356"/>
                  <a:pt x="192" y="356"/>
                </a:cubicBezTo>
                <a:cubicBezTo>
                  <a:pt x="192" y="355"/>
                  <a:pt x="193" y="355"/>
                  <a:pt x="193" y="354"/>
                </a:cubicBezTo>
                <a:close/>
                <a:moveTo>
                  <a:pt x="192" y="305"/>
                </a:moveTo>
                <a:cubicBezTo>
                  <a:pt x="190" y="307"/>
                  <a:pt x="193" y="304"/>
                  <a:pt x="192" y="305"/>
                </a:cubicBezTo>
                <a:close/>
                <a:moveTo>
                  <a:pt x="188" y="397"/>
                </a:moveTo>
                <a:cubicBezTo>
                  <a:pt x="187" y="398"/>
                  <a:pt x="185" y="400"/>
                  <a:pt x="183" y="401"/>
                </a:cubicBezTo>
                <a:cubicBezTo>
                  <a:pt x="184" y="399"/>
                  <a:pt x="186" y="398"/>
                  <a:pt x="188" y="397"/>
                </a:cubicBezTo>
                <a:close/>
                <a:moveTo>
                  <a:pt x="184" y="384"/>
                </a:moveTo>
                <a:cubicBezTo>
                  <a:pt x="185" y="384"/>
                  <a:pt x="185" y="383"/>
                  <a:pt x="186" y="383"/>
                </a:cubicBezTo>
                <a:cubicBezTo>
                  <a:pt x="185" y="384"/>
                  <a:pt x="185" y="384"/>
                  <a:pt x="184" y="384"/>
                </a:cubicBezTo>
                <a:close/>
                <a:moveTo>
                  <a:pt x="184" y="243"/>
                </a:moveTo>
                <a:cubicBezTo>
                  <a:pt x="185" y="242"/>
                  <a:pt x="183" y="244"/>
                  <a:pt x="184" y="243"/>
                </a:cubicBezTo>
                <a:close/>
                <a:moveTo>
                  <a:pt x="182" y="186"/>
                </a:moveTo>
                <a:cubicBezTo>
                  <a:pt x="182" y="185"/>
                  <a:pt x="181" y="187"/>
                  <a:pt x="182" y="186"/>
                </a:cubicBezTo>
                <a:close/>
                <a:moveTo>
                  <a:pt x="184" y="243"/>
                </a:moveTo>
                <a:cubicBezTo>
                  <a:pt x="185" y="244"/>
                  <a:pt x="183" y="249"/>
                  <a:pt x="182" y="249"/>
                </a:cubicBezTo>
                <a:cubicBezTo>
                  <a:pt x="180" y="249"/>
                  <a:pt x="182" y="243"/>
                  <a:pt x="184" y="243"/>
                </a:cubicBezTo>
                <a:close/>
                <a:moveTo>
                  <a:pt x="177" y="208"/>
                </a:moveTo>
                <a:cubicBezTo>
                  <a:pt x="178" y="209"/>
                  <a:pt x="177" y="209"/>
                  <a:pt x="177" y="210"/>
                </a:cubicBezTo>
                <a:cubicBezTo>
                  <a:pt x="176" y="210"/>
                  <a:pt x="177" y="209"/>
                  <a:pt x="177" y="208"/>
                </a:cubicBezTo>
                <a:close/>
                <a:moveTo>
                  <a:pt x="182" y="322"/>
                </a:moveTo>
                <a:cubicBezTo>
                  <a:pt x="179" y="324"/>
                  <a:pt x="177" y="329"/>
                  <a:pt x="175" y="329"/>
                </a:cubicBezTo>
                <a:cubicBezTo>
                  <a:pt x="175" y="329"/>
                  <a:pt x="179" y="322"/>
                  <a:pt x="182" y="322"/>
                </a:cubicBezTo>
                <a:close/>
                <a:moveTo>
                  <a:pt x="180" y="403"/>
                </a:moveTo>
                <a:cubicBezTo>
                  <a:pt x="179" y="404"/>
                  <a:pt x="178" y="406"/>
                  <a:pt x="176" y="406"/>
                </a:cubicBezTo>
                <a:cubicBezTo>
                  <a:pt x="177" y="405"/>
                  <a:pt x="179" y="404"/>
                  <a:pt x="180" y="403"/>
                </a:cubicBezTo>
                <a:close/>
                <a:moveTo>
                  <a:pt x="178" y="383"/>
                </a:move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2"/>
                  <a:pt x="178" y="382"/>
                </a:cubicBezTo>
                <a:cubicBezTo>
                  <a:pt x="178" y="382"/>
                  <a:pt x="178" y="382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lose/>
                <a:moveTo>
                  <a:pt x="181" y="393"/>
                </a:moveTo>
                <a:cubicBezTo>
                  <a:pt x="181" y="393"/>
                  <a:pt x="180" y="395"/>
                  <a:pt x="180" y="395"/>
                </a:cubicBezTo>
                <a:cubicBezTo>
                  <a:pt x="178" y="397"/>
                  <a:pt x="179" y="392"/>
                  <a:pt x="181" y="393"/>
                </a:cubicBezTo>
                <a:close/>
                <a:moveTo>
                  <a:pt x="179" y="358"/>
                </a:moveTo>
                <a:cubicBezTo>
                  <a:pt x="179" y="358"/>
                  <a:pt x="180" y="359"/>
                  <a:pt x="180" y="359"/>
                </a:cubicBezTo>
                <a:cubicBezTo>
                  <a:pt x="180" y="360"/>
                  <a:pt x="178" y="359"/>
                  <a:pt x="179" y="358"/>
                </a:cubicBezTo>
                <a:close/>
                <a:moveTo>
                  <a:pt x="182" y="418"/>
                </a:moveTo>
                <a:cubicBezTo>
                  <a:pt x="183" y="416"/>
                  <a:pt x="187" y="412"/>
                  <a:pt x="190" y="410"/>
                </a:cubicBezTo>
                <a:cubicBezTo>
                  <a:pt x="190" y="410"/>
                  <a:pt x="190" y="408"/>
                  <a:pt x="191" y="409"/>
                </a:cubicBezTo>
                <a:cubicBezTo>
                  <a:pt x="192" y="410"/>
                  <a:pt x="189" y="414"/>
                  <a:pt x="189" y="414"/>
                </a:cubicBezTo>
                <a:cubicBezTo>
                  <a:pt x="188" y="415"/>
                  <a:pt x="186" y="415"/>
                  <a:pt x="184" y="417"/>
                </a:cubicBezTo>
                <a:cubicBezTo>
                  <a:pt x="180" y="419"/>
                  <a:pt x="178" y="424"/>
                  <a:pt x="174" y="426"/>
                </a:cubicBezTo>
                <a:cubicBezTo>
                  <a:pt x="174" y="422"/>
                  <a:pt x="180" y="421"/>
                  <a:pt x="182" y="418"/>
                </a:cubicBezTo>
                <a:close/>
                <a:moveTo>
                  <a:pt x="193" y="479"/>
                </a:moveTo>
                <a:cubicBezTo>
                  <a:pt x="192" y="481"/>
                  <a:pt x="192" y="479"/>
                  <a:pt x="193" y="479"/>
                </a:cubicBezTo>
                <a:close/>
                <a:moveTo>
                  <a:pt x="193" y="432"/>
                </a:moveTo>
                <a:cubicBezTo>
                  <a:pt x="194" y="432"/>
                  <a:pt x="193" y="433"/>
                  <a:pt x="193" y="432"/>
                </a:cubicBezTo>
                <a:cubicBezTo>
                  <a:pt x="192" y="432"/>
                  <a:pt x="193" y="432"/>
                  <a:pt x="193" y="432"/>
                </a:cubicBezTo>
                <a:close/>
                <a:moveTo>
                  <a:pt x="191" y="460"/>
                </a:moveTo>
                <a:cubicBezTo>
                  <a:pt x="192" y="458"/>
                  <a:pt x="193" y="460"/>
                  <a:pt x="191" y="460"/>
                </a:cubicBezTo>
                <a:close/>
                <a:moveTo>
                  <a:pt x="193" y="489"/>
                </a:moveTo>
                <a:cubicBezTo>
                  <a:pt x="193" y="490"/>
                  <a:pt x="192" y="491"/>
                  <a:pt x="191" y="491"/>
                </a:cubicBezTo>
                <a:cubicBezTo>
                  <a:pt x="189" y="492"/>
                  <a:pt x="191" y="487"/>
                  <a:pt x="193" y="489"/>
                </a:cubicBezTo>
                <a:close/>
                <a:moveTo>
                  <a:pt x="190" y="440"/>
                </a:moveTo>
                <a:cubicBezTo>
                  <a:pt x="189" y="439"/>
                  <a:pt x="191" y="438"/>
                  <a:pt x="191" y="439"/>
                </a:cubicBezTo>
                <a:cubicBezTo>
                  <a:pt x="191" y="439"/>
                  <a:pt x="190" y="440"/>
                  <a:pt x="190" y="440"/>
                </a:cubicBezTo>
                <a:close/>
                <a:moveTo>
                  <a:pt x="189" y="511"/>
                </a:moveTo>
                <a:cubicBezTo>
                  <a:pt x="189" y="511"/>
                  <a:pt x="189" y="512"/>
                  <a:pt x="188" y="511"/>
                </a:cubicBezTo>
                <a:cubicBezTo>
                  <a:pt x="188" y="511"/>
                  <a:pt x="189" y="510"/>
                  <a:pt x="189" y="511"/>
                </a:cubicBezTo>
                <a:close/>
                <a:moveTo>
                  <a:pt x="186" y="470"/>
                </a:moveTo>
                <a:cubicBezTo>
                  <a:pt x="185" y="469"/>
                  <a:pt x="188" y="469"/>
                  <a:pt x="188" y="470"/>
                </a:cubicBezTo>
                <a:cubicBezTo>
                  <a:pt x="189" y="471"/>
                  <a:pt x="186" y="472"/>
                  <a:pt x="186" y="470"/>
                </a:cubicBezTo>
                <a:close/>
                <a:moveTo>
                  <a:pt x="184" y="470"/>
                </a:moveTo>
                <a:cubicBezTo>
                  <a:pt x="185" y="471"/>
                  <a:pt x="184" y="472"/>
                  <a:pt x="183" y="472"/>
                </a:cubicBezTo>
                <a:cubicBezTo>
                  <a:pt x="180" y="474"/>
                  <a:pt x="182" y="469"/>
                  <a:pt x="184" y="470"/>
                </a:cubicBezTo>
                <a:close/>
                <a:moveTo>
                  <a:pt x="183" y="435"/>
                </a:moveTo>
                <a:cubicBezTo>
                  <a:pt x="183" y="434"/>
                  <a:pt x="182" y="436"/>
                  <a:pt x="183" y="435"/>
                </a:cubicBezTo>
                <a:close/>
                <a:moveTo>
                  <a:pt x="180" y="443"/>
                </a:moveTo>
                <a:cubicBezTo>
                  <a:pt x="180" y="443"/>
                  <a:pt x="179" y="443"/>
                  <a:pt x="179" y="443"/>
                </a:cubicBezTo>
                <a:cubicBezTo>
                  <a:pt x="178" y="445"/>
                  <a:pt x="180" y="440"/>
                  <a:pt x="180" y="443"/>
                </a:cubicBezTo>
                <a:close/>
                <a:moveTo>
                  <a:pt x="174" y="445"/>
                </a:moveTo>
                <a:cubicBezTo>
                  <a:pt x="173" y="446"/>
                  <a:pt x="174" y="444"/>
                  <a:pt x="174" y="445"/>
                </a:cubicBezTo>
                <a:close/>
                <a:moveTo>
                  <a:pt x="173" y="182"/>
                </a:moveTo>
                <a:cubicBezTo>
                  <a:pt x="172" y="182"/>
                  <a:pt x="174" y="180"/>
                  <a:pt x="173" y="182"/>
                </a:cubicBezTo>
                <a:close/>
                <a:moveTo>
                  <a:pt x="173" y="438"/>
                </a:moveTo>
                <a:cubicBezTo>
                  <a:pt x="174" y="437"/>
                  <a:pt x="172" y="440"/>
                  <a:pt x="173" y="438"/>
                </a:cubicBezTo>
                <a:close/>
                <a:moveTo>
                  <a:pt x="173" y="477"/>
                </a:moveTo>
                <a:cubicBezTo>
                  <a:pt x="172" y="478"/>
                  <a:pt x="172" y="478"/>
                  <a:pt x="170" y="478"/>
                </a:cubicBezTo>
                <a:cubicBezTo>
                  <a:pt x="171" y="478"/>
                  <a:pt x="171" y="477"/>
                  <a:pt x="173" y="477"/>
                </a:cubicBezTo>
                <a:close/>
                <a:moveTo>
                  <a:pt x="173" y="314"/>
                </a:move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lose/>
                <a:moveTo>
                  <a:pt x="171" y="307"/>
                </a:moveTo>
                <a:cubicBezTo>
                  <a:pt x="171" y="308"/>
                  <a:pt x="171" y="309"/>
                  <a:pt x="169" y="310"/>
                </a:cubicBezTo>
                <a:cubicBezTo>
                  <a:pt x="168" y="310"/>
                  <a:pt x="167" y="310"/>
                  <a:pt x="166" y="309"/>
                </a:cubicBezTo>
                <a:cubicBezTo>
                  <a:pt x="164" y="305"/>
                  <a:pt x="171" y="303"/>
                  <a:pt x="171" y="307"/>
                </a:cubicBezTo>
                <a:close/>
                <a:moveTo>
                  <a:pt x="168" y="501"/>
                </a:moveTo>
                <a:cubicBezTo>
                  <a:pt x="168" y="501"/>
                  <a:pt x="168" y="501"/>
                  <a:pt x="169" y="501"/>
                </a:cubicBezTo>
                <a:cubicBezTo>
                  <a:pt x="169" y="501"/>
                  <a:pt x="168" y="502"/>
                  <a:pt x="168" y="501"/>
                </a:cubicBezTo>
                <a:close/>
                <a:moveTo>
                  <a:pt x="166" y="342"/>
                </a:moveTo>
                <a:cubicBezTo>
                  <a:pt x="166" y="342"/>
                  <a:pt x="166" y="342"/>
                  <a:pt x="166" y="342"/>
                </a:cubicBezTo>
                <a:cubicBezTo>
                  <a:pt x="166" y="342"/>
                  <a:pt x="166" y="343"/>
                  <a:pt x="165" y="343"/>
                </a:cubicBezTo>
                <a:cubicBezTo>
                  <a:pt x="165" y="343"/>
                  <a:pt x="165" y="343"/>
                  <a:pt x="165" y="343"/>
                </a:cubicBezTo>
                <a:cubicBezTo>
                  <a:pt x="165" y="343"/>
                  <a:pt x="166" y="342"/>
                  <a:pt x="166" y="342"/>
                </a:cubicBezTo>
                <a:close/>
                <a:moveTo>
                  <a:pt x="165" y="307"/>
                </a:moveTo>
                <a:cubicBezTo>
                  <a:pt x="163" y="308"/>
                  <a:pt x="167" y="306"/>
                  <a:pt x="165" y="307"/>
                </a:cubicBezTo>
                <a:close/>
                <a:moveTo>
                  <a:pt x="164" y="344"/>
                </a:moveTo>
                <a:cubicBezTo>
                  <a:pt x="163" y="344"/>
                  <a:pt x="166" y="342"/>
                  <a:pt x="164" y="344"/>
                </a:cubicBezTo>
                <a:close/>
                <a:moveTo>
                  <a:pt x="165" y="345"/>
                </a:moveTo>
                <a:cubicBezTo>
                  <a:pt x="164" y="346"/>
                  <a:pt x="164" y="347"/>
                  <a:pt x="162" y="347"/>
                </a:cubicBezTo>
                <a:cubicBezTo>
                  <a:pt x="163" y="347"/>
                  <a:pt x="163" y="346"/>
                  <a:pt x="165" y="345"/>
                </a:cubicBezTo>
                <a:close/>
                <a:moveTo>
                  <a:pt x="161" y="347"/>
                </a:moveTo>
                <a:cubicBezTo>
                  <a:pt x="160" y="348"/>
                  <a:pt x="162" y="346"/>
                  <a:pt x="161" y="347"/>
                </a:cubicBezTo>
                <a:close/>
                <a:moveTo>
                  <a:pt x="160" y="350"/>
                </a:moveTo>
                <a:cubicBezTo>
                  <a:pt x="161" y="348"/>
                  <a:pt x="162" y="349"/>
                  <a:pt x="160" y="350"/>
                </a:cubicBezTo>
                <a:close/>
                <a:moveTo>
                  <a:pt x="168" y="370"/>
                </a:moveTo>
                <a:cubicBezTo>
                  <a:pt x="165" y="373"/>
                  <a:pt x="163" y="376"/>
                  <a:pt x="158" y="378"/>
                </a:cubicBezTo>
                <a:cubicBezTo>
                  <a:pt x="161" y="375"/>
                  <a:pt x="164" y="372"/>
                  <a:pt x="168" y="370"/>
                </a:cubicBezTo>
                <a:close/>
                <a:moveTo>
                  <a:pt x="167" y="392"/>
                </a:moveTo>
                <a:cubicBezTo>
                  <a:pt x="166" y="393"/>
                  <a:pt x="168" y="390"/>
                  <a:pt x="167" y="391"/>
                </a:cubicBezTo>
                <a:cubicBezTo>
                  <a:pt x="167" y="391"/>
                  <a:pt x="167" y="392"/>
                  <a:pt x="167" y="392"/>
                </a:cubicBezTo>
                <a:close/>
                <a:moveTo>
                  <a:pt x="168" y="424"/>
                </a:moveTo>
                <a:cubicBezTo>
                  <a:pt x="168" y="424"/>
                  <a:pt x="167" y="424"/>
                  <a:pt x="167" y="424"/>
                </a:cubicBezTo>
                <a:cubicBezTo>
                  <a:pt x="166" y="423"/>
                  <a:pt x="168" y="423"/>
                  <a:pt x="168" y="424"/>
                </a:cubicBezTo>
                <a:close/>
                <a:moveTo>
                  <a:pt x="161" y="457"/>
                </a:moveTo>
                <a:cubicBezTo>
                  <a:pt x="161" y="458"/>
                  <a:pt x="158" y="461"/>
                  <a:pt x="157" y="460"/>
                </a:cubicBezTo>
                <a:cubicBezTo>
                  <a:pt x="156" y="458"/>
                  <a:pt x="159" y="456"/>
                  <a:pt x="161" y="457"/>
                </a:cubicBezTo>
                <a:close/>
                <a:moveTo>
                  <a:pt x="157" y="477"/>
                </a:move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lose/>
                <a:moveTo>
                  <a:pt x="161" y="502"/>
                </a:moveTo>
                <a:cubicBezTo>
                  <a:pt x="161" y="503"/>
                  <a:pt x="159" y="504"/>
                  <a:pt x="159" y="503"/>
                </a:cubicBezTo>
                <a:cubicBezTo>
                  <a:pt x="159" y="502"/>
                  <a:pt x="160" y="501"/>
                  <a:pt x="161" y="502"/>
                </a:cubicBezTo>
                <a:close/>
                <a:moveTo>
                  <a:pt x="159" y="482"/>
                </a:moveTo>
                <a:cubicBezTo>
                  <a:pt x="158" y="483"/>
                  <a:pt x="160" y="481"/>
                  <a:pt x="159" y="482"/>
                </a:cubicBezTo>
                <a:close/>
                <a:moveTo>
                  <a:pt x="162" y="484"/>
                </a:moveTo>
                <a:cubicBezTo>
                  <a:pt x="163" y="484"/>
                  <a:pt x="162" y="485"/>
                  <a:pt x="161" y="485"/>
                </a:cubicBezTo>
                <a:cubicBezTo>
                  <a:pt x="160" y="486"/>
                  <a:pt x="161" y="483"/>
                  <a:pt x="162" y="484"/>
                </a:cubicBezTo>
                <a:close/>
                <a:moveTo>
                  <a:pt x="161" y="428"/>
                </a:moveTo>
                <a:cubicBezTo>
                  <a:pt x="162" y="429"/>
                  <a:pt x="160" y="432"/>
                  <a:pt x="160" y="432"/>
                </a:cubicBezTo>
                <a:cubicBezTo>
                  <a:pt x="155" y="435"/>
                  <a:pt x="158" y="426"/>
                  <a:pt x="161" y="428"/>
                </a:cubicBezTo>
                <a:close/>
                <a:moveTo>
                  <a:pt x="164" y="506"/>
                </a:moveTo>
                <a:cubicBezTo>
                  <a:pt x="165" y="507"/>
                  <a:pt x="160" y="510"/>
                  <a:pt x="159" y="510"/>
                </a:cubicBezTo>
                <a:cubicBezTo>
                  <a:pt x="154" y="511"/>
                  <a:pt x="163" y="505"/>
                  <a:pt x="164" y="506"/>
                </a:cubicBezTo>
                <a:close/>
                <a:moveTo>
                  <a:pt x="163" y="443"/>
                </a:moveTo>
                <a:cubicBezTo>
                  <a:pt x="163" y="443"/>
                  <a:pt x="163" y="444"/>
                  <a:pt x="162" y="444"/>
                </a:cubicBezTo>
                <a:cubicBezTo>
                  <a:pt x="162" y="443"/>
                  <a:pt x="163" y="443"/>
                  <a:pt x="163" y="443"/>
                </a:cubicBezTo>
                <a:close/>
                <a:moveTo>
                  <a:pt x="159" y="351"/>
                </a:moveTo>
                <a:cubicBezTo>
                  <a:pt x="159" y="351"/>
                  <a:pt x="159" y="350"/>
                  <a:pt x="160" y="350"/>
                </a:cubicBezTo>
                <a:cubicBezTo>
                  <a:pt x="160" y="350"/>
                  <a:pt x="160" y="351"/>
                  <a:pt x="159" y="351"/>
                </a:cubicBezTo>
                <a:close/>
                <a:moveTo>
                  <a:pt x="160" y="259"/>
                </a:moveTo>
                <a:cubicBezTo>
                  <a:pt x="160" y="259"/>
                  <a:pt x="160" y="260"/>
                  <a:pt x="160" y="260"/>
                </a:cubicBezTo>
                <a:cubicBezTo>
                  <a:pt x="159" y="261"/>
                  <a:pt x="158" y="258"/>
                  <a:pt x="160" y="259"/>
                </a:cubicBezTo>
                <a:close/>
                <a:moveTo>
                  <a:pt x="160" y="349"/>
                </a:moveTo>
                <a:cubicBezTo>
                  <a:pt x="159" y="350"/>
                  <a:pt x="159" y="350"/>
                  <a:pt x="158" y="351"/>
                </a:cubicBezTo>
                <a:cubicBezTo>
                  <a:pt x="158" y="350"/>
                  <a:pt x="159" y="349"/>
                  <a:pt x="160" y="349"/>
                </a:cubicBezTo>
                <a:close/>
                <a:moveTo>
                  <a:pt x="159" y="352"/>
                </a:moveTo>
                <a:cubicBezTo>
                  <a:pt x="158" y="352"/>
                  <a:pt x="158" y="353"/>
                  <a:pt x="157" y="353"/>
                </a:cubicBezTo>
                <a:cubicBezTo>
                  <a:pt x="157" y="352"/>
                  <a:pt x="158" y="352"/>
                  <a:pt x="159" y="352"/>
                </a:cubicBezTo>
                <a:close/>
                <a:moveTo>
                  <a:pt x="156" y="354"/>
                </a:moveTo>
                <a:cubicBezTo>
                  <a:pt x="155" y="355"/>
                  <a:pt x="158" y="353"/>
                  <a:pt x="156" y="354"/>
                </a:cubicBezTo>
                <a:close/>
                <a:moveTo>
                  <a:pt x="157" y="415"/>
                </a:moveTo>
                <a:cubicBezTo>
                  <a:pt x="158" y="416"/>
                  <a:pt x="157" y="417"/>
                  <a:pt x="156" y="417"/>
                </a:cubicBezTo>
                <a:cubicBezTo>
                  <a:pt x="156" y="416"/>
                  <a:pt x="157" y="416"/>
                  <a:pt x="157" y="415"/>
                </a:cubicBezTo>
                <a:close/>
                <a:moveTo>
                  <a:pt x="133" y="461"/>
                </a:moveTo>
                <a:cubicBezTo>
                  <a:pt x="137" y="457"/>
                  <a:pt x="142" y="453"/>
                  <a:pt x="148" y="450"/>
                </a:cubicBezTo>
                <a:cubicBezTo>
                  <a:pt x="143" y="454"/>
                  <a:pt x="138" y="457"/>
                  <a:pt x="133" y="461"/>
                </a:cubicBezTo>
                <a:close/>
                <a:moveTo>
                  <a:pt x="138" y="463"/>
                </a:moveTo>
                <a:cubicBezTo>
                  <a:pt x="138" y="464"/>
                  <a:pt x="137" y="464"/>
                  <a:pt x="137" y="463"/>
                </a:cubicBezTo>
                <a:cubicBezTo>
                  <a:pt x="136" y="462"/>
                  <a:pt x="138" y="463"/>
                  <a:pt x="138" y="463"/>
                </a:cubicBezTo>
                <a:close/>
                <a:moveTo>
                  <a:pt x="147" y="446"/>
                </a:moveTo>
                <a:cubicBezTo>
                  <a:pt x="146" y="446"/>
                  <a:pt x="145" y="447"/>
                  <a:pt x="145" y="447"/>
                </a:cubicBezTo>
                <a:cubicBezTo>
                  <a:pt x="144" y="446"/>
                  <a:pt x="152" y="439"/>
                  <a:pt x="153" y="440"/>
                </a:cubicBezTo>
                <a:cubicBezTo>
                  <a:pt x="154" y="440"/>
                  <a:pt x="147" y="446"/>
                  <a:pt x="147" y="446"/>
                </a:cubicBezTo>
                <a:close/>
                <a:moveTo>
                  <a:pt x="148" y="401"/>
                </a:moveTo>
                <a:cubicBezTo>
                  <a:pt x="151" y="399"/>
                  <a:pt x="146" y="402"/>
                  <a:pt x="148" y="401"/>
                </a:cubicBezTo>
                <a:close/>
                <a:moveTo>
                  <a:pt x="150" y="439"/>
                </a:moveTo>
                <a:cubicBezTo>
                  <a:pt x="150" y="440"/>
                  <a:pt x="149" y="440"/>
                  <a:pt x="148" y="440"/>
                </a:cubicBezTo>
                <a:cubicBezTo>
                  <a:pt x="148" y="439"/>
                  <a:pt x="149" y="439"/>
                  <a:pt x="150" y="439"/>
                </a:cubicBezTo>
                <a:close/>
                <a:moveTo>
                  <a:pt x="151" y="379"/>
                </a:moveTo>
                <a:cubicBezTo>
                  <a:pt x="150" y="380"/>
                  <a:pt x="151" y="378"/>
                  <a:pt x="151" y="379"/>
                </a:cubicBezTo>
                <a:close/>
                <a:moveTo>
                  <a:pt x="153" y="447"/>
                </a:moveTo>
                <a:cubicBezTo>
                  <a:pt x="153" y="449"/>
                  <a:pt x="150" y="449"/>
                  <a:pt x="149" y="450"/>
                </a:cubicBezTo>
                <a:cubicBezTo>
                  <a:pt x="149" y="449"/>
                  <a:pt x="152" y="448"/>
                  <a:pt x="153" y="447"/>
                </a:cubicBezTo>
                <a:close/>
                <a:moveTo>
                  <a:pt x="156" y="472"/>
                </a:moveTo>
                <a:cubicBezTo>
                  <a:pt x="155" y="473"/>
                  <a:pt x="152" y="475"/>
                  <a:pt x="151" y="475"/>
                </a:cubicBezTo>
                <a:cubicBezTo>
                  <a:pt x="151" y="475"/>
                  <a:pt x="154" y="471"/>
                  <a:pt x="156" y="472"/>
                </a:cubicBezTo>
                <a:close/>
                <a:moveTo>
                  <a:pt x="156" y="435"/>
                </a:moveTo>
                <a:cubicBezTo>
                  <a:pt x="156" y="435"/>
                  <a:pt x="156" y="435"/>
                  <a:pt x="157" y="435"/>
                </a:cubicBezTo>
                <a:cubicBezTo>
                  <a:pt x="156" y="435"/>
                  <a:pt x="156" y="435"/>
                  <a:pt x="156" y="435"/>
                </a:cubicBezTo>
                <a:cubicBezTo>
                  <a:pt x="156" y="435"/>
                  <a:pt x="156" y="435"/>
                  <a:pt x="156" y="435"/>
                </a:cubicBezTo>
                <a:close/>
                <a:moveTo>
                  <a:pt x="155" y="447"/>
                </a:moveTo>
                <a:cubicBezTo>
                  <a:pt x="155" y="447"/>
                  <a:pt x="154" y="448"/>
                  <a:pt x="154" y="447"/>
                </a:cubicBezTo>
                <a:cubicBezTo>
                  <a:pt x="153" y="446"/>
                  <a:pt x="156" y="445"/>
                  <a:pt x="155" y="447"/>
                </a:cubicBezTo>
                <a:close/>
                <a:moveTo>
                  <a:pt x="155" y="434"/>
                </a:moveTo>
                <a:cubicBezTo>
                  <a:pt x="155" y="434"/>
                  <a:pt x="154" y="435"/>
                  <a:pt x="154" y="435"/>
                </a:cubicBezTo>
                <a:cubicBezTo>
                  <a:pt x="152" y="437"/>
                  <a:pt x="153" y="432"/>
                  <a:pt x="155" y="434"/>
                </a:cubicBezTo>
                <a:close/>
                <a:moveTo>
                  <a:pt x="152" y="391"/>
                </a:moveTo>
                <a:cubicBezTo>
                  <a:pt x="153" y="391"/>
                  <a:pt x="152" y="392"/>
                  <a:pt x="152" y="392"/>
                </a:cubicBezTo>
                <a:cubicBezTo>
                  <a:pt x="151" y="393"/>
                  <a:pt x="151" y="390"/>
                  <a:pt x="152" y="391"/>
                </a:cubicBezTo>
                <a:close/>
                <a:moveTo>
                  <a:pt x="151" y="438"/>
                </a:moveTo>
                <a:cubicBezTo>
                  <a:pt x="152" y="436"/>
                  <a:pt x="154" y="438"/>
                  <a:pt x="151" y="438"/>
                </a:cubicBezTo>
                <a:close/>
                <a:moveTo>
                  <a:pt x="151" y="253"/>
                </a:moveTo>
                <a:cubicBezTo>
                  <a:pt x="151" y="253"/>
                  <a:pt x="151" y="254"/>
                  <a:pt x="150" y="254"/>
                </a:cubicBezTo>
                <a:cubicBezTo>
                  <a:pt x="150" y="253"/>
                  <a:pt x="151" y="252"/>
                  <a:pt x="151" y="253"/>
                </a:cubicBezTo>
                <a:close/>
                <a:moveTo>
                  <a:pt x="150" y="436"/>
                </a:moveTo>
                <a:cubicBezTo>
                  <a:pt x="151" y="436"/>
                  <a:pt x="150" y="437"/>
                  <a:pt x="150" y="437"/>
                </a:cubicBezTo>
                <a:cubicBezTo>
                  <a:pt x="149" y="439"/>
                  <a:pt x="149" y="435"/>
                  <a:pt x="150" y="436"/>
                </a:cubicBezTo>
                <a:close/>
                <a:moveTo>
                  <a:pt x="149" y="322"/>
                </a:moveTo>
                <a:cubicBezTo>
                  <a:pt x="149" y="323"/>
                  <a:pt x="148" y="322"/>
                  <a:pt x="149" y="322"/>
                </a:cubicBezTo>
                <a:close/>
                <a:moveTo>
                  <a:pt x="149" y="365"/>
                </a:moveTo>
                <a:cubicBezTo>
                  <a:pt x="149" y="366"/>
                  <a:pt x="147" y="366"/>
                  <a:pt x="148" y="365"/>
                </a:cubicBezTo>
                <a:cubicBezTo>
                  <a:pt x="148" y="365"/>
                  <a:pt x="149" y="365"/>
                  <a:pt x="149" y="365"/>
                </a:cubicBezTo>
                <a:close/>
                <a:moveTo>
                  <a:pt x="147" y="197"/>
                </a:moveTo>
                <a:cubicBezTo>
                  <a:pt x="146" y="198"/>
                  <a:pt x="146" y="198"/>
                  <a:pt x="145" y="197"/>
                </a:cubicBezTo>
                <a:cubicBezTo>
                  <a:pt x="142" y="194"/>
                  <a:pt x="150" y="194"/>
                  <a:pt x="147" y="197"/>
                </a:cubicBezTo>
                <a:close/>
                <a:moveTo>
                  <a:pt x="145" y="359"/>
                </a:moveTo>
                <a:cubicBezTo>
                  <a:pt x="147" y="359"/>
                  <a:pt x="145" y="362"/>
                  <a:pt x="145" y="362"/>
                </a:cubicBezTo>
                <a:cubicBezTo>
                  <a:pt x="143" y="363"/>
                  <a:pt x="143" y="358"/>
                  <a:pt x="145" y="359"/>
                </a:cubicBezTo>
                <a:close/>
                <a:moveTo>
                  <a:pt x="145" y="402"/>
                </a:moveTo>
                <a:cubicBezTo>
                  <a:pt x="145" y="404"/>
                  <a:pt x="144" y="404"/>
                  <a:pt x="143" y="405"/>
                </a:cubicBezTo>
                <a:cubicBezTo>
                  <a:pt x="143" y="404"/>
                  <a:pt x="144" y="403"/>
                  <a:pt x="145" y="402"/>
                </a:cubicBezTo>
                <a:close/>
                <a:moveTo>
                  <a:pt x="132" y="456"/>
                </a:moveTo>
                <a:cubicBezTo>
                  <a:pt x="134" y="453"/>
                  <a:pt x="139" y="450"/>
                  <a:pt x="143" y="448"/>
                </a:cubicBezTo>
                <a:cubicBezTo>
                  <a:pt x="139" y="451"/>
                  <a:pt x="137" y="455"/>
                  <a:pt x="132" y="456"/>
                </a:cubicBezTo>
                <a:close/>
                <a:moveTo>
                  <a:pt x="131" y="395"/>
                </a:moveTo>
                <a:cubicBezTo>
                  <a:pt x="132" y="394"/>
                  <a:pt x="132" y="393"/>
                  <a:pt x="134" y="393"/>
                </a:cubicBezTo>
                <a:cubicBezTo>
                  <a:pt x="134" y="393"/>
                  <a:pt x="132" y="395"/>
                  <a:pt x="131" y="395"/>
                </a:cubicBezTo>
                <a:close/>
                <a:moveTo>
                  <a:pt x="134" y="448"/>
                </a:moveTo>
                <a:cubicBezTo>
                  <a:pt x="134" y="448"/>
                  <a:pt x="133" y="449"/>
                  <a:pt x="133" y="448"/>
                </a:cubicBezTo>
                <a:cubicBezTo>
                  <a:pt x="132" y="447"/>
                  <a:pt x="135" y="447"/>
                  <a:pt x="134" y="448"/>
                </a:cubicBezTo>
                <a:close/>
                <a:moveTo>
                  <a:pt x="132" y="422"/>
                </a:moveTo>
                <a:cubicBezTo>
                  <a:pt x="131" y="421"/>
                  <a:pt x="131" y="420"/>
                  <a:pt x="132" y="420"/>
                </a:cubicBezTo>
                <a:cubicBezTo>
                  <a:pt x="133" y="420"/>
                  <a:pt x="134" y="421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5" y="424"/>
                  <a:pt x="130" y="426"/>
                  <a:pt x="130" y="423"/>
                </a:cubicBezTo>
                <a:cubicBezTo>
                  <a:pt x="130" y="422"/>
                  <a:pt x="131" y="422"/>
                  <a:pt x="132" y="422"/>
                </a:cubicBezTo>
                <a:close/>
                <a:moveTo>
                  <a:pt x="138" y="416"/>
                </a:moveTo>
                <a:cubicBezTo>
                  <a:pt x="137" y="417"/>
                  <a:pt x="139" y="415"/>
                  <a:pt x="138" y="416"/>
                </a:cubicBezTo>
                <a:close/>
                <a:moveTo>
                  <a:pt x="139" y="433"/>
                </a:moveTo>
                <a:cubicBezTo>
                  <a:pt x="139" y="432"/>
                  <a:pt x="139" y="432"/>
                  <a:pt x="139" y="432"/>
                </a:cubicBezTo>
                <a:cubicBezTo>
                  <a:pt x="139" y="430"/>
                  <a:pt x="141" y="433"/>
                  <a:pt x="139" y="433"/>
                </a:cubicBezTo>
                <a:close/>
                <a:moveTo>
                  <a:pt x="140" y="443"/>
                </a:moveTo>
                <a:cubicBezTo>
                  <a:pt x="140" y="443"/>
                  <a:pt x="141" y="443"/>
                  <a:pt x="141" y="444"/>
                </a:cubicBezTo>
                <a:cubicBezTo>
                  <a:pt x="141" y="444"/>
                  <a:pt x="140" y="444"/>
                  <a:pt x="140" y="443"/>
                </a:cubicBezTo>
                <a:close/>
                <a:moveTo>
                  <a:pt x="142" y="387"/>
                </a:moveTo>
                <a:cubicBezTo>
                  <a:pt x="141" y="387"/>
                  <a:pt x="144" y="386"/>
                  <a:pt x="142" y="387"/>
                </a:cubicBezTo>
                <a:close/>
                <a:moveTo>
                  <a:pt x="142" y="436"/>
                </a:moveTo>
                <a:cubicBezTo>
                  <a:pt x="143" y="436"/>
                  <a:pt x="142" y="439"/>
                  <a:pt x="141" y="437"/>
                </a:cubicBezTo>
                <a:cubicBezTo>
                  <a:pt x="141" y="436"/>
                  <a:pt x="142" y="436"/>
                  <a:pt x="142" y="436"/>
                </a:cubicBezTo>
                <a:close/>
                <a:moveTo>
                  <a:pt x="142" y="387"/>
                </a:moveTo>
                <a:cubicBezTo>
                  <a:pt x="141" y="389"/>
                  <a:pt x="139" y="391"/>
                  <a:pt x="137" y="392"/>
                </a:cubicBezTo>
                <a:cubicBezTo>
                  <a:pt x="137" y="392"/>
                  <a:pt x="139" y="388"/>
                  <a:pt x="142" y="387"/>
                </a:cubicBezTo>
                <a:close/>
                <a:moveTo>
                  <a:pt x="136" y="246"/>
                </a:moveTo>
                <a:cubicBezTo>
                  <a:pt x="135" y="246"/>
                  <a:pt x="137" y="245"/>
                  <a:pt x="136" y="246"/>
                </a:cubicBezTo>
                <a:close/>
                <a:moveTo>
                  <a:pt x="134" y="301"/>
                </a:moveTo>
                <a:cubicBezTo>
                  <a:pt x="134" y="298"/>
                  <a:pt x="136" y="300"/>
                  <a:pt x="134" y="301"/>
                </a:cubicBezTo>
                <a:close/>
                <a:moveTo>
                  <a:pt x="135" y="342"/>
                </a:moveTo>
                <a:cubicBezTo>
                  <a:pt x="135" y="343"/>
                  <a:pt x="134" y="344"/>
                  <a:pt x="134" y="345"/>
                </a:cubicBezTo>
                <a:cubicBezTo>
                  <a:pt x="133" y="344"/>
                  <a:pt x="134" y="342"/>
                  <a:pt x="135" y="342"/>
                </a:cubicBezTo>
                <a:close/>
                <a:moveTo>
                  <a:pt x="129" y="351"/>
                </a:moveTo>
                <a:cubicBezTo>
                  <a:pt x="129" y="350"/>
                  <a:pt x="132" y="348"/>
                  <a:pt x="132" y="346"/>
                </a:cubicBezTo>
                <a:cubicBezTo>
                  <a:pt x="133" y="347"/>
                  <a:pt x="130" y="349"/>
                  <a:pt x="129" y="351"/>
                </a:cubicBezTo>
                <a:close/>
                <a:moveTo>
                  <a:pt x="132" y="280"/>
                </a:moveTo>
                <a:cubicBezTo>
                  <a:pt x="132" y="282"/>
                  <a:pt x="130" y="281"/>
                  <a:pt x="132" y="280"/>
                </a:cubicBezTo>
                <a:close/>
                <a:moveTo>
                  <a:pt x="129" y="305"/>
                </a:moveTo>
                <a:cubicBezTo>
                  <a:pt x="131" y="306"/>
                  <a:pt x="130" y="307"/>
                  <a:pt x="129" y="307"/>
                </a:cubicBezTo>
                <a:cubicBezTo>
                  <a:pt x="127" y="309"/>
                  <a:pt x="128" y="305"/>
                  <a:pt x="129" y="305"/>
                </a:cubicBezTo>
                <a:close/>
                <a:moveTo>
                  <a:pt x="118" y="327"/>
                </a:moveTo>
                <a:cubicBezTo>
                  <a:pt x="118" y="327"/>
                  <a:pt x="117" y="327"/>
                  <a:pt x="117" y="326"/>
                </a:cubicBezTo>
                <a:cubicBezTo>
                  <a:pt x="117" y="326"/>
                  <a:pt x="119" y="326"/>
                  <a:pt x="118" y="327"/>
                </a:cubicBezTo>
                <a:close/>
                <a:moveTo>
                  <a:pt x="118" y="336"/>
                </a:moveTo>
                <a:cubicBezTo>
                  <a:pt x="118" y="336"/>
                  <a:pt x="118" y="337"/>
                  <a:pt x="117" y="336"/>
                </a:cubicBezTo>
                <a:cubicBezTo>
                  <a:pt x="117" y="336"/>
                  <a:pt x="119" y="334"/>
                  <a:pt x="118" y="336"/>
                </a:cubicBezTo>
                <a:close/>
                <a:moveTo>
                  <a:pt x="115" y="336"/>
                </a:moveTo>
                <a:cubicBezTo>
                  <a:pt x="116" y="335"/>
                  <a:pt x="114" y="337"/>
                  <a:pt x="115" y="336"/>
                </a:cubicBezTo>
                <a:close/>
                <a:moveTo>
                  <a:pt x="115" y="386"/>
                </a:moveTo>
                <a:cubicBezTo>
                  <a:pt x="116" y="387"/>
                  <a:pt x="115" y="387"/>
                  <a:pt x="114" y="387"/>
                </a:cubicBezTo>
                <a:cubicBezTo>
                  <a:pt x="114" y="388"/>
                  <a:pt x="115" y="386"/>
                  <a:pt x="115" y="386"/>
                </a:cubicBezTo>
                <a:close/>
                <a:moveTo>
                  <a:pt x="114" y="388"/>
                </a:moveTo>
                <a:cubicBezTo>
                  <a:pt x="114" y="389"/>
                  <a:pt x="113" y="389"/>
                  <a:pt x="113" y="390"/>
                </a:cubicBezTo>
                <a:cubicBezTo>
                  <a:pt x="112" y="390"/>
                  <a:pt x="113" y="388"/>
                  <a:pt x="114" y="388"/>
                </a:cubicBezTo>
                <a:close/>
                <a:moveTo>
                  <a:pt x="111" y="394"/>
                </a:moveTo>
                <a:cubicBezTo>
                  <a:pt x="110" y="393"/>
                  <a:pt x="112" y="392"/>
                  <a:pt x="112" y="391"/>
                </a:cubicBezTo>
                <a:cubicBezTo>
                  <a:pt x="113" y="392"/>
                  <a:pt x="111" y="393"/>
                  <a:pt x="111" y="394"/>
                </a:cubicBezTo>
                <a:close/>
                <a:moveTo>
                  <a:pt x="112" y="243"/>
                </a:moveTo>
                <a:cubicBezTo>
                  <a:pt x="111" y="245"/>
                  <a:pt x="111" y="241"/>
                  <a:pt x="112" y="242"/>
                </a:cubicBezTo>
                <a:cubicBezTo>
                  <a:pt x="113" y="242"/>
                  <a:pt x="112" y="243"/>
                  <a:pt x="112" y="243"/>
                </a:cubicBezTo>
                <a:close/>
                <a:moveTo>
                  <a:pt x="115" y="433"/>
                </a:moveTo>
                <a:cubicBezTo>
                  <a:pt x="111" y="434"/>
                  <a:pt x="116" y="429"/>
                  <a:pt x="116" y="432"/>
                </a:cubicBezTo>
                <a:cubicBezTo>
                  <a:pt x="116" y="432"/>
                  <a:pt x="115" y="433"/>
                  <a:pt x="115" y="433"/>
                </a:cubicBezTo>
                <a:close/>
                <a:moveTo>
                  <a:pt x="116" y="435"/>
                </a:moveTo>
                <a:cubicBezTo>
                  <a:pt x="115" y="436"/>
                  <a:pt x="117" y="434"/>
                  <a:pt x="116" y="435"/>
                </a:cubicBezTo>
                <a:close/>
                <a:moveTo>
                  <a:pt x="113" y="417"/>
                </a:moveTo>
                <a:cubicBezTo>
                  <a:pt x="115" y="413"/>
                  <a:pt x="118" y="409"/>
                  <a:pt x="121" y="406"/>
                </a:cubicBezTo>
                <a:cubicBezTo>
                  <a:pt x="119" y="410"/>
                  <a:pt x="117" y="414"/>
                  <a:pt x="113" y="417"/>
                </a:cubicBezTo>
                <a:close/>
                <a:moveTo>
                  <a:pt x="121" y="276"/>
                </a:moveTo>
                <a:cubicBezTo>
                  <a:pt x="121" y="276"/>
                  <a:pt x="121" y="277"/>
                  <a:pt x="121" y="277"/>
                </a:cubicBezTo>
                <a:cubicBezTo>
                  <a:pt x="120" y="276"/>
                  <a:pt x="122" y="275"/>
                  <a:pt x="121" y="276"/>
                </a:cubicBezTo>
                <a:close/>
                <a:moveTo>
                  <a:pt x="122" y="193"/>
                </a:moveTo>
                <a:cubicBezTo>
                  <a:pt x="123" y="193"/>
                  <a:pt x="123" y="195"/>
                  <a:pt x="122" y="195"/>
                </a:cubicBezTo>
                <a:cubicBezTo>
                  <a:pt x="121" y="197"/>
                  <a:pt x="121" y="192"/>
                  <a:pt x="122" y="193"/>
                </a:cubicBezTo>
                <a:close/>
                <a:moveTo>
                  <a:pt x="122" y="472"/>
                </a:moveTo>
                <a:cubicBezTo>
                  <a:pt x="122" y="473"/>
                  <a:pt x="121" y="474"/>
                  <a:pt x="120" y="475"/>
                </a:cubicBezTo>
                <a:cubicBezTo>
                  <a:pt x="120" y="474"/>
                  <a:pt x="121" y="472"/>
                  <a:pt x="122" y="472"/>
                </a:cubicBezTo>
                <a:close/>
                <a:moveTo>
                  <a:pt x="120" y="461"/>
                </a:moveTo>
                <a:cubicBezTo>
                  <a:pt x="121" y="463"/>
                  <a:pt x="118" y="467"/>
                  <a:pt x="116" y="466"/>
                </a:cubicBezTo>
                <a:cubicBezTo>
                  <a:pt x="115" y="464"/>
                  <a:pt x="119" y="462"/>
                  <a:pt x="120" y="461"/>
                </a:cubicBezTo>
                <a:close/>
                <a:moveTo>
                  <a:pt x="111" y="479"/>
                </a:moveTo>
                <a:cubicBezTo>
                  <a:pt x="110" y="481"/>
                  <a:pt x="109" y="480"/>
                  <a:pt x="111" y="479"/>
                </a:cubicBezTo>
                <a:close/>
                <a:moveTo>
                  <a:pt x="110" y="496"/>
                </a:moveTo>
                <a:cubicBezTo>
                  <a:pt x="111" y="495"/>
                  <a:pt x="109" y="497"/>
                  <a:pt x="110" y="496"/>
                </a:cubicBezTo>
                <a:close/>
                <a:moveTo>
                  <a:pt x="107" y="477"/>
                </a:moveTo>
                <a:cubicBezTo>
                  <a:pt x="107" y="476"/>
                  <a:pt x="106" y="478"/>
                  <a:pt x="107" y="477"/>
                </a:cubicBezTo>
                <a:close/>
                <a:moveTo>
                  <a:pt x="109" y="509"/>
                </a:moveTo>
                <a:cubicBezTo>
                  <a:pt x="108" y="510"/>
                  <a:pt x="107" y="509"/>
                  <a:pt x="106" y="508"/>
                </a:cubicBezTo>
                <a:cubicBezTo>
                  <a:pt x="104" y="505"/>
                  <a:pt x="110" y="501"/>
                  <a:pt x="111" y="503"/>
                </a:cubicBezTo>
                <a:cubicBezTo>
                  <a:pt x="114" y="504"/>
                  <a:pt x="111" y="509"/>
                  <a:pt x="109" y="509"/>
                </a:cubicBezTo>
                <a:close/>
                <a:moveTo>
                  <a:pt x="115" y="501"/>
                </a:moveTo>
                <a:cubicBezTo>
                  <a:pt x="115" y="499"/>
                  <a:pt x="117" y="501"/>
                  <a:pt x="115" y="501"/>
                </a:cubicBezTo>
                <a:close/>
                <a:moveTo>
                  <a:pt x="115" y="498"/>
                </a:moveTo>
                <a:cubicBezTo>
                  <a:pt x="115" y="498"/>
                  <a:pt x="115" y="498"/>
                  <a:pt x="115" y="498"/>
                </a:cubicBezTo>
                <a:cubicBezTo>
                  <a:pt x="115" y="499"/>
                  <a:pt x="115" y="499"/>
                  <a:pt x="115" y="499"/>
                </a:cubicBezTo>
                <a:cubicBezTo>
                  <a:pt x="114" y="500"/>
                  <a:pt x="114" y="500"/>
                  <a:pt x="114" y="501"/>
                </a:cubicBezTo>
                <a:cubicBezTo>
                  <a:pt x="114" y="501"/>
                  <a:pt x="114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1"/>
                  <a:pt x="113" y="501"/>
                </a:cubicBezTo>
                <a:cubicBezTo>
                  <a:pt x="114" y="499"/>
                  <a:pt x="115" y="496"/>
                  <a:pt x="116" y="494"/>
                </a:cubicBezTo>
                <a:cubicBezTo>
                  <a:pt x="116" y="495"/>
                  <a:pt x="116" y="497"/>
                  <a:pt x="115" y="498"/>
                </a:cubicBezTo>
                <a:close/>
                <a:moveTo>
                  <a:pt x="115" y="482"/>
                </a:moveTo>
                <a:cubicBezTo>
                  <a:pt x="116" y="481"/>
                  <a:pt x="118" y="481"/>
                  <a:pt x="120" y="480"/>
                </a:cubicBezTo>
                <a:cubicBezTo>
                  <a:pt x="119" y="482"/>
                  <a:pt x="117" y="482"/>
                  <a:pt x="115" y="482"/>
                </a:cubicBezTo>
                <a:close/>
                <a:moveTo>
                  <a:pt x="121" y="500"/>
                </a:moveTo>
                <a:cubicBezTo>
                  <a:pt x="122" y="501"/>
                  <a:pt x="121" y="503"/>
                  <a:pt x="119" y="503"/>
                </a:cubicBezTo>
                <a:cubicBezTo>
                  <a:pt x="117" y="502"/>
                  <a:pt x="119" y="499"/>
                  <a:pt x="121" y="500"/>
                </a:cubicBezTo>
                <a:cubicBezTo>
                  <a:pt x="119" y="498"/>
                  <a:pt x="121" y="493"/>
                  <a:pt x="124" y="494"/>
                </a:cubicBezTo>
                <a:cubicBezTo>
                  <a:pt x="128" y="495"/>
                  <a:pt x="124" y="503"/>
                  <a:pt x="121" y="500"/>
                </a:cubicBezTo>
                <a:close/>
                <a:moveTo>
                  <a:pt x="123" y="425"/>
                </a:moveTo>
                <a:cubicBezTo>
                  <a:pt x="123" y="425"/>
                  <a:pt x="123" y="424"/>
                  <a:pt x="124" y="424"/>
                </a:cubicBezTo>
                <a:cubicBezTo>
                  <a:pt x="124" y="424"/>
                  <a:pt x="123" y="425"/>
                  <a:pt x="123" y="425"/>
                </a:cubicBezTo>
                <a:close/>
                <a:moveTo>
                  <a:pt x="123" y="474"/>
                </a:moveTo>
                <a:cubicBezTo>
                  <a:pt x="123" y="472"/>
                  <a:pt x="125" y="474"/>
                  <a:pt x="123" y="474"/>
                </a:cubicBezTo>
                <a:close/>
                <a:moveTo>
                  <a:pt x="123" y="471"/>
                </a:moveTo>
                <a:cubicBezTo>
                  <a:pt x="125" y="469"/>
                  <a:pt x="122" y="472"/>
                  <a:pt x="123" y="471"/>
                </a:cubicBezTo>
                <a:close/>
                <a:moveTo>
                  <a:pt x="126" y="472"/>
                </a:moveTo>
                <a:cubicBezTo>
                  <a:pt x="126" y="472"/>
                  <a:pt x="126" y="472"/>
                  <a:pt x="126" y="472"/>
                </a:cubicBezTo>
                <a:cubicBezTo>
                  <a:pt x="125" y="472"/>
                  <a:pt x="125" y="473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lose/>
                <a:moveTo>
                  <a:pt x="127" y="431"/>
                </a:moveTo>
                <a:cubicBezTo>
                  <a:pt x="127" y="431"/>
                  <a:pt x="128" y="431"/>
                  <a:pt x="127" y="432"/>
                </a:cubicBezTo>
                <a:cubicBezTo>
                  <a:pt x="127" y="433"/>
                  <a:pt x="126" y="431"/>
                  <a:pt x="127" y="431"/>
                </a:cubicBezTo>
                <a:close/>
                <a:moveTo>
                  <a:pt x="127" y="501"/>
                </a:moveTo>
                <a:cubicBezTo>
                  <a:pt x="127" y="500"/>
                  <a:pt x="127" y="500"/>
                  <a:pt x="127" y="500"/>
                </a:cubicBezTo>
                <a:cubicBezTo>
                  <a:pt x="127" y="498"/>
                  <a:pt x="129" y="501"/>
                  <a:pt x="127" y="501"/>
                </a:cubicBezTo>
                <a:close/>
                <a:moveTo>
                  <a:pt x="128" y="501"/>
                </a:moveTo>
                <a:cubicBezTo>
                  <a:pt x="127" y="502"/>
                  <a:pt x="128" y="499"/>
                  <a:pt x="129" y="500"/>
                </a:cubicBezTo>
                <a:cubicBezTo>
                  <a:pt x="130" y="501"/>
                  <a:pt x="129" y="501"/>
                  <a:pt x="128" y="501"/>
                </a:cubicBezTo>
                <a:close/>
                <a:moveTo>
                  <a:pt x="128" y="456"/>
                </a:moveTo>
                <a:cubicBezTo>
                  <a:pt x="129" y="455"/>
                  <a:pt x="127" y="457"/>
                  <a:pt x="128" y="456"/>
                </a:cubicBezTo>
                <a:close/>
                <a:moveTo>
                  <a:pt x="125" y="401"/>
                </a:moveTo>
                <a:cubicBezTo>
                  <a:pt x="125" y="401"/>
                  <a:pt x="122" y="406"/>
                  <a:pt x="123" y="403"/>
                </a:cubicBezTo>
                <a:cubicBezTo>
                  <a:pt x="123" y="401"/>
                  <a:pt x="128" y="398"/>
                  <a:pt x="130" y="396"/>
                </a:cubicBezTo>
                <a:cubicBezTo>
                  <a:pt x="129" y="398"/>
                  <a:pt x="127" y="399"/>
                  <a:pt x="125" y="401"/>
                </a:cubicBezTo>
                <a:close/>
                <a:moveTo>
                  <a:pt x="131" y="424"/>
                </a:moveTo>
                <a:cubicBezTo>
                  <a:pt x="131" y="424"/>
                  <a:pt x="131" y="425"/>
                  <a:pt x="130" y="426"/>
                </a:cubicBezTo>
                <a:cubicBezTo>
                  <a:pt x="130" y="426"/>
                  <a:pt x="130" y="424"/>
                  <a:pt x="131" y="424"/>
                </a:cubicBezTo>
                <a:close/>
                <a:moveTo>
                  <a:pt x="131" y="503"/>
                </a:moveTo>
                <a:cubicBezTo>
                  <a:pt x="129" y="502"/>
                  <a:pt x="134" y="500"/>
                  <a:pt x="132" y="503"/>
                </a:cubicBezTo>
                <a:cubicBezTo>
                  <a:pt x="132" y="503"/>
                  <a:pt x="131" y="504"/>
                  <a:pt x="131" y="503"/>
                </a:cubicBezTo>
                <a:close/>
                <a:moveTo>
                  <a:pt x="132" y="505"/>
                </a:moveTo>
                <a:cubicBezTo>
                  <a:pt x="132" y="506"/>
                  <a:pt x="133" y="504"/>
                  <a:pt x="132" y="505"/>
                </a:cubicBezTo>
                <a:close/>
                <a:moveTo>
                  <a:pt x="132" y="478"/>
                </a:moveTo>
                <a:cubicBezTo>
                  <a:pt x="130" y="480"/>
                  <a:pt x="130" y="474"/>
                  <a:pt x="132" y="475"/>
                </a:cubicBezTo>
                <a:cubicBezTo>
                  <a:pt x="134" y="476"/>
                  <a:pt x="133" y="478"/>
                  <a:pt x="132" y="478"/>
                </a:cubicBezTo>
                <a:close/>
                <a:moveTo>
                  <a:pt x="138" y="496"/>
                </a:moveTo>
                <a:cubicBezTo>
                  <a:pt x="136" y="498"/>
                  <a:pt x="135" y="493"/>
                  <a:pt x="137" y="494"/>
                </a:cubicBezTo>
                <a:cubicBezTo>
                  <a:pt x="138" y="494"/>
                  <a:pt x="138" y="496"/>
                  <a:pt x="138" y="496"/>
                </a:cubicBezTo>
                <a:close/>
                <a:moveTo>
                  <a:pt x="140" y="501"/>
                </a:moveTo>
                <a:cubicBezTo>
                  <a:pt x="141" y="500"/>
                  <a:pt x="141" y="502"/>
                  <a:pt x="140" y="501"/>
                </a:cubicBezTo>
                <a:close/>
                <a:moveTo>
                  <a:pt x="139" y="469"/>
                </a:moveTo>
                <a:cubicBezTo>
                  <a:pt x="138" y="471"/>
                  <a:pt x="136" y="474"/>
                  <a:pt x="135" y="475"/>
                </a:cubicBezTo>
                <a:cubicBezTo>
                  <a:pt x="130" y="476"/>
                  <a:pt x="139" y="468"/>
                  <a:pt x="141" y="467"/>
                </a:cubicBezTo>
                <a:cubicBezTo>
                  <a:pt x="138" y="469"/>
                  <a:pt x="141" y="465"/>
                  <a:pt x="142" y="466"/>
                </a:cubicBezTo>
                <a:cubicBezTo>
                  <a:pt x="143" y="467"/>
                  <a:pt x="140" y="469"/>
                  <a:pt x="139" y="469"/>
                </a:cubicBezTo>
                <a:close/>
                <a:moveTo>
                  <a:pt x="143" y="510"/>
                </a:moveTo>
                <a:cubicBezTo>
                  <a:pt x="142" y="510"/>
                  <a:pt x="142" y="511"/>
                  <a:pt x="142" y="511"/>
                </a:cubicBezTo>
                <a:cubicBezTo>
                  <a:pt x="143" y="510"/>
                  <a:pt x="143" y="509"/>
                  <a:pt x="143" y="510"/>
                </a:cubicBezTo>
                <a:close/>
                <a:moveTo>
                  <a:pt x="143" y="484"/>
                </a:moveTo>
                <a:cubicBezTo>
                  <a:pt x="143" y="484"/>
                  <a:pt x="144" y="483"/>
                  <a:pt x="144" y="483"/>
                </a:cubicBezTo>
                <a:cubicBezTo>
                  <a:pt x="144" y="483"/>
                  <a:pt x="144" y="484"/>
                  <a:pt x="143" y="484"/>
                </a:cubicBezTo>
                <a:close/>
                <a:moveTo>
                  <a:pt x="144" y="494"/>
                </a:moveTo>
                <a:cubicBezTo>
                  <a:pt x="144" y="493"/>
                  <a:pt x="147" y="493"/>
                  <a:pt x="147" y="494"/>
                </a:cubicBezTo>
                <a:cubicBezTo>
                  <a:pt x="147" y="495"/>
                  <a:pt x="144" y="497"/>
                  <a:pt x="144" y="494"/>
                </a:cubicBezTo>
                <a:close/>
                <a:moveTo>
                  <a:pt x="145" y="517"/>
                </a:moveTo>
                <a:cubicBezTo>
                  <a:pt x="144" y="515"/>
                  <a:pt x="148" y="516"/>
                  <a:pt x="148" y="517"/>
                </a:cubicBezTo>
                <a:cubicBezTo>
                  <a:pt x="147" y="518"/>
                  <a:pt x="145" y="519"/>
                  <a:pt x="145" y="517"/>
                </a:cubicBezTo>
                <a:close/>
                <a:moveTo>
                  <a:pt x="142" y="481"/>
                </a:moveTo>
                <a:cubicBezTo>
                  <a:pt x="144" y="479"/>
                  <a:pt x="146" y="477"/>
                  <a:pt x="149" y="476"/>
                </a:cubicBezTo>
                <a:cubicBezTo>
                  <a:pt x="147" y="478"/>
                  <a:pt x="145" y="480"/>
                  <a:pt x="142" y="481"/>
                </a:cubicBezTo>
                <a:close/>
                <a:moveTo>
                  <a:pt x="149" y="515"/>
                </a:moveTo>
                <a:cubicBezTo>
                  <a:pt x="149" y="515"/>
                  <a:pt x="147" y="515"/>
                  <a:pt x="148" y="514"/>
                </a:cubicBezTo>
                <a:cubicBezTo>
                  <a:pt x="148" y="514"/>
                  <a:pt x="150" y="515"/>
                  <a:pt x="149" y="515"/>
                </a:cubicBezTo>
                <a:close/>
                <a:moveTo>
                  <a:pt x="150" y="472"/>
                </a:moveTo>
                <a:cubicBezTo>
                  <a:pt x="149" y="472"/>
                  <a:pt x="150" y="470"/>
                  <a:pt x="150" y="470"/>
                </a:cubicBezTo>
                <a:cubicBezTo>
                  <a:pt x="151" y="471"/>
                  <a:pt x="149" y="472"/>
                  <a:pt x="150" y="472"/>
                </a:cubicBezTo>
                <a:close/>
                <a:moveTo>
                  <a:pt x="150" y="468"/>
                </a:moveTo>
                <a:cubicBezTo>
                  <a:pt x="150" y="468"/>
                  <a:pt x="150" y="468"/>
                  <a:pt x="151" y="468"/>
                </a:cubicBezTo>
                <a:cubicBezTo>
                  <a:pt x="151" y="468"/>
                  <a:pt x="151" y="467"/>
                  <a:pt x="151" y="467"/>
                </a:cubicBezTo>
                <a:cubicBezTo>
                  <a:pt x="151" y="467"/>
                  <a:pt x="151" y="467"/>
                  <a:pt x="151" y="467"/>
                </a:cubicBezTo>
                <a:cubicBezTo>
                  <a:pt x="151" y="468"/>
                  <a:pt x="151" y="468"/>
                  <a:pt x="151" y="468"/>
                </a:cubicBezTo>
                <a:cubicBezTo>
                  <a:pt x="150" y="468"/>
                  <a:pt x="150" y="468"/>
                  <a:pt x="150" y="468"/>
                </a:cubicBezTo>
                <a:close/>
                <a:moveTo>
                  <a:pt x="152" y="551"/>
                </a:moveTo>
                <a:cubicBezTo>
                  <a:pt x="151" y="551"/>
                  <a:pt x="151" y="551"/>
                  <a:pt x="151" y="551"/>
                </a:cubicBezTo>
                <a:cubicBezTo>
                  <a:pt x="150" y="550"/>
                  <a:pt x="153" y="549"/>
                  <a:pt x="152" y="551"/>
                </a:cubicBezTo>
                <a:close/>
                <a:moveTo>
                  <a:pt x="152" y="540"/>
                </a:moveTo>
                <a:cubicBezTo>
                  <a:pt x="150" y="541"/>
                  <a:pt x="150" y="536"/>
                  <a:pt x="153" y="537"/>
                </a:cubicBezTo>
                <a:cubicBezTo>
                  <a:pt x="154" y="537"/>
                  <a:pt x="153" y="539"/>
                  <a:pt x="152" y="540"/>
                </a:cubicBezTo>
                <a:close/>
                <a:moveTo>
                  <a:pt x="154" y="484"/>
                </a:moveTo>
                <a:cubicBezTo>
                  <a:pt x="153" y="483"/>
                  <a:pt x="155" y="483"/>
                  <a:pt x="155" y="484"/>
                </a:cubicBezTo>
                <a:cubicBezTo>
                  <a:pt x="155" y="484"/>
                  <a:pt x="154" y="485"/>
                  <a:pt x="154" y="484"/>
                </a:cubicBezTo>
                <a:close/>
                <a:moveTo>
                  <a:pt x="158" y="546"/>
                </a:moveTo>
                <a:cubicBezTo>
                  <a:pt x="158" y="546"/>
                  <a:pt x="158" y="547"/>
                  <a:pt x="158" y="547"/>
                </a:cubicBezTo>
                <a:cubicBezTo>
                  <a:pt x="158" y="547"/>
                  <a:pt x="158" y="547"/>
                  <a:pt x="158" y="547"/>
                </a:cubicBezTo>
                <a:cubicBezTo>
                  <a:pt x="157" y="547"/>
                  <a:pt x="155" y="548"/>
                  <a:pt x="154" y="548"/>
                </a:cubicBezTo>
                <a:cubicBezTo>
                  <a:pt x="155" y="546"/>
                  <a:pt x="158" y="546"/>
                  <a:pt x="160" y="545"/>
                </a:cubicBezTo>
                <a:cubicBezTo>
                  <a:pt x="160" y="545"/>
                  <a:pt x="159" y="546"/>
                  <a:pt x="158" y="546"/>
                </a:cubicBezTo>
                <a:close/>
                <a:moveTo>
                  <a:pt x="155" y="544"/>
                </a:moveTo>
                <a:cubicBezTo>
                  <a:pt x="155" y="544"/>
                  <a:pt x="156" y="543"/>
                  <a:pt x="156" y="544"/>
                </a:cubicBezTo>
                <a:cubicBezTo>
                  <a:pt x="156" y="544"/>
                  <a:pt x="155" y="546"/>
                  <a:pt x="155" y="544"/>
                </a:cubicBezTo>
                <a:close/>
                <a:moveTo>
                  <a:pt x="160" y="521"/>
                </a:moveTo>
                <a:cubicBezTo>
                  <a:pt x="151" y="525"/>
                  <a:pt x="154" y="511"/>
                  <a:pt x="161" y="512"/>
                </a:cubicBezTo>
                <a:cubicBezTo>
                  <a:pt x="165" y="513"/>
                  <a:pt x="162" y="520"/>
                  <a:pt x="160" y="521"/>
                </a:cubicBezTo>
                <a:close/>
                <a:moveTo>
                  <a:pt x="162" y="544"/>
                </a:moveTo>
                <a:cubicBezTo>
                  <a:pt x="162" y="545"/>
                  <a:pt x="161" y="545"/>
                  <a:pt x="161" y="545"/>
                </a:cubicBezTo>
                <a:cubicBezTo>
                  <a:pt x="160" y="544"/>
                  <a:pt x="165" y="543"/>
                  <a:pt x="162" y="544"/>
                </a:cubicBezTo>
                <a:close/>
                <a:moveTo>
                  <a:pt x="168" y="525"/>
                </a:moveTo>
                <a:cubicBezTo>
                  <a:pt x="168" y="525"/>
                  <a:pt x="169" y="525"/>
                  <a:pt x="169" y="525"/>
                </a:cubicBezTo>
                <a:cubicBezTo>
                  <a:pt x="169" y="526"/>
                  <a:pt x="168" y="526"/>
                  <a:pt x="168" y="525"/>
                </a:cubicBezTo>
                <a:close/>
                <a:moveTo>
                  <a:pt x="170" y="537"/>
                </a:moveTo>
                <a:cubicBezTo>
                  <a:pt x="168" y="538"/>
                  <a:pt x="168" y="535"/>
                  <a:pt x="170" y="535"/>
                </a:cubicBezTo>
                <a:cubicBezTo>
                  <a:pt x="171" y="536"/>
                  <a:pt x="170" y="536"/>
                  <a:pt x="170" y="537"/>
                </a:cubicBezTo>
                <a:close/>
                <a:moveTo>
                  <a:pt x="172" y="521"/>
                </a:moveTo>
                <a:cubicBezTo>
                  <a:pt x="170" y="522"/>
                  <a:pt x="165" y="524"/>
                  <a:pt x="161" y="525"/>
                </a:cubicBezTo>
                <a:cubicBezTo>
                  <a:pt x="164" y="523"/>
                  <a:pt x="170" y="520"/>
                  <a:pt x="173" y="519"/>
                </a:cubicBezTo>
                <a:cubicBezTo>
                  <a:pt x="172" y="519"/>
                  <a:pt x="175" y="519"/>
                  <a:pt x="175" y="519"/>
                </a:cubicBezTo>
                <a:cubicBezTo>
                  <a:pt x="175" y="520"/>
                  <a:pt x="173" y="520"/>
                  <a:pt x="172" y="521"/>
                </a:cubicBezTo>
                <a:close/>
                <a:moveTo>
                  <a:pt x="176" y="546"/>
                </a:moveTo>
                <a:cubicBezTo>
                  <a:pt x="175" y="547"/>
                  <a:pt x="175" y="547"/>
                  <a:pt x="175" y="546"/>
                </a:cubicBezTo>
                <a:cubicBezTo>
                  <a:pt x="174" y="545"/>
                  <a:pt x="177" y="545"/>
                  <a:pt x="176" y="546"/>
                </a:cubicBezTo>
                <a:close/>
                <a:moveTo>
                  <a:pt x="174" y="497"/>
                </a:moveTo>
                <a:cubicBezTo>
                  <a:pt x="174" y="496"/>
                  <a:pt x="176" y="497"/>
                  <a:pt x="176" y="497"/>
                </a:cubicBezTo>
                <a:cubicBezTo>
                  <a:pt x="176" y="498"/>
                  <a:pt x="174" y="499"/>
                  <a:pt x="174" y="497"/>
                </a:cubicBezTo>
                <a:close/>
                <a:moveTo>
                  <a:pt x="176" y="431"/>
                </a:moveTo>
                <a:cubicBezTo>
                  <a:pt x="176" y="431"/>
                  <a:pt x="176" y="431"/>
                  <a:pt x="176" y="431"/>
                </a:cubicBezTo>
                <a:cubicBezTo>
                  <a:pt x="175" y="433"/>
                  <a:pt x="176" y="429"/>
                  <a:pt x="176" y="431"/>
                </a:cubicBezTo>
                <a:close/>
                <a:moveTo>
                  <a:pt x="176" y="487"/>
                </a:moveTo>
                <a:cubicBezTo>
                  <a:pt x="176" y="485"/>
                  <a:pt x="181" y="484"/>
                  <a:pt x="181" y="486"/>
                </a:cubicBezTo>
                <a:cubicBezTo>
                  <a:pt x="182" y="489"/>
                  <a:pt x="176" y="491"/>
                  <a:pt x="176" y="487"/>
                </a:cubicBezTo>
                <a:close/>
                <a:moveTo>
                  <a:pt x="180" y="543"/>
                </a:moveTo>
                <a:cubicBezTo>
                  <a:pt x="180" y="543"/>
                  <a:pt x="181" y="542"/>
                  <a:pt x="182" y="543"/>
                </a:cubicBezTo>
                <a:cubicBezTo>
                  <a:pt x="182" y="544"/>
                  <a:pt x="180" y="544"/>
                  <a:pt x="180" y="543"/>
                </a:cubicBezTo>
                <a:close/>
                <a:moveTo>
                  <a:pt x="182" y="538"/>
                </a:moveTo>
                <a:cubicBezTo>
                  <a:pt x="181" y="539"/>
                  <a:pt x="182" y="536"/>
                  <a:pt x="183" y="537"/>
                </a:cubicBezTo>
                <a:cubicBezTo>
                  <a:pt x="183" y="537"/>
                  <a:pt x="183" y="538"/>
                  <a:pt x="182" y="538"/>
                </a:cubicBezTo>
                <a:close/>
                <a:moveTo>
                  <a:pt x="183" y="485"/>
                </a:moveTo>
                <a:cubicBezTo>
                  <a:pt x="183" y="484"/>
                  <a:pt x="181" y="483"/>
                  <a:pt x="181" y="482"/>
                </a:cubicBezTo>
                <a:cubicBezTo>
                  <a:pt x="182" y="480"/>
                  <a:pt x="183" y="482"/>
                  <a:pt x="184" y="481"/>
                </a:cubicBezTo>
                <a:cubicBezTo>
                  <a:pt x="186" y="479"/>
                  <a:pt x="186" y="475"/>
                  <a:pt x="189" y="472"/>
                </a:cubicBezTo>
                <a:cubicBezTo>
                  <a:pt x="188" y="476"/>
                  <a:pt x="185" y="481"/>
                  <a:pt x="183" y="485"/>
                </a:cubicBezTo>
                <a:close/>
                <a:moveTo>
                  <a:pt x="186" y="544"/>
                </a:moveTo>
                <a:cubicBezTo>
                  <a:pt x="184" y="546"/>
                  <a:pt x="184" y="543"/>
                  <a:pt x="186" y="544"/>
                </a:cubicBezTo>
                <a:close/>
                <a:moveTo>
                  <a:pt x="185" y="507"/>
                </a:moveTo>
                <a:cubicBezTo>
                  <a:pt x="183" y="504"/>
                  <a:pt x="190" y="504"/>
                  <a:pt x="187" y="507"/>
                </a:cubicBezTo>
                <a:cubicBezTo>
                  <a:pt x="187" y="507"/>
                  <a:pt x="186" y="507"/>
                  <a:pt x="185" y="507"/>
                </a:cubicBezTo>
                <a:close/>
                <a:moveTo>
                  <a:pt x="189" y="542"/>
                </a:moveTo>
                <a:cubicBezTo>
                  <a:pt x="189" y="542"/>
                  <a:pt x="190" y="541"/>
                  <a:pt x="190" y="541"/>
                </a:cubicBezTo>
                <a:cubicBezTo>
                  <a:pt x="191" y="541"/>
                  <a:pt x="190" y="541"/>
                  <a:pt x="189" y="542"/>
                </a:cubicBezTo>
                <a:close/>
                <a:moveTo>
                  <a:pt x="193" y="537"/>
                </a:moveTo>
                <a:cubicBezTo>
                  <a:pt x="193" y="537"/>
                  <a:pt x="193" y="538"/>
                  <a:pt x="193" y="538"/>
                </a:cubicBezTo>
                <a:cubicBezTo>
                  <a:pt x="191" y="539"/>
                  <a:pt x="193" y="535"/>
                  <a:pt x="193" y="537"/>
                </a:cubicBezTo>
                <a:close/>
                <a:moveTo>
                  <a:pt x="188" y="542"/>
                </a:moveTo>
                <a:cubicBezTo>
                  <a:pt x="188" y="540"/>
                  <a:pt x="191" y="536"/>
                  <a:pt x="193" y="535"/>
                </a:cubicBezTo>
                <a:cubicBezTo>
                  <a:pt x="191" y="537"/>
                  <a:pt x="190" y="540"/>
                  <a:pt x="188" y="542"/>
                </a:cubicBezTo>
                <a:close/>
                <a:moveTo>
                  <a:pt x="190" y="499"/>
                </a:moveTo>
                <a:cubicBezTo>
                  <a:pt x="191" y="498"/>
                  <a:pt x="192" y="497"/>
                  <a:pt x="194" y="497"/>
                </a:cubicBezTo>
                <a:cubicBezTo>
                  <a:pt x="193" y="498"/>
                  <a:pt x="192" y="499"/>
                  <a:pt x="190" y="499"/>
                </a:cubicBezTo>
                <a:close/>
                <a:moveTo>
                  <a:pt x="194" y="533"/>
                </a:moveTo>
                <a:cubicBezTo>
                  <a:pt x="193" y="533"/>
                  <a:pt x="195" y="531"/>
                  <a:pt x="195" y="531"/>
                </a:cubicBezTo>
                <a:cubicBezTo>
                  <a:pt x="196" y="531"/>
                  <a:pt x="194" y="533"/>
                  <a:pt x="194" y="533"/>
                </a:cubicBezTo>
                <a:close/>
                <a:moveTo>
                  <a:pt x="194" y="497"/>
                </a:moveTo>
                <a:cubicBezTo>
                  <a:pt x="194" y="497"/>
                  <a:pt x="194" y="497"/>
                  <a:pt x="194" y="497"/>
                </a:cubicBezTo>
                <a:close/>
                <a:moveTo>
                  <a:pt x="195" y="497"/>
                </a:move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7"/>
                </a:cubicBezTo>
                <a:close/>
                <a:moveTo>
                  <a:pt x="189" y="398"/>
                </a:moveTo>
                <a:cubicBezTo>
                  <a:pt x="192" y="394"/>
                  <a:pt x="196" y="392"/>
                  <a:pt x="201" y="389"/>
                </a:cubicBezTo>
                <a:cubicBezTo>
                  <a:pt x="198" y="392"/>
                  <a:pt x="192" y="395"/>
                  <a:pt x="189" y="398"/>
                </a:cubicBezTo>
                <a:close/>
                <a:moveTo>
                  <a:pt x="196" y="530"/>
                </a:moveTo>
                <a:cubicBezTo>
                  <a:pt x="196" y="531"/>
                  <a:pt x="195" y="529"/>
                  <a:pt x="196" y="530"/>
                </a:cubicBezTo>
                <a:close/>
                <a:moveTo>
                  <a:pt x="198" y="514"/>
                </a:moveTo>
                <a:cubicBezTo>
                  <a:pt x="198" y="514"/>
                  <a:pt x="198" y="515"/>
                  <a:pt x="197" y="515"/>
                </a:cubicBezTo>
                <a:cubicBezTo>
                  <a:pt x="196" y="516"/>
                  <a:pt x="197" y="513"/>
                  <a:pt x="198" y="514"/>
                </a:cubicBezTo>
                <a:close/>
                <a:moveTo>
                  <a:pt x="198" y="558"/>
                </a:moveTo>
                <a:cubicBezTo>
                  <a:pt x="198" y="556"/>
                  <a:pt x="204" y="555"/>
                  <a:pt x="204" y="558"/>
                </a:cubicBezTo>
                <a:cubicBezTo>
                  <a:pt x="205" y="561"/>
                  <a:pt x="197" y="562"/>
                  <a:pt x="198" y="558"/>
                </a:cubicBezTo>
                <a:close/>
                <a:moveTo>
                  <a:pt x="204" y="554"/>
                </a:moveTo>
                <a:cubicBezTo>
                  <a:pt x="205" y="554"/>
                  <a:pt x="206" y="553"/>
                  <a:pt x="207" y="553"/>
                </a:cubicBezTo>
                <a:cubicBezTo>
                  <a:pt x="207" y="554"/>
                  <a:pt x="204" y="555"/>
                  <a:pt x="204" y="554"/>
                </a:cubicBezTo>
                <a:close/>
                <a:moveTo>
                  <a:pt x="203" y="542"/>
                </a:moveTo>
                <a:cubicBezTo>
                  <a:pt x="200" y="539"/>
                  <a:pt x="203" y="534"/>
                  <a:pt x="205" y="533"/>
                </a:cubicBezTo>
                <a:cubicBezTo>
                  <a:pt x="207" y="532"/>
                  <a:pt x="210" y="533"/>
                  <a:pt x="211" y="532"/>
                </a:cubicBezTo>
                <a:cubicBezTo>
                  <a:pt x="215" y="532"/>
                  <a:pt x="213" y="532"/>
                  <a:pt x="215" y="534"/>
                </a:cubicBezTo>
                <a:cubicBezTo>
                  <a:pt x="217" y="537"/>
                  <a:pt x="216" y="541"/>
                  <a:pt x="213" y="540"/>
                </a:cubicBezTo>
                <a:cubicBezTo>
                  <a:pt x="214" y="535"/>
                  <a:pt x="211" y="542"/>
                  <a:pt x="210" y="543"/>
                </a:cubicBezTo>
                <a:cubicBezTo>
                  <a:pt x="209" y="543"/>
                  <a:pt x="204" y="543"/>
                  <a:pt x="203" y="542"/>
                </a:cubicBezTo>
                <a:close/>
                <a:moveTo>
                  <a:pt x="213" y="545"/>
                </a:moveTo>
                <a:cubicBezTo>
                  <a:pt x="213" y="544"/>
                  <a:pt x="216" y="545"/>
                  <a:pt x="215" y="546"/>
                </a:cubicBezTo>
                <a:cubicBezTo>
                  <a:pt x="215" y="546"/>
                  <a:pt x="214" y="546"/>
                  <a:pt x="213" y="545"/>
                </a:cubicBezTo>
                <a:close/>
                <a:moveTo>
                  <a:pt x="215" y="609"/>
                </a:moveTo>
                <a:cubicBezTo>
                  <a:pt x="215" y="609"/>
                  <a:pt x="215" y="609"/>
                  <a:pt x="215" y="609"/>
                </a:cubicBezTo>
                <a:cubicBezTo>
                  <a:pt x="214" y="607"/>
                  <a:pt x="217" y="611"/>
                  <a:pt x="215" y="609"/>
                </a:cubicBezTo>
                <a:close/>
                <a:moveTo>
                  <a:pt x="214" y="557"/>
                </a:moveTo>
                <a:cubicBezTo>
                  <a:pt x="214" y="556"/>
                  <a:pt x="216" y="555"/>
                  <a:pt x="217" y="556"/>
                </a:cubicBezTo>
                <a:cubicBezTo>
                  <a:pt x="217" y="558"/>
                  <a:pt x="214" y="557"/>
                  <a:pt x="214" y="557"/>
                </a:cubicBezTo>
                <a:close/>
                <a:moveTo>
                  <a:pt x="209" y="544"/>
                </a:moveTo>
                <a:cubicBezTo>
                  <a:pt x="210" y="544"/>
                  <a:pt x="217" y="540"/>
                  <a:pt x="217" y="542"/>
                </a:cubicBezTo>
                <a:cubicBezTo>
                  <a:pt x="217" y="543"/>
                  <a:pt x="211" y="545"/>
                  <a:pt x="209" y="544"/>
                </a:cubicBezTo>
                <a:close/>
                <a:moveTo>
                  <a:pt x="216" y="527"/>
                </a:moveTo>
                <a:cubicBezTo>
                  <a:pt x="216" y="526"/>
                  <a:pt x="216" y="526"/>
                  <a:pt x="216" y="526"/>
                </a:cubicBezTo>
                <a:cubicBezTo>
                  <a:pt x="217" y="525"/>
                  <a:pt x="217" y="527"/>
                  <a:pt x="216" y="527"/>
                </a:cubicBezTo>
                <a:close/>
                <a:moveTo>
                  <a:pt x="217" y="615"/>
                </a:moveTo>
                <a:cubicBezTo>
                  <a:pt x="216" y="614"/>
                  <a:pt x="218" y="613"/>
                  <a:pt x="218" y="614"/>
                </a:cubicBezTo>
                <a:cubicBezTo>
                  <a:pt x="218" y="614"/>
                  <a:pt x="217" y="614"/>
                  <a:pt x="217" y="615"/>
                </a:cubicBezTo>
                <a:close/>
                <a:moveTo>
                  <a:pt x="219" y="542"/>
                </a:moveTo>
                <a:cubicBezTo>
                  <a:pt x="216" y="544"/>
                  <a:pt x="217" y="538"/>
                  <a:pt x="219" y="539"/>
                </a:cubicBezTo>
                <a:cubicBezTo>
                  <a:pt x="221" y="540"/>
                  <a:pt x="219" y="542"/>
                  <a:pt x="219" y="542"/>
                </a:cubicBezTo>
                <a:close/>
                <a:moveTo>
                  <a:pt x="219" y="567"/>
                </a:moveTo>
                <a:cubicBezTo>
                  <a:pt x="219" y="566"/>
                  <a:pt x="220" y="566"/>
                  <a:pt x="221" y="566"/>
                </a:cubicBezTo>
                <a:cubicBezTo>
                  <a:pt x="220" y="567"/>
                  <a:pt x="220" y="567"/>
                  <a:pt x="219" y="567"/>
                </a:cubicBezTo>
                <a:close/>
                <a:moveTo>
                  <a:pt x="222" y="589"/>
                </a:moveTo>
                <a:cubicBezTo>
                  <a:pt x="222" y="589"/>
                  <a:pt x="221" y="589"/>
                  <a:pt x="220" y="589"/>
                </a:cubicBezTo>
                <a:cubicBezTo>
                  <a:pt x="220" y="589"/>
                  <a:pt x="222" y="588"/>
                  <a:pt x="222" y="589"/>
                </a:cubicBezTo>
                <a:close/>
                <a:moveTo>
                  <a:pt x="221" y="615"/>
                </a:moveTo>
                <a:cubicBezTo>
                  <a:pt x="221" y="614"/>
                  <a:pt x="222" y="614"/>
                  <a:pt x="223" y="614"/>
                </a:cubicBezTo>
                <a:cubicBezTo>
                  <a:pt x="222" y="615"/>
                  <a:pt x="221" y="614"/>
                  <a:pt x="221" y="615"/>
                </a:cubicBezTo>
                <a:close/>
                <a:moveTo>
                  <a:pt x="223" y="565"/>
                </a:moveTo>
                <a:cubicBezTo>
                  <a:pt x="223" y="565"/>
                  <a:pt x="223" y="565"/>
                  <a:pt x="223" y="566"/>
                </a:cubicBezTo>
                <a:cubicBezTo>
                  <a:pt x="223" y="566"/>
                  <a:pt x="223" y="566"/>
                  <a:pt x="223" y="566"/>
                </a:cubicBezTo>
                <a:cubicBezTo>
                  <a:pt x="223" y="567"/>
                  <a:pt x="223" y="566"/>
                  <a:pt x="223" y="566"/>
                </a:cubicBezTo>
                <a:cubicBezTo>
                  <a:pt x="223" y="565"/>
                  <a:pt x="223" y="565"/>
                  <a:pt x="223" y="565"/>
                </a:cubicBezTo>
                <a:close/>
                <a:moveTo>
                  <a:pt x="223" y="571"/>
                </a:moveTo>
                <a:cubicBezTo>
                  <a:pt x="223" y="569"/>
                  <a:pt x="227" y="570"/>
                  <a:pt x="226" y="571"/>
                </a:cubicBezTo>
                <a:cubicBezTo>
                  <a:pt x="226" y="572"/>
                  <a:pt x="223" y="572"/>
                  <a:pt x="223" y="571"/>
                </a:cubicBezTo>
                <a:close/>
                <a:moveTo>
                  <a:pt x="226" y="582"/>
                </a:moveTo>
                <a:cubicBezTo>
                  <a:pt x="226" y="581"/>
                  <a:pt x="226" y="583"/>
                  <a:pt x="226" y="582"/>
                </a:cubicBezTo>
                <a:close/>
                <a:moveTo>
                  <a:pt x="227" y="608"/>
                </a:moveTo>
                <a:cubicBezTo>
                  <a:pt x="227" y="608"/>
                  <a:pt x="225" y="608"/>
                  <a:pt x="224" y="607"/>
                </a:cubicBezTo>
                <a:cubicBezTo>
                  <a:pt x="224" y="606"/>
                  <a:pt x="228" y="607"/>
                  <a:pt x="227" y="608"/>
                </a:cubicBezTo>
                <a:close/>
                <a:moveTo>
                  <a:pt x="226" y="578"/>
                </a:moveTo>
                <a:cubicBezTo>
                  <a:pt x="226" y="578"/>
                  <a:pt x="227" y="577"/>
                  <a:pt x="227" y="578"/>
                </a:cubicBezTo>
                <a:cubicBezTo>
                  <a:pt x="227" y="578"/>
                  <a:pt x="226" y="578"/>
                  <a:pt x="226" y="578"/>
                </a:cubicBezTo>
                <a:close/>
                <a:moveTo>
                  <a:pt x="236" y="538"/>
                </a:moveTo>
                <a:cubicBezTo>
                  <a:pt x="237" y="537"/>
                  <a:pt x="238" y="536"/>
                  <a:pt x="239" y="537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40" y="538"/>
                  <a:pt x="239" y="539"/>
                  <a:pt x="239" y="539"/>
                </a:cubicBezTo>
                <a:cubicBezTo>
                  <a:pt x="238" y="540"/>
                  <a:pt x="237" y="539"/>
                  <a:pt x="237" y="539"/>
                </a:cubicBezTo>
                <a:cubicBezTo>
                  <a:pt x="236" y="539"/>
                  <a:pt x="236" y="538"/>
                  <a:pt x="235" y="539"/>
                </a:cubicBezTo>
                <a:cubicBezTo>
                  <a:pt x="234" y="539"/>
                  <a:pt x="228" y="544"/>
                  <a:pt x="227" y="543"/>
                </a:cubicBezTo>
                <a:cubicBezTo>
                  <a:pt x="226" y="541"/>
                  <a:pt x="235" y="538"/>
                  <a:pt x="236" y="538"/>
                </a:cubicBezTo>
                <a:close/>
                <a:moveTo>
                  <a:pt x="235" y="592"/>
                </a:moveTo>
                <a:cubicBezTo>
                  <a:pt x="235" y="592"/>
                  <a:pt x="234" y="593"/>
                  <a:pt x="234" y="592"/>
                </a:cubicBezTo>
                <a:cubicBezTo>
                  <a:pt x="233" y="592"/>
                  <a:pt x="235" y="591"/>
                  <a:pt x="235" y="592"/>
                </a:cubicBezTo>
                <a:close/>
                <a:moveTo>
                  <a:pt x="233" y="585"/>
                </a:moveTo>
                <a:cubicBezTo>
                  <a:pt x="233" y="585"/>
                  <a:pt x="234" y="583"/>
                  <a:pt x="235" y="584"/>
                </a:cubicBezTo>
                <a:cubicBezTo>
                  <a:pt x="235" y="585"/>
                  <a:pt x="233" y="586"/>
                  <a:pt x="233" y="585"/>
                </a:cubicBezTo>
                <a:close/>
                <a:moveTo>
                  <a:pt x="228" y="573"/>
                </a:moveTo>
                <a:cubicBezTo>
                  <a:pt x="228" y="571"/>
                  <a:pt x="230" y="572"/>
                  <a:pt x="228" y="573"/>
                </a:cubicBezTo>
                <a:close/>
                <a:moveTo>
                  <a:pt x="229" y="580"/>
                </a:moveTo>
                <a:cubicBezTo>
                  <a:pt x="229" y="581"/>
                  <a:pt x="228" y="581"/>
                  <a:pt x="228" y="581"/>
                </a:cubicBezTo>
                <a:cubicBezTo>
                  <a:pt x="227" y="579"/>
                  <a:pt x="230" y="579"/>
                  <a:pt x="229" y="580"/>
                </a:cubicBezTo>
                <a:close/>
                <a:moveTo>
                  <a:pt x="231" y="599"/>
                </a:moveTo>
                <a:cubicBezTo>
                  <a:pt x="231" y="599"/>
                  <a:pt x="233" y="598"/>
                  <a:pt x="233" y="599"/>
                </a:cubicBezTo>
                <a:cubicBezTo>
                  <a:pt x="233" y="600"/>
                  <a:pt x="231" y="601"/>
                  <a:pt x="231" y="599"/>
                </a:cubicBezTo>
                <a:close/>
                <a:moveTo>
                  <a:pt x="236" y="624"/>
                </a:moveTo>
                <a:cubicBezTo>
                  <a:pt x="236" y="624"/>
                  <a:pt x="237" y="623"/>
                  <a:pt x="237" y="623"/>
                </a:cubicBezTo>
                <a:cubicBezTo>
                  <a:pt x="237" y="623"/>
                  <a:pt x="237" y="624"/>
                  <a:pt x="236" y="624"/>
                </a:cubicBezTo>
                <a:close/>
                <a:moveTo>
                  <a:pt x="232" y="618"/>
                </a:moveTo>
                <a:cubicBezTo>
                  <a:pt x="233" y="616"/>
                  <a:pt x="237" y="616"/>
                  <a:pt x="239" y="615"/>
                </a:cubicBezTo>
                <a:cubicBezTo>
                  <a:pt x="237" y="617"/>
                  <a:pt x="234" y="617"/>
                  <a:pt x="232" y="618"/>
                </a:cubicBezTo>
                <a:close/>
                <a:moveTo>
                  <a:pt x="238" y="665"/>
                </a:moveTo>
                <a:cubicBezTo>
                  <a:pt x="238" y="664"/>
                  <a:pt x="239" y="665"/>
                  <a:pt x="240" y="665"/>
                </a:cubicBezTo>
                <a:cubicBezTo>
                  <a:pt x="240" y="666"/>
                  <a:pt x="239" y="665"/>
                  <a:pt x="238" y="665"/>
                </a:cubicBezTo>
                <a:close/>
                <a:moveTo>
                  <a:pt x="240" y="664"/>
                </a:moveTo>
                <a:cubicBezTo>
                  <a:pt x="240" y="664"/>
                  <a:pt x="239" y="663"/>
                  <a:pt x="239" y="663"/>
                </a:cubicBezTo>
                <a:cubicBezTo>
                  <a:pt x="239" y="662"/>
                  <a:pt x="241" y="663"/>
                  <a:pt x="240" y="664"/>
                </a:cubicBezTo>
                <a:close/>
                <a:moveTo>
                  <a:pt x="251" y="679"/>
                </a:moveTo>
                <a:cubicBezTo>
                  <a:pt x="249" y="681"/>
                  <a:pt x="247" y="678"/>
                  <a:pt x="244" y="678"/>
                </a:cubicBezTo>
                <a:cubicBezTo>
                  <a:pt x="242" y="678"/>
                  <a:pt x="238" y="679"/>
                  <a:pt x="237" y="677"/>
                </a:cubicBezTo>
                <a:cubicBezTo>
                  <a:pt x="237" y="676"/>
                  <a:pt x="243" y="677"/>
                  <a:pt x="243" y="677"/>
                </a:cubicBezTo>
                <a:cubicBezTo>
                  <a:pt x="243" y="676"/>
                  <a:pt x="241" y="672"/>
                  <a:pt x="241" y="672"/>
                </a:cubicBezTo>
                <a:cubicBezTo>
                  <a:pt x="240" y="664"/>
                  <a:pt x="252" y="669"/>
                  <a:pt x="255" y="671"/>
                </a:cubicBezTo>
                <a:cubicBezTo>
                  <a:pt x="259" y="674"/>
                  <a:pt x="250" y="671"/>
                  <a:pt x="253" y="676"/>
                </a:cubicBezTo>
                <a:cubicBezTo>
                  <a:pt x="250" y="674"/>
                  <a:pt x="251" y="679"/>
                  <a:pt x="251" y="679"/>
                </a:cubicBezTo>
                <a:close/>
                <a:moveTo>
                  <a:pt x="254" y="687"/>
                </a:moveTo>
                <a:cubicBezTo>
                  <a:pt x="254" y="686"/>
                  <a:pt x="254" y="685"/>
                  <a:pt x="255" y="686"/>
                </a:cubicBezTo>
                <a:cubicBezTo>
                  <a:pt x="257" y="686"/>
                  <a:pt x="254" y="689"/>
                  <a:pt x="254" y="687"/>
                </a:cubicBezTo>
                <a:close/>
                <a:moveTo>
                  <a:pt x="254" y="690"/>
                </a:moveTo>
                <a:cubicBezTo>
                  <a:pt x="255" y="689"/>
                  <a:pt x="256" y="689"/>
                  <a:pt x="258" y="689"/>
                </a:cubicBezTo>
                <a:cubicBezTo>
                  <a:pt x="257" y="690"/>
                  <a:pt x="255" y="690"/>
                  <a:pt x="254" y="690"/>
                </a:cubicBezTo>
                <a:close/>
                <a:moveTo>
                  <a:pt x="257" y="690"/>
                </a:moveTo>
                <a:cubicBezTo>
                  <a:pt x="257" y="689"/>
                  <a:pt x="258" y="689"/>
                  <a:pt x="258" y="690"/>
                </a:cubicBezTo>
                <a:cubicBezTo>
                  <a:pt x="258" y="689"/>
                  <a:pt x="258" y="691"/>
                  <a:pt x="257" y="690"/>
                </a:cubicBezTo>
                <a:close/>
                <a:moveTo>
                  <a:pt x="259" y="689"/>
                </a:moveTo>
                <a:cubicBezTo>
                  <a:pt x="258" y="689"/>
                  <a:pt x="261" y="689"/>
                  <a:pt x="259" y="689"/>
                </a:cubicBezTo>
                <a:close/>
                <a:moveTo>
                  <a:pt x="260" y="660"/>
                </a:moveTo>
                <a:cubicBezTo>
                  <a:pt x="259" y="660"/>
                  <a:pt x="259" y="659"/>
                  <a:pt x="260" y="660"/>
                </a:cubicBezTo>
                <a:close/>
                <a:moveTo>
                  <a:pt x="261" y="631"/>
                </a:moveTo>
                <a:cubicBezTo>
                  <a:pt x="260" y="631"/>
                  <a:pt x="261" y="630"/>
                  <a:pt x="261" y="630"/>
                </a:cubicBezTo>
                <a:cubicBezTo>
                  <a:pt x="262" y="630"/>
                  <a:pt x="261" y="631"/>
                  <a:pt x="261" y="631"/>
                </a:cubicBezTo>
                <a:close/>
                <a:moveTo>
                  <a:pt x="263" y="682"/>
                </a:moveTo>
                <a:cubicBezTo>
                  <a:pt x="263" y="681"/>
                  <a:pt x="265" y="681"/>
                  <a:pt x="265" y="682"/>
                </a:cubicBezTo>
                <a:cubicBezTo>
                  <a:pt x="266" y="682"/>
                  <a:pt x="263" y="683"/>
                  <a:pt x="263" y="682"/>
                </a:cubicBezTo>
                <a:close/>
                <a:moveTo>
                  <a:pt x="264" y="690"/>
                </a:moveTo>
                <a:cubicBezTo>
                  <a:pt x="263" y="689"/>
                  <a:pt x="265" y="690"/>
                  <a:pt x="265" y="690"/>
                </a:cubicBezTo>
                <a:cubicBezTo>
                  <a:pt x="265" y="691"/>
                  <a:pt x="264" y="691"/>
                  <a:pt x="264" y="690"/>
                </a:cubicBezTo>
                <a:close/>
                <a:moveTo>
                  <a:pt x="265" y="694"/>
                </a:moveTo>
                <a:cubicBezTo>
                  <a:pt x="266" y="694"/>
                  <a:pt x="266" y="694"/>
                  <a:pt x="267" y="694"/>
                </a:cubicBezTo>
                <a:cubicBezTo>
                  <a:pt x="266" y="695"/>
                  <a:pt x="266" y="695"/>
                  <a:pt x="265" y="694"/>
                </a:cubicBezTo>
                <a:close/>
                <a:moveTo>
                  <a:pt x="263" y="667"/>
                </a:moveTo>
                <a:cubicBezTo>
                  <a:pt x="264" y="666"/>
                  <a:pt x="273" y="668"/>
                  <a:pt x="273" y="668"/>
                </a:cubicBezTo>
                <a:cubicBezTo>
                  <a:pt x="272" y="669"/>
                  <a:pt x="265" y="667"/>
                  <a:pt x="263" y="667"/>
                </a:cubicBezTo>
                <a:close/>
                <a:moveTo>
                  <a:pt x="270" y="681"/>
                </a:moveTo>
                <a:cubicBezTo>
                  <a:pt x="269" y="683"/>
                  <a:pt x="268" y="680"/>
                  <a:pt x="270" y="681"/>
                </a:cubicBezTo>
                <a:close/>
                <a:moveTo>
                  <a:pt x="268" y="696"/>
                </a:moveTo>
                <a:cubicBezTo>
                  <a:pt x="268" y="695"/>
                  <a:pt x="269" y="695"/>
                  <a:pt x="269" y="695"/>
                </a:cubicBezTo>
                <a:cubicBezTo>
                  <a:pt x="270" y="695"/>
                  <a:pt x="269" y="696"/>
                  <a:pt x="268" y="696"/>
                </a:cubicBezTo>
                <a:close/>
                <a:moveTo>
                  <a:pt x="269" y="689"/>
                </a:moveTo>
                <a:cubicBezTo>
                  <a:pt x="268" y="688"/>
                  <a:pt x="270" y="688"/>
                  <a:pt x="270" y="688"/>
                </a:cubicBezTo>
                <a:cubicBezTo>
                  <a:pt x="270" y="689"/>
                  <a:pt x="269" y="689"/>
                  <a:pt x="269" y="689"/>
                </a:cubicBezTo>
                <a:close/>
                <a:moveTo>
                  <a:pt x="269" y="673"/>
                </a:moveTo>
                <a:cubicBezTo>
                  <a:pt x="269" y="671"/>
                  <a:pt x="274" y="673"/>
                  <a:pt x="273" y="674"/>
                </a:cubicBezTo>
                <a:cubicBezTo>
                  <a:pt x="273" y="676"/>
                  <a:pt x="268" y="676"/>
                  <a:pt x="269" y="673"/>
                </a:cubicBezTo>
                <a:close/>
                <a:moveTo>
                  <a:pt x="272" y="683"/>
                </a:moveTo>
                <a:cubicBezTo>
                  <a:pt x="271" y="681"/>
                  <a:pt x="276" y="682"/>
                  <a:pt x="276" y="683"/>
                </a:cubicBezTo>
                <a:cubicBezTo>
                  <a:pt x="277" y="685"/>
                  <a:pt x="272" y="686"/>
                  <a:pt x="272" y="683"/>
                </a:cubicBezTo>
                <a:close/>
                <a:moveTo>
                  <a:pt x="275" y="696"/>
                </a:moveTo>
                <a:cubicBezTo>
                  <a:pt x="275" y="696"/>
                  <a:pt x="274" y="696"/>
                  <a:pt x="274" y="696"/>
                </a:cubicBezTo>
                <a:cubicBezTo>
                  <a:pt x="274" y="694"/>
                  <a:pt x="277" y="698"/>
                  <a:pt x="275" y="696"/>
                </a:cubicBezTo>
                <a:close/>
                <a:moveTo>
                  <a:pt x="274" y="701"/>
                </a:moveTo>
                <a:cubicBezTo>
                  <a:pt x="274" y="699"/>
                  <a:pt x="277" y="699"/>
                  <a:pt x="277" y="700"/>
                </a:cubicBezTo>
                <a:cubicBezTo>
                  <a:pt x="278" y="701"/>
                  <a:pt x="274" y="701"/>
                  <a:pt x="274" y="701"/>
                </a:cubicBezTo>
                <a:close/>
                <a:moveTo>
                  <a:pt x="282" y="681"/>
                </a:moveTo>
                <a:cubicBezTo>
                  <a:pt x="284" y="680"/>
                  <a:pt x="289" y="680"/>
                  <a:pt x="291" y="681"/>
                </a:cubicBezTo>
                <a:cubicBezTo>
                  <a:pt x="292" y="682"/>
                  <a:pt x="291" y="684"/>
                  <a:pt x="290" y="683"/>
                </a:cubicBezTo>
                <a:cubicBezTo>
                  <a:pt x="289" y="683"/>
                  <a:pt x="289" y="682"/>
                  <a:pt x="289" y="682"/>
                </a:cubicBezTo>
                <a:cubicBezTo>
                  <a:pt x="288" y="681"/>
                  <a:pt x="287" y="683"/>
                  <a:pt x="287" y="683"/>
                </a:cubicBezTo>
                <a:cubicBezTo>
                  <a:pt x="287" y="684"/>
                  <a:pt x="288" y="684"/>
                  <a:pt x="288" y="685"/>
                </a:cubicBezTo>
                <a:cubicBezTo>
                  <a:pt x="289" y="684"/>
                  <a:pt x="289" y="685"/>
                  <a:pt x="288" y="685"/>
                </a:cubicBezTo>
                <a:cubicBezTo>
                  <a:pt x="287" y="686"/>
                  <a:pt x="286" y="685"/>
                  <a:pt x="286" y="685"/>
                </a:cubicBezTo>
                <a:cubicBezTo>
                  <a:pt x="285" y="685"/>
                  <a:pt x="284" y="686"/>
                  <a:pt x="283" y="685"/>
                </a:cubicBezTo>
                <a:cubicBezTo>
                  <a:pt x="282" y="685"/>
                  <a:pt x="278" y="682"/>
                  <a:pt x="282" y="681"/>
                </a:cubicBezTo>
                <a:close/>
                <a:moveTo>
                  <a:pt x="291" y="693"/>
                </a:moveTo>
                <a:cubicBezTo>
                  <a:pt x="290" y="694"/>
                  <a:pt x="288" y="696"/>
                  <a:pt x="287" y="694"/>
                </a:cubicBezTo>
                <a:cubicBezTo>
                  <a:pt x="285" y="693"/>
                  <a:pt x="290" y="692"/>
                  <a:pt x="291" y="693"/>
                </a:cubicBezTo>
                <a:close/>
                <a:moveTo>
                  <a:pt x="289" y="706"/>
                </a:moveTo>
                <a:cubicBezTo>
                  <a:pt x="290" y="707"/>
                  <a:pt x="288" y="706"/>
                  <a:pt x="289" y="706"/>
                </a:cubicBezTo>
                <a:close/>
                <a:moveTo>
                  <a:pt x="292" y="708"/>
                </a:moveTo>
                <a:cubicBezTo>
                  <a:pt x="291" y="707"/>
                  <a:pt x="292" y="708"/>
                  <a:pt x="293" y="708"/>
                </a:cubicBezTo>
                <a:cubicBezTo>
                  <a:pt x="293" y="708"/>
                  <a:pt x="292" y="708"/>
                  <a:pt x="292" y="708"/>
                </a:cubicBezTo>
                <a:close/>
                <a:moveTo>
                  <a:pt x="304" y="701"/>
                </a:moveTo>
                <a:cubicBezTo>
                  <a:pt x="299" y="701"/>
                  <a:pt x="295" y="701"/>
                  <a:pt x="290" y="702"/>
                </a:cubicBezTo>
                <a:cubicBezTo>
                  <a:pt x="289" y="702"/>
                  <a:pt x="282" y="702"/>
                  <a:pt x="282" y="700"/>
                </a:cubicBezTo>
                <a:cubicBezTo>
                  <a:pt x="281" y="699"/>
                  <a:pt x="290" y="699"/>
                  <a:pt x="292" y="700"/>
                </a:cubicBezTo>
                <a:cubicBezTo>
                  <a:pt x="296" y="700"/>
                  <a:pt x="299" y="700"/>
                  <a:pt x="301" y="699"/>
                </a:cubicBezTo>
                <a:cubicBezTo>
                  <a:pt x="299" y="699"/>
                  <a:pt x="297" y="697"/>
                  <a:pt x="297" y="695"/>
                </a:cubicBezTo>
                <a:cubicBezTo>
                  <a:pt x="299" y="690"/>
                  <a:pt x="306" y="693"/>
                  <a:pt x="309" y="695"/>
                </a:cubicBezTo>
                <a:cubicBezTo>
                  <a:pt x="309" y="695"/>
                  <a:pt x="309" y="696"/>
                  <a:pt x="310" y="696"/>
                </a:cubicBezTo>
                <a:cubicBezTo>
                  <a:pt x="310" y="697"/>
                  <a:pt x="307" y="699"/>
                  <a:pt x="305" y="699"/>
                </a:cubicBezTo>
                <a:cubicBezTo>
                  <a:pt x="306" y="699"/>
                  <a:pt x="307" y="699"/>
                  <a:pt x="309" y="700"/>
                </a:cubicBezTo>
                <a:cubicBezTo>
                  <a:pt x="313" y="700"/>
                  <a:pt x="305" y="701"/>
                  <a:pt x="304" y="701"/>
                </a:cubicBezTo>
                <a:close/>
                <a:moveTo>
                  <a:pt x="308" y="684"/>
                </a:moveTo>
                <a:cubicBezTo>
                  <a:pt x="309" y="683"/>
                  <a:pt x="312" y="683"/>
                  <a:pt x="314" y="683"/>
                </a:cubicBezTo>
                <a:cubicBezTo>
                  <a:pt x="312" y="684"/>
                  <a:pt x="310" y="684"/>
                  <a:pt x="308" y="684"/>
                </a:cubicBezTo>
                <a:close/>
                <a:moveTo>
                  <a:pt x="313" y="612"/>
                </a:moveTo>
                <a:cubicBezTo>
                  <a:pt x="314" y="612"/>
                  <a:pt x="309" y="616"/>
                  <a:pt x="308" y="614"/>
                </a:cubicBezTo>
                <a:cubicBezTo>
                  <a:pt x="307" y="612"/>
                  <a:pt x="313" y="611"/>
                  <a:pt x="313" y="612"/>
                </a:cubicBezTo>
                <a:close/>
                <a:moveTo>
                  <a:pt x="313" y="683"/>
                </a:moveTo>
                <a:cubicBezTo>
                  <a:pt x="312" y="682"/>
                  <a:pt x="314" y="681"/>
                  <a:pt x="314" y="682"/>
                </a:cubicBezTo>
                <a:cubicBezTo>
                  <a:pt x="314" y="682"/>
                  <a:pt x="313" y="683"/>
                  <a:pt x="313" y="683"/>
                </a:cubicBezTo>
                <a:close/>
                <a:moveTo>
                  <a:pt x="313" y="589"/>
                </a:moveTo>
                <a:cubicBezTo>
                  <a:pt x="311" y="590"/>
                  <a:pt x="308" y="592"/>
                  <a:pt x="307" y="592"/>
                </a:cubicBezTo>
                <a:cubicBezTo>
                  <a:pt x="304" y="593"/>
                  <a:pt x="309" y="590"/>
                  <a:pt x="309" y="590"/>
                </a:cubicBezTo>
                <a:cubicBezTo>
                  <a:pt x="310" y="590"/>
                  <a:pt x="312" y="589"/>
                  <a:pt x="313" y="589"/>
                </a:cubicBezTo>
                <a:cubicBezTo>
                  <a:pt x="314" y="589"/>
                  <a:pt x="314" y="589"/>
                  <a:pt x="315" y="589"/>
                </a:cubicBezTo>
                <a:cubicBezTo>
                  <a:pt x="314" y="589"/>
                  <a:pt x="314" y="589"/>
                  <a:pt x="313" y="589"/>
                </a:cubicBezTo>
                <a:close/>
                <a:moveTo>
                  <a:pt x="315" y="519"/>
                </a:moveTo>
                <a:cubicBezTo>
                  <a:pt x="315" y="517"/>
                  <a:pt x="318" y="518"/>
                  <a:pt x="315" y="519"/>
                </a:cubicBezTo>
                <a:close/>
                <a:moveTo>
                  <a:pt x="317" y="683"/>
                </a:moveTo>
                <a:cubicBezTo>
                  <a:pt x="315" y="684"/>
                  <a:pt x="315" y="682"/>
                  <a:pt x="317" y="683"/>
                </a:cubicBezTo>
                <a:close/>
                <a:moveTo>
                  <a:pt x="317" y="683"/>
                </a:moveTo>
                <a:cubicBezTo>
                  <a:pt x="318" y="682"/>
                  <a:pt x="319" y="682"/>
                  <a:pt x="321" y="682"/>
                </a:cubicBezTo>
                <a:cubicBezTo>
                  <a:pt x="321" y="683"/>
                  <a:pt x="318" y="683"/>
                  <a:pt x="317" y="683"/>
                </a:cubicBezTo>
                <a:close/>
                <a:moveTo>
                  <a:pt x="333" y="104"/>
                </a:moveTo>
                <a:cubicBezTo>
                  <a:pt x="333" y="104"/>
                  <a:pt x="336" y="103"/>
                  <a:pt x="334" y="104"/>
                </a:cubicBezTo>
                <a:cubicBezTo>
                  <a:pt x="331" y="106"/>
                  <a:pt x="326" y="107"/>
                  <a:pt x="322" y="108"/>
                </a:cubicBezTo>
                <a:cubicBezTo>
                  <a:pt x="325" y="106"/>
                  <a:pt x="329" y="104"/>
                  <a:pt x="333" y="104"/>
                </a:cubicBezTo>
                <a:close/>
                <a:moveTo>
                  <a:pt x="323" y="170"/>
                </a:moveTo>
                <a:cubicBezTo>
                  <a:pt x="324" y="170"/>
                  <a:pt x="324" y="170"/>
                  <a:pt x="325" y="170"/>
                </a:cubicBezTo>
                <a:cubicBezTo>
                  <a:pt x="325" y="171"/>
                  <a:pt x="324" y="171"/>
                  <a:pt x="323" y="170"/>
                </a:cubicBezTo>
                <a:close/>
                <a:moveTo>
                  <a:pt x="322" y="617"/>
                </a:moveTo>
                <a:cubicBezTo>
                  <a:pt x="323" y="616"/>
                  <a:pt x="324" y="618"/>
                  <a:pt x="322" y="617"/>
                </a:cubicBezTo>
                <a:close/>
                <a:moveTo>
                  <a:pt x="322" y="627"/>
                </a:moveTo>
                <a:cubicBezTo>
                  <a:pt x="323" y="627"/>
                  <a:pt x="327" y="626"/>
                  <a:pt x="327" y="627"/>
                </a:cubicBezTo>
                <a:cubicBezTo>
                  <a:pt x="326" y="626"/>
                  <a:pt x="324" y="628"/>
                  <a:pt x="322" y="627"/>
                </a:cubicBezTo>
                <a:close/>
                <a:moveTo>
                  <a:pt x="327" y="574"/>
                </a:moveTo>
                <a:cubicBezTo>
                  <a:pt x="327" y="572"/>
                  <a:pt x="330" y="573"/>
                  <a:pt x="329" y="574"/>
                </a:cubicBezTo>
                <a:cubicBezTo>
                  <a:pt x="329" y="575"/>
                  <a:pt x="328" y="574"/>
                  <a:pt x="327" y="574"/>
                </a:cubicBezTo>
                <a:close/>
                <a:moveTo>
                  <a:pt x="329" y="627"/>
                </a:moveTo>
                <a:cubicBezTo>
                  <a:pt x="329" y="626"/>
                  <a:pt x="331" y="626"/>
                  <a:pt x="331" y="626"/>
                </a:cubicBezTo>
                <a:cubicBezTo>
                  <a:pt x="331" y="626"/>
                  <a:pt x="330" y="627"/>
                  <a:pt x="329" y="627"/>
                </a:cubicBezTo>
                <a:close/>
                <a:moveTo>
                  <a:pt x="329" y="589"/>
                </a:moveTo>
                <a:cubicBezTo>
                  <a:pt x="328" y="587"/>
                  <a:pt x="332" y="588"/>
                  <a:pt x="332" y="589"/>
                </a:cubicBezTo>
                <a:cubicBezTo>
                  <a:pt x="332" y="590"/>
                  <a:pt x="329" y="590"/>
                  <a:pt x="329" y="589"/>
                </a:cubicBezTo>
                <a:close/>
                <a:moveTo>
                  <a:pt x="328" y="583"/>
                </a:moveTo>
                <a:cubicBezTo>
                  <a:pt x="329" y="579"/>
                  <a:pt x="336" y="581"/>
                  <a:pt x="336" y="583"/>
                </a:cubicBezTo>
                <a:cubicBezTo>
                  <a:pt x="335" y="586"/>
                  <a:pt x="328" y="587"/>
                  <a:pt x="328" y="583"/>
                </a:cubicBezTo>
                <a:close/>
                <a:moveTo>
                  <a:pt x="335" y="131"/>
                </a:moveTo>
                <a:cubicBezTo>
                  <a:pt x="334" y="130"/>
                  <a:pt x="336" y="131"/>
                  <a:pt x="335" y="131"/>
                </a:cubicBezTo>
                <a:close/>
                <a:moveTo>
                  <a:pt x="336" y="659"/>
                </a:moveTo>
                <a:cubicBezTo>
                  <a:pt x="337" y="661"/>
                  <a:pt x="335" y="659"/>
                  <a:pt x="336" y="659"/>
                </a:cubicBezTo>
                <a:close/>
                <a:moveTo>
                  <a:pt x="336" y="131"/>
                </a:moveTo>
                <a:cubicBezTo>
                  <a:pt x="336" y="130"/>
                  <a:pt x="338" y="130"/>
                  <a:pt x="338" y="130"/>
                </a:cubicBezTo>
                <a:cubicBezTo>
                  <a:pt x="338" y="131"/>
                  <a:pt x="337" y="130"/>
                  <a:pt x="336" y="131"/>
                </a:cubicBezTo>
                <a:close/>
                <a:moveTo>
                  <a:pt x="337" y="711"/>
                </a:moveTo>
                <a:cubicBezTo>
                  <a:pt x="336" y="711"/>
                  <a:pt x="337" y="710"/>
                  <a:pt x="337" y="710"/>
                </a:cubicBezTo>
                <a:cubicBezTo>
                  <a:pt x="338" y="711"/>
                  <a:pt x="338" y="712"/>
                  <a:pt x="337" y="711"/>
                </a:cubicBezTo>
                <a:close/>
                <a:moveTo>
                  <a:pt x="337" y="685"/>
                </a:moveTo>
                <a:cubicBezTo>
                  <a:pt x="337" y="684"/>
                  <a:pt x="339" y="684"/>
                  <a:pt x="339" y="685"/>
                </a:cubicBezTo>
                <a:cubicBezTo>
                  <a:pt x="340" y="685"/>
                  <a:pt x="338" y="686"/>
                  <a:pt x="337" y="685"/>
                </a:cubicBezTo>
                <a:close/>
                <a:moveTo>
                  <a:pt x="338" y="705"/>
                </a:moveTo>
                <a:cubicBezTo>
                  <a:pt x="338" y="704"/>
                  <a:pt x="340" y="704"/>
                  <a:pt x="340" y="705"/>
                </a:cubicBezTo>
                <a:cubicBezTo>
                  <a:pt x="340" y="705"/>
                  <a:pt x="339" y="706"/>
                  <a:pt x="338" y="705"/>
                </a:cubicBezTo>
                <a:close/>
                <a:moveTo>
                  <a:pt x="338" y="680"/>
                </a:moveTo>
                <a:cubicBezTo>
                  <a:pt x="338" y="680"/>
                  <a:pt x="341" y="680"/>
                  <a:pt x="341" y="680"/>
                </a:cubicBezTo>
                <a:cubicBezTo>
                  <a:pt x="341" y="681"/>
                  <a:pt x="337" y="682"/>
                  <a:pt x="338" y="680"/>
                </a:cubicBezTo>
                <a:close/>
                <a:moveTo>
                  <a:pt x="342" y="110"/>
                </a:moveTo>
                <a:cubicBezTo>
                  <a:pt x="341" y="111"/>
                  <a:pt x="341" y="109"/>
                  <a:pt x="342" y="110"/>
                </a:cubicBezTo>
                <a:close/>
                <a:moveTo>
                  <a:pt x="328" y="108"/>
                </a:moveTo>
                <a:cubicBezTo>
                  <a:pt x="326" y="108"/>
                  <a:pt x="329" y="107"/>
                  <a:pt x="331" y="106"/>
                </a:cubicBezTo>
                <a:cubicBezTo>
                  <a:pt x="334" y="106"/>
                  <a:pt x="339" y="104"/>
                  <a:pt x="342" y="104"/>
                </a:cubicBezTo>
                <a:cubicBezTo>
                  <a:pt x="343" y="104"/>
                  <a:pt x="344" y="105"/>
                  <a:pt x="344" y="105"/>
                </a:cubicBezTo>
                <a:cubicBezTo>
                  <a:pt x="344" y="105"/>
                  <a:pt x="330" y="108"/>
                  <a:pt x="328" y="108"/>
                </a:cubicBezTo>
                <a:close/>
                <a:moveTo>
                  <a:pt x="345" y="576"/>
                </a:moveTo>
                <a:cubicBezTo>
                  <a:pt x="345" y="576"/>
                  <a:pt x="345" y="576"/>
                  <a:pt x="345" y="576"/>
                </a:cubicBezTo>
                <a:cubicBezTo>
                  <a:pt x="346" y="576"/>
                  <a:pt x="346" y="576"/>
                  <a:pt x="346" y="576"/>
                </a:cubicBezTo>
                <a:cubicBezTo>
                  <a:pt x="346" y="576"/>
                  <a:pt x="345" y="576"/>
                  <a:pt x="345" y="576"/>
                </a:cubicBezTo>
                <a:close/>
                <a:moveTo>
                  <a:pt x="346" y="704"/>
                </a:moveTo>
                <a:cubicBezTo>
                  <a:pt x="346" y="703"/>
                  <a:pt x="347" y="703"/>
                  <a:pt x="347" y="703"/>
                </a:cubicBezTo>
                <a:cubicBezTo>
                  <a:pt x="348" y="704"/>
                  <a:pt x="346" y="704"/>
                  <a:pt x="346" y="704"/>
                </a:cubicBezTo>
                <a:close/>
                <a:moveTo>
                  <a:pt x="344" y="537"/>
                </a:moveTo>
                <a:cubicBezTo>
                  <a:pt x="345" y="535"/>
                  <a:pt x="348" y="535"/>
                  <a:pt x="349" y="534"/>
                </a:cubicBezTo>
                <a:cubicBezTo>
                  <a:pt x="348" y="535"/>
                  <a:pt x="345" y="536"/>
                  <a:pt x="344" y="537"/>
                </a:cubicBezTo>
                <a:close/>
                <a:moveTo>
                  <a:pt x="348" y="89"/>
                </a:moveTo>
                <a:cubicBezTo>
                  <a:pt x="347" y="90"/>
                  <a:pt x="346" y="89"/>
                  <a:pt x="348" y="89"/>
                </a:cubicBezTo>
                <a:close/>
                <a:moveTo>
                  <a:pt x="347" y="71"/>
                </a:moveTo>
                <a:cubicBezTo>
                  <a:pt x="347" y="72"/>
                  <a:pt x="348" y="72"/>
                  <a:pt x="347" y="72"/>
                </a:cubicBezTo>
                <a:cubicBezTo>
                  <a:pt x="347" y="72"/>
                  <a:pt x="347" y="72"/>
                  <a:pt x="347" y="71"/>
                </a:cubicBezTo>
                <a:close/>
                <a:moveTo>
                  <a:pt x="345" y="44"/>
                </a:moveTo>
                <a:cubicBezTo>
                  <a:pt x="346" y="42"/>
                  <a:pt x="350" y="42"/>
                  <a:pt x="350" y="45"/>
                </a:cubicBezTo>
                <a:cubicBezTo>
                  <a:pt x="349" y="47"/>
                  <a:pt x="345" y="46"/>
                  <a:pt x="345" y="44"/>
                </a:cubicBezTo>
                <a:close/>
                <a:moveTo>
                  <a:pt x="350" y="626"/>
                </a:moveTo>
                <a:cubicBezTo>
                  <a:pt x="350" y="627"/>
                  <a:pt x="349" y="625"/>
                  <a:pt x="350" y="626"/>
                </a:cubicBezTo>
                <a:close/>
                <a:moveTo>
                  <a:pt x="350" y="205"/>
                </a:moveTo>
                <a:cubicBezTo>
                  <a:pt x="349" y="205"/>
                  <a:pt x="350" y="203"/>
                  <a:pt x="350" y="204"/>
                </a:cubicBezTo>
                <a:cubicBezTo>
                  <a:pt x="351" y="204"/>
                  <a:pt x="351" y="205"/>
                  <a:pt x="350" y="205"/>
                </a:cubicBezTo>
                <a:close/>
                <a:moveTo>
                  <a:pt x="538" y="122"/>
                </a:moveTo>
                <a:cubicBezTo>
                  <a:pt x="538" y="121"/>
                  <a:pt x="540" y="121"/>
                  <a:pt x="540" y="122"/>
                </a:cubicBezTo>
                <a:cubicBezTo>
                  <a:pt x="542" y="121"/>
                  <a:pt x="543" y="121"/>
                  <a:pt x="543" y="123"/>
                </a:cubicBezTo>
                <a:cubicBezTo>
                  <a:pt x="543" y="124"/>
                  <a:pt x="539" y="125"/>
                  <a:pt x="538" y="124"/>
                </a:cubicBezTo>
                <a:cubicBezTo>
                  <a:pt x="538" y="123"/>
                  <a:pt x="538" y="123"/>
                  <a:pt x="538" y="122"/>
                </a:cubicBezTo>
                <a:cubicBezTo>
                  <a:pt x="538" y="122"/>
                  <a:pt x="538" y="122"/>
                  <a:pt x="538" y="122"/>
                </a:cubicBezTo>
                <a:close/>
                <a:moveTo>
                  <a:pt x="538" y="121"/>
                </a:moveTo>
                <a:cubicBezTo>
                  <a:pt x="538" y="121"/>
                  <a:pt x="536" y="122"/>
                  <a:pt x="536" y="121"/>
                </a:cubicBezTo>
                <a:cubicBezTo>
                  <a:pt x="536" y="121"/>
                  <a:pt x="537" y="121"/>
                  <a:pt x="538" y="121"/>
                </a:cubicBezTo>
                <a:close/>
                <a:moveTo>
                  <a:pt x="531" y="126"/>
                </a:moveTo>
                <a:cubicBezTo>
                  <a:pt x="531" y="126"/>
                  <a:pt x="531" y="127"/>
                  <a:pt x="530" y="127"/>
                </a:cubicBezTo>
                <a:cubicBezTo>
                  <a:pt x="530" y="127"/>
                  <a:pt x="531" y="126"/>
                  <a:pt x="531" y="126"/>
                </a:cubicBezTo>
                <a:close/>
                <a:moveTo>
                  <a:pt x="531" y="154"/>
                </a:moveTo>
                <a:cubicBezTo>
                  <a:pt x="529" y="157"/>
                  <a:pt x="525" y="158"/>
                  <a:pt x="522" y="159"/>
                </a:cubicBezTo>
                <a:cubicBezTo>
                  <a:pt x="524" y="156"/>
                  <a:pt x="528" y="156"/>
                  <a:pt x="531" y="154"/>
                </a:cubicBezTo>
                <a:close/>
                <a:moveTo>
                  <a:pt x="525" y="201"/>
                </a:moveTo>
                <a:cubicBezTo>
                  <a:pt x="524" y="202"/>
                  <a:pt x="523" y="203"/>
                  <a:pt x="521" y="203"/>
                </a:cubicBezTo>
                <a:cubicBezTo>
                  <a:pt x="522" y="202"/>
                  <a:pt x="523" y="201"/>
                  <a:pt x="525" y="201"/>
                </a:cubicBezTo>
                <a:close/>
                <a:moveTo>
                  <a:pt x="521" y="198"/>
                </a:moveTo>
                <a:cubicBezTo>
                  <a:pt x="521" y="198"/>
                  <a:pt x="521" y="197"/>
                  <a:pt x="522" y="197"/>
                </a:cubicBezTo>
                <a:cubicBezTo>
                  <a:pt x="524" y="195"/>
                  <a:pt x="523" y="200"/>
                  <a:pt x="521" y="198"/>
                </a:cubicBezTo>
                <a:close/>
                <a:moveTo>
                  <a:pt x="524" y="195"/>
                </a:moveTo>
                <a:cubicBezTo>
                  <a:pt x="524" y="194"/>
                  <a:pt x="525" y="194"/>
                  <a:pt x="525" y="194"/>
                </a:cubicBezTo>
                <a:cubicBezTo>
                  <a:pt x="526" y="195"/>
                  <a:pt x="524" y="195"/>
                  <a:pt x="524" y="195"/>
                </a:cubicBezTo>
                <a:close/>
                <a:moveTo>
                  <a:pt x="531" y="196"/>
                </a:moveTo>
                <a:cubicBezTo>
                  <a:pt x="530" y="198"/>
                  <a:pt x="527" y="199"/>
                  <a:pt x="525" y="201"/>
                </a:cubicBezTo>
                <a:cubicBezTo>
                  <a:pt x="526" y="199"/>
                  <a:pt x="529" y="197"/>
                  <a:pt x="531" y="196"/>
                </a:cubicBezTo>
                <a:close/>
                <a:moveTo>
                  <a:pt x="529" y="172"/>
                </a:moveTo>
                <a:cubicBezTo>
                  <a:pt x="531" y="170"/>
                  <a:pt x="530" y="174"/>
                  <a:pt x="528" y="173"/>
                </a:cubicBezTo>
                <a:cubicBezTo>
                  <a:pt x="528" y="173"/>
                  <a:pt x="529" y="172"/>
                  <a:pt x="529" y="172"/>
                </a:cubicBezTo>
                <a:close/>
                <a:moveTo>
                  <a:pt x="522" y="181"/>
                </a:moveTo>
                <a:cubicBezTo>
                  <a:pt x="521" y="181"/>
                  <a:pt x="523" y="180"/>
                  <a:pt x="523" y="181"/>
                </a:cubicBezTo>
                <a:cubicBezTo>
                  <a:pt x="524" y="181"/>
                  <a:pt x="522" y="182"/>
                  <a:pt x="522" y="181"/>
                </a:cubicBezTo>
                <a:close/>
                <a:moveTo>
                  <a:pt x="529" y="135"/>
                </a:moveTo>
                <a:cubicBezTo>
                  <a:pt x="528" y="136"/>
                  <a:pt x="526" y="138"/>
                  <a:pt x="524" y="138"/>
                </a:cubicBezTo>
                <a:cubicBezTo>
                  <a:pt x="525" y="138"/>
                  <a:pt x="526" y="138"/>
                  <a:pt x="525" y="139"/>
                </a:cubicBezTo>
                <a:cubicBezTo>
                  <a:pt x="525" y="140"/>
                  <a:pt x="522" y="140"/>
                  <a:pt x="522" y="139"/>
                </a:cubicBezTo>
                <a:cubicBezTo>
                  <a:pt x="522" y="139"/>
                  <a:pt x="523" y="138"/>
                  <a:pt x="524" y="138"/>
                </a:cubicBezTo>
                <a:cubicBezTo>
                  <a:pt x="524" y="138"/>
                  <a:pt x="524" y="138"/>
                  <a:pt x="524" y="138"/>
                </a:cubicBezTo>
                <a:cubicBezTo>
                  <a:pt x="525" y="136"/>
                  <a:pt x="527" y="136"/>
                  <a:pt x="529" y="135"/>
                </a:cubicBezTo>
                <a:close/>
                <a:moveTo>
                  <a:pt x="525" y="117"/>
                </a:moveTo>
                <a:cubicBezTo>
                  <a:pt x="525" y="117"/>
                  <a:pt x="525" y="117"/>
                  <a:pt x="524" y="117"/>
                </a:cubicBezTo>
                <a:cubicBezTo>
                  <a:pt x="524" y="117"/>
                  <a:pt x="524" y="116"/>
                  <a:pt x="525" y="117"/>
                </a:cubicBezTo>
                <a:close/>
                <a:moveTo>
                  <a:pt x="524" y="86"/>
                </a:moveTo>
                <a:cubicBezTo>
                  <a:pt x="523" y="86"/>
                  <a:pt x="522" y="86"/>
                  <a:pt x="521" y="86"/>
                </a:cubicBezTo>
                <a:cubicBezTo>
                  <a:pt x="522" y="85"/>
                  <a:pt x="523" y="85"/>
                  <a:pt x="524" y="86"/>
                </a:cubicBezTo>
                <a:close/>
                <a:moveTo>
                  <a:pt x="521" y="87"/>
                </a:moveTo>
                <a:cubicBezTo>
                  <a:pt x="521" y="87"/>
                  <a:pt x="523" y="88"/>
                  <a:pt x="523" y="88"/>
                </a:cubicBezTo>
                <a:cubicBezTo>
                  <a:pt x="523" y="88"/>
                  <a:pt x="520" y="88"/>
                  <a:pt x="521" y="87"/>
                </a:cubicBezTo>
                <a:close/>
                <a:moveTo>
                  <a:pt x="523" y="92"/>
                </a:moveTo>
                <a:cubicBezTo>
                  <a:pt x="523" y="92"/>
                  <a:pt x="521" y="92"/>
                  <a:pt x="521" y="91"/>
                </a:cubicBezTo>
                <a:cubicBezTo>
                  <a:pt x="522" y="90"/>
                  <a:pt x="523" y="91"/>
                  <a:pt x="523" y="92"/>
                </a:cubicBezTo>
                <a:close/>
                <a:moveTo>
                  <a:pt x="521" y="105"/>
                </a:moveTo>
                <a:cubicBezTo>
                  <a:pt x="521" y="106"/>
                  <a:pt x="520" y="104"/>
                  <a:pt x="521" y="105"/>
                </a:cubicBezTo>
                <a:close/>
                <a:moveTo>
                  <a:pt x="525" y="106"/>
                </a:moveTo>
                <a:cubicBezTo>
                  <a:pt x="527" y="106"/>
                  <a:pt x="528" y="108"/>
                  <a:pt x="526" y="111"/>
                </a:cubicBezTo>
                <a:cubicBezTo>
                  <a:pt x="525" y="112"/>
                  <a:pt x="523" y="112"/>
                  <a:pt x="522" y="112"/>
                </a:cubicBezTo>
                <a:cubicBezTo>
                  <a:pt x="520" y="112"/>
                  <a:pt x="518" y="112"/>
                  <a:pt x="518" y="112"/>
                </a:cubicBezTo>
                <a:cubicBezTo>
                  <a:pt x="518" y="112"/>
                  <a:pt x="519" y="112"/>
                  <a:pt x="519" y="112"/>
                </a:cubicBezTo>
                <a:cubicBezTo>
                  <a:pt x="519" y="112"/>
                  <a:pt x="518" y="112"/>
                  <a:pt x="518" y="112"/>
                </a:cubicBezTo>
                <a:cubicBezTo>
                  <a:pt x="518" y="112"/>
                  <a:pt x="518" y="111"/>
                  <a:pt x="518" y="111"/>
                </a:cubicBezTo>
                <a:cubicBezTo>
                  <a:pt x="517" y="110"/>
                  <a:pt x="522" y="106"/>
                  <a:pt x="525" y="106"/>
                </a:cubicBezTo>
                <a:close/>
                <a:moveTo>
                  <a:pt x="520" y="133"/>
                </a:moveTo>
                <a:cubicBezTo>
                  <a:pt x="522" y="131"/>
                  <a:pt x="522" y="133"/>
                  <a:pt x="520" y="133"/>
                </a:cubicBezTo>
                <a:close/>
                <a:moveTo>
                  <a:pt x="519" y="147"/>
                </a:moveTo>
                <a:cubicBezTo>
                  <a:pt x="519" y="146"/>
                  <a:pt x="521" y="145"/>
                  <a:pt x="521" y="146"/>
                </a:cubicBezTo>
                <a:cubicBezTo>
                  <a:pt x="522" y="147"/>
                  <a:pt x="520" y="147"/>
                  <a:pt x="519" y="147"/>
                </a:cubicBezTo>
                <a:close/>
                <a:moveTo>
                  <a:pt x="513" y="162"/>
                </a:moveTo>
                <a:cubicBezTo>
                  <a:pt x="512" y="161"/>
                  <a:pt x="516" y="159"/>
                  <a:pt x="516" y="161"/>
                </a:cubicBezTo>
                <a:cubicBezTo>
                  <a:pt x="517" y="162"/>
                  <a:pt x="513" y="163"/>
                  <a:pt x="513" y="162"/>
                </a:cubicBezTo>
                <a:close/>
                <a:moveTo>
                  <a:pt x="516" y="163"/>
                </a:moveTo>
                <a:cubicBezTo>
                  <a:pt x="516" y="164"/>
                  <a:pt x="515" y="165"/>
                  <a:pt x="516" y="164"/>
                </a:cubicBezTo>
                <a:cubicBezTo>
                  <a:pt x="516" y="164"/>
                  <a:pt x="516" y="164"/>
                  <a:pt x="516" y="163"/>
                </a:cubicBezTo>
                <a:close/>
                <a:moveTo>
                  <a:pt x="514" y="191"/>
                </a:moveTo>
                <a:cubicBezTo>
                  <a:pt x="515" y="190"/>
                  <a:pt x="516" y="192"/>
                  <a:pt x="514" y="191"/>
                </a:cubicBezTo>
                <a:close/>
                <a:moveTo>
                  <a:pt x="512" y="192"/>
                </a:moveTo>
                <a:cubicBezTo>
                  <a:pt x="512" y="191"/>
                  <a:pt x="514" y="191"/>
                  <a:pt x="514" y="191"/>
                </a:cubicBezTo>
                <a:cubicBezTo>
                  <a:pt x="514" y="192"/>
                  <a:pt x="512" y="192"/>
                  <a:pt x="512" y="192"/>
                </a:cubicBezTo>
                <a:close/>
                <a:moveTo>
                  <a:pt x="514" y="247"/>
                </a:moveTo>
                <a:cubicBezTo>
                  <a:pt x="514" y="248"/>
                  <a:pt x="513" y="245"/>
                  <a:pt x="514" y="247"/>
                </a:cubicBezTo>
                <a:close/>
                <a:moveTo>
                  <a:pt x="504" y="183"/>
                </a:moveTo>
                <a:cubicBezTo>
                  <a:pt x="506" y="182"/>
                  <a:pt x="506" y="181"/>
                  <a:pt x="504" y="181"/>
                </a:cubicBezTo>
                <a:cubicBezTo>
                  <a:pt x="505" y="178"/>
                  <a:pt x="508" y="175"/>
                  <a:pt x="511" y="176"/>
                </a:cubicBezTo>
                <a:cubicBezTo>
                  <a:pt x="517" y="179"/>
                  <a:pt x="509" y="186"/>
                  <a:pt x="504" y="183"/>
                </a:cubicBezTo>
                <a:close/>
                <a:moveTo>
                  <a:pt x="505" y="184"/>
                </a:moveTo>
                <a:cubicBezTo>
                  <a:pt x="505" y="184"/>
                  <a:pt x="505" y="184"/>
                  <a:pt x="505" y="184"/>
                </a:cubicBezTo>
                <a:cubicBezTo>
                  <a:pt x="506" y="186"/>
                  <a:pt x="503" y="183"/>
                  <a:pt x="505" y="184"/>
                </a:cubicBezTo>
                <a:close/>
                <a:moveTo>
                  <a:pt x="494" y="127"/>
                </a:moveTo>
                <a:cubicBezTo>
                  <a:pt x="494" y="127"/>
                  <a:pt x="497" y="125"/>
                  <a:pt x="498" y="127"/>
                </a:cubicBezTo>
                <a:cubicBezTo>
                  <a:pt x="498" y="128"/>
                  <a:pt x="494" y="129"/>
                  <a:pt x="494" y="127"/>
                </a:cubicBezTo>
                <a:close/>
                <a:moveTo>
                  <a:pt x="496" y="219"/>
                </a:moveTo>
                <a:cubicBezTo>
                  <a:pt x="495" y="219"/>
                  <a:pt x="496" y="218"/>
                  <a:pt x="496" y="218"/>
                </a:cubicBezTo>
                <a:cubicBezTo>
                  <a:pt x="497" y="218"/>
                  <a:pt x="496" y="219"/>
                  <a:pt x="496" y="219"/>
                </a:cubicBezTo>
                <a:close/>
                <a:moveTo>
                  <a:pt x="493" y="182"/>
                </a:moveTo>
                <a:cubicBezTo>
                  <a:pt x="493" y="181"/>
                  <a:pt x="495" y="181"/>
                  <a:pt x="495" y="181"/>
                </a:cubicBezTo>
                <a:cubicBezTo>
                  <a:pt x="496" y="182"/>
                  <a:pt x="494" y="183"/>
                  <a:pt x="493" y="182"/>
                </a:cubicBezTo>
                <a:close/>
                <a:moveTo>
                  <a:pt x="494" y="221"/>
                </a:moveTo>
                <a:cubicBezTo>
                  <a:pt x="494" y="221"/>
                  <a:pt x="495" y="220"/>
                  <a:pt x="495" y="220"/>
                </a:cubicBezTo>
                <a:cubicBezTo>
                  <a:pt x="495" y="220"/>
                  <a:pt x="494" y="222"/>
                  <a:pt x="494" y="221"/>
                </a:cubicBezTo>
                <a:close/>
                <a:moveTo>
                  <a:pt x="484" y="206"/>
                </a:moveTo>
                <a:cubicBezTo>
                  <a:pt x="487" y="204"/>
                  <a:pt x="490" y="201"/>
                  <a:pt x="492" y="200"/>
                </a:cubicBezTo>
                <a:cubicBezTo>
                  <a:pt x="492" y="200"/>
                  <a:pt x="494" y="199"/>
                  <a:pt x="493" y="200"/>
                </a:cubicBezTo>
                <a:cubicBezTo>
                  <a:pt x="492" y="203"/>
                  <a:pt x="487" y="205"/>
                  <a:pt x="484" y="206"/>
                </a:cubicBezTo>
                <a:close/>
                <a:moveTo>
                  <a:pt x="491" y="221"/>
                </a:moveTo>
                <a:cubicBezTo>
                  <a:pt x="491" y="220"/>
                  <a:pt x="493" y="220"/>
                  <a:pt x="493" y="221"/>
                </a:cubicBezTo>
                <a:cubicBezTo>
                  <a:pt x="493" y="222"/>
                  <a:pt x="491" y="222"/>
                  <a:pt x="491" y="221"/>
                </a:cubicBezTo>
                <a:close/>
                <a:moveTo>
                  <a:pt x="480" y="95"/>
                </a:moveTo>
                <a:cubicBezTo>
                  <a:pt x="482" y="94"/>
                  <a:pt x="483" y="93"/>
                  <a:pt x="485" y="93"/>
                </a:cubicBezTo>
                <a:cubicBezTo>
                  <a:pt x="483" y="94"/>
                  <a:pt x="482" y="95"/>
                  <a:pt x="480" y="95"/>
                </a:cubicBezTo>
                <a:close/>
                <a:moveTo>
                  <a:pt x="481" y="162"/>
                </a:moveTo>
                <a:cubicBezTo>
                  <a:pt x="481" y="160"/>
                  <a:pt x="484" y="161"/>
                  <a:pt x="481" y="162"/>
                </a:cubicBezTo>
                <a:close/>
                <a:moveTo>
                  <a:pt x="482" y="109"/>
                </a:moveTo>
                <a:cubicBezTo>
                  <a:pt x="481" y="112"/>
                  <a:pt x="478" y="110"/>
                  <a:pt x="482" y="109"/>
                </a:cubicBezTo>
                <a:close/>
                <a:moveTo>
                  <a:pt x="496" y="72"/>
                </a:moveTo>
                <a:cubicBezTo>
                  <a:pt x="496" y="73"/>
                  <a:pt x="495" y="73"/>
                  <a:pt x="494" y="73"/>
                </a:cubicBezTo>
                <a:cubicBezTo>
                  <a:pt x="494" y="73"/>
                  <a:pt x="496" y="71"/>
                  <a:pt x="496" y="72"/>
                </a:cubicBezTo>
                <a:close/>
                <a:moveTo>
                  <a:pt x="494" y="43"/>
                </a:moveTo>
                <a:cubicBezTo>
                  <a:pt x="494" y="43"/>
                  <a:pt x="496" y="43"/>
                  <a:pt x="496" y="43"/>
                </a:cubicBezTo>
                <a:cubicBezTo>
                  <a:pt x="497" y="45"/>
                  <a:pt x="494" y="44"/>
                  <a:pt x="494" y="43"/>
                </a:cubicBezTo>
                <a:close/>
                <a:moveTo>
                  <a:pt x="493" y="64"/>
                </a:moveTo>
                <a:cubicBezTo>
                  <a:pt x="493" y="64"/>
                  <a:pt x="494" y="64"/>
                  <a:pt x="495" y="65"/>
                </a:cubicBezTo>
                <a:cubicBezTo>
                  <a:pt x="495" y="66"/>
                  <a:pt x="493" y="65"/>
                  <a:pt x="493" y="64"/>
                </a:cubicBezTo>
                <a:close/>
                <a:moveTo>
                  <a:pt x="499" y="87"/>
                </a:moveTo>
                <a:cubicBezTo>
                  <a:pt x="498" y="89"/>
                  <a:pt x="488" y="88"/>
                  <a:pt x="488" y="87"/>
                </a:cubicBezTo>
                <a:cubicBezTo>
                  <a:pt x="489" y="86"/>
                  <a:pt x="496" y="88"/>
                  <a:pt x="499" y="87"/>
                </a:cubicBezTo>
                <a:close/>
                <a:moveTo>
                  <a:pt x="493" y="105"/>
                </a:moveTo>
                <a:cubicBezTo>
                  <a:pt x="493" y="105"/>
                  <a:pt x="493" y="105"/>
                  <a:pt x="493" y="105"/>
                </a:cubicBezTo>
                <a:cubicBezTo>
                  <a:pt x="493" y="105"/>
                  <a:pt x="493" y="105"/>
                  <a:pt x="492" y="105"/>
                </a:cubicBezTo>
                <a:cubicBezTo>
                  <a:pt x="489" y="105"/>
                  <a:pt x="493" y="97"/>
                  <a:pt x="497" y="101"/>
                </a:cubicBezTo>
                <a:cubicBezTo>
                  <a:pt x="498" y="102"/>
                  <a:pt x="498" y="102"/>
                  <a:pt x="498" y="103"/>
                </a:cubicBezTo>
                <a:cubicBezTo>
                  <a:pt x="498" y="106"/>
                  <a:pt x="494" y="107"/>
                  <a:pt x="493" y="105"/>
                </a:cubicBezTo>
                <a:close/>
                <a:moveTo>
                  <a:pt x="495" y="108"/>
                </a:moveTo>
                <a:cubicBezTo>
                  <a:pt x="495" y="108"/>
                  <a:pt x="494" y="109"/>
                  <a:pt x="494" y="108"/>
                </a:cubicBezTo>
                <a:cubicBezTo>
                  <a:pt x="493" y="108"/>
                  <a:pt x="495" y="107"/>
                  <a:pt x="495" y="108"/>
                </a:cubicBezTo>
                <a:close/>
                <a:moveTo>
                  <a:pt x="494" y="174"/>
                </a:moveTo>
                <a:cubicBezTo>
                  <a:pt x="494" y="175"/>
                  <a:pt x="492" y="176"/>
                  <a:pt x="492" y="175"/>
                </a:cubicBezTo>
                <a:cubicBezTo>
                  <a:pt x="492" y="174"/>
                  <a:pt x="494" y="173"/>
                  <a:pt x="494" y="174"/>
                </a:cubicBezTo>
                <a:close/>
                <a:moveTo>
                  <a:pt x="495" y="98"/>
                </a:moveTo>
                <a:cubicBezTo>
                  <a:pt x="496" y="99"/>
                  <a:pt x="494" y="98"/>
                  <a:pt x="495" y="98"/>
                </a:cubicBezTo>
                <a:close/>
                <a:moveTo>
                  <a:pt x="499" y="91"/>
                </a:moveTo>
                <a:cubicBezTo>
                  <a:pt x="498" y="92"/>
                  <a:pt x="497" y="91"/>
                  <a:pt x="499" y="91"/>
                </a:cubicBezTo>
                <a:close/>
                <a:moveTo>
                  <a:pt x="491" y="166"/>
                </a:moveTo>
                <a:cubicBezTo>
                  <a:pt x="491" y="167"/>
                  <a:pt x="489" y="169"/>
                  <a:pt x="488" y="169"/>
                </a:cubicBezTo>
                <a:cubicBezTo>
                  <a:pt x="488" y="167"/>
                  <a:pt x="490" y="167"/>
                  <a:pt x="491" y="166"/>
                </a:cubicBezTo>
                <a:close/>
                <a:moveTo>
                  <a:pt x="485" y="144"/>
                </a:moveTo>
                <a:cubicBezTo>
                  <a:pt x="488" y="143"/>
                  <a:pt x="489" y="145"/>
                  <a:pt x="485" y="144"/>
                </a:cubicBezTo>
                <a:close/>
                <a:moveTo>
                  <a:pt x="486" y="93"/>
                </a:moveTo>
                <a:cubicBezTo>
                  <a:pt x="488" y="92"/>
                  <a:pt x="489" y="91"/>
                  <a:pt x="491" y="90"/>
                </a:cubicBezTo>
                <a:cubicBezTo>
                  <a:pt x="490" y="92"/>
                  <a:pt x="488" y="92"/>
                  <a:pt x="486" y="93"/>
                </a:cubicBezTo>
                <a:close/>
                <a:moveTo>
                  <a:pt x="491" y="61"/>
                </a:moveTo>
                <a:cubicBezTo>
                  <a:pt x="491" y="60"/>
                  <a:pt x="492" y="60"/>
                  <a:pt x="493" y="61"/>
                </a:cubicBezTo>
                <a:cubicBezTo>
                  <a:pt x="492" y="61"/>
                  <a:pt x="492" y="61"/>
                  <a:pt x="491" y="61"/>
                </a:cubicBezTo>
                <a:close/>
                <a:moveTo>
                  <a:pt x="490" y="74"/>
                </a:moveTo>
                <a:cubicBezTo>
                  <a:pt x="491" y="73"/>
                  <a:pt x="491" y="75"/>
                  <a:pt x="490" y="74"/>
                </a:cubicBezTo>
                <a:close/>
                <a:moveTo>
                  <a:pt x="489" y="67"/>
                </a:moveTo>
                <a:cubicBezTo>
                  <a:pt x="488" y="66"/>
                  <a:pt x="490" y="66"/>
                  <a:pt x="490" y="66"/>
                </a:cubicBezTo>
                <a:cubicBezTo>
                  <a:pt x="491" y="67"/>
                  <a:pt x="489" y="68"/>
                  <a:pt x="489" y="67"/>
                </a:cubicBezTo>
                <a:close/>
                <a:moveTo>
                  <a:pt x="488" y="60"/>
                </a:moveTo>
                <a:cubicBezTo>
                  <a:pt x="488" y="60"/>
                  <a:pt x="489" y="60"/>
                  <a:pt x="489" y="60"/>
                </a:cubicBezTo>
                <a:cubicBezTo>
                  <a:pt x="489" y="60"/>
                  <a:pt x="489" y="61"/>
                  <a:pt x="488" y="60"/>
                </a:cubicBezTo>
                <a:close/>
                <a:moveTo>
                  <a:pt x="492" y="82"/>
                </a:moveTo>
                <a:cubicBezTo>
                  <a:pt x="492" y="84"/>
                  <a:pt x="487" y="83"/>
                  <a:pt x="487" y="81"/>
                </a:cubicBezTo>
                <a:cubicBezTo>
                  <a:pt x="487" y="79"/>
                  <a:pt x="492" y="79"/>
                  <a:pt x="492" y="82"/>
                </a:cubicBezTo>
                <a:close/>
                <a:moveTo>
                  <a:pt x="483" y="73"/>
                </a:moveTo>
                <a:cubicBezTo>
                  <a:pt x="482" y="71"/>
                  <a:pt x="487" y="70"/>
                  <a:pt x="487" y="72"/>
                </a:cubicBezTo>
                <a:cubicBezTo>
                  <a:pt x="488" y="75"/>
                  <a:pt x="483" y="74"/>
                  <a:pt x="483" y="73"/>
                </a:cubicBezTo>
                <a:close/>
                <a:moveTo>
                  <a:pt x="483" y="60"/>
                </a:moveTo>
                <a:cubicBezTo>
                  <a:pt x="483" y="60"/>
                  <a:pt x="483" y="60"/>
                  <a:pt x="483" y="60"/>
                </a:cubicBezTo>
                <a:cubicBezTo>
                  <a:pt x="484" y="62"/>
                  <a:pt x="481" y="59"/>
                  <a:pt x="483" y="60"/>
                </a:cubicBezTo>
                <a:close/>
                <a:moveTo>
                  <a:pt x="482" y="62"/>
                </a:moveTo>
                <a:cubicBezTo>
                  <a:pt x="483" y="63"/>
                  <a:pt x="481" y="63"/>
                  <a:pt x="481" y="62"/>
                </a:cubicBezTo>
                <a:cubicBezTo>
                  <a:pt x="481" y="62"/>
                  <a:pt x="482" y="62"/>
                  <a:pt x="482" y="62"/>
                </a:cubicBezTo>
                <a:close/>
                <a:moveTo>
                  <a:pt x="487" y="184"/>
                </a:moveTo>
                <a:cubicBezTo>
                  <a:pt x="487" y="185"/>
                  <a:pt x="485" y="186"/>
                  <a:pt x="484" y="186"/>
                </a:cubicBezTo>
                <a:cubicBezTo>
                  <a:pt x="485" y="185"/>
                  <a:pt x="486" y="185"/>
                  <a:pt x="487" y="184"/>
                </a:cubicBezTo>
                <a:close/>
                <a:moveTo>
                  <a:pt x="495" y="174"/>
                </a:moveTo>
                <a:cubicBezTo>
                  <a:pt x="495" y="174"/>
                  <a:pt x="495" y="174"/>
                  <a:pt x="495" y="174"/>
                </a:cubicBezTo>
                <a:cubicBezTo>
                  <a:pt x="495" y="175"/>
                  <a:pt x="494" y="175"/>
                  <a:pt x="495" y="174"/>
                </a:cubicBezTo>
                <a:close/>
                <a:moveTo>
                  <a:pt x="498" y="141"/>
                </a:moveTo>
                <a:cubicBezTo>
                  <a:pt x="499" y="142"/>
                  <a:pt x="497" y="143"/>
                  <a:pt x="497" y="142"/>
                </a:cubicBezTo>
                <a:cubicBezTo>
                  <a:pt x="496" y="141"/>
                  <a:pt x="498" y="141"/>
                  <a:pt x="498" y="141"/>
                </a:cubicBezTo>
                <a:close/>
                <a:moveTo>
                  <a:pt x="497" y="131"/>
                </a:moveTo>
                <a:cubicBezTo>
                  <a:pt x="497" y="131"/>
                  <a:pt x="498" y="131"/>
                  <a:pt x="498" y="131"/>
                </a:cubicBezTo>
                <a:cubicBezTo>
                  <a:pt x="499" y="132"/>
                  <a:pt x="497" y="132"/>
                  <a:pt x="497" y="131"/>
                </a:cubicBezTo>
                <a:close/>
                <a:moveTo>
                  <a:pt x="498" y="128"/>
                </a:moveTo>
                <a:cubicBezTo>
                  <a:pt x="499" y="129"/>
                  <a:pt x="500" y="126"/>
                  <a:pt x="501" y="126"/>
                </a:cubicBezTo>
                <a:cubicBezTo>
                  <a:pt x="508" y="122"/>
                  <a:pt x="510" y="132"/>
                  <a:pt x="502" y="132"/>
                </a:cubicBezTo>
                <a:cubicBezTo>
                  <a:pt x="501" y="132"/>
                  <a:pt x="498" y="131"/>
                  <a:pt x="498" y="128"/>
                </a:cubicBezTo>
                <a:close/>
                <a:moveTo>
                  <a:pt x="502" y="94"/>
                </a:moveTo>
                <a:cubicBezTo>
                  <a:pt x="503" y="93"/>
                  <a:pt x="504" y="95"/>
                  <a:pt x="502" y="94"/>
                </a:cubicBezTo>
                <a:close/>
                <a:moveTo>
                  <a:pt x="505" y="67"/>
                </a:moveTo>
                <a:cubicBezTo>
                  <a:pt x="505" y="67"/>
                  <a:pt x="505" y="68"/>
                  <a:pt x="504" y="68"/>
                </a:cubicBezTo>
                <a:cubicBezTo>
                  <a:pt x="502" y="68"/>
                  <a:pt x="504" y="64"/>
                  <a:pt x="505" y="67"/>
                </a:cubicBezTo>
                <a:close/>
                <a:moveTo>
                  <a:pt x="503" y="121"/>
                </a:moveTo>
                <a:cubicBezTo>
                  <a:pt x="504" y="121"/>
                  <a:pt x="502" y="123"/>
                  <a:pt x="501" y="122"/>
                </a:cubicBezTo>
                <a:cubicBezTo>
                  <a:pt x="502" y="122"/>
                  <a:pt x="502" y="122"/>
                  <a:pt x="503" y="121"/>
                </a:cubicBezTo>
                <a:close/>
                <a:moveTo>
                  <a:pt x="506" y="123"/>
                </a:moveTo>
                <a:cubicBezTo>
                  <a:pt x="507" y="123"/>
                  <a:pt x="505" y="124"/>
                  <a:pt x="505" y="124"/>
                </a:cubicBezTo>
                <a:cubicBezTo>
                  <a:pt x="505" y="123"/>
                  <a:pt x="505" y="122"/>
                  <a:pt x="506" y="123"/>
                </a:cubicBezTo>
                <a:close/>
                <a:moveTo>
                  <a:pt x="506" y="142"/>
                </a:moveTo>
                <a:cubicBezTo>
                  <a:pt x="507" y="142"/>
                  <a:pt x="505" y="143"/>
                  <a:pt x="505" y="142"/>
                </a:cubicBezTo>
                <a:cubicBezTo>
                  <a:pt x="505" y="142"/>
                  <a:pt x="506" y="142"/>
                  <a:pt x="506" y="142"/>
                </a:cubicBezTo>
                <a:close/>
                <a:moveTo>
                  <a:pt x="502" y="137"/>
                </a:moveTo>
                <a:cubicBezTo>
                  <a:pt x="503" y="139"/>
                  <a:pt x="499" y="139"/>
                  <a:pt x="499" y="138"/>
                </a:cubicBezTo>
                <a:cubicBezTo>
                  <a:pt x="499" y="136"/>
                  <a:pt x="502" y="136"/>
                  <a:pt x="502" y="137"/>
                </a:cubicBezTo>
                <a:close/>
                <a:moveTo>
                  <a:pt x="504" y="199"/>
                </a:moveTo>
                <a:cubicBezTo>
                  <a:pt x="504" y="199"/>
                  <a:pt x="503" y="200"/>
                  <a:pt x="503" y="200"/>
                </a:cubicBezTo>
                <a:cubicBezTo>
                  <a:pt x="501" y="200"/>
                  <a:pt x="503" y="197"/>
                  <a:pt x="504" y="199"/>
                </a:cubicBezTo>
                <a:close/>
                <a:moveTo>
                  <a:pt x="512" y="113"/>
                </a:moveTo>
                <a:cubicBezTo>
                  <a:pt x="512" y="114"/>
                  <a:pt x="509" y="116"/>
                  <a:pt x="507" y="114"/>
                </a:cubicBezTo>
                <a:cubicBezTo>
                  <a:pt x="506" y="113"/>
                  <a:pt x="511" y="111"/>
                  <a:pt x="512" y="113"/>
                </a:cubicBezTo>
                <a:close/>
                <a:moveTo>
                  <a:pt x="508" y="101"/>
                </a:moveTo>
                <a:cubicBezTo>
                  <a:pt x="508" y="100"/>
                  <a:pt x="509" y="100"/>
                  <a:pt x="510" y="101"/>
                </a:cubicBezTo>
                <a:cubicBezTo>
                  <a:pt x="511" y="102"/>
                  <a:pt x="508" y="102"/>
                  <a:pt x="508" y="101"/>
                </a:cubicBezTo>
                <a:close/>
                <a:moveTo>
                  <a:pt x="510" y="102"/>
                </a:moveTo>
                <a:cubicBezTo>
                  <a:pt x="511" y="101"/>
                  <a:pt x="512" y="103"/>
                  <a:pt x="510" y="102"/>
                </a:cubicBezTo>
                <a:close/>
                <a:moveTo>
                  <a:pt x="514" y="132"/>
                </a:moveTo>
                <a:cubicBezTo>
                  <a:pt x="514" y="132"/>
                  <a:pt x="514" y="133"/>
                  <a:pt x="514" y="134"/>
                </a:cubicBezTo>
                <a:cubicBezTo>
                  <a:pt x="512" y="137"/>
                  <a:pt x="512" y="131"/>
                  <a:pt x="514" y="132"/>
                </a:cubicBezTo>
                <a:close/>
                <a:moveTo>
                  <a:pt x="515" y="154"/>
                </a:moveTo>
                <a:cubicBezTo>
                  <a:pt x="515" y="154"/>
                  <a:pt x="515" y="153"/>
                  <a:pt x="515" y="153"/>
                </a:cubicBezTo>
                <a:cubicBezTo>
                  <a:pt x="516" y="154"/>
                  <a:pt x="515" y="155"/>
                  <a:pt x="515" y="154"/>
                </a:cubicBezTo>
                <a:close/>
                <a:moveTo>
                  <a:pt x="516" y="153"/>
                </a:moveTo>
                <a:cubicBezTo>
                  <a:pt x="516" y="151"/>
                  <a:pt x="519" y="152"/>
                  <a:pt x="516" y="153"/>
                </a:cubicBezTo>
                <a:close/>
                <a:moveTo>
                  <a:pt x="513" y="148"/>
                </a:moveTo>
                <a:cubicBezTo>
                  <a:pt x="514" y="147"/>
                  <a:pt x="516" y="145"/>
                  <a:pt x="517" y="145"/>
                </a:cubicBezTo>
                <a:cubicBezTo>
                  <a:pt x="520" y="143"/>
                  <a:pt x="516" y="149"/>
                  <a:pt x="513" y="148"/>
                </a:cubicBezTo>
                <a:close/>
                <a:moveTo>
                  <a:pt x="515" y="134"/>
                </a:moveTo>
                <a:cubicBezTo>
                  <a:pt x="514" y="133"/>
                  <a:pt x="515" y="133"/>
                  <a:pt x="515" y="134"/>
                </a:cubicBezTo>
                <a:close/>
                <a:moveTo>
                  <a:pt x="518" y="86"/>
                </a:moveTo>
                <a:cubicBezTo>
                  <a:pt x="517" y="86"/>
                  <a:pt x="519" y="86"/>
                  <a:pt x="519" y="86"/>
                </a:cubicBezTo>
                <a:cubicBezTo>
                  <a:pt x="520" y="86"/>
                  <a:pt x="518" y="87"/>
                  <a:pt x="518" y="86"/>
                </a:cubicBezTo>
                <a:close/>
                <a:moveTo>
                  <a:pt x="518" y="88"/>
                </a:moveTo>
                <a:cubicBezTo>
                  <a:pt x="519" y="87"/>
                  <a:pt x="520" y="88"/>
                  <a:pt x="518" y="88"/>
                </a:cubicBezTo>
                <a:close/>
                <a:moveTo>
                  <a:pt x="519" y="94"/>
                </a:moveTo>
                <a:cubicBezTo>
                  <a:pt x="519" y="96"/>
                  <a:pt x="514" y="96"/>
                  <a:pt x="515" y="93"/>
                </a:cubicBezTo>
                <a:cubicBezTo>
                  <a:pt x="515" y="92"/>
                  <a:pt x="519" y="92"/>
                  <a:pt x="519" y="94"/>
                </a:cubicBezTo>
                <a:close/>
                <a:moveTo>
                  <a:pt x="516" y="113"/>
                </a:moveTo>
                <a:cubicBezTo>
                  <a:pt x="516" y="112"/>
                  <a:pt x="516" y="112"/>
                  <a:pt x="516" y="112"/>
                </a:cubicBezTo>
                <a:cubicBezTo>
                  <a:pt x="518" y="110"/>
                  <a:pt x="517" y="114"/>
                  <a:pt x="516" y="113"/>
                </a:cubicBezTo>
                <a:close/>
                <a:moveTo>
                  <a:pt x="518" y="143"/>
                </a:moveTo>
                <a:cubicBezTo>
                  <a:pt x="518" y="143"/>
                  <a:pt x="516" y="144"/>
                  <a:pt x="516" y="144"/>
                </a:cubicBezTo>
                <a:cubicBezTo>
                  <a:pt x="516" y="143"/>
                  <a:pt x="517" y="142"/>
                  <a:pt x="518" y="143"/>
                </a:cubicBezTo>
                <a:close/>
                <a:moveTo>
                  <a:pt x="515" y="139"/>
                </a:moveTo>
                <a:cubicBezTo>
                  <a:pt x="516" y="140"/>
                  <a:pt x="515" y="140"/>
                  <a:pt x="515" y="140"/>
                </a:cubicBezTo>
                <a:cubicBezTo>
                  <a:pt x="515" y="140"/>
                  <a:pt x="515" y="139"/>
                  <a:pt x="515" y="139"/>
                </a:cubicBezTo>
                <a:close/>
                <a:moveTo>
                  <a:pt x="519" y="150"/>
                </a:moveTo>
                <a:cubicBezTo>
                  <a:pt x="520" y="150"/>
                  <a:pt x="518" y="151"/>
                  <a:pt x="518" y="151"/>
                </a:cubicBezTo>
                <a:cubicBezTo>
                  <a:pt x="517" y="150"/>
                  <a:pt x="519" y="150"/>
                  <a:pt x="519" y="150"/>
                </a:cubicBezTo>
                <a:close/>
                <a:moveTo>
                  <a:pt x="525" y="72"/>
                </a:moveTo>
                <a:cubicBezTo>
                  <a:pt x="525" y="72"/>
                  <a:pt x="525" y="72"/>
                  <a:pt x="524" y="72"/>
                </a:cubicBezTo>
                <a:cubicBezTo>
                  <a:pt x="524" y="72"/>
                  <a:pt x="525" y="71"/>
                  <a:pt x="525" y="72"/>
                </a:cubicBezTo>
                <a:close/>
                <a:moveTo>
                  <a:pt x="509" y="73"/>
                </a:moveTo>
                <a:cubicBezTo>
                  <a:pt x="510" y="72"/>
                  <a:pt x="513" y="74"/>
                  <a:pt x="516" y="74"/>
                </a:cubicBezTo>
                <a:cubicBezTo>
                  <a:pt x="517" y="73"/>
                  <a:pt x="522" y="72"/>
                  <a:pt x="523" y="73"/>
                </a:cubicBezTo>
                <a:cubicBezTo>
                  <a:pt x="523" y="75"/>
                  <a:pt x="517" y="75"/>
                  <a:pt x="517" y="75"/>
                </a:cubicBezTo>
                <a:cubicBezTo>
                  <a:pt x="517" y="76"/>
                  <a:pt x="520" y="79"/>
                  <a:pt x="520" y="79"/>
                </a:cubicBezTo>
                <a:cubicBezTo>
                  <a:pt x="522" y="87"/>
                  <a:pt x="509" y="84"/>
                  <a:pt x="506" y="82"/>
                </a:cubicBezTo>
                <a:cubicBezTo>
                  <a:pt x="501" y="80"/>
                  <a:pt x="510" y="81"/>
                  <a:pt x="507" y="77"/>
                </a:cubicBezTo>
                <a:cubicBezTo>
                  <a:pt x="511" y="79"/>
                  <a:pt x="508" y="74"/>
                  <a:pt x="509" y="73"/>
                </a:cubicBezTo>
                <a:close/>
                <a:moveTo>
                  <a:pt x="509" y="61"/>
                </a:moveTo>
                <a:cubicBezTo>
                  <a:pt x="510" y="61"/>
                  <a:pt x="508" y="62"/>
                  <a:pt x="507" y="61"/>
                </a:cubicBezTo>
                <a:cubicBezTo>
                  <a:pt x="507" y="61"/>
                  <a:pt x="509" y="60"/>
                  <a:pt x="509" y="61"/>
                </a:cubicBezTo>
                <a:close/>
                <a:moveTo>
                  <a:pt x="511" y="36"/>
                </a:moveTo>
                <a:cubicBezTo>
                  <a:pt x="511" y="37"/>
                  <a:pt x="509" y="37"/>
                  <a:pt x="509" y="36"/>
                </a:cubicBezTo>
                <a:cubicBezTo>
                  <a:pt x="509" y="35"/>
                  <a:pt x="510" y="35"/>
                  <a:pt x="511" y="36"/>
                </a:cubicBezTo>
                <a:close/>
                <a:moveTo>
                  <a:pt x="509" y="38"/>
                </a:moveTo>
                <a:cubicBezTo>
                  <a:pt x="509" y="40"/>
                  <a:pt x="506" y="39"/>
                  <a:pt x="506" y="38"/>
                </a:cubicBezTo>
                <a:cubicBezTo>
                  <a:pt x="506" y="37"/>
                  <a:pt x="509" y="36"/>
                  <a:pt x="509" y="38"/>
                </a:cubicBezTo>
                <a:close/>
                <a:moveTo>
                  <a:pt x="509" y="50"/>
                </a:moveTo>
                <a:cubicBezTo>
                  <a:pt x="504" y="53"/>
                  <a:pt x="503" y="50"/>
                  <a:pt x="509" y="50"/>
                </a:cubicBezTo>
                <a:close/>
                <a:moveTo>
                  <a:pt x="506" y="53"/>
                </a:moveTo>
                <a:cubicBezTo>
                  <a:pt x="505" y="54"/>
                  <a:pt x="504" y="53"/>
                  <a:pt x="504" y="53"/>
                </a:cubicBezTo>
                <a:cubicBezTo>
                  <a:pt x="504" y="53"/>
                  <a:pt x="506" y="53"/>
                  <a:pt x="506" y="53"/>
                </a:cubicBezTo>
                <a:close/>
                <a:moveTo>
                  <a:pt x="504" y="64"/>
                </a:moveTo>
                <a:cubicBezTo>
                  <a:pt x="503" y="65"/>
                  <a:pt x="502" y="65"/>
                  <a:pt x="501" y="65"/>
                </a:cubicBezTo>
                <a:cubicBezTo>
                  <a:pt x="501" y="64"/>
                  <a:pt x="503" y="63"/>
                  <a:pt x="504" y="64"/>
                </a:cubicBezTo>
                <a:close/>
                <a:moveTo>
                  <a:pt x="501" y="64"/>
                </a:moveTo>
                <a:cubicBezTo>
                  <a:pt x="501" y="64"/>
                  <a:pt x="500" y="65"/>
                  <a:pt x="500" y="64"/>
                </a:cubicBezTo>
                <a:cubicBezTo>
                  <a:pt x="500" y="64"/>
                  <a:pt x="501" y="63"/>
                  <a:pt x="501" y="64"/>
                </a:cubicBezTo>
                <a:close/>
                <a:moveTo>
                  <a:pt x="501" y="123"/>
                </a:moveTo>
                <a:cubicBezTo>
                  <a:pt x="501" y="123"/>
                  <a:pt x="501" y="123"/>
                  <a:pt x="501" y="123"/>
                </a:cubicBezTo>
                <a:cubicBezTo>
                  <a:pt x="502" y="125"/>
                  <a:pt x="499" y="121"/>
                  <a:pt x="501" y="123"/>
                </a:cubicBezTo>
                <a:close/>
                <a:moveTo>
                  <a:pt x="499" y="65"/>
                </a:moveTo>
                <a:cubicBezTo>
                  <a:pt x="501" y="65"/>
                  <a:pt x="497" y="65"/>
                  <a:pt x="499" y="65"/>
                </a:cubicBezTo>
                <a:close/>
                <a:moveTo>
                  <a:pt x="498" y="38"/>
                </a:moveTo>
                <a:cubicBezTo>
                  <a:pt x="498" y="38"/>
                  <a:pt x="497" y="39"/>
                  <a:pt x="497" y="38"/>
                </a:cubicBezTo>
                <a:cubicBezTo>
                  <a:pt x="497" y="38"/>
                  <a:pt x="497" y="37"/>
                  <a:pt x="498" y="38"/>
                </a:cubicBezTo>
                <a:close/>
                <a:moveTo>
                  <a:pt x="497" y="31"/>
                </a:moveTo>
                <a:cubicBezTo>
                  <a:pt x="497" y="32"/>
                  <a:pt x="495" y="32"/>
                  <a:pt x="495" y="31"/>
                </a:cubicBezTo>
                <a:cubicBezTo>
                  <a:pt x="495" y="31"/>
                  <a:pt x="496" y="31"/>
                  <a:pt x="497" y="31"/>
                </a:cubicBezTo>
                <a:close/>
                <a:moveTo>
                  <a:pt x="496" y="40"/>
                </a:moveTo>
                <a:cubicBezTo>
                  <a:pt x="496" y="41"/>
                  <a:pt x="493" y="42"/>
                  <a:pt x="493" y="41"/>
                </a:cubicBezTo>
                <a:cubicBezTo>
                  <a:pt x="492" y="40"/>
                  <a:pt x="495" y="39"/>
                  <a:pt x="496" y="40"/>
                </a:cubicBezTo>
                <a:close/>
                <a:moveTo>
                  <a:pt x="492" y="44"/>
                </a:moveTo>
                <a:cubicBezTo>
                  <a:pt x="493" y="43"/>
                  <a:pt x="494" y="45"/>
                  <a:pt x="492" y="44"/>
                </a:cubicBezTo>
                <a:close/>
                <a:moveTo>
                  <a:pt x="488" y="29"/>
                </a:moveTo>
                <a:cubicBezTo>
                  <a:pt x="489" y="30"/>
                  <a:pt x="486" y="30"/>
                  <a:pt x="486" y="29"/>
                </a:cubicBezTo>
                <a:cubicBezTo>
                  <a:pt x="486" y="28"/>
                  <a:pt x="488" y="28"/>
                  <a:pt x="488" y="29"/>
                </a:cubicBezTo>
                <a:close/>
                <a:moveTo>
                  <a:pt x="487" y="31"/>
                </a:moveTo>
                <a:cubicBezTo>
                  <a:pt x="487" y="31"/>
                  <a:pt x="488" y="31"/>
                  <a:pt x="488" y="31"/>
                </a:cubicBezTo>
                <a:cubicBezTo>
                  <a:pt x="489" y="32"/>
                  <a:pt x="487" y="32"/>
                  <a:pt x="487" y="31"/>
                </a:cubicBezTo>
                <a:close/>
                <a:moveTo>
                  <a:pt x="488" y="40"/>
                </a:moveTo>
                <a:cubicBezTo>
                  <a:pt x="488" y="41"/>
                  <a:pt x="487" y="41"/>
                  <a:pt x="486" y="41"/>
                </a:cubicBezTo>
                <a:cubicBezTo>
                  <a:pt x="486" y="40"/>
                  <a:pt x="487" y="40"/>
                  <a:pt x="488" y="40"/>
                </a:cubicBezTo>
                <a:close/>
                <a:moveTo>
                  <a:pt x="484" y="41"/>
                </a:moveTo>
                <a:cubicBezTo>
                  <a:pt x="485" y="42"/>
                  <a:pt x="483" y="42"/>
                  <a:pt x="483" y="42"/>
                </a:cubicBezTo>
                <a:cubicBezTo>
                  <a:pt x="483" y="41"/>
                  <a:pt x="484" y="41"/>
                  <a:pt x="484" y="41"/>
                </a:cubicBezTo>
                <a:close/>
                <a:moveTo>
                  <a:pt x="483" y="38"/>
                </a:moveTo>
                <a:cubicBezTo>
                  <a:pt x="482" y="37"/>
                  <a:pt x="484" y="38"/>
                  <a:pt x="483" y="38"/>
                </a:cubicBezTo>
                <a:close/>
                <a:moveTo>
                  <a:pt x="483" y="51"/>
                </a:moveTo>
                <a:cubicBezTo>
                  <a:pt x="485" y="47"/>
                  <a:pt x="492" y="43"/>
                  <a:pt x="496" y="48"/>
                </a:cubicBezTo>
                <a:cubicBezTo>
                  <a:pt x="496" y="49"/>
                  <a:pt x="494" y="53"/>
                  <a:pt x="493" y="53"/>
                </a:cubicBezTo>
                <a:cubicBezTo>
                  <a:pt x="493" y="53"/>
                  <a:pt x="491" y="53"/>
                  <a:pt x="490" y="53"/>
                </a:cubicBezTo>
                <a:cubicBezTo>
                  <a:pt x="490" y="53"/>
                  <a:pt x="490" y="54"/>
                  <a:pt x="489" y="54"/>
                </a:cubicBezTo>
                <a:cubicBezTo>
                  <a:pt x="488" y="54"/>
                  <a:pt x="485" y="54"/>
                  <a:pt x="483" y="54"/>
                </a:cubicBezTo>
                <a:cubicBezTo>
                  <a:pt x="483" y="54"/>
                  <a:pt x="483" y="54"/>
                  <a:pt x="482" y="54"/>
                </a:cubicBezTo>
                <a:cubicBezTo>
                  <a:pt x="482" y="53"/>
                  <a:pt x="483" y="52"/>
                  <a:pt x="483" y="51"/>
                </a:cubicBezTo>
                <a:close/>
                <a:moveTo>
                  <a:pt x="482" y="56"/>
                </a:moveTo>
                <a:cubicBezTo>
                  <a:pt x="483" y="57"/>
                  <a:pt x="480" y="57"/>
                  <a:pt x="480" y="57"/>
                </a:cubicBezTo>
                <a:cubicBezTo>
                  <a:pt x="479" y="55"/>
                  <a:pt x="482" y="55"/>
                  <a:pt x="482" y="56"/>
                </a:cubicBezTo>
                <a:close/>
                <a:moveTo>
                  <a:pt x="479" y="43"/>
                </a:moveTo>
                <a:cubicBezTo>
                  <a:pt x="479" y="45"/>
                  <a:pt x="475" y="45"/>
                  <a:pt x="474" y="44"/>
                </a:cubicBezTo>
                <a:cubicBezTo>
                  <a:pt x="474" y="43"/>
                  <a:pt x="478" y="42"/>
                  <a:pt x="479" y="43"/>
                </a:cubicBezTo>
                <a:close/>
                <a:moveTo>
                  <a:pt x="473" y="28"/>
                </a:moveTo>
                <a:cubicBezTo>
                  <a:pt x="472" y="28"/>
                  <a:pt x="474" y="28"/>
                  <a:pt x="473" y="28"/>
                </a:cubicBezTo>
                <a:close/>
                <a:moveTo>
                  <a:pt x="471" y="33"/>
                </a:moveTo>
                <a:cubicBezTo>
                  <a:pt x="471" y="34"/>
                  <a:pt x="470" y="34"/>
                  <a:pt x="469" y="34"/>
                </a:cubicBezTo>
                <a:cubicBezTo>
                  <a:pt x="469" y="33"/>
                  <a:pt x="471" y="32"/>
                  <a:pt x="471" y="33"/>
                </a:cubicBezTo>
                <a:close/>
                <a:moveTo>
                  <a:pt x="467" y="32"/>
                </a:moveTo>
                <a:cubicBezTo>
                  <a:pt x="469" y="31"/>
                  <a:pt x="470" y="33"/>
                  <a:pt x="467" y="32"/>
                </a:cubicBezTo>
                <a:close/>
                <a:moveTo>
                  <a:pt x="467" y="46"/>
                </a:moveTo>
                <a:cubicBezTo>
                  <a:pt x="468" y="44"/>
                  <a:pt x="469" y="47"/>
                  <a:pt x="467" y="46"/>
                </a:cubicBezTo>
                <a:close/>
                <a:moveTo>
                  <a:pt x="467" y="52"/>
                </a:moveTo>
                <a:cubicBezTo>
                  <a:pt x="466" y="52"/>
                  <a:pt x="468" y="53"/>
                  <a:pt x="467" y="52"/>
                </a:cubicBezTo>
                <a:close/>
                <a:moveTo>
                  <a:pt x="467" y="30"/>
                </a:moveTo>
                <a:cubicBezTo>
                  <a:pt x="467" y="30"/>
                  <a:pt x="468" y="31"/>
                  <a:pt x="467" y="31"/>
                </a:cubicBezTo>
                <a:cubicBezTo>
                  <a:pt x="465" y="31"/>
                  <a:pt x="467" y="28"/>
                  <a:pt x="467" y="30"/>
                </a:cubicBezTo>
                <a:close/>
                <a:moveTo>
                  <a:pt x="468" y="38"/>
                </a:moveTo>
                <a:cubicBezTo>
                  <a:pt x="468" y="39"/>
                  <a:pt x="466" y="40"/>
                  <a:pt x="465" y="39"/>
                </a:cubicBezTo>
                <a:cubicBezTo>
                  <a:pt x="465" y="38"/>
                  <a:pt x="467" y="37"/>
                  <a:pt x="468" y="38"/>
                </a:cubicBezTo>
                <a:close/>
                <a:moveTo>
                  <a:pt x="464" y="49"/>
                </a:moveTo>
                <a:cubicBezTo>
                  <a:pt x="463" y="50"/>
                  <a:pt x="462" y="48"/>
                  <a:pt x="462" y="49"/>
                </a:cubicBezTo>
                <a:cubicBezTo>
                  <a:pt x="460" y="46"/>
                  <a:pt x="468" y="49"/>
                  <a:pt x="464" y="49"/>
                </a:cubicBezTo>
                <a:close/>
                <a:moveTo>
                  <a:pt x="463" y="51"/>
                </a:moveTo>
                <a:cubicBezTo>
                  <a:pt x="463" y="51"/>
                  <a:pt x="464" y="51"/>
                  <a:pt x="464" y="51"/>
                </a:cubicBezTo>
                <a:cubicBezTo>
                  <a:pt x="465" y="52"/>
                  <a:pt x="464" y="51"/>
                  <a:pt x="463" y="51"/>
                </a:cubicBezTo>
                <a:close/>
                <a:moveTo>
                  <a:pt x="447" y="79"/>
                </a:moveTo>
                <a:cubicBezTo>
                  <a:pt x="448" y="79"/>
                  <a:pt x="446" y="80"/>
                  <a:pt x="446" y="80"/>
                </a:cubicBezTo>
                <a:cubicBezTo>
                  <a:pt x="446" y="79"/>
                  <a:pt x="446" y="79"/>
                  <a:pt x="447" y="79"/>
                </a:cubicBezTo>
                <a:close/>
                <a:moveTo>
                  <a:pt x="446" y="189"/>
                </a:moveTo>
                <a:cubicBezTo>
                  <a:pt x="446" y="188"/>
                  <a:pt x="448" y="188"/>
                  <a:pt x="448" y="189"/>
                </a:cubicBezTo>
                <a:cubicBezTo>
                  <a:pt x="448" y="190"/>
                  <a:pt x="446" y="190"/>
                  <a:pt x="446" y="189"/>
                </a:cubicBezTo>
                <a:close/>
                <a:moveTo>
                  <a:pt x="449" y="610"/>
                </a:moveTo>
                <a:cubicBezTo>
                  <a:pt x="448" y="610"/>
                  <a:pt x="447" y="610"/>
                  <a:pt x="446" y="610"/>
                </a:cubicBezTo>
                <a:cubicBezTo>
                  <a:pt x="447" y="609"/>
                  <a:pt x="448" y="609"/>
                  <a:pt x="449" y="610"/>
                </a:cubicBezTo>
                <a:close/>
                <a:moveTo>
                  <a:pt x="447" y="145"/>
                </a:moveTo>
                <a:cubicBezTo>
                  <a:pt x="446" y="146"/>
                  <a:pt x="445" y="145"/>
                  <a:pt x="447" y="145"/>
                </a:cubicBezTo>
                <a:close/>
                <a:moveTo>
                  <a:pt x="447" y="126"/>
                </a:moveTo>
                <a:cubicBezTo>
                  <a:pt x="447" y="126"/>
                  <a:pt x="446" y="127"/>
                  <a:pt x="446" y="127"/>
                </a:cubicBezTo>
                <a:cubicBezTo>
                  <a:pt x="446" y="127"/>
                  <a:pt x="446" y="126"/>
                  <a:pt x="447" y="126"/>
                </a:cubicBezTo>
                <a:close/>
                <a:moveTo>
                  <a:pt x="446" y="180"/>
                </a:moveTo>
                <a:cubicBezTo>
                  <a:pt x="446" y="184"/>
                  <a:pt x="439" y="183"/>
                  <a:pt x="438" y="180"/>
                </a:cubicBezTo>
                <a:cubicBezTo>
                  <a:pt x="438" y="178"/>
                  <a:pt x="446" y="176"/>
                  <a:pt x="446" y="180"/>
                </a:cubicBezTo>
                <a:close/>
                <a:moveTo>
                  <a:pt x="441" y="175"/>
                </a:moveTo>
                <a:cubicBezTo>
                  <a:pt x="441" y="173"/>
                  <a:pt x="444" y="173"/>
                  <a:pt x="444" y="174"/>
                </a:cubicBezTo>
                <a:cubicBezTo>
                  <a:pt x="445" y="176"/>
                  <a:pt x="442" y="176"/>
                  <a:pt x="441" y="175"/>
                </a:cubicBezTo>
                <a:close/>
                <a:moveTo>
                  <a:pt x="446" y="135"/>
                </a:moveTo>
                <a:cubicBezTo>
                  <a:pt x="444" y="136"/>
                  <a:pt x="441" y="137"/>
                  <a:pt x="440" y="136"/>
                </a:cubicBezTo>
                <a:cubicBezTo>
                  <a:pt x="442" y="136"/>
                  <a:pt x="444" y="134"/>
                  <a:pt x="446" y="135"/>
                </a:cubicBezTo>
                <a:close/>
                <a:moveTo>
                  <a:pt x="443" y="79"/>
                </a:moveTo>
                <a:cubicBezTo>
                  <a:pt x="444" y="78"/>
                  <a:pt x="445" y="80"/>
                  <a:pt x="443" y="79"/>
                </a:cubicBezTo>
                <a:close/>
                <a:moveTo>
                  <a:pt x="443" y="79"/>
                </a:moveTo>
                <a:cubicBezTo>
                  <a:pt x="442" y="80"/>
                  <a:pt x="440" y="81"/>
                  <a:pt x="439" y="81"/>
                </a:cubicBezTo>
                <a:cubicBezTo>
                  <a:pt x="439" y="79"/>
                  <a:pt x="441" y="80"/>
                  <a:pt x="443" y="79"/>
                </a:cubicBezTo>
                <a:close/>
                <a:moveTo>
                  <a:pt x="438" y="137"/>
                </a:moveTo>
                <a:cubicBezTo>
                  <a:pt x="439" y="137"/>
                  <a:pt x="437" y="138"/>
                  <a:pt x="437" y="138"/>
                </a:cubicBezTo>
                <a:cubicBezTo>
                  <a:pt x="437" y="138"/>
                  <a:pt x="438" y="137"/>
                  <a:pt x="438" y="137"/>
                </a:cubicBezTo>
                <a:close/>
                <a:moveTo>
                  <a:pt x="437" y="228"/>
                </a:moveTo>
                <a:cubicBezTo>
                  <a:pt x="436" y="229"/>
                  <a:pt x="433" y="230"/>
                  <a:pt x="432" y="232"/>
                </a:cubicBezTo>
                <a:cubicBezTo>
                  <a:pt x="433" y="230"/>
                  <a:pt x="435" y="229"/>
                  <a:pt x="437" y="228"/>
                </a:cubicBezTo>
                <a:close/>
                <a:moveTo>
                  <a:pt x="431" y="647"/>
                </a:moveTo>
                <a:cubicBezTo>
                  <a:pt x="432" y="648"/>
                  <a:pt x="430" y="646"/>
                  <a:pt x="431" y="647"/>
                </a:cubicBezTo>
                <a:close/>
                <a:moveTo>
                  <a:pt x="430" y="190"/>
                </a:move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lose/>
                <a:moveTo>
                  <a:pt x="430" y="233"/>
                </a:moveTo>
                <a:cubicBezTo>
                  <a:pt x="428" y="236"/>
                  <a:pt x="427" y="233"/>
                  <a:pt x="430" y="233"/>
                </a:cubicBezTo>
                <a:close/>
                <a:moveTo>
                  <a:pt x="430" y="647"/>
                </a:moveTo>
                <a:cubicBezTo>
                  <a:pt x="430" y="648"/>
                  <a:pt x="428" y="648"/>
                  <a:pt x="428" y="648"/>
                </a:cubicBezTo>
                <a:cubicBezTo>
                  <a:pt x="428" y="647"/>
                  <a:pt x="429" y="647"/>
                  <a:pt x="430" y="647"/>
                </a:cubicBezTo>
                <a:close/>
                <a:moveTo>
                  <a:pt x="427" y="105"/>
                </a:moveTo>
                <a:cubicBezTo>
                  <a:pt x="426" y="104"/>
                  <a:pt x="428" y="106"/>
                  <a:pt x="427" y="105"/>
                </a:cubicBezTo>
                <a:close/>
                <a:moveTo>
                  <a:pt x="426" y="572"/>
                </a:moveTo>
                <a:cubicBezTo>
                  <a:pt x="427" y="571"/>
                  <a:pt x="427" y="574"/>
                  <a:pt x="426" y="573"/>
                </a:cubicBezTo>
                <a:cubicBezTo>
                  <a:pt x="426" y="573"/>
                  <a:pt x="426" y="572"/>
                  <a:pt x="426" y="572"/>
                </a:cubicBezTo>
                <a:close/>
                <a:moveTo>
                  <a:pt x="424" y="210"/>
                </a:moveTo>
                <a:cubicBezTo>
                  <a:pt x="425" y="209"/>
                  <a:pt x="426" y="211"/>
                  <a:pt x="424" y="210"/>
                </a:cubicBezTo>
                <a:close/>
                <a:moveTo>
                  <a:pt x="422" y="80"/>
                </a:moveTo>
                <a:cubicBezTo>
                  <a:pt x="423" y="81"/>
                  <a:pt x="421" y="81"/>
                  <a:pt x="420" y="81"/>
                </a:cubicBezTo>
                <a:cubicBezTo>
                  <a:pt x="420" y="80"/>
                  <a:pt x="422" y="80"/>
                  <a:pt x="422" y="80"/>
                </a:cubicBezTo>
                <a:close/>
                <a:moveTo>
                  <a:pt x="423" y="85"/>
                </a:moveTo>
                <a:cubicBezTo>
                  <a:pt x="423" y="85"/>
                  <a:pt x="420" y="86"/>
                  <a:pt x="420" y="85"/>
                </a:cubicBezTo>
                <a:cubicBezTo>
                  <a:pt x="419" y="85"/>
                  <a:pt x="424" y="83"/>
                  <a:pt x="423" y="85"/>
                </a:cubicBezTo>
                <a:close/>
                <a:moveTo>
                  <a:pt x="421" y="667"/>
                </a:moveTo>
                <a:cubicBezTo>
                  <a:pt x="423" y="666"/>
                  <a:pt x="422" y="668"/>
                  <a:pt x="421" y="667"/>
                </a:cubicBezTo>
                <a:close/>
                <a:moveTo>
                  <a:pt x="419" y="54"/>
                </a:moveTo>
                <a:cubicBezTo>
                  <a:pt x="420" y="54"/>
                  <a:pt x="419" y="55"/>
                  <a:pt x="419" y="55"/>
                </a:cubicBezTo>
                <a:cubicBezTo>
                  <a:pt x="418" y="55"/>
                  <a:pt x="418" y="54"/>
                  <a:pt x="419" y="54"/>
                </a:cubicBezTo>
                <a:close/>
                <a:moveTo>
                  <a:pt x="419" y="61"/>
                </a:moveTo>
                <a:cubicBezTo>
                  <a:pt x="419" y="61"/>
                  <a:pt x="417" y="61"/>
                  <a:pt x="417" y="60"/>
                </a:cubicBezTo>
                <a:cubicBezTo>
                  <a:pt x="417" y="60"/>
                  <a:pt x="418" y="60"/>
                  <a:pt x="419" y="61"/>
                </a:cubicBezTo>
                <a:close/>
                <a:moveTo>
                  <a:pt x="411" y="63"/>
                </a:moveTo>
                <a:cubicBezTo>
                  <a:pt x="411" y="63"/>
                  <a:pt x="410" y="64"/>
                  <a:pt x="410" y="63"/>
                </a:cubicBezTo>
                <a:cubicBezTo>
                  <a:pt x="409" y="63"/>
                  <a:pt x="411" y="62"/>
                  <a:pt x="411" y="63"/>
                </a:cubicBezTo>
                <a:close/>
                <a:moveTo>
                  <a:pt x="408" y="93"/>
                </a:moveTo>
                <a:cubicBezTo>
                  <a:pt x="408" y="94"/>
                  <a:pt x="407" y="94"/>
                  <a:pt x="407" y="94"/>
                </a:cubicBezTo>
                <a:cubicBezTo>
                  <a:pt x="406" y="93"/>
                  <a:pt x="408" y="93"/>
                  <a:pt x="408" y="93"/>
                </a:cubicBezTo>
                <a:close/>
                <a:moveTo>
                  <a:pt x="406" y="125"/>
                </a:moveTo>
                <a:cubicBezTo>
                  <a:pt x="406" y="126"/>
                  <a:pt x="404" y="125"/>
                  <a:pt x="406" y="125"/>
                </a:cubicBezTo>
                <a:close/>
                <a:moveTo>
                  <a:pt x="405" y="97"/>
                </a:moveTo>
                <a:cubicBezTo>
                  <a:pt x="404" y="97"/>
                  <a:pt x="404" y="97"/>
                  <a:pt x="404" y="96"/>
                </a:cubicBezTo>
                <a:cubicBezTo>
                  <a:pt x="403" y="95"/>
                  <a:pt x="406" y="97"/>
                  <a:pt x="405" y="97"/>
                </a:cubicBezTo>
                <a:close/>
                <a:moveTo>
                  <a:pt x="408" y="154"/>
                </a:moveTo>
                <a:cubicBezTo>
                  <a:pt x="406" y="156"/>
                  <a:pt x="402" y="158"/>
                  <a:pt x="399" y="158"/>
                </a:cubicBezTo>
                <a:cubicBezTo>
                  <a:pt x="402" y="157"/>
                  <a:pt x="405" y="156"/>
                  <a:pt x="408" y="154"/>
                </a:cubicBezTo>
                <a:close/>
                <a:moveTo>
                  <a:pt x="399" y="122"/>
                </a:moveTo>
                <a:cubicBezTo>
                  <a:pt x="399" y="122"/>
                  <a:pt x="400" y="121"/>
                  <a:pt x="400" y="122"/>
                </a:cubicBezTo>
                <a:cubicBezTo>
                  <a:pt x="400" y="122"/>
                  <a:pt x="400" y="123"/>
                  <a:pt x="399" y="122"/>
                </a:cubicBezTo>
                <a:close/>
                <a:moveTo>
                  <a:pt x="401" y="71"/>
                </a:moveTo>
                <a:cubicBezTo>
                  <a:pt x="402" y="72"/>
                  <a:pt x="400" y="73"/>
                  <a:pt x="399" y="72"/>
                </a:cubicBezTo>
                <a:cubicBezTo>
                  <a:pt x="399" y="71"/>
                  <a:pt x="401" y="70"/>
                  <a:pt x="401" y="71"/>
                </a:cubicBezTo>
                <a:close/>
                <a:moveTo>
                  <a:pt x="399" y="97"/>
                </a:moveTo>
                <a:cubicBezTo>
                  <a:pt x="399" y="97"/>
                  <a:pt x="398" y="98"/>
                  <a:pt x="397" y="97"/>
                </a:cubicBezTo>
                <a:cubicBezTo>
                  <a:pt x="398" y="97"/>
                  <a:pt x="398" y="97"/>
                  <a:pt x="399" y="97"/>
                </a:cubicBezTo>
                <a:close/>
                <a:moveTo>
                  <a:pt x="398" y="160"/>
                </a:moveTo>
                <a:cubicBezTo>
                  <a:pt x="398" y="160"/>
                  <a:pt x="398" y="159"/>
                  <a:pt x="399" y="159"/>
                </a:cubicBezTo>
                <a:cubicBezTo>
                  <a:pt x="399" y="159"/>
                  <a:pt x="398" y="160"/>
                  <a:pt x="398" y="160"/>
                </a:cubicBezTo>
                <a:close/>
                <a:moveTo>
                  <a:pt x="398" y="169"/>
                </a:moveTo>
                <a:cubicBezTo>
                  <a:pt x="399" y="170"/>
                  <a:pt x="397" y="171"/>
                  <a:pt x="397" y="170"/>
                </a:cubicBezTo>
                <a:cubicBezTo>
                  <a:pt x="397" y="169"/>
                  <a:pt x="398" y="169"/>
                  <a:pt x="398" y="169"/>
                </a:cubicBezTo>
                <a:close/>
                <a:moveTo>
                  <a:pt x="397" y="159"/>
                </a:moveTo>
                <a:cubicBezTo>
                  <a:pt x="397" y="160"/>
                  <a:pt x="395" y="162"/>
                  <a:pt x="395" y="161"/>
                </a:cubicBezTo>
                <a:cubicBezTo>
                  <a:pt x="395" y="160"/>
                  <a:pt x="397" y="160"/>
                  <a:pt x="397" y="159"/>
                </a:cubicBezTo>
                <a:close/>
                <a:moveTo>
                  <a:pt x="395" y="78"/>
                </a:moveTo>
                <a:cubicBezTo>
                  <a:pt x="395" y="78"/>
                  <a:pt x="394" y="78"/>
                  <a:pt x="394" y="78"/>
                </a:cubicBezTo>
                <a:cubicBezTo>
                  <a:pt x="393" y="78"/>
                  <a:pt x="395" y="78"/>
                  <a:pt x="395" y="78"/>
                </a:cubicBezTo>
                <a:close/>
                <a:moveTo>
                  <a:pt x="392" y="104"/>
                </a:moveTo>
                <a:cubicBezTo>
                  <a:pt x="393" y="106"/>
                  <a:pt x="390" y="105"/>
                  <a:pt x="390" y="104"/>
                </a:cubicBezTo>
                <a:cubicBezTo>
                  <a:pt x="390" y="102"/>
                  <a:pt x="392" y="103"/>
                  <a:pt x="392" y="104"/>
                </a:cubicBezTo>
                <a:close/>
                <a:moveTo>
                  <a:pt x="388" y="79"/>
                </a:moveTo>
                <a:cubicBezTo>
                  <a:pt x="387" y="80"/>
                  <a:pt x="386" y="79"/>
                  <a:pt x="385" y="80"/>
                </a:cubicBezTo>
                <a:cubicBezTo>
                  <a:pt x="385" y="79"/>
                  <a:pt x="387" y="79"/>
                  <a:pt x="388" y="79"/>
                </a:cubicBezTo>
                <a:close/>
                <a:moveTo>
                  <a:pt x="385" y="112"/>
                </a:moveTo>
                <a:cubicBezTo>
                  <a:pt x="385" y="112"/>
                  <a:pt x="387" y="111"/>
                  <a:pt x="387" y="112"/>
                </a:cubicBezTo>
                <a:cubicBezTo>
                  <a:pt x="388" y="114"/>
                  <a:pt x="384" y="114"/>
                  <a:pt x="385" y="112"/>
                </a:cubicBezTo>
                <a:close/>
                <a:moveTo>
                  <a:pt x="382" y="113"/>
                </a:moveTo>
                <a:cubicBezTo>
                  <a:pt x="384" y="111"/>
                  <a:pt x="385" y="114"/>
                  <a:pt x="382" y="113"/>
                </a:cubicBezTo>
                <a:close/>
                <a:moveTo>
                  <a:pt x="379" y="110"/>
                </a:moveTo>
                <a:cubicBezTo>
                  <a:pt x="380" y="111"/>
                  <a:pt x="376" y="111"/>
                  <a:pt x="376" y="110"/>
                </a:cubicBezTo>
                <a:cubicBezTo>
                  <a:pt x="375" y="109"/>
                  <a:pt x="378" y="108"/>
                  <a:pt x="379" y="110"/>
                </a:cubicBezTo>
                <a:close/>
                <a:moveTo>
                  <a:pt x="379" y="80"/>
                </a:moveTo>
                <a:cubicBezTo>
                  <a:pt x="379" y="80"/>
                  <a:pt x="377" y="81"/>
                  <a:pt x="377" y="81"/>
                </a:cubicBezTo>
                <a:cubicBezTo>
                  <a:pt x="377" y="80"/>
                  <a:pt x="378" y="80"/>
                  <a:pt x="379" y="80"/>
                </a:cubicBezTo>
                <a:close/>
                <a:moveTo>
                  <a:pt x="376" y="81"/>
                </a:moveTo>
                <a:cubicBezTo>
                  <a:pt x="375" y="81"/>
                  <a:pt x="374" y="81"/>
                  <a:pt x="374" y="81"/>
                </a:cubicBezTo>
                <a:cubicBezTo>
                  <a:pt x="373" y="81"/>
                  <a:pt x="375" y="81"/>
                  <a:pt x="376" y="81"/>
                </a:cubicBezTo>
                <a:close/>
                <a:moveTo>
                  <a:pt x="372" y="76"/>
                </a:moveTo>
                <a:cubicBezTo>
                  <a:pt x="372" y="76"/>
                  <a:pt x="372" y="76"/>
                  <a:pt x="372" y="76"/>
                </a:cubicBezTo>
                <a:cubicBezTo>
                  <a:pt x="372" y="76"/>
                  <a:pt x="371" y="76"/>
                  <a:pt x="371" y="76"/>
                </a:cubicBezTo>
                <a:cubicBezTo>
                  <a:pt x="371" y="76"/>
                  <a:pt x="371" y="76"/>
                  <a:pt x="372" y="76"/>
                </a:cubicBezTo>
                <a:close/>
                <a:moveTo>
                  <a:pt x="363" y="95"/>
                </a:moveTo>
                <a:cubicBezTo>
                  <a:pt x="362" y="96"/>
                  <a:pt x="361" y="94"/>
                  <a:pt x="363" y="95"/>
                </a:cubicBezTo>
                <a:close/>
                <a:moveTo>
                  <a:pt x="362" y="110"/>
                </a:moveTo>
                <a:cubicBezTo>
                  <a:pt x="362" y="112"/>
                  <a:pt x="358" y="112"/>
                  <a:pt x="357" y="111"/>
                </a:cubicBezTo>
                <a:cubicBezTo>
                  <a:pt x="357" y="111"/>
                  <a:pt x="357" y="111"/>
                  <a:pt x="356" y="110"/>
                </a:cubicBezTo>
                <a:cubicBezTo>
                  <a:pt x="357" y="111"/>
                  <a:pt x="355" y="112"/>
                  <a:pt x="355" y="111"/>
                </a:cubicBezTo>
                <a:cubicBezTo>
                  <a:pt x="354" y="110"/>
                  <a:pt x="363" y="106"/>
                  <a:pt x="362" y="110"/>
                </a:cubicBezTo>
                <a:close/>
                <a:moveTo>
                  <a:pt x="357" y="127"/>
                </a:moveTo>
                <a:cubicBezTo>
                  <a:pt x="362" y="124"/>
                  <a:pt x="368" y="124"/>
                  <a:pt x="374" y="121"/>
                </a:cubicBezTo>
                <a:cubicBezTo>
                  <a:pt x="379" y="119"/>
                  <a:pt x="384" y="116"/>
                  <a:pt x="389" y="116"/>
                </a:cubicBezTo>
                <a:cubicBezTo>
                  <a:pt x="389" y="116"/>
                  <a:pt x="390" y="117"/>
                  <a:pt x="390" y="117"/>
                </a:cubicBezTo>
                <a:cubicBezTo>
                  <a:pt x="390" y="118"/>
                  <a:pt x="381" y="121"/>
                  <a:pt x="378" y="122"/>
                </a:cubicBezTo>
                <a:cubicBezTo>
                  <a:pt x="373" y="123"/>
                  <a:pt x="369" y="124"/>
                  <a:pt x="364" y="125"/>
                </a:cubicBezTo>
                <a:cubicBezTo>
                  <a:pt x="363" y="126"/>
                  <a:pt x="357" y="129"/>
                  <a:pt x="355" y="129"/>
                </a:cubicBezTo>
                <a:cubicBezTo>
                  <a:pt x="352" y="129"/>
                  <a:pt x="356" y="127"/>
                  <a:pt x="357" y="127"/>
                </a:cubicBezTo>
                <a:close/>
                <a:moveTo>
                  <a:pt x="357" y="587"/>
                </a:moveTo>
                <a:cubicBezTo>
                  <a:pt x="365" y="583"/>
                  <a:pt x="375" y="580"/>
                  <a:pt x="384" y="576"/>
                </a:cubicBezTo>
                <a:cubicBezTo>
                  <a:pt x="385" y="576"/>
                  <a:pt x="387" y="575"/>
                  <a:pt x="387" y="576"/>
                </a:cubicBezTo>
                <a:cubicBezTo>
                  <a:pt x="388" y="577"/>
                  <a:pt x="384" y="578"/>
                  <a:pt x="386" y="577"/>
                </a:cubicBezTo>
                <a:cubicBezTo>
                  <a:pt x="377" y="581"/>
                  <a:pt x="366" y="585"/>
                  <a:pt x="357" y="587"/>
                </a:cubicBezTo>
                <a:close/>
                <a:moveTo>
                  <a:pt x="376" y="609"/>
                </a:moveTo>
                <a:cubicBezTo>
                  <a:pt x="376" y="610"/>
                  <a:pt x="374" y="610"/>
                  <a:pt x="374" y="610"/>
                </a:cubicBezTo>
                <a:cubicBezTo>
                  <a:pt x="373" y="609"/>
                  <a:pt x="376" y="608"/>
                  <a:pt x="376" y="609"/>
                </a:cubicBezTo>
                <a:close/>
                <a:moveTo>
                  <a:pt x="374" y="600"/>
                </a:moveTo>
                <a:cubicBezTo>
                  <a:pt x="373" y="599"/>
                  <a:pt x="375" y="599"/>
                  <a:pt x="375" y="600"/>
                </a:cubicBezTo>
                <a:cubicBezTo>
                  <a:pt x="375" y="601"/>
                  <a:pt x="374" y="600"/>
                  <a:pt x="374" y="600"/>
                </a:cubicBezTo>
                <a:close/>
                <a:moveTo>
                  <a:pt x="372" y="610"/>
                </a:moveTo>
                <a:cubicBezTo>
                  <a:pt x="371" y="610"/>
                  <a:pt x="373" y="609"/>
                  <a:pt x="373" y="610"/>
                </a:cubicBezTo>
                <a:cubicBezTo>
                  <a:pt x="373" y="610"/>
                  <a:pt x="373" y="611"/>
                  <a:pt x="372" y="610"/>
                </a:cubicBezTo>
                <a:close/>
                <a:moveTo>
                  <a:pt x="364" y="137"/>
                </a:moveTo>
                <a:cubicBezTo>
                  <a:pt x="364" y="138"/>
                  <a:pt x="364" y="137"/>
                  <a:pt x="363" y="138"/>
                </a:cubicBezTo>
                <a:cubicBezTo>
                  <a:pt x="363" y="137"/>
                  <a:pt x="364" y="137"/>
                  <a:pt x="364" y="137"/>
                </a:cubicBezTo>
                <a:close/>
                <a:moveTo>
                  <a:pt x="376" y="167"/>
                </a:moveTo>
                <a:cubicBezTo>
                  <a:pt x="377" y="168"/>
                  <a:pt x="373" y="170"/>
                  <a:pt x="371" y="170"/>
                </a:cubicBezTo>
                <a:cubicBezTo>
                  <a:pt x="371" y="170"/>
                  <a:pt x="368" y="169"/>
                  <a:pt x="367" y="169"/>
                </a:cubicBezTo>
                <a:cubicBezTo>
                  <a:pt x="367" y="168"/>
                  <a:pt x="371" y="165"/>
                  <a:pt x="373" y="168"/>
                </a:cubicBezTo>
                <a:cubicBezTo>
                  <a:pt x="373" y="168"/>
                  <a:pt x="373" y="169"/>
                  <a:pt x="373" y="169"/>
                </a:cubicBezTo>
                <a:cubicBezTo>
                  <a:pt x="374" y="169"/>
                  <a:pt x="375" y="168"/>
                  <a:pt x="376" y="167"/>
                </a:cubicBezTo>
                <a:close/>
                <a:moveTo>
                  <a:pt x="369" y="576"/>
                </a:moveTo>
                <a:cubicBezTo>
                  <a:pt x="369" y="574"/>
                  <a:pt x="371" y="574"/>
                  <a:pt x="369" y="576"/>
                </a:cubicBezTo>
                <a:close/>
                <a:moveTo>
                  <a:pt x="368" y="211"/>
                </a:moveTo>
                <a:cubicBezTo>
                  <a:pt x="367" y="211"/>
                  <a:pt x="368" y="209"/>
                  <a:pt x="369" y="210"/>
                </a:cubicBezTo>
                <a:cubicBezTo>
                  <a:pt x="369" y="210"/>
                  <a:pt x="368" y="211"/>
                  <a:pt x="368" y="211"/>
                </a:cubicBezTo>
                <a:close/>
                <a:moveTo>
                  <a:pt x="368" y="576"/>
                </a:moveTo>
                <a:cubicBezTo>
                  <a:pt x="370" y="575"/>
                  <a:pt x="366" y="578"/>
                  <a:pt x="368" y="576"/>
                </a:cubicBezTo>
                <a:close/>
                <a:moveTo>
                  <a:pt x="379" y="184"/>
                </a:moveTo>
                <a:cubicBezTo>
                  <a:pt x="379" y="183"/>
                  <a:pt x="380" y="182"/>
                  <a:pt x="380" y="183"/>
                </a:cubicBezTo>
                <a:cubicBezTo>
                  <a:pt x="380" y="184"/>
                  <a:pt x="379" y="184"/>
                  <a:pt x="379" y="184"/>
                </a:cubicBezTo>
                <a:close/>
                <a:moveTo>
                  <a:pt x="356" y="609"/>
                </a:moveTo>
                <a:cubicBezTo>
                  <a:pt x="355" y="611"/>
                  <a:pt x="353" y="609"/>
                  <a:pt x="356" y="609"/>
                </a:cubicBezTo>
                <a:close/>
                <a:moveTo>
                  <a:pt x="354" y="556"/>
                </a:moveTo>
                <a:cubicBezTo>
                  <a:pt x="353" y="557"/>
                  <a:pt x="352" y="555"/>
                  <a:pt x="354" y="556"/>
                </a:cubicBezTo>
                <a:close/>
                <a:moveTo>
                  <a:pt x="352" y="532"/>
                </a:moveTo>
                <a:cubicBezTo>
                  <a:pt x="354" y="530"/>
                  <a:pt x="354" y="533"/>
                  <a:pt x="352" y="532"/>
                </a:cubicBezTo>
                <a:close/>
                <a:moveTo>
                  <a:pt x="354" y="674"/>
                </a:moveTo>
                <a:cubicBezTo>
                  <a:pt x="354" y="673"/>
                  <a:pt x="355" y="673"/>
                  <a:pt x="355" y="673"/>
                </a:cubicBezTo>
                <a:cubicBezTo>
                  <a:pt x="355" y="674"/>
                  <a:pt x="354" y="674"/>
                  <a:pt x="354" y="674"/>
                </a:cubicBezTo>
                <a:close/>
                <a:moveTo>
                  <a:pt x="357" y="697"/>
                </a:moveTo>
                <a:cubicBezTo>
                  <a:pt x="357" y="696"/>
                  <a:pt x="359" y="695"/>
                  <a:pt x="359" y="696"/>
                </a:cubicBezTo>
                <a:cubicBezTo>
                  <a:pt x="359" y="697"/>
                  <a:pt x="357" y="698"/>
                  <a:pt x="357" y="697"/>
                </a:cubicBezTo>
                <a:close/>
                <a:moveTo>
                  <a:pt x="357" y="671"/>
                </a:moveTo>
                <a:cubicBezTo>
                  <a:pt x="358" y="671"/>
                  <a:pt x="358" y="671"/>
                  <a:pt x="358" y="672"/>
                </a:cubicBezTo>
                <a:cubicBezTo>
                  <a:pt x="358" y="673"/>
                  <a:pt x="356" y="671"/>
                  <a:pt x="357" y="671"/>
                </a:cubicBezTo>
                <a:close/>
                <a:moveTo>
                  <a:pt x="360" y="643"/>
                </a:moveTo>
                <a:cubicBezTo>
                  <a:pt x="360" y="642"/>
                  <a:pt x="362" y="643"/>
                  <a:pt x="360" y="643"/>
                </a:cubicBezTo>
                <a:close/>
                <a:moveTo>
                  <a:pt x="360" y="630"/>
                </a:moveTo>
                <a:cubicBezTo>
                  <a:pt x="358" y="633"/>
                  <a:pt x="350" y="631"/>
                  <a:pt x="351" y="627"/>
                </a:cubicBezTo>
                <a:cubicBezTo>
                  <a:pt x="352" y="621"/>
                  <a:pt x="365" y="624"/>
                  <a:pt x="360" y="630"/>
                </a:cubicBezTo>
                <a:close/>
                <a:moveTo>
                  <a:pt x="371" y="611"/>
                </a:moveTo>
                <a:cubicBezTo>
                  <a:pt x="368" y="612"/>
                  <a:pt x="365" y="612"/>
                  <a:pt x="362" y="613"/>
                </a:cubicBezTo>
                <a:cubicBezTo>
                  <a:pt x="364" y="612"/>
                  <a:pt x="368" y="611"/>
                  <a:pt x="371" y="611"/>
                </a:cubicBezTo>
                <a:close/>
                <a:moveTo>
                  <a:pt x="363" y="671"/>
                </a:moveTo>
                <a:cubicBezTo>
                  <a:pt x="363" y="671"/>
                  <a:pt x="364" y="671"/>
                  <a:pt x="365" y="671"/>
                </a:cubicBezTo>
                <a:cubicBezTo>
                  <a:pt x="364" y="672"/>
                  <a:pt x="363" y="672"/>
                  <a:pt x="363" y="671"/>
                </a:cubicBezTo>
                <a:close/>
                <a:moveTo>
                  <a:pt x="364" y="691"/>
                </a:moveTo>
                <a:cubicBezTo>
                  <a:pt x="364" y="690"/>
                  <a:pt x="365" y="691"/>
                  <a:pt x="365" y="691"/>
                </a:cubicBezTo>
                <a:cubicBezTo>
                  <a:pt x="366" y="691"/>
                  <a:pt x="364" y="691"/>
                  <a:pt x="364" y="691"/>
                </a:cubicBezTo>
                <a:close/>
                <a:moveTo>
                  <a:pt x="365" y="647"/>
                </a:moveTo>
                <a:cubicBezTo>
                  <a:pt x="365" y="646"/>
                  <a:pt x="366" y="646"/>
                  <a:pt x="366" y="646"/>
                </a:cubicBezTo>
                <a:cubicBezTo>
                  <a:pt x="367" y="647"/>
                  <a:pt x="365" y="647"/>
                  <a:pt x="365" y="647"/>
                </a:cubicBezTo>
                <a:close/>
                <a:moveTo>
                  <a:pt x="370" y="666"/>
                </a:moveTo>
                <a:cubicBezTo>
                  <a:pt x="370" y="664"/>
                  <a:pt x="373" y="665"/>
                  <a:pt x="372" y="666"/>
                </a:cubicBezTo>
                <a:cubicBezTo>
                  <a:pt x="372" y="667"/>
                  <a:pt x="370" y="667"/>
                  <a:pt x="370" y="666"/>
                </a:cubicBezTo>
                <a:close/>
                <a:moveTo>
                  <a:pt x="371" y="691"/>
                </a:moveTo>
                <a:cubicBezTo>
                  <a:pt x="372" y="690"/>
                  <a:pt x="373" y="691"/>
                  <a:pt x="374" y="691"/>
                </a:cubicBezTo>
                <a:cubicBezTo>
                  <a:pt x="374" y="692"/>
                  <a:pt x="372" y="691"/>
                  <a:pt x="371" y="691"/>
                </a:cubicBezTo>
                <a:close/>
                <a:moveTo>
                  <a:pt x="379" y="659"/>
                </a:moveTo>
                <a:cubicBezTo>
                  <a:pt x="379" y="658"/>
                  <a:pt x="377" y="660"/>
                  <a:pt x="377" y="658"/>
                </a:cubicBezTo>
                <a:cubicBezTo>
                  <a:pt x="376" y="657"/>
                  <a:pt x="380" y="657"/>
                  <a:pt x="379" y="659"/>
                </a:cubicBezTo>
                <a:close/>
                <a:moveTo>
                  <a:pt x="381" y="691"/>
                </a:moveTo>
                <a:cubicBezTo>
                  <a:pt x="380" y="691"/>
                  <a:pt x="382" y="690"/>
                  <a:pt x="383" y="691"/>
                </a:cubicBezTo>
                <a:cubicBezTo>
                  <a:pt x="382" y="691"/>
                  <a:pt x="381" y="691"/>
                  <a:pt x="381" y="691"/>
                </a:cubicBezTo>
                <a:close/>
                <a:moveTo>
                  <a:pt x="382" y="658"/>
                </a:moveTo>
                <a:cubicBezTo>
                  <a:pt x="380" y="659"/>
                  <a:pt x="379" y="657"/>
                  <a:pt x="382" y="658"/>
                </a:cubicBezTo>
                <a:close/>
                <a:moveTo>
                  <a:pt x="383" y="691"/>
                </a:moveTo>
                <a:cubicBezTo>
                  <a:pt x="384" y="691"/>
                  <a:pt x="385" y="691"/>
                  <a:pt x="386" y="691"/>
                </a:cubicBezTo>
                <a:cubicBezTo>
                  <a:pt x="386" y="691"/>
                  <a:pt x="384" y="691"/>
                  <a:pt x="383" y="691"/>
                </a:cubicBezTo>
                <a:close/>
                <a:moveTo>
                  <a:pt x="387" y="696"/>
                </a:move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lose/>
                <a:moveTo>
                  <a:pt x="384" y="662"/>
                </a:moveTo>
                <a:cubicBezTo>
                  <a:pt x="384" y="660"/>
                  <a:pt x="388" y="661"/>
                  <a:pt x="388" y="662"/>
                </a:cubicBezTo>
                <a:cubicBezTo>
                  <a:pt x="388" y="663"/>
                  <a:pt x="385" y="664"/>
                  <a:pt x="384" y="662"/>
                </a:cubicBezTo>
                <a:close/>
                <a:moveTo>
                  <a:pt x="398" y="679"/>
                </a:moveTo>
                <a:cubicBezTo>
                  <a:pt x="400" y="678"/>
                  <a:pt x="400" y="680"/>
                  <a:pt x="398" y="679"/>
                </a:cubicBezTo>
                <a:close/>
                <a:moveTo>
                  <a:pt x="401" y="664"/>
                </a:moveTo>
                <a:cubicBezTo>
                  <a:pt x="402" y="662"/>
                  <a:pt x="405" y="663"/>
                  <a:pt x="406" y="663"/>
                </a:cubicBezTo>
                <a:cubicBezTo>
                  <a:pt x="406" y="663"/>
                  <a:pt x="407" y="664"/>
                  <a:pt x="407" y="664"/>
                </a:cubicBezTo>
                <a:cubicBezTo>
                  <a:pt x="406" y="664"/>
                  <a:pt x="408" y="663"/>
                  <a:pt x="409" y="664"/>
                </a:cubicBezTo>
                <a:cubicBezTo>
                  <a:pt x="409" y="665"/>
                  <a:pt x="400" y="667"/>
                  <a:pt x="401" y="664"/>
                </a:cubicBezTo>
                <a:close/>
                <a:moveTo>
                  <a:pt x="411" y="704"/>
                </a:moveTo>
                <a:cubicBezTo>
                  <a:pt x="410" y="704"/>
                  <a:pt x="411" y="704"/>
                  <a:pt x="411" y="704"/>
                </a:cubicBezTo>
                <a:cubicBezTo>
                  <a:pt x="411" y="704"/>
                  <a:pt x="411" y="704"/>
                  <a:pt x="411" y="704"/>
                </a:cubicBezTo>
                <a:close/>
                <a:moveTo>
                  <a:pt x="409" y="648"/>
                </a:moveTo>
                <a:cubicBezTo>
                  <a:pt x="403" y="650"/>
                  <a:pt x="397" y="649"/>
                  <a:pt x="391" y="651"/>
                </a:cubicBezTo>
                <a:cubicBezTo>
                  <a:pt x="386" y="652"/>
                  <a:pt x="381" y="655"/>
                  <a:pt x="376" y="654"/>
                </a:cubicBezTo>
                <a:cubicBezTo>
                  <a:pt x="375" y="654"/>
                  <a:pt x="375" y="653"/>
                  <a:pt x="375" y="653"/>
                </a:cubicBezTo>
                <a:cubicBezTo>
                  <a:pt x="374" y="652"/>
                  <a:pt x="384" y="650"/>
                  <a:pt x="387" y="650"/>
                </a:cubicBezTo>
                <a:cubicBezTo>
                  <a:pt x="393" y="649"/>
                  <a:pt x="396" y="649"/>
                  <a:pt x="401" y="648"/>
                </a:cubicBezTo>
                <a:cubicBezTo>
                  <a:pt x="403" y="648"/>
                  <a:pt x="408" y="646"/>
                  <a:pt x="410" y="646"/>
                </a:cubicBezTo>
                <a:cubicBezTo>
                  <a:pt x="413" y="647"/>
                  <a:pt x="409" y="648"/>
                  <a:pt x="409" y="648"/>
                </a:cubicBezTo>
                <a:close/>
                <a:moveTo>
                  <a:pt x="394" y="589"/>
                </a:moveTo>
                <a:cubicBezTo>
                  <a:pt x="394" y="588"/>
                  <a:pt x="395" y="588"/>
                  <a:pt x="395" y="589"/>
                </a:cubicBezTo>
                <a:cubicBezTo>
                  <a:pt x="395" y="589"/>
                  <a:pt x="394" y="590"/>
                  <a:pt x="394" y="589"/>
                </a:cubicBezTo>
                <a:close/>
                <a:moveTo>
                  <a:pt x="398" y="605"/>
                </a:moveTo>
                <a:cubicBezTo>
                  <a:pt x="398" y="605"/>
                  <a:pt x="399" y="604"/>
                  <a:pt x="399" y="604"/>
                </a:cubicBezTo>
                <a:cubicBezTo>
                  <a:pt x="398" y="604"/>
                  <a:pt x="396" y="605"/>
                  <a:pt x="395" y="605"/>
                </a:cubicBezTo>
                <a:cubicBezTo>
                  <a:pt x="395" y="605"/>
                  <a:pt x="399" y="603"/>
                  <a:pt x="400" y="603"/>
                </a:cubicBezTo>
                <a:cubicBezTo>
                  <a:pt x="401" y="603"/>
                  <a:pt x="404" y="605"/>
                  <a:pt x="404" y="605"/>
                </a:cubicBezTo>
                <a:cubicBezTo>
                  <a:pt x="404" y="606"/>
                  <a:pt x="400" y="608"/>
                  <a:pt x="398" y="605"/>
                </a:cubicBezTo>
                <a:close/>
                <a:moveTo>
                  <a:pt x="403" y="636"/>
                </a:moveTo>
                <a:cubicBezTo>
                  <a:pt x="403" y="636"/>
                  <a:pt x="404" y="637"/>
                  <a:pt x="404" y="636"/>
                </a:cubicBezTo>
                <a:cubicBezTo>
                  <a:pt x="404" y="637"/>
                  <a:pt x="403" y="637"/>
                  <a:pt x="403" y="636"/>
                </a:cubicBezTo>
                <a:close/>
                <a:moveTo>
                  <a:pt x="406" y="193"/>
                </a:moveTo>
                <a:cubicBezTo>
                  <a:pt x="406" y="195"/>
                  <a:pt x="404" y="195"/>
                  <a:pt x="406" y="193"/>
                </a:cubicBezTo>
                <a:close/>
                <a:moveTo>
                  <a:pt x="407" y="192"/>
                </a:moveTo>
                <a:cubicBezTo>
                  <a:pt x="406" y="194"/>
                  <a:pt x="409" y="190"/>
                  <a:pt x="407" y="192"/>
                </a:cubicBezTo>
                <a:close/>
                <a:moveTo>
                  <a:pt x="410" y="563"/>
                </a:moveTo>
                <a:cubicBezTo>
                  <a:pt x="410" y="564"/>
                  <a:pt x="410" y="565"/>
                  <a:pt x="409" y="564"/>
                </a:cubicBezTo>
                <a:cubicBezTo>
                  <a:pt x="408" y="564"/>
                  <a:pt x="409" y="563"/>
                  <a:pt x="410" y="563"/>
                </a:cubicBezTo>
                <a:close/>
                <a:moveTo>
                  <a:pt x="412" y="687"/>
                </a:moveTo>
                <a:cubicBezTo>
                  <a:pt x="414" y="686"/>
                  <a:pt x="414" y="687"/>
                  <a:pt x="412" y="687"/>
                </a:cubicBezTo>
                <a:close/>
                <a:moveTo>
                  <a:pt x="391" y="194"/>
                </a:moveTo>
                <a:cubicBezTo>
                  <a:pt x="391" y="194"/>
                  <a:pt x="389" y="196"/>
                  <a:pt x="388" y="195"/>
                </a:cubicBezTo>
                <a:cubicBezTo>
                  <a:pt x="388" y="194"/>
                  <a:pt x="391" y="193"/>
                  <a:pt x="390" y="194"/>
                </a:cubicBezTo>
                <a:cubicBezTo>
                  <a:pt x="398" y="189"/>
                  <a:pt x="408" y="183"/>
                  <a:pt x="417" y="179"/>
                </a:cubicBezTo>
                <a:cubicBezTo>
                  <a:pt x="409" y="185"/>
                  <a:pt x="400" y="189"/>
                  <a:pt x="391" y="194"/>
                </a:cubicBezTo>
                <a:close/>
                <a:moveTo>
                  <a:pt x="414" y="158"/>
                </a:moveTo>
                <a:cubicBezTo>
                  <a:pt x="415" y="156"/>
                  <a:pt x="417" y="157"/>
                  <a:pt x="414" y="158"/>
                </a:cubicBezTo>
                <a:close/>
                <a:moveTo>
                  <a:pt x="407" y="137"/>
                </a:moveTo>
                <a:cubicBezTo>
                  <a:pt x="409" y="134"/>
                  <a:pt x="417" y="135"/>
                  <a:pt x="417" y="139"/>
                </a:cubicBezTo>
                <a:cubicBezTo>
                  <a:pt x="417" y="145"/>
                  <a:pt x="403" y="144"/>
                  <a:pt x="407" y="137"/>
                </a:cubicBezTo>
                <a:close/>
                <a:moveTo>
                  <a:pt x="418" y="140"/>
                </a:moveTo>
                <a:cubicBezTo>
                  <a:pt x="418" y="139"/>
                  <a:pt x="419" y="142"/>
                  <a:pt x="418" y="140"/>
                </a:cubicBezTo>
                <a:close/>
                <a:moveTo>
                  <a:pt x="420" y="672"/>
                </a:moveTo>
                <a:cubicBezTo>
                  <a:pt x="419" y="672"/>
                  <a:pt x="418" y="672"/>
                  <a:pt x="418" y="672"/>
                </a:cubicBezTo>
                <a:cubicBezTo>
                  <a:pt x="418" y="671"/>
                  <a:pt x="432" y="670"/>
                  <a:pt x="435" y="670"/>
                </a:cubicBezTo>
                <a:cubicBezTo>
                  <a:pt x="437" y="671"/>
                  <a:pt x="433" y="672"/>
                  <a:pt x="432" y="672"/>
                </a:cubicBezTo>
                <a:cubicBezTo>
                  <a:pt x="428" y="672"/>
                  <a:pt x="423" y="673"/>
                  <a:pt x="420" y="672"/>
                </a:cubicBezTo>
                <a:close/>
                <a:moveTo>
                  <a:pt x="425" y="681"/>
                </a:moveTo>
                <a:cubicBezTo>
                  <a:pt x="425" y="681"/>
                  <a:pt x="425" y="680"/>
                  <a:pt x="425" y="680"/>
                </a:cubicBezTo>
                <a:cubicBezTo>
                  <a:pt x="425" y="680"/>
                  <a:pt x="425" y="680"/>
                  <a:pt x="425" y="681"/>
                </a:cubicBezTo>
                <a:cubicBezTo>
                  <a:pt x="425" y="681"/>
                  <a:pt x="425" y="681"/>
                  <a:pt x="425" y="681"/>
                </a:cubicBezTo>
                <a:cubicBezTo>
                  <a:pt x="426" y="681"/>
                  <a:pt x="426" y="681"/>
                  <a:pt x="425" y="681"/>
                </a:cubicBezTo>
                <a:close/>
                <a:moveTo>
                  <a:pt x="429" y="674"/>
                </a:moveTo>
                <a:cubicBezTo>
                  <a:pt x="429" y="674"/>
                  <a:pt x="426" y="674"/>
                  <a:pt x="428" y="673"/>
                </a:cubicBezTo>
                <a:cubicBezTo>
                  <a:pt x="431" y="672"/>
                  <a:pt x="437" y="672"/>
                  <a:pt x="441" y="672"/>
                </a:cubicBezTo>
                <a:cubicBezTo>
                  <a:pt x="438" y="673"/>
                  <a:pt x="433" y="674"/>
                  <a:pt x="429" y="674"/>
                </a:cubicBezTo>
                <a:close/>
                <a:moveTo>
                  <a:pt x="442" y="672"/>
                </a:moveTo>
                <a:cubicBezTo>
                  <a:pt x="444" y="671"/>
                  <a:pt x="448" y="669"/>
                  <a:pt x="452" y="670"/>
                </a:cubicBezTo>
                <a:cubicBezTo>
                  <a:pt x="449" y="671"/>
                  <a:pt x="445" y="671"/>
                  <a:pt x="442" y="672"/>
                </a:cubicBezTo>
                <a:close/>
                <a:moveTo>
                  <a:pt x="449" y="142"/>
                </a:moveTo>
                <a:cubicBezTo>
                  <a:pt x="450" y="141"/>
                  <a:pt x="450" y="141"/>
                  <a:pt x="451" y="142"/>
                </a:cubicBezTo>
                <a:cubicBezTo>
                  <a:pt x="451" y="142"/>
                  <a:pt x="450" y="142"/>
                  <a:pt x="449" y="142"/>
                </a:cubicBezTo>
                <a:close/>
                <a:moveTo>
                  <a:pt x="451" y="148"/>
                </a:moveTo>
                <a:cubicBezTo>
                  <a:pt x="452" y="149"/>
                  <a:pt x="450" y="147"/>
                  <a:pt x="451" y="148"/>
                </a:cubicBezTo>
                <a:close/>
                <a:moveTo>
                  <a:pt x="446" y="79"/>
                </a:moveTo>
                <a:cubicBezTo>
                  <a:pt x="448" y="77"/>
                  <a:pt x="450" y="78"/>
                  <a:pt x="452" y="77"/>
                </a:cubicBezTo>
                <a:cubicBezTo>
                  <a:pt x="451" y="78"/>
                  <a:pt x="448" y="79"/>
                  <a:pt x="446" y="79"/>
                </a:cubicBezTo>
                <a:close/>
                <a:moveTo>
                  <a:pt x="454" y="644"/>
                </a:moveTo>
                <a:cubicBezTo>
                  <a:pt x="454" y="644"/>
                  <a:pt x="454" y="644"/>
                  <a:pt x="454" y="644"/>
                </a:cubicBezTo>
                <a:cubicBezTo>
                  <a:pt x="455" y="642"/>
                  <a:pt x="455" y="647"/>
                  <a:pt x="454" y="644"/>
                </a:cubicBezTo>
                <a:close/>
                <a:moveTo>
                  <a:pt x="449" y="66"/>
                </a:moveTo>
                <a:cubicBezTo>
                  <a:pt x="449" y="66"/>
                  <a:pt x="448" y="65"/>
                  <a:pt x="448" y="65"/>
                </a:cubicBezTo>
                <a:cubicBezTo>
                  <a:pt x="448" y="64"/>
                  <a:pt x="451" y="62"/>
                  <a:pt x="453" y="61"/>
                </a:cubicBezTo>
                <a:cubicBezTo>
                  <a:pt x="451" y="61"/>
                  <a:pt x="450" y="62"/>
                  <a:pt x="448" y="62"/>
                </a:cubicBezTo>
                <a:cubicBezTo>
                  <a:pt x="444" y="62"/>
                  <a:pt x="452" y="60"/>
                  <a:pt x="453" y="60"/>
                </a:cubicBezTo>
                <a:cubicBezTo>
                  <a:pt x="458" y="59"/>
                  <a:pt x="462" y="58"/>
                  <a:pt x="466" y="57"/>
                </a:cubicBezTo>
                <a:cubicBezTo>
                  <a:pt x="468" y="57"/>
                  <a:pt x="475" y="56"/>
                  <a:pt x="475" y="57"/>
                </a:cubicBezTo>
                <a:cubicBezTo>
                  <a:pt x="476" y="58"/>
                  <a:pt x="468" y="59"/>
                  <a:pt x="465" y="59"/>
                </a:cubicBezTo>
                <a:cubicBezTo>
                  <a:pt x="461" y="60"/>
                  <a:pt x="459" y="60"/>
                  <a:pt x="456" y="61"/>
                </a:cubicBezTo>
                <a:cubicBezTo>
                  <a:pt x="458" y="61"/>
                  <a:pt x="461" y="62"/>
                  <a:pt x="460" y="64"/>
                </a:cubicBezTo>
                <a:cubicBezTo>
                  <a:pt x="460" y="69"/>
                  <a:pt x="453" y="68"/>
                  <a:pt x="449" y="66"/>
                </a:cubicBezTo>
                <a:close/>
                <a:moveTo>
                  <a:pt x="467" y="66"/>
                </a:moveTo>
                <a:cubicBezTo>
                  <a:pt x="468" y="65"/>
                  <a:pt x="470" y="62"/>
                  <a:pt x="471" y="63"/>
                </a:cubicBezTo>
                <a:cubicBezTo>
                  <a:pt x="473" y="65"/>
                  <a:pt x="469" y="66"/>
                  <a:pt x="467" y="66"/>
                </a:cubicBezTo>
                <a:close/>
                <a:moveTo>
                  <a:pt x="459" y="100"/>
                </a:moveTo>
                <a:cubicBezTo>
                  <a:pt x="458" y="100"/>
                  <a:pt x="458" y="99"/>
                  <a:pt x="459" y="98"/>
                </a:cubicBezTo>
                <a:cubicBezTo>
                  <a:pt x="461" y="96"/>
                  <a:pt x="462" y="100"/>
                  <a:pt x="459" y="100"/>
                </a:cubicBezTo>
                <a:close/>
                <a:moveTo>
                  <a:pt x="456" y="149"/>
                </a:moveTo>
                <a:cubicBezTo>
                  <a:pt x="456" y="149"/>
                  <a:pt x="460" y="145"/>
                  <a:pt x="461" y="146"/>
                </a:cubicBezTo>
                <a:cubicBezTo>
                  <a:pt x="463" y="148"/>
                  <a:pt x="457" y="150"/>
                  <a:pt x="456" y="149"/>
                </a:cubicBezTo>
                <a:close/>
                <a:moveTo>
                  <a:pt x="462" y="681"/>
                </a:moveTo>
                <a:cubicBezTo>
                  <a:pt x="464" y="680"/>
                  <a:pt x="464" y="682"/>
                  <a:pt x="462" y="681"/>
                </a:cubicBezTo>
                <a:close/>
                <a:moveTo>
                  <a:pt x="464" y="170"/>
                </a:moveTo>
                <a:cubicBezTo>
                  <a:pt x="463" y="171"/>
                  <a:pt x="461" y="171"/>
                  <a:pt x="460" y="171"/>
                </a:cubicBezTo>
                <a:cubicBezTo>
                  <a:pt x="459" y="172"/>
                  <a:pt x="459" y="172"/>
                  <a:pt x="458" y="172"/>
                </a:cubicBezTo>
                <a:cubicBezTo>
                  <a:pt x="459" y="172"/>
                  <a:pt x="459" y="172"/>
                  <a:pt x="460" y="171"/>
                </a:cubicBezTo>
                <a:cubicBezTo>
                  <a:pt x="462" y="170"/>
                  <a:pt x="464" y="168"/>
                  <a:pt x="465" y="168"/>
                </a:cubicBezTo>
                <a:cubicBezTo>
                  <a:pt x="468" y="167"/>
                  <a:pt x="464" y="170"/>
                  <a:pt x="464" y="170"/>
                </a:cubicBezTo>
                <a:close/>
                <a:moveTo>
                  <a:pt x="466" y="68"/>
                </a:moveTo>
                <a:cubicBezTo>
                  <a:pt x="466" y="68"/>
                  <a:pt x="466" y="68"/>
                  <a:pt x="466" y="68"/>
                </a:cubicBezTo>
                <a:cubicBezTo>
                  <a:pt x="467" y="70"/>
                  <a:pt x="464" y="67"/>
                  <a:pt x="466" y="68"/>
                </a:cubicBezTo>
                <a:close/>
                <a:moveTo>
                  <a:pt x="468" y="241"/>
                </a:moveTo>
                <a:cubicBezTo>
                  <a:pt x="468" y="243"/>
                  <a:pt x="465" y="242"/>
                  <a:pt x="468" y="241"/>
                </a:cubicBezTo>
                <a:close/>
                <a:moveTo>
                  <a:pt x="470" y="75"/>
                </a:moveTo>
                <a:cubicBezTo>
                  <a:pt x="470" y="75"/>
                  <a:pt x="470" y="76"/>
                  <a:pt x="470" y="77"/>
                </a:cubicBezTo>
                <a:cubicBezTo>
                  <a:pt x="471" y="77"/>
                  <a:pt x="472" y="75"/>
                  <a:pt x="472" y="75"/>
                </a:cubicBezTo>
                <a:cubicBezTo>
                  <a:pt x="472" y="74"/>
                  <a:pt x="471" y="74"/>
                  <a:pt x="471" y="73"/>
                </a:cubicBezTo>
                <a:cubicBezTo>
                  <a:pt x="471" y="74"/>
                  <a:pt x="470" y="73"/>
                  <a:pt x="471" y="73"/>
                </a:cubicBezTo>
                <a:cubicBezTo>
                  <a:pt x="472" y="72"/>
                  <a:pt x="473" y="73"/>
                  <a:pt x="473" y="73"/>
                </a:cubicBezTo>
                <a:cubicBezTo>
                  <a:pt x="474" y="72"/>
                  <a:pt x="475" y="72"/>
                  <a:pt x="476" y="72"/>
                </a:cubicBezTo>
                <a:cubicBezTo>
                  <a:pt x="477" y="72"/>
                  <a:pt x="481" y="75"/>
                  <a:pt x="478" y="76"/>
                </a:cubicBezTo>
                <a:cubicBezTo>
                  <a:pt x="476" y="77"/>
                  <a:pt x="471" y="78"/>
                  <a:pt x="469" y="77"/>
                </a:cubicBezTo>
                <a:cubicBezTo>
                  <a:pt x="468" y="77"/>
                  <a:pt x="468" y="74"/>
                  <a:pt x="470" y="75"/>
                </a:cubicBezTo>
                <a:close/>
                <a:moveTo>
                  <a:pt x="478" y="117"/>
                </a:moveTo>
                <a:cubicBezTo>
                  <a:pt x="479" y="118"/>
                  <a:pt x="477" y="118"/>
                  <a:pt x="476" y="118"/>
                </a:cubicBezTo>
                <a:cubicBezTo>
                  <a:pt x="476" y="117"/>
                  <a:pt x="478" y="117"/>
                  <a:pt x="478" y="117"/>
                </a:cubicBezTo>
                <a:close/>
                <a:moveTo>
                  <a:pt x="478" y="100"/>
                </a:move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lose/>
                <a:moveTo>
                  <a:pt x="478" y="100"/>
                </a:moveTo>
                <a:cubicBezTo>
                  <a:pt x="479" y="100"/>
                  <a:pt x="478" y="100"/>
                  <a:pt x="478" y="100"/>
                </a:cubicBezTo>
                <a:close/>
                <a:moveTo>
                  <a:pt x="476" y="97"/>
                </a:moveTo>
                <a:cubicBezTo>
                  <a:pt x="475" y="96"/>
                  <a:pt x="478" y="96"/>
                  <a:pt x="478" y="96"/>
                </a:cubicBezTo>
                <a:cubicBezTo>
                  <a:pt x="479" y="96"/>
                  <a:pt x="476" y="97"/>
                  <a:pt x="476" y="97"/>
                </a:cubicBezTo>
                <a:close/>
                <a:moveTo>
                  <a:pt x="474" y="91"/>
                </a:moveTo>
                <a:cubicBezTo>
                  <a:pt x="474" y="90"/>
                  <a:pt x="475" y="90"/>
                  <a:pt x="476" y="90"/>
                </a:cubicBezTo>
                <a:cubicBezTo>
                  <a:pt x="477" y="92"/>
                  <a:pt x="474" y="92"/>
                  <a:pt x="474" y="91"/>
                </a:cubicBezTo>
                <a:close/>
                <a:moveTo>
                  <a:pt x="477" y="107"/>
                </a:moveTo>
                <a:cubicBezTo>
                  <a:pt x="477" y="109"/>
                  <a:pt x="474" y="111"/>
                  <a:pt x="473" y="109"/>
                </a:cubicBezTo>
                <a:cubicBezTo>
                  <a:pt x="469" y="106"/>
                  <a:pt x="477" y="104"/>
                  <a:pt x="477" y="107"/>
                </a:cubicBezTo>
                <a:close/>
                <a:moveTo>
                  <a:pt x="472" y="112"/>
                </a:moveTo>
                <a:cubicBezTo>
                  <a:pt x="475" y="114"/>
                  <a:pt x="468" y="116"/>
                  <a:pt x="470" y="113"/>
                </a:cubicBezTo>
                <a:cubicBezTo>
                  <a:pt x="471" y="112"/>
                  <a:pt x="472" y="112"/>
                  <a:pt x="472" y="112"/>
                </a:cubicBezTo>
                <a:close/>
                <a:moveTo>
                  <a:pt x="475" y="122"/>
                </a:moveTo>
                <a:cubicBezTo>
                  <a:pt x="474" y="122"/>
                  <a:pt x="473" y="123"/>
                  <a:pt x="472" y="123"/>
                </a:cubicBezTo>
                <a:cubicBezTo>
                  <a:pt x="472" y="123"/>
                  <a:pt x="473" y="121"/>
                  <a:pt x="475" y="122"/>
                </a:cubicBezTo>
                <a:close/>
                <a:moveTo>
                  <a:pt x="474" y="123"/>
                </a:moveTo>
                <a:cubicBezTo>
                  <a:pt x="474" y="123"/>
                  <a:pt x="475" y="123"/>
                  <a:pt x="475" y="124"/>
                </a:cubicBezTo>
                <a:cubicBezTo>
                  <a:pt x="475" y="124"/>
                  <a:pt x="474" y="124"/>
                  <a:pt x="474" y="123"/>
                </a:cubicBezTo>
                <a:close/>
                <a:moveTo>
                  <a:pt x="477" y="158"/>
                </a:moveTo>
                <a:cubicBezTo>
                  <a:pt x="477" y="158"/>
                  <a:pt x="476" y="159"/>
                  <a:pt x="475" y="159"/>
                </a:cubicBezTo>
                <a:cubicBezTo>
                  <a:pt x="475" y="159"/>
                  <a:pt x="476" y="158"/>
                  <a:pt x="477" y="158"/>
                </a:cubicBezTo>
                <a:close/>
                <a:moveTo>
                  <a:pt x="476" y="121"/>
                </a:moveTo>
                <a:cubicBezTo>
                  <a:pt x="477" y="121"/>
                  <a:pt x="478" y="119"/>
                  <a:pt x="479" y="120"/>
                </a:cubicBezTo>
                <a:cubicBezTo>
                  <a:pt x="478" y="121"/>
                  <a:pt x="477" y="121"/>
                  <a:pt x="476" y="121"/>
                </a:cubicBezTo>
                <a:close/>
                <a:moveTo>
                  <a:pt x="472" y="165"/>
                </a:moveTo>
                <a:cubicBezTo>
                  <a:pt x="472" y="166"/>
                  <a:pt x="470" y="167"/>
                  <a:pt x="469" y="168"/>
                </a:cubicBezTo>
                <a:cubicBezTo>
                  <a:pt x="469" y="166"/>
                  <a:pt x="471" y="166"/>
                  <a:pt x="472" y="165"/>
                </a:cubicBezTo>
                <a:close/>
                <a:moveTo>
                  <a:pt x="471" y="178"/>
                </a:moveTo>
                <a:cubicBezTo>
                  <a:pt x="471" y="175"/>
                  <a:pt x="476" y="174"/>
                  <a:pt x="477" y="177"/>
                </a:cubicBezTo>
                <a:cubicBezTo>
                  <a:pt x="477" y="181"/>
                  <a:pt x="471" y="180"/>
                  <a:pt x="471" y="178"/>
                </a:cubicBezTo>
                <a:close/>
                <a:moveTo>
                  <a:pt x="472" y="233"/>
                </a:moveTo>
                <a:cubicBezTo>
                  <a:pt x="472" y="232"/>
                  <a:pt x="475" y="230"/>
                  <a:pt x="475" y="232"/>
                </a:cubicBezTo>
                <a:cubicBezTo>
                  <a:pt x="476" y="234"/>
                  <a:pt x="473" y="234"/>
                  <a:pt x="472" y="233"/>
                </a:cubicBezTo>
                <a:close/>
                <a:moveTo>
                  <a:pt x="475" y="180"/>
                </a:moveTo>
                <a:cubicBezTo>
                  <a:pt x="475" y="180"/>
                  <a:pt x="476" y="179"/>
                  <a:pt x="477" y="180"/>
                </a:cubicBezTo>
                <a:cubicBezTo>
                  <a:pt x="478" y="181"/>
                  <a:pt x="475" y="181"/>
                  <a:pt x="475" y="180"/>
                </a:cubicBezTo>
                <a:close/>
                <a:moveTo>
                  <a:pt x="482" y="155"/>
                </a:moveTo>
                <a:cubicBezTo>
                  <a:pt x="482" y="156"/>
                  <a:pt x="480" y="157"/>
                  <a:pt x="479" y="157"/>
                </a:cubicBezTo>
                <a:cubicBezTo>
                  <a:pt x="479" y="156"/>
                  <a:pt x="481" y="156"/>
                  <a:pt x="482" y="155"/>
                </a:cubicBezTo>
                <a:close/>
                <a:moveTo>
                  <a:pt x="479" y="164"/>
                </a:moveTo>
                <a:cubicBezTo>
                  <a:pt x="479" y="162"/>
                  <a:pt x="481" y="163"/>
                  <a:pt x="479" y="164"/>
                </a:cubicBezTo>
                <a:close/>
                <a:moveTo>
                  <a:pt x="479" y="175"/>
                </a:moveTo>
                <a:cubicBezTo>
                  <a:pt x="478" y="174"/>
                  <a:pt x="480" y="173"/>
                  <a:pt x="480" y="174"/>
                </a:cubicBezTo>
                <a:cubicBezTo>
                  <a:pt x="480" y="175"/>
                  <a:pt x="480" y="175"/>
                  <a:pt x="479" y="175"/>
                </a:cubicBezTo>
                <a:close/>
                <a:moveTo>
                  <a:pt x="480" y="164"/>
                </a:moveTo>
                <a:cubicBezTo>
                  <a:pt x="480" y="163"/>
                  <a:pt x="484" y="161"/>
                  <a:pt x="484" y="164"/>
                </a:cubicBezTo>
                <a:cubicBezTo>
                  <a:pt x="484" y="166"/>
                  <a:pt x="480" y="166"/>
                  <a:pt x="480" y="164"/>
                </a:cubicBezTo>
                <a:close/>
                <a:moveTo>
                  <a:pt x="482" y="188"/>
                </a:moveTo>
                <a:cubicBezTo>
                  <a:pt x="482" y="187"/>
                  <a:pt x="483" y="187"/>
                  <a:pt x="484" y="187"/>
                </a:cubicBezTo>
                <a:cubicBezTo>
                  <a:pt x="484" y="187"/>
                  <a:pt x="482" y="189"/>
                  <a:pt x="482" y="188"/>
                </a:cubicBezTo>
                <a:close/>
                <a:moveTo>
                  <a:pt x="487" y="253"/>
                </a:moveTo>
                <a:cubicBezTo>
                  <a:pt x="487" y="255"/>
                  <a:pt x="485" y="254"/>
                  <a:pt x="487" y="253"/>
                </a:cubicBezTo>
                <a:close/>
                <a:moveTo>
                  <a:pt x="484" y="228"/>
                </a:moveTo>
                <a:cubicBezTo>
                  <a:pt x="482" y="226"/>
                  <a:pt x="488" y="223"/>
                  <a:pt x="488" y="227"/>
                </a:cubicBezTo>
                <a:cubicBezTo>
                  <a:pt x="488" y="228"/>
                  <a:pt x="485" y="230"/>
                  <a:pt x="484" y="228"/>
                </a:cubicBezTo>
                <a:close/>
                <a:moveTo>
                  <a:pt x="486" y="208"/>
                </a:moveTo>
                <a:cubicBezTo>
                  <a:pt x="486" y="207"/>
                  <a:pt x="488" y="206"/>
                  <a:pt x="488" y="207"/>
                </a:cubicBezTo>
                <a:cubicBezTo>
                  <a:pt x="488" y="208"/>
                  <a:pt x="487" y="209"/>
                  <a:pt x="486" y="208"/>
                </a:cubicBezTo>
                <a:close/>
                <a:moveTo>
                  <a:pt x="490" y="250"/>
                </a:moveTo>
                <a:cubicBezTo>
                  <a:pt x="490" y="248"/>
                  <a:pt x="492" y="246"/>
                  <a:pt x="493" y="245"/>
                </a:cubicBezTo>
                <a:cubicBezTo>
                  <a:pt x="493" y="246"/>
                  <a:pt x="491" y="248"/>
                  <a:pt x="490" y="250"/>
                </a:cubicBezTo>
                <a:close/>
                <a:moveTo>
                  <a:pt x="494" y="245"/>
                </a:moveTo>
                <a:cubicBezTo>
                  <a:pt x="494" y="244"/>
                  <a:pt x="495" y="243"/>
                  <a:pt x="495" y="243"/>
                </a:cubicBezTo>
                <a:cubicBezTo>
                  <a:pt x="496" y="243"/>
                  <a:pt x="494" y="245"/>
                  <a:pt x="494" y="245"/>
                </a:cubicBezTo>
                <a:close/>
                <a:moveTo>
                  <a:pt x="499" y="230"/>
                </a:moveTo>
                <a:cubicBezTo>
                  <a:pt x="499" y="229"/>
                  <a:pt x="501" y="229"/>
                  <a:pt x="501" y="229"/>
                </a:cubicBezTo>
                <a:cubicBezTo>
                  <a:pt x="502" y="229"/>
                  <a:pt x="500" y="230"/>
                  <a:pt x="499" y="230"/>
                </a:cubicBezTo>
                <a:close/>
                <a:moveTo>
                  <a:pt x="496" y="230"/>
                </a:moveTo>
                <a:cubicBezTo>
                  <a:pt x="496" y="230"/>
                  <a:pt x="491" y="233"/>
                  <a:pt x="492" y="231"/>
                </a:cubicBezTo>
                <a:cubicBezTo>
                  <a:pt x="492" y="230"/>
                  <a:pt x="497" y="229"/>
                  <a:pt x="497" y="229"/>
                </a:cubicBezTo>
                <a:cubicBezTo>
                  <a:pt x="500" y="228"/>
                  <a:pt x="503" y="225"/>
                  <a:pt x="506" y="225"/>
                </a:cubicBezTo>
                <a:cubicBezTo>
                  <a:pt x="505" y="228"/>
                  <a:pt x="498" y="229"/>
                  <a:pt x="496" y="230"/>
                </a:cubicBezTo>
                <a:close/>
                <a:moveTo>
                  <a:pt x="505" y="195"/>
                </a:moveTo>
                <a:cubicBezTo>
                  <a:pt x="505" y="194"/>
                  <a:pt x="507" y="192"/>
                  <a:pt x="508" y="193"/>
                </a:cubicBezTo>
                <a:cubicBezTo>
                  <a:pt x="508" y="194"/>
                  <a:pt x="506" y="196"/>
                  <a:pt x="505" y="195"/>
                </a:cubicBezTo>
                <a:close/>
                <a:moveTo>
                  <a:pt x="507" y="222"/>
                </a:moveTo>
                <a:cubicBezTo>
                  <a:pt x="507" y="222"/>
                  <a:pt x="508" y="222"/>
                  <a:pt x="508" y="222"/>
                </a:cubicBezTo>
                <a:cubicBezTo>
                  <a:pt x="510" y="223"/>
                  <a:pt x="504" y="225"/>
                  <a:pt x="507" y="222"/>
                </a:cubicBezTo>
                <a:close/>
                <a:moveTo>
                  <a:pt x="506" y="190"/>
                </a:moveTo>
                <a:cubicBezTo>
                  <a:pt x="506" y="189"/>
                  <a:pt x="507" y="188"/>
                  <a:pt x="509" y="188"/>
                </a:cubicBezTo>
                <a:cubicBezTo>
                  <a:pt x="508" y="189"/>
                  <a:pt x="507" y="190"/>
                  <a:pt x="506" y="190"/>
                </a:cubicBezTo>
                <a:close/>
                <a:moveTo>
                  <a:pt x="516" y="247"/>
                </a:moveTo>
                <a:cubicBezTo>
                  <a:pt x="514" y="248"/>
                  <a:pt x="511" y="250"/>
                  <a:pt x="509" y="250"/>
                </a:cubicBezTo>
                <a:cubicBezTo>
                  <a:pt x="510" y="249"/>
                  <a:pt x="514" y="248"/>
                  <a:pt x="516" y="247"/>
                </a:cubicBezTo>
                <a:close/>
                <a:moveTo>
                  <a:pt x="512" y="258"/>
                </a:moveTo>
                <a:cubicBezTo>
                  <a:pt x="512" y="255"/>
                  <a:pt x="516" y="256"/>
                  <a:pt x="516" y="257"/>
                </a:cubicBezTo>
                <a:cubicBezTo>
                  <a:pt x="517" y="258"/>
                  <a:pt x="512" y="260"/>
                  <a:pt x="512" y="258"/>
                </a:cubicBezTo>
                <a:close/>
                <a:moveTo>
                  <a:pt x="517" y="268"/>
                </a:moveTo>
                <a:cubicBezTo>
                  <a:pt x="516" y="269"/>
                  <a:pt x="517" y="268"/>
                  <a:pt x="517" y="268"/>
                </a:cubicBezTo>
                <a:cubicBezTo>
                  <a:pt x="517" y="268"/>
                  <a:pt x="517" y="268"/>
                  <a:pt x="517" y="268"/>
                </a:cubicBezTo>
                <a:close/>
                <a:moveTo>
                  <a:pt x="517" y="247"/>
                </a:moveTo>
                <a:cubicBezTo>
                  <a:pt x="517" y="247"/>
                  <a:pt x="517" y="247"/>
                  <a:pt x="517" y="247"/>
                </a:cubicBezTo>
                <a:cubicBezTo>
                  <a:pt x="518" y="247"/>
                  <a:pt x="517" y="247"/>
                  <a:pt x="517" y="247"/>
                </a:cubicBezTo>
                <a:close/>
                <a:moveTo>
                  <a:pt x="518" y="154"/>
                </a:moveTo>
                <a:cubicBezTo>
                  <a:pt x="517" y="151"/>
                  <a:pt x="524" y="153"/>
                  <a:pt x="524" y="154"/>
                </a:cubicBezTo>
                <a:cubicBezTo>
                  <a:pt x="524" y="154"/>
                  <a:pt x="523" y="155"/>
                  <a:pt x="523" y="155"/>
                </a:cubicBezTo>
                <a:cubicBezTo>
                  <a:pt x="523" y="156"/>
                  <a:pt x="522" y="158"/>
                  <a:pt x="521" y="156"/>
                </a:cubicBezTo>
                <a:cubicBezTo>
                  <a:pt x="521" y="156"/>
                  <a:pt x="521" y="155"/>
                  <a:pt x="521" y="155"/>
                </a:cubicBezTo>
                <a:cubicBezTo>
                  <a:pt x="520" y="155"/>
                  <a:pt x="518" y="155"/>
                  <a:pt x="518" y="154"/>
                </a:cubicBezTo>
                <a:close/>
                <a:moveTo>
                  <a:pt x="518" y="188"/>
                </a:moveTo>
                <a:cubicBezTo>
                  <a:pt x="518" y="186"/>
                  <a:pt x="524" y="185"/>
                  <a:pt x="524" y="188"/>
                </a:cubicBezTo>
                <a:cubicBezTo>
                  <a:pt x="524" y="190"/>
                  <a:pt x="519" y="190"/>
                  <a:pt x="518" y="188"/>
                </a:cubicBezTo>
                <a:close/>
                <a:moveTo>
                  <a:pt x="522" y="286"/>
                </a:moveTo>
                <a:cubicBezTo>
                  <a:pt x="522" y="285"/>
                  <a:pt x="522" y="285"/>
                  <a:pt x="522" y="285"/>
                </a:cubicBezTo>
                <a:cubicBezTo>
                  <a:pt x="523" y="285"/>
                  <a:pt x="522" y="286"/>
                  <a:pt x="522" y="286"/>
                </a:cubicBezTo>
                <a:close/>
                <a:moveTo>
                  <a:pt x="521" y="231"/>
                </a:moveTo>
                <a:cubicBezTo>
                  <a:pt x="518" y="232"/>
                  <a:pt x="522" y="229"/>
                  <a:pt x="523" y="228"/>
                </a:cubicBezTo>
                <a:cubicBezTo>
                  <a:pt x="524" y="226"/>
                  <a:pt x="526" y="223"/>
                  <a:pt x="528" y="220"/>
                </a:cubicBezTo>
                <a:cubicBezTo>
                  <a:pt x="528" y="221"/>
                  <a:pt x="527" y="221"/>
                  <a:pt x="527" y="220"/>
                </a:cubicBezTo>
                <a:cubicBezTo>
                  <a:pt x="527" y="220"/>
                  <a:pt x="528" y="220"/>
                  <a:pt x="528" y="220"/>
                </a:cubicBezTo>
                <a:cubicBezTo>
                  <a:pt x="528" y="220"/>
                  <a:pt x="528" y="220"/>
                  <a:pt x="528" y="220"/>
                </a:cubicBezTo>
                <a:cubicBezTo>
                  <a:pt x="529" y="219"/>
                  <a:pt x="529" y="218"/>
                  <a:pt x="530" y="218"/>
                </a:cubicBezTo>
                <a:cubicBezTo>
                  <a:pt x="530" y="218"/>
                  <a:pt x="531" y="218"/>
                  <a:pt x="531" y="218"/>
                </a:cubicBezTo>
                <a:cubicBezTo>
                  <a:pt x="531" y="218"/>
                  <a:pt x="529" y="220"/>
                  <a:pt x="528" y="222"/>
                </a:cubicBezTo>
                <a:cubicBezTo>
                  <a:pt x="527" y="223"/>
                  <a:pt x="523" y="230"/>
                  <a:pt x="521" y="231"/>
                </a:cubicBezTo>
                <a:close/>
                <a:moveTo>
                  <a:pt x="530" y="232"/>
                </a:moveTo>
                <a:cubicBezTo>
                  <a:pt x="530" y="232"/>
                  <a:pt x="530" y="232"/>
                  <a:pt x="531" y="232"/>
                </a:cubicBezTo>
                <a:cubicBezTo>
                  <a:pt x="531" y="232"/>
                  <a:pt x="530" y="233"/>
                  <a:pt x="530" y="232"/>
                </a:cubicBezTo>
                <a:close/>
                <a:moveTo>
                  <a:pt x="530" y="268"/>
                </a:move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lose/>
                <a:moveTo>
                  <a:pt x="530" y="256"/>
                </a:moveTo>
                <a:cubicBezTo>
                  <a:pt x="530" y="256"/>
                  <a:pt x="531" y="255"/>
                  <a:pt x="531" y="256"/>
                </a:cubicBezTo>
                <a:cubicBezTo>
                  <a:pt x="532" y="258"/>
                  <a:pt x="529" y="258"/>
                  <a:pt x="530" y="256"/>
                </a:cubicBezTo>
                <a:close/>
                <a:moveTo>
                  <a:pt x="533" y="312"/>
                </a:moveTo>
                <a:cubicBezTo>
                  <a:pt x="533" y="311"/>
                  <a:pt x="533" y="310"/>
                  <a:pt x="534" y="310"/>
                </a:cubicBezTo>
                <a:cubicBezTo>
                  <a:pt x="536" y="308"/>
                  <a:pt x="535" y="313"/>
                  <a:pt x="533" y="312"/>
                </a:cubicBezTo>
                <a:close/>
                <a:moveTo>
                  <a:pt x="533" y="230"/>
                </a:moveTo>
                <a:cubicBezTo>
                  <a:pt x="534" y="229"/>
                  <a:pt x="535" y="232"/>
                  <a:pt x="533" y="231"/>
                </a:cubicBezTo>
                <a:cubicBezTo>
                  <a:pt x="533" y="231"/>
                  <a:pt x="533" y="230"/>
                  <a:pt x="533" y="230"/>
                </a:cubicBezTo>
                <a:close/>
                <a:moveTo>
                  <a:pt x="531" y="215"/>
                </a:moveTo>
                <a:cubicBezTo>
                  <a:pt x="530" y="213"/>
                  <a:pt x="535" y="211"/>
                  <a:pt x="535" y="214"/>
                </a:cubicBezTo>
                <a:cubicBezTo>
                  <a:pt x="535" y="215"/>
                  <a:pt x="531" y="217"/>
                  <a:pt x="531" y="215"/>
                </a:cubicBezTo>
                <a:close/>
                <a:moveTo>
                  <a:pt x="530" y="135"/>
                </a:moveTo>
                <a:cubicBezTo>
                  <a:pt x="532" y="134"/>
                  <a:pt x="534" y="133"/>
                  <a:pt x="536" y="131"/>
                </a:cubicBezTo>
                <a:cubicBezTo>
                  <a:pt x="535" y="134"/>
                  <a:pt x="532" y="134"/>
                  <a:pt x="530" y="135"/>
                </a:cubicBezTo>
                <a:close/>
                <a:moveTo>
                  <a:pt x="598" y="198"/>
                </a:moveTo>
                <a:cubicBezTo>
                  <a:pt x="598" y="198"/>
                  <a:pt x="597" y="199"/>
                  <a:pt x="597" y="199"/>
                </a:cubicBezTo>
                <a:cubicBezTo>
                  <a:pt x="596" y="198"/>
                  <a:pt x="598" y="198"/>
                  <a:pt x="598" y="198"/>
                </a:cubicBezTo>
                <a:close/>
                <a:moveTo>
                  <a:pt x="596" y="204"/>
                </a:moveTo>
                <a:cubicBezTo>
                  <a:pt x="598" y="202"/>
                  <a:pt x="597" y="205"/>
                  <a:pt x="596" y="205"/>
                </a:cubicBezTo>
                <a:cubicBezTo>
                  <a:pt x="596" y="204"/>
                  <a:pt x="596" y="204"/>
                  <a:pt x="596" y="204"/>
                </a:cubicBezTo>
                <a:close/>
                <a:moveTo>
                  <a:pt x="596" y="235"/>
                </a:moveTo>
                <a:cubicBezTo>
                  <a:pt x="597" y="235"/>
                  <a:pt x="598" y="234"/>
                  <a:pt x="598" y="235"/>
                </a:cubicBezTo>
                <a:cubicBezTo>
                  <a:pt x="601" y="237"/>
                  <a:pt x="594" y="238"/>
                  <a:pt x="596" y="235"/>
                </a:cubicBezTo>
                <a:close/>
                <a:moveTo>
                  <a:pt x="599" y="282"/>
                </a:moveTo>
                <a:cubicBezTo>
                  <a:pt x="598" y="284"/>
                  <a:pt x="597" y="283"/>
                  <a:pt x="599" y="282"/>
                </a:cubicBezTo>
                <a:close/>
                <a:moveTo>
                  <a:pt x="594" y="323"/>
                </a:moveTo>
                <a:cubicBezTo>
                  <a:pt x="594" y="322"/>
                  <a:pt x="595" y="322"/>
                  <a:pt x="595" y="322"/>
                </a:cubicBezTo>
                <a:cubicBezTo>
                  <a:pt x="597" y="323"/>
                  <a:pt x="593" y="325"/>
                  <a:pt x="594" y="323"/>
                </a:cubicBezTo>
                <a:close/>
                <a:moveTo>
                  <a:pt x="596" y="370"/>
                </a:moveTo>
                <a:cubicBezTo>
                  <a:pt x="597" y="370"/>
                  <a:pt x="594" y="371"/>
                  <a:pt x="596" y="370"/>
                </a:cubicBezTo>
                <a:close/>
                <a:moveTo>
                  <a:pt x="594" y="263"/>
                </a:moveTo>
                <a:cubicBezTo>
                  <a:pt x="595" y="262"/>
                  <a:pt x="596" y="264"/>
                  <a:pt x="594" y="263"/>
                </a:cubicBezTo>
                <a:close/>
                <a:moveTo>
                  <a:pt x="594" y="231"/>
                </a:moveTo>
                <a:cubicBezTo>
                  <a:pt x="595" y="231"/>
                  <a:pt x="594" y="232"/>
                  <a:pt x="594" y="231"/>
                </a:cubicBezTo>
                <a:cubicBezTo>
                  <a:pt x="594" y="231"/>
                  <a:pt x="594" y="231"/>
                  <a:pt x="594" y="231"/>
                </a:cubicBezTo>
                <a:close/>
                <a:moveTo>
                  <a:pt x="592" y="198"/>
                </a:moveTo>
                <a:cubicBezTo>
                  <a:pt x="594" y="196"/>
                  <a:pt x="594" y="199"/>
                  <a:pt x="592" y="198"/>
                </a:cubicBezTo>
                <a:close/>
                <a:moveTo>
                  <a:pt x="594" y="244"/>
                </a:moveTo>
                <a:cubicBezTo>
                  <a:pt x="594" y="245"/>
                  <a:pt x="593" y="245"/>
                  <a:pt x="591" y="246"/>
                </a:cubicBezTo>
                <a:cubicBezTo>
                  <a:pt x="592" y="245"/>
                  <a:pt x="593" y="244"/>
                  <a:pt x="594" y="244"/>
                </a:cubicBezTo>
                <a:close/>
                <a:moveTo>
                  <a:pt x="589" y="200"/>
                </a:moveTo>
                <a:cubicBezTo>
                  <a:pt x="590" y="201"/>
                  <a:pt x="588" y="202"/>
                  <a:pt x="588" y="202"/>
                </a:cubicBezTo>
                <a:cubicBezTo>
                  <a:pt x="588" y="201"/>
                  <a:pt x="589" y="201"/>
                  <a:pt x="589" y="200"/>
                </a:cubicBezTo>
                <a:close/>
                <a:moveTo>
                  <a:pt x="591" y="200"/>
                </a:moveTo>
                <a:cubicBezTo>
                  <a:pt x="590" y="203"/>
                  <a:pt x="589" y="206"/>
                  <a:pt x="586" y="208"/>
                </a:cubicBezTo>
                <a:cubicBezTo>
                  <a:pt x="588" y="206"/>
                  <a:pt x="589" y="203"/>
                  <a:pt x="591" y="200"/>
                </a:cubicBezTo>
                <a:close/>
                <a:moveTo>
                  <a:pt x="590" y="339"/>
                </a:moveTo>
                <a:cubicBezTo>
                  <a:pt x="591" y="338"/>
                  <a:pt x="590" y="340"/>
                  <a:pt x="590" y="339"/>
                </a:cubicBezTo>
                <a:close/>
                <a:moveTo>
                  <a:pt x="590" y="246"/>
                </a:moveTo>
                <a:cubicBezTo>
                  <a:pt x="591" y="246"/>
                  <a:pt x="591" y="246"/>
                  <a:pt x="590" y="246"/>
                </a:cubicBezTo>
                <a:close/>
                <a:moveTo>
                  <a:pt x="590" y="246"/>
                </a:moveTo>
                <a:cubicBezTo>
                  <a:pt x="590" y="246"/>
                  <a:pt x="590" y="247"/>
                  <a:pt x="590" y="247"/>
                </a:cubicBezTo>
                <a:cubicBezTo>
                  <a:pt x="590" y="247"/>
                  <a:pt x="590" y="247"/>
                  <a:pt x="590" y="247"/>
                </a:cubicBezTo>
                <a:cubicBezTo>
                  <a:pt x="590" y="247"/>
                  <a:pt x="590" y="247"/>
                  <a:pt x="590" y="246"/>
                </a:cubicBezTo>
                <a:close/>
                <a:moveTo>
                  <a:pt x="587" y="206"/>
                </a:moveTo>
                <a:cubicBezTo>
                  <a:pt x="587" y="206"/>
                  <a:pt x="586" y="205"/>
                  <a:pt x="586" y="205"/>
                </a:cubicBezTo>
                <a:cubicBezTo>
                  <a:pt x="587" y="204"/>
                  <a:pt x="587" y="208"/>
                  <a:pt x="587" y="206"/>
                </a:cubicBezTo>
                <a:close/>
                <a:moveTo>
                  <a:pt x="586" y="210"/>
                </a:moveTo>
                <a:cubicBezTo>
                  <a:pt x="587" y="211"/>
                  <a:pt x="585" y="212"/>
                  <a:pt x="585" y="213"/>
                </a:cubicBezTo>
                <a:cubicBezTo>
                  <a:pt x="584" y="212"/>
                  <a:pt x="586" y="210"/>
                  <a:pt x="586" y="210"/>
                </a:cubicBezTo>
                <a:close/>
                <a:moveTo>
                  <a:pt x="585" y="229"/>
                </a:moveTo>
                <a:cubicBezTo>
                  <a:pt x="586" y="228"/>
                  <a:pt x="585" y="230"/>
                  <a:pt x="584" y="230"/>
                </a:cubicBezTo>
                <a:cubicBezTo>
                  <a:pt x="584" y="230"/>
                  <a:pt x="585" y="229"/>
                  <a:pt x="585" y="229"/>
                </a:cubicBezTo>
                <a:close/>
                <a:moveTo>
                  <a:pt x="584" y="214"/>
                </a:moveTo>
                <a:cubicBezTo>
                  <a:pt x="584" y="212"/>
                  <a:pt x="585" y="214"/>
                  <a:pt x="584" y="214"/>
                </a:cubicBezTo>
                <a:close/>
                <a:moveTo>
                  <a:pt x="583" y="250"/>
                </a:moveTo>
                <a:cubicBezTo>
                  <a:pt x="583" y="250"/>
                  <a:pt x="583" y="251"/>
                  <a:pt x="582" y="251"/>
                </a:cubicBezTo>
                <a:cubicBezTo>
                  <a:pt x="582" y="251"/>
                  <a:pt x="581" y="251"/>
                  <a:pt x="581" y="251"/>
                </a:cubicBezTo>
                <a:cubicBezTo>
                  <a:pt x="582" y="251"/>
                  <a:pt x="583" y="251"/>
                  <a:pt x="583" y="250"/>
                </a:cubicBezTo>
                <a:close/>
                <a:moveTo>
                  <a:pt x="579" y="195"/>
                </a:moveTo>
                <a:cubicBezTo>
                  <a:pt x="578" y="194"/>
                  <a:pt x="581" y="195"/>
                  <a:pt x="579" y="195"/>
                </a:cubicBezTo>
                <a:close/>
                <a:moveTo>
                  <a:pt x="578" y="186"/>
                </a:moveTo>
                <a:cubicBezTo>
                  <a:pt x="578" y="188"/>
                  <a:pt x="573" y="190"/>
                  <a:pt x="572" y="187"/>
                </a:cubicBezTo>
                <a:cubicBezTo>
                  <a:pt x="571" y="184"/>
                  <a:pt x="579" y="182"/>
                  <a:pt x="578" y="186"/>
                </a:cubicBezTo>
                <a:close/>
                <a:moveTo>
                  <a:pt x="576" y="196"/>
                </a:moveTo>
                <a:cubicBezTo>
                  <a:pt x="576" y="196"/>
                  <a:pt x="576" y="196"/>
                  <a:pt x="576" y="196"/>
                </a:cubicBezTo>
                <a:cubicBezTo>
                  <a:pt x="577" y="198"/>
                  <a:pt x="574" y="195"/>
                  <a:pt x="576" y="196"/>
                </a:cubicBezTo>
                <a:close/>
                <a:moveTo>
                  <a:pt x="573" y="191"/>
                </a:moveTo>
                <a:cubicBezTo>
                  <a:pt x="572" y="191"/>
                  <a:pt x="571" y="192"/>
                  <a:pt x="570" y="192"/>
                </a:cubicBezTo>
                <a:cubicBezTo>
                  <a:pt x="570" y="191"/>
                  <a:pt x="573" y="190"/>
                  <a:pt x="573" y="191"/>
                </a:cubicBezTo>
                <a:close/>
                <a:moveTo>
                  <a:pt x="565" y="201"/>
                </a:moveTo>
                <a:cubicBezTo>
                  <a:pt x="565" y="202"/>
                  <a:pt x="563" y="202"/>
                  <a:pt x="563" y="201"/>
                </a:cubicBezTo>
                <a:cubicBezTo>
                  <a:pt x="563" y="200"/>
                  <a:pt x="564" y="200"/>
                  <a:pt x="565" y="201"/>
                </a:cubicBezTo>
                <a:close/>
                <a:moveTo>
                  <a:pt x="569" y="202"/>
                </a:moveTo>
                <a:cubicBezTo>
                  <a:pt x="568" y="201"/>
                  <a:pt x="562" y="207"/>
                  <a:pt x="562" y="205"/>
                </a:cubicBezTo>
                <a:cubicBezTo>
                  <a:pt x="562" y="204"/>
                  <a:pt x="567" y="200"/>
                  <a:pt x="569" y="202"/>
                </a:cubicBezTo>
                <a:close/>
                <a:moveTo>
                  <a:pt x="563" y="247"/>
                </a:moveTo>
                <a:cubicBezTo>
                  <a:pt x="563" y="247"/>
                  <a:pt x="561" y="248"/>
                  <a:pt x="561" y="248"/>
                </a:cubicBezTo>
                <a:cubicBezTo>
                  <a:pt x="560" y="247"/>
                  <a:pt x="562" y="245"/>
                  <a:pt x="563" y="247"/>
                </a:cubicBezTo>
                <a:close/>
                <a:moveTo>
                  <a:pt x="562" y="189"/>
                </a:moveTo>
                <a:cubicBezTo>
                  <a:pt x="563" y="190"/>
                  <a:pt x="560" y="191"/>
                  <a:pt x="560" y="190"/>
                </a:cubicBezTo>
                <a:cubicBezTo>
                  <a:pt x="560" y="189"/>
                  <a:pt x="562" y="189"/>
                  <a:pt x="562" y="189"/>
                </a:cubicBezTo>
                <a:close/>
                <a:moveTo>
                  <a:pt x="560" y="205"/>
                </a:moveTo>
                <a:cubicBezTo>
                  <a:pt x="563" y="203"/>
                  <a:pt x="562" y="209"/>
                  <a:pt x="560" y="207"/>
                </a:cubicBezTo>
                <a:cubicBezTo>
                  <a:pt x="558" y="207"/>
                  <a:pt x="560" y="205"/>
                  <a:pt x="560" y="205"/>
                </a:cubicBezTo>
                <a:close/>
                <a:moveTo>
                  <a:pt x="560" y="264"/>
                </a:moveTo>
                <a:cubicBezTo>
                  <a:pt x="562" y="263"/>
                  <a:pt x="559" y="266"/>
                  <a:pt x="560" y="264"/>
                </a:cubicBezTo>
                <a:cubicBezTo>
                  <a:pt x="560" y="264"/>
                  <a:pt x="560" y="264"/>
                  <a:pt x="560" y="264"/>
                </a:cubicBezTo>
                <a:close/>
                <a:moveTo>
                  <a:pt x="556" y="180"/>
                </a:moveTo>
                <a:cubicBezTo>
                  <a:pt x="557" y="181"/>
                  <a:pt x="555" y="182"/>
                  <a:pt x="555" y="181"/>
                </a:cubicBezTo>
                <a:cubicBezTo>
                  <a:pt x="555" y="181"/>
                  <a:pt x="556" y="181"/>
                  <a:pt x="556" y="180"/>
                </a:cubicBezTo>
                <a:close/>
                <a:moveTo>
                  <a:pt x="554" y="138"/>
                </a:moveTo>
                <a:cubicBezTo>
                  <a:pt x="554" y="138"/>
                  <a:pt x="555" y="138"/>
                  <a:pt x="555" y="138"/>
                </a:cubicBezTo>
                <a:cubicBezTo>
                  <a:pt x="555" y="140"/>
                  <a:pt x="552" y="136"/>
                  <a:pt x="554" y="138"/>
                </a:cubicBezTo>
                <a:close/>
                <a:moveTo>
                  <a:pt x="555" y="219"/>
                </a:moveTo>
                <a:cubicBezTo>
                  <a:pt x="555" y="219"/>
                  <a:pt x="554" y="221"/>
                  <a:pt x="553" y="221"/>
                </a:cubicBezTo>
                <a:cubicBezTo>
                  <a:pt x="553" y="220"/>
                  <a:pt x="554" y="218"/>
                  <a:pt x="555" y="219"/>
                </a:cubicBezTo>
                <a:close/>
                <a:moveTo>
                  <a:pt x="553" y="245"/>
                </a:moveTo>
                <a:cubicBezTo>
                  <a:pt x="554" y="245"/>
                  <a:pt x="552" y="246"/>
                  <a:pt x="552" y="245"/>
                </a:cubicBezTo>
                <a:cubicBezTo>
                  <a:pt x="552" y="244"/>
                  <a:pt x="553" y="244"/>
                  <a:pt x="553" y="245"/>
                </a:cubicBezTo>
                <a:close/>
                <a:moveTo>
                  <a:pt x="552" y="182"/>
                </a:move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lose/>
                <a:moveTo>
                  <a:pt x="552" y="133"/>
                </a:moveTo>
                <a:cubicBezTo>
                  <a:pt x="552" y="133"/>
                  <a:pt x="551" y="135"/>
                  <a:pt x="551" y="134"/>
                </a:cubicBezTo>
                <a:cubicBezTo>
                  <a:pt x="550" y="133"/>
                  <a:pt x="552" y="133"/>
                  <a:pt x="552" y="133"/>
                </a:cubicBezTo>
                <a:close/>
                <a:moveTo>
                  <a:pt x="552" y="158"/>
                </a:moveTo>
                <a:cubicBezTo>
                  <a:pt x="552" y="159"/>
                  <a:pt x="550" y="160"/>
                  <a:pt x="550" y="159"/>
                </a:cubicBezTo>
                <a:cubicBezTo>
                  <a:pt x="550" y="158"/>
                  <a:pt x="551" y="158"/>
                  <a:pt x="552" y="158"/>
                </a:cubicBezTo>
                <a:close/>
                <a:moveTo>
                  <a:pt x="552" y="177"/>
                </a:moveTo>
                <a:cubicBezTo>
                  <a:pt x="552" y="179"/>
                  <a:pt x="548" y="179"/>
                  <a:pt x="548" y="177"/>
                </a:cubicBezTo>
                <a:cubicBezTo>
                  <a:pt x="548" y="176"/>
                  <a:pt x="551" y="175"/>
                  <a:pt x="552" y="177"/>
                </a:cubicBezTo>
                <a:close/>
                <a:moveTo>
                  <a:pt x="547" y="170"/>
                </a:moveTo>
                <a:cubicBezTo>
                  <a:pt x="548" y="170"/>
                  <a:pt x="547" y="171"/>
                  <a:pt x="546" y="171"/>
                </a:cubicBezTo>
                <a:cubicBezTo>
                  <a:pt x="546" y="170"/>
                  <a:pt x="547" y="170"/>
                  <a:pt x="547" y="170"/>
                </a:cubicBezTo>
                <a:close/>
                <a:moveTo>
                  <a:pt x="547" y="166"/>
                </a:moveTo>
                <a:cubicBezTo>
                  <a:pt x="548" y="167"/>
                  <a:pt x="547" y="165"/>
                  <a:pt x="547" y="166"/>
                </a:cubicBezTo>
                <a:close/>
                <a:moveTo>
                  <a:pt x="548" y="133"/>
                </a:moveTo>
                <a:cubicBezTo>
                  <a:pt x="548" y="134"/>
                  <a:pt x="547" y="134"/>
                  <a:pt x="546" y="134"/>
                </a:cubicBezTo>
                <a:cubicBezTo>
                  <a:pt x="546" y="133"/>
                  <a:pt x="547" y="134"/>
                  <a:pt x="548" y="133"/>
                </a:cubicBezTo>
                <a:close/>
                <a:moveTo>
                  <a:pt x="547" y="176"/>
                </a:moveTo>
                <a:cubicBezTo>
                  <a:pt x="547" y="177"/>
                  <a:pt x="545" y="176"/>
                  <a:pt x="547" y="176"/>
                </a:cubicBezTo>
                <a:close/>
                <a:moveTo>
                  <a:pt x="546" y="168"/>
                </a:moveTo>
                <a:cubicBezTo>
                  <a:pt x="546" y="169"/>
                  <a:pt x="544" y="170"/>
                  <a:pt x="544" y="168"/>
                </a:cubicBezTo>
                <a:cubicBezTo>
                  <a:pt x="545" y="168"/>
                  <a:pt x="545" y="168"/>
                  <a:pt x="546" y="168"/>
                </a:cubicBezTo>
                <a:close/>
                <a:moveTo>
                  <a:pt x="545" y="141"/>
                </a:moveTo>
                <a:cubicBezTo>
                  <a:pt x="546" y="143"/>
                  <a:pt x="542" y="142"/>
                  <a:pt x="542" y="141"/>
                </a:cubicBezTo>
                <a:cubicBezTo>
                  <a:pt x="543" y="140"/>
                  <a:pt x="545" y="140"/>
                  <a:pt x="545" y="141"/>
                </a:cubicBezTo>
                <a:close/>
                <a:moveTo>
                  <a:pt x="540" y="150"/>
                </a:moveTo>
                <a:cubicBezTo>
                  <a:pt x="540" y="150"/>
                  <a:pt x="538" y="151"/>
                  <a:pt x="537" y="150"/>
                </a:cubicBezTo>
                <a:cubicBezTo>
                  <a:pt x="537" y="149"/>
                  <a:pt x="539" y="148"/>
                  <a:pt x="540" y="150"/>
                </a:cubicBezTo>
                <a:close/>
                <a:moveTo>
                  <a:pt x="537" y="158"/>
                </a:moveTo>
                <a:cubicBezTo>
                  <a:pt x="537" y="158"/>
                  <a:pt x="538" y="157"/>
                  <a:pt x="538" y="157"/>
                </a:cubicBezTo>
                <a:cubicBezTo>
                  <a:pt x="539" y="157"/>
                  <a:pt x="537" y="159"/>
                  <a:pt x="537" y="158"/>
                </a:cubicBezTo>
                <a:close/>
                <a:moveTo>
                  <a:pt x="538" y="165"/>
                </a:moveTo>
                <a:cubicBezTo>
                  <a:pt x="538" y="165"/>
                  <a:pt x="540" y="163"/>
                  <a:pt x="540" y="165"/>
                </a:cubicBezTo>
                <a:cubicBezTo>
                  <a:pt x="540" y="164"/>
                  <a:pt x="539" y="166"/>
                  <a:pt x="538" y="165"/>
                </a:cubicBezTo>
                <a:close/>
                <a:moveTo>
                  <a:pt x="540" y="214"/>
                </a:moveTo>
                <a:cubicBezTo>
                  <a:pt x="541" y="215"/>
                  <a:pt x="540" y="215"/>
                  <a:pt x="540" y="215"/>
                </a:cubicBezTo>
                <a:cubicBezTo>
                  <a:pt x="539" y="214"/>
                  <a:pt x="540" y="214"/>
                  <a:pt x="540" y="214"/>
                </a:cubicBezTo>
                <a:close/>
                <a:moveTo>
                  <a:pt x="541" y="291"/>
                </a:moveTo>
                <a:cubicBezTo>
                  <a:pt x="540" y="291"/>
                  <a:pt x="539" y="291"/>
                  <a:pt x="540" y="290"/>
                </a:cubicBezTo>
                <a:cubicBezTo>
                  <a:pt x="540" y="289"/>
                  <a:pt x="541" y="290"/>
                  <a:pt x="541" y="291"/>
                </a:cubicBezTo>
                <a:close/>
                <a:moveTo>
                  <a:pt x="541" y="212"/>
                </a:moveTo>
                <a:cubicBezTo>
                  <a:pt x="541" y="212"/>
                  <a:pt x="541" y="212"/>
                  <a:pt x="541" y="212"/>
                </a:cubicBezTo>
                <a:cubicBezTo>
                  <a:pt x="541" y="212"/>
                  <a:pt x="541" y="212"/>
                  <a:pt x="541" y="212"/>
                </a:cubicBezTo>
                <a:cubicBezTo>
                  <a:pt x="540" y="212"/>
                  <a:pt x="540" y="211"/>
                  <a:pt x="541" y="210"/>
                </a:cubicBezTo>
                <a:cubicBezTo>
                  <a:pt x="542" y="209"/>
                  <a:pt x="542" y="210"/>
                  <a:pt x="542" y="211"/>
                </a:cubicBezTo>
                <a:cubicBezTo>
                  <a:pt x="543" y="211"/>
                  <a:pt x="544" y="211"/>
                  <a:pt x="544" y="210"/>
                </a:cubicBezTo>
                <a:cubicBezTo>
                  <a:pt x="545" y="210"/>
                  <a:pt x="550" y="204"/>
                  <a:pt x="551" y="205"/>
                </a:cubicBezTo>
                <a:cubicBezTo>
                  <a:pt x="553" y="207"/>
                  <a:pt x="544" y="211"/>
                  <a:pt x="543" y="212"/>
                </a:cubicBezTo>
                <a:cubicBezTo>
                  <a:pt x="542" y="212"/>
                  <a:pt x="542" y="214"/>
                  <a:pt x="541" y="212"/>
                </a:cubicBezTo>
                <a:close/>
                <a:moveTo>
                  <a:pt x="549" y="242"/>
                </a:moveTo>
                <a:cubicBezTo>
                  <a:pt x="549" y="242"/>
                  <a:pt x="547" y="242"/>
                  <a:pt x="547" y="241"/>
                </a:cubicBezTo>
                <a:cubicBezTo>
                  <a:pt x="547" y="241"/>
                  <a:pt x="549" y="240"/>
                  <a:pt x="549" y="242"/>
                </a:cubicBezTo>
                <a:close/>
                <a:moveTo>
                  <a:pt x="543" y="245"/>
                </a:moveTo>
                <a:cubicBezTo>
                  <a:pt x="544" y="247"/>
                  <a:pt x="541" y="246"/>
                  <a:pt x="543" y="245"/>
                </a:cubicBezTo>
                <a:close/>
                <a:moveTo>
                  <a:pt x="547" y="220"/>
                </a:moveTo>
                <a:cubicBezTo>
                  <a:pt x="546" y="220"/>
                  <a:pt x="546" y="220"/>
                  <a:pt x="546" y="220"/>
                </a:cubicBezTo>
                <a:cubicBezTo>
                  <a:pt x="545" y="220"/>
                  <a:pt x="547" y="219"/>
                  <a:pt x="547" y="220"/>
                </a:cubicBezTo>
                <a:close/>
                <a:moveTo>
                  <a:pt x="546" y="265"/>
                </a:moveTo>
                <a:cubicBezTo>
                  <a:pt x="546" y="265"/>
                  <a:pt x="547" y="264"/>
                  <a:pt x="547" y="264"/>
                </a:cubicBezTo>
                <a:cubicBezTo>
                  <a:pt x="547" y="265"/>
                  <a:pt x="546" y="266"/>
                  <a:pt x="546" y="265"/>
                </a:cubicBezTo>
                <a:close/>
                <a:moveTo>
                  <a:pt x="548" y="300"/>
                </a:moveTo>
                <a:cubicBezTo>
                  <a:pt x="548" y="299"/>
                  <a:pt x="548" y="299"/>
                  <a:pt x="548" y="299"/>
                </a:cubicBezTo>
                <a:cubicBezTo>
                  <a:pt x="549" y="299"/>
                  <a:pt x="548" y="301"/>
                  <a:pt x="548" y="300"/>
                </a:cubicBezTo>
                <a:close/>
                <a:moveTo>
                  <a:pt x="547" y="280"/>
                </a:moveTo>
                <a:cubicBezTo>
                  <a:pt x="549" y="276"/>
                  <a:pt x="551" y="272"/>
                  <a:pt x="552" y="269"/>
                </a:cubicBezTo>
                <a:cubicBezTo>
                  <a:pt x="552" y="271"/>
                  <a:pt x="549" y="278"/>
                  <a:pt x="547" y="280"/>
                </a:cubicBezTo>
                <a:close/>
                <a:moveTo>
                  <a:pt x="553" y="329"/>
                </a:moveTo>
                <a:cubicBezTo>
                  <a:pt x="553" y="329"/>
                  <a:pt x="553" y="329"/>
                  <a:pt x="553" y="329"/>
                </a:cubicBezTo>
                <a:cubicBezTo>
                  <a:pt x="553" y="329"/>
                  <a:pt x="553" y="329"/>
                  <a:pt x="553" y="329"/>
                </a:cubicBezTo>
                <a:close/>
                <a:moveTo>
                  <a:pt x="551" y="261"/>
                </a:moveTo>
                <a:cubicBezTo>
                  <a:pt x="553" y="257"/>
                  <a:pt x="553" y="254"/>
                  <a:pt x="555" y="252"/>
                </a:cubicBezTo>
                <a:cubicBezTo>
                  <a:pt x="554" y="254"/>
                  <a:pt x="553" y="259"/>
                  <a:pt x="551" y="261"/>
                </a:cubicBezTo>
                <a:close/>
                <a:moveTo>
                  <a:pt x="554" y="222"/>
                </a:moveTo>
                <a:cubicBezTo>
                  <a:pt x="555" y="221"/>
                  <a:pt x="556" y="222"/>
                  <a:pt x="554" y="222"/>
                </a:cubicBezTo>
                <a:close/>
                <a:moveTo>
                  <a:pt x="554" y="184"/>
                </a:moveTo>
                <a:cubicBezTo>
                  <a:pt x="554" y="183"/>
                  <a:pt x="556" y="182"/>
                  <a:pt x="556" y="183"/>
                </a:cubicBezTo>
                <a:cubicBezTo>
                  <a:pt x="556" y="185"/>
                  <a:pt x="554" y="185"/>
                  <a:pt x="554" y="184"/>
                </a:cubicBezTo>
                <a:close/>
                <a:moveTo>
                  <a:pt x="557" y="285"/>
                </a:moveTo>
                <a:cubicBezTo>
                  <a:pt x="557" y="283"/>
                  <a:pt x="556" y="286"/>
                  <a:pt x="557" y="285"/>
                </a:cubicBezTo>
                <a:close/>
                <a:moveTo>
                  <a:pt x="560" y="320"/>
                </a:moveTo>
                <a:cubicBezTo>
                  <a:pt x="560" y="321"/>
                  <a:pt x="561" y="319"/>
                  <a:pt x="560" y="320"/>
                </a:cubicBezTo>
                <a:close/>
                <a:moveTo>
                  <a:pt x="557" y="283"/>
                </a:moveTo>
                <a:cubicBezTo>
                  <a:pt x="556" y="281"/>
                  <a:pt x="561" y="279"/>
                  <a:pt x="561" y="281"/>
                </a:cubicBezTo>
                <a:cubicBezTo>
                  <a:pt x="562" y="283"/>
                  <a:pt x="558" y="284"/>
                  <a:pt x="557" y="283"/>
                </a:cubicBezTo>
                <a:close/>
                <a:moveTo>
                  <a:pt x="562" y="258"/>
                </a:moveTo>
                <a:cubicBezTo>
                  <a:pt x="562" y="258"/>
                  <a:pt x="563" y="257"/>
                  <a:pt x="563" y="257"/>
                </a:cubicBezTo>
                <a:cubicBezTo>
                  <a:pt x="564" y="258"/>
                  <a:pt x="561" y="259"/>
                  <a:pt x="562" y="258"/>
                </a:cubicBezTo>
                <a:close/>
                <a:moveTo>
                  <a:pt x="565" y="221"/>
                </a:moveTo>
                <a:cubicBezTo>
                  <a:pt x="564" y="221"/>
                  <a:pt x="564" y="219"/>
                  <a:pt x="565" y="220"/>
                </a:cubicBezTo>
                <a:cubicBezTo>
                  <a:pt x="565" y="220"/>
                  <a:pt x="565" y="221"/>
                  <a:pt x="565" y="221"/>
                </a:cubicBezTo>
                <a:close/>
                <a:moveTo>
                  <a:pt x="566" y="206"/>
                </a:moveTo>
                <a:cubicBezTo>
                  <a:pt x="565" y="211"/>
                  <a:pt x="567" y="204"/>
                  <a:pt x="568" y="203"/>
                </a:cubicBezTo>
                <a:cubicBezTo>
                  <a:pt x="569" y="202"/>
                  <a:pt x="574" y="202"/>
                  <a:pt x="576" y="203"/>
                </a:cubicBezTo>
                <a:cubicBezTo>
                  <a:pt x="579" y="205"/>
                  <a:pt x="577" y="210"/>
                  <a:pt x="574" y="212"/>
                </a:cubicBezTo>
                <a:cubicBezTo>
                  <a:pt x="573" y="213"/>
                  <a:pt x="570" y="213"/>
                  <a:pt x="569" y="213"/>
                </a:cubicBezTo>
                <a:cubicBezTo>
                  <a:pt x="566" y="214"/>
                  <a:pt x="567" y="214"/>
                  <a:pt x="565" y="212"/>
                </a:cubicBezTo>
                <a:cubicBezTo>
                  <a:pt x="562" y="210"/>
                  <a:pt x="562" y="205"/>
                  <a:pt x="566" y="206"/>
                </a:cubicBezTo>
                <a:close/>
                <a:moveTo>
                  <a:pt x="573" y="236"/>
                </a:moveTo>
                <a:cubicBezTo>
                  <a:pt x="575" y="234"/>
                  <a:pt x="572" y="237"/>
                  <a:pt x="573" y="236"/>
                </a:cubicBezTo>
                <a:close/>
                <a:moveTo>
                  <a:pt x="571" y="238"/>
                </a:moveTo>
                <a:cubicBezTo>
                  <a:pt x="573" y="236"/>
                  <a:pt x="569" y="239"/>
                  <a:pt x="571" y="238"/>
                </a:cubicBezTo>
                <a:close/>
                <a:moveTo>
                  <a:pt x="569" y="326"/>
                </a:moveTo>
                <a:cubicBezTo>
                  <a:pt x="568" y="326"/>
                  <a:pt x="569" y="325"/>
                  <a:pt x="569" y="325"/>
                </a:cubicBezTo>
                <a:cubicBezTo>
                  <a:pt x="570" y="324"/>
                  <a:pt x="570" y="327"/>
                  <a:pt x="569" y="326"/>
                </a:cubicBezTo>
                <a:close/>
                <a:moveTo>
                  <a:pt x="567" y="224"/>
                </a:moveTo>
                <a:cubicBezTo>
                  <a:pt x="566" y="223"/>
                  <a:pt x="567" y="222"/>
                  <a:pt x="567" y="222"/>
                </a:cubicBezTo>
                <a:cubicBezTo>
                  <a:pt x="568" y="222"/>
                  <a:pt x="567" y="223"/>
                  <a:pt x="567" y="224"/>
                </a:cubicBezTo>
                <a:close/>
                <a:moveTo>
                  <a:pt x="567" y="311"/>
                </a:moveTo>
                <a:cubicBezTo>
                  <a:pt x="568" y="312"/>
                  <a:pt x="566" y="312"/>
                  <a:pt x="567" y="311"/>
                </a:cubicBezTo>
                <a:close/>
                <a:moveTo>
                  <a:pt x="565" y="280"/>
                </a:moveTo>
                <a:cubicBezTo>
                  <a:pt x="565" y="277"/>
                  <a:pt x="567" y="277"/>
                  <a:pt x="565" y="280"/>
                </a:cubicBezTo>
                <a:close/>
                <a:moveTo>
                  <a:pt x="566" y="411"/>
                </a:moveTo>
                <a:cubicBezTo>
                  <a:pt x="568" y="409"/>
                  <a:pt x="569" y="406"/>
                  <a:pt x="572" y="405"/>
                </a:cubicBezTo>
                <a:cubicBezTo>
                  <a:pt x="570" y="407"/>
                  <a:pt x="568" y="410"/>
                  <a:pt x="566" y="411"/>
                </a:cubicBezTo>
                <a:close/>
                <a:moveTo>
                  <a:pt x="571" y="279"/>
                </a:moveTo>
                <a:cubicBezTo>
                  <a:pt x="571" y="279"/>
                  <a:pt x="573" y="279"/>
                  <a:pt x="572" y="279"/>
                </a:cubicBezTo>
                <a:cubicBezTo>
                  <a:pt x="572" y="280"/>
                  <a:pt x="571" y="280"/>
                  <a:pt x="571" y="279"/>
                </a:cubicBezTo>
                <a:close/>
                <a:moveTo>
                  <a:pt x="573" y="383"/>
                </a:moveTo>
                <a:cubicBezTo>
                  <a:pt x="571" y="382"/>
                  <a:pt x="573" y="380"/>
                  <a:pt x="574" y="379"/>
                </a:cubicBezTo>
                <a:cubicBezTo>
                  <a:pt x="577" y="377"/>
                  <a:pt x="575" y="384"/>
                  <a:pt x="573" y="383"/>
                </a:cubicBezTo>
                <a:close/>
                <a:moveTo>
                  <a:pt x="578" y="218"/>
                </a:moveTo>
                <a:cubicBezTo>
                  <a:pt x="583" y="216"/>
                  <a:pt x="584" y="224"/>
                  <a:pt x="580" y="226"/>
                </a:cubicBezTo>
                <a:cubicBezTo>
                  <a:pt x="573" y="230"/>
                  <a:pt x="572" y="220"/>
                  <a:pt x="578" y="218"/>
                </a:cubicBezTo>
                <a:close/>
                <a:moveTo>
                  <a:pt x="577" y="295"/>
                </a:moveTo>
                <a:cubicBezTo>
                  <a:pt x="577" y="295"/>
                  <a:pt x="577" y="295"/>
                  <a:pt x="577" y="296"/>
                </a:cubicBezTo>
                <a:cubicBezTo>
                  <a:pt x="576" y="296"/>
                  <a:pt x="577" y="295"/>
                  <a:pt x="577" y="295"/>
                </a:cubicBezTo>
                <a:close/>
                <a:moveTo>
                  <a:pt x="577" y="425"/>
                </a:moveTo>
                <a:cubicBezTo>
                  <a:pt x="576" y="426"/>
                  <a:pt x="578" y="423"/>
                  <a:pt x="577" y="425"/>
                </a:cubicBezTo>
                <a:close/>
                <a:moveTo>
                  <a:pt x="577" y="371"/>
                </a:moveTo>
                <a:cubicBezTo>
                  <a:pt x="576" y="370"/>
                  <a:pt x="578" y="370"/>
                  <a:pt x="577" y="371"/>
                </a:cubicBezTo>
                <a:close/>
                <a:moveTo>
                  <a:pt x="577" y="297"/>
                </a:moveTo>
                <a:cubicBezTo>
                  <a:pt x="578" y="296"/>
                  <a:pt x="578" y="297"/>
                  <a:pt x="578" y="297"/>
                </a:cubicBezTo>
                <a:cubicBezTo>
                  <a:pt x="579" y="299"/>
                  <a:pt x="576" y="297"/>
                  <a:pt x="577" y="297"/>
                </a:cubicBezTo>
                <a:close/>
                <a:moveTo>
                  <a:pt x="580" y="277"/>
                </a:moveTo>
                <a:cubicBezTo>
                  <a:pt x="580" y="277"/>
                  <a:pt x="580" y="277"/>
                  <a:pt x="580" y="277"/>
                </a:cubicBezTo>
                <a:cubicBezTo>
                  <a:pt x="581" y="277"/>
                  <a:pt x="579" y="278"/>
                  <a:pt x="580" y="277"/>
                </a:cubicBezTo>
                <a:close/>
                <a:moveTo>
                  <a:pt x="580" y="387"/>
                </a:moveTo>
                <a:cubicBezTo>
                  <a:pt x="580" y="386"/>
                  <a:pt x="582" y="385"/>
                  <a:pt x="582" y="384"/>
                </a:cubicBezTo>
                <a:cubicBezTo>
                  <a:pt x="583" y="385"/>
                  <a:pt x="581" y="386"/>
                  <a:pt x="580" y="387"/>
                </a:cubicBezTo>
                <a:close/>
                <a:moveTo>
                  <a:pt x="578" y="268"/>
                </a:moveTo>
                <a:cubicBezTo>
                  <a:pt x="578" y="266"/>
                  <a:pt x="584" y="266"/>
                  <a:pt x="582" y="269"/>
                </a:cubicBezTo>
                <a:cubicBezTo>
                  <a:pt x="582" y="271"/>
                  <a:pt x="578" y="270"/>
                  <a:pt x="578" y="268"/>
                </a:cubicBezTo>
                <a:close/>
                <a:moveTo>
                  <a:pt x="582" y="302"/>
                </a:moveTo>
                <a:cubicBezTo>
                  <a:pt x="582" y="302"/>
                  <a:pt x="582" y="301"/>
                  <a:pt x="583" y="301"/>
                </a:cubicBezTo>
                <a:cubicBezTo>
                  <a:pt x="585" y="299"/>
                  <a:pt x="584" y="304"/>
                  <a:pt x="582" y="302"/>
                </a:cubicBezTo>
                <a:close/>
                <a:moveTo>
                  <a:pt x="584" y="367"/>
                </a:moveTo>
                <a:cubicBezTo>
                  <a:pt x="584" y="369"/>
                  <a:pt x="582" y="368"/>
                  <a:pt x="584" y="367"/>
                </a:cubicBezTo>
                <a:close/>
                <a:moveTo>
                  <a:pt x="584" y="364"/>
                </a:moveTo>
                <a:cubicBezTo>
                  <a:pt x="584" y="363"/>
                  <a:pt x="584" y="363"/>
                  <a:pt x="585" y="363"/>
                </a:cubicBezTo>
                <a:cubicBezTo>
                  <a:pt x="586" y="363"/>
                  <a:pt x="583" y="365"/>
                  <a:pt x="584" y="364"/>
                </a:cubicBezTo>
                <a:close/>
                <a:moveTo>
                  <a:pt x="585" y="305"/>
                </a:moveTo>
                <a:cubicBezTo>
                  <a:pt x="585" y="305"/>
                  <a:pt x="586" y="304"/>
                  <a:pt x="586" y="305"/>
                </a:cubicBezTo>
                <a:cubicBezTo>
                  <a:pt x="587" y="305"/>
                  <a:pt x="585" y="306"/>
                  <a:pt x="585" y="305"/>
                </a:cubicBezTo>
                <a:close/>
                <a:moveTo>
                  <a:pt x="585" y="289"/>
                </a:moveTo>
                <a:cubicBezTo>
                  <a:pt x="585" y="288"/>
                  <a:pt x="586" y="288"/>
                  <a:pt x="586" y="288"/>
                </a:cubicBezTo>
                <a:cubicBezTo>
                  <a:pt x="586" y="288"/>
                  <a:pt x="585" y="289"/>
                  <a:pt x="585" y="289"/>
                </a:cubicBezTo>
                <a:close/>
                <a:moveTo>
                  <a:pt x="585" y="250"/>
                </a:moveTo>
                <a:cubicBezTo>
                  <a:pt x="586" y="249"/>
                  <a:pt x="587" y="248"/>
                  <a:pt x="589" y="247"/>
                </a:cubicBezTo>
                <a:cubicBezTo>
                  <a:pt x="588" y="248"/>
                  <a:pt x="586" y="249"/>
                  <a:pt x="585" y="250"/>
                </a:cubicBezTo>
                <a:close/>
                <a:moveTo>
                  <a:pt x="590" y="437"/>
                </a:moveTo>
                <a:cubicBezTo>
                  <a:pt x="589" y="435"/>
                  <a:pt x="591" y="433"/>
                  <a:pt x="593" y="431"/>
                </a:cubicBezTo>
                <a:cubicBezTo>
                  <a:pt x="592" y="433"/>
                  <a:pt x="591" y="435"/>
                  <a:pt x="590" y="437"/>
                </a:cubicBezTo>
                <a:close/>
                <a:moveTo>
                  <a:pt x="594" y="251"/>
                </a:moveTo>
                <a:cubicBezTo>
                  <a:pt x="596" y="250"/>
                  <a:pt x="595" y="255"/>
                  <a:pt x="593" y="253"/>
                </a:cubicBezTo>
                <a:cubicBezTo>
                  <a:pt x="593" y="253"/>
                  <a:pt x="593" y="252"/>
                  <a:pt x="594" y="251"/>
                </a:cubicBezTo>
                <a:close/>
                <a:moveTo>
                  <a:pt x="594" y="357"/>
                </a:moveTo>
                <a:cubicBezTo>
                  <a:pt x="594" y="357"/>
                  <a:pt x="594" y="356"/>
                  <a:pt x="595" y="356"/>
                </a:cubicBezTo>
                <a:cubicBezTo>
                  <a:pt x="596" y="357"/>
                  <a:pt x="592" y="359"/>
                  <a:pt x="594" y="357"/>
                </a:cubicBezTo>
                <a:close/>
                <a:moveTo>
                  <a:pt x="595" y="371"/>
                </a:moveTo>
                <a:cubicBezTo>
                  <a:pt x="595" y="372"/>
                  <a:pt x="594" y="373"/>
                  <a:pt x="593" y="373"/>
                </a:cubicBezTo>
                <a:cubicBezTo>
                  <a:pt x="593" y="372"/>
                  <a:pt x="594" y="371"/>
                  <a:pt x="595" y="371"/>
                </a:cubicBezTo>
                <a:close/>
                <a:moveTo>
                  <a:pt x="593" y="429"/>
                </a:move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lose/>
                <a:moveTo>
                  <a:pt x="594" y="472"/>
                </a:moveTo>
                <a:cubicBezTo>
                  <a:pt x="594" y="472"/>
                  <a:pt x="595" y="470"/>
                  <a:pt x="595" y="470"/>
                </a:cubicBezTo>
                <a:cubicBezTo>
                  <a:pt x="596" y="471"/>
                  <a:pt x="594" y="472"/>
                  <a:pt x="594" y="472"/>
                </a:cubicBezTo>
                <a:close/>
                <a:moveTo>
                  <a:pt x="598" y="422"/>
                </a:moveTo>
                <a:cubicBezTo>
                  <a:pt x="598" y="423"/>
                  <a:pt x="596" y="426"/>
                  <a:pt x="594" y="428"/>
                </a:cubicBezTo>
                <a:cubicBezTo>
                  <a:pt x="594" y="425"/>
                  <a:pt x="599" y="418"/>
                  <a:pt x="598" y="422"/>
                </a:cubicBezTo>
                <a:close/>
                <a:moveTo>
                  <a:pt x="595" y="356"/>
                </a:moveTo>
                <a:cubicBezTo>
                  <a:pt x="596" y="355"/>
                  <a:pt x="597" y="354"/>
                  <a:pt x="599" y="353"/>
                </a:cubicBezTo>
                <a:cubicBezTo>
                  <a:pt x="598" y="355"/>
                  <a:pt x="597" y="355"/>
                  <a:pt x="595" y="356"/>
                </a:cubicBezTo>
                <a:close/>
                <a:moveTo>
                  <a:pt x="686" y="310"/>
                </a:moveTo>
                <a:cubicBezTo>
                  <a:pt x="686" y="309"/>
                  <a:pt x="686" y="312"/>
                  <a:pt x="686" y="310"/>
                </a:cubicBezTo>
                <a:close/>
                <a:moveTo>
                  <a:pt x="679" y="298"/>
                </a:moveTo>
                <a:cubicBezTo>
                  <a:pt x="682" y="297"/>
                  <a:pt x="678" y="302"/>
                  <a:pt x="678" y="299"/>
                </a:cubicBezTo>
                <a:cubicBezTo>
                  <a:pt x="678" y="299"/>
                  <a:pt x="678" y="298"/>
                  <a:pt x="679" y="298"/>
                </a:cubicBezTo>
                <a:close/>
                <a:moveTo>
                  <a:pt x="676" y="297"/>
                </a:moveTo>
                <a:cubicBezTo>
                  <a:pt x="677" y="295"/>
                  <a:pt x="676" y="298"/>
                  <a:pt x="676" y="297"/>
                </a:cubicBezTo>
                <a:close/>
                <a:moveTo>
                  <a:pt x="671" y="307"/>
                </a:moveTo>
                <a:cubicBezTo>
                  <a:pt x="671" y="307"/>
                  <a:pt x="672" y="308"/>
                  <a:pt x="671" y="308"/>
                </a:cubicBezTo>
                <a:cubicBezTo>
                  <a:pt x="670" y="309"/>
                  <a:pt x="671" y="307"/>
                  <a:pt x="671" y="307"/>
                </a:cubicBezTo>
                <a:close/>
                <a:moveTo>
                  <a:pt x="672" y="331"/>
                </a:moveTo>
                <a:cubicBezTo>
                  <a:pt x="672" y="331"/>
                  <a:pt x="675" y="326"/>
                  <a:pt x="675" y="328"/>
                </a:cubicBezTo>
                <a:cubicBezTo>
                  <a:pt x="675" y="331"/>
                  <a:pt x="670" y="334"/>
                  <a:pt x="668" y="337"/>
                </a:cubicBezTo>
                <a:cubicBezTo>
                  <a:pt x="669" y="335"/>
                  <a:pt x="671" y="333"/>
                  <a:pt x="672" y="331"/>
                </a:cubicBezTo>
                <a:close/>
                <a:moveTo>
                  <a:pt x="669" y="271"/>
                </a:moveTo>
                <a:cubicBezTo>
                  <a:pt x="668" y="270"/>
                  <a:pt x="671" y="264"/>
                  <a:pt x="672" y="266"/>
                </a:cubicBezTo>
                <a:cubicBezTo>
                  <a:pt x="674" y="267"/>
                  <a:pt x="670" y="270"/>
                  <a:pt x="669" y="271"/>
                </a:cubicBezTo>
                <a:close/>
                <a:moveTo>
                  <a:pt x="674" y="235"/>
                </a:moveTo>
                <a:cubicBezTo>
                  <a:pt x="673" y="236"/>
                  <a:pt x="675" y="233"/>
                  <a:pt x="674" y="235"/>
                </a:cubicBezTo>
                <a:close/>
                <a:moveTo>
                  <a:pt x="676" y="252"/>
                </a:moveTo>
                <a:cubicBezTo>
                  <a:pt x="676" y="250"/>
                  <a:pt x="677" y="251"/>
                  <a:pt x="676" y="252"/>
                </a:cubicBezTo>
                <a:close/>
                <a:moveTo>
                  <a:pt x="673" y="222"/>
                </a:moveTo>
                <a:cubicBezTo>
                  <a:pt x="674" y="221"/>
                  <a:pt x="676" y="222"/>
                  <a:pt x="676" y="222"/>
                </a:cubicBezTo>
                <a:cubicBezTo>
                  <a:pt x="678" y="225"/>
                  <a:pt x="674" y="230"/>
                  <a:pt x="672" y="229"/>
                </a:cubicBezTo>
                <a:cubicBezTo>
                  <a:pt x="669" y="227"/>
                  <a:pt x="671" y="223"/>
                  <a:pt x="673" y="222"/>
                </a:cubicBezTo>
                <a:close/>
                <a:moveTo>
                  <a:pt x="669" y="233"/>
                </a:moveTo>
                <a:cubicBezTo>
                  <a:pt x="669" y="232"/>
                  <a:pt x="670" y="231"/>
                  <a:pt x="670" y="230"/>
                </a:cubicBezTo>
                <a:cubicBezTo>
                  <a:pt x="669" y="230"/>
                  <a:pt x="669" y="230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1" y="229"/>
                </a:cubicBezTo>
                <a:cubicBezTo>
                  <a:pt x="670" y="230"/>
                  <a:pt x="670" y="230"/>
                  <a:pt x="670" y="230"/>
                </a:cubicBezTo>
                <a:cubicBezTo>
                  <a:pt x="670" y="233"/>
                  <a:pt x="669" y="236"/>
                  <a:pt x="668" y="238"/>
                </a:cubicBezTo>
                <a:cubicBezTo>
                  <a:pt x="668" y="237"/>
                  <a:pt x="668" y="235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lose/>
                <a:moveTo>
                  <a:pt x="668" y="231"/>
                </a:moveTo>
                <a:cubicBezTo>
                  <a:pt x="668" y="233"/>
                  <a:pt x="666" y="231"/>
                  <a:pt x="668" y="231"/>
                </a:cubicBezTo>
                <a:close/>
                <a:moveTo>
                  <a:pt x="671" y="249"/>
                </a:moveTo>
                <a:cubicBezTo>
                  <a:pt x="670" y="250"/>
                  <a:pt x="668" y="251"/>
                  <a:pt x="666" y="252"/>
                </a:cubicBezTo>
                <a:cubicBezTo>
                  <a:pt x="667" y="250"/>
                  <a:pt x="669" y="250"/>
                  <a:pt x="671" y="249"/>
                </a:cubicBezTo>
                <a:close/>
                <a:moveTo>
                  <a:pt x="667" y="257"/>
                </a:moveTo>
                <a:cubicBezTo>
                  <a:pt x="667" y="258"/>
                  <a:pt x="666" y="260"/>
                  <a:pt x="665" y="261"/>
                </a:cubicBezTo>
                <a:cubicBezTo>
                  <a:pt x="665" y="259"/>
                  <a:pt x="667" y="259"/>
                  <a:pt x="667" y="257"/>
                </a:cubicBezTo>
                <a:close/>
                <a:moveTo>
                  <a:pt x="666" y="302"/>
                </a:moveTo>
                <a:cubicBezTo>
                  <a:pt x="666" y="302"/>
                  <a:pt x="666" y="302"/>
                  <a:pt x="666" y="301"/>
                </a:cubicBezTo>
                <a:cubicBezTo>
                  <a:pt x="666" y="300"/>
                  <a:pt x="667" y="302"/>
                  <a:pt x="666" y="302"/>
                </a:cubicBezTo>
                <a:close/>
                <a:moveTo>
                  <a:pt x="657" y="233"/>
                </a:moveTo>
                <a:cubicBezTo>
                  <a:pt x="657" y="233"/>
                  <a:pt x="657" y="233"/>
                  <a:pt x="657" y="233"/>
                </a:cubicBezTo>
                <a:cubicBezTo>
                  <a:pt x="657" y="235"/>
                  <a:pt x="655" y="233"/>
                  <a:pt x="657" y="233"/>
                </a:cubicBezTo>
                <a:close/>
                <a:moveTo>
                  <a:pt x="655" y="232"/>
                </a:moveTo>
                <a:cubicBezTo>
                  <a:pt x="656" y="232"/>
                  <a:pt x="656" y="234"/>
                  <a:pt x="655" y="234"/>
                </a:cubicBezTo>
                <a:cubicBezTo>
                  <a:pt x="654" y="233"/>
                  <a:pt x="655" y="232"/>
                  <a:pt x="655" y="232"/>
                </a:cubicBezTo>
                <a:close/>
                <a:moveTo>
                  <a:pt x="655" y="256"/>
                </a:moveTo>
                <a:cubicBezTo>
                  <a:pt x="657" y="254"/>
                  <a:pt x="657" y="259"/>
                  <a:pt x="655" y="259"/>
                </a:cubicBezTo>
                <a:cubicBezTo>
                  <a:pt x="654" y="258"/>
                  <a:pt x="654" y="256"/>
                  <a:pt x="655" y="256"/>
                </a:cubicBezTo>
                <a:close/>
                <a:moveTo>
                  <a:pt x="651" y="231"/>
                </a:moveTo>
                <a:cubicBezTo>
                  <a:pt x="651" y="231"/>
                  <a:pt x="652" y="230"/>
                  <a:pt x="653" y="231"/>
                </a:cubicBezTo>
                <a:cubicBezTo>
                  <a:pt x="654" y="232"/>
                  <a:pt x="650" y="234"/>
                  <a:pt x="651" y="231"/>
                </a:cubicBezTo>
                <a:close/>
                <a:moveTo>
                  <a:pt x="651" y="229"/>
                </a:moveTo>
                <a:cubicBezTo>
                  <a:pt x="651" y="228"/>
                  <a:pt x="650" y="231"/>
                  <a:pt x="651" y="229"/>
                </a:cubicBezTo>
                <a:close/>
                <a:moveTo>
                  <a:pt x="647" y="239"/>
                </a:moveTo>
                <a:cubicBezTo>
                  <a:pt x="648" y="237"/>
                  <a:pt x="650" y="241"/>
                  <a:pt x="647" y="241"/>
                </a:cubicBezTo>
                <a:cubicBezTo>
                  <a:pt x="647" y="240"/>
                  <a:pt x="646" y="239"/>
                  <a:pt x="647" y="239"/>
                </a:cubicBezTo>
                <a:close/>
                <a:moveTo>
                  <a:pt x="649" y="265"/>
                </a:moveTo>
                <a:cubicBezTo>
                  <a:pt x="650" y="264"/>
                  <a:pt x="651" y="260"/>
                  <a:pt x="653" y="260"/>
                </a:cubicBezTo>
                <a:cubicBezTo>
                  <a:pt x="657" y="258"/>
                  <a:pt x="649" y="267"/>
                  <a:pt x="648" y="268"/>
                </a:cubicBezTo>
                <a:cubicBezTo>
                  <a:pt x="650" y="266"/>
                  <a:pt x="648" y="270"/>
                  <a:pt x="647" y="269"/>
                </a:cubicBezTo>
                <a:cubicBezTo>
                  <a:pt x="646" y="269"/>
                  <a:pt x="648" y="266"/>
                  <a:pt x="649" y="265"/>
                </a:cubicBezTo>
                <a:close/>
                <a:moveTo>
                  <a:pt x="652" y="271"/>
                </a:moveTo>
                <a:cubicBezTo>
                  <a:pt x="653" y="272"/>
                  <a:pt x="651" y="272"/>
                  <a:pt x="651" y="272"/>
                </a:cubicBezTo>
                <a:cubicBezTo>
                  <a:pt x="651" y="271"/>
                  <a:pt x="652" y="270"/>
                  <a:pt x="652" y="271"/>
                </a:cubicBezTo>
                <a:close/>
                <a:moveTo>
                  <a:pt x="657" y="273"/>
                </a:moveTo>
                <a:cubicBezTo>
                  <a:pt x="653" y="278"/>
                  <a:pt x="649" y="282"/>
                  <a:pt x="643" y="286"/>
                </a:cubicBezTo>
                <a:cubicBezTo>
                  <a:pt x="648" y="281"/>
                  <a:pt x="652" y="277"/>
                  <a:pt x="657" y="273"/>
                </a:cubicBezTo>
                <a:close/>
                <a:moveTo>
                  <a:pt x="645" y="387"/>
                </a:moveTo>
                <a:cubicBezTo>
                  <a:pt x="645" y="389"/>
                  <a:pt x="643" y="388"/>
                  <a:pt x="645" y="387"/>
                </a:cubicBezTo>
                <a:close/>
                <a:moveTo>
                  <a:pt x="645" y="390"/>
                </a:moveTo>
                <a:cubicBezTo>
                  <a:pt x="645" y="388"/>
                  <a:pt x="644" y="391"/>
                  <a:pt x="645" y="390"/>
                </a:cubicBezTo>
                <a:close/>
                <a:moveTo>
                  <a:pt x="641" y="392"/>
                </a:moveTo>
                <a:cubicBezTo>
                  <a:pt x="642" y="391"/>
                  <a:pt x="642" y="390"/>
                  <a:pt x="643" y="389"/>
                </a:cubicBezTo>
                <a:cubicBezTo>
                  <a:pt x="643" y="390"/>
                  <a:pt x="643" y="391"/>
                  <a:pt x="641" y="392"/>
                </a:cubicBezTo>
                <a:close/>
                <a:moveTo>
                  <a:pt x="642" y="393"/>
                </a:moveTo>
                <a:cubicBezTo>
                  <a:pt x="643" y="393"/>
                  <a:pt x="640" y="395"/>
                  <a:pt x="642" y="393"/>
                </a:cubicBezTo>
                <a:close/>
                <a:moveTo>
                  <a:pt x="643" y="300"/>
                </a:moveTo>
                <a:cubicBezTo>
                  <a:pt x="642" y="300"/>
                  <a:pt x="643" y="299"/>
                  <a:pt x="643" y="299"/>
                </a:cubicBezTo>
                <a:cubicBezTo>
                  <a:pt x="644" y="297"/>
                  <a:pt x="644" y="301"/>
                  <a:pt x="643" y="300"/>
                </a:cubicBezTo>
                <a:close/>
                <a:moveTo>
                  <a:pt x="642" y="297"/>
                </a:moveTo>
                <a:cubicBezTo>
                  <a:pt x="642" y="296"/>
                  <a:pt x="643" y="296"/>
                  <a:pt x="644" y="295"/>
                </a:cubicBezTo>
                <a:cubicBezTo>
                  <a:pt x="644" y="296"/>
                  <a:pt x="643" y="297"/>
                  <a:pt x="642" y="297"/>
                </a:cubicBezTo>
                <a:close/>
                <a:moveTo>
                  <a:pt x="639" y="297"/>
                </a:moveTo>
                <a:cubicBezTo>
                  <a:pt x="638" y="296"/>
                  <a:pt x="644" y="290"/>
                  <a:pt x="645" y="290"/>
                </a:cubicBezTo>
                <a:cubicBezTo>
                  <a:pt x="645" y="289"/>
                  <a:pt x="646" y="289"/>
                  <a:pt x="647" y="289"/>
                </a:cubicBezTo>
                <a:cubicBezTo>
                  <a:pt x="647" y="289"/>
                  <a:pt x="640" y="298"/>
                  <a:pt x="639" y="297"/>
                </a:cubicBezTo>
                <a:close/>
                <a:moveTo>
                  <a:pt x="642" y="298"/>
                </a:moveTo>
                <a:cubicBezTo>
                  <a:pt x="641" y="300"/>
                  <a:pt x="639" y="299"/>
                  <a:pt x="642" y="298"/>
                </a:cubicBezTo>
                <a:close/>
                <a:moveTo>
                  <a:pt x="639" y="303"/>
                </a:moveTo>
                <a:cubicBezTo>
                  <a:pt x="639" y="303"/>
                  <a:pt x="639" y="302"/>
                  <a:pt x="639" y="302"/>
                </a:cubicBezTo>
                <a:cubicBezTo>
                  <a:pt x="641" y="300"/>
                  <a:pt x="640" y="304"/>
                  <a:pt x="639" y="303"/>
                </a:cubicBezTo>
                <a:close/>
                <a:moveTo>
                  <a:pt x="640" y="320"/>
                </a:moveTo>
                <a:cubicBezTo>
                  <a:pt x="640" y="320"/>
                  <a:pt x="639" y="321"/>
                  <a:pt x="639" y="321"/>
                </a:cubicBezTo>
                <a:cubicBezTo>
                  <a:pt x="638" y="321"/>
                  <a:pt x="639" y="320"/>
                  <a:pt x="640" y="320"/>
                </a:cubicBezTo>
                <a:close/>
                <a:moveTo>
                  <a:pt x="638" y="266"/>
                </a:moveTo>
                <a:cubicBezTo>
                  <a:pt x="637" y="266"/>
                  <a:pt x="639" y="265"/>
                  <a:pt x="638" y="264"/>
                </a:cubicBezTo>
                <a:cubicBezTo>
                  <a:pt x="639" y="264"/>
                  <a:pt x="638" y="266"/>
                  <a:pt x="638" y="266"/>
                </a:cubicBezTo>
                <a:close/>
                <a:moveTo>
                  <a:pt x="638" y="268"/>
                </a:moveTo>
                <a:cubicBezTo>
                  <a:pt x="638" y="268"/>
                  <a:pt x="638" y="269"/>
                  <a:pt x="638" y="269"/>
                </a:cubicBezTo>
                <a:cubicBezTo>
                  <a:pt x="638" y="269"/>
                  <a:pt x="638" y="269"/>
                  <a:pt x="638" y="269"/>
                </a:cubicBezTo>
                <a:cubicBezTo>
                  <a:pt x="638" y="269"/>
                  <a:pt x="638" y="269"/>
                  <a:pt x="638" y="268"/>
                </a:cubicBezTo>
                <a:close/>
                <a:moveTo>
                  <a:pt x="642" y="286"/>
                </a:moveTo>
                <a:cubicBezTo>
                  <a:pt x="642" y="287"/>
                  <a:pt x="639" y="289"/>
                  <a:pt x="638" y="290"/>
                </a:cubicBezTo>
                <a:cubicBezTo>
                  <a:pt x="638" y="288"/>
                  <a:pt x="641" y="288"/>
                  <a:pt x="642" y="286"/>
                </a:cubicBezTo>
                <a:close/>
                <a:moveTo>
                  <a:pt x="644" y="234"/>
                </a:moveTo>
                <a:cubicBezTo>
                  <a:pt x="643" y="235"/>
                  <a:pt x="643" y="234"/>
                  <a:pt x="644" y="234"/>
                </a:cubicBezTo>
                <a:close/>
                <a:moveTo>
                  <a:pt x="643" y="251"/>
                </a:moveTo>
                <a:cubicBezTo>
                  <a:pt x="643" y="252"/>
                  <a:pt x="642" y="253"/>
                  <a:pt x="642" y="253"/>
                </a:cubicBezTo>
                <a:cubicBezTo>
                  <a:pt x="642" y="253"/>
                  <a:pt x="642" y="251"/>
                  <a:pt x="643" y="251"/>
                </a:cubicBezTo>
                <a:close/>
                <a:moveTo>
                  <a:pt x="645" y="254"/>
                </a:moveTo>
                <a:cubicBezTo>
                  <a:pt x="643" y="257"/>
                  <a:pt x="641" y="258"/>
                  <a:pt x="638" y="260"/>
                </a:cubicBezTo>
                <a:cubicBezTo>
                  <a:pt x="640" y="258"/>
                  <a:pt x="642" y="256"/>
                  <a:pt x="645" y="254"/>
                </a:cubicBezTo>
                <a:close/>
                <a:moveTo>
                  <a:pt x="640" y="225"/>
                </a:moveTo>
                <a:cubicBezTo>
                  <a:pt x="640" y="225"/>
                  <a:pt x="640" y="225"/>
                  <a:pt x="640" y="225"/>
                </a:cubicBezTo>
                <a:cubicBezTo>
                  <a:pt x="640" y="225"/>
                  <a:pt x="640" y="225"/>
                  <a:pt x="640" y="226"/>
                </a:cubicBezTo>
                <a:cubicBezTo>
                  <a:pt x="640" y="226"/>
                  <a:pt x="640" y="226"/>
                  <a:pt x="640" y="225"/>
                </a:cubicBezTo>
                <a:close/>
                <a:moveTo>
                  <a:pt x="640" y="241"/>
                </a:moveTo>
                <a:cubicBezTo>
                  <a:pt x="641" y="243"/>
                  <a:pt x="638" y="244"/>
                  <a:pt x="638" y="242"/>
                </a:cubicBezTo>
                <a:cubicBezTo>
                  <a:pt x="637" y="241"/>
                  <a:pt x="640" y="239"/>
                  <a:pt x="640" y="241"/>
                </a:cubicBezTo>
                <a:close/>
                <a:moveTo>
                  <a:pt x="638" y="290"/>
                </a:moveTo>
                <a:cubicBezTo>
                  <a:pt x="639" y="291"/>
                  <a:pt x="635" y="292"/>
                  <a:pt x="636" y="290"/>
                </a:cubicBezTo>
                <a:cubicBezTo>
                  <a:pt x="637" y="289"/>
                  <a:pt x="637" y="289"/>
                  <a:pt x="638" y="290"/>
                </a:cubicBezTo>
                <a:close/>
                <a:moveTo>
                  <a:pt x="637" y="302"/>
                </a:move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lose/>
                <a:moveTo>
                  <a:pt x="632" y="265"/>
                </a:moveTo>
                <a:cubicBezTo>
                  <a:pt x="633" y="264"/>
                  <a:pt x="635" y="262"/>
                  <a:pt x="636" y="262"/>
                </a:cubicBezTo>
                <a:cubicBezTo>
                  <a:pt x="636" y="262"/>
                  <a:pt x="634" y="265"/>
                  <a:pt x="632" y="265"/>
                </a:cubicBezTo>
                <a:close/>
                <a:moveTo>
                  <a:pt x="637" y="219"/>
                </a:moveTo>
                <a:cubicBezTo>
                  <a:pt x="637" y="221"/>
                  <a:pt x="634" y="221"/>
                  <a:pt x="634" y="219"/>
                </a:cubicBezTo>
                <a:cubicBezTo>
                  <a:pt x="634" y="218"/>
                  <a:pt x="636" y="217"/>
                  <a:pt x="637" y="219"/>
                </a:cubicBezTo>
                <a:close/>
                <a:moveTo>
                  <a:pt x="633" y="221"/>
                </a:moveTo>
                <a:cubicBezTo>
                  <a:pt x="633" y="221"/>
                  <a:pt x="635" y="221"/>
                  <a:pt x="634" y="222"/>
                </a:cubicBezTo>
                <a:cubicBezTo>
                  <a:pt x="634" y="222"/>
                  <a:pt x="632" y="222"/>
                  <a:pt x="633" y="221"/>
                </a:cubicBezTo>
                <a:close/>
                <a:moveTo>
                  <a:pt x="633" y="253"/>
                </a:moveTo>
                <a:cubicBezTo>
                  <a:pt x="633" y="254"/>
                  <a:pt x="632" y="254"/>
                  <a:pt x="631" y="254"/>
                </a:cubicBezTo>
                <a:cubicBezTo>
                  <a:pt x="631" y="253"/>
                  <a:pt x="632" y="252"/>
                  <a:pt x="633" y="253"/>
                </a:cubicBezTo>
                <a:close/>
                <a:moveTo>
                  <a:pt x="630" y="260"/>
                </a:moveTo>
                <a:cubicBezTo>
                  <a:pt x="630" y="260"/>
                  <a:pt x="630" y="260"/>
                  <a:pt x="630" y="261"/>
                </a:cubicBezTo>
                <a:cubicBezTo>
                  <a:pt x="630" y="261"/>
                  <a:pt x="630" y="261"/>
                  <a:pt x="630" y="261"/>
                </a:cubicBezTo>
                <a:cubicBezTo>
                  <a:pt x="630" y="261"/>
                  <a:pt x="630" y="260"/>
                  <a:pt x="630" y="260"/>
                </a:cubicBezTo>
                <a:close/>
                <a:moveTo>
                  <a:pt x="632" y="277"/>
                </a:moveTo>
                <a:cubicBezTo>
                  <a:pt x="634" y="279"/>
                  <a:pt x="631" y="281"/>
                  <a:pt x="629" y="281"/>
                </a:cubicBezTo>
                <a:cubicBezTo>
                  <a:pt x="629" y="280"/>
                  <a:pt x="631" y="277"/>
                  <a:pt x="632" y="277"/>
                </a:cubicBezTo>
                <a:close/>
                <a:moveTo>
                  <a:pt x="632" y="347"/>
                </a:moveTo>
                <a:cubicBezTo>
                  <a:pt x="632" y="347"/>
                  <a:pt x="632" y="346"/>
                  <a:pt x="632" y="346"/>
                </a:cubicBezTo>
                <a:cubicBezTo>
                  <a:pt x="633" y="344"/>
                  <a:pt x="632" y="348"/>
                  <a:pt x="632" y="347"/>
                </a:cubicBezTo>
                <a:close/>
                <a:moveTo>
                  <a:pt x="630" y="294"/>
                </a:moveTo>
                <a:cubicBezTo>
                  <a:pt x="630" y="295"/>
                  <a:pt x="629" y="295"/>
                  <a:pt x="629" y="295"/>
                </a:cubicBezTo>
                <a:cubicBezTo>
                  <a:pt x="629" y="295"/>
                  <a:pt x="629" y="294"/>
                  <a:pt x="630" y="294"/>
                </a:cubicBezTo>
                <a:close/>
                <a:moveTo>
                  <a:pt x="627" y="314"/>
                </a:moveTo>
                <a:cubicBezTo>
                  <a:pt x="627" y="314"/>
                  <a:pt x="628" y="314"/>
                  <a:pt x="628" y="314"/>
                </a:cubicBezTo>
                <a:cubicBezTo>
                  <a:pt x="629" y="315"/>
                  <a:pt x="627" y="315"/>
                  <a:pt x="627" y="314"/>
                </a:cubicBezTo>
                <a:close/>
                <a:moveTo>
                  <a:pt x="628" y="256"/>
                </a:moveTo>
                <a:cubicBezTo>
                  <a:pt x="628" y="254"/>
                  <a:pt x="627" y="257"/>
                  <a:pt x="628" y="256"/>
                </a:cubicBezTo>
                <a:close/>
                <a:moveTo>
                  <a:pt x="626" y="201"/>
                </a:moveTo>
                <a:cubicBezTo>
                  <a:pt x="624" y="200"/>
                  <a:pt x="625" y="198"/>
                  <a:pt x="626" y="198"/>
                </a:cubicBezTo>
                <a:cubicBezTo>
                  <a:pt x="629" y="196"/>
                  <a:pt x="628" y="201"/>
                  <a:pt x="626" y="201"/>
                </a:cubicBezTo>
                <a:close/>
                <a:moveTo>
                  <a:pt x="625" y="187"/>
                </a:moveTo>
                <a:cubicBezTo>
                  <a:pt x="625" y="186"/>
                  <a:pt x="626" y="186"/>
                  <a:pt x="626" y="186"/>
                </a:cubicBezTo>
                <a:cubicBezTo>
                  <a:pt x="627" y="187"/>
                  <a:pt x="624" y="188"/>
                  <a:pt x="625" y="187"/>
                </a:cubicBezTo>
                <a:close/>
                <a:moveTo>
                  <a:pt x="622" y="226"/>
                </a:moveTo>
                <a:cubicBezTo>
                  <a:pt x="617" y="226"/>
                  <a:pt x="619" y="218"/>
                  <a:pt x="621" y="217"/>
                </a:cubicBezTo>
                <a:cubicBezTo>
                  <a:pt x="629" y="212"/>
                  <a:pt x="628" y="227"/>
                  <a:pt x="622" y="226"/>
                </a:cubicBezTo>
                <a:close/>
                <a:moveTo>
                  <a:pt x="619" y="233"/>
                </a:moveTo>
                <a:cubicBezTo>
                  <a:pt x="618" y="232"/>
                  <a:pt x="623" y="228"/>
                  <a:pt x="624" y="228"/>
                </a:cubicBezTo>
                <a:cubicBezTo>
                  <a:pt x="628" y="226"/>
                  <a:pt x="620" y="234"/>
                  <a:pt x="619" y="233"/>
                </a:cubicBezTo>
                <a:close/>
                <a:moveTo>
                  <a:pt x="625" y="235"/>
                </a:moveTo>
                <a:cubicBezTo>
                  <a:pt x="625" y="236"/>
                  <a:pt x="623" y="237"/>
                  <a:pt x="623" y="236"/>
                </a:cubicBezTo>
                <a:cubicBezTo>
                  <a:pt x="622" y="235"/>
                  <a:pt x="624" y="234"/>
                  <a:pt x="625" y="235"/>
                </a:cubicBezTo>
                <a:close/>
                <a:moveTo>
                  <a:pt x="622" y="357"/>
                </a:move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lose/>
                <a:moveTo>
                  <a:pt x="608" y="328"/>
                </a:moveTo>
                <a:cubicBezTo>
                  <a:pt x="608" y="327"/>
                  <a:pt x="611" y="326"/>
                  <a:pt x="612" y="324"/>
                </a:cubicBezTo>
                <a:cubicBezTo>
                  <a:pt x="615" y="321"/>
                  <a:pt x="617" y="315"/>
                  <a:pt x="621" y="313"/>
                </a:cubicBezTo>
                <a:cubicBezTo>
                  <a:pt x="621" y="317"/>
                  <a:pt x="615" y="319"/>
                  <a:pt x="614" y="322"/>
                </a:cubicBezTo>
                <a:cubicBezTo>
                  <a:pt x="613" y="324"/>
                  <a:pt x="610" y="329"/>
                  <a:pt x="607" y="331"/>
                </a:cubicBezTo>
                <a:cubicBezTo>
                  <a:pt x="607" y="331"/>
                  <a:pt x="607" y="333"/>
                  <a:pt x="606" y="332"/>
                </a:cubicBezTo>
                <a:cubicBezTo>
                  <a:pt x="605" y="331"/>
                  <a:pt x="608" y="328"/>
                  <a:pt x="608" y="328"/>
                </a:cubicBezTo>
                <a:close/>
                <a:moveTo>
                  <a:pt x="605" y="271"/>
                </a:moveTo>
                <a:cubicBezTo>
                  <a:pt x="604" y="270"/>
                  <a:pt x="605" y="269"/>
                  <a:pt x="605" y="269"/>
                </a:cubicBezTo>
                <a:cubicBezTo>
                  <a:pt x="608" y="267"/>
                  <a:pt x="606" y="272"/>
                  <a:pt x="605" y="271"/>
                </a:cubicBezTo>
                <a:close/>
                <a:moveTo>
                  <a:pt x="609" y="243"/>
                </a:moveTo>
                <a:cubicBezTo>
                  <a:pt x="608" y="242"/>
                  <a:pt x="610" y="241"/>
                  <a:pt x="611" y="243"/>
                </a:cubicBezTo>
                <a:cubicBezTo>
                  <a:pt x="611" y="244"/>
                  <a:pt x="609" y="244"/>
                  <a:pt x="609" y="243"/>
                </a:cubicBezTo>
                <a:close/>
                <a:moveTo>
                  <a:pt x="611" y="305"/>
                </a:moveTo>
                <a:cubicBezTo>
                  <a:pt x="610" y="306"/>
                  <a:pt x="611" y="304"/>
                  <a:pt x="611" y="305"/>
                </a:cubicBezTo>
                <a:close/>
                <a:moveTo>
                  <a:pt x="613" y="298"/>
                </a:moveTo>
                <a:cubicBezTo>
                  <a:pt x="613" y="298"/>
                  <a:pt x="613" y="298"/>
                  <a:pt x="613" y="298"/>
                </a:cubicBezTo>
                <a:cubicBezTo>
                  <a:pt x="614" y="295"/>
                  <a:pt x="613" y="300"/>
                  <a:pt x="613" y="298"/>
                </a:cubicBezTo>
                <a:close/>
                <a:moveTo>
                  <a:pt x="617" y="261"/>
                </a:moveTo>
                <a:cubicBezTo>
                  <a:pt x="617" y="262"/>
                  <a:pt x="616" y="262"/>
                  <a:pt x="615" y="263"/>
                </a:cubicBezTo>
                <a:cubicBezTo>
                  <a:pt x="615" y="262"/>
                  <a:pt x="616" y="261"/>
                  <a:pt x="617" y="261"/>
                </a:cubicBezTo>
                <a:close/>
                <a:moveTo>
                  <a:pt x="616" y="238"/>
                </a:moveTo>
                <a:cubicBezTo>
                  <a:pt x="616" y="238"/>
                  <a:pt x="616" y="239"/>
                  <a:pt x="615" y="239"/>
                </a:cubicBezTo>
                <a:cubicBezTo>
                  <a:pt x="615" y="238"/>
                  <a:pt x="615" y="238"/>
                  <a:pt x="616" y="238"/>
                </a:cubicBezTo>
                <a:close/>
                <a:moveTo>
                  <a:pt x="618" y="309"/>
                </a:moveTo>
                <a:cubicBezTo>
                  <a:pt x="618" y="309"/>
                  <a:pt x="618" y="308"/>
                  <a:pt x="618" y="308"/>
                </a:cubicBezTo>
                <a:cubicBezTo>
                  <a:pt x="619" y="306"/>
                  <a:pt x="618" y="311"/>
                  <a:pt x="618" y="309"/>
                </a:cubicBezTo>
                <a:close/>
                <a:moveTo>
                  <a:pt x="618" y="295"/>
                </a:moveTo>
                <a:cubicBezTo>
                  <a:pt x="619" y="293"/>
                  <a:pt x="618" y="296"/>
                  <a:pt x="618" y="295"/>
                </a:cubicBezTo>
                <a:close/>
                <a:moveTo>
                  <a:pt x="620" y="301"/>
                </a:moveTo>
                <a:cubicBezTo>
                  <a:pt x="619" y="302"/>
                  <a:pt x="621" y="300"/>
                  <a:pt x="620" y="301"/>
                </a:cubicBezTo>
                <a:close/>
                <a:moveTo>
                  <a:pt x="621" y="333"/>
                </a:moveTo>
                <a:cubicBezTo>
                  <a:pt x="620" y="335"/>
                  <a:pt x="619" y="336"/>
                  <a:pt x="618" y="337"/>
                </a:cubicBezTo>
                <a:cubicBezTo>
                  <a:pt x="619" y="336"/>
                  <a:pt x="620" y="334"/>
                  <a:pt x="621" y="333"/>
                </a:cubicBezTo>
                <a:close/>
                <a:moveTo>
                  <a:pt x="622" y="194"/>
                </a:moveTo>
                <a:cubicBezTo>
                  <a:pt x="621" y="194"/>
                  <a:pt x="622" y="192"/>
                  <a:pt x="623" y="193"/>
                </a:cubicBezTo>
                <a:cubicBezTo>
                  <a:pt x="623" y="194"/>
                  <a:pt x="622" y="195"/>
                  <a:pt x="622" y="194"/>
                </a:cubicBezTo>
                <a:close/>
                <a:moveTo>
                  <a:pt x="619" y="192"/>
                </a:moveTo>
                <a:cubicBezTo>
                  <a:pt x="619" y="192"/>
                  <a:pt x="619" y="192"/>
                  <a:pt x="620" y="191"/>
                </a:cubicBezTo>
                <a:cubicBezTo>
                  <a:pt x="620" y="192"/>
                  <a:pt x="620" y="192"/>
                  <a:pt x="620" y="192"/>
                </a:cubicBezTo>
                <a:cubicBezTo>
                  <a:pt x="621" y="191"/>
                  <a:pt x="622" y="190"/>
                  <a:pt x="623" y="190"/>
                </a:cubicBezTo>
                <a:cubicBezTo>
                  <a:pt x="622" y="192"/>
                  <a:pt x="620" y="193"/>
                  <a:pt x="617" y="194"/>
                </a:cubicBezTo>
                <a:cubicBezTo>
                  <a:pt x="618" y="193"/>
                  <a:pt x="618" y="193"/>
                  <a:pt x="619" y="192"/>
                </a:cubicBezTo>
                <a:close/>
                <a:moveTo>
                  <a:pt x="615" y="194"/>
                </a:moveTo>
                <a:cubicBezTo>
                  <a:pt x="616" y="194"/>
                  <a:pt x="617" y="193"/>
                  <a:pt x="617" y="194"/>
                </a:cubicBezTo>
                <a:cubicBezTo>
                  <a:pt x="618" y="195"/>
                  <a:pt x="613" y="196"/>
                  <a:pt x="615" y="194"/>
                </a:cubicBezTo>
                <a:close/>
                <a:moveTo>
                  <a:pt x="612" y="214"/>
                </a:moveTo>
                <a:cubicBezTo>
                  <a:pt x="613" y="215"/>
                  <a:pt x="612" y="215"/>
                  <a:pt x="611" y="214"/>
                </a:cubicBezTo>
                <a:cubicBezTo>
                  <a:pt x="611" y="214"/>
                  <a:pt x="612" y="213"/>
                  <a:pt x="612" y="214"/>
                </a:cubicBezTo>
                <a:close/>
                <a:moveTo>
                  <a:pt x="609" y="203"/>
                </a:moveTo>
                <a:cubicBezTo>
                  <a:pt x="611" y="201"/>
                  <a:pt x="611" y="205"/>
                  <a:pt x="609" y="205"/>
                </a:cubicBezTo>
                <a:cubicBezTo>
                  <a:pt x="609" y="204"/>
                  <a:pt x="609" y="204"/>
                  <a:pt x="609" y="203"/>
                </a:cubicBezTo>
                <a:close/>
                <a:moveTo>
                  <a:pt x="609" y="219"/>
                </a:moveTo>
                <a:cubicBezTo>
                  <a:pt x="612" y="218"/>
                  <a:pt x="616" y="215"/>
                  <a:pt x="620" y="214"/>
                </a:cubicBezTo>
                <a:cubicBezTo>
                  <a:pt x="617" y="216"/>
                  <a:pt x="611" y="220"/>
                  <a:pt x="608" y="221"/>
                </a:cubicBezTo>
                <a:cubicBezTo>
                  <a:pt x="609" y="221"/>
                  <a:pt x="607" y="222"/>
                  <a:pt x="607" y="221"/>
                </a:cubicBezTo>
                <a:cubicBezTo>
                  <a:pt x="606" y="220"/>
                  <a:pt x="609" y="220"/>
                  <a:pt x="609" y="219"/>
                </a:cubicBezTo>
                <a:close/>
                <a:moveTo>
                  <a:pt x="610" y="253"/>
                </a:moveTo>
                <a:cubicBezTo>
                  <a:pt x="610" y="255"/>
                  <a:pt x="605" y="256"/>
                  <a:pt x="605" y="255"/>
                </a:cubicBezTo>
                <a:cubicBezTo>
                  <a:pt x="604" y="252"/>
                  <a:pt x="610" y="249"/>
                  <a:pt x="610" y="253"/>
                </a:cubicBezTo>
                <a:close/>
                <a:moveTo>
                  <a:pt x="602" y="194"/>
                </a:moveTo>
                <a:cubicBezTo>
                  <a:pt x="602" y="194"/>
                  <a:pt x="603" y="194"/>
                  <a:pt x="603" y="194"/>
                </a:cubicBezTo>
                <a:cubicBezTo>
                  <a:pt x="604" y="196"/>
                  <a:pt x="601" y="196"/>
                  <a:pt x="602" y="194"/>
                </a:cubicBezTo>
                <a:close/>
                <a:moveTo>
                  <a:pt x="604" y="256"/>
                </a:moveTo>
                <a:cubicBezTo>
                  <a:pt x="604" y="257"/>
                  <a:pt x="606" y="258"/>
                  <a:pt x="606" y="259"/>
                </a:cubicBezTo>
                <a:cubicBezTo>
                  <a:pt x="605" y="261"/>
                  <a:pt x="604" y="259"/>
                  <a:pt x="603" y="260"/>
                </a:cubicBezTo>
                <a:cubicBezTo>
                  <a:pt x="601" y="262"/>
                  <a:pt x="602" y="267"/>
                  <a:pt x="600" y="270"/>
                </a:cubicBezTo>
                <a:cubicBezTo>
                  <a:pt x="600" y="265"/>
                  <a:pt x="602" y="261"/>
                  <a:pt x="604" y="256"/>
                </a:cubicBezTo>
                <a:close/>
                <a:moveTo>
                  <a:pt x="600" y="272"/>
                </a:moveTo>
                <a:cubicBezTo>
                  <a:pt x="600" y="271"/>
                  <a:pt x="602" y="269"/>
                  <a:pt x="603" y="271"/>
                </a:cubicBezTo>
                <a:cubicBezTo>
                  <a:pt x="603" y="273"/>
                  <a:pt x="601" y="273"/>
                  <a:pt x="600" y="272"/>
                </a:cubicBezTo>
                <a:close/>
                <a:moveTo>
                  <a:pt x="601" y="310"/>
                </a:moveTo>
                <a:cubicBezTo>
                  <a:pt x="600" y="310"/>
                  <a:pt x="601" y="310"/>
                  <a:pt x="601" y="310"/>
                </a:cubicBezTo>
                <a:cubicBezTo>
                  <a:pt x="602" y="310"/>
                  <a:pt x="601" y="310"/>
                  <a:pt x="601" y="310"/>
                </a:cubicBezTo>
                <a:close/>
                <a:moveTo>
                  <a:pt x="602" y="303"/>
                </a:moveTo>
                <a:cubicBezTo>
                  <a:pt x="602" y="302"/>
                  <a:pt x="603" y="302"/>
                  <a:pt x="603" y="302"/>
                </a:cubicBezTo>
                <a:cubicBezTo>
                  <a:pt x="604" y="302"/>
                  <a:pt x="602" y="304"/>
                  <a:pt x="602" y="303"/>
                </a:cubicBezTo>
                <a:close/>
                <a:moveTo>
                  <a:pt x="607" y="416"/>
                </a:moveTo>
                <a:cubicBezTo>
                  <a:pt x="607" y="415"/>
                  <a:pt x="607" y="415"/>
                  <a:pt x="608" y="414"/>
                </a:cubicBezTo>
                <a:cubicBezTo>
                  <a:pt x="607" y="415"/>
                  <a:pt x="607" y="416"/>
                  <a:pt x="607" y="416"/>
                </a:cubicBezTo>
                <a:close/>
                <a:moveTo>
                  <a:pt x="608" y="393"/>
                </a:moveTo>
                <a:cubicBezTo>
                  <a:pt x="608" y="392"/>
                  <a:pt x="609" y="391"/>
                  <a:pt x="610" y="390"/>
                </a:cubicBezTo>
                <a:cubicBezTo>
                  <a:pt x="610" y="390"/>
                  <a:pt x="609" y="392"/>
                  <a:pt x="608" y="393"/>
                </a:cubicBezTo>
                <a:close/>
                <a:moveTo>
                  <a:pt x="600" y="353"/>
                </a:moveTo>
                <a:cubicBezTo>
                  <a:pt x="601" y="350"/>
                  <a:pt x="607" y="346"/>
                  <a:pt x="610" y="343"/>
                </a:cubicBezTo>
                <a:cubicBezTo>
                  <a:pt x="608" y="347"/>
                  <a:pt x="603" y="350"/>
                  <a:pt x="600" y="353"/>
                </a:cubicBezTo>
                <a:close/>
                <a:moveTo>
                  <a:pt x="611" y="388"/>
                </a:moveTo>
                <a:cubicBezTo>
                  <a:pt x="610" y="388"/>
                  <a:pt x="612" y="387"/>
                  <a:pt x="611" y="388"/>
                </a:cubicBezTo>
                <a:close/>
                <a:moveTo>
                  <a:pt x="612" y="387"/>
                </a:moveTo>
                <a:cubicBezTo>
                  <a:pt x="612" y="386"/>
                  <a:pt x="612" y="386"/>
                  <a:pt x="613" y="385"/>
                </a:cubicBezTo>
                <a:cubicBezTo>
                  <a:pt x="613" y="386"/>
                  <a:pt x="612" y="387"/>
                  <a:pt x="612" y="387"/>
                </a:cubicBezTo>
                <a:close/>
                <a:moveTo>
                  <a:pt x="611" y="344"/>
                </a:moveTo>
                <a:cubicBezTo>
                  <a:pt x="612" y="342"/>
                  <a:pt x="613" y="341"/>
                  <a:pt x="616" y="339"/>
                </a:cubicBezTo>
                <a:cubicBezTo>
                  <a:pt x="614" y="341"/>
                  <a:pt x="613" y="343"/>
                  <a:pt x="611" y="344"/>
                </a:cubicBezTo>
                <a:close/>
                <a:moveTo>
                  <a:pt x="615" y="357"/>
                </a:moveTo>
                <a:cubicBezTo>
                  <a:pt x="615" y="357"/>
                  <a:pt x="616" y="356"/>
                  <a:pt x="617" y="356"/>
                </a:cubicBezTo>
                <a:cubicBezTo>
                  <a:pt x="616" y="357"/>
                  <a:pt x="615" y="357"/>
                  <a:pt x="615" y="357"/>
                </a:cubicBezTo>
                <a:close/>
                <a:moveTo>
                  <a:pt x="617" y="539"/>
                </a:moveTo>
                <a:cubicBezTo>
                  <a:pt x="616" y="539"/>
                  <a:pt x="617" y="537"/>
                  <a:pt x="618" y="537"/>
                </a:cubicBezTo>
                <a:cubicBezTo>
                  <a:pt x="618" y="538"/>
                  <a:pt x="617" y="539"/>
                  <a:pt x="617" y="539"/>
                </a:cubicBezTo>
                <a:close/>
                <a:moveTo>
                  <a:pt x="618" y="445"/>
                </a:moveTo>
                <a:cubicBezTo>
                  <a:pt x="617" y="445"/>
                  <a:pt x="618" y="443"/>
                  <a:pt x="618" y="443"/>
                </a:cubicBezTo>
                <a:cubicBezTo>
                  <a:pt x="620" y="441"/>
                  <a:pt x="619" y="446"/>
                  <a:pt x="618" y="445"/>
                </a:cubicBezTo>
                <a:close/>
                <a:moveTo>
                  <a:pt x="619" y="557"/>
                </a:moveTo>
                <a:cubicBezTo>
                  <a:pt x="619" y="557"/>
                  <a:pt x="619" y="556"/>
                  <a:pt x="619" y="557"/>
                </a:cubicBezTo>
                <a:cubicBezTo>
                  <a:pt x="620" y="557"/>
                  <a:pt x="619" y="558"/>
                  <a:pt x="619" y="557"/>
                </a:cubicBezTo>
                <a:close/>
                <a:moveTo>
                  <a:pt x="619" y="347"/>
                </a:moveTo>
                <a:cubicBezTo>
                  <a:pt x="618" y="347"/>
                  <a:pt x="619" y="345"/>
                  <a:pt x="619" y="345"/>
                </a:cubicBezTo>
                <a:cubicBezTo>
                  <a:pt x="621" y="342"/>
                  <a:pt x="620" y="348"/>
                  <a:pt x="619" y="347"/>
                </a:cubicBezTo>
                <a:close/>
                <a:moveTo>
                  <a:pt x="620" y="435"/>
                </a:moveTo>
                <a:cubicBezTo>
                  <a:pt x="621" y="434"/>
                  <a:pt x="619" y="437"/>
                  <a:pt x="620" y="435"/>
                </a:cubicBezTo>
                <a:close/>
                <a:moveTo>
                  <a:pt x="623" y="526"/>
                </a:moveTo>
                <a:cubicBezTo>
                  <a:pt x="624" y="527"/>
                  <a:pt x="622" y="529"/>
                  <a:pt x="621" y="530"/>
                </a:cubicBezTo>
                <a:cubicBezTo>
                  <a:pt x="621" y="529"/>
                  <a:pt x="623" y="527"/>
                  <a:pt x="623" y="526"/>
                </a:cubicBezTo>
                <a:close/>
                <a:moveTo>
                  <a:pt x="622" y="561"/>
                </a:moveTo>
                <a:cubicBezTo>
                  <a:pt x="621" y="560"/>
                  <a:pt x="622" y="558"/>
                  <a:pt x="622" y="558"/>
                </a:cubicBezTo>
                <a:cubicBezTo>
                  <a:pt x="625" y="555"/>
                  <a:pt x="624" y="562"/>
                  <a:pt x="622" y="561"/>
                </a:cubicBezTo>
                <a:close/>
                <a:moveTo>
                  <a:pt x="624" y="492"/>
                </a:moveTo>
                <a:cubicBezTo>
                  <a:pt x="624" y="490"/>
                  <a:pt x="623" y="493"/>
                  <a:pt x="624" y="492"/>
                </a:cubicBezTo>
                <a:close/>
                <a:moveTo>
                  <a:pt x="625" y="381"/>
                </a:moveTo>
                <a:cubicBezTo>
                  <a:pt x="625" y="381"/>
                  <a:pt x="624" y="381"/>
                  <a:pt x="624" y="381"/>
                </a:cubicBezTo>
                <a:cubicBezTo>
                  <a:pt x="625" y="379"/>
                  <a:pt x="626" y="381"/>
                  <a:pt x="625" y="381"/>
                </a:cubicBezTo>
                <a:close/>
                <a:moveTo>
                  <a:pt x="624" y="254"/>
                </a:moveTo>
                <a:cubicBezTo>
                  <a:pt x="624" y="254"/>
                  <a:pt x="625" y="253"/>
                  <a:pt x="625" y="253"/>
                </a:cubicBezTo>
                <a:cubicBezTo>
                  <a:pt x="626" y="252"/>
                  <a:pt x="625" y="255"/>
                  <a:pt x="624" y="254"/>
                </a:cubicBezTo>
                <a:close/>
                <a:moveTo>
                  <a:pt x="626" y="488"/>
                </a:moveTo>
                <a:cubicBezTo>
                  <a:pt x="626" y="488"/>
                  <a:pt x="627" y="486"/>
                  <a:pt x="627" y="486"/>
                </a:cubicBezTo>
                <a:cubicBezTo>
                  <a:pt x="627" y="487"/>
                  <a:pt x="626" y="487"/>
                  <a:pt x="626" y="488"/>
                </a:cubicBezTo>
                <a:close/>
                <a:moveTo>
                  <a:pt x="628" y="522"/>
                </a:moveTo>
                <a:cubicBezTo>
                  <a:pt x="626" y="521"/>
                  <a:pt x="628" y="521"/>
                  <a:pt x="628" y="522"/>
                </a:cubicBezTo>
                <a:close/>
                <a:moveTo>
                  <a:pt x="633" y="526"/>
                </a:moveTo>
                <a:cubicBezTo>
                  <a:pt x="634" y="528"/>
                  <a:pt x="631" y="529"/>
                  <a:pt x="633" y="526"/>
                </a:cubicBezTo>
                <a:close/>
                <a:moveTo>
                  <a:pt x="628" y="417"/>
                </a:moveTo>
                <a:cubicBezTo>
                  <a:pt x="630" y="415"/>
                  <a:pt x="631" y="410"/>
                  <a:pt x="634" y="409"/>
                </a:cubicBezTo>
                <a:cubicBezTo>
                  <a:pt x="633" y="409"/>
                  <a:pt x="631" y="417"/>
                  <a:pt x="628" y="417"/>
                </a:cubicBezTo>
                <a:close/>
                <a:moveTo>
                  <a:pt x="633" y="310"/>
                </a:moveTo>
                <a:cubicBezTo>
                  <a:pt x="632" y="309"/>
                  <a:pt x="634" y="305"/>
                  <a:pt x="634" y="305"/>
                </a:cubicBezTo>
                <a:cubicBezTo>
                  <a:pt x="638" y="302"/>
                  <a:pt x="636" y="311"/>
                  <a:pt x="633" y="310"/>
                </a:cubicBezTo>
                <a:close/>
                <a:moveTo>
                  <a:pt x="637" y="496"/>
                </a:moveTo>
                <a:cubicBezTo>
                  <a:pt x="636" y="497"/>
                  <a:pt x="637" y="495"/>
                  <a:pt x="637" y="496"/>
                </a:cubicBezTo>
                <a:close/>
                <a:moveTo>
                  <a:pt x="637" y="495"/>
                </a:moveTo>
                <a:cubicBezTo>
                  <a:pt x="635" y="495"/>
                  <a:pt x="637" y="490"/>
                  <a:pt x="638" y="490"/>
                </a:cubicBezTo>
                <a:cubicBezTo>
                  <a:pt x="640" y="489"/>
                  <a:pt x="639" y="496"/>
                  <a:pt x="637" y="495"/>
                </a:cubicBezTo>
                <a:close/>
                <a:moveTo>
                  <a:pt x="638" y="424"/>
                </a:move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lose/>
                <a:moveTo>
                  <a:pt x="634" y="368"/>
                </a:moveTo>
                <a:cubicBezTo>
                  <a:pt x="637" y="365"/>
                  <a:pt x="639" y="361"/>
                  <a:pt x="643" y="358"/>
                </a:cubicBezTo>
                <a:cubicBezTo>
                  <a:pt x="641" y="362"/>
                  <a:pt x="638" y="365"/>
                  <a:pt x="634" y="368"/>
                </a:cubicBezTo>
                <a:close/>
                <a:moveTo>
                  <a:pt x="641" y="395"/>
                </a:moveTo>
                <a:cubicBezTo>
                  <a:pt x="641" y="395"/>
                  <a:pt x="641" y="395"/>
                  <a:pt x="641" y="395"/>
                </a:cubicBezTo>
                <a:cubicBezTo>
                  <a:pt x="641" y="395"/>
                  <a:pt x="641" y="394"/>
                  <a:pt x="641" y="395"/>
                </a:cubicBezTo>
                <a:close/>
                <a:moveTo>
                  <a:pt x="640" y="430"/>
                </a:moveTo>
                <a:cubicBezTo>
                  <a:pt x="640" y="430"/>
                  <a:pt x="640" y="428"/>
                  <a:pt x="642" y="428"/>
                </a:cubicBezTo>
                <a:cubicBezTo>
                  <a:pt x="643" y="427"/>
                  <a:pt x="644" y="427"/>
                  <a:pt x="645" y="428"/>
                </a:cubicBezTo>
                <a:cubicBezTo>
                  <a:pt x="648" y="432"/>
                  <a:pt x="641" y="434"/>
                  <a:pt x="640" y="430"/>
                </a:cubicBezTo>
                <a:close/>
                <a:moveTo>
                  <a:pt x="645" y="387"/>
                </a:moveTo>
                <a:cubicBezTo>
                  <a:pt x="645" y="386"/>
                  <a:pt x="645" y="385"/>
                  <a:pt x="646" y="385"/>
                </a:cubicBezTo>
                <a:cubicBezTo>
                  <a:pt x="646" y="386"/>
                  <a:pt x="646" y="386"/>
                  <a:pt x="645" y="387"/>
                </a:cubicBezTo>
                <a:close/>
                <a:moveTo>
                  <a:pt x="647" y="552"/>
                </a:moveTo>
                <a:cubicBezTo>
                  <a:pt x="646" y="553"/>
                  <a:pt x="648" y="551"/>
                  <a:pt x="647" y="552"/>
                </a:cubicBezTo>
                <a:close/>
                <a:moveTo>
                  <a:pt x="647" y="429"/>
                </a:moveTo>
                <a:cubicBezTo>
                  <a:pt x="648" y="428"/>
                  <a:pt x="645" y="431"/>
                  <a:pt x="647" y="429"/>
                </a:cubicBezTo>
                <a:close/>
                <a:moveTo>
                  <a:pt x="646" y="388"/>
                </a:moveTo>
                <a:cubicBezTo>
                  <a:pt x="646" y="387"/>
                  <a:pt x="647" y="386"/>
                  <a:pt x="647" y="385"/>
                </a:cubicBezTo>
                <a:cubicBezTo>
                  <a:pt x="647" y="386"/>
                  <a:pt x="647" y="387"/>
                  <a:pt x="646" y="388"/>
                </a:cubicBezTo>
                <a:close/>
                <a:moveTo>
                  <a:pt x="646" y="385"/>
                </a:moveTo>
                <a:cubicBezTo>
                  <a:pt x="647" y="384"/>
                  <a:pt x="647" y="383"/>
                  <a:pt x="648" y="383"/>
                </a:cubicBezTo>
                <a:cubicBezTo>
                  <a:pt x="648" y="384"/>
                  <a:pt x="647" y="384"/>
                  <a:pt x="646" y="385"/>
                </a:cubicBezTo>
                <a:close/>
                <a:moveTo>
                  <a:pt x="647" y="345"/>
                </a:moveTo>
                <a:cubicBezTo>
                  <a:pt x="646" y="345"/>
                  <a:pt x="647" y="344"/>
                  <a:pt x="647" y="344"/>
                </a:cubicBezTo>
                <a:cubicBezTo>
                  <a:pt x="648" y="342"/>
                  <a:pt x="648" y="345"/>
                  <a:pt x="647" y="345"/>
                </a:cubicBezTo>
                <a:close/>
                <a:moveTo>
                  <a:pt x="648" y="529"/>
                </a:moveTo>
                <a:cubicBezTo>
                  <a:pt x="647" y="529"/>
                  <a:pt x="648" y="528"/>
                  <a:pt x="648" y="528"/>
                </a:cubicBezTo>
                <a:cubicBezTo>
                  <a:pt x="649" y="528"/>
                  <a:pt x="648" y="529"/>
                  <a:pt x="648" y="529"/>
                </a:cubicBezTo>
                <a:close/>
                <a:moveTo>
                  <a:pt x="648" y="382"/>
                </a:moveTo>
                <a:cubicBezTo>
                  <a:pt x="649" y="381"/>
                  <a:pt x="647" y="383"/>
                  <a:pt x="648" y="382"/>
                </a:cubicBezTo>
                <a:close/>
                <a:moveTo>
                  <a:pt x="650" y="335"/>
                </a:moveTo>
                <a:cubicBezTo>
                  <a:pt x="647" y="337"/>
                  <a:pt x="652" y="333"/>
                  <a:pt x="650" y="335"/>
                </a:cubicBezTo>
                <a:close/>
                <a:moveTo>
                  <a:pt x="651" y="357"/>
                </a:moveTo>
                <a:cubicBezTo>
                  <a:pt x="651" y="355"/>
                  <a:pt x="650" y="358"/>
                  <a:pt x="651" y="357"/>
                </a:cubicBezTo>
                <a:close/>
                <a:moveTo>
                  <a:pt x="651" y="299"/>
                </a:moveTo>
                <a:cubicBezTo>
                  <a:pt x="649" y="299"/>
                  <a:pt x="651" y="296"/>
                  <a:pt x="652" y="298"/>
                </a:cubicBezTo>
                <a:cubicBezTo>
                  <a:pt x="652" y="298"/>
                  <a:pt x="651" y="299"/>
                  <a:pt x="651" y="299"/>
                </a:cubicBezTo>
                <a:close/>
                <a:moveTo>
                  <a:pt x="651" y="291"/>
                </a:moveTo>
                <a:cubicBezTo>
                  <a:pt x="651" y="291"/>
                  <a:pt x="652" y="291"/>
                  <a:pt x="652" y="291"/>
                </a:cubicBezTo>
                <a:cubicBezTo>
                  <a:pt x="652" y="292"/>
                  <a:pt x="651" y="291"/>
                  <a:pt x="651" y="291"/>
                </a:cubicBezTo>
                <a:close/>
                <a:moveTo>
                  <a:pt x="652" y="333"/>
                </a:moveTo>
                <a:cubicBezTo>
                  <a:pt x="652" y="331"/>
                  <a:pt x="654" y="331"/>
                  <a:pt x="654" y="330"/>
                </a:cubicBezTo>
                <a:cubicBezTo>
                  <a:pt x="654" y="331"/>
                  <a:pt x="653" y="332"/>
                  <a:pt x="652" y="333"/>
                </a:cubicBezTo>
                <a:close/>
                <a:moveTo>
                  <a:pt x="654" y="302"/>
                </a:moveTo>
                <a:cubicBezTo>
                  <a:pt x="655" y="302"/>
                  <a:pt x="654" y="302"/>
                  <a:pt x="654" y="302"/>
                </a:cubicBezTo>
                <a:cubicBezTo>
                  <a:pt x="655" y="304"/>
                  <a:pt x="652" y="302"/>
                  <a:pt x="654" y="302"/>
                </a:cubicBezTo>
                <a:close/>
                <a:moveTo>
                  <a:pt x="654" y="370"/>
                </a:moveTo>
                <a:cubicBezTo>
                  <a:pt x="654" y="369"/>
                  <a:pt x="656" y="369"/>
                  <a:pt x="655" y="370"/>
                </a:cubicBezTo>
                <a:cubicBezTo>
                  <a:pt x="655" y="370"/>
                  <a:pt x="654" y="370"/>
                  <a:pt x="654" y="370"/>
                </a:cubicBezTo>
                <a:close/>
                <a:moveTo>
                  <a:pt x="648" y="287"/>
                </a:moveTo>
                <a:cubicBezTo>
                  <a:pt x="651" y="284"/>
                  <a:pt x="653" y="280"/>
                  <a:pt x="658" y="277"/>
                </a:cubicBezTo>
                <a:cubicBezTo>
                  <a:pt x="657" y="281"/>
                  <a:pt x="652" y="285"/>
                  <a:pt x="648" y="287"/>
                </a:cubicBezTo>
                <a:close/>
                <a:moveTo>
                  <a:pt x="657" y="286"/>
                </a:moveTo>
                <a:cubicBezTo>
                  <a:pt x="657" y="285"/>
                  <a:pt x="658" y="285"/>
                  <a:pt x="658" y="285"/>
                </a:cubicBezTo>
                <a:cubicBezTo>
                  <a:pt x="659" y="286"/>
                  <a:pt x="656" y="287"/>
                  <a:pt x="657" y="286"/>
                </a:cubicBezTo>
                <a:close/>
                <a:moveTo>
                  <a:pt x="658" y="318"/>
                </a:moveTo>
                <a:cubicBezTo>
                  <a:pt x="659" y="317"/>
                  <a:pt x="657" y="319"/>
                  <a:pt x="658" y="318"/>
                </a:cubicBezTo>
                <a:close/>
                <a:moveTo>
                  <a:pt x="658" y="348"/>
                </a:moveTo>
                <a:cubicBezTo>
                  <a:pt x="659" y="347"/>
                  <a:pt x="656" y="349"/>
                  <a:pt x="658" y="348"/>
                </a:cubicBezTo>
                <a:close/>
                <a:moveTo>
                  <a:pt x="658" y="477"/>
                </a:moveTo>
                <a:cubicBezTo>
                  <a:pt x="658" y="476"/>
                  <a:pt x="658" y="476"/>
                  <a:pt x="658" y="476"/>
                </a:cubicBezTo>
                <a:cubicBezTo>
                  <a:pt x="659" y="474"/>
                  <a:pt x="660" y="477"/>
                  <a:pt x="658" y="477"/>
                </a:cubicBezTo>
                <a:close/>
                <a:moveTo>
                  <a:pt x="658" y="376"/>
                </a:moveTo>
                <a:cubicBezTo>
                  <a:pt x="657" y="375"/>
                  <a:pt x="658" y="373"/>
                  <a:pt x="658" y="373"/>
                </a:cubicBezTo>
                <a:cubicBezTo>
                  <a:pt x="661" y="371"/>
                  <a:pt x="661" y="376"/>
                  <a:pt x="658" y="376"/>
                </a:cubicBezTo>
                <a:close/>
                <a:moveTo>
                  <a:pt x="660" y="413"/>
                </a:moveTo>
                <a:cubicBezTo>
                  <a:pt x="660" y="412"/>
                  <a:pt x="661" y="412"/>
                  <a:pt x="660" y="413"/>
                </a:cubicBezTo>
                <a:close/>
                <a:moveTo>
                  <a:pt x="658" y="347"/>
                </a:moveTo>
                <a:cubicBezTo>
                  <a:pt x="659" y="345"/>
                  <a:pt x="660" y="343"/>
                  <a:pt x="662" y="342"/>
                </a:cubicBezTo>
                <a:cubicBezTo>
                  <a:pt x="662" y="342"/>
                  <a:pt x="660" y="346"/>
                  <a:pt x="658" y="347"/>
                </a:cubicBezTo>
                <a:close/>
                <a:moveTo>
                  <a:pt x="663" y="312"/>
                </a:moveTo>
                <a:cubicBezTo>
                  <a:pt x="663" y="312"/>
                  <a:pt x="664" y="313"/>
                  <a:pt x="663" y="313"/>
                </a:cubicBezTo>
                <a:cubicBezTo>
                  <a:pt x="662" y="314"/>
                  <a:pt x="661" y="312"/>
                  <a:pt x="662" y="312"/>
                </a:cubicBezTo>
                <a:cubicBezTo>
                  <a:pt x="662" y="312"/>
                  <a:pt x="662" y="312"/>
                  <a:pt x="662" y="312"/>
                </a:cubicBezTo>
                <a:cubicBezTo>
                  <a:pt x="662" y="311"/>
                  <a:pt x="662" y="311"/>
                  <a:pt x="661" y="311"/>
                </a:cubicBezTo>
                <a:cubicBezTo>
                  <a:pt x="660" y="310"/>
                  <a:pt x="664" y="308"/>
                  <a:pt x="664" y="310"/>
                </a:cubicBezTo>
                <a:cubicBezTo>
                  <a:pt x="664" y="311"/>
                  <a:pt x="664" y="311"/>
                  <a:pt x="663" y="312"/>
                </a:cubicBezTo>
                <a:close/>
                <a:moveTo>
                  <a:pt x="662" y="277"/>
                </a:moveTo>
                <a:cubicBezTo>
                  <a:pt x="661" y="279"/>
                  <a:pt x="662" y="276"/>
                  <a:pt x="662" y="277"/>
                </a:cubicBezTo>
                <a:close/>
                <a:moveTo>
                  <a:pt x="662" y="261"/>
                </a:moveTo>
                <a:cubicBezTo>
                  <a:pt x="662" y="261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ubicBezTo>
                  <a:pt x="662" y="260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lose/>
                <a:moveTo>
                  <a:pt x="664" y="309"/>
                </a:moveTo>
                <a:cubicBezTo>
                  <a:pt x="663" y="309"/>
                  <a:pt x="663" y="308"/>
                  <a:pt x="664" y="308"/>
                </a:cubicBezTo>
                <a:cubicBezTo>
                  <a:pt x="664" y="307"/>
                  <a:pt x="665" y="309"/>
                  <a:pt x="664" y="309"/>
                </a:cubicBezTo>
                <a:close/>
                <a:moveTo>
                  <a:pt x="664" y="258"/>
                </a:moveTo>
                <a:cubicBezTo>
                  <a:pt x="664" y="260"/>
                  <a:pt x="662" y="259"/>
                  <a:pt x="664" y="258"/>
                </a:cubicBezTo>
                <a:close/>
                <a:moveTo>
                  <a:pt x="665" y="262"/>
                </a:moveTo>
                <a:cubicBezTo>
                  <a:pt x="663" y="263"/>
                  <a:pt x="666" y="260"/>
                  <a:pt x="665" y="262"/>
                </a:cubicBezTo>
                <a:close/>
                <a:moveTo>
                  <a:pt x="663" y="233"/>
                </a:moveTo>
                <a:cubicBezTo>
                  <a:pt x="665" y="234"/>
                  <a:pt x="663" y="240"/>
                  <a:pt x="660" y="239"/>
                </a:cubicBezTo>
                <a:cubicBezTo>
                  <a:pt x="657" y="239"/>
                  <a:pt x="659" y="230"/>
                  <a:pt x="663" y="233"/>
                </a:cubicBezTo>
                <a:cubicBezTo>
                  <a:pt x="662" y="232"/>
                  <a:pt x="662" y="229"/>
                  <a:pt x="664" y="230"/>
                </a:cubicBezTo>
                <a:cubicBezTo>
                  <a:pt x="666" y="230"/>
                  <a:pt x="665" y="234"/>
                  <a:pt x="663" y="233"/>
                </a:cubicBezTo>
                <a:close/>
                <a:moveTo>
                  <a:pt x="665" y="341"/>
                </a:moveTo>
                <a:cubicBezTo>
                  <a:pt x="665" y="340"/>
                  <a:pt x="667" y="338"/>
                  <a:pt x="668" y="337"/>
                </a:cubicBezTo>
                <a:cubicBezTo>
                  <a:pt x="667" y="339"/>
                  <a:pt x="667" y="340"/>
                  <a:pt x="665" y="341"/>
                </a:cubicBezTo>
                <a:close/>
                <a:moveTo>
                  <a:pt x="668" y="481"/>
                </a:moveTo>
                <a:cubicBezTo>
                  <a:pt x="668" y="481"/>
                  <a:pt x="668" y="480"/>
                  <a:pt x="668" y="481"/>
                </a:cubicBezTo>
                <a:cubicBezTo>
                  <a:pt x="669" y="481"/>
                  <a:pt x="668" y="482"/>
                  <a:pt x="668" y="481"/>
                </a:cubicBezTo>
                <a:close/>
                <a:moveTo>
                  <a:pt x="671" y="391"/>
                </a:moveTo>
                <a:cubicBezTo>
                  <a:pt x="671" y="390"/>
                  <a:pt x="672" y="389"/>
                  <a:pt x="672" y="388"/>
                </a:cubicBezTo>
                <a:cubicBezTo>
                  <a:pt x="673" y="389"/>
                  <a:pt x="672" y="391"/>
                  <a:pt x="671" y="391"/>
                </a:cubicBezTo>
                <a:close/>
                <a:moveTo>
                  <a:pt x="673" y="387"/>
                </a:moveTo>
                <a:cubicBezTo>
                  <a:pt x="673" y="385"/>
                  <a:pt x="675" y="383"/>
                  <a:pt x="675" y="381"/>
                </a:cubicBezTo>
                <a:cubicBezTo>
                  <a:pt x="676" y="383"/>
                  <a:pt x="674" y="385"/>
                  <a:pt x="673" y="387"/>
                </a:cubicBezTo>
                <a:close/>
                <a:moveTo>
                  <a:pt x="683" y="314"/>
                </a:moveTo>
                <a:cubicBezTo>
                  <a:pt x="681" y="318"/>
                  <a:pt x="678" y="322"/>
                  <a:pt x="676" y="326"/>
                </a:cubicBezTo>
                <a:cubicBezTo>
                  <a:pt x="678" y="322"/>
                  <a:pt x="679" y="317"/>
                  <a:pt x="683" y="314"/>
                </a:cubicBezTo>
                <a:close/>
                <a:moveTo>
                  <a:pt x="678" y="432"/>
                </a:moveTo>
                <a:cubicBezTo>
                  <a:pt x="678" y="434"/>
                  <a:pt x="676" y="433"/>
                  <a:pt x="678" y="432"/>
                </a:cubicBezTo>
                <a:close/>
                <a:moveTo>
                  <a:pt x="682" y="426"/>
                </a:moveTo>
                <a:cubicBezTo>
                  <a:pt x="681" y="426"/>
                  <a:pt x="681" y="425"/>
                  <a:pt x="682" y="424"/>
                </a:cubicBezTo>
                <a:cubicBezTo>
                  <a:pt x="683" y="423"/>
                  <a:pt x="684" y="427"/>
                  <a:pt x="682" y="426"/>
                </a:cubicBezTo>
                <a:close/>
                <a:moveTo>
                  <a:pt x="683" y="451"/>
                </a:moveTo>
                <a:cubicBezTo>
                  <a:pt x="683" y="450"/>
                  <a:pt x="685" y="451"/>
                  <a:pt x="683" y="451"/>
                </a:cubicBezTo>
                <a:close/>
                <a:moveTo>
                  <a:pt x="683" y="486"/>
                </a:moveTo>
                <a:cubicBezTo>
                  <a:pt x="684" y="486"/>
                  <a:pt x="682" y="487"/>
                  <a:pt x="683" y="486"/>
                </a:cubicBezTo>
                <a:close/>
                <a:moveTo>
                  <a:pt x="685" y="289"/>
                </a:moveTo>
                <a:cubicBezTo>
                  <a:pt x="686" y="289"/>
                  <a:pt x="684" y="290"/>
                  <a:pt x="684" y="290"/>
                </a:cubicBezTo>
                <a:cubicBezTo>
                  <a:pt x="684" y="290"/>
                  <a:pt x="685" y="290"/>
                  <a:pt x="685" y="289"/>
                </a:cubicBezTo>
                <a:close/>
                <a:moveTo>
                  <a:pt x="685" y="345"/>
                </a:moveTo>
                <a:cubicBezTo>
                  <a:pt x="684" y="344"/>
                  <a:pt x="685" y="344"/>
                  <a:pt x="685" y="343"/>
                </a:cubicBezTo>
                <a:cubicBezTo>
                  <a:pt x="686" y="343"/>
                  <a:pt x="685" y="345"/>
                  <a:pt x="685" y="345"/>
                </a:cubicBezTo>
                <a:close/>
                <a:moveTo>
                  <a:pt x="686" y="342"/>
                </a:moveTo>
                <a:cubicBezTo>
                  <a:pt x="685" y="341"/>
                  <a:pt x="686" y="341"/>
                  <a:pt x="686" y="340"/>
                </a:cubicBezTo>
                <a:cubicBezTo>
                  <a:pt x="687" y="340"/>
                  <a:pt x="686" y="342"/>
                  <a:pt x="686" y="342"/>
                </a:cubicBezTo>
                <a:close/>
                <a:moveTo>
                  <a:pt x="687" y="340"/>
                </a:moveTo>
                <a:cubicBezTo>
                  <a:pt x="686" y="339"/>
                  <a:pt x="687" y="337"/>
                  <a:pt x="688" y="336"/>
                </a:cubicBezTo>
                <a:cubicBezTo>
                  <a:pt x="688" y="337"/>
                  <a:pt x="687" y="339"/>
                  <a:pt x="687" y="340"/>
                </a:cubicBezTo>
                <a:close/>
                <a:moveTo>
                  <a:pt x="688" y="329"/>
                </a:moveTo>
                <a:cubicBezTo>
                  <a:pt x="688" y="329"/>
                  <a:pt x="688" y="329"/>
                  <a:pt x="688" y="329"/>
                </a:cubicBezTo>
                <a:cubicBezTo>
                  <a:pt x="688" y="329"/>
                  <a:pt x="687" y="330"/>
                  <a:pt x="688" y="329"/>
                </a:cubicBezTo>
                <a:close/>
                <a:moveTo>
                  <a:pt x="688" y="284"/>
                </a:moveTo>
                <a:cubicBezTo>
                  <a:pt x="689" y="283"/>
                  <a:pt x="686" y="286"/>
                  <a:pt x="688" y="284"/>
                </a:cubicBezTo>
                <a:close/>
                <a:moveTo>
                  <a:pt x="693" y="290"/>
                </a:moveTo>
                <a:cubicBezTo>
                  <a:pt x="697" y="288"/>
                  <a:pt x="695" y="297"/>
                  <a:pt x="692" y="296"/>
                </a:cubicBezTo>
                <a:cubicBezTo>
                  <a:pt x="690" y="295"/>
                  <a:pt x="692" y="291"/>
                  <a:pt x="693" y="290"/>
                </a:cubicBezTo>
                <a:close/>
                <a:moveTo>
                  <a:pt x="691" y="285"/>
                </a:moveTo>
                <a:cubicBezTo>
                  <a:pt x="691" y="286"/>
                  <a:pt x="692" y="284"/>
                  <a:pt x="691" y="285"/>
                </a:cubicBezTo>
                <a:close/>
                <a:moveTo>
                  <a:pt x="689" y="285"/>
                </a:moveTo>
                <a:cubicBezTo>
                  <a:pt x="690" y="285"/>
                  <a:pt x="690" y="284"/>
                  <a:pt x="691" y="284"/>
                </a:cubicBezTo>
                <a:cubicBezTo>
                  <a:pt x="693" y="285"/>
                  <a:pt x="688" y="288"/>
                  <a:pt x="689" y="285"/>
                </a:cubicBezTo>
                <a:close/>
                <a:moveTo>
                  <a:pt x="689" y="316"/>
                </a:moveTo>
                <a:cubicBezTo>
                  <a:pt x="690" y="317"/>
                  <a:pt x="688" y="316"/>
                  <a:pt x="689" y="316"/>
                </a:cubicBezTo>
                <a:close/>
                <a:moveTo>
                  <a:pt x="689" y="395"/>
                </a:moveTo>
                <a:cubicBezTo>
                  <a:pt x="689" y="395"/>
                  <a:pt x="689" y="394"/>
                  <a:pt x="689" y="394"/>
                </a:cubicBezTo>
                <a:cubicBezTo>
                  <a:pt x="690" y="394"/>
                  <a:pt x="688" y="397"/>
                  <a:pt x="689" y="395"/>
                </a:cubicBezTo>
                <a:close/>
                <a:moveTo>
                  <a:pt x="690" y="404"/>
                </a:moveTo>
                <a:cubicBezTo>
                  <a:pt x="690" y="403"/>
                  <a:pt x="691" y="404"/>
                  <a:pt x="691" y="404"/>
                </a:cubicBezTo>
                <a:cubicBezTo>
                  <a:pt x="691" y="405"/>
                  <a:pt x="689" y="405"/>
                  <a:pt x="690" y="404"/>
                </a:cubicBezTo>
                <a:close/>
                <a:moveTo>
                  <a:pt x="691" y="343"/>
                </a:moveTo>
                <a:cubicBezTo>
                  <a:pt x="691" y="342"/>
                  <a:pt x="691" y="341"/>
                  <a:pt x="691" y="341"/>
                </a:cubicBezTo>
                <a:cubicBezTo>
                  <a:pt x="692" y="340"/>
                  <a:pt x="692" y="343"/>
                  <a:pt x="691" y="343"/>
                </a:cubicBezTo>
                <a:close/>
                <a:moveTo>
                  <a:pt x="692" y="394"/>
                </a:moveTo>
                <a:cubicBezTo>
                  <a:pt x="691" y="395"/>
                  <a:pt x="693" y="393"/>
                  <a:pt x="692" y="394"/>
                </a:cubicBezTo>
                <a:close/>
                <a:moveTo>
                  <a:pt x="692" y="300"/>
                </a:moveTo>
                <a:cubicBezTo>
                  <a:pt x="690" y="300"/>
                  <a:pt x="691" y="299"/>
                  <a:pt x="692" y="298"/>
                </a:cubicBezTo>
                <a:cubicBezTo>
                  <a:pt x="693" y="297"/>
                  <a:pt x="693" y="300"/>
                  <a:pt x="692" y="300"/>
                </a:cubicBezTo>
                <a:close/>
                <a:moveTo>
                  <a:pt x="694" y="330"/>
                </a:moveTo>
                <a:cubicBezTo>
                  <a:pt x="695" y="329"/>
                  <a:pt x="695" y="332"/>
                  <a:pt x="694" y="331"/>
                </a:cubicBezTo>
                <a:cubicBezTo>
                  <a:pt x="693" y="331"/>
                  <a:pt x="694" y="330"/>
                  <a:pt x="694" y="330"/>
                </a:cubicBezTo>
                <a:close/>
                <a:moveTo>
                  <a:pt x="694" y="454"/>
                </a:moveTo>
                <a:cubicBezTo>
                  <a:pt x="694" y="454"/>
                  <a:pt x="694" y="454"/>
                  <a:pt x="695" y="454"/>
                </a:cubicBezTo>
                <a:cubicBezTo>
                  <a:pt x="696" y="454"/>
                  <a:pt x="693" y="455"/>
                  <a:pt x="694" y="454"/>
                </a:cubicBezTo>
                <a:close/>
                <a:moveTo>
                  <a:pt x="696" y="312"/>
                </a:moveTo>
                <a:cubicBezTo>
                  <a:pt x="694" y="313"/>
                  <a:pt x="694" y="308"/>
                  <a:pt x="695" y="307"/>
                </a:cubicBezTo>
                <a:cubicBezTo>
                  <a:pt x="700" y="304"/>
                  <a:pt x="697" y="312"/>
                  <a:pt x="696" y="312"/>
                </a:cubicBezTo>
                <a:close/>
                <a:moveTo>
                  <a:pt x="699" y="327"/>
                </a:moveTo>
                <a:cubicBezTo>
                  <a:pt x="699" y="327"/>
                  <a:pt x="700" y="326"/>
                  <a:pt x="700" y="326"/>
                </a:cubicBezTo>
                <a:cubicBezTo>
                  <a:pt x="702" y="327"/>
                  <a:pt x="698" y="329"/>
                  <a:pt x="699" y="327"/>
                </a:cubicBezTo>
                <a:close/>
                <a:moveTo>
                  <a:pt x="702" y="431"/>
                </a:moveTo>
                <a:cubicBezTo>
                  <a:pt x="702" y="430"/>
                  <a:pt x="704" y="429"/>
                  <a:pt x="704" y="428"/>
                </a:cubicBezTo>
                <a:cubicBezTo>
                  <a:pt x="704" y="429"/>
                  <a:pt x="704" y="431"/>
                  <a:pt x="702" y="431"/>
                </a:cubicBezTo>
                <a:close/>
                <a:moveTo>
                  <a:pt x="704" y="427"/>
                </a:moveTo>
                <a:cubicBezTo>
                  <a:pt x="705" y="425"/>
                  <a:pt x="705" y="423"/>
                  <a:pt x="706" y="421"/>
                </a:cubicBezTo>
                <a:cubicBezTo>
                  <a:pt x="707" y="422"/>
                  <a:pt x="705" y="426"/>
                  <a:pt x="704" y="427"/>
                </a:cubicBezTo>
                <a:close/>
                <a:moveTo>
                  <a:pt x="706" y="392"/>
                </a:moveTo>
                <a:cubicBezTo>
                  <a:pt x="706" y="393"/>
                  <a:pt x="706" y="393"/>
                  <a:pt x="706" y="392"/>
                </a:cubicBezTo>
                <a:close/>
                <a:moveTo>
                  <a:pt x="709" y="396"/>
                </a:moveTo>
                <a:cubicBezTo>
                  <a:pt x="710" y="397"/>
                  <a:pt x="708" y="397"/>
                  <a:pt x="709" y="396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D"/>
          </a:p>
        </p:txBody>
      </p:sp>
      <p:sp>
        <p:nvSpPr>
          <p:cNvPr id="261" name="Rectangle 260">
            <a:extLst>
              <a:ext uri="{FF2B5EF4-FFF2-40B4-BE49-F238E27FC236}">
                <a16:creationId xmlns="" xmlns:a16="http://schemas.microsoft.com/office/drawing/2014/main" id="{1F79CDC0-F034-4765-A185-CC9AE916E07D}"/>
              </a:ext>
            </a:extLst>
          </p:cNvPr>
          <p:cNvSpPr/>
          <p:nvPr/>
        </p:nvSpPr>
        <p:spPr>
          <a:xfrm>
            <a:off x="1121609" y="5638456"/>
            <a:ext cx="160488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ATERIAL PLANNING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262" name="Rectangle 261">
            <a:extLst>
              <a:ext uri="{FF2B5EF4-FFF2-40B4-BE49-F238E27FC236}">
                <a16:creationId xmlns="" xmlns:a16="http://schemas.microsoft.com/office/drawing/2014/main" id="{D5120590-7D10-4751-824A-6AECCC5DFC35}"/>
              </a:ext>
            </a:extLst>
          </p:cNvPr>
          <p:cNvSpPr/>
          <p:nvPr/>
        </p:nvSpPr>
        <p:spPr>
          <a:xfrm>
            <a:off x="3207584" y="5638456"/>
            <a:ext cx="160488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CUREMENT  &amp; INTEGRATION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263" name="Rectangle 262">
            <a:extLst>
              <a:ext uri="{FF2B5EF4-FFF2-40B4-BE49-F238E27FC236}">
                <a16:creationId xmlns="" xmlns:a16="http://schemas.microsoft.com/office/drawing/2014/main" id="{B874CEB3-D28C-47A3-9BBD-79B669B44FD6}"/>
              </a:ext>
            </a:extLst>
          </p:cNvPr>
          <p:cNvSpPr/>
          <p:nvPr/>
        </p:nvSpPr>
        <p:spPr>
          <a:xfrm>
            <a:off x="5293559" y="5638456"/>
            <a:ext cx="160488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AREHOUSE &amp; FULFILLMENT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264" name="Rectangle 263">
            <a:extLst>
              <a:ext uri="{FF2B5EF4-FFF2-40B4-BE49-F238E27FC236}">
                <a16:creationId xmlns="" xmlns:a16="http://schemas.microsoft.com/office/drawing/2014/main" id="{D3035FB9-C64B-48D8-A052-5AD93F515D27}"/>
              </a:ext>
            </a:extLst>
          </p:cNvPr>
          <p:cNvSpPr/>
          <p:nvPr/>
        </p:nvSpPr>
        <p:spPr>
          <a:xfrm>
            <a:off x="7379534" y="5638456"/>
            <a:ext cx="160488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STRIBUTION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265" name="Rectangle 264">
            <a:extLst>
              <a:ext uri="{FF2B5EF4-FFF2-40B4-BE49-F238E27FC236}">
                <a16:creationId xmlns="" xmlns:a16="http://schemas.microsoft.com/office/drawing/2014/main" id="{11BF5284-96A3-4B5C-9404-CBF8B4FE6E04}"/>
              </a:ext>
            </a:extLst>
          </p:cNvPr>
          <p:cNvSpPr/>
          <p:nvPr/>
        </p:nvSpPr>
        <p:spPr>
          <a:xfrm>
            <a:off x="9465509" y="5638456"/>
            <a:ext cx="1604882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PAIRS &amp; RETURNS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grpSp>
        <p:nvGrpSpPr>
          <p:cNvPr id="266" name="Group 265">
            <a:extLst>
              <a:ext uri="{FF2B5EF4-FFF2-40B4-BE49-F238E27FC236}">
                <a16:creationId xmlns="" xmlns:a16="http://schemas.microsoft.com/office/drawing/2014/main" id="{B00B2E57-0E58-4544-A350-5156AD1E558B}"/>
              </a:ext>
            </a:extLst>
          </p:cNvPr>
          <p:cNvGrpSpPr/>
          <p:nvPr/>
        </p:nvGrpSpPr>
        <p:grpSpPr>
          <a:xfrm>
            <a:off x="1663495" y="4449696"/>
            <a:ext cx="521110" cy="521110"/>
            <a:chOff x="885825" y="1925638"/>
            <a:chExt cx="287338" cy="287338"/>
          </a:xfrm>
          <a:solidFill>
            <a:schemeClr val="bg1"/>
          </a:solidFill>
        </p:grpSpPr>
        <p:sp>
          <p:nvSpPr>
            <p:cNvPr id="267" name="Freeform 50">
              <a:extLst>
                <a:ext uri="{FF2B5EF4-FFF2-40B4-BE49-F238E27FC236}">
                  <a16:creationId xmlns="" xmlns:a16="http://schemas.microsoft.com/office/drawing/2014/main" id="{DEC8AD3B-DEB0-41F9-ABE7-C30A75AC09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85825" y="1925638"/>
              <a:ext cx="228600" cy="287338"/>
            </a:xfrm>
            <a:custGeom>
              <a:avLst/>
              <a:gdLst>
                <a:gd name="T0" fmla="*/ 230 w 722"/>
                <a:gd name="T1" fmla="*/ 221 h 905"/>
                <a:gd name="T2" fmla="*/ 252 w 722"/>
                <a:gd name="T3" fmla="*/ 167 h 905"/>
                <a:gd name="T4" fmla="*/ 252 w 722"/>
                <a:gd name="T5" fmla="*/ 105 h 905"/>
                <a:gd name="T6" fmla="*/ 227 w 722"/>
                <a:gd name="T7" fmla="*/ 52 h 905"/>
                <a:gd name="T8" fmla="*/ 598 w 722"/>
                <a:gd name="T9" fmla="*/ 30 h 905"/>
                <a:gd name="T10" fmla="*/ 635 w 722"/>
                <a:gd name="T11" fmla="*/ 43 h 905"/>
                <a:gd name="T12" fmla="*/ 668 w 722"/>
                <a:gd name="T13" fmla="*/ 70 h 905"/>
                <a:gd name="T14" fmla="*/ 688 w 722"/>
                <a:gd name="T15" fmla="*/ 106 h 905"/>
                <a:gd name="T16" fmla="*/ 692 w 722"/>
                <a:gd name="T17" fmla="*/ 145 h 905"/>
                <a:gd name="T18" fmla="*/ 679 w 722"/>
                <a:gd name="T19" fmla="*/ 184 h 905"/>
                <a:gd name="T20" fmla="*/ 652 w 722"/>
                <a:gd name="T21" fmla="*/ 216 h 905"/>
                <a:gd name="T22" fmla="*/ 617 w 722"/>
                <a:gd name="T23" fmla="*/ 236 h 905"/>
                <a:gd name="T24" fmla="*/ 587 w 722"/>
                <a:gd name="T25" fmla="*/ 241 h 905"/>
                <a:gd name="T26" fmla="*/ 572 w 722"/>
                <a:gd name="T27" fmla="*/ 271 h 905"/>
                <a:gd name="T28" fmla="*/ 217 w 722"/>
                <a:gd name="T29" fmla="*/ 181 h 905"/>
                <a:gd name="T30" fmla="*/ 191 w 722"/>
                <a:gd name="T31" fmla="*/ 220 h 905"/>
                <a:gd name="T32" fmla="*/ 150 w 722"/>
                <a:gd name="T33" fmla="*/ 240 h 905"/>
                <a:gd name="T34" fmla="*/ 30 w 722"/>
                <a:gd name="T35" fmla="*/ 125 h 905"/>
                <a:gd name="T36" fmla="*/ 42 w 722"/>
                <a:gd name="T37" fmla="*/ 86 h 905"/>
                <a:gd name="T38" fmla="*/ 66 w 722"/>
                <a:gd name="T39" fmla="*/ 55 h 905"/>
                <a:gd name="T40" fmla="*/ 100 w 722"/>
                <a:gd name="T41" fmla="*/ 35 h 905"/>
                <a:gd name="T42" fmla="*/ 138 w 722"/>
                <a:gd name="T43" fmla="*/ 30 h 905"/>
                <a:gd name="T44" fmla="*/ 174 w 722"/>
                <a:gd name="T45" fmla="*/ 43 h 905"/>
                <a:gd name="T46" fmla="*/ 203 w 722"/>
                <a:gd name="T47" fmla="*/ 69 h 905"/>
                <a:gd name="T48" fmla="*/ 221 w 722"/>
                <a:gd name="T49" fmla="*/ 105 h 905"/>
                <a:gd name="T50" fmla="*/ 225 w 722"/>
                <a:gd name="T51" fmla="*/ 143 h 905"/>
                <a:gd name="T52" fmla="*/ 129 w 722"/>
                <a:gd name="T53" fmla="*/ 152 h 905"/>
                <a:gd name="T54" fmla="*/ 121 w 722"/>
                <a:gd name="T55" fmla="*/ 160 h 905"/>
                <a:gd name="T56" fmla="*/ 120 w 722"/>
                <a:gd name="T57" fmla="*/ 604 h 905"/>
                <a:gd name="T58" fmla="*/ 720 w 722"/>
                <a:gd name="T59" fmla="*/ 110 h 905"/>
                <a:gd name="T60" fmla="*/ 699 w 722"/>
                <a:gd name="T61" fmla="*/ 62 h 905"/>
                <a:gd name="T62" fmla="*/ 661 w 722"/>
                <a:gd name="T63" fmla="*/ 24 h 905"/>
                <a:gd name="T64" fmla="*/ 614 w 722"/>
                <a:gd name="T65" fmla="*/ 3 h 905"/>
                <a:gd name="T66" fmla="*/ 134 w 722"/>
                <a:gd name="T67" fmla="*/ 0 h 905"/>
                <a:gd name="T68" fmla="*/ 116 w 722"/>
                <a:gd name="T69" fmla="*/ 1 h 905"/>
                <a:gd name="T70" fmla="*/ 67 w 722"/>
                <a:gd name="T71" fmla="*/ 16 h 905"/>
                <a:gd name="T72" fmla="*/ 29 w 722"/>
                <a:gd name="T73" fmla="*/ 50 h 905"/>
                <a:gd name="T74" fmla="*/ 5 w 722"/>
                <a:gd name="T75" fmla="*/ 96 h 905"/>
                <a:gd name="T76" fmla="*/ 0 w 722"/>
                <a:gd name="T77" fmla="*/ 619 h 905"/>
                <a:gd name="T78" fmla="*/ 4 w 722"/>
                <a:gd name="T79" fmla="*/ 629 h 905"/>
                <a:gd name="T80" fmla="*/ 15 w 722"/>
                <a:gd name="T81" fmla="*/ 634 h 905"/>
                <a:gd name="T82" fmla="*/ 121 w 722"/>
                <a:gd name="T83" fmla="*/ 895 h 905"/>
                <a:gd name="T84" fmla="*/ 129 w 722"/>
                <a:gd name="T85" fmla="*/ 904 h 905"/>
                <a:gd name="T86" fmla="*/ 590 w 722"/>
                <a:gd name="T87" fmla="*/ 905 h 905"/>
                <a:gd name="T88" fmla="*/ 600 w 722"/>
                <a:gd name="T89" fmla="*/ 898 h 905"/>
                <a:gd name="T90" fmla="*/ 602 w 722"/>
                <a:gd name="T91" fmla="*/ 270 h 905"/>
                <a:gd name="T92" fmla="*/ 648 w 722"/>
                <a:gd name="T93" fmla="*/ 255 h 905"/>
                <a:gd name="T94" fmla="*/ 687 w 722"/>
                <a:gd name="T95" fmla="*/ 225 h 905"/>
                <a:gd name="T96" fmla="*/ 713 w 722"/>
                <a:gd name="T97" fmla="*/ 183 h 905"/>
                <a:gd name="T98" fmla="*/ 722 w 722"/>
                <a:gd name="T99" fmla="*/ 136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22" h="905">
                  <a:moveTo>
                    <a:pt x="587" y="241"/>
                  </a:moveTo>
                  <a:lnTo>
                    <a:pt x="211" y="241"/>
                  </a:lnTo>
                  <a:lnTo>
                    <a:pt x="221" y="231"/>
                  </a:lnTo>
                  <a:lnTo>
                    <a:pt x="230" y="221"/>
                  </a:lnTo>
                  <a:lnTo>
                    <a:pt x="237" y="209"/>
                  </a:lnTo>
                  <a:lnTo>
                    <a:pt x="244" y="195"/>
                  </a:lnTo>
                  <a:lnTo>
                    <a:pt x="249" y="182"/>
                  </a:lnTo>
                  <a:lnTo>
                    <a:pt x="252" y="167"/>
                  </a:lnTo>
                  <a:lnTo>
                    <a:pt x="254" y="152"/>
                  </a:lnTo>
                  <a:lnTo>
                    <a:pt x="256" y="136"/>
                  </a:lnTo>
                  <a:lnTo>
                    <a:pt x="254" y="120"/>
                  </a:lnTo>
                  <a:lnTo>
                    <a:pt x="252" y="105"/>
                  </a:lnTo>
                  <a:lnTo>
                    <a:pt x="248" y="91"/>
                  </a:lnTo>
                  <a:lnTo>
                    <a:pt x="243" y="77"/>
                  </a:lnTo>
                  <a:lnTo>
                    <a:pt x="235" y="64"/>
                  </a:lnTo>
                  <a:lnTo>
                    <a:pt x="227" y="52"/>
                  </a:lnTo>
                  <a:lnTo>
                    <a:pt x="218" y="40"/>
                  </a:lnTo>
                  <a:lnTo>
                    <a:pt x="207" y="30"/>
                  </a:lnTo>
                  <a:lnTo>
                    <a:pt x="587" y="30"/>
                  </a:lnTo>
                  <a:lnTo>
                    <a:pt x="598" y="30"/>
                  </a:lnTo>
                  <a:lnTo>
                    <a:pt x="607" y="33"/>
                  </a:lnTo>
                  <a:lnTo>
                    <a:pt x="617" y="36"/>
                  </a:lnTo>
                  <a:lnTo>
                    <a:pt x="627" y="39"/>
                  </a:lnTo>
                  <a:lnTo>
                    <a:pt x="635" y="43"/>
                  </a:lnTo>
                  <a:lnTo>
                    <a:pt x="645" y="50"/>
                  </a:lnTo>
                  <a:lnTo>
                    <a:pt x="652" y="56"/>
                  </a:lnTo>
                  <a:lnTo>
                    <a:pt x="660" y="63"/>
                  </a:lnTo>
                  <a:lnTo>
                    <a:pt x="668" y="70"/>
                  </a:lnTo>
                  <a:lnTo>
                    <a:pt x="674" y="79"/>
                  </a:lnTo>
                  <a:lnTo>
                    <a:pt x="679" y="87"/>
                  </a:lnTo>
                  <a:lnTo>
                    <a:pt x="684" y="96"/>
                  </a:lnTo>
                  <a:lnTo>
                    <a:pt x="688" y="106"/>
                  </a:lnTo>
                  <a:lnTo>
                    <a:pt x="690" y="115"/>
                  </a:lnTo>
                  <a:lnTo>
                    <a:pt x="692" y="126"/>
                  </a:lnTo>
                  <a:lnTo>
                    <a:pt x="692" y="136"/>
                  </a:lnTo>
                  <a:lnTo>
                    <a:pt x="692" y="145"/>
                  </a:lnTo>
                  <a:lnTo>
                    <a:pt x="690" y="156"/>
                  </a:lnTo>
                  <a:lnTo>
                    <a:pt x="688" y="166"/>
                  </a:lnTo>
                  <a:lnTo>
                    <a:pt x="684" y="176"/>
                  </a:lnTo>
                  <a:lnTo>
                    <a:pt x="679" y="184"/>
                  </a:lnTo>
                  <a:lnTo>
                    <a:pt x="674" y="193"/>
                  </a:lnTo>
                  <a:lnTo>
                    <a:pt x="668" y="201"/>
                  </a:lnTo>
                  <a:lnTo>
                    <a:pt x="660" y="209"/>
                  </a:lnTo>
                  <a:lnTo>
                    <a:pt x="652" y="216"/>
                  </a:lnTo>
                  <a:lnTo>
                    <a:pt x="645" y="222"/>
                  </a:lnTo>
                  <a:lnTo>
                    <a:pt x="635" y="228"/>
                  </a:lnTo>
                  <a:lnTo>
                    <a:pt x="627" y="233"/>
                  </a:lnTo>
                  <a:lnTo>
                    <a:pt x="617" y="236"/>
                  </a:lnTo>
                  <a:lnTo>
                    <a:pt x="607" y="239"/>
                  </a:lnTo>
                  <a:lnTo>
                    <a:pt x="598" y="241"/>
                  </a:lnTo>
                  <a:lnTo>
                    <a:pt x="587" y="241"/>
                  </a:lnTo>
                  <a:lnTo>
                    <a:pt x="587" y="241"/>
                  </a:lnTo>
                  <a:close/>
                  <a:moveTo>
                    <a:pt x="572" y="874"/>
                  </a:moveTo>
                  <a:lnTo>
                    <a:pt x="150" y="874"/>
                  </a:lnTo>
                  <a:lnTo>
                    <a:pt x="150" y="271"/>
                  </a:lnTo>
                  <a:lnTo>
                    <a:pt x="572" y="271"/>
                  </a:lnTo>
                  <a:lnTo>
                    <a:pt x="572" y="874"/>
                  </a:lnTo>
                  <a:close/>
                  <a:moveTo>
                    <a:pt x="150" y="240"/>
                  </a:moveTo>
                  <a:lnTo>
                    <a:pt x="150" y="181"/>
                  </a:lnTo>
                  <a:lnTo>
                    <a:pt x="217" y="181"/>
                  </a:lnTo>
                  <a:lnTo>
                    <a:pt x="211" y="192"/>
                  </a:lnTo>
                  <a:lnTo>
                    <a:pt x="206" y="201"/>
                  </a:lnTo>
                  <a:lnTo>
                    <a:pt x="199" y="211"/>
                  </a:lnTo>
                  <a:lnTo>
                    <a:pt x="191" y="220"/>
                  </a:lnTo>
                  <a:lnTo>
                    <a:pt x="182" y="226"/>
                  </a:lnTo>
                  <a:lnTo>
                    <a:pt x="172" y="233"/>
                  </a:lnTo>
                  <a:lnTo>
                    <a:pt x="161" y="237"/>
                  </a:lnTo>
                  <a:lnTo>
                    <a:pt x="150" y="240"/>
                  </a:lnTo>
                  <a:lnTo>
                    <a:pt x="150" y="240"/>
                  </a:lnTo>
                  <a:close/>
                  <a:moveTo>
                    <a:pt x="30" y="604"/>
                  </a:moveTo>
                  <a:lnTo>
                    <a:pt x="30" y="136"/>
                  </a:lnTo>
                  <a:lnTo>
                    <a:pt x="30" y="125"/>
                  </a:lnTo>
                  <a:lnTo>
                    <a:pt x="32" y="115"/>
                  </a:lnTo>
                  <a:lnTo>
                    <a:pt x="34" y="105"/>
                  </a:lnTo>
                  <a:lnTo>
                    <a:pt x="37" y="96"/>
                  </a:lnTo>
                  <a:lnTo>
                    <a:pt x="42" y="86"/>
                  </a:lnTo>
                  <a:lnTo>
                    <a:pt x="47" y="78"/>
                  </a:lnTo>
                  <a:lnTo>
                    <a:pt x="52" y="69"/>
                  </a:lnTo>
                  <a:lnTo>
                    <a:pt x="59" y="62"/>
                  </a:lnTo>
                  <a:lnTo>
                    <a:pt x="66" y="55"/>
                  </a:lnTo>
                  <a:lnTo>
                    <a:pt x="74" y="49"/>
                  </a:lnTo>
                  <a:lnTo>
                    <a:pt x="82" y="43"/>
                  </a:lnTo>
                  <a:lnTo>
                    <a:pt x="91" y="39"/>
                  </a:lnTo>
                  <a:lnTo>
                    <a:pt x="100" y="35"/>
                  </a:lnTo>
                  <a:lnTo>
                    <a:pt x="109" y="33"/>
                  </a:lnTo>
                  <a:lnTo>
                    <a:pt x="119" y="30"/>
                  </a:lnTo>
                  <a:lnTo>
                    <a:pt x="129" y="30"/>
                  </a:lnTo>
                  <a:lnTo>
                    <a:pt x="138" y="30"/>
                  </a:lnTo>
                  <a:lnTo>
                    <a:pt x="148" y="33"/>
                  </a:lnTo>
                  <a:lnTo>
                    <a:pt x="157" y="35"/>
                  </a:lnTo>
                  <a:lnTo>
                    <a:pt x="165" y="39"/>
                  </a:lnTo>
                  <a:lnTo>
                    <a:pt x="174" y="43"/>
                  </a:lnTo>
                  <a:lnTo>
                    <a:pt x="182" y="49"/>
                  </a:lnTo>
                  <a:lnTo>
                    <a:pt x="190" y="55"/>
                  </a:lnTo>
                  <a:lnTo>
                    <a:pt x="196" y="62"/>
                  </a:lnTo>
                  <a:lnTo>
                    <a:pt x="203" y="69"/>
                  </a:lnTo>
                  <a:lnTo>
                    <a:pt x="208" y="78"/>
                  </a:lnTo>
                  <a:lnTo>
                    <a:pt x="214" y="86"/>
                  </a:lnTo>
                  <a:lnTo>
                    <a:pt x="218" y="95"/>
                  </a:lnTo>
                  <a:lnTo>
                    <a:pt x="221" y="105"/>
                  </a:lnTo>
                  <a:lnTo>
                    <a:pt x="223" y="115"/>
                  </a:lnTo>
                  <a:lnTo>
                    <a:pt x="224" y="125"/>
                  </a:lnTo>
                  <a:lnTo>
                    <a:pt x="225" y="136"/>
                  </a:lnTo>
                  <a:lnTo>
                    <a:pt x="225" y="143"/>
                  </a:lnTo>
                  <a:lnTo>
                    <a:pt x="224" y="151"/>
                  </a:lnTo>
                  <a:lnTo>
                    <a:pt x="135" y="151"/>
                  </a:lnTo>
                  <a:lnTo>
                    <a:pt x="132" y="151"/>
                  </a:lnTo>
                  <a:lnTo>
                    <a:pt x="129" y="152"/>
                  </a:lnTo>
                  <a:lnTo>
                    <a:pt x="126" y="153"/>
                  </a:lnTo>
                  <a:lnTo>
                    <a:pt x="124" y="155"/>
                  </a:lnTo>
                  <a:lnTo>
                    <a:pt x="122" y="157"/>
                  </a:lnTo>
                  <a:lnTo>
                    <a:pt x="121" y="160"/>
                  </a:lnTo>
                  <a:lnTo>
                    <a:pt x="120" y="163"/>
                  </a:lnTo>
                  <a:lnTo>
                    <a:pt x="120" y="166"/>
                  </a:lnTo>
                  <a:lnTo>
                    <a:pt x="120" y="256"/>
                  </a:lnTo>
                  <a:lnTo>
                    <a:pt x="120" y="604"/>
                  </a:lnTo>
                  <a:lnTo>
                    <a:pt x="30" y="604"/>
                  </a:lnTo>
                  <a:close/>
                  <a:moveTo>
                    <a:pt x="722" y="136"/>
                  </a:moveTo>
                  <a:lnTo>
                    <a:pt x="722" y="123"/>
                  </a:lnTo>
                  <a:lnTo>
                    <a:pt x="720" y="110"/>
                  </a:lnTo>
                  <a:lnTo>
                    <a:pt x="717" y="97"/>
                  </a:lnTo>
                  <a:lnTo>
                    <a:pt x="712" y="84"/>
                  </a:lnTo>
                  <a:lnTo>
                    <a:pt x="706" y="72"/>
                  </a:lnTo>
                  <a:lnTo>
                    <a:pt x="699" y="62"/>
                  </a:lnTo>
                  <a:lnTo>
                    <a:pt x="691" y="51"/>
                  </a:lnTo>
                  <a:lnTo>
                    <a:pt x="682" y="41"/>
                  </a:lnTo>
                  <a:lnTo>
                    <a:pt x="672" y="33"/>
                  </a:lnTo>
                  <a:lnTo>
                    <a:pt x="661" y="24"/>
                  </a:lnTo>
                  <a:lnTo>
                    <a:pt x="650" y="17"/>
                  </a:lnTo>
                  <a:lnTo>
                    <a:pt x="638" y="11"/>
                  </a:lnTo>
                  <a:lnTo>
                    <a:pt x="626" y="7"/>
                  </a:lnTo>
                  <a:lnTo>
                    <a:pt x="614" y="3"/>
                  </a:lnTo>
                  <a:lnTo>
                    <a:pt x="601" y="1"/>
                  </a:lnTo>
                  <a:lnTo>
                    <a:pt x="587" y="0"/>
                  </a:lnTo>
                  <a:lnTo>
                    <a:pt x="135" y="0"/>
                  </a:lnTo>
                  <a:lnTo>
                    <a:pt x="134" y="0"/>
                  </a:lnTo>
                  <a:lnTo>
                    <a:pt x="133" y="0"/>
                  </a:lnTo>
                  <a:lnTo>
                    <a:pt x="131" y="0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3" y="2"/>
                  </a:lnTo>
                  <a:lnTo>
                    <a:pt x="90" y="7"/>
                  </a:lnTo>
                  <a:lnTo>
                    <a:pt x="78" y="11"/>
                  </a:lnTo>
                  <a:lnTo>
                    <a:pt x="67" y="16"/>
                  </a:lnTo>
                  <a:lnTo>
                    <a:pt x="57" y="24"/>
                  </a:lnTo>
                  <a:lnTo>
                    <a:pt x="47" y="31"/>
                  </a:lnTo>
                  <a:lnTo>
                    <a:pt x="37" y="40"/>
                  </a:lnTo>
                  <a:lnTo>
                    <a:pt x="29" y="50"/>
                  </a:lnTo>
                  <a:lnTo>
                    <a:pt x="21" y="60"/>
                  </a:lnTo>
                  <a:lnTo>
                    <a:pt x="15" y="71"/>
                  </a:lnTo>
                  <a:lnTo>
                    <a:pt x="9" y="83"/>
                  </a:lnTo>
                  <a:lnTo>
                    <a:pt x="5" y="96"/>
                  </a:lnTo>
                  <a:lnTo>
                    <a:pt x="2" y="109"/>
                  </a:lnTo>
                  <a:lnTo>
                    <a:pt x="0" y="122"/>
                  </a:lnTo>
                  <a:lnTo>
                    <a:pt x="0" y="136"/>
                  </a:lnTo>
                  <a:lnTo>
                    <a:pt x="0" y="619"/>
                  </a:lnTo>
                  <a:lnTo>
                    <a:pt x="0" y="621"/>
                  </a:lnTo>
                  <a:lnTo>
                    <a:pt x="1" y="624"/>
                  </a:lnTo>
                  <a:lnTo>
                    <a:pt x="2" y="626"/>
                  </a:lnTo>
                  <a:lnTo>
                    <a:pt x="4" y="629"/>
                  </a:lnTo>
                  <a:lnTo>
                    <a:pt x="6" y="630"/>
                  </a:lnTo>
                  <a:lnTo>
                    <a:pt x="8" y="633"/>
                  </a:lnTo>
                  <a:lnTo>
                    <a:pt x="11" y="633"/>
                  </a:lnTo>
                  <a:lnTo>
                    <a:pt x="15" y="634"/>
                  </a:lnTo>
                  <a:lnTo>
                    <a:pt x="120" y="634"/>
                  </a:lnTo>
                  <a:lnTo>
                    <a:pt x="120" y="890"/>
                  </a:lnTo>
                  <a:lnTo>
                    <a:pt x="120" y="893"/>
                  </a:lnTo>
                  <a:lnTo>
                    <a:pt x="121" y="895"/>
                  </a:lnTo>
                  <a:lnTo>
                    <a:pt x="122" y="898"/>
                  </a:lnTo>
                  <a:lnTo>
                    <a:pt x="124" y="900"/>
                  </a:lnTo>
                  <a:lnTo>
                    <a:pt x="126" y="902"/>
                  </a:lnTo>
                  <a:lnTo>
                    <a:pt x="129" y="904"/>
                  </a:lnTo>
                  <a:lnTo>
                    <a:pt x="132" y="905"/>
                  </a:lnTo>
                  <a:lnTo>
                    <a:pt x="135" y="905"/>
                  </a:lnTo>
                  <a:lnTo>
                    <a:pt x="587" y="905"/>
                  </a:lnTo>
                  <a:lnTo>
                    <a:pt x="590" y="905"/>
                  </a:lnTo>
                  <a:lnTo>
                    <a:pt x="593" y="904"/>
                  </a:lnTo>
                  <a:lnTo>
                    <a:pt x="595" y="902"/>
                  </a:lnTo>
                  <a:lnTo>
                    <a:pt x="598" y="900"/>
                  </a:lnTo>
                  <a:lnTo>
                    <a:pt x="600" y="898"/>
                  </a:lnTo>
                  <a:lnTo>
                    <a:pt x="601" y="895"/>
                  </a:lnTo>
                  <a:lnTo>
                    <a:pt x="602" y="893"/>
                  </a:lnTo>
                  <a:lnTo>
                    <a:pt x="602" y="890"/>
                  </a:lnTo>
                  <a:lnTo>
                    <a:pt x="602" y="270"/>
                  </a:lnTo>
                  <a:lnTo>
                    <a:pt x="615" y="268"/>
                  </a:lnTo>
                  <a:lnTo>
                    <a:pt x="626" y="265"/>
                  </a:lnTo>
                  <a:lnTo>
                    <a:pt x="637" y="260"/>
                  </a:lnTo>
                  <a:lnTo>
                    <a:pt x="648" y="255"/>
                  </a:lnTo>
                  <a:lnTo>
                    <a:pt x="659" y="249"/>
                  </a:lnTo>
                  <a:lnTo>
                    <a:pt x="669" y="241"/>
                  </a:lnTo>
                  <a:lnTo>
                    <a:pt x="678" y="234"/>
                  </a:lnTo>
                  <a:lnTo>
                    <a:pt x="687" y="225"/>
                  </a:lnTo>
                  <a:lnTo>
                    <a:pt x="694" y="215"/>
                  </a:lnTo>
                  <a:lnTo>
                    <a:pt x="702" y="206"/>
                  </a:lnTo>
                  <a:lnTo>
                    <a:pt x="708" y="195"/>
                  </a:lnTo>
                  <a:lnTo>
                    <a:pt x="713" y="183"/>
                  </a:lnTo>
                  <a:lnTo>
                    <a:pt x="717" y="172"/>
                  </a:lnTo>
                  <a:lnTo>
                    <a:pt x="720" y="160"/>
                  </a:lnTo>
                  <a:lnTo>
                    <a:pt x="722" y="148"/>
                  </a:lnTo>
                  <a:lnTo>
                    <a:pt x="722" y="136"/>
                  </a:lnTo>
                  <a:lnTo>
                    <a:pt x="722" y="1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51">
              <a:extLst>
                <a:ext uri="{FF2B5EF4-FFF2-40B4-BE49-F238E27FC236}">
                  <a16:creationId xmlns="" xmlns:a16="http://schemas.microsoft.com/office/drawing/2014/main" id="{C476F191-4B8A-45A9-A306-30DE2DE7AB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363" y="2051050"/>
              <a:ext cx="57150" cy="9525"/>
            </a:xfrm>
            <a:custGeom>
              <a:avLst/>
              <a:gdLst>
                <a:gd name="T0" fmla="*/ 15 w 181"/>
                <a:gd name="T1" fmla="*/ 30 h 30"/>
                <a:gd name="T2" fmla="*/ 166 w 181"/>
                <a:gd name="T3" fmla="*/ 30 h 30"/>
                <a:gd name="T4" fmla="*/ 169 w 181"/>
                <a:gd name="T5" fmla="*/ 30 h 30"/>
                <a:gd name="T6" fmla="*/ 172 w 181"/>
                <a:gd name="T7" fmla="*/ 29 h 30"/>
                <a:gd name="T8" fmla="*/ 174 w 181"/>
                <a:gd name="T9" fmla="*/ 28 h 30"/>
                <a:gd name="T10" fmla="*/ 176 w 181"/>
                <a:gd name="T11" fmla="*/ 25 h 30"/>
                <a:gd name="T12" fmla="*/ 178 w 181"/>
                <a:gd name="T13" fmla="*/ 23 h 30"/>
                <a:gd name="T14" fmla="*/ 180 w 181"/>
                <a:gd name="T15" fmla="*/ 21 h 30"/>
                <a:gd name="T16" fmla="*/ 181 w 181"/>
                <a:gd name="T17" fmla="*/ 18 h 30"/>
                <a:gd name="T18" fmla="*/ 181 w 181"/>
                <a:gd name="T19" fmla="*/ 15 h 30"/>
                <a:gd name="T20" fmla="*/ 181 w 181"/>
                <a:gd name="T21" fmla="*/ 13 h 30"/>
                <a:gd name="T22" fmla="*/ 180 w 181"/>
                <a:gd name="T23" fmla="*/ 9 h 30"/>
                <a:gd name="T24" fmla="*/ 178 w 181"/>
                <a:gd name="T25" fmla="*/ 7 h 30"/>
                <a:gd name="T26" fmla="*/ 176 w 181"/>
                <a:gd name="T27" fmla="*/ 4 h 30"/>
                <a:gd name="T28" fmla="*/ 174 w 181"/>
                <a:gd name="T29" fmla="*/ 3 h 30"/>
                <a:gd name="T30" fmla="*/ 172 w 181"/>
                <a:gd name="T31" fmla="*/ 1 h 30"/>
                <a:gd name="T32" fmla="*/ 169 w 181"/>
                <a:gd name="T33" fmla="*/ 1 h 30"/>
                <a:gd name="T34" fmla="*/ 166 w 181"/>
                <a:gd name="T35" fmla="*/ 0 h 30"/>
                <a:gd name="T36" fmla="*/ 15 w 181"/>
                <a:gd name="T37" fmla="*/ 0 h 30"/>
                <a:gd name="T38" fmla="*/ 12 w 181"/>
                <a:gd name="T39" fmla="*/ 1 h 30"/>
                <a:gd name="T40" fmla="*/ 10 w 181"/>
                <a:gd name="T41" fmla="*/ 1 h 30"/>
                <a:gd name="T42" fmla="*/ 6 w 181"/>
                <a:gd name="T43" fmla="*/ 3 h 30"/>
                <a:gd name="T44" fmla="*/ 4 w 181"/>
                <a:gd name="T45" fmla="*/ 4 h 30"/>
                <a:gd name="T46" fmla="*/ 2 w 181"/>
                <a:gd name="T47" fmla="*/ 7 h 30"/>
                <a:gd name="T48" fmla="*/ 1 w 181"/>
                <a:gd name="T49" fmla="*/ 9 h 30"/>
                <a:gd name="T50" fmla="*/ 0 w 181"/>
                <a:gd name="T51" fmla="*/ 13 h 30"/>
                <a:gd name="T52" fmla="*/ 0 w 181"/>
                <a:gd name="T53" fmla="*/ 15 h 30"/>
                <a:gd name="T54" fmla="*/ 0 w 181"/>
                <a:gd name="T55" fmla="*/ 18 h 30"/>
                <a:gd name="T56" fmla="*/ 1 w 181"/>
                <a:gd name="T57" fmla="*/ 21 h 30"/>
                <a:gd name="T58" fmla="*/ 2 w 181"/>
                <a:gd name="T59" fmla="*/ 23 h 30"/>
                <a:gd name="T60" fmla="*/ 4 w 181"/>
                <a:gd name="T61" fmla="*/ 25 h 30"/>
                <a:gd name="T62" fmla="*/ 6 w 181"/>
                <a:gd name="T63" fmla="*/ 28 h 30"/>
                <a:gd name="T64" fmla="*/ 10 w 181"/>
                <a:gd name="T65" fmla="*/ 29 h 30"/>
                <a:gd name="T66" fmla="*/ 12 w 181"/>
                <a:gd name="T67" fmla="*/ 30 h 30"/>
                <a:gd name="T68" fmla="*/ 15 w 18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5" y="30"/>
                  </a:moveTo>
                  <a:lnTo>
                    <a:pt x="166" y="30"/>
                  </a:lnTo>
                  <a:lnTo>
                    <a:pt x="169" y="30"/>
                  </a:lnTo>
                  <a:lnTo>
                    <a:pt x="172" y="29"/>
                  </a:lnTo>
                  <a:lnTo>
                    <a:pt x="174" y="28"/>
                  </a:lnTo>
                  <a:lnTo>
                    <a:pt x="176" y="25"/>
                  </a:lnTo>
                  <a:lnTo>
                    <a:pt x="178" y="23"/>
                  </a:lnTo>
                  <a:lnTo>
                    <a:pt x="180" y="21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3"/>
                  </a:lnTo>
                  <a:lnTo>
                    <a:pt x="180" y="9"/>
                  </a:lnTo>
                  <a:lnTo>
                    <a:pt x="178" y="7"/>
                  </a:lnTo>
                  <a:lnTo>
                    <a:pt x="176" y="4"/>
                  </a:lnTo>
                  <a:lnTo>
                    <a:pt x="174" y="3"/>
                  </a:lnTo>
                  <a:lnTo>
                    <a:pt x="172" y="1"/>
                  </a:lnTo>
                  <a:lnTo>
                    <a:pt x="169" y="1"/>
                  </a:lnTo>
                  <a:lnTo>
                    <a:pt x="166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3"/>
                  </a:lnTo>
                  <a:lnTo>
                    <a:pt x="4" y="25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52">
              <a:extLst>
                <a:ext uri="{FF2B5EF4-FFF2-40B4-BE49-F238E27FC236}">
                  <a16:creationId xmlns="" xmlns:a16="http://schemas.microsoft.com/office/drawing/2014/main" id="{8E4674E4-63EC-49D0-A84C-30594ACE75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363" y="2098675"/>
              <a:ext cx="57150" cy="9525"/>
            </a:xfrm>
            <a:custGeom>
              <a:avLst/>
              <a:gdLst>
                <a:gd name="T0" fmla="*/ 15 w 181"/>
                <a:gd name="T1" fmla="*/ 31 h 31"/>
                <a:gd name="T2" fmla="*/ 166 w 181"/>
                <a:gd name="T3" fmla="*/ 31 h 31"/>
                <a:gd name="T4" fmla="*/ 169 w 181"/>
                <a:gd name="T5" fmla="*/ 30 h 31"/>
                <a:gd name="T6" fmla="*/ 172 w 181"/>
                <a:gd name="T7" fmla="*/ 30 h 31"/>
                <a:gd name="T8" fmla="*/ 174 w 181"/>
                <a:gd name="T9" fmla="*/ 28 h 31"/>
                <a:gd name="T10" fmla="*/ 176 w 181"/>
                <a:gd name="T11" fmla="*/ 27 h 31"/>
                <a:gd name="T12" fmla="*/ 178 w 181"/>
                <a:gd name="T13" fmla="*/ 24 h 31"/>
                <a:gd name="T14" fmla="*/ 180 w 181"/>
                <a:gd name="T15" fmla="*/ 22 h 31"/>
                <a:gd name="T16" fmla="*/ 181 w 181"/>
                <a:gd name="T17" fmla="*/ 19 h 31"/>
                <a:gd name="T18" fmla="*/ 181 w 181"/>
                <a:gd name="T19" fmla="*/ 16 h 31"/>
                <a:gd name="T20" fmla="*/ 181 w 181"/>
                <a:gd name="T21" fmla="*/ 13 h 31"/>
                <a:gd name="T22" fmla="*/ 180 w 181"/>
                <a:gd name="T23" fmla="*/ 10 h 31"/>
                <a:gd name="T24" fmla="*/ 178 w 181"/>
                <a:gd name="T25" fmla="*/ 8 h 31"/>
                <a:gd name="T26" fmla="*/ 176 w 181"/>
                <a:gd name="T27" fmla="*/ 6 h 31"/>
                <a:gd name="T28" fmla="*/ 174 w 181"/>
                <a:gd name="T29" fmla="*/ 3 h 31"/>
                <a:gd name="T30" fmla="*/ 172 w 181"/>
                <a:gd name="T31" fmla="*/ 2 h 31"/>
                <a:gd name="T32" fmla="*/ 169 w 181"/>
                <a:gd name="T33" fmla="*/ 1 h 31"/>
                <a:gd name="T34" fmla="*/ 166 w 181"/>
                <a:gd name="T35" fmla="*/ 1 h 31"/>
                <a:gd name="T36" fmla="*/ 15 w 181"/>
                <a:gd name="T37" fmla="*/ 0 h 31"/>
                <a:gd name="T38" fmla="*/ 12 w 181"/>
                <a:gd name="T39" fmla="*/ 1 h 31"/>
                <a:gd name="T40" fmla="*/ 10 w 181"/>
                <a:gd name="T41" fmla="*/ 2 h 31"/>
                <a:gd name="T42" fmla="*/ 6 w 181"/>
                <a:gd name="T43" fmla="*/ 3 h 31"/>
                <a:gd name="T44" fmla="*/ 4 w 181"/>
                <a:gd name="T45" fmla="*/ 6 h 31"/>
                <a:gd name="T46" fmla="*/ 2 w 181"/>
                <a:gd name="T47" fmla="*/ 8 h 31"/>
                <a:gd name="T48" fmla="*/ 1 w 181"/>
                <a:gd name="T49" fmla="*/ 10 h 31"/>
                <a:gd name="T50" fmla="*/ 0 w 181"/>
                <a:gd name="T51" fmla="*/ 13 h 31"/>
                <a:gd name="T52" fmla="*/ 0 w 181"/>
                <a:gd name="T53" fmla="*/ 16 h 31"/>
                <a:gd name="T54" fmla="*/ 0 w 181"/>
                <a:gd name="T55" fmla="*/ 19 h 31"/>
                <a:gd name="T56" fmla="*/ 1 w 181"/>
                <a:gd name="T57" fmla="*/ 22 h 31"/>
                <a:gd name="T58" fmla="*/ 2 w 181"/>
                <a:gd name="T59" fmla="*/ 24 h 31"/>
                <a:gd name="T60" fmla="*/ 4 w 181"/>
                <a:gd name="T61" fmla="*/ 27 h 31"/>
                <a:gd name="T62" fmla="*/ 6 w 181"/>
                <a:gd name="T63" fmla="*/ 28 h 31"/>
                <a:gd name="T64" fmla="*/ 10 w 181"/>
                <a:gd name="T65" fmla="*/ 30 h 31"/>
                <a:gd name="T66" fmla="*/ 12 w 181"/>
                <a:gd name="T67" fmla="*/ 30 h 31"/>
                <a:gd name="T68" fmla="*/ 15 w 181"/>
                <a:gd name="T6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1">
                  <a:moveTo>
                    <a:pt x="15" y="31"/>
                  </a:moveTo>
                  <a:lnTo>
                    <a:pt x="166" y="31"/>
                  </a:lnTo>
                  <a:lnTo>
                    <a:pt x="169" y="30"/>
                  </a:lnTo>
                  <a:lnTo>
                    <a:pt x="172" y="30"/>
                  </a:lnTo>
                  <a:lnTo>
                    <a:pt x="174" y="28"/>
                  </a:lnTo>
                  <a:lnTo>
                    <a:pt x="176" y="27"/>
                  </a:lnTo>
                  <a:lnTo>
                    <a:pt x="178" y="24"/>
                  </a:lnTo>
                  <a:lnTo>
                    <a:pt x="180" y="22"/>
                  </a:lnTo>
                  <a:lnTo>
                    <a:pt x="181" y="19"/>
                  </a:lnTo>
                  <a:lnTo>
                    <a:pt x="181" y="16"/>
                  </a:lnTo>
                  <a:lnTo>
                    <a:pt x="181" y="13"/>
                  </a:lnTo>
                  <a:lnTo>
                    <a:pt x="180" y="10"/>
                  </a:lnTo>
                  <a:lnTo>
                    <a:pt x="178" y="8"/>
                  </a:lnTo>
                  <a:lnTo>
                    <a:pt x="176" y="6"/>
                  </a:lnTo>
                  <a:lnTo>
                    <a:pt x="174" y="3"/>
                  </a:lnTo>
                  <a:lnTo>
                    <a:pt x="172" y="2"/>
                  </a:lnTo>
                  <a:lnTo>
                    <a:pt x="169" y="1"/>
                  </a:lnTo>
                  <a:lnTo>
                    <a:pt x="166" y="1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2"/>
                  </a:lnTo>
                  <a:lnTo>
                    <a:pt x="6" y="3"/>
                  </a:lnTo>
                  <a:lnTo>
                    <a:pt x="4" y="6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7"/>
                  </a:lnTo>
                  <a:lnTo>
                    <a:pt x="6" y="28"/>
                  </a:lnTo>
                  <a:lnTo>
                    <a:pt x="10" y="30"/>
                  </a:lnTo>
                  <a:lnTo>
                    <a:pt x="12" y="30"/>
                  </a:lnTo>
                  <a:lnTo>
                    <a:pt x="15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53">
              <a:extLst>
                <a:ext uri="{FF2B5EF4-FFF2-40B4-BE49-F238E27FC236}">
                  <a16:creationId xmlns="" xmlns:a16="http://schemas.microsoft.com/office/drawing/2014/main" id="{0916F6A6-17AF-470E-BA19-5C6C7F2D53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95363" y="2146300"/>
              <a:ext cx="57150" cy="9525"/>
            </a:xfrm>
            <a:custGeom>
              <a:avLst/>
              <a:gdLst>
                <a:gd name="T0" fmla="*/ 15 w 181"/>
                <a:gd name="T1" fmla="*/ 30 h 30"/>
                <a:gd name="T2" fmla="*/ 166 w 181"/>
                <a:gd name="T3" fmla="*/ 30 h 30"/>
                <a:gd name="T4" fmla="*/ 169 w 181"/>
                <a:gd name="T5" fmla="*/ 30 h 30"/>
                <a:gd name="T6" fmla="*/ 172 w 181"/>
                <a:gd name="T7" fmla="*/ 29 h 30"/>
                <a:gd name="T8" fmla="*/ 174 w 181"/>
                <a:gd name="T9" fmla="*/ 27 h 30"/>
                <a:gd name="T10" fmla="*/ 176 w 181"/>
                <a:gd name="T11" fmla="*/ 26 h 30"/>
                <a:gd name="T12" fmla="*/ 178 w 181"/>
                <a:gd name="T13" fmla="*/ 23 h 30"/>
                <a:gd name="T14" fmla="*/ 180 w 181"/>
                <a:gd name="T15" fmla="*/ 20 h 30"/>
                <a:gd name="T16" fmla="*/ 181 w 181"/>
                <a:gd name="T17" fmla="*/ 18 h 30"/>
                <a:gd name="T18" fmla="*/ 181 w 181"/>
                <a:gd name="T19" fmla="*/ 15 h 30"/>
                <a:gd name="T20" fmla="*/ 181 w 181"/>
                <a:gd name="T21" fmla="*/ 12 h 30"/>
                <a:gd name="T22" fmla="*/ 180 w 181"/>
                <a:gd name="T23" fmla="*/ 8 h 30"/>
                <a:gd name="T24" fmla="*/ 178 w 181"/>
                <a:gd name="T25" fmla="*/ 6 h 30"/>
                <a:gd name="T26" fmla="*/ 176 w 181"/>
                <a:gd name="T27" fmla="*/ 4 h 30"/>
                <a:gd name="T28" fmla="*/ 174 w 181"/>
                <a:gd name="T29" fmla="*/ 2 h 30"/>
                <a:gd name="T30" fmla="*/ 172 w 181"/>
                <a:gd name="T31" fmla="*/ 1 h 30"/>
                <a:gd name="T32" fmla="*/ 169 w 181"/>
                <a:gd name="T33" fmla="*/ 0 h 30"/>
                <a:gd name="T34" fmla="*/ 166 w 181"/>
                <a:gd name="T35" fmla="*/ 0 h 30"/>
                <a:gd name="T36" fmla="*/ 15 w 181"/>
                <a:gd name="T37" fmla="*/ 0 h 30"/>
                <a:gd name="T38" fmla="*/ 12 w 181"/>
                <a:gd name="T39" fmla="*/ 0 h 30"/>
                <a:gd name="T40" fmla="*/ 10 w 181"/>
                <a:gd name="T41" fmla="*/ 1 h 30"/>
                <a:gd name="T42" fmla="*/ 6 w 181"/>
                <a:gd name="T43" fmla="*/ 2 h 30"/>
                <a:gd name="T44" fmla="*/ 4 w 181"/>
                <a:gd name="T45" fmla="*/ 4 h 30"/>
                <a:gd name="T46" fmla="*/ 2 w 181"/>
                <a:gd name="T47" fmla="*/ 6 h 30"/>
                <a:gd name="T48" fmla="*/ 1 w 181"/>
                <a:gd name="T49" fmla="*/ 8 h 30"/>
                <a:gd name="T50" fmla="*/ 0 w 181"/>
                <a:gd name="T51" fmla="*/ 12 h 30"/>
                <a:gd name="T52" fmla="*/ 0 w 181"/>
                <a:gd name="T53" fmla="*/ 15 h 30"/>
                <a:gd name="T54" fmla="*/ 0 w 181"/>
                <a:gd name="T55" fmla="*/ 18 h 30"/>
                <a:gd name="T56" fmla="*/ 1 w 181"/>
                <a:gd name="T57" fmla="*/ 20 h 30"/>
                <a:gd name="T58" fmla="*/ 2 w 181"/>
                <a:gd name="T59" fmla="*/ 23 h 30"/>
                <a:gd name="T60" fmla="*/ 4 w 181"/>
                <a:gd name="T61" fmla="*/ 26 h 30"/>
                <a:gd name="T62" fmla="*/ 6 w 181"/>
                <a:gd name="T63" fmla="*/ 27 h 30"/>
                <a:gd name="T64" fmla="*/ 10 w 181"/>
                <a:gd name="T65" fmla="*/ 29 h 30"/>
                <a:gd name="T66" fmla="*/ 12 w 181"/>
                <a:gd name="T67" fmla="*/ 30 h 30"/>
                <a:gd name="T68" fmla="*/ 15 w 181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30">
                  <a:moveTo>
                    <a:pt x="15" y="30"/>
                  </a:moveTo>
                  <a:lnTo>
                    <a:pt x="166" y="30"/>
                  </a:lnTo>
                  <a:lnTo>
                    <a:pt x="169" y="30"/>
                  </a:lnTo>
                  <a:lnTo>
                    <a:pt x="172" y="29"/>
                  </a:lnTo>
                  <a:lnTo>
                    <a:pt x="174" y="27"/>
                  </a:lnTo>
                  <a:lnTo>
                    <a:pt x="176" y="26"/>
                  </a:lnTo>
                  <a:lnTo>
                    <a:pt x="178" y="23"/>
                  </a:lnTo>
                  <a:lnTo>
                    <a:pt x="180" y="20"/>
                  </a:lnTo>
                  <a:lnTo>
                    <a:pt x="181" y="18"/>
                  </a:lnTo>
                  <a:lnTo>
                    <a:pt x="181" y="15"/>
                  </a:lnTo>
                  <a:lnTo>
                    <a:pt x="181" y="12"/>
                  </a:lnTo>
                  <a:lnTo>
                    <a:pt x="180" y="8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9" y="0"/>
                  </a:lnTo>
                  <a:lnTo>
                    <a:pt x="16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54">
              <a:extLst>
                <a:ext uri="{FF2B5EF4-FFF2-40B4-BE49-F238E27FC236}">
                  <a16:creationId xmlns="" xmlns:a16="http://schemas.microsoft.com/office/drawing/2014/main" id="{6FAD6A98-DC12-4C60-922A-A35B98464C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738" y="2022475"/>
              <a:ext cx="38100" cy="33338"/>
            </a:xfrm>
            <a:custGeom>
              <a:avLst/>
              <a:gdLst>
                <a:gd name="T0" fmla="*/ 20 w 121"/>
                <a:gd name="T1" fmla="*/ 101 h 106"/>
                <a:gd name="T2" fmla="*/ 22 w 121"/>
                <a:gd name="T3" fmla="*/ 104 h 106"/>
                <a:gd name="T4" fmla="*/ 25 w 121"/>
                <a:gd name="T5" fmla="*/ 105 h 106"/>
                <a:gd name="T6" fmla="*/ 27 w 121"/>
                <a:gd name="T7" fmla="*/ 106 h 106"/>
                <a:gd name="T8" fmla="*/ 30 w 121"/>
                <a:gd name="T9" fmla="*/ 106 h 106"/>
                <a:gd name="T10" fmla="*/ 36 w 121"/>
                <a:gd name="T11" fmla="*/ 105 h 106"/>
                <a:gd name="T12" fmla="*/ 41 w 121"/>
                <a:gd name="T13" fmla="*/ 101 h 106"/>
                <a:gd name="T14" fmla="*/ 116 w 121"/>
                <a:gd name="T15" fmla="*/ 26 h 106"/>
                <a:gd name="T16" fmla="*/ 119 w 121"/>
                <a:gd name="T17" fmla="*/ 24 h 106"/>
                <a:gd name="T18" fmla="*/ 120 w 121"/>
                <a:gd name="T19" fmla="*/ 21 h 106"/>
                <a:gd name="T20" fmla="*/ 121 w 121"/>
                <a:gd name="T21" fmla="*/ 19 h 106"/>
                <a:gd name="T22" fmla="*/ 121 w 121"/>
                <a:gd name="T23" fmla="*/ 15 h 106"/>
                <a:gd name="T24" fmla="*/ 121 w 121"/>
                <a:gd name="T25" fmla="*/ 13 h 106"/>
                <a:gd name="T26" fmla="*/ 120 w 121"/>
                <a:gd name="T27" fmla="*/ 10 h 106"/>
                <a:gd name="T28" fmla="*/ 119 w 121"/>
                <a:gd name="T29" fmla="*/ 8 h 106"/>
                <a:gd name="T30" fmla="*/ 116 w 121"/>
                <a:gd name="T31" fmla="*/ 5 h 106"/>
                <a:gd name="T32" fmla="*/ 114 w 121"/>
                <a:gd name="T33" fmla="*/ 4 h 106"/>
                <a:gd name="T34" fmla="*/ 111 w 121"/>
                <a:gd name="T35" fmla="*/ 1 h 106"/>
                <a:gd name="T36" fmla="*/ 109 w 121"/>
                <a:gd name="T37" fmla="*/ 0 h 106"/>
                <a:gd name="T38" fmla="*/ 106 w 121"/>
                <a:gd name="T39" fmla="*/ 0 h 106"/>
                <a:gd name="T40" fmla="*/ 103 w 121"/>
                <a:gd name="T41" fmla="*/ 0 h 106"/>
                <a:gd name="T42" fmla="*/ 100 w 121"/>
                <a:gd name="T43" fmla="*/ 1 h 106"/>
                <a:gd name="T44" fmla="*/ 97 w 121"/>
                <a:gd name="T45" fmla="*/ 4 h 106"/>
                <a:gd name="T46" fmla="*/ 95 w 121"/>
                <a:gd name="T47" fmla="*/ 5 h 106"/>
                <a:gd name="T48" fmla="*/ 30 w 121"/>
                <a:gd name="T49" fmla="*/ 69 h 106"/>
                <a:gd name="T50" fmla="*/ 26 w 121"/>
                <a:gd name="T51" fmla="*/ 65 h 106"/>
                <a:gd name="T52" fmla="*/ 24 w 121"/>
                <a:gd name="T53" fmla="*/ 64 h 106"/>
                <a:gd name="T54" fmla="*/ 21 w 121"/>
                <a:gd name="T55" fmla="*/ 62 h 106"/>
                <a:gd name="T56" fmla="*/ 18 w 121"/>
                <a:gd name="T57" fmla="*/ 62 h 106"/>
                <a:gd name="T58" fmla="*/ 15 w 121"/>
                <a:gd name="T59" fmla="*/ 61 h 106"/>
                <a:gd name="T60" fmla="*/ 12 w 121"/>
                <a:gd name="T61" fmla="*/ 62 h 106"/>
                <a:gd name="T62" fmla="*/ 10 w 121"/>
                <a:gd name="T63" fmla="*/ 62 h 106"/>
                <a:gd name="T64" fmla="*/ 7 w 121"/>
                <a:gd name="T65" fmla="*/ 64 h 106"/>
                <a:gd name="T66" fmla="*/ 5 w 121"/>
                <a:gd name="T67" fmla="*/ 65 h 106"/>
                <a:gd name="T68" fmla="*/ 2 w 121"/>
                <a:gd name="T69" fmla="*/ 68 h 106"/>
                <a:gd name="T70" fmla="*/ 1 w 121"/>
                <a:gd name="T71" fmla="*/ 70 h 106"/>
                <a:gd name="T72" fmla="*/ 0 w 121"/>
                <a:gd name="T73" fmla="*/ 73 h 106"/>
                <a:gd name="T74" fmla="*/ 0 w 121"/>
                <a:gd name="T75" fmla="*/ 76 h 106"/>
                <a:gd name="T76" fmla="*/ 0 w 121"/>
                <a:gd name="T77" fmla="*/ 79 h 106"/>
                <a:gd name="T78" fmla="*/ 1 w 121"/>
                <a:gd name="T79" fmla="*/ 82 h 106"/>
                <a:gd name="T80" fmla="*/ 2 w 121"/>
                <a:gd name="T81" fmla="*/ 84 h 106"/>
                <a:gd name="T82" fmla="*/ 5 w 121"/>
                <a:gd name="T83" fmla="*/ 86 h 106"/>
                <a:gd name="T84" fmla="*/ 20 w 121"/>
                <a:gd name="T85" fmla="*/ 10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106">
                  <a:moveTo>
                    <a:pt x="20" y="101"/>
                  </a:moveTo>
                  <a:lnTo>
                    <a:pt x="22" y="104"/>
                  </a:lnTo>
                  <a:lnTo>
                    <a:pt x="25" y="105"/>
                  </a:lnTo>
                  <a:lnTo>
                    <a:pt x="27" y="106"/>
                  </a:lnTo>
                  <a:lnTo>
                    <a:pt x="30" y="106"/>
                  </a:lnTo>
                  <a:lnTo>
                    <a:pt x="36" y="105"/>
                  </a:lnTo>
                  <a:lnTo>
                    <a:pt x="41" y="101"/>
                  </a:lnTo>
                  <a:lnTo>
                    <a:pt x="116" y="26"/>
                  </a:lnTo>
                  <a:lnTo>
                    <a:pt x="119" y="24"/>
                  </a:lnTo>
                  <a:lnTo>
                    <a:pt x="120" y="21"/>
                  </a:lnTo>
                  <a:lnTo>
                    <a:pt x="121" y="19"/>
                  </a:lnTo>
                  <a:lnTo>
                    <a:pt x="121" y="15"/>
                  </a:lnTo>
                  <a:lnTo>
                    <a:pt x="121" y="13"/>
                  </a:lnTo>
                  <a:lnTo>
                    <a:pt x="120" y="10"/>
                  </a:lnTo>
                  <a:lnTo>
                    <a:pt x="119" y="8"/>
                  </a:lnTo>
                  <a:lnTo>
                    <a:pt x="116" y="5"/>
                  </a:lnTo>
                  <a:lnTo>
                    <a:pt x="114" y="4"/>
                  </a:lnTo>
                  <a:lnTo>
                    <a:pt x="111" y="1"/>
                  </a:lnTo>
                  <a:lnTo>
                    <a:pt x="109" y="0"/>
                  </a:lnTo>
                  <a:lnTo>
                    <a:pt x="106" y="0"/>
                  </a:lnTo>
                  <a:lnTo>
                    <a:pt x="103" y="0"/>
                  </a:lnTo>
                  <a:lnTo>
                    <a:pt x="100" y="1"/>
                  </a:lnTo>
                  <a:lnTo>
                    <a:pt x="97" y="4"/>
                  </a:lnTo>
                  <a:lnTo>
                    <a:pt x="95" y="5"/>
                  </a:lnTo>
                  <a:lnTo>
                    <a:pt x="30" y="69"/>
                  </a:lnTo>
                  <a:lnTo>
                    <a:pt x="26" y="65"/>
                  </a:lnTo>
                  <a:lnTo>
                    <a:pt x="24" y="64"/>
                  </a:lnTo>
                  <a:lnTo>
                    <a:pt x="21" y="62"/>
                  </a:lnTo>
                  <a:lnTo>
                    <a:pt x="18" y="62"/>
                  </a:lnTo>
                  <a:lnTo>
                    <a:pt x="15" y="61"/>
                  </a:lnTo>
                  <a:lnTo>
                    <a:pt x="12" y="62"/>
                  </a:lnTo>
                  <a:lnTo>
                    <a:pt x="10" y="62"/>
                  </a:lnTo>
                  <a:lnTo>
                    <a:pt x="7" y="64"/>
                  </a:lnTo>
                  <a:lnTo>
                    <a:pt x="5" y="65"/>
                  </a:lnTo>
                  <a:lnTo>
                    <a:pt x="2" y="68"/>
                  </a:lnTo>
                  <a:lnTo>
                    <a:pt x="1" y="70"/>
                  </a:lnTo>
                  <a:lnTo>
                    <a:pt x="0" y="73"/>
                  </a:lnTo>
                  <a:lnTo>
                    <a:pt x="0" y="76"/>
                  </a:lnTo>
                  <a:lnTo>
                    <a:pt x="0" y="79"/>
                  </a:lnTo>
                  <a:lnTo>
                    <a:pt x="1" y="82"/>
                  </a:lnTo>
                  <a:lnTo>
                    <a:pt x="2" y="84"/>
                  </a:lnTo>
                  <a:lnTo>
                    <a:pt x="5" y="86"/>
                  </a:lnTo>
                  <a:lnTo>
                    <a:pt x="20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55">
              <a:extLst>
                <a:ext uri="{FF2B5EF4-FFF2-40B4-BE49-F238E27FC236}">
                  <a16:creationId xmlns="" xmlns:a16="http://schemas.microsoft.com/office/drawing/2014/main" id="{45679E20-72A0-4B8C-96B7-83FFF4FD4F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738" y="2070100"/>
              <a:ext cx="38100" cy="33338"/>
            </a:xfrm>
            <a:custGeom>
              <a:avLst/>
              <a:gdLst>
                <a:gd name="T0" fmla="*/ 20 w 121"/>
                <a:gd name="T1" fmla="*/ 101 h 106"/>
                <a:gd name="T2" fmla="*/ 22 w 121"/>
                <a:gd name="T3" fmla="*/ 103 h 106"/>
                <a:gd name="T4" fmla="*/ 25 w 121"/>
                <a:gd name="T5" fmla="*/ 105 h 106"/>
                <a:gd name="T6" fmla="*/ 27 w 121"/>
                <a:gd name="T7" fmla="*/ 105 h 106"/>
                <a:gd name="T8" fmla="*/ 30 w 121"/>
                <a:gd name="T9" fmla="*/ 106 h 106"/>
                <a:gd name="T10" fmla="*/ 34 w 121"/>
                <a:gd name="T11" fmla="*/ 105 h 106"/>
                <a:gd name="T12" fmla="*/ 36 w 121"/>
                <a:gd name="T13" fmla="*/ 105 h 106"/>
                <a:gd name="T14" fmla="*/ 39 w 121"/>
                <a:gd name="T15" fmla="*/ 103 h 106"/>
                <a:gd name="T16" fmla="*/ 41 w 121"/>
                <a:gd name="T17" fmla="*/ 102 h 106"/>
                <a:gd name="T18" fmla="*/ 116 w 121"/>
                <a:gd name="T19" fmla="*/ 26 h 106"/>
                <a:gd name="T20" fmla="*/ 119 w 121"/>
                <a:gd name="T21" fmla="*/ 24 h 106"/>
                <a:gd name="T22" fmla="*/ 120 w 121"/>
                <a:gd name="T23" fmla="*/ 21 h 106"/>
                <a:gd name="T24" fmla="*/ 121 w 121"/>
                <a:gd name="T25" fmla="*/ 18 h 106"/>
                <a:gd name="T26" fmla="*/ 121 w 121"/>
                <a:gd name="T27" fmla="*/ 15 h 106"/>
                <a:gd name="T28" fmla="*/ 121 w 121"/>
                <a:gd name="T29" fmla="*/ 13 h 106"/>
                <a:gd name="T30" fmla="*/ 120 w 121"/>
                <a:gd name="T31" fmla="*/ 10 h 106"/>
                <a:gd name="T32" fmla="*/ 119 w 121"/>
                <a:gd name="T33" fmla="*/ 7 h 106"/>
                <a:gd name="T34" fmla="*/ 116 w 121"/>
                <a:gd name="T35" fmla="*/ 5 h 106"/>
                <a:gd name="T36" fmla="*/ 114 w 121"/>
                <a:gd name="T37" fmla="*/ 3 h 106"/>
                <a:gd name="T38" fmla="*/ 111 w 121"/>
                <a:gd name="T39" fmla="*/ 1 h 106"/>
                <a:gd name="T40" fmla="*/ 109 w 121"/>
                <a:gd name="T41" fmla="*/ 1 h 106"/>
                <a:gd name="T42" fmla="*/ 106 w 121"/>
                <a:gd name="T43" fmla="*/ 0 h 106"/>
                <a:gd name="T44" fmla="*/ 103 w 121"/>
                <a:gd name="T45" fmla="*/ 1 h 106"/>
                <a:gd name="T46" fmla="*/ 100 w 121"/>
                <a:gd name="T47" fmla="*/ 1 h 106"/>
                <a:gd name="T48" fmla="*/ 97 w 121"/>
                <a:gd name="T49" fmla="*/ 3 h 106"/>
                <a:gd name="T50" fmla="*/ 95 w 121"/>
                <a:gd name="T51" fmla="*/ 5 h 106"/>
                <a:gd name="T52" fmla="*/ 30 w 121"/>
                <a:gd name="T53" fmla="*/ 70 h 106"/>
                <a:gd name="T54" fmla="*/ 26 w 121"/>
                <a:gd name="T55" fmla="*/ 65 h 106"/>
                <a:gd name="T56" fmla="*/ 24 w 121"/>
                <a:gd name="T57" fmla="*/ 63 h 106"/>
                <a:gd name="T58" fmla="*/ 21 w 121"/>
                <a:gd name="T59" fmla="*/ 61 h 106"/>
                <a:gd name="T60" fmla="*/ 18 w 121"/>
                <a:gd name="T61" fmla="*/ 61 h 106"/>
                <a:gd name="T62" fmla="*/ 15 w 121"/>
                <a:gd name="T63" fmla="*/ 60 h 106"/>
                <a:gd name="T64" fmla="*/ 12 w 121"/>
                <a:gd name="T65" fmla="*/ 61 h 106"/>
                <a:gd name="T66" fmla="*/ 10 w 121"/>
                <a:gd name="T67" fmla="*/ 62 h 106"/>
                <a:gd name="T68" fmla="*/ 7 w 121"/>
                <a:gd name="T69" fmla="*/ 63 h 106"/>
                <a:gd name="T70" fmla="*/ 5 w 121"/>
                <a:gd name="T71" fmla="*/ 65 h 106"/>
                <a:gd name="T72" fmla="*/ 2 w 121"/>
                <a:gd name="T73" fmla="*/ 68 h 106"/>
                <a:gd name="T74" fmla="*/ 1 w 121"/>
                <a:gd name="T75" fmla="*/ 70 h 106"/>
                <a:gd name="T76" fmla="*/ 0 w 121"/>
                <a:gd name="T77" fmla="*/ 73 h 106"/>
                <a:gd name="T78" fmla="*/ 0 w 121"/>
                <a:gd name="T79" fmla="*/ 76 h 106"/>
                <a:gd name="T80" fmla="*/ 0 w 121"/>
                <a:gd name="T81" fmla="*/ 78 h 106"/>
                <a:gd name="T82" fmla="*/ 1 w 121"/>
                <a:gd name="T83" fmla="*/ 82 h 106"/>
                <a:gd name="T84" fmla="*/ 2 w 121"/>
                <a:gd name="T85" fmla="*/ 84 h 106"/>
                <a:gd name="T86" fmla="*/ 5 w 121"/>
                <a:gd name="T87" fmla="*/ 87 h 106"/>
                <a:gd name="T88" fmla="*/ 20 w 121"/>
                <a:gd name="T89" fmla="*/ 101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1" h="106">
                  <a:moveTo>
                    <a:pt x="20" y="101"/>
                  </a:moveTo>
                  <a:lnTo>
                    <a:pt x="22" y="103"/>
                  </a:lnTo>
                  <a:lnTo>
                    <a:pt x="25" y="105"/>
                  </a:lnTo>
                  <a:lnTo>
                    <a:pt x="27" y="105"/>
                  </a:lnTo>
                  <a:lnTo>
                    <a:pt x="30" y="106"/>
                  </a:lnTo>
                  <a:lnTo>
                    <a:pt x="34" y="105"/>
                  </a:lnTo>
                  <a:lnTo>
                    <a:pt x="36" y="105"/>
                  </a:lnTo>
                  <a:lnTo>
                    <a:pt x="39" y="103"/>
                  </a:lnTo>
                  <a:lnTo>
                    <a:pt x="41" y="102"/>
                  </a:lnTo>
                  <a:lnTo>
                    <a:pt x="116" y="26"/>
                  </a:lnTo>
                  <a:lnTo>
                    <a:pt x="119" y="24"/>
                  </a:lnTo>
                  <a:lnTo>
                    <a:pt x="120" y="21"/>
                  </a:lnTo>
                  <a:lnTo>
                    <a:pt x="121" y="18"/>
                  </a:lnTo>
                  <a:lnTo>
                    <a:pt x="121" y="15"/>
                  </a:lnTo>
                  <a:lnTo>
                    <a:pt x="121" y="13"/>
                  </a:lnTo>
                  <a:lnTo>
                    <a:pt x="120" y="10"/>
                  </a:lnTo>
                  <a:lnTo>
                    <a:pt x="119" y="7"/>
                  </a:lnTo>
                  <a:lnTo>
                    <a:pt x="116" y="5"/>
                  </a:lnTo>
                  <a:lnTo>
                    <a:pt x="114" y="3"/>
                  </a:lnTo>
                  <a:lnTo>
                    <a:pt x="111" y="1"/>
                  </a:lnTo>
                  <a:lnTo>
                    <a:pt x="109" y="1"/>
                  </a:lnTo>
                  <a:lnTo>
                    <a:pt x="106" y="0"/>
                  </a:lnTo>
                  <a:lnTo>
                    <a:pt x="103" y="1"/>
                  </a:lnTo>
                  <a:lnTo>
                    <a:pt x="100" y="1"/>
                  </a:lnTo>
                  <a:lnTo>
                    <a:pt x="97" y="3"/>
                  </a:lnTo>
                  <a:lnTo>
                    <a:pt x="95" y="5"/>
                  </a:lnTo>
                  <a:lnTo>
                    <a:pt x="30" y="70"/>
                  </a:lnTo>
                  <a:lnTo>
                    <a:pt x="26" y="65"/>
                  </a:lnTo>
                  <a:lnTo>
                    <a:pt x="24" y="63"/>
                  </a:lnTo>
                  <a:lnTo>
                    <a:pt x="21" y="61"/>
                  </a:lnTo>
                  <a:lnTo>
                    <a:pt x="18" y="61"/>
                  </a:lnTo>
                  <a:lnTo>
                    <a:pt x="15" y="60"/>
                  </a:lnTo>
                  <a:lnTo>
                    <a:pt x="12" y="61"/>
                  </a:lnTo>
                  <a:lnTo>
                    <a:pt x="10" y="62"/>
                  </a:lnTo>
                  <a:lnTo>
                    <a:pt x="7" y="63"/>
                  </a:lnTo>
                  <a:lnTo>
                    <a:pt x="5" y="65"/>
                  </a:lnTo>
                  <a:lnTo>
                    <a:pt x="2" y="68"/>
                  </a:lnTo>
                  <a:lnTo>
                    <a:pt x="1" y="70"/>
                  </a:lnTo>
                  <a:lnTo>
                    <a:pt x="0" y="73"/>
                  </a:lnTo>
                  <a:lnTo>
                    <a:pt x="0" y="76"/>
                  </a:lnTo>
                  <a:lnTo>
                    <a:pt x="0" y="78"/>
                  </a:lnTo>
                  <a:lnTo>
                    <a:pt x="1" y="82"/>
                  </a:lnTo>
                  <a:lnTo>
                    <a:pt x="2" y="84"/>
                  </a:lnTo>
                  <a:lnTo>
                    <a:pt x="5" y="87"/>
                  </a:lnTo>
                  <a:lnTo>
                    <a:pt x="20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56">
              <a:extLst>
                <a:ext uri="{FF2B5EF4-FFF2-40B4-BE49-F238E27FC236}">
                  <a16:creationId xmlns="" xmlns:a16="http://schemas.microsoft.com/office/drawing/2014/main" id="{9480D3E3-87B7-4EC8-A42D-16AFD22A4CB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4900" y="1993900"/>
              <a:ext cx="68263" cy="219075"/>
            </a:xfrm>
            <a:custGeom>
              <a:avLst/>
              <a:gdLst>
                <a:gd name="T0" fmla="*/ 120 w 212"/>
                <a:gd name="T1" fmla="*/ 659 h 694"/>
                <a:gd name="T2" fmla="*/ 99 w 212"/>
                <a:gd name="T3" fmla="*/ 643 h 694"/>
                <a:gd name="T4" fmla="*/ 92 w 212"/>
                <a:gd name="T5" fmla="*/ 618 h 694"/>
                <a:gd name="T6" fmla="*/ 181 w 212"/>
                <a:gd name="T7" fmla="*/ 616 h 694"/>
                <a:gd name="T8" fmla="*/ 167 w 212"/>
                <a:gd name="T9" fmla="*/ 647 h 694"/>
                <a:gd name="T10" fmla="*/ 144 w 212"/>
                <a:gd name="T11" fmla="*/ 662 h 694"/>
                <a:gd name="T12" fmla="*/ 145 w 212"/>
                <a:gd name="T13" fmla="*/ 31 h 694"/>
                <a:gd name="T14" fmla="*/ 168 w 212"/>
                <a:gd name="T15" fmla="*/ 43 h 694"/>
                <a:gd name="T16" fmla="*/ 181 w 212"/>
                <a:gd name="T17" fmla="*/ 57 h 694"/>
                <a:gd name="T18" fmla="*/ 92 w 212"/>
                <a:gd name="T19" fmla="*/ 331 h 694"/>
                <a:gd name="T20" fmla="*/ 95 w 212"/>
                <a:gd name="T21" fmla="*/ 53 h 694"/>
                <a:gd name="T22" fmla="*/ 112 w 212"/>
                <a:gd name="T23" fmla="*/ 38 h 694"/>
                <a:gd name="T24" fmla="*/ 137 w 212"/>
                <a:gd name="T25" fmla="*/ 30 h 694"/>
                <a:gd name="T26" fmla="*/ 182 w 212"/>
                <a:gd name="T27" fmla="*/ 362 h 694"/>
                <a:gd name="T28" fmla="*/ 92 w 212"/>
                <a:gd name="T29" fmla="*/ 362 h 694"/>
                <a:gd name="T30" fmla="*/ 113 w 212"/>
                <a:gd name="T31" fmla="*/ 4 h 694"/>
                <a:gd name="T32" fmla="*/ 84 w 212"/>
                <a:gd name="T33" fmla="*/ 22 h 694"/>
                <a:gd name="T34" fmla="*/ 65 w 212"/>
                <a:gd name="T35" fmla="*/ 46 h 694"/>
                <a:gd name="T36" fmla="*/ 36 w 212"/>
                <a:gd name="T37" fmla="*/ 55 h 694"/>
                <a:gd name="T38" fmla="*/ 21 w 212"/>
                <a:gd name="T39" fmla="*/ 67 h 694"/>
                <a:gd name="T40" fmla="*/ 9 w 212"/>
                <a:gd name="T41" fmla="*/ 82 h 694"/>
                <a:gd name="T42" fmla="*/ 2 w 212"/>
                <a:gd name="T43" fmla="*/ 103 h 694"/>
                <a:gd name="T44" fmla="*/ 0 w 212"/>
                <a:gd name="T45" fmla="*/ 394 h 694"/>
                <a:gd name="T46" fmla="*/ 3 w 212"/>
                <a:gd name="T47" fmla="*/ 402 h 694"/>
                <a:gd name="T48" fmla="*/ 10 w 212"/>
                <a:gd name="T49" fmla="*/ 408 h 694"/>
                <a:gd name="T50" fmla="*/ 19 w 212"/>
                <a:gd name="T51" fmla="*/ 409 h 694"/>
                <a:gd name="T52" fmla="*/ 26 w 212"/>
                <a:gd name="T53" fmla="*/ 404 h 694"/>
                <a:gd name="T54" fmla="*/ 30 w 212"/>
                <a:gd name="T55" fmla="*/ 397 h 694"/>
                <a:gd name="T56" fmla="*/ 31 w 212"/>
                <a:gd name="T57" fmla="*/ 111 h 694"/>
                <a:gd name="T58" fmla="*/ 40 w 212"/>
                <a:gd name="T59" fmla="*/ 89 h 694"/>
                <a:gd name="T60" fmla="*/ 55 w 212"/>
                <a:gd name="T61" fmla="*/ 79 h 694"/>
                <a:gd name="T62" fmla="*/ 62 w 212"/>
                <a:gd name="T63" fmla="*/ 626 h 694"/>
                <a:gd name="T64" fmla="*/ 67 w 212"/>
                <a:gd name="T65" fmla="*/ 647 h 694"/>
                <a:gd name="T66" fmla="*/ 79 w 212"/>
                <a:gd name="T67" fmla="*/ 666 h 694"/>
                <a:gd name="T68" fmla="*/ 95 w 212"/>
                <a:gd name="T69" fmla="*/ 681 h 694"/>
                <a:gd name="T70" fmla="*/ 114 w 212"/>
                <a:gd name="T71" fmla="*/ 690 h 694"/>
                <a:gd name="T72" fmla="*/ 137 w 212"/>
                <a:gd name="T73" fmla="*/ 694 h 694"/>
                <a:gd name="T74" fmla="*/ 157 w 212"/>
                <a:gd name="T75" fmla="*/ 690 h 694"/>
                <a:gd name="T76" fmla="*/ 177 w 212"/>
                <a:gd name="T77" fmla="*/ 680 h 694"/>
                <a:gd name="T78" fmla="*/ 193 w 212"/>
                <a:gd name="T79" fmla="*/ 663 h 694"/>
                <a:gd name="T80" fmla="*/ 206 w 212"/>
                <a:gd name="T81" fmla="*/ 641 h 694"/>
                <a:gd name="T82" fmla="*/ 211 w 212"/>
                <a:gd name="T83" fmla="*/ 613 h 694"/>
                <a:gd name="T84" fmla="*/ 211 w 212"/>
                <a:gd name="T85" fmla="*/ 56 h 694"/>
                <a:gd name="T86" fmla="*/ 206 w 212"/>
                <a:gd name="T87" fmla="*/ 41 h 694"/>
                <a:gd name="T88" fmla="*/ 177 w 212"/>
                <a:gd name="T89" fmla="*/ 13 h 694"/>
                <a:gd name="T90" fmla="*/ 151 w 212"/>
                <a:gd name="T91" fmla="*/ 2 h 694"/>
                <a:gd name="T92" fmla="*/ 137 w 212"/>
                <a:gd name="T93" fmla="*/ 0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12" h="694">
                  <a:moveTo>
                    <a:pt x="137" y="663"/>
                  </a:moveTo>
                  <a:lnTo>
                    <a:pt x="128" y="662"/>
                  </a:lnTo>
                  <a:lnTo>
                    <a:pt x="120" y="659"/>
                  </a:lnTo>
                  <a:lnTo>
                    <a:pt x="112" y="655"/>
                  </a:lnTo>
                  <a:lnTo>
                    <a:pt x="105" y="650"/>
                  </a:lnTo>
                  <a:lnTo>
                    <a:pt x="99" y="643"/>
                  </a:lnTo>
                  <a:lnTo>
                    <a:pt x="95" y="636"/>
                  </a:lnTo>
                  <a:lnTo>
                    <a:pt x="92" y="627"/>
                  </a:lnTo>
                  <a:lnTo>
                    <a:pt x="92" y="618"/>
                  </a:lnTo>
                  <a:lnTo>
                    <a:pt x="92" y="603"/>
                  </a:lnTo>
                  <a:lnTo>
                    <a:pt x="182" y="603"/>
                  </a:lnTo>
                  <a:lnTo>
                    <a:pt x="181" y="616"/>
                  </a:lnTo>
                  <a:lnTo>
                    <a:pt x="178" y="628"/>
                  </a:lnTo>
                  <a:lnTo>
                    <a:pt x="173" y="639"/>
                  </a:lnTo>
                  <a:lnTo>
                    <a:pt x="167" y="647"/>
                  </a:lnTo>
                  <a:lnTo>
                    <a:pt x="161" y="654"/>
                  </a:lnTo>
                  <a:lnTo>
                    <a:pt x="153" y="659"/>
                  </a:lnTo>
                  <a:lnTo>
                    <a:pt x="144" y="662"/>
                  </a:lnTo>
                  <a:lnTo>
                    <a:pt x="137" y="663"/>
                  </a:lnTo>
                  <a:close/>
                  <a:moveTo>
                    <a:pt x="137" y="30"/>
                  </a:moveTo>
                  <a:lnTo>
                    <a:pt x="145" y="31"/>
                  </a:lnTo>
                  <a:lnTo>
                    <a:pt x="153" y="34"/>
                  </a:lnTo>
                  <a:lnTo>
                    <a:pt x="161" y="38"/>
                  </a:lnTo>
                  <a:lnTo>
                    <a:pt x="168" y="43"/>
                  </a:lnTo>
                  <a:lnTo>
                    <a:pt x="173" y="47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2" y="60"/>
                  </a:lnTo>
                  <a:lnTo>
                    <a:pt x="182" y="331"/>
                  </a:lnTo>
                  <a:lnTo>
                    <a:pt x="92" y="331"/>
                  </a:lnTo>
                  <a:lnTo>
                    <a:pt x="92" y="60"/>
                  </a:lnTo>
                  <a:lnTo>
                    <a:pt x="93" y="57"/>
                  </a:lnTo>
                  <a:lnTo>
                    <a:pt x="95" y="53"/>
                  </a:lnTo>
                  <a:lnTo>
                    <a:pt x="99" y="48"/>
                  </a:lnTo>
                  <a:lnTo>
                    <a:pt x="106" y="43"/>
                  </a:lnTo>
                  <a:lnTo>
                    <a:pt x="112" y="38"/>
                  </a:lnTo>
                  <a:lnTo>
                    <a:pt x="120" y="34"/>
                  </a:lnTo>
                  <a:lnTo>
                    <a:pt x="127" y="31"/>
                  </a:lnTo>
                  <a:lnTo>
                    <a:pt x="137" y="30"/>
                  </a:lnTo>
                  <a:lnTo>
                    <a:pt x="137" y="30"/>
                  </a:lnTo>
                  <a:close/>
                  <a:moveTo>
                    <a:pt x="92" y="362"/>
                  </a:moveTo>
                  <a:lnTo>
                    <a:pt x="182" y="362"/>
                  </a:lnTo>
                  <a:lnTo>
                    <a:pt x="182" y="573"/>
                  </a:lnTo>
                  <a:lnTo>
                    <a:pt x="92" y="573"/>
                  </a:lnTo>
                  <a:lnTo>
                    <a:pt x="92" y="362"/>
                  </a:lnTo>
                  <a:close/>
                  <a:moveTo>
                    <a:pt x="137" y="0"/>
                  </a:moveTo>
                  <a:lnTo>
                    <a:pt x="125" y="1"/>
                  </a:lnTo>
                  <a:lnTo>
                    <a:pt x="113" y="4"/>
                  </a:lnTo>
                  <a:lnTo>
                    <a:pt x="102" y="9"/>
                  </a:lnTo>
                  <a:lnTo>
                    <a:pt x="93" y="15"/>
                  </a:lnTo>
                  <a:lnTo>
                    <a:pt x="84" y="22"/>
                  </a:lnTo>
                  <a:lnTo>
                    <a:pt x="76" y="29"/>
                  </a:lnTo>
                  <a:lnTo>
                    <a:pt x="69" y="38"/>
                  </a:lnTo>
                  <a:lnTo>
                    <a:pt x="65" y="46"/>
                  </a:lnTo>
                  <a:lnTo>
                    <a:pt x="53" y="48"/>
                  </a:lnTo>
                  <a:lnTo>
                    <a:pt x="41" y="53"/>
                  </a:lnTo>
                  <a:lnTo>
                    <a:pt x="36" y="55"/>
                  </a:lnTo>
                  <a:lnTo>
                    <a:pt x="30" y="58"/>
                  </a:lnTo>
                  <a:lnTo>
                    <a:pt x="25" y="62"/>
                  </a:lnTo>
                  <a:lnTo>
                    <a:pt x="21" y="67"/>
                  </a:lnTo>
                  <a:lnTo>
                    <a:pt x="16" y="71"/>
                  </a:lnTo>
                  <a:lnTo>
                    <a:pt x="12" y="76"/>
                  </a:lnTo>
                  <a:lnTo>
                    <a:pt x="9" y="82"/>
                  </a:lnTo>
                  <a:lnTo>
                    <a:pt x="6" y="88"/>
                  </a:lnTo>
                  <a:lnTo>
                    <a:pt x="3" y="96"/>
                  </a:lnTo>
                  <a:lnTo>
                    <a:pt x="2" y="103"/>
                  </a:lnTo>
                  <a:lnTo>
                    <a:pt x="1" y="112"/>
                  </a:lnTo>
                  <a:lnTo>
                    <a:pt x="0" y="120"/>
                  </a:lnTo>
                  <a:lnTo>
                    <a:pt x="0" y="394"/>
                  </a:lnTo>
                  <a:lnTo>
                    <a:pt x="1" y="397"/>
                  </a:lnTo>
                  <a:lnTo>
                    <a:pt x="2" y="399"/>
                  </a:lnTo>
                  <a:lnTo>
                    <a:pt x="3" y="402"/>
                  </a:lnTo>
                  <a:lnTo>
                    <a:pt x="6" y="404"/>
                  </a:lnTo>
                  <a:lnTo>
                    <a:pt x="8" y="406"/>
                  </a:lnTo>
                  <a:lnTo>
                    <a:pt x="10" y="408"/>
                  </a:lnTo>
                  <a:lnTo>
                    <a:pt x="13" y="409"/>
                  </a:lnTo>
                  <a:lnTo>
                    <a:pt x="15" y="409"/>
                  </a:lnTo>
                  <a:lnTo>
                    <a:pt x="19" y="409"/>
                  </a:lnTo>
                  <a:lnTo>
                    <a:pt x="22" y="408"/>
                  </a:lnTo>
                  <a:lnTo>
                    <a:pt x="24" y="406"/>
                  </a:lnTo>
                  <a:lnTo>
                    <a:pt x="26" y="404"/>
                  </a:lnTo>
                  <a:lnTo>
                    <a:pt x="28" y="402"/>
                  </a:lnTo>
                  <a:lnTo>
                    <a:pt x="29" y="399"/>
                  </a:lnTo>
                  <a:lnTo>
                    <a:pt x="30" y="397"/>
                  </a:lnTo>
                  <a:lnTo>
                    <a:pt x="30" y="394"/>
                  </a:lnTo>
                  <a:lnTo>
                    <a:pt x="30" y="120"/>
                  </a:lnTo>
                  <a:lnTo>
                    <a:pt x="31" y="111"/>
                  </a:lnTo>
                  <a:lnTo>
                    <a:pt x="34" y="102"/>
                  </a:lnTo>
                  <a:lnTo>
                    <a:pt x="36" y="96"/>
                  </a:lnTo>
                  <a:lnTo>
                    <a:pt x="40" y="89"/>
                  </a:lnTo>
                  <a:lnTo>
                    <a:pt x="44" y="85"/>
                  </a:lnTo>
                  <a:lnTo>
                    <a:pt x="50" y="82"/>
                  </a:lnTo>
                  <a:lnTo>
                    <a:pt x="55" y="79"/>
                  </a:lnTo>
                  <a:lnTo>
                    <a:pt x="62" y="77"/>
                  </a:lnTo>
                  <a:lnTo>
                    <a:pt x="62" y="618"/>
                  </a:lnTo>
                  <a:lnTo>
                    <a:pt x="62" y="626"/>
                  </a:lnTo>
                  <a:lnTo>
                    <a:pt x="63" y="633"/>
                  </a:lnTo>
                  <a:lnTo>
                    <a:pt x="65" y="640"/>
                  </a:lnTo>
                  <a:lnTo>
                    <a:pt x="67" y="647"/>
                  </a:lnTo>
                  <a:lnTo>
                    <a:pt x="70" y="654"/>
                  </a:lnTo>
                  <a:lnTo>
                    <a:pt x="74" y="660"/>
                  </a:lnTo>
                  <a:lnTo>
                    <a:pt x="79" y="666"/>
                  </a:lnTo>
                  <a:lnTo>
                    <a:pt x="84" y="671"/>
                  </a:lnTo>
                  <a:lnTo>
                    <a:pt x="90" y="676"/>
                  </a:lnTo>
                  <a:lnTo>
                    <a:pt x="95" y="681"/>
                  </a:lnTo>
                  <a:lnTo>
                    <a:pt x="101" y="684"/>
                  </a:lnTo>
                  <a:lnTo>
                    <a:pt x="108" y="687"/>
                  </a:lnTo>
                  <a:lnTo>
                    <a:pt x="114" y="690"/>
                  </a:lnTo>
                  <a:lnTo>
                    <a:pt x="122" y="693"/>
                  </a:lnTo>
                  <a:lnTo>
                    <a:pt x="129" y="694"/>
                  </a:lnTo>
                  <a:lnTo>
                    <a:pt x="137" y="694"/>
                  </a:lnTo>
                  <a:lnTo>
                    <a:pt x="143" y="694"/>
                  </a:lnTo>
                  <a:lnTo>
                    <a:pt x="150" y="693"/>
                  </a:lnTo>
                  <a:lnTo>
                    <a:pt x="157" y="690"/>
                  </a:lnTo>
                  <a:lnTo>
                    <a:pt x="164" y="687"/>
                  </a:lnTo>
                  <a:lnTo>
                    <a:pt x="170" y="684"/>
                  </a:lnTo>
                  <a:lnTo>
                    <a:pt x="177" y="680"/>
                  </a:lnTo>
                  <a:lnTo>
                    <a:pt x="182" y="675"/>
                  </a:lnTo>
                  <a:lnTo>
                    <a:pt x="187" y="669"/>
                  </a:lnTo>
                  <a:lnTo>
                    <a:pt x="193" y="663"/>
                  </a:lnTo>
                  <a:lnTo>
                    <a:pt x="197" y="656"/>
                  </a:lnTo>
                  <a:lnTo>
                    <a:pt x="201" y="648"/>
                  </a:lnTo>
                  <a:lnTo>
                    <a:pt x="206" y="641"/>
                  </a:lnTo>
                  <a:lnTo>
                    <a:pt x="208" y="632"/>
                  </a:lnTo>
                  <a:lnTo>
                    <a:pt x="210" y="623"/>
                  </a:lnTo>
                  <a:lnTo>
                    <a:pt x="211" y="613"/>
                  </a:lnTo>
                  <a:lnTo>
                    <a:pt x="212" y="603"/>
                  </a:lnTo>
                  <a:lnTo>
                    <a:pt x="212" y="60"/>
                  </a:lnTo>
                  <a:lnTo>
                    <a:pt x="211" y="56"/>
                  </a:lnTo>
                  <a:lnTo>
                    <a:pt x="210" y="51"/>
                  </a:lnTo>
                  <a:lnTo>
                    <a:pt x="208" y="45"/>
                  </a:lnTo>
                  <a:lnTo>
                    <a:pt x="206" y="41"/>
                  </a:lnTo>
                  <a:lnTo>
                    <a:pt x="198" y="30"/>
                  </a:lnTo>
                  <a:lnTo>
                    <a:pt x="188" y="20"/>
                  </a:lnTo>
                  <a:lnTo>
                    <a:pt x="177" y="13"/>
                  </a:lnTo>
                  <a:lnTo>
                    <a:pt x="164" y="6"/>
                  </a:lnTo>
                  <a:lnTo>
                    <a:pt x="157" y="3"/>
                  </a:lnTo>
                  <a:lnTo>
                    <a:pt x="151" y="2"/>
                  </a:lnTo>
                  <a:lnTo>
                    <a:pt x="143" y="1"/>
                  </a:lnTo>
                  <a:lnTo>
                    <a:pt x="137" y="0"/>
                  </a:lnTo>
                  <a:lnTo>
                    <a:pt x="1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4" name="Group 273">
            <a:extLst>
              <a:ext uri="{FF2B5EF4-FFF2-40B4-BE49-F238E27FC236}">
                <a16:creationId xmlns="" xmlns:a16="http://schemas.microsoft.com/office/drawing/2014/main" id="{AA750804-EE60-472B-BCA6-6A5E16A67710}"/>
              </a:ext>
            </a:extLst>
          </p:cNvPr>
          <p:cNvGrpSpPr/>
          <p:nvPr/>
        </p:nvGrpSpPr>
        <p:grpSpPr>
          <a:xfrm>
            <a:off x="3750910" y="4451136"/>
            <a:ext cx="518230" cy="518230"/>
            <a:chOff x="4325938" y="5057775"/>
            <a:chExt cx="285750" cy="285750"/>
          </a:xfrm>
          <a:solidFill>
            <a:schemeClr val="bg1"/>
          </a:solidFill>
        </p:grpSpPr>
        <p:sp>
          <p:nvSpPr>
            <p:cNvPr id="275" name="Freeform 496">
              <a:extLst>
                <a:ext uri="{FF2B5EF4-FFF2-40B4-BE49-F238E27FC236}">
                  <a16:creationId xmlns="" xmlns:a16="http://schemas.microsoft.com/office/drawing/2014/main" id="{5EBCC227-14AA-4728-A9EA-67A955E0FE6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25938" y="5057775"/>
              <a:ext cx="285750" cy="285750"/>
            </a:xfrm>
            <a:custGeom>
              <a:avLst/>
              <a:gdLst>
                <a:gd name="T0" fmla="*/ 870 w 900"/>
                <a:gd name="T1" fmla="*/ 870 h 900"/>
                <a:gd name="T2" fmla="*/ 30 w 900"/>
                <a:gd name="T3" fmla="*/ 870 h 900"/>
                <a:gd name="T4" fmla="*/ 30 w 900"/>
                <a:gd name="T5" fmla="*/ 30 h 900"/>
                <a:gd name="T6" fmla="*/ 870 w 900"/>
                <a:gd name="T7" fmla="*/ 30 h 900"/>
                <a:gd name="T8" fmla="*/ 870 w 900"/>
                <a:gd name="T9" fmla="*/ 870 h 900"/>
                <a:gd name="T10" fmla="*/ 885 w 900"/>
                <a:gd name="T11" fmla="*/ 0 h 900"/>
                <a:gd name="T12" fmla="*/ 15 w 900"/>
                <a:gd name="T13" fmla="*/ 0 h 900"/>
                <a:gd name="T14" fmla="*/ 12 w 900"/>
                <a:gd name="T15" fmla="*/ 0 h 900"/>
                <a:gd name="T16" fmla="*/ 10 w 900"/>
                <a:gd name="T17" fmla="*/ 1 h 900"/>
                <a:gd name="T18" fmla="*/ 6 w 900"/>
                <a:gd name="T19" fmla="*/ 3 h 900"/>
                <a:gd name="T20" fmla="*/ 4 w 900"/>
                <a:gd name="T21" fmla="*/ 4 h 900"/>
                <a:gd name="T22" fmla="*/ 2 w 900"/>
                <a:gd name="T23" fmla="*/ 7 h 900"/>
                <a:gd name="T24" fmla="*/ 1 w 900"/>
                <a:gd name="T25" fmla="*/ 10 h 900"/>
                <a:gd name="T26" fmla="*/ 0 w 900"/>
                <a:gd name="T27" fmla="*/ 12 h 900"/>
                <a:gd name="T28" fmla="*/ 0 w 900"/>
                <a:gd name="T29" fmla="*/ 15 h 900"/>
                <a:gd name="T30" fmla="*/ 0 w 900"/>
                <a:gd name="T31" fmla="*/ 885 h 900"/>
                <a:gd name="T32" fmla="*/ 0 w 900"/>
                <a:gd name="T33" fmla="*/ 888 h 900"/>
                <a:gd name="T34" fmla="*/ 1 w 900"/>
                <a:gd name="T35" fmla="*/ 890 h 900"/>
                <a:gd name="T36" fmla="*/ 3 w 900"/>
                <a:gd name="T37" fmla="*/ 893 h 900"/>
                <a:gd name="T38" fmla="*/ 4 w 900"/>
                <a:gd name="T39" fmla="*/ 895 h 900"/>
                <a:gd name="T40" fmla="*/ 6 w 900"/>
                <a:gd name="T41" fmla="*/ 897 h 900"/>
                <a:gd name="T42" fmla="*/ 10 w 900"/>
                <a:gd name="T43" fmla="*/ 899 h 900"/>
                <a:gd name="T44" fmla="*/ 12 w 900"/>
                <a:gd name="T45" fmla="*/ 899 h 900"/>
                <a:gd name="T46" fmla="*/ 15 w 900"/>
                <a:gd name="T47" fmla="*/ 900 h 900"/>
                <a:gd name="T48" fmla="*/ 885 w 900"/>
                <a:gd name="T49" fmla="*/ 900 h 900"/>
                <a:gd name="T50" fmla="*/ 888 w 900"/>
                <a:gd name="T51" fmla="*/ 899 h 900"/>
                <a:gd name="T52" fmla="*/ 890 w 900"/>
                <a:gd name="T53" fmla="*/ 899 h 900"/>
                <a:gd name="T54" fmla="*/ 893 w 900"/>
                <a:gd name="T55" fmla="*/ 897 h 900"/>
                <a:gd name="T56" fmla="*/ 895 w 900"/>
                <a:gd name="T57" fmla="*/ 895 h 900"/>
                <a:gd name="T58" fmla="*/ 897 w 900"/>
                <a:gd name="T59" fmla="*/ 893 h 900"/>
                <a:gd name="T60" fmla="*/ 899 w 900"/>
                <a:gd name="T61" fmla="*/ 890 h 900"/>
                <a:gd name="T62" fmla="*/ 899 w 900"/>
                <a:gd name="T63" fmla="*/ 888 h 900"/>
                <a:gd name="T64" fmla="*/ 900 w 900"/>
                <a:gd name="T65" fmla="*/ 885 h 900"/>
                <a:gd name="T66" fmla="*/ 900 w 900"/>
                <a:gd name="T67" fmla="*/ 15 h 900"/>
                <a:gd name="T68" fmla="*/ 899 w 900"/>
                <a:gd name="T69" fmla="*/ 12 h 900"/>
                <a:gd name="T70" fmla="*/ 899 w 900"/>
                <a:gd name="T71" fmla="*/ 10 h 900"/>
                <a:gd name="T72" fmla="*/ 897 w 900"/>
                <a:gd name="T73" fmla="*/ 7 h 900"/>
                <a:gd name="T74" fmla="*/ 895 w 900"/>
                <a:gd name="T75" fmla="*/ 4 h 900"/>
                <a:gd name="T76" fmla="*/ 892 w 900"/>
                <a:gd name="T77" fmla="*/ 3 h 900"/>
                <a:gd name="T78" fmla="*/ 890 w 900"/>
                <a:gd name="T79" fmla="*/ 1 h 900"/>
                <a:gd name="T80" fmla="*/ 887 w 900"/>
                <a:gd name="T81" fmla="*/ 0 h 900"/>
                <a:gd name="T82" fmla="*/ 885 w 900"/>
                <a:gd name="T83" fmla="*/ 0 h 900"/>
                <a:gd name="T84" fmla="*/ 885 w 900"/>
                <a:gd name="T85" fmla="*/ 0 h 9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00" h="900">
                  <a:moveTo>
                    <a:pt x="870" y="870"/>
                  </a:moveTo>
                  <a:lnTo>
                    <a:pt x="30" y="870"/>
                  </a:lnTo>
                  <a:lnTo>
                    <a:pt x="30" y="30"/>
                  </a:lnTo>
                  <a:lnTo>
                    <a:pt x="870" y="30"/>
                  </a:lnTo>
                  <a:lnTo>
                    <a:pt x="870" y="870"/>
                  </a:lnTo>
                  <a:close/>
                  <a:moveTo>
                    <a:pt x="88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885"/>
                  </a:lnTo>
                  <a:lnTo>
                    <a:pt x="0" y="888"/>
                  </a:lnTo>
                  <a:lnTo>
                    <a:pt x="1" y="890"/>
                  </a:lnTo>
                  <a:lnTo>
                    <a:pt x="3" y="893"/>
                  </a:lnTo>
                  <a:lnTo>
                    <a:pt x="4" y="895"/>
                  </a:lnTo>
                  <a:lnTo>
                    <a:pt x="6" y="897"/>
                  </a:lnTo>
                  <a:lnTo>
                    <a:pt x="10" y="899"/>
                  </a:lnTo>
                  <a:lnTo>
                    <a:pt x="12" y="899"/>
                  </a:lnTo>
                  <a:lnTo>
                    <a:pt x="15" y="900"/>
                  </a:lnTo>
                  <a:lnTo>
                    <a:pt x="885" y="900"/>
                  </a:lnTo>
                  <a:lnTo>
                    <a:pt x="888" y="899"/>
                  </a:lnTo>
                  <a:lnTo>
                    <a:pt x="890" y="899"/>
                  </a:lnTo>
                  <a:lnTo>
                    <a:pt x="893" y="897"/>
                  </a:lnTo>
                  <a:lnTo>
                    <a:pt x="895" y="895"/>
                  </a:lnTo>
                  <a:lnTo>
                    <a:pt x="897" y="893"/>
                  </a:lnTo>
                  <a:lnTo>
                    <a:pt x="899" y="890"/>
                  </a:lnTo>
                  <a:lnTo>
                    <a:pt x="899" y="888"/>
                  </a:lnTo>
                  <a:lnTo>
                    <a:pt x="900" y="885"/>
                  </a:lnTo>
                  <a:lnTo>
                    <a:pt x="900" y="15"/>
                  </a:lnTo>
                  <a:lnTo>
                    <a:pt x="899" y="12"/>
                  </a:lnTo>
                  <a:lnTo>
                    <a:pt x="899" y="10"/>
                  </a:lnTo>
                  <a:lnTo>
                    <a:pt x="897" y="7"/>
                  </a:lnTo>
                  <a:lnTo>
                    <a:pt x="895" y="4"/>
                  </a:lnTo>
                  <a:lnTo>
                    <a:pt x="892" y="3"/>
                  </a:lnTo>
                  <a:lnTo>
                    <a:pt x="890" y="1"/>
                  </a:lnTo>
                  <a:lnTo>
                    <a:pt x="887" y="0"/>
                  </a:lnTo>
                  <a:lnTo>
                    <a:pt x="885" y="0"/>
                  </a:lnTo>
                  <a:lnTo>
                    <a:pt x="88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497">
              <a:extLst>
                <a:ext uri="{FF2B5EF4-FFF2-40B4-BE49-F238E27FC236}">
                  <a16:creationId xmlns="" xmlns:a16="http://schemas.microsoft.com/office/drawing/2014/main" id="{02031DD9-8C75-4F99-B97E-F9EED63D95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7863" y="5124450"/>
              <a:ext cx="85725" cy="9525"/>
            </a:xfrm>
            <a:custGeom>
              <a:avLst/>
              <a:gdLst>
                <a:gd name="T0" fmla="*/ 15 w 270"/>
                <a:gd name="T1" fmla="*/ 30 h 30"/>
                <a:gd name="T2" fmla="*/ 255 w 270"/>
                <a:gd name="T3" fmla="*/ 30 h 30"/>
                <a:gd name="T4" fmla="*/ 258 w 270"/>
                <a:gd name="T5" fmla="*/ 30 h 30"/>
                <a:gd name="T6" fmla="*/ 260 w 270"/>
                <a:gd name="T7" fmla="*/ 29 h 30"/>
                <a:gd name="T8" fmla="*/ 263 w 270"/>
                <a:gd name="T9" fmla="*/ 28 h 30"/>
                <a:gd name="T10" fmla="*/ 265 w 270"/>
                <a:gd name="T11" fmla="*/ 26 h 30"/>
                <a:gd name="T12" fmla="*/ 267 w 270"/>
                <a:gd name="T13" fmla="*/ 24 h 30"/>
                <a:gd name="T14" fmla="*/ 269 w 270"/>
                <a:gd name="T15" fmla="*/ 20 h 30"/>
                <a:gd name="T16" fmla="*/ 269 w 270"/>
                <a:gd name="T17" fmla="*/ 18 h 30"/>
                <a:gd name="T18" fmla="*/ 270 w 270"/>
                <a:gd name="T19" fmla="*/ 15 h 30"/>
                <a:gd name="T20" fmla="*/ 269 w 270"/>
                <a:gd name="T21" fmla="*/ 12 h 30"/>
                <a:gd name="T22" fmla="*/ 269 w 270"/>
                <a:gd name="T23" fmla="*/ 10 h 30"/>
                <a:gd name="T24" fmla="*/ 267 w 270"/>
                <a:gd name="T25" fmla="*/ 6 h 30"/>
                <a:gd name="T26" fmla="*/ 265 w 270"/>
                <a:gd name="T27" fmla="*/ 4 h 30"/>
                <a:gd name="T28" fmla="*/ 263 w 270"/>
                <a:gd name="T29" fmla="*/ 2 h 30"/>
                <a:gd name="T30" fmla="*/ 260 w 270"/>
                <a:gd name="T31" fmla="*/ 1 h 30"/>
                <a:gd name="T32" fmla="*/ 258 w 270"/>
                <a:gd name="T33" fmla="*/ 0 h 30"/>
                <a:gd name="T34" fmla="*/ 255 w 270"/>
                <a:gd name="T35" fmla="*/ 0 h 30"/>
                <a:gd name="T36" fmla="*/ 15 w 270"/>
                <a:gd name="T37" fmla="*/ 0 h 30"/>
                <a:gd name="T38" fmla="*/ 12 w 270"/>
                <a:gd name="T39" fmla="*/ 0 h 30"/>
                <a:gd name="T40" fmla="*/ 8 w 270"/>
                <a:gd name="T41" fmla="*/ 1 h 30"/>
                <a:gd name="T42" fmla="*/ 6 w 270"/>
                <a:gd name="T43" fmla="*/ 2 h 30"/>
                <a:gd name="T44" fmla="*/ 4 w 270"/>
                <a:gd name="T45" fmla="*/ 4 h 30"/>
                <a:gd name="T46" fmla="*/ 2 w 270"/>
                <a:gd name="T47" fmla="*/ 6 h 30"/>
                <a:gd name="T48" fmla="*/ 1 w 270"/>
                <a:gd name="T49" fmla="*/ 10 h 30"/>
                <a:gd name="T50" fmla="*/ 0 w 270"/>
                <a:gd name="T51" fmla="*/ 12 h 30"/>
                <a:gd name="T52" fmla="*/ 0 w 270"/>
                <a:gd name="T53" fmla="*/ 15 h 30"/>
                <a:gd name="T54" fmla="*/ 0 w 270"/>
                <a:gd name="T55" fmla="*/ 18 h 30"/>
                <a:gd name="T56" fmla="*/ 1 w 270"/>
                <a:gd name="T57" fmla="*/ 20 h 30"/>
                <a:gd name="T58" fmla="*/ 2 w 270"/>
                <a:gd name="T59" fmla="*/ 24 h 30"/>
                <a:gd name="T60" fmla="*/ 4 w 270"/>
                <a:gd name="T61" fmla="*/ 26 h 30"/>
                <a:gd name="T62" fmla="*/ 6 w 270"/>
                <a:gd name="T63" fmla="*/ 28 h 30"/>
                <a:gd name="T64" fmla="*/ 8 w 270"/>
                <a:gd name="T65" fmla="*/ 29 h 30"/>
                <a:gd name="T66" fmla="*/ 12 w 270"/>
                <a:gd name="T67" fmla="*/ 30 h 30"/>
                <a:gd name="T68" fmla="*/ 15 w 270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0" h="30">
                  <a:moveTo>
                    <a:pt x="15" y="30"/>
                  </a:moveTo>
                  <a:lnTo>
                    <a:pt x="255" y="30"/>
                  </a:lnTo>
                  <a:lnTo>
                    <a:pt x="258" y="30"/>
                  </a:lnTo>
                  <a:lnTo>
                    <a:pt x="260" y="29"/>
                  </a:lnTo>
                  <a:lnTo>
                    <a:pt x="263" y="28"/>
                  </a:lnTo>
                  <a:lnTo>
                    <a:pt x="265" y="26"/>
                  </a:lnTo>
                  <a:lnTo>
                    <a:pt x="267" y="24"/>
                  </a:lnTo>
                  <a:lnTo>
                    <a:pt x="269" y="20"/>
                  </a:lnTo>
                  <a:lnTo>
                    <a:pt x="269" y="18"/>
                  </a:lnTo>
                  <a:lnTo>
                    <a:pt x="270" y="15"/>
                  </a:lnTo>
                  <a:lnTo>
                    <a:pt x="269" y="12"/>
                  </a:lnTo>
                  <a:lnTo>
                    <a:pt x="269" y="10"/>
                  </a:lnTo>
                  <a:lnTo>
                    <a:pt x="267" y="6"/>
                  </a:lnTo>
                  <a:lnTo>
                    <a:pt x="265" y="4"/>
                  </a:lnTo>
                  <a:lnTo>
                    <a:pt x="263" y="2"/>
                  </a:lnTo>
                  <a:lnTo>
                    <a:pt x="260" y="1"/>
                  </a:lnTo>
                  <a:lnTo>
                    <a:pt x="258" y="0"/>
                  </a:lnTo>
                  <a:lnTo>
                    <a:pt x="25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498">
              <a:extLst>
                <a:ext uri="{FF2B5EF4-FFF2-40B4-BE49-F238E27FC236}">
                  <a16:creationId xmlns="" xmlns:a16="http://schemas.microsoft.com/office/drawing/2014/main" id="{2422EA03-36CE-464F-8252-906F5EC05E02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9763" y="5162550"/>
              <a:ext cx="123825" cy="9525"/>
            </a:xfrm>
            <a:custGeom>
              <a:avLst/>
              <a:gdLst>
                <a:gd name="T0" fmla="*/ 15 w 390"/>
                <a:gd name="T1" fmla="*/ 30 h 30"/>
                <a:gd name="T2" fmla="*/ 375 w 390"/>
                <a:gd name="T3" fmla="*/ 30 h 30"/>
                <a:gd name="T4" fmla="*/ 378 w 390"/>
                <a:gd name="T5" fmla="*/ 30 h 30"/>
                <a:gd name="T6" fmla="*/ 380 w 390"/>
                <a:gd name="T7" fmla="*/ 29 h 30"/>
                <a:gd name="T8" fmla="*/ 383 w 390"/>
                <a:gd name="T9" fmla="*/ 28 h 30"/>
                <a:gd name="T10" fmla="*/ 385 w 390"/>
                <a:gd name="T11" fmla="*/ 26 h 30"/>
                <a:gd name="T12" fmla="*/ 387 w 390"/>
                <a:gd name="T13" fmla="*/ 24 h 30"/>
                <a:gd name="T14" fmla="*/ 389 w 390"/>
                <a:gd name="T15" fmla="*/ 20 h 30"/>
                <a:gd name="T16" fmla="*/ 389 w 390"/>
                <a:gd name="T17" fmla="*/ 18 h 30"/>
                <a:gd name="T18" fmla="*/ 390 w 390"/>
                <a:gd name="T19" fmla="*/ 15 h 30"/>
                <a:gd name="T20" fmla="*/ 389 w 390"/>
                <a:gd name="T21" fmla="*/ 12 h 30"/>
                <a:gd name="T22" fmla="*/ 389 w 390"/>
                <a:gd name="T23" fmla="*/ 10 h 30"/>
                <a:gd name="T24" fmla="*/ 387 w 390"/>
                <a:gd name="T25" fmla="*/ 6 h 30"/>
                <a:gd name="T26" fmla="*/ 385 w 390"/>
                <a:gd name="T27" fmla="*/ 4 h 30"/>
                <a:gd name="T28" fmla="*/ 383 w 390"/>
                <a:gd name="T29" fmla="*/ 2 h 30"/>
                <a:gd name="T30" fmla="*/ 380 w 390"/>
                <a:gd name="T31" fmla="*/ 1 h 30"/>
                <a:gd name="T32" fmla="*/ 378 w 390"/>
                <a:gd name="T33" fmla="*/ 0 h 30"/>
                <a:gd name="T34" fmla="*/ 375 w 390"/>
                <a:gd name="T35" fmla="*/ 0 h 30"/>
                <a:gd name="T36" fmla="*/ 15 w 390"/>
                <a:gd name="T37" fmla="*/ 0 h 30"/>
                <a:gd name="T38" fmla="*/ 12 w 390"/>
                <a:gd name="T39" fmla="*/ 0 h 30"/>
                <a:gd name="T40" fmla="*/ 8 w 390"/>
                <a:gd name="T41" fmla="*/ 1 h 30"/>
                <a:gd name="T42" fmla="*/ 6 w 390"/>
                <a:gd name="T43" fmla="*/ 2 h 30"/>
                <a:gd name="T44" fmla="*/ 4 w 390"/>
                <a:gd name="T45" fmla="*/ 4 h 30"/>
                <a:gd name="T46" fmla="*/ 2 w 390"/>
                <a:gd name="T47" fmla="*/ 6 h 30"/>
                <a:gd name="T48" fmla="*/ 1 w 390"/>
                <a:gd name="T49" fmla="*/ 10 h 30"/>
                <a:gd name="T50" fmla="*/ 0 w 390"/>
                <a:gd name="T51" fmla="*/ 12 h 30"/>
                <a:gd name="T52" fmla="*/ 0 w 390"/>
                <a:gd name="T53" fmla="*/ 15 h 30"/>
                <a:gd name="T54" fmla="*/ 0 w 390"/>
                <a:gd name="T55" fmla="*/ 18 h 30"/>
                <a:gd name="T56" fmla="*/ 1 w 390"/>
                <a:gd name="T57" fmla="*/ 20 h 30"/>
                <a:gd name="T58" fmla="*/ 2 w 390"/>
                <a:gd name="T59" fmla="*/ 24 h 30"/>
                <a:gd name="T60" fmla="*/ 4 w 390"/>
                <a:gd name="T61" fmla="*/ 26 h 30"/>
                <a:gd name="T62" fmla="*/ 6 w 390"/>
                <a:gd name="T63" fmla="*/ 28 h 30"/>
                <a:gd name="T64" fmla="*/ 8 w 390"/>
                <a:gd name="T65" fmla="*/ 29 h 30"/>
                <a:gd name="T66" fmla="*/ 12 w 390"/>
                <a:gd name="T67" fmla="*/ 30 h 30"/>
                <a:gd name="T68" fmla="*/ 15 w 390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90" h="30">
                  <a:moveTo>
                    <a:pt x="15" y="30"/>
                  </a:moveTo>
                  <a:lnTo>
                    <a:pt x="375" y="30"/>
                  </a:lnTo>
                  <a:lnTo>
                    <a:pt x="378" y="30"/>
                  </a:lnTo>
                  <a:lnTo>
                    <a:pt x="380" y="29"/>
                  </a:lnTo>
                  <a:lnTo>
                    <a:pt x="383" y="28"/>
                  </a:lnTo>
                  <a:lnTo>
                    <a:pt x="385" y="26"/>
                  </a:lnTo>
                  <a:lnTo>
                    <a:pt x="387" y="24"/>
                  </a:lnTo>
                  <a:lnTo>
                    <a:pt x="389" y="20"/>
                  </a:lnTo>
                  <a:lnTo>
                    <a:pt x="389" y="18"/>
                  </a:lnTo>
                  <a:lnTo>
                    <a:pt x="390" y="15"/>
                  </a:lnTo>
                  <a:lnTo>
                    <a:pt x="389" y="12"/>
                  </a:lnTo>
                  <a:lnTo>
                    <a:pt x="389" y="10"/>
                  </a:lnTo>
                  <a:lnTo>
                    <a:pt x="387" y="6"/>
                  </a:lnTo>
                  <a:lnTo>
                    <a:pt x="385" y="4"/>
                  </a:lnTo>
                  <a:lnTo>
                    <a:pt x="383" y="2"/>
                  </a:lnTo>
                  <a:lnTo>
                    <a:pt x="380" y="1"/>
                  </a:lnTo>
                  <a:lnTo>
                    <a:pt x="378" y="0"/>
                  </a:lnTo>
                  <a:lnTo>
                    <a:pt x="37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499">
              <a:extLst>
                <a:ext uri="{FF2B5EF4-FFF2-40B4-BE49-F238E27FC236}">
                  <a16:creationId xmlns="" xmlns:a16="http://schemas.microsoft.com/office/drawing/2014/main" id="{2C58F03C-1A11-4D9A-BD64-A5A9AC1E2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9763" y="5200650"/>
              <a:ext cx="123825" cy="9525"/>
            </a:xfrm>
            <a:custGeom>
              <a:avLst/>
              <a:gdLst>
                <a:gd name="T0" fmla="*/ 15 w 390"/>
                <a:gd name="T1" fmla="*/ 30 h 30"/>
                <a:gd name="T2" fmla="*/ 375 w 390"/>
                <a:gd name="T3" fmla="*/ 30 h 30"/>
                <a:gd name="T4" fmla="*/ 378 w 390"/>
                <a:gd name="T5" fmla="*/ 30 h 30"/>
                <a:gd name="T6" fmla="*/ 380 w 390"/>
                <a:gd name="T7" fmla="*/ 29 h 30"/>
                <a:gd name="T8" fmla="*/ 383 w 390"/>
                <a:gd name="T9" fmla="*/ 28 h 30"/>
                <a:gd name="T10" fmla="*/ 385 w 390"/>
                <a:gd name="T11" fmla="*/ 26 h 30"/>
                <a:gd name="T12" fmla="*/ 387 w 390"/>
                <a:gd name="T13" fmla="*/ 23 h 30"/>
                <a:gd name="T14" fmla="*/ 389 w 390"/>
                <a:gd name="T15" fmla="*/ 20 h 30"/>
                <a:gd name="T16" fmla="*/ 389 w 390"/>
                <a:gd name="T17" fmla="*/ 18 h 30"/>
                <a:gd name="T18" fmla="*/ 390 w 390"/>
                <a:gd name="T19" fmla="*/ 15 h 30"/>
                <a:gd name="T20" fmla="*/ 389 w 390"/>
                <a:gd name="T21" fmla="*/ 12 h 30"/>
                <a:gd name="T22" fmla="*/ 389 w 390"/>
                <a:gd name="T23" fmla="*/ 10 h 30"/>
                <a:gd name="T24" fmla="*/ 387 w 390"/>
                <a:gd name="T25" fmla="*/ 6 h 30"/>
                <a:gd name="T26" fmla="*/ 385 w 390"/>
                <a:gd name="T27" fmla="*/ 4 h 30"/>
                <a:gd name="T28" fmla="*/ 383 w 390"/>
                <a:gd name="T29" fmla="*/ 2 h 30"/>
                <a:gd name="T30" fmla="*/ 380 w 390"/>
                <a:gd name="T31" fmla="*/ 1 h 30"/>
                <a:gd name="T32" fmla="*/ 378 w 390"/>
                <a:gd name="T33" fmla="*/ 0 h 30"/>
                <a:gd name="T34" fmla="*/ 375 w 390"/>
                <a:gd name="T35" fmla="*/ 0 h 30"/>
                <a:gd name="T36" fmla="*/ 15 w 390"/>
                <a:gd name="T37" fmla="*/ 0 h 30"/>
                <a:gd name="T38" fmla="*/ 12 w 390"/>
                <a:gd name="T39" fmla="*/ 0 h 30"/>
                <a:gd name="T40" fmla="*/ 8 w 390"/>
                <a:gd name="T41" fmla="*/ 1 h 30"/>
                <a:gd name="T42" fmla="*/ 6 w 390"/>
                <a:gd name="T43" fmla="*/ 2 h 30"/>
                <a:gd name="T44" fmla="*/ 4 w 390"/>
                <a:gd name="T45" fmla="*/ 4 h 30"/>
                <a:gd name="T46" fmla="*/ 2 w 390"/>
                <a:gd name="T47" fmla="*/ 6 h 30"/>
                <a:gd name="T48" fmla="*/ 1 w 390"/>
                <a:gd name="T49" fmla="*/ 10 h 30"/>
                <a:gd name="T50" fmla="*/ 0 w 390"/>
                <a:gd name="T51" fmla="*/ 12 h 30"/>
                <a:gd name="T52" fmla="*/ 0 w 390"/>
                <a:gd name="T53" fmla="*/ 15 h 30"/>
                <a:gd name="T54" fmla="*/ 0 w 390"/>
                <a:gd name="T55" fmla="*/ 18 h 30"/>
                <a:gd name="T56" fmla="*/ 1 w 390"/>
                <a:gd name="T57" fmla="*/ 20 h 30"/>
                <a:gd name="T58" fmla="*/ 2 w 390"/>
                <a:gd name="T59" fmla="*/ 23 h 30"/>
                <a:gd name="T60" fmla="*/ 4 w 390"/>
                <a:gd name="T61" fmla="*/ 26 h 30"/>
                <a:gd name="T62" fmla="*/ 6 w 390"/>
                <a:gd name="T63" fmla="*/ 28 h 30"/>
                <a:gd name="T64" fmla="*/ 8 w 390"/>
                <a:gd name="T65" fmla="*/ 29 h 30"/>
                <a:gd name="T66" fmla="*/ 12 w 390"/>
                <a:gd name="T67" fmla="*/ 30 h 30"/>
                <a:gd name="T68" fmla="*/ 15 w 390"/>
                <a:gd name="T69" fmla="*/ 30 h 30"/>
                <a:gd name="T70" fmla="*/ 15 w 390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0" h="30">
                  <a:moveTo>
                    <a:pt x="15" y="30"/>
                  </a:moveTo>
                  <a:lnTo>
                    <a:pt x="375" y="30"/>
                  </a:lnTo>
                  <a:lnTo>
                    <a:pt x="378" y="30"/>
                  </a:lnTo>
                  <a:lnTo>
                    <a:pt x="380" y="29"/>
                  </a:lnTo>
                  <a:lnTo>
                    <a:pt x="383" y="28"/>
                  </a:lnTo>
                  <a:lnTo>
                    <a:pt x="385" y="26"/>
                  </a:lnTo>
                  <a:lnTo>
                    <a:pt x="387" y="23"/>
                  </a:lnTo>
                  <a:lnTo>
                    <a:pt x="389" y="20"/>
                  </a:lnTo>
                  <a:lnTo>
                    <a:pt x="389" y="18"/>
                  </a:lnTo>
                  <a:lnTo>
                    <a:pt x="390" y="15"/>
                  </a:lnTo>
                  <a:lnTo>
                    <a:pt x="389" y="12"/>
                  </a:lnTo>
                  <a:lnTo>
                    <a:pt x="389" y="10"/>
                  </a:lnTo>
                  <a:lnTo>
                    <a:pt x="387" y="6"/>
                  </a:lnTo>
                  <a:lnTo>
                    <a:pt x="385" y="4"/>
                  </a:lnTo>
                  <a:lnTo>
                    <a:pt x="383" y="2"/>
                  </a:lnTo>
                  <a:lnTo>
                    <a:pt x="380" y="1"/>
                  </a:lnTo>
                  <a:lnTo>
                    <a:pt x="378" y="0"/>
                  </a:lnTo>
                  <a:lnTo>
                    <a:pt x="37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500">
              <a:extLst>
                <a:ext uri="{FF2B5EF4-FFF2-40B4-BE49-F238E27FC236}">
                  <a16:creationId xmlns="" xmlns:a16="http://schemas.microsoft.com/office/drawing/2014/main" id="{5CFEC974-9971-46B5-965C-6A072F45974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9763" y="5238750"/>
              <a:ext cx="123825" cy="9525"/>
            </a:xfrm>
            <a:custGeom>
              <a:avLst/>
              <a:gdLst>
                <a:gd name="T0" fmla="*/ 15 w 390"/>
                <a:gd name="T1" fmla="*/ 30 h 30"/>
                <a:gd name="T2" fmla="*/ 375 w 390"/>
                <a:gd name="T3" fmla="*/ 30 h 30"/>
                <a:gd name="T4" fmla="*/ 378 w 390"/>
                <a:gd name="T5" fmla="*/ 30 h 30"/>
                <a:gd name="T6" fmla="*/ 380 w 390"/>
                <a:gd name="T7" fmla="*/ 29 h 30"/>
                <a:gd name="T8" fmla="*/ 383 w 390"/>
                <a:gd name="T9" fmla="*/ 27 h 30"/>
                <a:gd name="T10" fmla="*/ 385 w 390"/>
                <a:gd name="T11" fmla="*/ 26 h 30"/>
                <a:gd name="T12" fmla="*/ 387 w 390"/>
                <a:gd name="T13" fmla="*/ 23 h 30"/>
                <a:gd name="T14" fmla="*/ 389 w 390"/>
                <a:gd name="T15" fmla="*/ 20 h 30"/>
                <a:gd name="T16" fmla="*/ 389 w 390"/>
                <a:gd name="T17" fmla="*/ 18 h 30"/>
                <a:gd name="T18" fmla="*/ 390 w 390"/>
                <a:gd name="T19" fmla="*/ 15 h 30"/>
                <a:gd name="T20" fmla="*/ 389 w 390"/>
                <a:gd name="T21" fmla="*/ 12 h 30"/>
                <a:gd name="T22" fmla="*/ 389 w 390"/>
                <a:gd name="T23" fmla="*/ 8 h 30"/>
                <a:gd name="T24" fmla="*/ 387 w 390"/>
                <a:gd name="T25" fmla="*/ 6 h 30"/>
                <a:gd name="T26" fmla="*/ 385 w 390"/>
                <a:gd name="T27" fmla="*/ 4 h 30"/>
                <a:gd name="T28" fmla="*/ 383 w 390"/>
                <a:gd name="T29" fmla="*/ 2 h 30"/>
                <a:gd name="T30" fmla="*/ 380 w 390"/>
                <a:gd name="T31" fmla="*/ 1 h 30"/>
                <a:gd name="T32" fmla="*/ 378 w 390"/>
                <a:gd name="T33" fmla="*/ 0 h 30"/>
                <a:gd name="T34" fmla="*/ 375 w 390"/>
                <a:gd name="T35" fmla="*/ 0 h 30"/>
                <a:gd name="T36" fmla="*/ 15 w 390"/>
                <a:gd name="T37" fmla="*/ 0 h 30"/>
                <a:gd name="T38" fmla="*/ 12 w 390"/>
                <a:gd name="T39" fmla="*/ 0 h 30"/>
                <a:gd name="T40" fmla="*/ 8 w 390"/>
                <a:gd name="T41" fmla="*/ 1 h 30"/>
                <a:gd name="T42" fmla="*/ 6 w 390"/>
                <a:gd name="T43" fmla="*/ 2 h 30"/>
                <a:gd name="T44" fmla="*/ 4 w 390"/>
                <a:gd name="T45" fmla="*/ 4 h 30"/>
                <a:gd name="T46" fmla="*/ 2 w 390"/>
                <a:gd name="T47" fmla="*/ 6 h 30"/>
                <a:gd name="T48" fmla="*/ 1 w 390"/>
                <a:gd name="T49" fmla="*/ 8 h 30"/>
                <a:gd name="T50" fmla="*/ 0 w 390"/>
                <a:gd name="T51" fmla="*/ 12 h 30"/>
                <a:gd name="T52" fmla="*/ 0 w 390"/>
                <a:gd name="T53" fmla="*/ 15 h 30"/>
                <a:gd name="T54" fmla="*/ 0 w 390"/>
                <a:gd name="T55" fmla="*/ 18 h 30"/>
                <a:gd name="T56" fmla="*/ 1 w 390"/>
                <a:gd name="T57" fmla="*/ 20 h 30"/>
                <a:gd name="T58" fmla="*/ 2 w 390"/>
                <a:gd name="T59" fmla="*/ 23 h 30"/>
                <a:gd name="T60" fmla="*/ 4 w 390"/>
                <a:gd name="T61" fmla="*/ 26 h 30"/>
                <a:gd name="T62" fmla="*/ 6 w 390"/>
                <a:gd name="T63" fmla="*/ 27 h 30"/>
                <a:gd name="T64" fmla="*/ 8 w 390"/>
                <a:gd name="T65" fmla="*/ 29 h 30"/>
                <a:gd name="T66" fmla="*/ 12 w 390"/>
                <a:gd name="T67" fmla="*/ 30 h 30"/>
                <a:gd name="T68" fmla="*/ 15 w 390"/>
                <a:gd name="T69" fmla="*/ 30 h 30"/>
                <a:gd name="T70" fmla="*/ 15 w 390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0" h="30">
                  <a:moveTo>
                    <a:pt x="15" y="30"/>
                  </a:moveTo>
                  <a:lnTo>
                    <a:pt x="375" y="30"/>
                  </a:lnTo>
                  <a:lnTo>
                    <a:pt x="378" y="30"/>
                  </a:lnTo>
                  <a:lnTo>
                    <a:pt x="380" y="29"/>
                  </a:lnTo>
                  <a:lnTo>
                    <a:pt x="383" y="27"/>
                  </a:lnTo>
                  <a:lnTo>
                    <a:pt x="385" y="26"/>
                  </a:lnTo>
                  <a:lnTo>
                    <a:pt x="387" y="23"/>
                  </a:lnTo>
                  <a:lnTo>
                    <a:pt x="389" y="20"/>
                  </a:lnTo>
                  <a:lnTo>
                    <a:pt x="389" y="18"/>
                  </a:lnTo>
                  <a:lnTo>
                    <a:pt x="390" y="15"/>
                  </a:lnTo>
                  <a:lnTo>
                    <a:pt x="389" y="12"/>
                  </a:lnTo>
                  <a:lnTo>
                    <a:pt x="389" y="8"/>
                  </a:lnTo>
                  <a:lnTo>
                    <a:pt x="387" y="6"/>
                  </a:lnTo>
                  <a:lnTo>
                    <a:pt x="385" y="4"/>
                  </a:lnTo>
                  <a:lnTo>
                    <a:pt x="383" y="2"/>
                  </a:lnTo>
                  <a:lnTo>
                    <a:pt x="380" y="1"/>
                  </a:lnTo>
                  <a:lnTo>
                    <a:pt x="378" y="0"/>
                  </a:lnTo>
                  <a:lnTo>
                    <a:pt x="37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501">
              <a:extLst>
                <a:ext uri="{FF2B5EF4-FFF2-40B4-BE49-F238E27FC236}">
                  <a16:creationId xmlns="" xmlns:a16="http://schemas.microsoft.com/office/drawing/2014/main" id="{46905D68-BDCE-4B05-9F0B-4D26E72E7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4449763" y="5276850"/>
              <a:ext cx="85725" cy="9525"/>
            </a:xfrm>
            <a:custGeom>
              <a:avLst/>
              <a:gdLst>
                <a:gd name="T0" fmla="*/ 15 w 270"/>
                <a:gd name="T1" fmla="*/ 30 h 30"/>
                <a:gd name="T2" fmla="*/ 255 w 270"/>
                <a:gd name="T3" fmla="*/ 30 h 30"/>
                <a:gd name="T4" fmla="*/ 258 w 270"/>
                <a:gd name="T5" fmla="*/ 30 h 30"/>
                <a:gd name="T6" fmla="*/ 260 w 270"/>
                <a:gd name="T7" fmla="*/ 29 h 30"/>
                <a:gd name="T8" fmla="*/ 263 w 270"/>
                <a:gd name="T9" fmla="*/ 27 h 30"/>
                <a:gd name="T10" fmla="*/ 265 w 270"/>
                <a:gd name="T11" fmla="*/ 26 h 30"/>
                <a:gd name="T12" fmla="*/ 267 w 270"/>
                <a:gd name="T13" fmla="*/ 23 h 30"/>
                <a:gd name="T14" fmla="*/ 269 w 270"/>
                <a:gd name="T15" fmla="*/ 20 h 30"/>
                <a:gd name="T16" fmla="*/ 269 w 270"/>
                <a:gd name="T17" fmla="*/ 18 h 30"/>
                <a:gd name="T18" fmla="*/ 270 w 270"/>
                <a:gd name="T19" fmla="*/ 15 h 30"/>
                <a:gd name="T20" fmla="*/ 269 w 270"/>
                <a:gd name="T21" fmla="*/ 12 h 30"/>
                <a:gd name="T22" fmla="*/ 269 w 270"/>
                <a:gd name="T23" fmla="*/ 8 h 30"/>
                <a:gd name="T24" fmla="*/ 267 w 270"/>
                <a:gd name="T25" fmla="*/ 6 h 30"/>
                <a:gd name="T26" fmla="*/ 265 w 270"/>
                <a:gd name="T27" fmla="*/ 4 h 30"/>
                <a:gd name="T28" fmla="*/ 263 w 270"/>
                <a:gd name="T29" fmla="*/ 2 h 30"/>
                <a:gd name="T30" fmla="*/ 260 w 270"/>
                <a:gd name="T31" fmla="*/ 1 h 30"/>
                <a:gd name="T32" fmla="*/ 258 w 270"/>
                <a:gd name="T33" fmla="*/ 0 h 30"/>
                <a:gd name="T34" fmla="*/ 255 w 270"/>
                <a:gd name="T35" fmla="*/ 0 h 30"/>
                <a:gd name="T36" fmla="*/ 15 w 270"/>
                <a:gd name="T37" fmla="*/ 0 h 30"/>
                <a:gd name="T38" fmla="*/ 12 w 270"/>
                <a:gd name="T39" fmla="*/ 0 h 30"/>
                <a:gd name="T40" fmla="*/ 8 w 270"/>
                <a:gd name="T41" fmla="*/ 1 h 30"/>
                <a:gd name="T42" fmla="*/ 6 w 270"/>
                <a:gd name="T43" fmla="*/ 2 h 30"/>
                <a:gd name="T44" fmla="*/ 4 w 270"/>
                <a:gd name="T45" fmla="*/ 4 h 30"/>
                <a:gd name="T46" fmla="*/ 2 w 270"/>
                <a:gd name="T47" fmla="*/ 6 h 30"/>
                <a:gd name="T48" fmla="*/ 1 w 270"/>
                <a:gd name="T49" fmla="*/ 8 h 30"/>
                <a:gd name="T50" fmla="*/ 0 w 270"/>
                <a:gd name="T51" fmla="*/ 12 h 30"/>
                <a:gd name="T52" fmla="*/ 0 w 270"/>
                <a:gd name="T53" fmla="*/ 15 h 30"/>
                <a:gd name="T54" fmla="*/ 0 w 270"/>
                <a:gd name="T55" fmla="*/ 18 h 30"/>
                <a:gd name="T56" fmla="*/ 1 w 270"/>
                <a:gd name="T57" fmla="*/ 20 h 30"/>
                <a:gd name="T58" fmla="*/ 2 w 270"/>
                <a:gd name="T59" fmla="*/ 23 h 30"/>
                <a:gd name="T60" fmla="*/ 4 w 270"/>
                <a:gd name="T61" fmla="*/ 26 h 30"/>
                <a:gd name="T62" fmla="*/ 6 w 270"/>
                <a:gd name="T63" fmla="*/ 27 h 30"/>
                <a:gd name="T64" fmla="*/ 8 w 270"/>
                <a:gd name="T65" fmla="*/ 29 h 30"/>
                <a:gd name="T66" fmla="*/ 12 w 270"/>
                <a:gd name="T67" fmla="*/ 30 h 30"/>
                <a:gd name="T68" fmla="*/ 15 w 270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70" h="30">
                  <a:moveTo>
                    <a:pt x="15" y="30"/>
                  </a:moveTo>
                  <a:lnTo>
                    <a:pt x="255" y="30"/>
                  </a:lnTo>
                  <a:lnTo>
                    <a:pt x="258" y="30"/>
                  </a:lnTo>
                  <a:lnTo>
                    <a:pt x="260" y="29"/>
                  </a:lnTo>
                  <a:lnTo>
                    <a:pt x="263" y="27"/>
                  </a:lnTo>
                  <a:lnTo>
                    <a:pt x="265" y="26"/>
                  </a:lnTo>
                  <a:lnTo>
                    <a:pt x="267" y="23"/>
                  </a:lnTo>
                  <a:lnTo>
                    <a:pt x="269" y="20"/>
                  </a:lnTo>
                  <a:lnTo>
                    <a:pt x="269" y="18"/>
                  </a:lnTo>
                  <a:lnTo>
                    <a:pt x="270" y="15"/>
                  </a:lnTo>
                  <a:lnTo>
                    <a:pt x="269" y="12"/>
                  </a:lnTo>
                  <a:lnTo>
                    <a:pt x="269" y="8"/>
                  </a:lnTo>
                  <a:lnTo>
                    <a:pt x="267" y="6"/>
                  </a:lnTo>
                  <a:lnTo>
                    <a:pt x="265" y="4"/>
                  </a:lnTo>
                  <a:lnTo>
                    <a:pt x="263" y="2"/>
                  </a:lnTo>
                  <a:lnTo>
                    <a:pt x="260" y="1"/>
                  </a:lnTo>
                  <a:lnTo>
                    <a:pt x="258" y="0"/>
                  </a:lnTo>
                  <a:lnTo>
                    <a:pt x="25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502">
              <a:extLst>
                <a:ext uri="{FF2B5EF4-FFF2-40B4-BE49-F238E27FC236}">
                  <a16:creationId xmlns="" xmlns:a16="http://schemas.microsoft.com/office/drawing/2014/main" id="{8B4B0A23-6135-458C-8FDA-57093534DA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4038" y="5095875"/>
              <a:ext cx="57150" cy="57150"/>
            </a:xfrm>
            <a:custGeom>
              <a:avLst/>
              <a:gdLst>
                <a:gd name="T0" fmla="*/ 30 w 180"/>
                <a:gd name="T1" fmla="*/ 30 h 180"/>
                <a:gd name="T2" fmla="*/ 150 w 180"/>
                <a:gd name="T3" fmla="*/ 30 h 180"/>
                <a:gd name="T4" fmla="*/ 150 w 180"/>
                <a:gd name="T5" fmla="*/ 150 h 180"/>
                <a:gd name="T6" fmla="*/ 30 w 180"/>
                <a:gd name="T7" fmla="*/ 150 h 180"/>
                <a:gd name="T8" fmla="*/ 30 w 180"/>
                <a:gd name="T9" fmla="*/ 30 h 180"/>
                <a:gd name="T10" fmla="*/ 15 w 180"/>
                <a:gd name="T11" fmla="*/ 180 h 180"/>
                <a:gd name="T12" fmla="*/ 165 w 180"/>
                <a:gd name="T13" fmla="*/ 180 h 180"/>
                <a:gd name="T14" fmla="*/ 168 w 180"/>
                <a:gd name="T15" fmla="*/ 180 h 180"/>
                <a:gd name="T16" fmla="*/ 170 w 180"/>
                <a:gd name="T17" fmla="*/ 179 h 180"/>
                <a:gd name="T18" fmla="*/ 173 w 180"/>
                <a:gd name="T19" fmla="*/ 178 h 180"/>
                <a:gd name="T20" fmla="*/ 176 w 180"/>
                <a:gd name="T21" fmla="*/ 176 h 180"/>
                <a:gd name="T22" fmla="*/ 178 w 180"/>
                <a:gd name="T23" fmla="*/ 174 h 180"/>
                <a:gd name="T24" fmla="*/ 179 w 180"/>
                <a:gd name="T25" fmla="*/ 170 h 180"/>
                <a:gd name="T26" fmla="*/ 180 w 180"/>
                <a:gd name="T27" fmla="*/ 168 h 180"/>
                <a:gd name="T28" fmla="*/ 180 w 180"/>
                <a:gd name="T29" fmla="*/ 165 h 180"/>
                <a:gd name="T30" fmla="*/ 180 w 180"/>
                <a:gd name="T31" fmla="*/ 15 h 180"/>
                <a:gd name="T32" fmla="*/ 180 w 180"/>
                <a:gd name="T33" fmla="*/ 12 h 180"/>
                <a:gd name="T34" fmla="*/ 179 w 180"/>
                <a:gd name="T35" fmla="*/ 10 h 180"/>
                <a:gd name="T36" fmla="*/ 178 w 180"/>
                <a:gd name="T37" fmla="*/ 6 h 180"/>
                <a:gd name="T38" fmla="*/ 176 w 180"/>
                <a:gd name="T39" fmla="*/ 4 h 180"/>
                <a:gd name="T40" fmla="*/ 173 w 180"/>
                <a:gd name="T41" fmla="*/ 3 h 180"/>
                <a:gd name="T42" fmla="*/ 170 w 180"/>
                <a:gd name="T43" fmla="*/ 1 h 180"/>
                <a:gd name="T44" fmla="*/ 168 w 180"/>
                <a:gd name="T45" fmla="*/ 0 h 180"/>
                <a:gd name="T46" fmla="*/ 165 w 180"/>
                <a:gd name="T47" fmla="*/ 0 h 180"/>
                <a:gd name="T48" fmla="*/ 15 w 180"/>
                <a:gd name="T49" fmla="*/ 0 h 180"/>
                <a:gd name="T50" fmla="*/ 12 w 180"/>
                <a:gd name="T51" fmla="*/ 0 h 180"/>
                <a:gd name="T52" fmla="*/ 10 w 180"/>
                <a:gd name="T53" fmla="*/ 1 h 180"/>
                <a:gd name="T54" fmla="*/ 6 w 180"/>
                <a:gd name="T55" fmla="*/ 2 h 180"/>
                <a:gd name="T56" fmla="*/ 4 w 180"/>
                <a:gd name="T57" fmla="*/ 4 h 180"/>
                <a:gd name="T58" fmla="*/ 2 w 180"/>
                <a:gd name="T59" fmla="*/ 6 h 180"/>
                <a:gd name="T60" fmla="*/ 1 w 180"/>
                <a:gd name="T61" fmla="*/ 10 h 180"/>
                <a:gd name="T62" fmla="*/ 0 w 180"/>
                <a:gd name="T63" fmla="*/ 12 h 180"/>
                <a:gd name="T64" fmla="*/ 0 w 180"/>
                <a:gd name="T65" fmla="*/ 15 h 180"/>
                <a:gd name="T66" fmla="*/ 0 w 180"/>
                <a:gd name="T67" fmla="*/ 165 h 180"/>
                <a:gd name="T68" fmla="*/ 0 w 180"/>
                <a:gd name="T69" fmla="*/ 168 h 180"/>
                <a:gd name="T70" fmla="*/ 1 w 180"/>
                <a:gd name="T71" fmla="*/ 170 h 180"/>
                <a:gd name="T72" fmla="*/ 2 w 180"/>
                <a:gd name="T73" fmla="*/ 174 h 180"/>
                <a:gd name="T74" fmla="*/ 4 w 180"/>
                <a:gd name="T75" fmla="*/ 176 h 180"/>
                <a:gd name="T76" fmla="*/ 6 w 180"/>
                <a:gd name="T77" fmla="*/ 178 h 180"/>
                <a:gd name="T78" fmla="*/ 10 w 180"/>
                <a:gd name="T79" fmla="*/ 179 h 180"/>
                <a:gd name="T80" fmla="*/ 12 w 180"/>
                <a:gd name="T81" fmla="*/ 180 h 180"/>
                <a:gd name="T82" fmla="*/ 15 w 180"/>
                <a:gd name="T83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0" h="180">
                  <a:moveTo>
                    <a:pt x="30" y="30"/>
                  </a:moveTo>
                  <a:lnTo>
                    <a:pt x="150" y="30"/>
                  </a:lnTo>
                  <a:lnTo>
                    <a:pt x="150" y="150"/>
                  </a:lnTo>
                  <a:lnTo>
                    <a:pt x="30" y="150"/>
                  </a:lnTo>
                  <a:lnTo>
                    <a:pt x="30" y="30"/>
                  </a:lnTo>
                  <a:close/>
                  <a:moveTo>
                    <a:pt x="15" y="180"/>
                  </a:moveTo>
                  <a:lnTo>
                    <a:pt x="165" y="180"/>
                  </a:lnTo>
                  <a:lnTo>
                    <a:pt x="168" y="180"/>
                  </a:lnTo>
                  <a:lnTo>
                    <a:pt x="170" y="179"/>
                  </a:lnTo>
                  <a:lnTo>
                    <a:pt x="173" y="178"/>
                  </a:lnTo>
                  <a:lnTo>
                    <a:pt x="176" y="176"/>
                  </a:lnTo>
                  <a:lnTo>
                    <a:pt x="178" y="174"/>
                  </a:lnTo>
                  <a:lnTo>
                    <a:pt x="179" y="170"/>
                  </a:lnTo>
                  <a:lnTo>
                    <a:pt x="180" y="168"/>
                  </a:lnTo>
                  <a:lnTo>
                    <a:pt x="180" y="165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10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3" y="3"/>
                  </a:lnTo>
                  <a:lnTo>
                    <a:pt x="170" y="1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65"/>
                  </a:lnTo>
                  <a:lnTo>
                    <a:pt x="0" y="168"/>
                  </a:lnTo>
                  <a:lnTo>
                    <a:pt x="1" y="170"/>
                  </a:lnTo>
                  <a:lnTo>
                    <a:pt x="2" y="174"/>
                  </a:lnTo>
                  <a:lnTo>
                    <a:pt x="4" y="176"/>
                  </a:lnTo>
                  <a:lnTo>
                    <a:pt x="6" y="178"/>
                  </a:lnTo>
                  <a:lnTo>
                    <a:pt x="10" y="179"/>
                  </a:lnTo>
                  <a:lnTo>
                    <a:pt x="12" y="180"/>
                  </a:lnTo>
                  <a:lnTo>
                    <a:pt x="15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503">
              <a:extLst>
                <a:ext uri="{FF2B5EF4-FFF2-40B4-BE49-F238E27FC236}">
                  <a16:creationId xmlns="" xmlns:a16="http://schemas.microsoft.com/office/drawing/2014/main" id="{38C0EFC3-A7F5-47FA-8A80-D7ED437A65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4038" y="5172075"/>
              <a:ext cx="57150" cy="57150"/>
            </a:xfrm>
            <a:custGeom>
              <a:avLst/>
              <a:gdLst>
                <a:gd name="T0" fmla="*/ 30 w 180"/>
                <a:gd name="T1" fmla="*/ 30 h 180"/>
                <a:gd name="T2" fmla="*/ 150 w 180"/>
                <a:gd name="T3" fmla="*/ 30 h 180"/>
                <a:gd name="T4" fmla="*/ 150 w 180"/>
                <a:gd name="T5" fmla="*/ 150 h 180"/>
                <a:gd name="T6" fmla="*/ 30 w 180"/>
                <a:gd name="T7" fmla="*/ 150 h 180"/>
                <a:gd name="T8" fmla="*/ 30 w 180"/>
                <a:gd name="T9" fmla="*/ 30 h 180"/>
                <a:gd name="T10" fmla="*/ 15 w 180"/>
                <a:gd name="T11" fmla="*/ 180 h 180"/>
                <a:gd name="T12" fmla="*/ 165 w 180"/>
                <a:gd name="T13" fmla="*/ 180 h 180"/>
                <a:gd name="T14" fmla="*/ 168 w 180"/>
                <a:gd name="T15" fmla="*/ 180 h 180"/>
                <a:gd name="T16" fmla="*/ 170 w 180"/>
                <a:gd name="T17" fmla="*/ 179 h 180"/>
                <a:gd name="T18" fmla="*/ 173 w 180"/>
                <a:gd name="T19" fmla="*/ 177 h 180"/>
                <a:gd name="T20" fmla="*/ 176 w 180"/>
                <a:gd name="T21" fmla="*/ 176 h 180"/>
                <a:gd name="T22" fmla="*/ 178 w 180"/>
                <a:gd name="T23" fmla="*/ 173 h 180"/>
                <a:gd name="T24" fmla="*/ 179 w 180"/>
                <a:gd name="T25" fmla="*/ 170 h 180"/>
                <a:gd name="T26" fmla="*/ 180 w 180"/>
                <a:gd name="T27" fmla="*/ 168 h 180"/>
                <a:gd name="T28" fmla="*/ 180 w 180"/>
                <a:gd name="T29" fmla="*/ 165 h 180"/>
                <a:gd name="T30" fmla="*/ 180 w 180"/>
                <a:gd name="T31" fmla="*/ 15 h 180"/>
                <a:gd name="T32" fmla="*/ 180 w 180"/>
                <a:gd name="T33" fmla="*/ 12 h 180"/>
                <a:gd name="T34" fmla="*/ 179 w 180"/>
                <a:gd name="T35" fmla="*/ 10 h 180"/>
                <a:gd name="T36" fmla="*/ 178 w 180"/>
                <a:gd name="T37" fmla="*/ 6 h 180"/>
                <a:gd name="T38" fmla="*/ 176 w 180"/>
                <a:gd name="T39" fmla="*/ 4 h 180"/>
                <a:gd name="T40" fmla="*/ 173 w 180"/>
                <a:gd name="T41" fmla="*/ 2 h 180"/>
                <a:gd name="T42" fmla="*/ 170 w 180"/>
                <a:gd name="T43" fmla="*/ 1 h 180"/>
                <a:gd name="T44" fmla="*/ 168 w 180"/>
                <a:gd name="T45" fmla="*/ 0 h 180"/>
                <a:gd name="T46" fmla="*/ 165 w 180"/>
                <a:gd name="T47" fmla="*/ 0 h 180"/>
                <a:gd name="T48" fmla="*/ 15 w 180"/>
                <a:gd name="T49" fmla="*/ 0 h 180"/>
                <a:gd name="T50" fmla="*/ 12 w 180"/>
                <a:gd name="T51" fmla="*/ 0 h 180"/>
                <a:gd name="T52" fmla="*/ 10 w 180"/>
                <a:gd name="T53" fmla="*/ 1 h 180"/>
                <a:gd name="T54" fmla="*/ 6 w 180"/>
                <a:gd name="T55" fmla="*/ 2 h 180"/>
                <a:gd name="T56" fmla="*/ 4 w 180"/>
                <a:gd name="T57" fmla="*/ 4 h 180"/>
                <a:gd name="T58" fmla="*/ 2 w 180"/>
                <a:gd name="T59" fmla="*/ 6 h 180"/>
                <a:gd name="T60" fmla="*/ 1 w 180"/>
                <a:gd name="T61" fmla="*/ 10 h 180"/>
                <a:gd name="T62" fmla="*/ 0 w 180"/>
                <a:gd name="T63" fmla="*/ 12 h 180"/>
                <a:gd name="T64" fmla="*/ 0 w 180"/>
                <a:gd name="T65" fmla="*/ 15 h 180"/>
                <a:gd name="T66" fmla="*/ 0 w 180"/>
                <a:gd name="T67" fmla="*/ 165 h 180"/>
                <a:gd name="T68" fmla="*/ 0 w 180"/>
                <a:gd name="T69" fmla="*/ 168 h 180"/>
                <a:gd name="T70" fmla="*/ 1 w 180"/>
                <a:gd name="T71" fmla="*/ 170 h 180"/>
                <a:gd name="T72" fmla="*/ 2 w 180"/>
                <a:gd name="T73" fmla="*/ 173 h 180"/>
                <a:gd name="T74" fmla="*/ 4 w 180"/>
                <a:gd name="T75" fmla="*/ 176 h 180"/>
                <a:gd name="T76" fmla="*/ 6 w 180"/>
                <a:gd name="T77" fmla="*/ 178 h 180"/>
                <a:gd name="T78" fmla="*/ 10 w 180"/>
                <a:gd name="T79" fmla="*/ 179 h 180"/>
                <a:gd name="T80" fmla="*/ 12 w 180"/>
                <a:gd name="T81" fmla="*/ 180 h 180"/>
                <a:gd name="T82" fmla="*/ 15 w 180"/>
                <a:gd name="T83" fmla="*/ 180 h 180"/>
                <a:gd name="T84" fmla="*/ 15 w 180"/>
                <a:gd name="T85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80" h="180">
                  <a:moveTo>
                    <a:pt x="30" y="30"/>
                  </a:moveTo>
                  <a:lnTo>
                    <a:pt x="150" y="30"/>
                  </a:lnTo>
                  <a:lnTo>
                    <a:pt x="150" y="150"/>
                  </a:lnTo>
                  <a:lnTo>
                    <a:pt x="30" y="150"/>
                  </a:lnTo>
                  <a:lnTo>
                    <a:pt x="30" y="30"/>
                  </a:lnTo>
                  <a:close/>
                  <a:moveTo>
                    <a:pt x="15" y="180"/>
                  </a:moveTo>
                  <a:lnTo>
                    <a:pt x="165" y="180"/>
                  </a:lnTo>
                  <a:lnTo>
                    <a:pt x="168" y="180"/>
                  </a:lnTo>
                  <a:lnTo>
                    <a:pt x="170" y="179"/>
                  </a:lnTo>
                  <a:lnTo>
                    <a:pt x="173" y="177"/>
                  </a:lnTo>
                  <a:lnTo>
                    <a:pt x="176" y="176"/>
                  </a:lnTo>
                  <a:lnTo>
                    <a:pt x="178" y="173"/>
                  </a:lnTo>
                  <a:lnTo>
                    <a:pt x="179" y="170"/>
                  </a:lnTo>
                  <a:lnTo>
                    <a:pt x="180" y="168"/>
                  </a:lnTo>
                  <a:lnTo>
                    <a:pt x="180" y="165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10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3" y="2"/>
                  </a:lnTo>
                  <a:lnTo>
                    <a:pt x="170" y="1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65"/>
                  </a:lnTo>
                  <a:lnTo>
                    <a:pt x="0" y="168"/>
                  </a:lnTo>
                  <a:lnTo>
                    <a:pt x="1" y="170"/>
                  </a:lnTo>
                  <a:lnTo>
                    <a:pt x="2" y="173"/>
                  </a:lnTo>
                  <a:lnTo>
                    <a:pt x="4" y="176"/>
                  </a:lnTo>
                  <a:lnTo>
                    <a:pt x="6" y="178"/>
                  </a:lnTo>
                  <a:lnTo>
                    <a:pt x="10" y="179"/>
                  </a:lnTo>
                  <a:lnTo>
                    <a:pt x="12" y="180"/>
                  </a:lnTo>
                  <a:lnTo>
                    <a:pt x="15" y="180"/>
                  </a:lnTo>
                  <a:lnTo>
                    <a:pt x="15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504">
              <a:extLst>
                <a:ext uri="{FF2B5EF4-FFF2-40B4-BE49-F238E27FC236}">
                  <a16:creationId xmlns="" xmlns:a16="http://schemas.microsoft.com/office/drawing/2014/main" id="{24E91219-A815-4DE7-AA6D-DACF4D4380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64038" y="5248275"/>
              <a:ext cx="57150" cy="57150"/>
            </a:xfrm>
            <a:custGeom>
              <a:avLst/>
              <a:gdLst>
                <a:gd name="T0" fmla="*/ 30 w 180"/>
                <a:gd name="T1" fmla="*/ 30 h 180"/>
                <a:gd name="T2" fmla="*/ 150 w 180"/>
                <a:gd name="T3" fmla="*/ 30 h 180"/>
                <a:gd name="T4" fmla="*/ 150 w 180"/>
                <a:gd name="T5" fmla="*/ 150 h 180"/>
                <a:gd name="T6" fmla="*/ 30 w 180"/>
                <a:gd name="T7" fmla="*/ 150 h 180"/>
                <a:gd name="T8" fmla="*/ 30 w 180"/>
                <a:gd name="T9" fmla="*/ 30 h 180"/>
                <a:gd name="T10" fmla="*/ 15 w 180"/>
                <a:gd name="T11" fmla="*/ 180 h 180"/>
                <a:gd name="T12" fmla="*/ 165 w 180"/>
                <a:gd name="T13" fmla="*/ 180 h 180"/>
                <a:gd name="T14" fmla="*/ 168 w 180"/>
                <a:gd name="T15" fmla="*/ 180 h 180"/>
                <a:gd name="T16" fmla="*/ 170 w 180"/>
                <a:gd name="T17" fmla="*/ 179 h 180"/>
                <a:gd name="T18" fmla="*/ 173 w 180"/>
                <a:gd name="T19" fmla="*/ 177 h 180"/>
                <a:gd name="T20" fmla="*/ 176 w 180"/>
                <a:gd name="T21" fmla="*/ 176 h 180"/>
                <a:gd name="T22" fmla="*/ 178 w 180"/>
                <a:gd name="T23" fmla="*/ 173 h 180"/>
                <a:gd name="T24" fmla="*/ 179 w 180"/>
                <a:gd name="T25" fmla="*/ 170 h 180"/>
                <a:gd name="T26" fmla="*/ 180 w 180"/>
                <a:gd name="T27" fmla="*/ 168 h 180"/>
                <a:gd name="T28" fmla="*/ 180 w 180"/>
                <a:gd name="T29" fmla="*/ 165 h 180"/>
                <a:gd name="T30" fmla="*/ 180 w 180"/>
                <a:gd name="T31" fmla="*/ 15 h 180"/>
                <a:gd name="T32" fmla="*/ 180 w 180"/>
                <a:gd name="T33" fmla="*/ 12 h 180"/>
                <a:gd name="T34" fmla="*/ 179 w 180"/>
                <a:gd name="T35" fmla="*/ 8 h 180"/>
                <a:gd name="T36" fmla="*/ 178 w 180"/>
                <a:gd name="T37" fmla="*/ 6 h 180"/>
                <a:gd name="T38" fmla="*/ 176 w 180"/>
                <a:gd name="T39" fmla="*/ 4 h 180"/>
                <a:gd name="T40" fmla="*/ 173 w 180"/>
                <a:gd name="T41" fmla="*/ 2 h 180"/>
                <a:gd name="T42" fmla="*/ 170 w 180"/>
                <a:gd name="T43" fmla="*/ 1 h 180"/>
                <a:gd name="T44" fmla="*/ 168 w 180"/>
                <a:gd name="T45" fmla="*/ 0 h 180"/>
                <a:gd name="T46" fmla="*/ 165 w 180"/>
                <a:gd name="T47" fmla="*/ 0 h 180"/>
                <a:gd name="T48" fmla="*/ 15 w 180"/>
                <a:gd name="T49" fmla="*/ 0 h 180"/>
                <a:gd name="T50" fmla="*/ 12 w 180"/>
                <a:gd name="T51" fmla="*/ 0 h 180"/>
                <a:gd name="T52" fmla="*/ 10 w 180"/>
                <a:gd name="T53" fmla="*/ 1 h 180"/>
                <a:gd name="T54" fmla="*/ 6 w 180"/>
                <a:gd name="T55" fmla="*/ 2 h 180"/>
                <a:gd name="T56" fmla="*/ 4 w 180"/>
                <a:gd name="T57" fmla="*/ 4 h 180"/>
                <a:gd name="T58" fmla="*/ 2 w 180"/>
                <a:gd name="T59" fmla="*/ 6 h 180"/>
                <a:gd name="T60" fmla="*/ 1 w 180"/>
                <a:gd name="T61" fmla="*/ 8 h 180"/>
                <a:gd name="T62" fmla="*/ 0 w 180"/>
                <a:gd name="T63" fmla="*/ 12 h 180"/>
                <a:gd name="T64" fmla="*/ 0 w 180"/>
                <a:gd name="T65" fmla="*/ 15 h 180"/>
                <a:gd name="T66" fmla="*/ 0 w 180"/>
                <a:gd name="T67" fmla="*/ 165 h 180"/>
                <a:gd name="T68" fmla="*/ 0 w 180"/>
                <a:gd name="T69" fmla="*/ 168 h 180"/>
                <a:gd name="T70" fmla="*/ 1 w 180"/>
                <a:gd name="T71" fmla="*/ 170 h 180"/>
                <a:gd name="T72" fmla="*/ 2 w 180"/>
                <a:gd name="T73" fmla="*/ 173 h 180"/>
                <a:gd name="T74" fmla="*/ 4 w 180"/>
                <a:gd name="T75" fmla="*/ 176 h 180"/>
                <a:gd name="T76" fmla="*/ 6 w 180"/>
                <a:gd name="T77" fmla="*/ 177 h 180"/>
                <a:gd name="T78" fmla="*/ 10 w 180"/>
                <a:gd name="T79" fmla="*/ 179 h 180"/>
                <a:gd name="T80" fmla="*/ 12 w 180"/>
                <a:gd name="T81" fmla="*/ 180 h 180"/>
                <a:gd name="T82" fmla="*/ 15 w 180"/>
                <a:gd name="T83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0" h="180">
                  <a:moveTo>
                    <a:pt x="30" y="30"/>
                  </a:moveTo>
                  <a:lnTo>
                    <a:pt x="150" y="30"/>
                  </a:lnTo>
                  <a:lnTo>
                    <a:pt x="150" y="150"/>
                  </a:lnTo>
                  <a:lnTo>
                    <a:pt x="30" y="150"/>
                  </a:lnTo>
                  <a:lnTo>
                    <a:pt x="30" y="30"/>
                  </a:lnTo>
                  <a:close/>
                  <a:moveTo>
                    <a:pt x="15" y="180"/>
                  </a:moveTo>
                  <a:lnTo>
                    <a:pt x="165" y="180"/>
                  </a:lnTo>
                  <a:lnTo>
                    <a:pt x="168" y="180"/>
                  </a:lnTo>
                  <a:lnTo>
                    <a:pt x="170" y="179"/>
                  </a:lnTo>
                  <a:lnTo>
                    <a:pt x="173" y="177"/>
                  </a:lnTo>
                  <a:lnTo>
                    <a:pt x="176" y="176"/>
                  </a:lnTo>
                  <a:lnTo>
                    <a:pt x="178" y="173"/>
                  </a:lnTo>
                  <a:lnTo>
                    <a:pt x="179" y="170"/>
                  </a:lnTo>
                  <a:lnTo>
                    <a:pt x="180" y="168"/>
                  </a:lnTo>
                  <a:lnTo>
                    <a:pt x="180" y="165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8"/>
                  </a:lnTo>
                  <a:lnTo>
                    <a:pt x="178" y="6"/>
                  </a:lnTo>
                  <a:lnTo>
                    <a:pt x="176" y="4"/>
                  </a:lnTo>
                  <a:lnTo>
                    <a:pt x="173" y="2"/>
                  </a:lnTo>
                  <a:lnTo>
                    <a:pt x="170" y="1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65"/>
                  </a:lnTo>
                  <a:lnTo>
                    <a:pt x="0" y="168"/>
                  </a:lnTo>
                  <a:lnTo>
                    <a:pt x="1" y="170"/>
                  </a:lnTo>
                  <a:lnTo>
                    <a:pt x="2" y="173"/>
                  </a:lnTo>
                  <a:lnTo>
                    <a:pt x="4" y="176"/>
                  </a:lnTo>
                  <a:lnTo>
                    <a:pt x="6" y="177"/>
                  </a:lnTo>
                  <a:lnTo>
                    <a:pt x="10" y="179"/>
                  </a:lnTo>
                  <a:lnTo>
                    <a:pt x="12" y="180"/>
                  </a:lnTo>
                  <a:lnTo>
                    <a:pt x="15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4" name="Group 283">
            <a:extLst>
              <a:ext uri="{FF2B5EF4-FFF2-40B4-BE49-F238E27FC236}">
                <a16:creationId xmlns="" xmlns:a16="http://schemas.microsoft.com/office/drawing/2014/main" id="{4BDA7450-2633-4221-97F0-1F1F87D8879C}"/>
              </a:ext>
            </a:extLst>
          </p:cNvPr>
          <p:cNvGrpSpPr/>
          <p:nvPr/>
        </p:nvGrpSpPr>
        <p:grpSpPr>
          <a:xfrm>
            <a:off x="5835445" y="4492883"/>
            <a:ext cx="521110" cy="434736"/>
            <a:chOff x="11037888" y="817563"/>
            <a:chExt cx="287338" cy="239712"/>
          </a:xfrm>
          <a:solidFill>
            <a:schemeClr val="bg1"/>
          </a:solidFill>
        </p:grpSpPr>
        <p:sp>
          <p:nvSpPr>
            <p:cNvPr id="285" name="Freeform 294">
              <a:extLst>
                <a:ext uri="{FF2B5EF4-FFF2-40B4-BE49-F238E27FC236}">
                  <a16:creationId xmlns="" xmlns:a16="http://schemas.microsoft.com/office/drawing/2014/main" id="{7260443A-8792-4E3E-A071-00FA42562F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37888" y="817563"/>
              <a:ext cx="287338" cy="239712"/>
            </a:xfrm>
            <a:custGeom>
              <a:avLst/>
              <a:gdLst>
                <a:gd name="T0" fmla="*/ 752 w 903"/>
                <a:gd name="T1" fmla="*/ 722 h 753"/>
                <a:gd name="T2" fmla="*/ 752 w 903"/>
                <a:gd name="T3" fmla="*/ 374 h 753"/>
                <a:gd name="T4" fmla="*/ 750 w 903"/>
                <a:gd name="T5" fmla="*/ 368 h 753"/>
                <a:gd name="T6" fmla="*/ 745 w 903"/>
                <a:gd name="T7" fmla="*/ 364 h 753"/>
                <a:gd name="T8" fmla="*/ 740 w 903"/>
                <a:gd name="T9" fmla="*/ 362 h 753"/>
                <a:gd name="T10" fmla="*/ 165 w 903"/>
                <a:gd name="T11" fmla="*/ 361 h 753"/>
                <a:gd name="T12" fmla="*/ 160 w 903"/>
                <a:gd name="T13" fmla="*/ 363 h 753"/>
                <a:gd name="T14" fmla="*/ 154 w 903"/>
                <a:gd name="T15" fmla="*/ 366 h 753"/>
                <a:gd name="T16" fmla="*/ 151 w 903"/>
                <a:gd name="T17" fmla="*/ 371 h 753"/>
                <a:gd name="T18" fmla="*/ 150 w 903"/>
                <a:gd name="T19" fmla="*/ 377 h 753"/>
                <a:gd name="T20" fmla="*/ 90 w 903"/>
                <a:gd name="T21" fmla="*/ 722 h 753"/>
                <a:gd name="T22" fmla="*/ 813 w 903"/>
                <a:gd name="T23" fmla="*/ 301 h 753"/>
                <a:gd name="T24" fmla="*/ 180 w 903"/>
                <a:gd name="T25" fmla="*/ 722 h 753"/>
                <a:gd name="T26" fmla="*/ 722 w 903"/>
                <a:gd name="T27" fmla="*/ 391 h 753"/>
                <a:gd name="T28" fmla="*/ 180 w 903"/>
                <a:gd name="T29" fmla="*/ 722 h 753"/>
                <a:gd name="T30" fmla="*/ 451 w 903"/>
                <a:gd name="T31" fmla="*/ 32 h 753"/>
                <a:gd name="T32" fmla="*/ 873 w 903"/>
                <a:gd name="T33" fmla="*/ 271 h 753"/>
                <a:gd name="T34" fmla="*/ 75 w 903"/>
                <a:gd name="T35" fmla="*/ 271 h 753"/>
                <a:gd name="T36" fmla="*/ 30 w 903"/>
                <a:gd name="T37" fmla="*/ 220 h 753"/>
                <a:gd name="T38" fmla="*/ 891 w 903"/>
                <a:gd name="T39" fmla="*/ 301 h 753"/>
                <a:gd name="T40" fmla="*/ 896 w 903"/>
                <a:gd name="T41" fmla="*/ 299 h 753"/>
                <a:gd name="T42" fmla="*/ 900 w 903"/>
                <a:gd name="T43" fmla="*/ 294 h 753"/>
                <a:gd name="T44" fmla="*/ 902 w 903"/>
                <a:gd name="T45" fmla="*/ 289 h 753"/>
                <a:gd name="T46" fmla="*/ 903 w 903"/>
                <a:gd name="T47" fmla="*/ 211 h 753"/>
                <a:gd name="T48" fmla="*/ 901 w 903"/>
                <a:gd name="T49" fmla="*/ 202 h 753"/>
                <a:gd name="T50" fmla="*/ 894 w 903"/>
                <a:gd name="T51" fmla="*/ 197 h 753"/>
                <a:gd name="T52" fmla="*/ 455 w 903"/>
                <a:gd name="T53" fmla="*/ 0 h 753"/>
                <a:gd name="T54" fmla="*/ 448 w 903"/>
                <a:gd name="T55" fmla="*/ 0 h 753"/>
                <a:gd name="T56" fmla="*/ 8 w 903"/>
                <a:gd name="T57" fmla="*/ 197 h 753"/>
                <a:gd name="T58" fmla="*/ 2 w 903"/>
                <a:gd name="T59" fmla="*/ 202 h 753"/>
                <a:gd name="T60" fmla="*/ 0 w 903"/>
                <a:gd name="T61" fmla="*/ 211 h 753"/>
                <a:gd name="T62" fmla="*/ 0 w 903"/>
                <a:gd name="T63" fmla="*/ 289 h 753"/>
                <a:gd name="T64" fmla="*/ 2 w 903"/>
                <a:gd name="T65" fmla="*/ 294 h 753"/>
                <a:gd name="T66" fmla="*/ 6 w 903"/>
                <a:gd name="T67" fmla="*/ 299 h 753"/>
                <a:gd name="T68" fmla="*/ 12 w 903"/>
                <a:gd name="T69" fmla="*/ 301 h 753"/>
                <a:gd name="T70" fmla="*/ 60 w 903"/>
                <a:gd name="T71" fmla="*/ 301 h 753"/>
                <a:gd name="T72" fmla="*/ 15 w 903"/>
                <a:gd name="T73" fmla="*/ 722 h 753"/>
                <a:gd name="T74" fmla="*/ 8 w 903"/>
                <a:gd name="T75" fmla="*/ 724 h 753"/>
                <a:gd name="T76" fmla="*/ 4 w 903"/>
                <a:gd name="T77" fmla="*/ 727 h 753"/>
                <a:gd name="T78" fmla="*/ 1 w 903"/>
                <a:gd name="T79" fmla="*/ 732 h 753"/>
                <a:gd name="T80" fmla="*/ 0 w 903"/>
                <a:gd name="T81" fmla="*/ 738 h 753"/>
                <a:gd name="T82" fmla="*/ 1 w 903"/>
                <a:gd name="T83" fmla="*/ 744 h 753"/>
                <a:gd name="T84" fmla="*/ 4 w 903"/>
                <a:gd name="T85" fmla="*/ 748 h 753"/>
                <a:gd name="T86" fmla="*/ 8 w 903"/>
                <a:gd name="T87" fmla="*/ 751 h 753"/>
                <a:gd name="T88" fmla="*/ 15 w 903"/>
                <a:gd name="T89" fmla="*/ 753 h 753"/>
                <a:gd name="T90" fmla="*/ 165 w 903"/>
                <a:gd name="T91" fmla="*/ 753 h 753"/>
                <a:gd name="T92" fmla="*/ 828 w 903"/>
                <a:gd name="T93" fmla="*/ 753 h 753"/>
                <a:gd name="T94" fmla="*/ 891 w 903"/>
                <a:gd name="T95" fmla="*/ 753 h 753"/>
                <a:gd name="T96" fmla="*/ 896 w 903"/>
                <a:gd name="T97" fmla="*/ 750 h 753"/>
                <a:gd name="T98" fmla="*/ 900 w 903"/>
                <a:gd name="T99" fmla="*/ 746 h 753"/>
                <a:gd name="T100" fmla="*/ 902 w 903"/>
                <a:gd name="T101" fmla="*/ 741 h 753"/>
                <a:gd name="T102" fmla="*/ 903 w 903"/>
                <a:gd name="T103" fmla="*/ 735 h 753"/>
                <a:gd name="T104" fmla="*/ 900 w 903"/>
                <a:gd name="T105" fmla="*/ 730 h 753"/>
                <a:gd name="T106" fmla="*/ 896 w 903"/>
                <a:gd name="T107" fmla="*/ 726 h 753"/>
                <a:gd name="T108" fmla="*/ 891 w 903"/>
                <a:gd name="T109" fmla="*/ 724 h 753"/>
                <a:gd name="T110" fmla="*/ 843 w 903"/>
                <a:gd name="T111" fmla="*/ 722 h 753"/>
                <a:gd name="T112" fmla="*/ 888 w 903"/>
                <a:gd name="T113" fmla="*/ 301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903" h="753">
                  <a:moveTo>
                    <a:pt x="813" y="722"/>
                  </a:moveTo>
                  <a:lnTo>
                    <a:pt x="752" y="722"/>
                  </a:lnTo>
                  <a:lnTo>
                    <a:pt x="752" y="376"/>
                  </a:lnTo>
                  <a:lnTo>
                    <a:pt x="752" y="374"/>
                  </a:lnTo>
                  <a:lnTo>
                    <a:pt x="751" y="371"/>
                  </a:lnTo>
                  <a:lnTo>
                    <a:pt x="750" y="368"/>
                  </a:lnTo>
                  <a:lnTo>
                    <a:pt x="747" y="366"/>
                  </a:lnTo>
                  <a:lnTo>
                    <a:pt x="745" y="364"/>
                  </a:lnTo>
                  <a:lnTo>
                    <a:pt x="743" y="363"/>
                  </a:lnTo>
                  <a:lnTo>
                    <a:pt x="740" y="362"/>
                  </a:lnTo>
                  <a:lnTo>
                    <a:pt x="737" y="361"/>
                  </a:lnTo>
                  <a:lnTo>
                    <a:pt x="165" y="361"/>
                  </a:lnTo>
                  <a:lnTo>
                    <a:pt x="162" y="362"/>
                  </a:lnTo>
                  <a:lnTo>
                    <a:pt x="160" y="363"/>
                  </a:lnTo>
                  <a:lnTo>
                    <a:pt x="156" y="364"/>
                  </a:lnTo>
                  <a:lnTo>
                    <a:pt x="154" y="366"/>
                  </a:lnTo>
                  <a:lnTo>
                    <a:pt x="152" y="368"/>
                  </a:lnTo>
                  <a:lnTo>
                    <a:pt x="151" y="371"/>
                  </a:lnTo>
                  <a:lnTo>
                    <a:pt x="150" y="374"/>
                  </a:lnTo>
                  <a:lnTo>
                    <a:pt x="150" y="377"/>
                  </a:lnTo>
                  <a:lnTo>
                    <a:pt x="150" y="722"/>
                  </a:lnTo>
                  <a:lnTo>
                    <a:pt x="90" y="722"/>
                  </a:lnTo>
                  <a:lnTo>
                    <a:pt x="90" y="301"/>
                  </a:lnTo>
                  <a:lnTo>
                    <a:pt x="813" y="301"/>
                  </a:lnTo>
                  <a:lnTo>
                    <a:pt x="813" y="722"/>
                  </a:lnTo>
                  <a:close/>
                  <a:moveTo>
                    <a:pt x="180" y="722"/>
                  </a:moveTo>
                  <a:lnTo>
                    <a:pt x="180" y="391"/>
                  </a:lnTo>
                  <a:lnTo>
                    <a:pt x="722" y="391"/>
                  </a:lnTo>
                  <a:lnTo>
                    <a:pt x="722" y="722"/>
                  </a:lnTo>
                  <a:lnTo>
                    <a:pt x="180" y="722"/>
                  </a:lnTo>
                  <a:close/>
                  <a:moveTo>
                    <a:pt x="30" y="220"/>
                  </a:moveTo>
                  <a:lnTo>
                    <a:pt x="451" y="32"/>
                  </a:lnTo>
                  <a:lnTo>
                    <a:pt x="873" y="220"/>
                  </a:lnTo>
                  <a:lnTo>
                    <a:pt x="873" y="271"/>
                  </a:lnTo>
                  <a:lnTo>
                    <a:pt x="828" y="271"/>
                  </a:lnTo>
                  <a:lnTo>
                    <a:pt x="75" y="271"/>
                  </a:lnTo>
                  <a:lnTo>
                    <a:pt x="30" y="271"/>
                  </a:lnTo>
                  <a:lnTo>
                    <a:pt x="30" y="220"/>
                  </a:lnTo>
                  <a:close/>
                  <a:moveTo>
                    <a:pt x="888" y="301"/>
                  </a:moveTo>
                  <a:lnTo>
                    <a:pt x="891" y="301"/>
                  </a:lnTo>
                  <a:lnTo>
                    <a:pt x="893" y="300"/>
                  </a:lnTo>
                  <a:lnTo>
                    <a:pt x="896" y="299"/>
                  </a:lnTo>
                  <a:lnTo>
                    <a:pt x="899" y="297"/>
                  </a:lnTo>
                  <a:lnTo>
                    <a:pt x="900" y="294"/>
                  </a:lnTo>
                  <a:lnTo>
                    <a:pt x="902" y="292"/>
                  </a:lnTo>
                  <a:lnTo>
                    <a:pt x="902" y="289"/>
                  </a:lnTo>
                  <a:lnTo>
                    <a:pt x="903" y="286"/>
                  </a:lnTo>
                  <a:lnTo>
                    <a:pt x="903" y="211"/>
                  </a:lnTo>
                  <a:lnTo>
                    <a:pt x="902" y="206"/>
                  </a:lnTo>
                  <a:lnTo>
                    <a:pt x="901" y="202"/>
                  </a:lnTo>
                  <a:lnTo>
                    <a:pt x="898" y="199"/>
                  </a:lnTo>
                  <a:lnTo>
                    <a:pt x="894" y="197"/>
                  </a:lnTo>
                  <a:lnTo>
                    <a:pt x="458" y="1"/>
                  </a:lnTo>
                  <a:lnTo>
                    <a:pt x="455" y="0"/>
                  </a:lnTo>
                  <a:lnTo>
                    <a:pt x="451" y="0"/>
                  </a:lnTo>
                  <a:lnTo>
                    <a:pt x="448" y="0"/>
                  </a:lnTo>
                  <a:lnTo>
                    <a:pt x="445" y="1"/>
                  </a:lnTo>
                  <a:lnTo>
                    <a:pt x="8" y="197"/>
                  </a:lnTo>
                  <a:lnTo>
                    <a:pt x="5" y="199"/>
                  </a:lnTo>
                  <a:lnTo>
                    <a:pt x="2" y="202"/>
                  </a:lnTo>
                  <a:lnTo>
                    <a:pt x="0" y="206"/>
                  </a:lnTo>
                  <a:lnTo>
                    <a:pt x="0" y="211"/>
                  </a:lnTo>
                  <a:lnTo>
                    <a:pt x="0" y="286"/>
                  </a:lnTo>
                  <a:lnTo>
                    <a:pt x="0" y="289"/>
                  </a:lnTo>
                  <a:lnTo>
                    <a:pt x="1" y="292"/>
                  </a:lnTo>
                  <a:lnTo>
                    <a:pt x="2" y="294"/>
                  </a:lnTo>
                  <a:lnTo>
                    <a:pt x="4" y="297"/>
                  </a:lnTo>
                  <a:lnTo>
                    <a:pt x="6" y="299"/>
                  </a:lnTo>
                  <a:lnTo>
                    <a:pt x="8" y="300"/>
                  </a:lnTo>
                  <a:lnTo>
                    <a:pt x="12" y="301"/>
                  </a:lnTo>
                  <a:lnTo>
                    <a:pt x="15" y="301"/>
                  </a:lnTo>
                  <a:lnTo>
                    <a:pt x="60" y="301"/>
                  </a:lnTo>
                  <a:lnTo>
                    <a:pt x="60" y="722"/>
                  </a:lnTo>
                  <a:lnTo>
                    <a:pt x="15" y="722"/>
                  </a:lnTo>
                  <a:lnTo>
                    <a:pt x="12" y="724"/>
                  </a:lnTo>
                  <a:lnTo>
                    <a:pt x="8" y="724"/>
                  </a:lnTo>
                  <a:lnTo>
                    <a:pt x="6" y="726"/>
                  </a:lnTo>
                  <a:lnTo>
                    <a:pt x="4" y="727"/>
                  </a:lnTo>
                  <a:lnTo>
                    <a:pt x="2" y="730"/>
                  </a:lnTo>
                  <a:lnTo>
                    <a:pt x="1" y="732"/>
                  </a:lnTo>
                  <a:lnTo>
                    <a:pt x="0" y="735"/>
                  </a:lnTo>
                  <a:lnTo>
                    <a:pt x="0" y="738"/>
                  </a:lnTo>
                  <a:lnTo>
                    <a:pt x="0" y="741"/>
                  </a:lnTo>
                  <a:lnTo>
                    <a:pt x="1" y="744"/>
                  </a:lnTo>
                  <a:lnTo>
                    <a:pt x="2" y="746"/>
                  </a:lnTo>
                  <a:lnTo>
                    <a:pt x="4" y="748"/>
                  </a:lnTo>
                  <a:lnTo>
                    <a:pt x="6" y="750"/>
                  </a:lnTo>
                  <a:lnTo>
                    <a:pt x="8" y="751"/>
                  </a:lnTo>
                  <a:lnTo>
                    <a:pt x="12" y="753"/>
                  </a:lnTo>
                  <a:lnTo>
                    <a:pt x="15" y="753"/>
                  </a:lnTo>
                  <a:lnTo>
                    <a:pt x="75" y="753"/>
                  </a:lnTo>
                  <a:lnTo>
                    <a:pt x="165" y="753"/>
                  </a:lnTo>
                  <a:lnTo>
                    <a:pt x="737" y="753"/>
                  </a:lnTo>
                  <a:lnTo>
                    <a:pt x="828" y="753"/>
                  </a:lnTo>
                  <a:lnTo>
                    <a:pt x="888" y="753"/>
                  </a:lnTo>
                  <a:lnTo>
                    <a:pt x="891" y="753"/>
                  </a:lnTo>
                  <a:lnTo>
                    <a:pt x="893" y="751"/>
                  </a:lnTo>
                  <a:lnTo>
                    <a:pt x="896" y="750"/>
                  </a:lnTo>
                  <a:lnTo>
                    <a:pt x="899" y="748"/>
                  </a:lnTo>
                  <a:lnTo>
                    <a:pt x="900" y="746"/>
                  </a:lnTo>
                  <a:lnTo>
                    <a:pt x="902" y="744"/>
                  </a:lnTo>
                  <a:lnTo>
                    <a:pt x="902" y="741"/>
                  </a:lnTo>
                  <a:lnTo>
                    <a:pt x="903" y="738"/>
                  </a:lnTo>
                  <a:lnTo>
                    <a:pt x="903" y="735"/>
                  </a:lnTo>
                  <a:lnTo>
                    <a:pt x="902" y="732"/>
                  </a:lnTo>
                  <a:lnTo>
                    <a:pt x="900" y="730"/>
                  </a:lnTo>
                  <a:lnTo>
                    <a:pt x="899" y="727"/>
                  </a:lnTo>
                  <a:lnTo>
                    <a:pt x="896" y="726"/>
                  </a:lnTo>
                  <a:lnTo>
                    <a:pt x="893" y="724"/>
                  </a:lnTo>
                  <a:lnTo>
                    <a:pt x="891" y="724"/>
                  </a:lnTo>
                  <a:lnTo>
                    <a:pt x="888" y="722"/>
                  </a:lnTo>
                  <a:lnTo>
                    <a:pt x="843" y="722"/>
                  </a:lnTo>
                  <a:lnTo>
                    <a:pt x="843" y="301"/>
                  </a:lnTo>
                  <a:lnTo>
                    <a:pt x="888" y="3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295">
              <a:extLst>
                <a:ext uri="{FF2B5EF4-FFF2-40B4-BE49-F238E27FC236}">
                  <a16:creationId xmlns="" xmlns:a16="http://schemas.microsoft.com/office/drawing/2014/main" id="{EF2F3D8D-11C3-4D12-A9B0-D2A0D42B82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962025"/>
              <a:ext cx="134938" cy="9525"/>
            </a:xfrm>
            <a:custGeom>
              <a:avLst/>
              <a:gdLst>
                <a:gd name="T0" fmla="*/ 407 w 422"/>
                <a:gd name="T1" fmla="*/ 0 h 30"/>
                <a:gd name="T2" fmla="*/ 15 w 422"/>
                <a:gd name="T3" fmla="*/ 0 h 30"/>
                <a:gd name="T4" fmla="*/ 12 w 422"/>
                <a:gd name="T5" fmla="*/ 0 h 30"/>
                <a:gd name="T6" fmla="*/ 10 w 422"/>
                <a:gd name="T7" fmla="*/ 1 h 30"/>
                <a:gd name="T8" fmla="*/ 7 w 422"/>
                <a:gd name="T9" fmla="*/ 2 h 30"/>
                <a:gd name="T10" fmla="*/ 4 w 422"/>
                <a:gd name="T11" fmla="*/ 4 h 30"/>
                <a:gd name="T12" fmla="*/ 3 w 422"/>
                <a:gd name="T13" fmla="*/ 7 h 30"/>
                <a:gd name="T14" fmla="*/ 1 w 422"/>
                <a:gd name="T15" fmla="*/ 9 h 30"/>
                <a:gd name="T16" fmla="*/ 1 w 422"/>
                <a:gd name="T17" fmla="*/ 12 h 30"/>
                <a:gd name="T18" fmla="*/ 0 w 422"/>
                <a:gd name="T19" fmla="*/ 15 h 30"/>
                <a:gd name="T20" fmla="*/ 1 w 422"/>
                <a:gd name="T21" fmla="*/ 18 h 30"/>
                <a:gd name="T22" fmla="*/ 1 w 422"/>
                <a:gd name="T23" fmla="*/ 20 h 30"/>
                <a:gd name="T24" fmla="*/ 3 w 422"/>
                <a:gd name="T25" fmla="*/ 24 h 30"/>
                <a:gd name="T26" fmla="*/ 4 w 422"/>
                <a:gd name="T27" fmla="*/ 26 h 30"/>
                <a:gd name="T28" fmla="*/ 7 w 422"/>
                <a:gd name="T29" fmla="*/ 27 h 30"/>
                <a:gd name="T30" fmla="*/ 10 w 422"/>
                <a:gd name="T31" fmla="*/ 29 h 30"/>
                <a:gd name="T32" fmla="*/ 12 w 422"/>
                <a:gd name="T33" fmla="*/ 29 h 30"/>
                <a:gd name="T34" fmla="*/ 15 w 422"/>
                <a:gd name="T35" fmla="*/ 30 h 30"/>
                <a:gd name="T36" fmla="*/ 407 w 422"/>
                <a:gd name="T37" fmla="*/ 30 h 30"/>
                <a:gd name="T38" fmla="*/ 410 w 422"/>
                <a:gd name="T39" fmla="*/ 29 h 30"/>
                <a:gd name="T40" fmla="*/ 413 w 422"/>
                <a:gd name="T41" fmla="*/ 29 h 30"/>
                <a:gd name="T42" fmla="*/ 415 w 422"/>
                <a:gd name="T43" fmla="*/ 27 h 30"/>
                <a:gd name="T44" fmla="*/ 417 w 422"/>
                <a:gd name="T45" fmla="*/ 26 h 30"/>
                <a:gd name="T46" fmla="*/ 419 w 422"/>
                <a:gd name="T47" fmla="*/ 24 h 30"/>
                <a:gd name="T48" fmla="*/ 421 w 422"/>
                <a:gd name="T49" fmla="*/ 20 h 30"/>
                <a:gd name="T50" fmla="*/ 422 w 422"/>
                <a:gd name="T51" fmla="*/ 18 h 30"/>
                <a:gd name="T52" fmla="*/ 422 w 422"/>
                <a:gd name="T53" fmla="*/ 15 h 30"/>
                <a:gd name="T54" fmla="*/ 422 w 422"/>
                <a:gd name="T55" fmla="*/ 12 h 30"/>
                <a:gd name="T56" fmla="*/ 421 w 422"/>
                <a:gd name="T57" fmla="*/ 9 h 30"/>
                <a:gd name="T58" fmla="*/ 419 w 422"/>
                <a:gd name="T59" fmla="*/ 7 h 30"/>
                <a:gd name="T60" fmla="*/ 417 w 422"/>
                <a:gd name="T61" fmla="*/ 4 h 30"/>
                <a:gd name="T62" fmla="*/ 415 w 422"/>
                <a:gd name="T63" fmla="*/ 2 h 30"/>
                <a:gd name="T64" fmla="*/ 413 w 422"/>
                <a:gd name="T65" fmla="*/ 1 h 30"/>
                <a:gd name="T66" fmla="*/ 410 w 422"/>
                <a:gd name="T67" fmla="*/ 0 h 30"/>
                <a:gd name="T68" fmla="*/ 407 w 42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2" h="30">
                  <a:moveTo>
                    <a:pt x="40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4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0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7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29"/>
                  </a:lnTo>
                  <a:lnTo>
                    <a:pt x="413" y="29"/>
                  </a:lnTo>
                  <a:lnTo>
                    <a:pt x="415" y="27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1" y="20"/>
                  </a:lnTo>
                  <a:lnTo>
                    <a:pt x="422" y="18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1" y="9"/>
                  </a:lnTo>
                  <a:lnTo>
                    <a:pt x="419" y="7"/>
                  </a:lnTo>
                  <a:lnTo>
                    <a:pt x="417" y="4"/>
                  </a:lnTo>
                  <a:lnTo>
                    <a:pt x="415" y="2"/>
                  </a:lnTo>
                  <a:lnTo>
                    <a:pt x="413" y="1"/>
                  </a:lnTo>
                  <a:lnTo>
                    <a:pt x="410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296">
              <a:extLst>
                <a:ext uri="{FF2B5EF4-FFF2-40B4-BE49-F238E27FC236}">
                  <a16:creationId xmlns="" xmlns:a16="http://schemas.microsoft.com/office/drawing/2014/main" id="{17FB1A85-7202-48AA-B31F-6CEE26AC0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990600"/>
              <a:ext cx="134938" cy="9525"/>
            </a:xfrm>
            <a:custGeom>
              <a:avLst/>
              <a:gdLst>
                <a:gd name="T0" fmla="*/ 407 w 422"/>
                <a:gd name="T1" fmla="*/ 0 h 30"/>
                <a:gd name="T2" fmla="*/ 15 w 422"/>
                <a:gd name="T3" fmla="*/ 0 h 30"/>
                <a:gd name="T4" fmla="*/ 12 w 422"/>
                <a:gd name="T5" fmla="*/ 0 h 30"/>
                <a:gd name="T6" fmla="*/ 10 w 422"/>
                <a:gd name="T7" fmla="*/ 1 h 30"/>
                <a:gd name="T8" fmla="*/ 7 w 422"/>
                <a:gd name="T9" fmla="*/ 2 h 30"/>
                <a:gd name="T10" fmla="*/ 4 w 422"/>
                <a:gd name="T11" fmla="*/ 5 h 30"/>
                <a:gd name="T12" fmla="*/ 3 w 422"/>
                <a:gd name="T13" fmla="*/ 7 h 30"/>
                <a:gd name="T14" fmla="*/ 1 w 422"/>
                <a:gd name="T15" fmla="*/ 9 h 30"/>
                <a:gd name="T16" fmla="*/ 1 w 422"/>
                <a:gd name="T17" fmla="*/ 12 h 30"/>
                <a:gd name="T18" fmla="*/ 0 w 422"/>
                <a:gd name="T19" fmla="*/ 15 h 30"/>
                <a:gd name="T20" fmla="*/ 1 w 422"/>
                <a:gd name="T21" fmla="*/ 18 h 30"/>
                <a:gd name="T22" fmla="*/ 1 w 422"/>
                <a:gd name="T23" fmla="*/ 21 h 30"/>
                <a:gd name="T24" fmla="*/ 3 w 422"/>
                <a:gd name="T25" fmla="*/ 24 h 30"/>
                <a:gd name="T26" fmla="*/ 4 w 422"/>
                <a:gd name="T27" fmla="*/ 26 h 30"/>
                <a:gd name="T28" fmla="*/ 7 w 422"/>
                <a:gd name="T29" fmla="*/ 28 h 30"/>
                <a:gd name="T30" fmla="*/ 10 w 422"/>
                <a:gd name="T31" fmla="*/ 29 h 30"/>
                <a:gd name="T32" fmla="*/ 12 w 422"/>
                <a:gd name="T33" fmla="*/ 30 h 30"/>
                <a:gd name="T34" fmla="*/ 15 w 422"/>
                <a:gd name="T35" fmla="*/ 30 h 30"/>
                <a:gd name="T36" fmla="*/ 407 w 422"/>
                <a:gd name="T37" fmla="*/ 30 h 30"/>
                <a:gd name="T38" fmla="*/ 410 w 422"/>
                <a:gd name="T39" fmla="*/ 30 h 30"/>
                <a:gd name="T40" fmla="*/ 413 w 422"/>
                <a:gd name="T41" fmla="*/ 29 h 30"/>
                <a:gd name="T42" fmla="*/ 415 w 422"/>
                <a:gd name="T43" fmla="*/ 28 h 30"/>
                <a:gd name="T44" fmla="*/ 417 w 422"/>
                <a:gd name="T45" fmla="*/ 26 h 30"/>
                <a:gd name="T46" fmla="*/ 419 w 422"/>
                <a:gd name="T47" fmla="*/ 24 h 30"/>
                <a:gd name="T48" fmla="*/ 421 w 422"/>
                <a:gd name="T49" fmla="*/ 21 h 30"/>
                <a:gd name="T50" fmla="*/ 422 w 422"/>
                <a:gd name="T51" fmla="*/ 18 h 30"/>
                <a:gd name="T52" fmla="*/ 422 w 422"/>
                <a:gd name="T53" fmla="*/ 15 h 30"/>
                <a:gd name="T54" fmla="*/ 422 w 422"/>
                <a:gd name="T55" fmla="*/ 12 h 30"/>
                <a:gd name="T56" fmla="*/ 421 w 422"/>
                <a:gd name="T57" fmla="*/ 9 h 30"/>
                <a:gd name="T58" fmla="*/ 419 w 422"/>
                <a:gd name="T59" fmla="*/ 7 h 30"/>
                <a:gd name="T60" fmla="*/ 417 w 422"/>
                <a:gd name="T61" fmla="*/ 5 h 30"/>
                <a:gd name="T62" fmla="*/ 415 w 422"/>
                <a:gd name="T63" fmla="*/ 2 h 30"/>
                <a:gd name="T64" fmla="*/ 413 w 422"/>
                <a:gd name="T65" fmla="*/ 1 h 30"/>
                <a:gd name="T66" fmla="*/ 410 w 422"/>
                <a:gd name="T67" fmla="*/ 0 h 30"/>
                <a:gd name="T68" fmla="*/ 407 w 422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22" h="30">
                  <a:moveTo>
                    <a:pt x="40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2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1" y="21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30"/>
                  </a:lnTo>
                  <a:lnTo>
                    <a:pt x="413" y="29"/>
                  </a:lnTo>
                  <a:lnTo>
                    <a:pt x="415" y="28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1" y="21"/>
                  </a:lnTo>
                  <a:lnTo>
                    <a:pt x="422" y="18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1" y="9"/>
                  </a:lnTo>
                  <a:lnTo>
                    <a:pt x="419" y="7"/>
                  </a:lnTo>
                  <a:lnTo>
                    <a:pt x="417" y="5"/>
                  </a:lnTo>
                  <a:lnTo>
                    <a:pt x="415" y="2"/>
                  </a:lnTo>
                  <a:lnTo>
                    <a:pt x="413" y="1"/>
                  </a:lnTo>
                  <a:lnTo>
                    <a:pt x="410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297">
              <a:extLst>
                <a:ext uri="{FF2B5EF4-FFF2-40B4-BE49-F238E27FC236}">
                  <a16:creationId xmlns="" xmlns:a16="http://schemas.microsoft.com/office/drawing/2014/main" id="{7AD8B45B-C368-4BEB-B146-ED2DC28633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4088" y="1019175"/>
              <a:ext cx="134938" cy="9525"/>
            </a:xfrm>
            <a:custGeom>
              <a:avLst/>
              <a:gdLst>
                <a:gd name="T0" fmla="*/ 407 w 422"/>
                <a:gd name="T1" fmla="*/ 0 h 30"/>
                <a:gd name="T2" fmla="*/ 15 w 422"/>
                <a:gd name="T3" fmla="*/ 0 h 30"/>
                <a:gd name="T4" fmla="*/ 12 w 422"/>
                <a:gd name="T5" fmla="*/ 0 h 30"/>
                <a:gd name="T6" fmla="*/ 10 w 422"/>
                <a:gd name="T7" fmla="*/ 1 h 30"/>
                <a:gd name="T8" fmla="*/ 7 w 422"/>
                <a:gd name="T9" fmla="*/ 3 h 30"/>
                <a:gd name="T10" fmla="*/ 4 w 422"/>
                <a:gd name="T11" fmla="*/ 5 h 30"/>
                <a:gd name="T12" fmla="*/ 3 w 422"/>
                <a:gd name="T13" fmla="*/ 7 h 30"/>
                <a:gd name="T14" fmla="*/ 1 w 422"/>
                <a:gd name="T15" fmla="*/ 10 h 30"/>
                <a:gd name="T16" fmla="*/ 1 w 422"/>
                <a:gd name="T17" fmla="*/ 12 h 30"/>
                <a:gd name="T18" fmla="*/ 0 w 422"/>
                <a:gd name="T19" fmla="*/ 15 h 30"/>
                <a:gd name="T20" fmla="*/ 1 w 422"/>
                <a:gd name="T21" fmla="*/ 19 h 30"/>
                <a:gd name="T22" fmla="*/ 1 w 422"/>
                <a:gd name="T23" fmla="*/ 22 h 30"/>
                <a:gd name="T24" fmla="*/ 3 w 422"/>
                <a:gd name="T25" fmla="*/ 24 h 30"/>
                <a:gd name="T26" fmla="*/ 4 w 422"/>
                <a:gd name="T27" fmla="*/ 26 h 30"/>
                <a:gd name="T28" fmla="*/ 7 w 422"/>
                <a:gd name="T29" fmla="*/ 28 h 30"/>
                <a:gd name="T30" fmla="*/ 10 w 422"/>
                <a:gd name="T31" fmla="*/ 29 h 30"/>
                <a:gd name="T32" fmla="*/ 12 w 422"/>
                <a:gd name="T33" fmla="*/ 30 h 30"/>
                <a:gd name="T34" fmla="*/ 15 w 422"/>
                <a:gd name="T35" fmla="*/ 30 h 30"/>
                <a:gd name="T36" fmla="*/ 407 w 422"/>
                <a:gd name="T37" fmla="*/ 30 h 30"/>
                <a:gd name="T38" fmla="*/ 410 w 422"/>
                <a:gd name="T39" fmla="*/ 30 h 30"/>
                <a:gd name="T40" fmla="*/ 413 w 422"/>
                <a:gd name="T41" fmla="*/ 29 h 30"/>
                <a:gd name="T42" fmla="*/ 415 w 422"/>
                <a:gd name="T43" fmla="*/ 28 h 30"/>
                <a:gd name="T44" fmla="*/ 417 w 422"/>
                <a:gd name="T45" fmla="*/ 26 h 30"/>
                <a:gd name="T46" fmla="*/ 419 w 422"/>
                <a:gd name="T47" fmla="*/ 24 h 30"/>
                <a:gd name="T48" fmla="*/ 421 w 422"/>
                <a:gd name="T49" fmla="*/ 22 h 30"/>
                <a:gd name="T50" fmla="*/ 422 w 422"/>
                <a:gd name="T51" fmla="*/ 19 h 30"/>
                <a:gd name="T52" fmla="*/ 422 w 422"/>
                <a:gd name="T53" fmla="*/ 15 h 30"/>
                <a:gd name="T54" fmla="*/ 422 w 422"/>
                <a:gd name="T55" fmla="*/ 12 h 30"/>
                <a:gd name="T56" fmla="*/ 421 w 422"/>
                <a:gd name="T57" fmla="*/ 10 h 30"/>
                <a:gd name="T58" fmla="*/ 419 w 422"/>
                <a:gd name="T59" fmla="*/ 7 h 30"/>
                <a:gd name="T60" fmla="*/ 417 w 422"/>
                <a:gd name="T61" fmla="*/ 5 h 30"/>
                <a:gd name="T62" fmla="*/ 415 w 422"/>
                <a:gd name="T63" fmla="*/ 3 h 30"/>
                <a:gd name="T64" fmla="*/ 413 w 422"/>
                <a:gd name="T65" fmla="*/ 1 h 30"/>
                <a:gd name="T66" fmla="*/ 410 w 422"/>
                <a:gd name="T67" fmla="*/ 0 h 30"/>
                <a:gd name="T68" fmla="*/ 407 w 422"/>
                <a:gd name="T69" fmla="*/ 0 h 30"/>
                <a:gd name="T70" fmla="*/ 407 w 422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22" h="30">
                  <a:moveTo>
                    <a:pt x="407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7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9"/>
                  </a:lnTo>
                  <a:lnTo>
                    <a:pt x="1" y="22"/>
                  </a:lnTo>
                  <a:lnTo>
                    <a:pt x="3" y="24"/>
                  </a:lnTo>
                  <a:lnTo>
                    <a:pt x="4" y="26"/>
                  </a:lnTo>
                  <a:lnTo>
                    <a:pt x="7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07" y="30"/>
                  </a:lnTo>
                  <a:lnTo>
                    <a:pt x="410" y="30"/>
                  </a:lnTo>
                  <a:lnTo>
                    <a:pt x="413" y="29"/>
                  </a:lnTo>
                  <a:lnTo>
                    <a:pt x="415" y="28"/>
                  </a:lnTo>
                  <a:lnTo>
                    <a:pt x="417" y="26"/>
                  </a:lnTo>
                  <a:lnTo>
                    <a:pt x="419" y="24"/>
                  </a:lnTo>
                  <a:lnTo>
                    <a:pt x="421" y="22"/>
                  </a:lnTo>
                  <a:lnTo>
                    <a:pt x="422" y="19"/>
                  </a:lnTo>
                  <a:lnTo>
                    <a:pt x="422" y="15"/>
                  </a:lnTo>
                  <a:lnTo>
                    <a:pt x="422" y="12"/>
                  </a:lnTo>
                  <a:lnTo>
                    <a:pt x="421" y="10"/>
                  </a:lnTo>
                  <a:lnTo>
                    <a:pt x="419" y="7"/>
                  </a:lnTo>
                  <a:lnTo>
                    <a:pt x="417" y="5"/>
                  </a:lnTo>
                  <a:lnTo>
                    <a:pt x="415" y="3"/>
                  </a:lnTo>
                  <a:lnTo>
                    <a:pt x="413" y="1"/>
                  </a:lnTo>
                  <a:lnTo>
                    <a:pt x="410" y="0"/>
                  </a:lnTo>
                  <a:lnTo>
                    <a:pt x="407" y="0"/>
                  </a:lnTo>
                  <a:lnTo>
                    <a:pt x="4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89" name="Group 288">
            <a:extLst>
              <a:ext uri="{FF2B5EF4-FFF2-40B4-BE49-F238E27FC236}">
                <a16:creationId xmlns="" xmlns:a16="http://schemas.microsoft.com/office/drawing/2014/main" id="{EDB2B577-1445-4192-A23D-F4417FFB21DF}"/>
              </a:ext>
            </a:extLst>
          </p:cNvPr>
          <p:cNvGrpSpPr/>
          <p:nvPr/>
        </p:nvGrpSpPr>
        <p:grpSpPr>
          <a:xfrm>
            <a:off x="7983320" y="4449696"/>
            <a:ext cx="397312" cy="521110"/>
            <a:chOff x="6445250" y="2498725"/>
            <a:chExt cx="219075" cy="287338"/>
          </a:xfrm>
          <a:solidFill>
            <a:schemeClr val="bg1"/>
          </a:solidFill>
        </p:grpSpPr>
        <p:sp>
          <p:nvSpPr>
            <p:cNvPr id="290" name="Freeform 227">
              <a:extLst>
                <a:ext uri="{FF2B5EF4-FFF2-40B4-BE49-F238E27FC236}">
                  <a16:creationId xmlns="" xmlns:a16="http://schemas.microsoft.com/office/drawing/2014/main" id="{7666042E-AE49-4157-B760-6F810F8C03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45250" y="2498725"/>
              <a:ext cx="219075" cy="287338"/>
            </a:xfrm>
            <a:custGeom>
              <a:avLst/>
              <a:gdLst>
                <a:gd name="T0" fmla="*/ 104 w 692"/>
                <a:gd name="T1" fmla="*/ 868 h 902"/>
                <a:gd name="T2" fmla="*/ 69 w 692"/>
                <a:gd name="T3" fmla="*/ 849 h 902"/>
                <a:gd name="T4" fmla="*/ 43 w 692"/>
                <a:gd name="T5" fmla="*/ 818 h 902"/>
                <a:gd name="T6" fmla="*/ 31 w 692"/>
                <a:gd name="T7" fmla="*/ 778 h 902"/>
                <a:gd name="T8" fmla="*/ 35 w 692"/>
                <a:gd name="T9" fmla="*/ 736 h 902"/>
                <a:gd name="T10" fmla="*/ 55 w 692"/>
                <a:gd name="T11" fmla="*/ 700 h 902"/>
                <a:gd name="T12" fmla="*/ 86 w 692"/>
                <a:gd name="T13" fmla="*/ 674 h 902"/>
                <a:gd name="T14" fmla="*/ 124 w 692"/>
                <a:gd name="T15" fmla="*/ 662 h 902"/>
                <a:gd name="T16" fmla="*/ 167 w 692"/>
                <a:gd name="T17" fmla="*/ 667 h 902"/>
                <a:gd name="T18" fmla="*/ 202 w 692"/>
                <a:gd name="T19" fmla="*/ 686 h 902"/>
                <a:gd name="T20" fmla="*/ 228 w 692"/>
                <a:gd name="T21" fmla="*/ 717 h 902"/>
                <a:gd name="T22" fmla="*/ 240 w 692"/>
                <a:gd name="T23" fmla="*/ 757 h 902"/>
                <a:gd name="T24" fmla="*/ 236 w 692"/>
                <a:gd name="T25" fmla="*/ 798 h 902"/>
                <a:gd name="T26" fmla="*/ 216 w 692"/>
                <a:gd name="T27" fmla="*/ 834 h 902"/>
                <a:gd name="T28" fmla="*/ 185 w 692"/>
                <a:gd name="T29" fmla="*/ 859 h 902"/>
                <a:gd name="T30" fmla="*/ 146 w 692"/>
                <a:gd name="T31" fmla="*/ 872 h 902"/>
                <a:gd name="T32" fmla="*/ 511 w 692"/>
                <a:gd name="T33" fmla="*/ 361 h 902"/>
                <a:gd name="T34" fmla="*/ 271 w 692"/>
                <a:gd name="T35" fmla="*/ 722 h 902"/>
                <a:gd name="T36" fmla="*/ 632 w 692"/>
                <a:gd name="T37" fmla="*/ 722 h 902"/>
                <a:gd name="T38" fmla="*/ 622 w 692"/>
                <a:gd name="T39" fmla="*/ 813 h 902"/>
                <a:gd name="T40" fmla="*/ 266 w 692"/>
                <a:gd name="T41" fmla="*/ 802 h 902"/>
                <a:gd name="T42" fmla="*/ 270 w 692"/>
                <a:gd name="T43" fmla="*/ 760 h 902"/>
                <a:gd name="T44" fmla="*/ 652 w 692"/>
                <a:gd name="T45" fmla="*/ 751 h 902"/>
                <a:gd name="T46" fmla="*/ 660 w 692"/>
                <a:gd name="T47" fmla="*/ 743 h 902"/>
                <a:gd name="T48" fmla="*/ 661 w 692"/>
                <a:gd name="T49" fmla="*/ 373 h 902"/>
                <a:gd name="T50" fmla="*/ 655 w 692"/>
                <a:gd name="T51" fmla="*/ 364 h 902"/>
                <a:gd name="T52" fmla="*/ 541 w 692"/>
                <a:gd name="T53" fmla="*/ 361 h 902"/>
                <a:gd name="T54" fmla="*/ 539 w 692"/>
                <a:gd name="T55" fmla="*/ 158 h 902"/>
                <a:gd name="T56" fmla="*/ 529 w 692"/>
                <a:gd name="T57" fmla="*/ 151 h 902"/>
                <a:gd name="T58" fmla="*/ 250 w 692"/>
                <a:gd name="T59" fmla="*/ 151 h 902"/>
                <a:gd name="T60" fmla="*/ 242 w 692"/>
                <a:gd name="T61" fmla="*/ 160 h 902"/>
                <a:gd name="T62" fmla="*/ 241 w 692"/>
                <a:gd name="T63" fmla="*/ 683 h 902"/>
                <a:gd name="T64" fmla="*/ 213 w 692"/>
                <a:gd name="T65" fmla="*/ 657 h 902"/>
                <a:gd name="T66" fmla="*/ 180 w 692"/>
                <a:gd name="T67" fmla="*/ 640 h 902"/>
                <a:gd name="T68" fmla="*/ 178 w 692"/>
                <a:gd name="T69" fmla="*/ 7 h 902"/>
                <a:gd name="T70" fmla="*/ 168 w 692"/>
                <a:gd name="T71" fmla="*/ 0 h 902"/>
                <a:gd name="T72" fmla="*/ 70 w 692"/>
                <a:gd name="T73" fmla="*/ 1 h 902"/>
                <a:gd name="T74" fmla="*/ 61 w 692"/>
                <a:gd name="T75" fmla="*/ 10 h 902"/>
                <a:gd name="T76" fmla="*/ 61 w 692"/>
                <a:gd name="T77" fmla="*/ 22 h 902"/>
                <a:gd name="T78" fmla="*/ 70 w 692"/>
                <a:gd name="T79" fmla="*/ 29 h 902"/>
                <a:gd name="T80" fmla="*/ 150 w 692"/>
                <a:gd name="T81" fmla="*/ 632 h 902"/>
                <a:gd name="T82" fmla="*/ 108 w 692"/>
                <a:gd name="T83" fmla="*/ 635 h 902"/>
                <a:gd name="T84" fmla="*/ 60 w 692"/>
                <a:gd name="T85" fmla="*/ 655 h 902"/>
                <a:gd name="T86" fmla="*/ 24 w 692"/>
                <a:gd name="T87" fmla="*/ 691 h 902"/>
                <a:gd name="T88" fmla="*/ 3 w 692"/>
                <a:gd name="T89" fmla="*/ 740 h 902"/>
                <a:gd name="T90" fmla="*/ 3 w 692"/>
                <a:gd name="T91" fmla="*/ 794 h 902"/>
                <a:gd name="T92" fmla="*/ 24 w 692"/>
                <a:gd name="T93" fmla="*/ 842 h 902"/>
                <a:gd name="T94" fmla="*/ 60 w 692"/>
                <a:gd name="T95" fmla="*/ 880 h 902"/>
                <a:gd name="T96" fmla="*/ 108 w 692"/>
                <a:gd name="T97" fmla="*/ 900 h 902"/>
                <a:gd name="T98" fmla="*/ 152 w 692"/>
                <a:gd name="T99" fmla="*/ 901 h 902"/>
                <a:gd name="T100" fmla="*/ 200 w 692"/>
                <a:gd name="T101" fmla="*/ 886 h 902"/>
                <a:gd name="T102" fmla="*/ 247 w 692"/>
                <a:gd name="T103" fmla="*/ 842 h 902"/>
                <a:gd name="T104" fmla="*/ 671 w 692"/>
                <a:gd name="T105" fmla="*/ 901 h 902"/>
                <a:gd name="T106" fmla="*/ 682 w 692"/>
                <a:gd name="T107" fmla="*/ 901 h 902"/>
                <a:gd name="T108" fmla="*/ 691 w 692"/>
                <a:gd name="T109" fmla="*/ 893 h 902"/>
                <a:gd name="T110" fmla="*/ 691 w 692"/>
                <a:gd name="T111" fmla="*/ 8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2" h="902">
                  <a:moveTo>
                    <a:pt x="135" y="872"/>
                  </a:moveTo>
                  <a:lnTo>
                    <a:pt x="124" y="872"/>
                  </a:lnTo>
                  <a:lnTo>
                    <a:pt x="115" y="870"/>
                  </a:lnTo>
                  <a:lnTo>
                    <a:pt x="104" y="868"/>
                  </a:lnTo>
                  <a:lnTo>
                    <a:pt x="94" y="864"/>
                  </a:lnTo>
                  <a:lnTo>
                    <a:pt x="86" y="859"/>
                  </a:lnTo>
                  <a:lnTo>
                    <a:pt x="76" y="854"/>
                  </a:lnTo>
                  <a:lnTo>
                    <a:pt x="69" y="849"/>
                  </a:lnTo>
                  <a:lnTo>
                    <a:pt x="61" y="841"/>
                  </a:lnTo>
                  <a:lnTo>
                    <a:pt x="55" y="834"/>
                  </a:lnTo>
                  <a:lnTo>
                    <a:pt x="48" y="826"/>
                  </a:lnTo>
                  <a:lnTo>
                    <a:pt x="43" y="818"/>
                  </a:lnTo>
                  <a:lnTo>
                    <a:pt x="39" y="808"/>
                  </a:lnTo>
                  <a:lnTo>
                    <a:pt x="35" y="798"/>
                  </a:lnTo>
                  <a:lnTo>
                    <a:pt x="32" y="789"/>
                  </a:lnTo>
                  <a:lnTo>
                    <a:pt x="31" y="778"/>
                  </a:lnTo>
                  <a:lnTo>
                    <a:pt x="30" y="767"/>
                  </a:lnTo>
                  <a:lnTo>
                    <a:pt x="31" y="757"/>
                  </a:lnTo>
                  <a:lnTo>
                    <a:pt x="32" y="746"/>
                  </a:lnTo>
                  <a:lnTo>
                    <a:pt x="35" y="736"/>
                  </a:lnTo>
                  <a:lnTo>
                    <a:pt x="39" y="727"/>
                  </a:lnTo>
                  <a:lnTo>
                    <a:pt x="43" y="717"/>
                  </a:lnTo>
                  <a:lnTo>
                    <a:pt x="48" y="708"/>
                  </a:lnTo>
                  <a:lnTo>
                    <a:pt x="55" y="700"/>
                  </a:lnTo>
                  <a:lnTo>
                    <a:pt x="61" y="692"/>
                  </a:lnTo>
                  <a:lnTo>
                    <a:pt x="69" y="686"/>
                  </a:lnTo>
                  <a:lnTo>
                    <a:pt x="76" y="680"/>
                  </a:lnTo>
                  <a:lnTo>
                    <a:pt x="86" y="674"/>
                  </a:lnTo>
                  <a:lnTo>
                    <a:pt x="94" y="670"/>
                  </a:lnTo>
                  <a:lnTo>
                    <a:pt x="104" y="667"/>
                  </a:lnTo>
                  <a:lnTo>
                    <a:pt x="115" y="665"/>
                  </a:lnTo>
                  <a:lnTo>
                    <a:pt x="124" y="662"/>
                  </a:lnTo>
                  <a:lnTo>
                    <a:pt x="135" y="662"/>
                  </a:lnTo>
                  <a:lnTo>
                    <a:pt x="146" y="662"/>
                  </a:lnTo>
                  <a:lnTo>
                    <a:pt x="156" y="665"/>
                  </a:lnTo>
                  <a:lnTo>
                    <a:pt x="167" y="667"/>
                  </a:lnTo>
                  <a:lnTo>
                    <a:pt x="177" y="670"/>
                  </a:lnTo>
                  <a:lnTo>
                    <a:pt x="185" y="674"/>
                  </a:lnTo>
                  <a:lnTo>
                    <a:pt x="194" y="680"/>
                  </a:lnTo>
                  <a:lnTo>
                    <a:pt x="202" y="686"/>
                  </a:lnTo>
                  <a:lnTo>
                    <a:pt x="210" y="692"/>
                  </a:lnTo>
                  <a:lnTo>
                    <a:pt x="216" y="700"/>
                  </a:lnTo>
                  <a:lnTo>
                    <a:pt x="223" y="708"/>
                  </a:lnTo>
                  <a:lnTo>
                    <a:pt x="228" y="717"/>
                  </a:lnTo>
                  <a:lnTo>
                    <a:pt x="232" y="727"/>
                  </a:lnTo>
                  <a:lnTo>
                    <a:pt x="236" y="736"/>
                  </a:lnTo>
                  <a:lnTo>
                    <a:pt x="239" y="746"/>
                  </a:lnTo>
                  <a:lnTo>
                    <a:pt x="240" y="757"/>
                  </a:lnTo>
                  <a:lnTo>
                    <a:pt x="241" y="767"/>
                  </a:lnTo>
                  <a:lnTo>
                    <a:pt x="240" y="778"/>
                  </a:lnTo>
                  <a:lnTo>
                    <a:pt x="239" y="789"/>
                  </a:lnTo>
                  <a:lnTo>
                    <a:pt x="236" y="798"/>
                  </a:lnTo>
                  <a:lnTo>
                    <a:pt x="232" y="808"/>
                  </a:lnTo>
                  <a:lnTo>
                    <a:pt x="228" y="818"/>
                  </a:lnTo>
                  <a:lnTo>
                    <a:pt x="223" y="826"/>
                  </a:lnTo>
                  <a:lnTo>
                    <a:pt x="216" y="834"/>
                  </a:lnTo>
                  <a:lnTo>
                    <a:pt x="210" y="841"/>
                  </a:lnTo>
                  <a:lnTo>
                    <a:pt x="202" y="849"/>
                  </a:lnTo>
                  <a:lnTo>
                    <a:pt x="194" y="854"/>
                  </a:lnTo>
                  <a:lnTo>
                    <a:pt x="185" y="859"/>
                  </a:lnTo>
                  <a:lnTo>
                    <a:pt x="177" y="864"/>
                  </a:lnTo>
                  <a:lnTo>
                    <a:pt x="167" y="868"/>
                  </a:lnTo>
                  <a:lnTo>
                    <a:pt x="156" y="870"/>
                  </a:lnTo>
                  <a:lnTo>
                    <a:pt x="146" y="872"/>
                  </a:lnTo>
                  <a:lnTo>
                    <a:pt x="135" y="872"/>
                  </a:lnTo>
                  <a:close/>
                  <a:moveTo>
                    <a:pt x="271" y="180"/>
                  </a:moveTo>
                  <a:lnTo>
                    <a:pt x="511" y="180"/>
                  </a:lnTo>
                  <a:lnTo>
                    <a:pt x="511" y="361"/>
                  </a:lnTo>
                  <a:lnTo>
                    <a:pt x="271" y="361"/>
                  </a:lnTo>
                  <a:lnTo>
                    <a:pt x="271" y="180"/>
                  </a:lnTo>
                  <a:close/>
                  <a:moveTo>
                    <a:pt x="632" y="722"/>
                  </a:moveTo>
                  <a:lnTo>
                    <a:pt x="271" y="722"/>
                  </a:lnTo>
                  <a:lnTo>
                    <a:pt x="271" y="391"/>
                  </a:lnTo>
                  <a:lnTo>
                    <a:pt x="526" y="391"/>
                  </a:lnTo>
                  <a:lnTo>
                    <a:pt x="632" y="391"/>
                  </a:lnTo>
                  <a:lnTo>
                    <a:pt x="632" y="722"/>
                  </a:lnTo>
                  <a:close/>
                  <a:moveTo>
                    <a:pt x="688" y="877"/>
                  </a:moveTo>
                  <a:lnTo>
                    <a:pt x="627" y="817"/>
                  </a:lnTo>
                  <a:lnTo>
                    <a:pt x="625" y="814"/>
                  </a:lnTo>
                  <a:lnTo>
                    <a:pt x="622" y="813"/>
                  </a:lnTo>
                  <a:lnTo>
                    <a:pt x="619" y="812"/>
                  </a:lnTo>
                  <a:lnTo>
                    <a:pt x="616" y="812"/>
                  </a:lnTo>
                  <a:lnTo>
                    <a:pt x="262" y="812"/>
                  </a:lnTo>
                  <a:lnTo>
                    <a:pt x="266" y="802"/>
                  </a:lnTo>
                  <a:lnTo>
                    <a:pt x="269" y="790"/>
                  </a:lnTo>
                  <a:lnTo>
                    <a:pt x="270" y="779"/>
                  </a:lnTo>
                  <a:lnTo>
                    <a:pt x="271" y="767"/>
                  </a:lnTo>
                  <a:lnTo>
                    <a:pt x="270" y="760"/>
                  </a:lnTo>
                  <a:lnTo>
                    <a:pt x="270" y="752"/>
                  </a:lnTo>
                  <a:lnTo>
                    <a:pt x="647" y="752"/>
                  </a:lnTo>
                  <a:lnTo>
                    <a:pt x="649" y="752"/>
                  </a:lnTo>
                  <a:lnTo>
                    <a:pt x="652" y="751"/>
                  </a:lnTo>
                  <a:lnTo>
                    <a:pt x="655" y="749"/>
                  </a:lnTo>
                  <a:lnTo>
                    <a:pt x="657" y="748"/>
                  </a:lnTo>
                  <a:lnTo>
                    <a:pt x="659" y="746"/>
                  </a:lnTo>
                  <a:lnTo>
                    <a:pt x="660" y="743"/>
                  </a:lnTo>
                  <a:lnTo>
                    <a:pt x="661" y="741"/>
                  </a:lnTo>
                  <a:lnTo>
                    <a:pt x="662" y="737"/>
                  </a:lnTo>
                  <a:lnTo>
                    <a:pt x="662" y="376"/>
                  </a:lnTo>
                  <a:lnTo>
                    <a:pt x="661" y="373"/>
                  </a:lnTo>
                  <a:lnTo>
                    <a:pt x="660" y="370"/>
                  </a:lnTo>
                  <a:lnTo>
                    <a:pt x="659" y="368"/>
                  </a:lnTo>
                  <a:lnTo>
                    <a:pt x="657" y="366"/>
                  </a:lnTo>
                  <a:lnTo>
                    <a:pt x="655" y="364"/>
                  </a:lnTo>
                  <a:lnTo>
                    <a:pt x="652" y="362"/>
                  </a:lnTo>
                  <a:lnTo>
                    <a:pt x="649" y="361"/>
                  </a:lnTo>
                  <a:lnTo>
                    <a:pt x="647" y="361"/>
                  </a:lnTo>
                  <a:lnTo>
                    <a:pt x="541" y="361"/>
                  </a:lnTo>
                  <a:lnTo>
                    <a:pt x="541" y="165"/>
                  </a:lnTo>
                  <a:lnTo>
                    <a:pt x="541" y="163"/>
                  </a:lnTo>
                  <a:lnTo>
                    <a:pt x="540" y="160"/>
                  </a:lnTo>
                  <a:lnTo>
                    <a:pt x="539" y="158"/>
                  </a:lnTo>
                  <a:lnTo>
                    <a:pt x="537" y="155"/>
                  </a:lnTo>
                  <a:lnTo>
                    <a:pt x="535" y="154"/>
                  </a:lnTo>
                  <a:lnTo>
                    <a:pt x="532" y="152"/>
                  </a:lnTo>
                  <a:lnTo>
                    <a:pt x="529" y="151"/>
                  </a:lnTo>
                  <a:lnTo>
                    <a:pt x="526" y="150"/>
                  </a:lnTo>
                  <a:lnTo>
                    <a:pt x="256" y="150"/>
                  </a:lnTo>
                  <a:lnTo>
                    <a:pt x="253" y="151"/>
                  </a:lnTo>
                  <a:lnTo>
                    <a:pt x="250" y="151"/>
                  </a:lnTo>
                  <a:lnTo>
                    <a:pt x="247" y="154"/>
                  </a:lnTo>
                  <a:lnTo>
                    <a:pt x="245" y="155"/>
                  </a:lnTo>
                  <a:lnTo>
                    <a:pt x="243" y="158"/>
                  </a:lnTo>
                  <a:lnTo>
                    <a:pt x="242" y="160"/>
                  </a:lnTo>
                  <a:lnTo>
                    <a:pt x="241" y="163"/>
                  </a:lnTo>
                  <a:lnTo>
                    <a:pt x="241" y="165"/>
                  </a:lnTo>
                  <a:lnTo>
                    <a:pt x="241" y="376"/>
                  </a:lnTo>
                  <a:lnTo>
                    <a:pt x="241" y="683"/>
                  </a:lnTo>
                  <a:lnTo>
                    <a:pt x="235" y="675"/>
                  </a:lnTo>
                  <a:lnTo>
                    <a:pt x="228" y="669"/>
                  </a:lnTo>
                  <a:lnTo>
                    <a:pt x="221" y="662"/>
                  </a:lnTo>
                  <a:lnTo>
                    <a:pt x="213" y="657"/>
                  </a:lnTo>
                  <a:lnTo>
                    <a:pt x="206" y="652"/>
                  </a:lnTo>
                  <a:lnTo>
                    <a:pt x="198" y="647"/>
                  </a:lnTo>
                  <a:lnTo>
                    <a:pt x="190" y="643"/>
                  </a:lnTo>
                  <a:lnTo>
                    <a:pt x="180" y="640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10"/>
                  </a:lnTo>
                  <a:lnTo>
                    <a:pt x="178" y="7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75" y="0"/>
                  </a:lnTo>
                  <a:lnTo>
                    <a:pt x="72" y="0"/>
                  </a:lnTo>
                  <a:lnTo>
                    <a:pt x="70" y="1"/>
                  </a:lnTo>
                  <a:lnTo>
                    <a:pt x="66" y="3"/>
                  </a:lnTo>
                  <a:lnTo>
                    <a:pt x="64" y="5"/>
                  </a:lnTo>
                  <a:lnTo>
                    <a:pt x="63" y="7"/>
                  </a:lnTo>
                  <a:lnTo>
                    <a:pt x="61" y="10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0" y="19"/>
                  </a:lnTo>
                  <a:lnTo>
                    <a:pt x="61" y="22"/>
                  </a:lnTo>
                  <a:lnTo>
                    <a:pt x="63" y="24"/>
                  </a:lnTo>
                  <a:lnTo>
                    <a:pt x="64" y="26"/>
                  </a:lnTo>
                  <a:lnTo>
                    <a:pt x="66" y="28"/>
                  </a:lnTo>
                  <a:lnTo>
                    <a:pt x="70" y="29"/>
                  </a:lnTo>
                  <a:lnTo>
                    <a:pt x="72" y="30"/>
                  </a:lnTo>
                  <a:lnTo>
                    <a:pt x="75" y="30"/>
                  </a:lnTo>
                  <a:lnTo>
                    <a:pt x="150" y="30"/>
                  </a:lnTo>
                  <a:lnTo>
                    <a:pt x="150" y="632"/>
                  </a:lnTo>
                  <a:lnTo>
                    <a:pt x="142" y="632"/>
                  </a:lnTo>
                  <a:lnTo>
                    <a:pt x="135" y="632"/>
                  </a:lnTo>
                  <a:lnTo>
                    <a:pt x="121" y="632"/>
                  </a:lnTo>
                  <a:lnTo>
                    <a:pt x="108" y="635"/>
                  </a:lnTo>
                  <a:lnTo>
                    <a:pt x="95" y="638"/>
                  </a:lnTo>
                  <a:lnTo>
                    <a:pt x="82" y="642"/>
                  </a:lnTo>
                  <a:lnTo>
                    <a:pt x="71" y="648"/>
                  </a:lnTo>
                  <a:lnTo>
                    <a:pt x="60" y="655"/>
                  </a:lnTo>
                  <a:lnTo>
                    <a:pt x="49" y="662"/>
                  </a:lnTo>
                  <a:lnTo>
                    <a:pt x="40" y="672"/>
                  </a:lnTo>
                  <a:lnTo>
                    <a:pt x="31" y="682"/>
                  </a:lnTo>
                  <a:lnTo>
                    <a:pt x="24" y="691"/>
                  </a:lnTo>
                  <a:lnTo>
                    <a:pt x="16" y="703"/>
                  </a:lnTo>
                  <a:lnTo>
                    <a:pt x="11" y="715"/>
                  </a:lnTo>
                  <a:lnTo>
                    <a:pt x="6" y="727"/>
                  </a:lnTo>
                  <a:lnTo>
                    <a:pt x="3" y="740"/>
                  </a:lnTo>
                  <a:lnTo>
                    <a:pt x="1" y="753"/>
                  </a:lnTo>
                  <a:lnTo>
                    <a:pt x="0" y="767"/>
                  </a:lnTo>
                  <a:lnTo>
                    <a:pt x="1" y="781"/>
                  </a:lnTo>
                  <a:lnTo>
                    <a:pt x="3" y="794"/>
                  </a:lnTo>
                  <a:lnTo>
                    <a:pt x="6" y="807"/>
                  </a:lnTo>
                  <a:lnTo>
                    <a:pt x="11" y="820"/>
                  </a:lnTo>
                  <a:lnTo>
                    <a:pt x="16" y="832"/>
                  </a:lnTo>
                  <a:lnTo>
                    <a:pt x="24" y="842"/>
                  </a:lnTo>
                  <a:lnTo>
                    <a:pt x="31" y="853"/>
                  </a:lnTo>
                  <a:lnTo>
                    <a:pt x="40" y="863"/>
                  </a:lnTo>
                  <a:lnTo>
                    <a:pt x="49" y="871"/>
                  </a:lnTo>
                  <a:lnTo>
                    <a:pt x="60" y="880"/>
                  </a:lnTo>
                  <a:lnTo>
                    <a:pt x="71" y="886"/>
                  </a:lnTo>
                  <a:lnTo>
                    <a:pt x="82" y="892"/>
                  </a:lnTo>
                  <a:lnTo>
                    <a:pt x="95" y="896"/>
                  </a:lnTo>
                  <a:lnTo>
                    <a:pt x="108" y="900"/>
                  </a:lnTo>
                  <a:lnTo>
                    <a:pt x="121" y="902"/>
                  </a:lnTo>
                  <a:lnTo>
                    <a:pt x="135" y="902"/>
                  </a:lnTo>
                  <a:lnTo>
                    <a:pt x="144" y="902"/>
                  </a:lnTo>
                  <a:lnTo>
                    <a:pt x="152" y="901"/>
                  </a:lnTo>
                  <a:lnTo>
                    <a:pt x="161" y="900"/>
                  </a:lnTo>
                  <a:lnTo>
                    <a:pt x="169" y="898"/>
                  </a:lnTo>
                  <a:lnTo>
                    <a:pt x="185" y="893"/>
                  </a:lnTo>
                  <a:lnTo>
                    <a:pt x="200" y="886"/>
                  </a:lnTo>
                  <a:lnTo>
                    <a:pt x="214" y="878"/>
                  </a:lnTo>
                  <a:lnTo>
                    <a:pt x="226" y="867"/>
                  </a:lnTo>
                  <a:lnTo>
                    <a:pt x="238" y="855"/>
                  </a:lnTo>
                  <a:lnTo>
                    <a:pt x="247" y="842"/>
                  </a:lnTo>
                  <a:lnTo>
                    <a:pt x="611" y="842"/>
                  </a:lnTo>
                  <a:lnTo>
                    <a:pt x="666" y="898"/>
                  </a:lnTo>
                  <a:lnTo>
                    <a:pt x="668" y="900"/>
                  </a:lnTo>
                  <a:lnTo>
                    <a:pt x="671" y="901"/>
                  </a:lnTo>
                  <a:lnTo>
                    <a:pt x="674" y="902"/>
                  </a:lnTo>
                  <a:lnTo>
                    <a:pt x="677" y="902"/>
                  </a:lnTo>
                  <a:lnTo>
                    <a:pt x="679" y="902"/>
                  </a:lnTo>
                  <a:lnTo>
                    <a:pt x="682" y="901"/>
                  </a:lnTo>
                  <a:lnTo>
                    <a:pt x="685" y="900"/>
                  </a:lnTo>
                  <a:lnTo>
                    <a:pt x="688" y="898"/>
                  </a:lnTo>
                  <a:lnTo>
                    <a:pt x="689" y="896"/>
                  </a:lnTo>
                  <a:lnTo>
                    <a:pt x="691" y="893"/>
                  </a:lnTo>
                  <a:lnTo>
                    <a:pt x="691" y="891"/>
                  </a:lnTo>
                  <a:lnTo>
                    <a:pt x="692" y="887"/>
                  </a:lnTo>
                  <a:lnTo>
                    <a:pt x="691" y="884"/>
                  </a:lnTo>
                  <a:lnTo>
                    <a:pt x="691" y="882"/>
                  </a:lnTo>
                  <a:lnTo>
                    <a:pt x="689" y="879"/>
                  </a:lnTo>
                  <a:lnTo>
                    <a:pt x="688" y="877"/>
                  </a:lnTo>
                  <a:lnTo>
                    <a:pt x="688" y="8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228">
              <a:extLst>
                <a:ext uri="{FF2B5EF4-FFF2-40B4-BE49-F238E27FC236}">
                  <a16:creationId xmlns="" xmlns:a16="http://schemas.microsoft.com/office/drawing/2014/main" id="{DD2AD841-191E-4E71-B8F3-1FFE19C772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2888" y="2709863"/>
              <a:ext cx="42863" cy="9525"/>
            </a:xfrm>
            <a:custGeom>
              <a:avLst/>
              <a:gdLst>
                <a:gd name="T0" fmla="*/ 0 w 135"/>
                <a:gd name="T1" fmla="*/ 15 h 30"/>
                <a:gd name="T2" fmla="*/ 0 w 135"/>
                <a:gd name="T3" fmla="*/ 18 h 30"/>
                <a:gd name="T4" fmla="*/ 1 w 135"/>
                <a:gd name="T5" fmla="*/ 21 h 30"/>
                <a:gd name="T6" fmla="*/ 3 w 135"/>
                <a:gd name="T7" fmla="*/ 23 h 30"/>
                <a:gd name="T8" fmla="*/ 4 w 135"/>
                <a:gd name="T9" fmla="*/ 26 h 30"/>
                <a:gd name="T10" fmla="*/ 6 w 135"/>
                <a:gd name="T11" fmla="*/ 27 h 30"/>
                <a:gd name="T12" fmla="*/ 10 w 135"/>
                <a:gd name="T13" fmla="*/ 29 h 30"/>
                <a:gd name="T14" fmla="*/ 12 w 135"/>
                <a:gd name="T15" fmla="*/ 29 h 30"/>
                <a:gd name="T16" fmla="*/ 15 w 135"/>
                <a:gd name="T17" fmla="*/ 30 h 30"/>
                <a:gd name="T18" fmla="*/ 120 w 135"/>
                <a:gd name="T19" fmla="*/ 30 h 30"/>
                <a:gd name="T20" fmla="*/ 123 w 135"/>
                <a:gd name="T21" fmla="*/ 29 h 30"/>
                <a:gd name="T22" fmla="*/ 126 w 135"/>
                <a:gd name="T23" fmla="*/ 28 h 30"/>
                <a:gd name="T24" fmla="*/ 129 w 135"/>
                <a:gd name="T25" fmla="*/ 27 h 30"/>
                <a:gd name="T26" fmla="*/ 131 w 135"/>
                <a:gd name="T27" fmla="*/ 26 h 30"/>
                <a:gd name="T28" fmla="*/ 133 w 135"/>
                <a:gd name="T29" fmla="*/ 23 h 30"/>
                <a:gd name="T30" fmla="*/ 134 w 135"/>
                <a:gd name="T31" fmla="*/ 21 h 30"/>
                <a:gd name="T32" fmla="*/ 135 w 135"/>
                <a:gd name="T33" fmla="*/ 18 h 30"/>
                <a:gd name="T34" fmla="*/ 135 w 135"/>
                <a:gd name="T35" fmla="*/ 15 h 30"/>
                <a:gd name="T36" fmla="*/ 135 w 135"/>
                <a:gd name="T37" fmla="*/ 12 h 30"/>
                <a:gd name="T38" fmla="*/ 134 w 135"/>
                <a:gd name="T39" fmla="*/ 9 h 30"/>
                <a:gd name="T40" fmla="*/ 133 w 135"/>
                <a:gd name="T41" fmla="*/ 7 h 30"/>
                <a:gd name="T42" fmla="*/ 131 w 135"/>
                <a:gd name="T43" fmla="*/ 5 h 30"/>
                <a:gd name="T44" fmla="*/ 129 w 135"/>
                <a:gd name="T45" fmla="*/ 3 h 30"/>
                <a:gd name="T46" fmla="*/ 126 w 135"/>
                <a:gd name="T47" fmla="*/ 1 h 30"/>
                <a:gd name="T48" fmla="*/ 123 w 135"/>
                <a:gd name="T49" fmla="*/ 0 h 30"/>
                <a:gd name="T50" fmla="*/ 120 w 135"/>
                <a:gd name="T51" fmla="*/ 0 h 30"/>
                <a:gd name="T52" fmla="*/ 15 w 135"/>
                <a:gd name="T53" fmla="*/ 0 h 30"/>
                <a:gd name="T54" fmla="*/ 12 w 135"/>
                <a:gd name="T55" fmla="*/ 0 h 30"/>
                <a:gd name="T56" fmla="*/ 10 w 135"/>
                <a:gd name="T57" fmla="*/ 1 h 30"/>
                <a:gd name="T58" fmla="*/ 6 w 135"/>
                <a:gd name="T59" fmla="*/ 3 h 30"/>
                <a:gd name="T60" fmla="*/ 4 w 135"/>
                <a:gd name="T61" fmla="*/ 5 h 30"/>
                <a:gd name="T62" fmla="*/ 3 w 135"/>
                <a:gd name="T63" fmla="*/ 7 h 30"/>
                <a:gd name="T64" fmla="*/ 1 w 135"/>
                <a:gd name="T65" fmla="*/ 9 h 30"/>
                <a:gd name="T66" fmla="*/ 0 w 135"/>
                <a:gd name="T67" fmla="*/ 12 h 30"/>
                <a:gd name="T68" fmla="*/ 0 w 135"/>
                <a:gd name="T69" fmla="*/ 15 h 30"/>
                <a:gd name="T70" fmla="*/ 0 w 135"/>
                <a:gd name="T71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5" h="30">
                  <a:moveTo>
                    <a:pt x="0" y="15"/>
                  </a:moveTo>
                  <a:lnTo>
                    <a:pt x="0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120" y="30"/>
                  </a:lnTo>
                  <a:lnTo>
                    <a:pt x="123" y="29"/>
                  </a:lnTo>
                  <a:lnTo>
                    <a:pt x="126" y="28"/>
                  </a:lnTo>
                  <a:lnTo>
                    <a:pt x="129" y="27"/>
                  </a:lnTo>
                  <a:lnTo>
                    <a:pt x="131" y="26"/>
                  </a:lnTo>
                  <a:lnTo>
                    <a:pt x="133" y="23"/>
                  </a:lnTo>
                  <a:lnTo>
                    <a:pt x="134" y="21"/>
                  </a:lnTo>
                  <a:lnTo>
                    <a:pt x="135" y="18"/>
                  </a:lnTo>
                  <a:lnTo>
                    <a:pt x="135" y="15"/>
                  </a:lnTo>
                  <a:lnTo>
                    <a:pt x="135" y="12"/>
                  </a:lnTo>
                  <a:lnTo>
                    <a:pt x="134" y="9"/>
                  </a:lnTo>
                  <a:lnTo>
                    <a:pt x="133" y="7"/>
                  </a:lnTo>
                  <a:lnTo>
                    <a:pt x="131" y="5"/>
                  </a:lnTo>
                  <a:lnTo>
                    <a:pt x="129" y="3"/>
                  </a:lnTo>
                  <a:lnTo>
                    <a:pt x="126" y="1"/>
                  </a:lnTo>
                  <a:lnTo>
                    <a:pt x="123" y="0"/>
                  </a:lnTo>
                  <a:lnTo>
                    <a:pt x="120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229">
              <a:extLst>
                <a:ext uri="{FF2B5EF4-FFF2-40B4-BE49-F238E27FC236}">
                  <a16:creationId xmlns="" xmlns:a16="http://schemas.microsoft.com/office/drawing/2014/main" id="{78E6C5C4-27C7-4801-9AD8-5D9CAE42B5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0500" y="2593975"/>
              <a:ext cx="28575" cy="9525"/>
            </a:xfrm>
            <a:custGeom>
              <a:avLst/>
              <a:gdLst>
                <a:gd name="T0" fmla="*/ 75 w 90"/>
                <a:gd name="T1" fmla="*/ 0 h 30"/>
                <a:gd name="T2" fmla="*/ 15 w 90"/>
                <a:gd name="T3" fmla="*/ 0 h 30"/>
                <a:gd name="T4" fmla="*/ 12 w 90"/>
                <a:gd name="T5" fmla="*/ 0 h 30"/>
                <a:gd name="T6" fmla="*/ 9 w 90"/>
                <a:gd name="T7" fmla="*/ 1 h 30"/>
                <a:gd name="T8" fmla="*/ 6 w 90"/>
                <a:gd name="T9" fmla="*/ 3 h 30"/>
                <a:gd name="T10" fmla="*/ 4 w 90"/>
                <a:gd name="T11" fmla="*/ 5 h 30"/>
                <a:gd name="T12" fmla="*/ 2 w 90"/>
                <a:gd name="T13" fmla="*/ 7 h 30"/>
                <a:gd name="T14" fmla="*/ 1 w 90"/>
                <a:gd name="T15" fmla="*/ 9 h 30"/>
                <a:gd name="T16" fmla="*/ 0 w 90"/>
                <a:gd name="T17" fmla="*/ 12 h 30"/>
                <a:gd name="T18" fmla="*/ 0 w 90"/>
                <a:gd name="T19" fmla="*/ 15 h 30"/>
                <a:gd name="T20" fmla="*/ 0 w 90"/>
                <a:gd name="T21" fmla="*/ 19 h 30"/>
                <a:gd name="T22" fmla="*/ 1 w 90"/>
                <a:gd name="T23" fmla="*/ 21 h 30"/>
                <a:gd name="T24" fmla="*/ 2 w 90"/>
                <a:gd name="T25" fmla="*/ 24 h 30"/>
                <a:gd name="T26" fmla="*/ 4 w 90"/>
                <a:gd name="T27" fmla="*/ 26 h 30"/>
                <a:gd name="T28" fmla="*/ 6 w 90"/>
                <a:gd name="T29" fmla="*/ 27 h 30"/>
                <a:gd name="T30" fmla="*/ 9 w 90"/>
                <a:gd name="T31" fmla="*/ 29 h 30"/>
                <a:gd name="T32" fmla="*/ 12 w 90"/>
                <a:gd name="T33" fmla="*/ 30 h 30"/>
                <a:gd name="T34" fmla="*/ 15 w 90"/>
                <a:gd name="T35" fmla="*/ 30 h 30"/>
                <a:gd name="T36" fmla="*/ 75 w 90"/>
                <a:gd name="T37" fmla="*/ 30 h 30"/>
                <a:gd name="T38" fmla="*/ 78 w 90"/>
                <a:gd name="T39" fmla="*/ 30 h 30"/>
                <a:gd name="T40" fmla="*/ 80 w 90"/>
                <a:gd name="T41" fmla="*/ 29 h 30"/>
                <a:gd name="T42" fmla="*/ 84 w 90"/>
                <a:gd name="T43" fmla="*/ 27 h 30"/>
                <a:gd name="T44" fmla="*/ 86 w 90"/>
                <a:gd name="T45" fmla="*/ 26 h 30"/>
                <a:gd name="T46" fmla="*/ 88 w 90"/>
                <a:gd name="T47" fmla="*/ 24 h 30"/>
                <a:gd name="T48" fmla="*/ 89 w 90"/>
                <a:gd name="T49" fmla="*/ 21 h 30"/>
                <a:gd name="T50" fmla="*/ 90 w 90"/>
                <a:gd name="T51" fmla="*/ 19 h 30"/>
                <a:gd name="T52" fmla="*/ 90 w 90"/>
                <a:gd name="T53" fmla="*/ 15 h 30"/>
                <a:gd name="T54" fmla="*/ 90 w 90"/>
                <a:gd name="T55" fmla="*/ 12 h 30"/>
                <a:gd name="T56" fmla="*/ 89 w 90"/>
                <a:gd name="T57" fmla="*/ 9 h 30"/>
                <a:gd name="T58" fmla="*/ 88 w 90"/>
                <a:gd name="T59" fmla="*/ 7 h 30"/>
                <a:gd name="T60" fmla="*/ 86 w 90"/>
                <a:gd name="T61" fmla="*/ 5 h 30"/>
                <a:gd name="T62" fmla="*/ 84 w 90"/>
                <a:gd name="T63" fmla="*/ 3 h 30"/>
                <a:gd name="T64" fmla="*/ 80 w 90"/>
                <a:gd name="T65" fmla="*/ 1 h 30"/>
                <a:gd name="T66" fmla="*/ 78 w 90"/>
                <a:gd name="T67" fmla="*/ 0 h 30"/>
                <a:gd name="T68" fmla="*/ 75 w 90"/>
                <a:gd name="T69" fmla="*/ 0 h 30"/>
                <a:gd name="T70" fmla="*/ 75 w 9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30">
                  <a:moveTo>
                    <a:pt x="7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75" y="30"/>
                  </a:lnTo>
                  <a:lnTo>
                    <a:pt x="78" y="30"/>
                  </a:lnTo>
                  <a:lnTo>
                    <a:pt x="80" y="29"/>
                  </a:lnTo>
                  <a:lnTo>
                    <a:pt x="84" y="27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89" y="21"/>
                  </a:lnTo>
                  <a:lnTo>
                    <a:pt x="90" y="19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3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93" name="Freeform 40">
            <a:extLst>
              <a:ext uri="{FF2B5EF4-FFF2-40B4-BE49-F238E27FC236}">
                <a16:creationId xmlns="" xmlns:a16="http://schemas.microsoft.com/office/drawing/2014/main" id="{694EAAC4-6803-490F-B989-D9D73343219F}"/>
              </a:ext>
            </a:extLst>
          </p:cNvPr>
          <p:cNvSpPr>
            <a:spLocks noEditPoints="1"/>
          </p:cNvSpPr>
          <p:nvPr/>
        </p:nvSpPr>
        <p:spPr bwMode="auto">
          <a:xfrm>
            <a:off x="10010424" y="4452725"/>
            <a:ext cx="515052" cy="515052"/>
          </a:xfrm>
          <a:custGeom>
            <a:avLst/>
            <a:gdLst>
              <a:gd name="T0" fmla="*/ 586 w 760"/>
              <a:gd name="T1" fmla="*/ 675 h 759"/>
              <a:gd name="T2" fmla="*/ 574 w 760"/>
              <a:gd name="T3" fmla="*/ 724 h 759"/>
              <a:gd name="T4" fmla="*/ 507 w 760"/>
              <a:gd name="T5" fmla="*/ 649 h 759"/>
              <a:gd name="T6" fmla="*/ 513 w 760"/>
              <a:gd name="T7" fmla="*/ 569 h 759"/>
              <a:gd name="T8" fmla="*/ 574 w 760"/>
              <a:gd name="T9" fmla="*/ 511 h 759"/>
              <a:gd name="T10" fmla="*/ 657 w 760"/>
              <a:gd name="T11" fmla="*/ 509 h 759"/>
              <a:gd name="T12" fmla="*/ 730 w 760"/>
              <a:gd name="T13" fmla="*/ 587 h 759"/>
              <a:gd name="T14" fmla="*/ 258 w 760"/>
              <a:gd name="T15" fmla="*/ 616 h 759"/>
              <a:gd name="T16" fmla="*/ 231 w 760"/>
              <a:gd name="T17" fmla="*/ 694 h 759"/>
              <a:gd name="T18" fmla="*/ 132 w 760"/>
              <a:gd name="T19" fmla="*/ 734 h 759"/>
              <a:gd name="T20" fmla="*/ 171 w 760"/>
              <a:gd name="T21" fmla="*/ 587 h 759"/>
              <a:gd name="T22" fmla="*/ 36 w 760"/>
              <a:gd name="T23" fmla="*/ 573 h 759"/>
              <a:gd name="T24" fmla="*/ 130 w 760"/>
              <a:gd name="T25" fmla="*/ 503 h 759"/>
              <a:gd name="T26" fmla="*/ 509 w 760"/>
              <a:gd name="T27" fmla="*/ 201 h 759"/>
              <a:gd name="T28" fmla="*/ 503 w 760"/>
              <a:gd name="T29" fmla="*/ 136 h 759"/>
              <a:gd name="T30" fmla="*/ 537 w 760"/>
              <a:gd name="T31" fmla="*/ 59 h 759"/>
              <a:gd name="T32" fmla="*/ 643 w 760"/>
              <a:gd name="T33" fmla="*/ 28 h 759"/>
              <a:gd name="T34" fmla="*/ 599 w 760"/>
              <a:gd name="T35" fmla="*/ 179 h 759"/>
              <a:gd name="T36" fmla="*/ 719 w 760"/>
              <a:gd name="T37" fmla="*/ 200 h 759"/>
              <a:gd name="T38" fmla="*/ 619 w 760"/>
              <a:gd name="T39" fmla="*/ 257 h 759"/>
              <a:gd name="T40" fmla="*/ 249 w 760"/>
              <a:gd name="T41" fmla="*/ 562 h 759"/>
              <a:gd name="T42" fmla="*/ 170 w 760"/>
              <a:gd name="T43" fmla="*/ 254 h 759"/>
              <a:gd name="T44" fmla="*/ 87 w 760"/>
              <a:gd name="T45" fmla="*/ 244 h 759"/>
              <a:gd name="T46" fmla="*/ 26 w 760"/>
              <a:gd name="T47" fmla="*/ 147 h 759"/>
              <a:gd name="T48" fmla="*/ 180 w 760"/>
              <a:gd name="T49" fmla="*/ 166 h 759"/>
              <a:gd name="T50" fmla="*/ 175 w 760"/>
              <a:gd name="T51" fmla="*/ 30 h 759"/>
              <a:gd name="T52" fmla="*/ 251 w 760"/>
              <a:gd name="T53" fmla="*/ 102 h 759"/>
              <a:gd name="T54" fmla="*/ 248 w 760"/>
              <a:gd name="T55" fmla="*/ 187 h 759"/>
              <a:gd name="T56" fmla="*/ 703 w 760"/>
              <a:gd name="T57" fmla="*/ 505 h 759"/>
              <a:gd name="T58" fmla="*/ 611 w 760"/>
              <a:gd name="T59" fmla="*/ 477 h 759"/>
              <a:gd name="T60" fmla="*/ 619 w 760"/>
              <a:gd name="T61" fmla="*/ 283 h 759"/>
              <a:gd name="T62" fmla="*/ 732 w 760"/>
              <a:gd name="T63" fmla="*/ 225 h 759"/>
              <a:gd name="T64" fmla="*/ 759 w 760"/>
              <a:gd name="T65" fmla="*/ 129 h 759"/>
              <a:gd name="T66" fmla="*/ 732 w 760"/>
              <a:gd name="T67" fmla="*/ 82 h 759"/>
              <a:gd name="T68" fmla="*/ 682 w 760"/>
              <a:gd name="T69" fmla="*/ 22 h 759"/>
              <a:gd name="T70" fmla="*/ 591 w 760"/>
              <a:gd name="T71" fmla="*/ 3 h 759"/>
              <a:gd name="T72" fmla="*/ 495 w 760"/>
              <a:gd name="T73" fmla="*/ 73 h 759"/>
              <a:gd name="T74" fmla="*/ 480 w 760"/>
              <a:gd name="T75" fmla="*/ 169 h 759"/>
              <a:gd name="T76" fmla="*/ 283 w 760"/>
              <a:gd name="T77" fmla="*/ 129 h 759"/>
              <a:gd name="T78" fmla="*/ 242 w 760"/>
              <a:gd name="T79" fmla="*/ 42 h 759"/>
              <a:gd name="T80" fmla="*/ 149 w 760"/>
              <a:gd name="T81" fmla="*/ 0 h 759"/>
              <a:gd name="T82" fmla="*/ 82 w 760"/>
              <a:gd name="T83" fmla="*/ 22 h 759"/>
              <a:gd name="T84" fmla="*/ 28 w 760"/>
              <a:gd name="T85" fmla="*/ 82 h 759"/>
              <a:gd name="T86" fmla="*/ 1 w 760"/>
              <a:gd name="T87" fmla="*/ 129 h 759"/>
              <a:gd name="T88" fmla="*/ 28 w 760"/>
              <a:gd name="T89" fmla="*/ 227 h 759"/>
              <a:gd name="T90" fmla="*/ 111 w 760"/>
              <a:gd name="T91" fmla="*/ 281 h 759"/>
              <a:gd name="T92" fmla="*/ 189 w 760"/>
              <a:gd name="T93" fmla="*/ 485 h 759"/>
              <a:gd name="T94" fmla="*/ 64 w 760"/>
              <a:gd name="T95" fmla="*/ 501 h 759"/>
              <a:gd name="T96" fmla="*/ 3 w 760"/>
              <a:gd name="T97" fmla="*/ 592 h 759"/>
              <a:gd name="T98" fmla="*/ 16 w 760"/>
              <a:gd name="T99" fmla="*/ 678 h 759"/>
              <a:gd name="T100" fmla="*/ 86 w 760"/>
              <a:gd name="T101" fmla="*/ 727 h 759"/>
              <a:gd name="T102" fmla="*/ 116 w 760"/>
              <a:gd name="T103" fmla="*/ 757 h 759"/>
              <a:gd name="T104" fmla="*/ 232 w 760"/>
              <a:gd name="T105" fmla="*/ 727 h 759"/>
              <a:gd name="T106" fmla="*/ 282 w 760"/>
              <a:gd name="T107" fmla="*/ 640 h 759"/>
              <a:gd name="T108" fmla="*/ 482 w 760"/>
              <a:gd name="T109" fmla="*/ 581 h 759"/>
              <a:gd name="T110" fmla="*/ 491 w 760"/>
              <a:gd name="T111" fmla="*/ 678 h 759"/>
              <a:gd name="T112" fmla="*/ 578 w 760"/>
              <a:gd name="T113" fmla="*/ 754 h 759"/>
              <a:gd name="T114" fmla="*/ 681 w 760"/>
              <a:gd name="T115" fmla="*/ 742 h 759"/>
              <a:gd name="T116" fmla="*/ 730 w 760"/>
              <a:gd name="T117" fmla="*/ 679 h 759"/>
              <a:gd name="T118" fmla="*/ 758 w 760"/>
              <a:gd name="T119" fmla="*/ 642 h 759"/>
              <a:gd name="T120" fmla="*/ 739 w 760"/>
              <a:gd name="T121" fmla="*/ 544 h 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60" h="759">
                <a:moveTo>
                  <a:pt x="731" y="642"/>
                </a:moveTo>
                <a:lnTo>
                  <a:pt x="685" y="591"/>
                </a:lnTo>
                <a:lnTo>
                  <a:pt x="681" y="588"/>
                </a:lnTo>
                <a:lnTo>
                  <a:pt x="676" y="586"/>
                </a:lnTo>
                <a:lnTo>
                  <a:pt x="599" y="586"/>
                </a:lnTo>
                <a:lnTo>
                  <a:pt x="594" y="587"/>
                </a:lnTo>
                <a:lnTo>
                  <a:pt x="590" y="590"/>
                </a:lnTo>
                <a:lnTo>
                  <a:pt x="588" y="594"/>
                </a:lnTo>
                <a:lnTo>
                  <a:pt x="586" y="598"/>
                </a:lnTo>
                <a:lnTo>
                  <a:pt x="586" y="675"/>
                </a:lnTo>
                <a:lnTo>
                  <a:pt x="586" y="678"/>
                </a:lnTo>
                <a:lnTo>
                  <a:pt x="588" y="680"/>
                </a:lnTo>
                <a:lnTo>
                  <a:pt x="589" y="683"/>
                </a:lnTo>
                <a:lnTo>
                  <a:pt x="591" y="685"/>
                </a:lnTo>
                <a:lnTo>
                  <a:pt x="643" y="732"/>
                </a:lnTo>
                <a:lnTo>
                  <a:pt x="629" y="734"/>
                </a:lnTo>
                <a:lnTo>
                  <a:pt x="615" y="734"/>
                </a:lnTo>
                <a:lnTo>
                  <a:pt x="600" y="733"/>
                </a:lnTo>
                <a:lnTo>
                  <a:pt x="586" y="729"/>
                </a:lnTo>
                <a:lnTo>
                  <a:pt x="574" y="724"/>
                </a:lnTo>
                <a:lnTo>
                  <a:pt x="561" y="718"/>
                </a:lnTo>
                <a:lnTo>
                  <a:pt x="548" y="710"/>
                </a:lnTo>
                <a:lnTo>
                  <a:pt x="537" y="700"/>
                </a:lnTo>
                <a:lnTo>
                  <a:pt x="531" y="694"/>
                </a:lnTo>
                <a:lnTo>
                  <a:pt x="525" y="688"/>
                </a:lnTo>
                <a:lnTo>
                  <a:pt x="521" y="680"/>
                </a:lnTo>
                <a:lnTo>
                  <a:pt x="517" y="673"/>
                </a:lnTo>
                <a:lnTo>
                  <a:pt x="512" y="665"/>
                </a:lnTo>
                <a:lnTo>
                  <a:pt x="509" y="657"/>
                </a:lnTo>
                <a:lnTo>
                  <a:pt x="507" y="649"/>
                </a:lnTo>
                <a:lnTo>
                  <a:pt x="505" y="640"/>
                </a:lnTo>
                <a:lnTo>
                  <a:pt x="504" y="633"/>
                </a:lnTo>
                <a:lnTo>
                  <a:pt x="504" y="624"/>
                </a:lnTo>
                <a:lnTo>
                  <a:pt x="503" y="616"/>
                </a:lnTo>
                <a:lnTo>
                  <a:pt x="504" y="607"/>
                </a:lnTo>
                <a:lnTo>
                  <a:pt x="505" y="598"/>
                </a:lnTo>
                <a:lnTo>
                  <a:pt x="507" y="590"/>
                </a:lnTo>
                <a:lnTo>
                  <a:pt x="509" y="581"/>
                </a:lnTo>
                <a:lnTo>
                  <a:pt x="512" y="573"/>
                </a:lnTo>
                <a:lnTo>
                  <a:pt x="513" y="569"/>
                </a:lnTo>
                <a:lnTo>
                  <a:pt x="513" y="566"/>
                </a:lnTo>
                <a:lnTo>
                  <a:pt x="512" y="562"/>
                </a:lnTo>
                <a:lnTo>
                  <a:pt x="509" y="559"/>
                </a:lnTo>
                <a:lnTo>
                  <a:pt x="399" y="448"/>
                </a:lnTo>
                <a:lnTo>
                  <a:pt x="449" y="399"/>
                </a:lnTo>
                <a:lnTo>
                  <a:pt x="560" y="509"/>
                </a:lnTo>
                <a:lnTo>
                  <a:pt x="563" y="511"/>
                </a:lnTo>
                <a:lnTo>
                  <a:pt x="566" y="513"/>
                </a:lnTo>
                <a:lnTo>
                  <a:pt x="570" y="513"/>
                </a:lnTo>
                <a:lnTo>
                  <a:pt x="574" y="511"/>
                </a:lnTo>
                <a:lnTo>
                  <a:pt x="582" y="508"/>
                </a:lnTo>
                <a:lnTo>
                  <a:pt x="591" y="506"/>
                </a:lnTo>
                <a:lnTo>
                  <a:pt x="598" y="505"/>
                </a:lnTo>
                <a:lnTo>
                  <a:pt x="607" y="503"/>
                </a:lnTo>
                <a:lnTo>
                  <a:pt x="615" y="503"/>
                </a:lnTo>
                <a:lnTo>
                  <a:pt x="624" y="503"/>
                </a:lnTo>
                <a:lnTo>
                  <a:pt x="633" y="504"/>
                </a:lnTo>
                <a:lnTo>
                  <a:pt x="641" y="505"/>
                </a:lnTo>
                <a:lnTo>
                  <a:pt x="649" y="507"/>
                </a:lnTo>
                <a:lnTo>
                  <a:pt x="657" y="509"/>
                </a:lnTo>
                <a:lnTo>
                  <a:pt x="665" y="513"/>
                </a:lnTo>
                <a:lnTo>
                  <a:pt x="672" y="516"/>
                </a:lnTo>
                <a:lnTo>
                  <a:pt x="680" y="520"/>
                </a:lnTo>
                <a:lnTo>
                  <a:pt x="687" y="525"/>
                </a:lnTo>
                <a:lnTo>
                  <a:pt x="694" y="531"/>
                </a:lnTo>
                <a:lnTo>
                  <a:pt x="700" y="537"/>
                </a:lnTo>
                <a:lnTo>
                  <a:pt x="711" y="548"/>
                </a:lnTo>
                <a:lnTo>
                  <a:pt x="719" y="560"/>
                </a:lnTo>
                <a:lnTo>
                  <a:pt x="725" y="573"/>
                </a:lnTo>
                <a:lnTo>
                  <a:pt x="730" y="587"/>
                </a:lnTo>
                <a:lnTo>
                  <a:pt x="734" y="600"/>
                </a:lnTo>
                <a:lnTo>
                  <a:pt x="735" y="615"/>
                </a:lnTo>
                <a:lnTo>
                  <a:pt x="735" y="628"/>
                </a:lnTo>
                <a:lnTo>
                  <a:pt x="731" y="642"/>
                </a:lnTo>
                <a:close/>
                <a:moveTo>
                  <a:pt x="248" y="573"/>
                </a:moveTo>
                <a:lnTo>
                  <a:pt x="251" y="581"/>
                </a:lnTo>
                <a:lnTo>
                  <a:pt x="254" y="590"/>
                </a:lnTo>
                <a:lnTo>
                  <a:pt x="256" y="598"/>
                </a:lnTo>
                <a:lnTo>
                  <a:pt x="257" y="607"/>
                </a:lnTo>
                <a:lnTo>
                  <a:pt x="258" y="616"/>
                </a:lnTo>
                <a:lnTo>
                  <a:pt x="258" y="624"/>
                </a:lnTo>
                <a:lnTo>
                  <a:pt x="257" y="633"/>
                </a:lnTo>
                <a:lnTo>
                  <a:pt x="256" y="640"/>
                </a:lnTo>
                <a:lnTo>
                  <a:pt x="255" y="649"/>
                </a:lnTo>
                <a:lnTo>
                  <a:pt x="251" y="657"/>
                </a:lnTo>
                <a:lnTo>
                  <a:pt x="248" y="665"/>
                </a:lnTo>
                <a:lnTo>
                  <a:pt x="245" y="673"/>
                </a:lnTo>
                <a:lnTo>
                  <a:pt x="241" y="680"/>
                </a:lnTo>
                <a:lnTo>
                  <a:pt x="236" y="688"/>
                </a:lnTo>
                <a:lnTo>
                  <a:pt x="231" y="694"/>
                </a:lnTo>
                <a:lnTo>
                  <a:pt x="225" y="700"/>
                </a:lnTo>
                <a:lnTo>
                  <a:pt x="216" y="708"/>
                </a:lnTo>
                <a:lnTo>
                  <a:pt x="207" y="714"/>
                </a:lnTo>
                <a:lnTo>
                  <a:pt x="198" y="721"/>
                </a:lnTo>
                <a:lnTo>
                  <a:pt x="188" y="725"/>
                </a:lnTo>
                <a:lnTo>
                  <a:pt x="177" y="729"/>
                </a:lnTo>
                <a:lnTo>
                  <a:pt x="167" y="733"/>
                </a:lnTo>
                <a:lnTo>
                  <a:pt x="155" y="734"/>
                </a:lnTo>
                <a:lnTo>
                  <a:pt x="144" y="735"/>
                </a:lnTo>
                <a:lnTo>
                  <a:pt x="132" y="734"/>
                </a:lnTo>
                <a:lnTo>
                  <a:pt x="119" y="732"/>
                </a:lnTo>
                <a:lnTo>
                  <a:pt x="174" y="685"/>
                </a:lnTo>
                <a:lnTo>
                  <a:pt x="176" y="683"/>
                </a:lnTo>
                <a:lnTo>
                  <a:pt x="177" y="680"/>
                </a:lnTo>
                <a:lnTo>
                  <a:pt x="178" y="678"/>
                </a:lnTo>
                <a:lnTo>
                  <a:pt x="180" y="675"/>
                </a:lnTo>
                <a:lnTo>
                  <a:pt x="180" y="598"/>
                </a:lnTo>
                <a:lnTo>
                  <a:pt x="178" y="594"/>
                </a:lnTo>
                <a:lnTo>
                  <a:pt x="175" y="590"/>
                </a:lnTo>
                <a:lnTo>
                  <a:pt x="171" y="587"/>
                </a:lnTo>
                <a:lnTo>
                  <a:pt x="167" y="586"/>
                </a:lnTo>
                <a:lnTo>
                  <a:pt x="85" y="586"/>
                </a:lnTo>
                <a:lnTo>
                  <a:pt x="80" y="588"/>
                </a:lnTo>
                <a:lnTo>
                  <a:pt x="75" y="591"/>
                </a:lnTo>
                <a:lnTo>
                  <a:pt x="29" y="642"/>
                </a:lnTo>
                <a:lnTo>
                  <a:pt x="27" y="628"/>
                </a:lnTo>
                <a:lnTo>
                  <a:pt x="26" y="615"/>
                </a:lnTo>
                <a:lnTo>
                  <a:pt x="27" y="600"/>
                </a:lnTo>
                <a:lnTo>
                  <a:pt x="30" y="587"/>
                </a:lnTo>
                <a:lnTo>
                  <a:pt x="36" y="573"/>
                </a:lnTo>
                <a:lnTo>
                  <a:pt x="42" y="560"/>
                </a:lnTo>
                <a:lnTo>
                  <a:pt x="51" y="548"/>
                </a:lnTo>
                <a:lnTo>
                  <a:pt x="60" y="537"/>
                </a:lnTo>
                <a:lnTo>
                  <a:pt x="69" y="529"/>
                </a:lnTo>
                <a:lnTo>
                  <a:pt x="78" y="522"/>
                </a:lnTo>
                <a:lnTo>
                  <a:pt x="87" y="516"/>
                </a:lnTo>
                <a:lnTo>
                  <a:pt x="98" y="511"/>
                </a:lnTo>
                <a:lnTo>
                  <a:pt x="108" y="507"/>
                </a:lnTo>
                <a:lnTo>
                  <a:pt x="119" y="505"/>
                </a:lnTo>
                <a:lnTo>
                  <a:pt x="130" y="503"/>
                </a:lnTo>
                <a:lnTo>
                  <a:pt x="142" y="503"/>
                </a:lnTo>
                <a:lnTo>
                  <a:pt x="154" y="503"/>
                </a:lnTo>
                <a:lnTo>
                  <a:pt x="164" y="505"/>
                </a:lnTo>
                <a:lnTo>
                  <a:pt x="176" y="507"/>
                </a:lnTo>
                <a:lnTo>
                  <a:pt x="187" y="511"/>
                </a:lnTo>
                <a:lnTo>
                  <a:pt x="190" y="513"/>
                </a:lnTo>
                <a:lnTo>
                  <a:pt x="195" y="513"/>
                </a:lnTo>
                <a:lnTo>
                  <a:pt x="198" y="511"/>
                </a:lnTo>
                <a:lnTo>
                  <a:pt x="201" y="509"/>
                </a:lnTo>
                <a:lnTo>
                  <a:pt x="509" y="201"/>
                </a:lnTo>
                <a:lnTo>
                  <a:pt x="512" y="198"/>
                </a:lnTo>
                <a:lnTo>
                  <a:pt x="513" y="194"/>
                </a:lnTo>
                <a:lnTo>
                  <a:pt x="513" y="190"/>
                </a:lnTo>
                <a:lnTo>
                  <a:pt x="512" y="187"/>
                </a:lnTo>
                <a:lnTo>
                  <a:pt x="509" y="179"/>
                </a:lnTo>
                <a:lnTo>
                  <a:pt x="507" y="170"/>
                </a:lnTo>
                <a:lnTo>
                  <a:pt x="505" y="161"/>
                </a:lnTo>
                <a:lnTo>
                  <a:pt x="504" y="153"/>
                </a:lnTo>
                <a:lnTo>
                  <a:pt x="503" y="144"/>
                </a:lnTo>
                <a:lnTo>
                  <a:pt x="503" y="136"/>
                </a:lnTo>
                <a:lnTo>
                  <a:pt x="504" y="127"/>
                </a:lnTo>
                <a:lnTo>
                  <a:pt x="505" y="120"/>
                </a:lnTo>
                <a:lnTo>
                  <a:pt x="507" y="111"/>
                </a:lnTo>
                <a:lnTo>
                  <a:pt x="509" y="102"/>
                </a:lnTo>
                <a:lnTo>
                  <a:pt x="512" y="95"/>
                </a:lnTo>
                <a:lnTo>
                  <a:pt x="517" y="87"/>
                </a:lnTo>
                <a:lnTo>
                  <a:pt x="521" y="80"/>
                </a:lnTo>
                <a:lnTo>
                  <a:pt x="525" y="72"/>
                </a:lnTo>
                <a:lnTo>
                  <a:pt x="531" y="66"/>
                </a:lnTo>
                <a:lnTo>
                  <a:pt x="537" y="59"/>
                </a:lnTo>
                <a:lnTo>
                  <a:pt x="546" y="52"/>
                </a:lnTo>
                <a:lnTo>
                  <a:pt x="554" y="45"/>
                </a:lnTo>
                <a:lnTo>
                  <a:pt x="564" y="39"/>
                </a:lnTo>
                <a:lnTo>
                  <a:pt x="575" y="35"/>
                </a:lnTo>
                <a:lnTo>
                  <a:pt x="585" y="30"/>
                </a:lnTo>
                <a:lnTo>
                  <a:pt x="596" y="27"/>
                </a:lnTo>
                <a:lnTo>
                  <a:pt x="607" y="26"/>
                </a:lnTo>
                <a:lnTo>
                  <a:pt x="619" y="25"/>
                </a:lnTo>
                <a:lnTo>
                  <a:pt x="632" y="26"/>
                </a:lnTo>
                <a:lnTo>
                  <a:pt x="643" y="28"/>
                </a:lnTo>
                <a:lnTo>
                  <a:pt x="591" y="74"/>
                </a:lnTo>
                <a:lnTo>
                  <a:pt x="589" y="77"/>
                </a:lnTo>
                <a:lnTo>
                  <a:pt x="588" y="80"/>
                </a:lnTo>
                <a:lnTo>
                  <a:pt x="586" y="82"/>
                </a:lnTo>
                <a:lnTo>
                  <a:pt x="586" y="85"/>
                </a:lnTo>
                <a:lnTo>
                  <a:pt x="586" y="166"/>
                </a:lnTo>
                <a:lnTo>
                  <a:pt x="588" y="171"/>
                </a:lnTo>
                <a:lnTo>
                  <a:pt x="590" y="174"/>
                </a:lnTo>
                <a:lnTo>
                  <a:pt x="594" y="178"/>
                </a:lnTo>
                <a:lnTo>
                  <a:pt x="599" y="179"/>
                </a:lnTo>
                <a:lnTo>
                  <a:pt x="676" y="179"/>
                </a:lnTo>
                <a:lnTo>
                  <a:pt x="681" y="178"/>
                </a:lnTo>
                <a:lnTo>
                  <a:pt x="685" y="174"/>
                </a:lnTo>
                <a:lnTo>
                  <a:pt x="731" y="120"/>
                </a:lnTo>
                <a:lnTo>
                  <a:pt x="735" y="133"/>
                </a:lnTo>
                <a:lnTo>
                  <a:pt x="735" y="147"/>
                </a:lnTo>
                <a:lnTo>
                  <a:pt x="734" y="161"/>
                </a:lnTo>
                <a:lnTo>
                  <a:pt x="730" y="174"/>
                </a:lnTo>
                <a:lnTo>
                  <a:pt x="725" y="187"/>
                </a:lnTo>
                <a:lnTo>
                  <a:pt x="719" y="200"/>
                </a:lnTo>
                <a:lnTo>
                  <a:pt x="711" y="212"/>
                </a:lnTo>
                <a:lnTo>
                  <a:pt x="700" y="223"/>
                </a:lnTo>
                <a:lnTo>
                  <a:pt x="692" y="231"/>
                </a:lnTo>
                <a:lnTo>
                  <a:pt x="683" y="238"/>
                </a:lnTo>
                <a:lnTo>
                  <a:pt x="673" y="244"/>
                </a:lnTo>
                <a:lnTo>
                  <a:pt x="663" y="248"/>
                </a:lnTo>
                <a:lnTo>
                  <a:pt x="653" y="253"/>
                </a:lnTo>
                <a:lnTo>
                  <a:pt x="641" y="255"/>
                </a:lnTo>
                <a:lnTo>
                  <a:pt x="630" y="257"/>
                </a:lnTo>
                <a:lnTo>
                  <a:pt x="619" y="257"/>
                </a:lnTo>
                <a:lnTo>
                  <a:pt x="607" y="257"/>
                </a:lnTo>
                <a:lnTo>
                  <a:pt x="596" y="255"/>
                </a:lnTo>
                <a:lnTo>
                  <a:pt x="584" y="253"/>
                </a:lnTo>
                <a:lnTo>
                  <a:pt x="574" y="248"/>
                </a:lnTo>
                <a:lnTo>
                  <a:pt x="570" y="247"/>
                </a:lnTo>
                <a:lnTo>
                  <a:pt x="566" y="247"/>
                </a:lnTo>
                <a:lnTo>
                  <a:pt x="563" y="248"/>
                </a:lnTo>
                <a:lnTo>
                  <a:pt x="560" y="251"/>
                </a:lnTo>
                <a:lnTo>
                  <a:pt x="251" y="559"/>
                </a:lnTo>
                <a:lnTo>
                  <a:pt x="249" y="562"/>
                </a:lnTo>
                <a:lnTo>
                  <a:pt x="247" y="566"/>
                </a:lnTo>
                <a:lnTo>
                  <a:pt x="247" y="569"/>
                </a:lnTo>
                <a:lnTo>
                  <a:pt x="248" y="573"/>
                </a:lnTo>
                <a:close/>
                <a:moveTo>
                  <a:pt x="201" y="251"/>
                </a:moveTo>
                <a:lnTo>
                  <a:pt x="198" y="249"/>
                </a:lnTo>
                <a:lnTo>
                  <a:pt x="195" y="248"/>
                </a:lnTo>
                <a:lnTo>
                  <a:pt x="190" y="247"/>
                </a:lnTo>
                <a:lnTo>
                  <a:pt x="187" y="248"/>
                </a:lnTo>
                <a:lnTo>
                  <a:pt x="178" y="252"/>
                </a:lnTo>
                <a:lnTo>
                  <a:pt x="170" y="254"/>
                </a:lnTo>
                <a:lnTo>
                  <a:pt x="162" y="256"/>
                </a:lnTo>
                <a:lnTo>
                  <a:pt x="154" y="257"/>
                </a:lnTo>
                <a:lnTo>
                  <a:pt x="145" y="258"/>
                </a:lnTo>
                <a:lnTo>
                  <a:pt x="137" y="258"/>
                </a:lnTo>
                <a:lnTo>
                  <a:pt x="128" y="257"/>
                </a:lnTo>
                <a:lnTo>
                  <a:pt x="119" y="256"/>
                </a:lnTo>
                <a:lnTo>
                  <a:pt x="111" y="254"/>
                </a:lnTo>
                <a:lnTo>
                  <a:pt x="103" y="252"/>
                </a:lnTo>
                <a:lnTo>
                  <a:pt x="96" y="248"/>
                </a:lnTo>
                <a:lnTo>
                  <a:pt x="87" y="244"/>
                </a:lnTo>
                <a:lnTo>
                  <a:pt x="81" y="240"/>
                </a:lnTo>
                <a:lnTo>
                  <a:pt x="73" y="236"/>
                </a:lnTo>
                <a:lnTo>
                  <a:pt x="67" y="230"/>
                </a:lnTo>
                <a:lnTo>
                  <a:pt x="60" y="224"/>
                </a:lnTo>
                <a:lnTo>
                  <a:pt x="51" y="213"/>
                </a:lnTo>
                <a:lnTo>
                  <a:pt x="42" y="201"/>
                </a:lnTo>
                <a:lnTo>
                  <a:pt x="36" y="188"/>
                </a:lnTo>
                <a:lnTo>
                  <a:pt x="31" y="175"/>
                </a:lnTo>
                <a:lnTo>
                  <a:pt x="28" y="161"/>
                </a:lnTo>
                <a:lnTo>
                  <a:pt x="26" y="147"/>
                </a:lnTo>
                <a:lnTo>
                  <a:pt x="27" y="133"/>
                </a:lnTo>
                <a:lnTo>
                  <a:pt x="29" y="120"/>
                </a:lnTo>
                <a:lnTo>
                  <a:pt x="75" y="174"/>
                </a:lnTo>
                <a:lnTo>
                  <a:pt x="80" y="178"/>
                </a:lnTo>
                <a:lnTo>
                  <a:pt x="85" y="179"/>
                </a:lnTo>
                <a:lnTo>
                  <a:pt x="167" y="179"/>
                </a:lnTo>
                <a:lnTo>
                  <a:pt x="171" y="178"/>
                </a:lnTo>
                <a:lnTo>
                  <a:pt x="175" y="174"/>
                </a:lnTo>
                <a:lnTo>
                  <a:pt x="178" y="171"/>
                </a:lnTo>
                <a:lnTo>
                  <a:pt x="180" y="166"/>
                </a:lnTo>
                <a:lnTo>
                  <a:pt x="180" y="85"/>
                </a:lnTo>
                <a:lnTo>
                  <a:pt x="178" y="82"/>
                </a:lnTo>
                <a:lnTo>
                  <a:pt x="177" y="80"/>
                </a:lnTo>
                <a:lnTo>
                  <a:pt x="176" y="77"/>
                </a:lnTo>
                <a:lnTo>
                  <a:pt x="174" y="74"/>
                </a:lnTo>
                <a:lnTo>
                  <a:pt x="119" y="28"/>
                </a:lnTo>
                <a:lnTo>
                  <a:pt x="133" y="26"/>
                </a:lnTo>
                <a:lnTo>
                  <a:pt x="147" y="26"/>
                </a:lnTo>
                <a:lnTo>
                  <a:pt x="161" y="27"/>
                </a:lnTo>
                <a:lnTo>
                  <a:pt x="175" y="30"/>
                </a:lnTo>
                <a:lnTo>
                  <a:pt x="188" y="36"/>
                </a:lnTo>
                <a:lnTo>
                  <a:pt x="201" y="42"/>
                </a:lnTo>
                <a:lnTo>
                  <a:pt x="213" y="50"/>
                </a:lnTo>
                <a:lnTo>
                  <a:pt x="224" y="59"/>
                </a:lnTo>
                <a:lnTo>
                  <a:pt x="230" y="66"/>
                </a:lnTo>
                <a:lnTo>
                  <a:pt x="235" y="72"/>
                </a:lnTo>
                <a:lnTo>
                  <a:pt x="240" y="80"/>
                </a:lnTo>
                <a:lnTo>
                  <a:pt x="244" y="87"/>
                </a:lnTo>
                <a:lnTo>
                  <a:pt x="248" y="95"/>
                </a:lnTo>
                <a:lnTo>
                  <a:pt x="251" y="102"/>
                </a:lnTo>
                <a:lnTo>
                  <a:pt x="254" y="111"/>
                </a:lnTo>
                <a:lnTo>
                  <a:pt x="256" y="120"/>
                </a:lnTo>
                <a:lnTo>
                  <a:pt x="257" y="127"/>
                </a:lnTo>
                <a:lnTo>
                  <a:pt x="258" y="136"/>
                </a:lnTo>
                <a:lnTo>
                  <a:pt x="258" y="144"/>
                </a:lnTo>
                <a:lnTo>
                  <a:pt x="257" y="153"/>
                </a:lnTo>
                <a:lnTo>
                  <a:pt x="256" y="161"/>
                </a:lnTo>
                <a:lnTo>
                  <a:pt x="254" y="170"/>
                </a:lnTo>
                <a:lnTo>
                  <a:pt x="251" y="179"/>
                </a:lnTo>
                <a:lnTo>
                  <a:pt x="248" y="187"/>
                </a:lnTo>
                <a:lnTo>
                  <a:pt x="247" y="190"/>
                </a:lnTo>
                <a:lnTo>
                  <a:pt x="247" y="194"/>
                </a:lnTo>
                <a:lnTo>
                  <a:pt x="249" y="198"/>
                </a:lnTo>
                <a:lnTo>
                  <a:pt x="251" y="201"/>
                </a:lnTo>
                <a:lnTo>
                  <a:pt x="362" y="312"/>
                </a:lnTo>
                <a:lnTo>
                  <a:pt x="312" y="361"/>
                </a:lnTo>
                <a:lnTo>
                  <a:pt x="201" y="251"/>
                </a:lnTo>
                <a:close/>
                <a:moveTo>
                  <a:pt x="719" y="518"/>
                </a:moveTo>
                <a:lnTo>
                  <a:pt x="711" y="511"/>
                </a:lnTo>
                <a:lnTo>
                  <a:pt x="703" y="505"/>
                </a:lnTo>
                <a:lnTo>
                  <a:pt x="695" y="500"/>
                </a:lnTo>
                <a:lnTo>
                  <a:pt x="686" y="494"/>
                </a:lnTo>
                <a:lnTo>
                  <a:pt x="678" y="490"/>
                </a:lnTo>
                <a:lnTo>
                  <a:pt x="669" y="486"/>
                </a:lnTo>
                <a:lnTo>
                  <a:pt x="659" y="482"/>
                </a:lnTo>
                <a:lnTo>
                  <a:pt x="650" y="480"/>
                </a:lnTo>
                <a:lnTo>
                  <a:pt x="640" y="478"/>
                </a:lnTo>
                <a:lnTo>
                  <a:pt x="630" y="477"/>
                </a:lnTo>
                <a:lnTo>
                  <a:pt x="621" y="477"/>
                </a:lnTo>
                <a:lnTo>
                  <a:pt x="611" y="477"/>
                </a:lnTo>
                <a:lnTo>
                  <a:pt x="601" y="478"/>
                </a:lnTo>
                <a:lnTo>
                  <a:pt x="592" y="479"/>
                </a:lnTo>
                <a:lnTo>
                  <a:pt x="581" y="482"/>
                </a:lnTo>
                <a:lnTo>
                  <a:pt x="571" y="485"/>
                </a:lnTo>
                <a:lnTo>
                  <a:pt x="466" y="380"/>
                </a:lnTo>
                <a:lnTo>
                  <a:pt x="571" y="275"/>
                </a:lnTo>
                <a:lnTo>
                  <a:pt x="583" y="278"/>
                </a:lnTo>
                <a:lnTo>
                  <a:pt x="595" y="281"/>
                </a:lnTo>
                <a:lnTo>
                  <a:pt x="607" y="282"/>
                </a:lnTo>
                <a:lnTo>
                  <a:pt x="619" y="283"/>
                </a:lnTo>
                <a:lnTo>
                  <a:pt x="633" y="282"/>
                </a:lnTo>
                <a:lnTo>
                  <a:pt x="647" y="280"/>
                </a:lnTo>
                <a:lnTo>
                  <a:pt x="661" y="276"/>
                </a:lnTo>
                <a:lnTo>
                  <a:pt x="673" y="272"/>
                </a:lnTo>
                <a:lnTo>
                  <a:pt x="685" y="267"/>
                </a:lnTo>
                <a:lnTo>
                  <a:pt x="697" y="259"/>
                </a:lnTo>
                <a:lnTo>
                  <a:pt x="708" y="252"/>
                </a:lnTo>
                <a:lnTo>
                  <a:pt x="719" y="242"/>
                </a:lnTo>
                <a:lnTo>
                  <a:pt x="726" y="233"/>
                </a:lnTo>
                <a:lnTo>
                  <a:pt x="732" y="225"/>
                </a:lnTo>
                <a:lnTo>
                  <a:pt x="739" y="216"/>
                </a:lnTo>
                <a:lnTo>
                  <a:pt x="744" y="208"/>
                </a:lnTo>
                <a:lnTo>
                  <a:pt x="749" y="198"/>
                </a:lnTo>
                <a:lnTo>
                  <a:pt x="752" y="188"/>
                </a:lnTo>
                <a:lnTo>
                  <a:pt x="755" y="179"/>
                </a:lnTo>
                <a:lnTo>
                  <a:pt x="757" y="169"/>
                </a:lnTo>
                <a:lnTo>
                  <a:pt x="759" y="159"/>
                </a:lnTo>
                <a:lnTo>
                  <a:pt x="760" y="150"/>
                </a:lnTo>
                <a:lnTo>
                  <a:pt x="760" y="139"/>
                </a:lnTo>
                <a:lnTo>
                  <a:pt x="759" y="129"/>
                </a:lnTo>
                <a:lnTo>
                  <a:pt x="758" y="118"/>
                </a:lnTo>
                <a:lnTo>
                  <a:pt x="756" y="109"/>
                </a:lnTo>
                <a:lnTo>
                  <a:pt x="753" y="99"/>
                </a:lnTo>
                <a:lnTo>
                  <a:pt x="749" y="89"/>
                </a:lnTo>
                <a:lnTo>
                  <a:pt x="747" y="86"/>
                </a:lnTo>
                <a:lnTo>
                  <a:pt x="745" y="84"/>
                </a:lnTo>
                <a:lnTo>
                  <a:pt x="742" y="82"/>
                </a:lnTo>
                <a:lnTo>
                  <a:pt x="739" y="81"/>
                </a:lnTo>
                <a:lnTo>
                  <a:pt x="736" y="81"/>
                </a:lnTo>
                <a:lnTo>
                  <a:pt x="732" y="82"/>
                </a:lnTo>
                <a:lnTo>
                  <a:pt x="729" y="83"/>
                </a:lnTo>
                <a:lnTo>
                  <a:pt x="727" y="85"/>
                </a:lnTo>
                <a:lnTo>
                  <a:pt x="670" y="153"/>
                </a:lnTo>
                <a:lnTo>
                  <a:pt x="612" y="153"/>
                </a:lnTo>
                <a:lnTo>
                  <a:pt x="612" y="91"/>
                </a:lnTo>
                <a:lnTo>
                  <a:pt x="678" y="33"/>
                </a:lnTo>
                <a:lnTo>
                  <a:pt x="680" y="30"/>
                </a:lnTo>
                <a:lnTo>
                  <a:pt x="681" y="27"/>
                </a:lnTo>
                <a:lnTo>
                  <a:pt x="682" y="25"/>
                </a:lnTo>
                <a:lnTo>
                  <a:pt x="682" y="22"/>
                </a:lnTo>
                <a:lnTo>
                  <a:pt x="681" y="18"/>
                </a:lnTo>
                <a:lnTo>
                  <a:pt x="679" y="15"/>
                </a:lnTo>
                <a:lnTo>
                  <a:pt x="677" y="13"/>
                </a:lnTo>
                <a:lnTo>
                  <a:pt x="674" y="11"/>
                </a:lnTo>
                <a:lnTo>
                  <a:pt x="661" y="7"/>
                </a:lnTo>
                <a:lnTo>
                  <a:pt x="647" y="3"/>
                </a:lnTo>
                <a:lnTo>
                  <a:pt x="633" y="0"/>
                </a:lnTo>
                <a:lnTo>
                  <a:pt x="619" y="0"/>
                </a:lnTo>
                <a:lnTo>
                  <a:pt x="605" y="0"/>
                </a:lnTo>
                <a:lnTo>
                  <a:pt x="591" y="3"/>
                </a:lnTo>
                <a:lnTo>
                  <a:pt x="578" y="6"/>
                </a:lnTo>
                <a:lnTo>
                  <a:pt x="565" y="11"/>
                </a:lnTo>
                <a:lnTo>
                  <a:pt x="552" y="16"/>
                </a:lnTo>
                <a:lnTo>
                  <a:pt x="540" y="24"/>
                </a:lnTo>
                <a:lnTo>
                  <a:pt x="530" y="33"/>
                </a:lnTo>
                <a:lnTo>
                  <a:pt x="519" y="42"/>
                </a:lnTo>
                <a:lnTo>
                  <a:pt x="512" y="50"/>
                </a:lnTo>
                <a:lnTo>
                  <a:pt x="506" y="57"/>
                </a:lnTo>
                <a:lnTo>
                  <a:pt x="499" y="65"/>
                </a:lnTo>
                <a:lnTo>
                  <a:pt x="495" y="73"/>
                </a:lnTo>
                <a:lnTo>
                  <a:pt x="491" y="82"/>
                </a:lnTo>
                <a:lnTo>
                  <a:pt x="487" y="92"/>
                </a:lnTo>
                <a:lnTo>
                  <a:pt x="483" y="101"/>
                </a:lnTo>
                <a:lnTo>
                  <a:pt x="481" y="110"/>
                </a:lnTo>
                <a:lnTo>
                  <a:pt x="479" y="120"/>
                </a:lnTo>
                <a:lnTo>
                  <a:pt x="478" y="129"/>
                </a:lnTo>
                <a:lnTo>
                  <a:pt x="478" y="140"/>
                </a:lnTo>
                <a:lnTo>
                  <a:pt x="478" y="150"/>
                </a:lnTo>
                <a:lnTo>
                  <a:pt x="479" y="159"/>
                </a:lnTo>
                <a:lnTo>
                  <a:pt x="480" y="169"/>
                </a:lnTo>
                <a:lnTo>
                  <a:pt x="482" y="179"/>
                </a:lnTo>
                <a:lnTo>
                  <a:pt x="486" y="188"/>
                </a:lnTo>
                <a:lnTo>
                  <a:pt x="380" y="293"/>
                </a:lnTo>
                <a:lnTo>
                  <a:pt x="275" y="188"/>
                </a:lnTo>
                <a:lnTo>
                  <a:pt x="278" y="179"/>
                </a:lnTo>
                <a:lnTo>
                  <a:pt x="280" y="169"/>
                </a:lnTo>
                <a:lnTo>
                  <a:pt x="282" y="159"/>
                </a:lnTo>
                <a:lnTo>
                  <a:pt x="283" y="150"/>
                </a:lnTo>
                <a:lnTo>
                  <a:pt x="283" y="140"/>
                </a:lnTo>
                <a:lnTo>
                  <a:pt x="283" y="129"/>
                </a:lnTo>
                <a:lnTo>
                  <a:pt x="282" y="120"/>
                </a:lnTo>
                <a:lnTo>
                  <a:pt x="279" y="110"/>
                </a:lnTo>
                <a:lnTo>
                  <a:pt x="277" y="101"/>
                </a:lnTo>
                <a:lnTo>
                  <a:pt x="274" y="92"/>
                </a:lnTo>
                <a:lnTo>
                  <a:pt x="270" y="82"/>
                </a:lnTo>
                <a:lnTo>
                  <a:pt x="265" y="73"/>
                </a:lnTo>
                <a:lnTo>
                  <a:pt x="261" y="65"/>
                </a:lnTo>
                <a:lnTo>
                  <a:pt x="255" y="57"/>
                </a:lnTo>
                <a:lnTo>
                  <a:pt x="248" y="50"/>
                </a:lnTo>
                <a:lnTo>
                  <a:pt x="242" y="42"/>
                </a:lnTo>
                <a:lnTo>
                  <a:pt x="234" y="35"/>
                </a:lnTo>
                <a:lnTo>
                  <a:pt x="226" y="28"/>
                </a:lnTo>
                <a:lnTo>
                  <a:pt x="217" y="22"/>
                </a:lnTo>
                <a:lnTo>
                  <a:pt x="209" y="16"/>
                </a:lnTo>
                <a:lnTo>
                  <a:pt x="199" y="12"/>
                </a:lnTo>
                <a:lnTo>
                  <a:pt x="189" y="9"/>
                </a:lnTo>
                <a:lnTo>
                  <a:pt x="180" y="6"/>
                </a:lnTo>
                <a:lnTo>
                  <a:pt x="170" y="4"/>
                </a:lnTo>
                <a:lnTo>
                  <a:pt x="160" y="1"/>
                </a:lnTo>
                <a:lnTo>
                  <a:pt x="149" y="0"/>
                </a:lnTo>
                <a:lnTo>
                  <a:pt x="140" y="0"/>
                </a:lnTo>
                <a:lnTo>
                  <a:pt x="130" y="1"/>
                </a:lnTo>
                <a:lnTo>
                  <a:pt x="119" y="3"/>
                </a:lnTo>
                <a:lnTo>
                  <a:pt x="110" y="5"/>
                </a:lnTo>
                <a:lnTo>
                  <a:pt x="99" y="8"/>
                </a:lnTo>
                <a:lnTo>
                  <a:pt x="89" y="11"/>
                </a:lnTo>
                <a:lnTo>
                  <a:pt x="86" y="13"/>
                </a:lnTo>
                <a:lnTo>
                  <a:pt x="84" y="15"/>
                </a:lnTo>
                <a:lnTo>
                  <a:pt x="83" y="19"/>
                </a:lnTo>
                <a:lnTo>
                  <a:pt x="82" y="22"/>
                </a:lnTo>
                <a:lnTo>
                  <a:pt x="82" y="25"/>
                </a:lnTo>
                <a:lnTo>
                  <a:pt x="82" y="27"/>
                </a:lnTo>
                <a:lnTo>
                  <a:pt x="84" y="30"/>
                </a:lnTo>
                <a:lnTo>
                  <a:pt x="86" y="33"/>
                </a:lnTo>
                <a:lnTo>
                  <a:pt x="154" y="91"/>
                </a:lnTo>
                <a:lnTo>
                  <a:pt x="154" y="153"/>
                </a:lnTo>
                <a:lnTo>
                  <a:pt x="91" y="153"/>
                </a:lnTo>
                <a:lnTo>
                  <a:pt x="34" y="85"/>
                </a:lnTo>
                <a:lnTo>
                  <a:pt x="31" y="83"/>
                </a:lnTo>
                <a:lnTo>
                  <a:pt x="28" y="82"/>
                </a:lnTo>
                <a:lnTo>
                  <a:pt x="25" y="81"/>
                </a:lnTo>
                <a:lnTo>
                  <a:pt x="22" y="81"/>
                </a:lnTo>
                <a:lnTo>
                  <a:pt x="18" y="82"/>
                </a:lnTo>
                <a:lnTo>
                  <a:pt x="16" y="84"/>
                </a:lnTo>
                <a:lnTo>
                  <a:pt x="13" y="86"/>
                </a:lnTo>
                <a:lnTo>
                  <a:pt x="12" y="89"/>
                </a:lnTo>
                <a:lnTo>
                  <a:pt x="8" y="99"/>
                </a:lnTo>
                <a:lnTo>
                  <a:pt x="6" y="109"/>
                </a:lnTo>
                <a:lnTo>
                  <a:pt x="3" y="120"/>
                </a:lnTo>
                <a:lnTo>
                  <a:pt x="1" y="129"/>
                </a:lnTo>
                <a:lnTo>
                  <a:pt x="1" y="140"/>
                </a:lnTo>
                <a:lnTo>
                  <a:pt x="1" y="150"/>
                </a:lnTo>
                <a:lnTo>
                  <a:pt x="1" y="160"/>
                </a:lnTo>
                <a:lnTo>
                  <a:pt x="3" y="170"/>
                </a:lnTo>
                <a:lnTo>
                  <a:pt x="6" y="181"/>
                </a:lnTo>
                <a:lnTo>
                  <a:pt x="9" y="190"/>
                </a:lnTo>
                <a:lnTo>
                  <a:pt x="13" y="200"/>
                </a:lnTo>
                <a:lnTo>
                  <a:pt x="17" y="209"/>
                </a:lnTo>
                <a:lnTo>
                  <a:pt x="23" y="218"/>
                </a:lnTo>
                <a:lnTo>
                  <a:pt x="28" y="227"/>
                </a:lnTo>
                <a:lnTo>
                  <a:pt x="35" y="236"/>
                </a:lnTo>
                <a:lnTo>
                  <a:pt x="42" y="243"/>
                </a:lnTo>
                <a:lnTo>
                  <a:pt x="50" y="249"/>
                </a:lnTo>
                <a:lnTo>
                  <a:pt x="57" y="256"/>
                </a:lnTo>
                <a:lnTo>
                  <a:pt x="66" y="261"/>
                </a:lnTo>
                <a:lnTo>
                  <a:pt x="74" y="267"/>
                </a:lnTo>
                <a:lnTo>
                  <a:pt x="83" y="271"/>
                </a:lnTo>
                <a:lnTo>
                  <a:pt x="91" y="275"/>
                </a:lnTo>
                <a:lnTo>
                  <a:pt x="101" y="278"/>
                </a:lnTo>
                <a:lnTo>
                  <a:pt x="111" y="281"/>
                </a:lnTo>
                <a:lnTo>
                  <a:pt x="120" y="282"/>
                </a:lnTo>
                <a:lnTo>
                  <a:pt x="130" y="283"/>
                </a:lnTo>
                <a:lnTo>
                  <a:pt x="140" y="284"/>
                </a:lnTo>
                <a:lnTo>
                  <a:pt x="149" y="284"/>
                </a:lnTo>
                <a:lnTo>
                  <a:pt x="159" y="283"/>
                </a:lnTo>
                <a:lnTo>
                  <a:pt x="170" y="281"/>
                </a:lnTo>
                <a:lnTo>
                  <a:pt x="180" y="278"/>
                </a:lnTo>
                <a:lnTo>
                  <a:pt x="189" y="275"/>
                </a:lnTo>
                <a:lnTo>
                  <a:pt x="294" y="380"/>
                </a:lnTo>
                <a:lnTo>
                  <a:pt x="189" y="485"/>
                </a:lnTo>
                <a:lnTo>
                  <a:pt x="177" y="481"/>
                </a:lnTo>
                <a:lnTo>
                  <a:pt x="166" y="479"/>
                </a:lnTo>
                <a:lnTo>
                  <a:pt x="154" y="478"/>
                </a:lnTo>
                <a:lnTo>
                  <a:pt x="142" y="477"/>
                </a:lnTo>
                <a:lnTo>
                  <a:pt x="128" y="478"/>
                </a:lnTo>
                <a:lnTo>
                  <a:pt x="114" y="480"/>
                </a:lnTo>
                <a:lnTo>
                  <a:pt x="101" y="484"/>
                </a:lnTo>
                <a:lnTo>
                  <a:pt x="88" y="488"/>
                </a:lnTo>
                <a:lnTo>
                  <a:pt x="75" y="494"/>
                </a:lnTo>
                <a:lnTo>
                  <a:pt x="64" y="501"/>
                </a:lnTo>
                <a:lnTo>
                  <a:pt x="53" y="509"/>
                </a:lnTo>
                <a:lnTo>
                  <a:pt x="42" y="518"/>
                </a:lnTo>
                <a:lnTo>
                  <a:pt x="35" y="526"/>
                </a:lnTo>
                <a:lnTo>
                  <a:pt x="28" y="535"/>
                </a:lnTo>
                <a:lnTo>
                  <a:pt x="22" y="544"/>
                </a:lnTo>
                <a:lnTo>
                  <a:pt x="17" y="552"/>
                </a:lnTo>
                <a:lnTo>
                  <a:pt x="12" y="562"/>
                </a:lnTo>
                <a:lnTo>
                  <a:pt x="9" y="572"/>
                </a:lnTo>
                <a:lnTo>
                  <a:pt x="6" y="581"/>
                </a:lnTo>
                <a:lnTo>
                  <a:pt x="3" y="592"/>
                </a:lnTo>
                <a:lnTo>
                  <a:pt x="1" y="602"/>
                </a:lnTo>
                <a:lnTo>
                  <a:pt x="1" y="612"/>
                </a:lnTo>
                <a:lnTo>
                  <a:pt x="0" y="622"/>
                </a:lnTo>
                <a:lnTo>
                  <a:pt x="1" y="633"/>
                </a:lnTo>
                <a:lnTo>
                  <a:pt x="2" y="642"/>
                </a:lnTo>
                <a:lnTo>
                  <a:pt x="6" y="653"/>
                </a:lnTo>
                <a:lnTo>
                  <a:pt x="8" y="663"/>
                </a:lnTo>
                <a:lnTo>
                  <a:pt x="12" y="674"/>
                </a:lnTo>
                <a:lnTo>
                  <a:pt x="13" y="676"/>
                </a:lnTo>
                <a:lnTo>
                  <a:pt x="16" y="678"/>
                </a:lnTo>
                <a:lnTo>
                  <a:pt x="18" y="680"/>
                </a:lnTo>
                <a:lnTo>
                  <a:pt x="22" y="681"/>
                </a:lnTo>
                <a:lnTo>
                  <a:pt x="25" y="681"/>
                </a:lnTo>
                <a:lnTo>
                  <a:pt x="28" y="681"/>
                </a:lnTo>
                <a:lnTo>
                  <a:pt x="30" y="679"/>
                </a:lnTo>
                <a:lnTo>
                  <a:pt x="34" y="677"/>
                </a:lnTo>
                <a:lnTo>
                  <a:pt x="90" y="611"/>
                </a:lnTo>
                <a:lnTo>
                  <a:pt x="154" y="611"/>
                </a:lnTo>
                <a:lnTo>
                  <a:pt x="154" y="669"/>
                </a:lnTo>
                <a:lnTo>
                  <a:pt x="86" y="727"/>
                </a:lnTo>
                <a:lnTo>
                  <a:pt x="84" y="729"/>
                </a:lnTo>
                <a:lnTo>
                  <a:pt x="82" y="733"/>
                </a:lnTo>
                <a:lnTo>
                  <a:pt x="82" y="735"/>
                </a:lnTo>
                <a:lnTo>
                  <a:pt x="82" y="738"/>
                </a:lnTo>
                <a:lnTo>
                  <a:pt x="83" y="742"/>
                </a:lnTo>
                <a:lnTo>
                  <a:pt x="84" y="744"/>
                </a:lnTo>
                <a:lnTo>
                  <a:pt x="86" y="747"/>
                </a:lnTo>
                <a:lnTo>
                  <a:pt x="89" y="749"/>
                </a:lnTo>
                <a:lnTo>
                  <a:pt x="102" y="753"/>
                </a:lnTo>
                <a:lnTo>
                  <a:pt x="116" y="757"/>
                </a:lnTo>
                <a:lnTo>
                  <a:pt x="130" y="759"/>
                </a:lnTo>
                <a:lnTo>
                  <a:pt x="144" y="759"/>
                </a:lnTo>
                <a:lnTo>
                  <a:pt x="144" y="759"/>
                </a:lnTo>
                <a:lnTo>
                  <a:pt x="158" y="759"/>
                </a:lnTo>
                <a:lnTo>
                  <a:pt x="171" y="757"/>
                </a:lnTo>
                <a:lnTo>
                  <a:pt x="185" y="754"/>
                </a:lnTo>
                <a:lnTo>
                  <a:pt x="198" y="749"/>
                </a:lnTo>
                <a:lnTo>
                  <a:pt x="210" y="743"/>
                </a:lnTo>
                <a:lnTo>
                  <a:pt x="221" y="736"/>
                </a:lnTo>
                <a:lnTo>
                  <a:pt x="232" y="727"/>
                </a:lnTo>
                <a:lnTo>
                  <a:pt x="243" y="718"/>
                </a:lnTo>
                <a:lnTo>
                  <a:pt x="249" y="710"/>
                </a:lnTo>
                <a:lnTo>
                  <a:pt x="256" y="703"/>
                </a:lnTo>
                <a:lnTo>
                  <a:pt x="261" y="695"/>
                </a:lnTo>
                <a:lnTo>
                  <a:pt x="266" y="686"/>
                </a:lnTo>
                <a:lnTo>
                  <a:pt x="271" y="678"/>
                </a:lnTo>
                <a:lnTo>
                  <a:pt x="275" y="668"/>
                </a:lnTo>
                <a:lnTo>
                  <a:pt x="278" y="660"/>
                </a:lnTo>
                <a:lnTo>
                  <a:pt x="280" y="650"/>
                </a:lnTo>
                <a:lnTo>
                  <a:pt x="282" y="640"/>
                </a:lnTo>
                <a:lnTo>
                  <a:pt x="283" y="631"/>
                </a:lnTo>
                <a:lnTo>
                  <a:pt x="284" y="621"/>
                </a:lnTo>
                <a:lnTo>
                  <a:pt x="283" y="611"/>
                </a:lnTo>
                <a:lnTo>
                  <a:pt x="283" y="602"/>
                </a:lnTo>
                <a:lnTo>
                  <a:pt x="280" y="591"/>
                </a:lnTo>
                <a:lnTo>
                  <a:pt x="278" y="581"/>
                </a:lnTo>
                <a:lnTo>
                  <a:pt x="275" y="572"/>
                </a:lnTo>
                <a:lnTo>
                  <a:pt x="380" y="466"/>
                </a:lnTo>
                <a:lnTo>
                  <a:pt x="486" y="572"/>
                </a:lnTo>
                <a:lnTo>
                  <a:pt x="482" y="581"/>
                </a:lnTo>
                <a:lnTo>
                  <a:pt x="480" y="591"/>
                </a:lnTo>
                <a:lnTo>
                  <a:pt x="479" y="601"/>
                </a:lnTo>
                <a:lnTo>
                  <a:pt x="478" y="610"/>
                </a:lnTo>
                <a:lnTo>
                  <a:pt x="478" y="620"/>
                </a:lnTo>
                <a:lnTo>
                  <a:pt x="478" y="631"/>
                </a:lnTo>
                <a:lnTo>
                  <a:pt x="479" y="640"/>
                </a:lnTo>
                <a:lnTo>
                  <a:pt x="481" y="650"/>
                </a:lnTo>
                <a:lnTo>
                  <a:pt x="483" y="659"/>
                </a:lnTo>
                <a:lnTo>
                  <a:pt x="487" y="668"/>
                </a:lnTo>
                <a:lnTo>
                  <a:pt x="491" y="678"/>
                </a:lnTo>
                <a:lnTo>
                  <a:pt x="495" y="686"/>
                </a:lnTo>
                <a:lnTo>
                  <a:pt x="501" y="695"/>
                </a:lnTo>
                <a:lnTo>
                  <a:pt x="506" y="703"/>
                </a:lnTo>
                <a:lnTo>
                  <a:pt x="512" y="710"/>
                </a:lnTo>
                <a:lnTo>
                  <a:pt x="519" y="718"/>
                </a:lnTo>
                <a:lnTo>
                  <a:pt x="530" y="727"/>
                </a:lnTo>
                <a:lnTo>
                  <a:pt x="541" y="736"/>
                </a:lnTo>
                <a:lnTo>
                  <a:pt x="553" y="743"/>
                </a:lnTo>
                <a:lnTo>
                  <a:pt x="565" y="749"/>
                </a:lnTo>
                <a:lnTo>
                  <a:pt x="578" y="754"/>
                </a:lnTo>
                <a:lnTo>
                  <a:pt x="592" y="757"/>
                </a:lnTo>
                <a:lnTo>
                  <a:pt x="605" y="759"/>
                </a:lnTo>
                <a:lnTo>
                  <a:pt x="619" y="759"/>
                </a:lnTo>
                <a:lnTo>
                  <a:pt x="633" y="759"/>
                </a:lnTo>
                <a:lnTo>
                  <a:pt x="647" y="757"/>
                </a:lnTo>
                <a:lnTo>
                  <a:pt x="661" y="753"/>
                </a:lnTo>
                <a:lnTo>
                  <a:pt x="674" y="749"/>
                </a:lnTo>
                <a:lnTo>
                  <a:pt x="677" y="747"/>
                </a:lnTo>
                <a:lnTo>
                  <a:pt x="679" y="744"/>
                </a:lnTo>
                <a:lnTo>
                  <a:pt x="681" y="742"/>
                </a:lnTo>
                <a:lnTo>
                  <a:pt x="682" y="738"/>
                </a:lnTo>
                <a:lnTo>
                  <a:pt x="682" y="735"/>
                </a:lnTo>
                <a:lnTo>
                  <a:pt x="681" y="733"/>
                </a:lnTo>
                <a:lnTo>
                  <a:pt x="680" y="729"/>
                </a:lnTo>
                <a:lnTo>
                  <a:pt x="678" y="727"/>
                </a:lnTo>
                <a:lnTo>
                  <a:pt x="612" y="669"/>
                </a:lnTo>
                <a:lnTo>
                  <a:pt x="612" y="611"/>
                </a:lnTo>
                <a:lnTo>
                  <a:pt x="670" y="611"/>
                </a:lnTo>
                <a:lnTo>
                  <a:pt x="727" y="677"/>
                </a:lnTo>
                <a:lnTo>
                  <a:pt x="730" y="679"/>
                </a:lnTo>
                <a:lnTo>
                  <a:pt x="732" y="681"/>
                </a:lnTo>
                <a:lnTo>
                  <a:pt x="736" y="681"/>
                </a:lnTo>
                <a:lnTo>
                  <a:pt x="739" y="681"/>
                </a:lnTo>
                <a:lnTo>
                  <a:pt x="742" y="680"/>
                </a:lnTo>
                <a:lnTo>
                  <a:pt x="745" y="678"/>
                </a:lnTo>
                <a:lnTo>
                  <a:pt x="747" y="676"/>
                </a:lnTo>
                <a:lnTo>
                  <a:pt x="749" y="674"/>
                </a:lnTo>
                <a:lnTo>
                  <a:pt x="753" y="663"/>
                </a:lnTo>
                <a:lnTo>
                  <a:pt x="756" y="653"/>
                </a:lnTo>
                <a:lnTo>
                  <a:pt x="758" y="642"/>
                </a:lnTo>
                <a:lnTo>
                  <a:pt x="759" y="633"/>
                </a:lnTo>
                <a:lnTo>
                  <a:pt x="760" y="622"/>
                </a:lnTo>
                <a:lnTo>
                  <a:pt x="760" y="612"/>
                </a:lnTo>
                <a:lnTo>
                  <a:pt x="759" y="602"/>
                </a:lnTo>
                <a:lnTo>
                  <a:pt x="757" y="592"/>
                </a:lnTo>
                <a:lnTo>
                  <a:pt x="755" y="581"/>
                </a:lnTo>
                <a:lnTo>
                  <a:pt x="752" y="572"/>
                </a:lnTo>
                <a:lnTo>
                  <a:pt x="749" y="562"/>
                </a:lnTo>
                <a:lnTo>
                  <a:pt x="744" y="552"/>
                </a:lnTo>
                <a:lnTo>
                  <a:pt x="739" y="544"/>
                </a:lnTo>
                <a:lnTo>
                  <a:pt x="732" y="535"/>
                </a:lnTo>
                <a:lnTo>
                  <a:pt x="726" y="526"/>
                </a:lnTo>
                <a:lnTo>
                  <a:pt x="719" y="5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94" name="Rectangle 293">
            <a:extLst>
              <a:ext uri="{FF2B5EF4-FFF2-40B4-BE49-F238E27FC236}">
                <a16:creationId xmlns="" xmlns:a16="http://schemas.microsoft.com/office/drawing/2014/main" id="{D11E42FD-DC82-4496-B409-0F46BBE4B18C}"/>
              </a:ext>
            </a:extLst>
          </p:cNvPr>
          <p:cNvSpPr/>
          <p:nvPr/>
        </p:nvSpPr>
        <p:spPr>
          <a:xfrm>
            <a:off x="3294707" y="1446239"/>
            <a:ext cx="5602587" cy="77844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UPPLY CHAIN MANAGEMENT</a:t>
            </a:r>
            <a:endParaRPr lang="en-ID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5" name="Oval 294">
            <a:extLst>
              <a:ext uri="{FF2B5EF4-FFF2-40B4-BE49-F238E27FC236}">
                <a16:creationId xmlns="" xmlns:a16="http://schemas.microsoft.com/office/drawing/2014/main" id="{A1C0AD55-2EAE-4AA8-94A2-F7FFE2D3839F}"/>
              </a:ext>
            </a:extLst>
          </p:cNvPr>
          <p:cNvSpPr/>
          <p:nvPr/>
        </p:nvSpPr>
        <p:spPr>
          <a:xfrm>
            <a:off x="8571277" y="1509443"/>
            <a:ext cx="652034" cy="6520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96" name="Oval 295">
            <a:extLst>
              <a:ext uri="{FF2B5EF4-FFF2-40B4-BE49-F238E27FC236}">
                <a16:creationId xmlns="" xmlns:a16="http://schemas.microsoft.com/office/drawing/2014/main" id="{5E25F3B0-7EFC-464F-A800-D86908D4D0D8}"/>
              </a:ext>
            </a:extLst>
          </p:cNvPr>
          <p:cNvSpPr/>
          <p:nvPr/>
        </p:nvSpPr>
        <p:spPr>
          <a:xfrm>
            <a:off x="2968690" y="1509443"/>
            <a:ext cx="652034" cy="652034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297" name="Group 296">
            <a:extLst>
              <a:ext uri="{FF2B5EF4-FFF2-40B4-BE49-F238E27FC236}">
                <a16:creationId xmlns="" xmlns:a16="http://schemas.microsoft.com/office/drawing/2014/main" id="{DD229EA6-58F4-420B-B931-BAA080E2999F}"/>
              </a:ext>
            </a:extLst>
          </p:cNvPr>
          <p:cNvGrpSpPr/>
          <p:nvPr/>
        </p:nvGrpSpPr>
        <p:grpSpPr>
          <a:xfrm>
            <a:off x="8757549" y="1709784"/>
            <a:ext cx="279490" cy="251353"/>
            <a:chOff x="6923088" y="4268788"/>
            <a:chExt cx="236538" cy="212725"/>
          </a:xfrm>
          <a:solidFill>
            <a:schemeClr val="accent4"/>
          </a:solidFill>
        </p:grpSpPr>
        <p:sp>
          <p:nvSpPr>
            <p:cNvPr id="298" name="Freeform 383">
              <a:extLst>
                <a:ext uri="{FF2B5EF4-FFF2-40B4-BE49-F238E27FC236}">
                  <a16:creationId xmlns="" xmlns:a16="http://schemas.microsoft.com/office/drawing/2014/main" id="{99A06D59-EC0D-4116-9F2A-977EBEFA25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1513" y="4268788"/>
              <a:ext cx="138113" cy="212725"/>
            </a:xfrm>
            <a:custGeom>
              <a:avLst/>
              <a:gdLst>
                <a:gd name="T0" fmla="*/ 23 w 347"/>
                <a:gd name="T1" fmla="*/ 268 h 535"/>
                <a:gd name="T2" fmla="*/ 268 w 347"/>
                <a:gd name="T3" fmla="*/ 512 h 535"/>
                <a:gd name="T4" fmla="*/ 324 w 347"/>
                <a:gd name="T5" fmla="*/ 457 h 535"/>
                <a:gd name="T6" fmla="*/ 141 w 347"/>
                <a:gd name="T7" fmla="*/ 274 h 535"/>
                <a:gd name="T8" fmla="*/ 139 w 347"/>
                <a:gd name="T9" fmla="*/ 271 h 535"/>
                <a:gd name="T10" fmla="*/ 139 w 347"/>
                <a:gd name="T11" fmla="*/ 268 h 535"/>
                <a:gd name="T12" fmla="*/ 139 w 347"/>
                <a:gd name="T13" fmla="*/ 263 h 535"/>
                <a:gd name="T14" fmla="*/ 141 w 347"/>
                <a:gd name="T15" fmla="*/ 260 h 535"/>
                <a:gd name="T16" fmla="*/ 324 w 347"/>
                <a:gd name="T17" fmla="*/ 79 h 535"/>
                <a:gd name="T18" fmla="*/ 268 w 347"/>
                <a:gd name="T19" fmla="*/ 23 h 535"/>
                <a:gd name="T20" fmla="*/ 23 w 347"/>
                <a:gd name="T21" fmla="*/ 268 h 535"/>
                <a:gd name="T22" fmla="*/ 268 w 347"/>
                <a:gd name="T23" fmla="*/ 535 h 535"/>
                <a:gd name="T24" fmla="*/ 264 w 347"/>
                <a:gd name="T25" fmla="*/ 534 h 535"/>
                <a:gd name="T26" fmla="*/ 261 w 347"/>
                <a:gd name="T27" fmla="*/ 533 h 535"/>
                <a:gd name="T28" fmla="*/ 3 w 347"/>
                <a:gd name="T29" fmla="*/ 274 h 535"/>
                <a:gd name="T30" fmla="*/ 1 w 347"/>
                <a:gd name="T31" fmla="*/ 271 h 535"/>
                <a:gd name="T32" fmla="*/ 0 w 347"/>
                <a:gd name="T33" fmla="*/ 268 h 535"/>
                <a:gd name="T34" fmla="*/ 1 w 347"/>
                <a:gd name="T35" fmla="*/ 263 h 535"/>
                <a:gd name="T36" fmla="*/ 3 w 347"/>
                <a:gd name="T37" fmla="*/ 260 h 535"/>
                <a:gd name="T38" fmla="*/ 261 w 347"/>
                <a:gd name="T39" fmla="*/ 2 h 535"/>
                <a:gd name="T40" fmla="*/ 264 w 347"/>
                <a:gd name="T41" fmla="*/ 0 h 535"/>
                <a:gd name="T42" fmla="*/ 268 w 347"/>
                <a:gd name="T43" fmla="*/ 0 h 535"/>
                <a:gd name="T44" fmla="*/ 272 w 347"/>
                <a:gd name="T45" fmla="*/ 0 h 535"/>
                <a:gd name="T46" fmla="*/ 275 w 347"/>
                <a:gd name="T47" fmla="*/ 2 h 535"/>
                <a:gd name="T48" fmla="*/ 344 w 347"/>
                <a:gd name="T49" fmla="*/ 72 h 535"/>
                <a:gd name="T50" fmla="*/ 346 w 347"/>
                <a:gd name="T51" fmla="*/ 75 h 535"/>
                <a:gd name="T52" fmla="*/ 347 w 347"/>
                <a:gd name="T53" fmla="*/ 79 h 535"/>
                <a:gd name="T54" fmla="*/ 346 w 347"/>
                <a:gd name="T55" fmla="*/ 83 h 535"/>
                <a:gd name="T56" fmla="*/ 344 w 347"/>
                <a:gd name="T57" fmla="*/ 86 h 535"/>
                <a:gd name="T58" fmla="*/ 163 w 347"/>
                <a:gd name="T59" fmla="*/ 268 h 535"/>
                <a:gd name="T60" fmla="*/ 344 w 347"/>
                <a:gd name="T61" fmla="*/ 449 h 535"/>
                <a:gd name="T62" fmla="*/ 346 w 347"/>
                <a:gd name="T63" fmla="*/ 452 h 535"/>
                <a:gd name="T64" fmla="*/ 347 w 347"/>
                <a:gd name="T65" fmla="*/ 457 h 535"/>
                <a:gd name="T66" fmla="*/ 346 w 347"/>
                <a:gd name="T67" fmla="*/ 460 h 535"/>
                <a:gd name="T68" fmla="*/ 344 w 347"/>
                <a:gd name="T69" fmla="*/ 463 h 535"/>
                <a:gd name="T70" fmla="*/ 275 w 347"/>
                <a:gd name="T71" fmla="*/ 532 h 535"/>
                <a:gd name="T72" fmla="*/ 272 w 347"/>
                <a:gd name="T73" fmla="*/ 534 h 535"/>
                <a:gd name="T74" fmla="*/ 268 w 347"/>
                <a:gd name="T75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7" h="535">
                  <a:moveTo>
                    <a:pt x="23" y="268"/>
                  </a:moveTo>
                  <a:lnTo>
                    <a:pt x="268" y="512"/>
                  </a:lnTo>
                  <a:lnTo>
                    <a:pt x="324" y="457"/>
                  </a:lnTo>
                  <a:lnTo>
                    <a:pt x="141" y="274"/>
                  </a:lnTo>
                  <a:lnTo>
                    <a:pt x="139" y="271"/>
                  </a:lnTo>
                  <a:lnTo>
                    <a:pt x="139" y="268"/>
                  </a:lnTo>
                  <a:lnTo>
                    <a:pt x="139" y="263"/>
                  </a:lnTo>
                  <a:lnTo>
                    <a:pt x="141" y="260"/>
                  </a:lnTo>
                  <a:lnTo>
                    <a:pt x="324" y="79"/>
                  </a:lnTo>
                  <a:lnTo>
                    <a:pt x="268" y="23"/>
                  </a:lnTo>
                  <a:lnTo>
                    <a:pt x="23" y="268"/>
                  </a:lnTo>
                  <a:close/>
                  <a:moveTo>
                    <a:pt x="268" y="535"/>
                  </a:moveTo>
                  <a:lnTo>
                    <a:pt x="264" y="534"/>
                  </a:lnTo>
                  <a:lnTo>
                    <a:pt x="261" y="533"/>
                  </a:lnTo>
                  <a:lnTo>
                    <a:pt x="3" y="274"/>
                  </a:lnTo>
                  <a:lnTo>
                    <a:pt x="1" y="271"/>
                  </a:lnTo>
                  <a:lnTo>
                    <a:pt x="0" y="268"/>
                  </a:lnTo>
                  <a:lnTo>
                    <a:pt x="1" y="263"/>
                  </a:lnTo>
                  <a:lnTo>
                    <a:pt x="3" y="260"/>
                  </a:lnTo>
                  <a:lnTo>
                    <a:pt x="261" y="2"/>
                  </a:lnTo>
                  <a:lnTo>
                    <a:pt x="264" y="0"/>
                  </a:lnTo>
                  <a:lnTo>
                    <a:pt x="268" y="0"/>
                  </a:lnTo>
                  <a:lnTo>
                    <a:pt x="272" y="0"/>
                  </a:lnTo>
                  <a:lnTo>
                    <a:pt x="275" y="2"/>
                  </a:lnTo>
                  <a:lnTo>
                    <a:pt x="344" y="72"/>
                  </a:lnTo>
                  <a:lnTo>
                    <a:pt x="346" y="75"/>
                  </a:lnTo>
                  <a:lnTo>
                    <a:pt x="347" y="79"/>
                  </a:lnTo>
                  <a:lnTo>
                    <a:pt x="346" y="83"/>
                  </a:lnTo>
                  <a:lnTo>
                    <a:pt x="344" y="86"/>
                  </a:lnTo>
                  <a:lnTo>
                    <a:pt x="163" y="268"/>
                  </a:lnTo>
                  <a:lnTo>
                    <a:pt x="344" y="449"/>
                  </a:lnTo>
                  <a:lnTo>
                    <a:pt x="346" y="452"/>
                  </a:lnTo>
                  <a:lnTo>
                    <a:pt x="347" y="457"/>
                  </a:lnTo>
                  <a:lnTo>
                    <a:pt x="346" y="460"/>
                  </a:lnTo>
                  <a:lnTo>
                    <a:pt x="344" y="463"/>
                  </a:lnTo>
                  <a:lnTo>
                    <a:pt x="275" y="532"/>
                  </a:lnTo>
                  <a:lnTo>
                    <a:pt x="272" y="534"/>
                  </a:lnTo>
                  <a:lnTo>
                    <a:pt x="268" y="5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384">
              <a:extLst>
                <a:ext uri="{FF2B5EF4-FFF2-40B4-BE49-F238E27FC236}">
                  <a16:creationId xmlns="" xmlns:a16="http://schemas.microsoft.com/office/drawing/2014/main" id="{38D67775-C552-4E79-8ABF-F0453B60CF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923088" y="4268788"/>
              <a:ext cx="138113" cy="212725"/>
            </a:xfrm>
            <a:custGeom>
              <a:avLst/>
              <a:gdLst>
                <a:gd name="T0" fmla="*/ 24 w 348"/>
                <a:gd name="T1" fmla="*/ 268 h 535"/>
                <a:gd name="T2" fmla="*/ 268 w 348"/>
                <a:gd name="T3" fmla="*/ 512 h 535"/>
                <a:gd name="T4" fmla="*/ 324 w 348"/>
                <a:gd name="T5" fmla="*/ 457 h 535"/>
                <a:gd name="T6" fmla="*/ 142 w 348"/>
                <a:gd name="T7" fmla="*/ 274 h 535"/>
                <a:gd name="T8" fmla="*/ 140 w 348"/>
                <a:gd name="T9" fmla="*/ 271 h 535"/>
                <a:gd name="T10" fmla="*/ 140 w 348"/>
                <a:gd name="T11" fmla="*/ 268 h 535"/>
                <a:gd name="T12" fmla="*/ 140 w 348"/>
                <a:gd name="T13" fmla="*/ 263 h 535"/>
                <a:gd name="T14" fmla="*/ 142 w 348"/>
                <a:gd name="T15" fmla="*/ 260 h 535"/>
                <a:gd name="T16" fmla="*/ 324 w 348"/>
                <a:gd name="T17" fmla="*/ 79 h 535"/>
                <a:gd name="T18" fmla="*/ 268 w 348"/>
                <a:gd name="T19" fmla="*/ 23 h 535"/>
                <a:gd name="T20" fmla="*/ 24 w 348"/>
                <a:gd name="T21" fmla="*/ 268 h 535"/>
                <a:gd name="T22" fmla="*/ 268 w 348"/>
                <a:gd name="T23" fmla="*/ 535 h 535"/>
                <a:gd name="T24" fmla="*/ 265 w 348"/>
                <a:gd name="T25" fmla="*/ 534 h 535"/>
                <a:gd name="T26" fmla="*/ 262 w 348"/>
                <a:gd name="T27" fmla="*/ 533 h 535"/>
                <a:gd name="T28" fmla="*/ 4 w 348"/>
                <a:gd name="T29" fmla="*/ 274 h 535"/>
                <a:gd name="T30" fmla="*/ 1 w 348"/>
                <a:gd name="T31" fmla="*/ 271 h 535"/>
                <a:gd name="T32" fmla="*/ 0 w 348"/>
                <a:gd name="T33" fmla="*/ 268 h 535"/>
                <a:gd name="T34" fmla="*/ 1 w 348"/>
                <a:gd name="T35" fmla="*/ 263 h 535"/>
                <a:gd name="T36" fmla="*/ 4 w 348"/>
                <a:gd name="T37" fmla="*/ 260 h 535"/>
                <a:gd name="T38" fmla="*/ 262 w 348"/>
                <a:gd name="T39" fmla="*/ 2 h 535"/>
                <a:gd name="T40" fmla="*/ 265 w 348"/>
                <a:gd name="T41" fmla="*/ 0 h 535"/>
                <a:gd name="T42" fmla="*/ 268 w 348"/>
                <a:gd name="T43" fmla="*/ 0 h 535"/>
                <a:gd name="T44" fmla="*/ 272 w 348"/>
                <a:gd name="T45" fmla="*/ 0 h 535"/>
                <a:gd name="T46" fmla="*/ 276 w 348"/>
                <a:gd name="T47" fmla="*/ 2 h 535"/>
                <a:gd name="T48" fmla="*/ 345 w 348"/>
                <a:gd name="T49" fmla="*/ 72 h 535"/>
                <a:gd name="T50" fmla="*/ 347 w 348"/>
                <a:gd name="T51" fmla="*/ 75 h 535"/>
                <a:gd name="T52" fmla="*/ 348 w 348"/>
                <a:gd name="T53" fmla="*/ 79 h 535"/>
                <a:gd name="T54" fmla="*/ 347 w 348"/>
                <a:gd name="T55" fmla="*/ 83 h 535"/>
                <a:gd name="T56" fmla="*/ 345 w 348"/>
                <a:gd name="T57" fmla="*/ 86 h 535"/>
                <a:gd name="T58" fmla="*/ 163 w 348"/>
                <a:gd name="T59" fmla="*/ 268 h 535"/>
                <a:gd name="T60" fmla="*/ 345 w 348"/>
                <a:gd name="T61" fmla="*/ 449 h 535"/>
                <a:gd name="T62" fmla="*/ 347 w 348"/>
                <a:gd name="T63" fmla="*/ 452 h 535"/>
                <a:gd name="T64" fmla="*/ 348 w 348"/>
                <a:gd name="T65" fmla="*/ 457 h 535"/>
                <a:gd name="T66" fmla="*/ 347 w 348"/>
                <a:gd name="T67" fmla="*/ 460 h 535"/>
                <a:gd name="T68" fmla="*/ 345 w 348"/>
                <a:gd name="T69" fmla="*/ 463 h 535"/>
                <a:gd name="T70" fmla="*/ 276 w 348"/>
                <a:gd name="T71" fmla="*/ 532 h 535"/>
                <a:gd name="T72" fmla="*/ 272 w 348"/>
                <a:gd name="T73" fmla="*/ 534 h 535"/>
                <a:gd name="T74" fmla="*/ 268 w 348"/>
                <a:gd name="T75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8" h="535">
                  <a:moveTo>
                    <a:pt x="24" y="268"/>
                  </a:moveTo>
                  <a:lnTo>
                    <a:pt x="268" y="512"/>
                  </a:lnTo>
                  <a:lnTo>
                    <a:pt x="324" y="457"/>
                  </a:lnTo>
                  <a:lnTo>
                    <a:pt x="142" y="274"/>
                  </a:lnTo>
                  <a:lnTo>
                    <a:pt x="140" y="271"/>
                  </a:lnTo>
                  <a:lnTo>
                    <a:pt x="140" y="268"/>
                  </a:lnTo>
                  <a:lnTo>
                    <a:pt x="140" y="263"/>
                  </a:lnTo>
                  <a:lnTo>
                    <a:pt x="142" y="260"/>
                  </a:lnTo>
                  <a:lnTo>
                    <a:pt x="324" y="79"/>
                  </a:lnTo>
                  <a:lnTo>
                    <a:pt x="268" y="23"/>
                  </a:lnTo>
                  <a:lnTo>
                    <a:pt x="24" y="268"/>
                  </a:lnTo>
                  <a:close/>
                  <a:moveTo>
                    <a:pt x="268" y="535"/>
                  </a:moveTo>
                  <a:lnTo>
                    <a:pt x="265" y="534"/>
                  </a:lnTo>
                  <a:lnTo>
                    <a:pt x="262" y="533"/>
                  </a:lnTo>
                  <a:lnTo>
                    <a:pt x="4" y="274"/>
                  </a:lnTo>
                  <a:lnTo>
                    <a:pt x="1" y="271"/>
                  </a:lnTo>
                  <a:lnTo>
                    <a:pt x="0" y="268"/>
                  </a:lnTo>
                  <a:lnTo>
                    <a:pt x="1" y="263"/>
                  </a:lnTo>
                  <a:lnTo>
                    <a:pt x="4" y="260"/>
                  </a:lnTo>
                  <a:lnTo>
                    <a:pt x="262" y="2"/>
                  </a:lnTo>
                  <a:lnTo>
                    <a:pt x="265" y="0"/>
                  </a:lnTo>
                  <a:lnTo>
                    <a:pt x="268" y="0"/>
                  </a:lnTo>
                  <a:lnTo>
                    <a:pt x="272" y="0"/>
                  </a:lnTo>
                  <a:lnTo>
                    <a:pt x="276" y="2"/>
                  </a:lnTo>
                  <a:lnTo>
                    <a:pt x="345" y="72"/>
                  </a:lnTo>
                  <a:lnTo>
                    <a:pt x="347" y="75"/>
                  </a:lnTo>
                  <a:lnTo>
                    <a:pt x="348" y="79"/>
                  </a:lnTo>
                  <a:lnTo>
                    <a:pt x="347" y="83"/>
                  </a:lnTo>
                  <a:lnTo>
                    <a:pt x="345" y="86"/>
                  </a:lnTo>
                  <a:lnTo>
                    <a:pt x="163" y="268"/>
                  </a:lnTo>
                  <a:lnTo>
                    <a:pt x="345" y="449"/>
                  </a:lnTo>
                  <a:lnTo>
                    <a:pt x="347" y="452"/>
                  </a:lnTo>
                  <a:lnTo>
                    <a:pt x="348" y="457"/>
                  </a:lnTo>
                  <a:lnTo>
                    <a:pt x="347" y="460"/>
                  </a:lnTo>
                  <a:lnTo>
                    <a:pt x="345" y="463"/>
                  </a:lnTo>
                  <a:lnTo>
                    <a:pt x="276" y="532"/>
                  </a:lnTo>
                  <a:lnTo>
                    <a:pt x="272" y="534"/>
                  </a:lnTo>
                  <a:lnTo>
                    <a:pt x="268" y="5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00" name="Group 299">
            <a:extLst>
              <a:ext uri="{FF2B5EF4-FFF2-40B4-BE49-F238E27FC236}">
                <a16:creationId xmlns="" xmlns:a16="http://schemas.microsoft.com/office/drawing/2014/main" id="{27AC4C7B-827C-413D-AFC1-28B3D74E11CD}"/>
              </a:ext>
            </a:extLst>
          </p:cNvPr>
          <p:cNvGrpSpPr/>
          <p:nvPr/>
        </p:nvGrpSpPr>
        <p:grpSpPr>
          <a:xfrm>
            <a:off x="3154962" y="1709784"/>
            <a:ext cx="279490" cy="251353"/>
            <a:chOff x="7396163" y="4268788"/>
            <a:chExt cx="236538" cy="212725"/>
          </a:xfrm>
          <a:solidFill>
            <a:schemeClr val="accent4"/>
          </a:solidFill>
        </p:grpSpPr>
        <p:sp>
          <p:nvSpPr>
            <p:cNvPr id="301" name="Freeform 385">
              <a:extLst>
                <a:ext uri="{FF2B5EF4-FFF2-40B4-BE49-F238E27FC236}">
                  <a16:creationId xmlns="" xmlns:a16="http://schemas.microsoft.com/office/drawing/2014/main" id="{3CB2812B-906D-4582-BA2E-E2808120DA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6163" y="4268788"/>
              <a:ext cx="138113" cy="212725"/>
            </a:xfrm>
            <a:custGeom>
              <a:avLst/>
              <a:gdLst>
                <a:gd name="T0" fmla="*/ 25 w 348"/>
                <a:gd name="T1" fmla="*/ 457 h 535"/>
                <a:gd name="T2" fmla="*/ 80 w 348"/>
                <a:gd name="T3" fmla="*/ 512 h 535"/>
                <a:gd name="T4" fmla="*/ 324 w 348"/>
                <a:gd name="T5" fmla="*/ 268 h 535"/>
                <a:gd name="T6" fmla="*/ 80 w 348"/>
                <a:gd name="T7" fmla="*/ 23 h 535"/>
                <a:gd name="T8" fmla="*/ 25 w 348"/>
                <a:gd name="T9" fmla="*/ 79 h 535"/>
                <a:gd name="T10" fmla="*/ 207 w 348"/>
                <a:gd name="T11" fmla="*/ 260 h 535"/>
                <a:gd name="T12" fmla="*/ 209 w 348"/>
                <a:gd name="T13" fmla="*/ 263 h 535"/>
                <a:gd name="T14" fmla="*/ 210 w 348"/>
                <a:gd name="T15" fmla="*/ 268 h 535"/>
                <a:gd name="T16" fmla="*/ 209 w 348"/>
                <a:gd name="T17" fmla="*/ 271 h 535"/>
                <a:gd name="T18" fmla="*/ 207 w 348"/>
                <a:gd name="T19" fmla="*/ 274 h 535"/>
                <a:gd name="T20" fmla="*/ 25 w 348"/>
                <a:gd name="T21" fmla="*/ 457 h 535"/>
                <a:gd name="T22" fmla="*/ 80 w 348"/>
                <a:gd name="T23" fmla="*/ 535 h 535"/>
                <a:gd name="T24" fmla="*/ 77 w 348"/>
                <a:gd name="T25" fmla="*/ 534 h 535"/>
                <a:gd name="T26" fmla="*/ 73 w 348"/>
                <a:gd name="T27" fmla="*/ 533 h 535"/>
                <a:gd name="T28" fmla="*/ 4 w 348"/>
                <a:gd name="T29" fmla="*/ 463 h 535"/>
                <a:gd name="T30" fmla="*/ 2 w 348"/>
                <a:gd name="T31" fmla="*/ 460 h 535"/>
                <a:gd name="T32" fmla="*/ 0 w 348"/>
                <a:gd name="T33" fmla="*/ 457 h 535"/>
                <a:gd name="T34" fmla="*/ 2 w 348"/>
                <a:gd name="T35" fmla="*/ 452 h 535"/>
                <a:gd name="T36" fmla="*/ 4 w 348"/>
                <a:gd name="T37" fmla="*/ 449 h 535"/>
                <a:gd name="T38" fmla="*/ 185 w 348"/>
                <a:gd name="T39" fmla="*/ 268 h 535"/>
                <a:gd name="T40" fmla="*/ 4 w 348"/>
                <a:gd name="T41" fmla="*/ 86 h 535"/>
                <a:gd name="T42" fmla="*/ 2 w 348"/>
                <a:gd name="T43" fmla="*/ 83 h 535"/>
                <a:gd name="T44" fmla="*/ 0 w 348"/>
                <a:gd name="T45" fmla="*/ 79 h 535"/>
                <a:gd name="T46" fmla="*/ 2 w 348"/>
                <a:gd name="T47" fmla="*/ 75 h 535"/>
                <a:gd name="T48" fmla="*/ 4 w 348"/>
                <a:gd name="T49" fmla="*/ 72 h 535"/>
                <a:gd name="T50" fmla="*/ 74 w 348"/>
                <a:gd name="T51" fmla="*/ 2 h 535"/>
                <a:gd name="T52" fmla="*/ 77 w 348"/>
                <a:gd name="T53" fmla="*/ 0 h 535"/>
                <a:gd name="T54" fmla="*/ 80 w 348"/>
                <a:gd name="T55" fmla="*/ 0 h 535"/>
                <a:gd name="T56" fmla="*/ 84 w 348"/>
                <a:gd name="T57" fmla="*/ 0 h 535"/>
                <a:gd name="T58" fmla="*/ 87 w 348"/>
                <a:gd name="T59" fmla="*/ 2 h 535"/>
                <a:gd name="T60" fmla="*/ 346 w 348"/>
                <a:gd name="T61" fmla="*/ 260 h 535"/>
                <a:gd name="T62" fmla="*/ 348 w 348"/>
                <a:gd name="T63" fmla="*/ 263 h 535"/>
                <a:gd name="T64" fmla="*/ 348 w 348"/>
                <a:gd name="T65" fmla="*/ 268 h 535"/>
                <a:gd name="T66" fmla="*/ 348 w 348"/>
                <a:gd name="T67" fmla="*/ 271 h 535"/>
                <a:gd name="T68" fmla="*/ 346 w 348"/>
                <a:gd name="T69" fmla="*/ 274 h 535"/>
                <a:gd name="T70" fmla="*/ 87 w 348"/>
                <a:gd name="T71" fmla="*/ 532 h 535"/>
                <a:gd name="T72" fmla="*/ 84 w 348"/>
                <a:gd name="T73" fmla="*/ 534 h 535"/>
                <a:gd name="T74" fmla="*/ 80 w 348"/>
                <a:gd name="T75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8" h="535">
                  <a:moveTo>
                    <a:pt x="25" y="457"/>
                  </a:moveTo>
                  <a:lnTo>
                    <a:pt x="80" y="512"/>
                  </a:lnTo>
                  <a:lnTo>
                    <a:pt x="324" y="268"/>
                  </a:lnTo>
                  <a:lnTo>
                    <a:pt x="80" y="23"/>
                  </a:lnTo>
                  <a:lnTo>
                    <a:pt x="25" y="79"/>
                  </a:lnTo>
                  <a:lnTo>
                    <a:pt x="207" y="260"/>
                  </a:lnTo>
                  <a:lnTo>
                    <a:pt x="209" y="263"/>
                  </a:lnTo>
                  <a:lnTo>
                    <a:pt x="210" y="268"/>
                  </a:lnTo>
                  <a:lnTo>
                    <a:pt x="209" y="271"/>
                  </a:lnTo>
                  <a:lnTo>
                    <a:pt x="207" y="274"/>
                  </a:lnTo>
                  <a:lnTo>
                    <a:pt x="25" y="457"/>
                  </a:lnTo>
                  <a:close/>
                  <a:moveTo>
                    <a:pt x="80" y="535"/>
                  </a:moveTo>
                  <a:lnTo>
                    <a:pt x="77" y="534"/>
                  </a:lnTo>
                  <a:lnTo>
                    <a:pt x="73" y="533"/>
                  </a:lnTo>
                  <a:lnTo>
                    <a:pt x="4" y="463"/>
                  </a:lnTo>
                  <a:lnTo>
                    <a:pt x="2" y="460"/>
                  </a:lnTo>
                  <a:lnTo>
                    <a:pt x="0" y="457"/>
                  </a:lnTo>
                  <a:lnTo>
                    <a:pt x="2" y="452"/>
                  </a:lnTo>
                  <a:lnTo>
                    <a:pt x="4" y="449"/>
                  </a:lnTo>
                  <a:lnTo>
                    <a:pt x="185" y="268"/>
                  </a:lnTo>
                  <a:lnTo>
                    <a:pt x="4" y="86"/>
                  </a:lnTo>
                  <a:lnTo>
                    <a:pt x="2" y="83"/>
                  </a:lnTo>
                  <a:lnTo>
                    <a:pt x="0" y="79"/>
                  </a:lnTo>
                  <a:lnTo>
                    <a:pt x="2" y="75"/>
                  </a:lnTo>
                  <a:lnTo>
                    <a:pt x="4" y="72"/>
                  </a:lnTo>
                  <a:lnTo>
                    <a:pt x="74" y="2"/>
                  </a:lnTo>
                  <a:lnTo>
                    <a:pt x="77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7" y="2"/>
                  </a:lnTo>
                  <a:lnTo>
                    <a:pt x="346" y="260"/>
                  </a:lnTo>
                  <a:lnTo>
                    <a:pt x="348" y="263"/>
                  </a:lnTo>
                  <a:lnTo>
                    <a:pt x="348" y="268"/>
                  </a:lnTo>
                  <a:lnTo>
                    <a:pt x="348" y="271"/>
                  </a:lnTo>
                  <a:lnTo>
                    <a:pt x="346" y="274"/>
                  </a:lnTo>
                  <a:lnTo>
                    <a:pt x="87" y="532"/>
                  </a:lnTo>
                  <a:lnTo>
                    <a:pt x="84" y="534"/>
                  </a:lnTo>
                  <a:lnTo>
                    <a:pt x="80" y="5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Freeform 386">
              <a:extLst>
                <a:ext uri="{FF2B5EF4-FFF2-40B4-BE49-F238E27FC236}">
                  <a16:creationId xmlns="" xmlns:a16="http://schemas.microsoft.com/office/drawing/2014/main" id="{8FBC3CBA-D050-491F-9432-53A1CFC855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94588" y="4268788"/>
              <a:ext cx="138113" cy="212725"/>
            </a:xfrm>
            <a:custGeom>
              <a:avLst/>
              <a:gdLst>
                <a:gd name="T0" fmla="*/ 25 w 348"/>
                <a:gd name="T1" fmla="*/ 457 h 535"/>
                <a:gd name="T2" fmla="*/ 80 w 348"/>
                <a:gd name="T3" fmla="*/ 512 h 535"/>
                <a:gd name="T4" fmla="*/ 324 w 348"/>
                <a:gd name="T5" fmla="*/ 268 h 535"/>
                <a:gd name="T6" fmla="*/ 80 w 348"/>
                <a:gd name="T7" fmla="*/ 23 h 535"/>
                <a:gd name="T8" fmla="*/ 25 w 348"/>
                <a:gd name="T9" fmla="*/ 79 h 535"/>
                <a:gd name="T10" fmla="*/ 206 w 348"/>
                <a:gd name="T11" fmla="*/ 260 h 535"/>
                <a:gd name="T12" fmla="*/ 208 w 348"/>
                <a:gd name="T13" fmla="*/ 263 h 535"/>
                <a:gd name="T14" fmla="*/ 208 w 348"/>
                <a:gd name="T15" fmla="*/ 268 h 535"/>
                <a:gd name="T16" fmla="*/ 208 w 348"/>
                <a:gd name="T17" fmla="*/ 271 h 535"/>
                <a:gd name="T18" fmla="*/ 206 w 348"/>
                <a:gd name="T19" fmla="*/ 274 h 535"/>
                <a:gd name="T20" fmla="*/ 25 w 348"/>
                <a:gd name="T21" fmla="*/ 457 h 535"/>
                <a:gd name="T22" fmla="*/ 80 w 348"/>
                <a:gd name="T23" fmla="*/ 535 h 535"/>
                <a:gd name="T24" fmla="*/ 75 w 348"/>
                <a:gd name="T25" fmla="*/ 534 h 535"/>
                <a:gd name="T26" fmla="*/ 72 w 348"/>
                <a:gd name="T27" fmla="*/ 533 h 535"/>
                <a:gd name="T28" fmla="*/ 3 w 348"/>
                <a:gd name="T29" fmla="*/ 463 h 535"/>
                <a:gd name="T30" fmla="*/ 1 w 348"/>
                <a:gd name="T31" fmla="*/ 460 h 535"/>
                <a:gd name="T32" fmla="*/ 0 w 348"/>
                <a:gd name="T33" fmla="*/ 457 h 535"/>
                <a:gd name="T34" fmla="*/ 1 w 348"/>
                <a:gd name="T35" fmla="*/ 452 h 535"/>
                <a:gd name="T36" fmla="*/ 3 w 348"/>
                <a:gd name="T37" fmla="*/ 449 h 535"/>
                <a:gd name="T38" fmla="*/ 185 w 348"/>
                <a:gd name="T39" fmla="*/ 268 h 535"/>
                <a:gd name="T40" fmla="*/ 3 w 348"/>
                <a:gd name="T41" fmla="*/ 86 h 535"/>
                <a:gd name="T42" fmla="*/ 1 w 348"/>
                <a:gd name="T43" fmla="*/ 83 h 535"/>
                <a:gd name="T44" fmla="*/ 0 w 348"/>
                <a:gd name="T45" fmla="*/ 79 h 535"/>
                <a:gd name="T46" fmla="*/ 1 w 348"/>
                <a:gd name="T47" fmla="*/ 75 h 535"/>
                <a:gd name="T48" fmla="*/ 3 w 348"/>
                <a:gd name="T49" fmla="*/ 72 h 535"/>
                <a:gd name="T50" fmla="*/ 72 w 348"/>
                <a:gd name="T51" fmla="*/ 2 h 535"/>
                <a:gd name="T52" fmla="*/ 75 w 348"/>
                <a:gd name="T53" fmla="*/ 0 h 535"/>
                <a:gd name="T54" fmla="*/ 80 w 348"/>
                <a:gd name="T55" fmla="*/ 0 h 535"/>
                <a:gd name="T56" fmla="*/ 83 w 348"/>
                <a:gd name="T57" fmla="*/ 0 h 535"/>
                <a:gd name="T58" fmla="*/ 86 w 348"/>
                <a:gd name="T59" fmla="*/ 2 h 535"/>
                <a:gd name="T60" fmla="*/ 344 w 348"/>
                <a:gd name="T61" fmla="*/ 260 h 535"/>
                <a:gd name="T62" fmla="*/ 347 w 348"/>
                <a:gd name="T63" fmla="*/ 263 h 535"/>
                <a:gd name="T64" fmla="*/ 348 w 348"/>
                <a:gd name="T65" fmla="*/ 268 h 535"/>
                <a:gd name="T66" fmla="*/ 347 w 348"/>
                <a:gd name="T67" fmla="*/ 271 h 535"/>
                <a:gd name="T68" fmla="*/ 344 w 348"/>
                <a:gd name="T69" fmla="*/ 274 h 535"/>
                <a:gd name="T70" fmla="*/ 86 w 348"/>
                <a:gd name="T71" fmla="*/ 532 h 535"/>
                <a:gd name="T72" fmla="*/ 83 w 348"/>
                <a:gd name="T73" fmla="*/ 534 h 535"/>
                <a:gd name="T74" fmla="*/ 80 w 348"/>
                <a:gd name="T75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8" h="535">
                  <a:moveTo>
                    <a:pt x="25" y="457"/>
                  </a:moveTo>
                  <a:lnTo>
                    <a:pt x="80" y="512"/>
                  </a:lnTo>
                  <a:lnTo>
                    <a:pt x="324" y="268"/>
                  </a:lnTo>
                  <a:lnTo>
                    <a:pt x="80" y="23"/>
                  </a:lnTo>
                  <a:lnTo>
                    <a:pt x="25" y="79"/>
                  </a:lnTo>
                  <a:lnTo>
                    <a:pt x="206" y="260"/>
                  </a:lnTo>
                  <a:lnTo>
                    <a:pt x="208" y="263"/>
                  </a:lnTo>
                  <a:lnTo>
                    <a:pt x="208" y="268"/>
                  </a:lnTo>
                  <a:lnTo>
                    <a:pt x="208" y="271"/>
                  </a:lnTo>
                  <a:lnTo>
                    <a:pt x="206" y="274"/>
                  </a:lnTo>
                  <a:lnTo>
                    <a:pt x="25" y="457"/>
                  </a:lnTo>
                  <a:close/>
                  <a:moveTo>
                    <a:pt x="80" y="535"/>
                  </a:moveTo>
                  <a:lnTo>
                    <a:pt x="75" y="534"/>
                  </a:lnTo>
                  <a:lnTo>
                    <a:pt x="72" y="533"/>
                  </a:lnTo>
                  <a:lnTo>
                    <a:pt x="3" y="463"/>
                  </a:lnTo>
                  <a:lnTo>
                    <a:pt x="1" y="460"/>
                  </a:lnTo>
                  <a:lnTo>
                    <a:pt x="0" y="457"/>
                  </a:lnTo>
                  <a:lnTo>
                    <a:pt x="1" y="452"/>
                  </a:lnTo>
                  <a:lnTo>
                    <a:pt x="3" y="449"/>
                  </a:lnTo>
                  <a:lnTo>
                    <a:pt x="185" y="268"/>
                  </a:lnTo>
                  <a:lnTo>
                    <a:pt x="3" y="86"/>
                  </a:lnTo>
                  <a:lnTo>
                    <a:pt x="1" y="83"/>
                  </a:lnTo>
                  <a:lnTo>
                    <a:pt x="0" y="79"/>
                  </a:lnTo>
                  <a:lnTo>
                    <a:pt x="1" y="75"/>
                  </a:lnTo>
                  <a:lnTo>
                    <a:pt x="3" y="72"/>
                  </a:lnTo>
                  <a:lnTo>
                    <a:pt x="72" y="2"/>
                  </a:lnTo>
                  <a:lnTo>
                    <a:pt x="75" y="0"/>
                  </a:lnTo>
                  <a:lnTo>
                    <a:pt x="80" y="0"/>
                  </a:lnTo>
                  <a:lnTo>
                    <a:pt x="83" y="0"/>
                  </a:lnTo>
                  <a:lnTo>
                    <a:pt x="86" y="2"/>
                  </a:lnTo>
                  <a:lnTo>
                    <a:pt x="344" y="260"/>
                  </a:lnTo>
                  <a:lnTo>
                    <a:pt x="347" y="263"/>
                  </a:lnTo>
                  <a:lnTo>
                    <a:pt x="348" y="268"/>
                  </a:lnTo>
                  <a:lnTo>
                    <a:pt x="347" y="271"/>
                  </a:lnTo>
                  <a:lnTo>
                    <a:pt x="344" y="274"/>
                  </a:lnTo>
                  <a:lnTo>
                    <a:pt x="86" y="532"/>
                  </a:lnTo>
                  <a:lnTo>
                    <a:pt x="83" y="534"/>
                  </a:lnTo>
                  <a:lnTo>
                    <a:pt x="80" y="5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="" xmlns:p14="http://schemas.microsoft.com/office/powerpoint/2010/main" val="19282623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8505CDED-13AE-40F0-87D6-E4A6DDAE0C42}"/>
              </a:ext>
            </a:extLst>
          </p:cNvPr>
          <p:cNvSpPr txBox="1"/>
          <p:nvPr/>
        </p:nvSpPr>
        <p:spPr>
          <a:xfrm>
            <a:off x="391886" y="138113"/>
            <a:ext cx="11408228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>
                <a:solidFill>
                  <a:schemeClr val="tx2"/>
                </a:solidFill>
                <a:latin typeface="+mj-lt"/>
              </a:rPr>
              <a:t>SUPPLY CHAIN</a:t>
            </a:r>
            <a:endParaRPr lang="en-ID" sz="4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650DC6E6-7E8C-4810-BA99-8139F7C1E125}"/>
              </a:ext>
            </a:extLst>
          </p:cNvPr>
          <p:cNvSpPr/>
          <p:nvPr/>
        </p:nvSpPr>
        <p:spPr>
          <a:xfrm>
            <a:off x="334962" y="815221"/>
            <a:ext cx="1152207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lo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l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D372E057-0BFB-4CB4-8BB3-967DEB9AF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BA98C-1060-4864-8096-9350DC016A42}" type="datetime1">
              <a:rPr lang="en-ID" smtClean="0"/>
              <a:pPr/>
              <a:t>6/27/2020</a:t>
            </a:fld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24DC781-AC70-4CCD-8B70-39BA47EBA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89122-6C24-49FD-BEBC-7A811562A5F5}" type="slidenum">
              <a:rPr lang="en-ID" smtClean="0"/>
              <a:pPr/>
              <a:t>4</a:t>
            </a:fld>
            <a:endParaRPr lang="en-ID"/>
          </a:p>
        </p:txBody>
      </p:sp>
      <p:sp>
        <p:nvSpPr>
          <p:cNvPr id="7" name="Rectangle: Rounded Corners 6">
            <a:extLst>
              <a:ext uri="{FF2B5EF4-FFF2-40B4-BE49-F238E27FC236}">
                <a16:creationId xmlns="" xmlns:a16="http://schemas.microsoft.com/office/drawing/2014/main" id="{5CB0479D-D6CD-499C-993D-BF20B4E40C7F}"/>
              </a:ext>
            </a:extLst>
          </p:cNvPr>
          <p:cNvSpPr/>
          <p:nvPr/>
        </p:nvSpPr>
        <p:spPr>
          <a:xfrm>
            <a:off x="5486400" y="3178969"/>
            <a:ext cx="1219200" cy="1219200"/>
          </a:xfrm>
          <a:prstGeom prst="roundRect">
            <a:avLst/>
          </a:pr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rem Ipsum</a:t>
            </a:r>
            <a:endParaRPr lang="en-ID" dirty="0"/>
          </a:p>
        </p:txBody>
      </p:sp>
      <p:sp>
        <p:nvSpPr>
          <p:cNvPr id="57" name="Rectangle: Rounded Corners 56">
            <a:extLst>
              <a:ext uri="{FF2B5EF4-FFF2-40B4-BE49-F238E27FC236}">
                <a16:creationId xmlns="" xmlns:a16="http://schemas.microsoft.com/office/drawing/2014/main" id="{6A037DA6-D941-4316-8AB0-72409ACBF4A0}"/>
              </a:ext>
            </a:extLst>
          </p:cNvPr>
          <p:cNvSpPr/>
          <p:nvPr/>
        </p:nvSpPr>
        <p:spPr>
          <a:xfrm>
            <a:off x="7203546" y="2223691"/>
            <a:ext cx="1219200" cy="12192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Lorem Ipsum</a:t>
            </a:r>
            <a:endParaRPr lang="en-ID" dirty="0"/>
          </a:p>
        </p:txBody>
      </p:sp>
      <p:sp>
        <p:nvSpPr>
          <p:cNvPr id="58" name="Rectangle: Rounded Corners 57">
            <a:extLst>
              <a:ext uri="{FF2B5EF4-FFF2-40B4-BE49-F238E27FC236}">
                <a16:creationId xmlns="" xmlns:a16="http://schemas.microsoft.com/office/drawing/2014/main" id="{191BD5C0-4C63-41A7-879E-9C86B2E13DB4}"/>
              </a:ext>
            </a:extLst>
          </p:cNvPr>
          <p:cNvSpPr/>
          <p:nvPr/>
        </p:nvSpPr>
        <p:spPr>
          <a:xfrm>
            <a:off x="7203546" y="4134247"/>
            <a:ext cx="1219200" cy="12192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Lorem Ipsum</a:t>
            </a:r>
            <a:endParaRPr lang="en-ID" dirty="0"/>
          </a:p>
        </p:txBody>
      </p:sp>
      <p:sp>
        <p:nvSpPr>
          <p:cNvPr id="59" name="Rectangle: Rounded Corners 58">
            <a:extLst>
              <a:ext uri="{FF2B5EF4-FFF2-40B4-BE49-F238E27FC236}">
                <a16:creationId xmlns="" xmlns:a16="http://schemas.microsoft.com/office/drawing/2014/main" id="{A9268FEA-F356-4BF8-8C37-4A2EBE4C294B}"/>
              </a:ext>
            </a:extLst>
          </p:cNvPr>
          <p:cNvSpPr/>
          <p:nvPr/>
        </p:nvSpPr>
        <p:spPr>
          <a:xfrm>
            <a:off x="8920692" y="1268413"/>
            <a:ext cx="1219200" cy="12192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rem Ipsum</a:t>
            </a:r>
            <a:endParaRPr lang="en-ID" dirty="0"/>
          </a:p>
        </p:txBody>
      </p:sp>
      <p:sp>
        <p:nvSpPr>
          <p:cNvPr id="60" name="Rectangle: Rounded Corners 59">
            <a:extLst>
              <a:ext uri="{FF2B5EF4-FFF2-40B4-BE49-F238E27FC236}">
                <a16:creationId xmlns="" xmlns:a16="http://schemas.microsoft.com/office/drawing/2014/main" id="{91296BB9-AF75-437C-8980-C8E990ED947C}"/>
              </a:ext>
            </a:extLst>
          </p:cNvPr>
          <p:cNvSpPr/>
          <p:nvPr/>
        </p:nvSpPr>
        <p:spPr>
          <a:xfrm>
            <a:off x="8920692" y="5089525"/>
            <a:ext cx="1219200" cy="12192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rem Ipsum</a:t>
            </a:r>
            <a:endParaRPr lang="en-ID" dirty="0"/>
          </a:p>
        </p:txBody>
      </p:sp>
      <p:sp>
        <p:nvSpPr>
          <p:cNvPr id="61" name="Rectangle: Rounded Corners 60">
            <a:extLst>
              <a:ext uri="{FF2B5EF4-FFF2-40B4-BE49-F238E27FC236}">
                <a16:creationId xmlns="" xmlns:a16="http://schemas.microsoft.com/office/drawing/2014/main" id="{7671D5A0-7510-43D5-84C0-F16EC127F9BA}"/>
              </a:ext>
            </a:extLst>
          </p:cNvPr>
          <p:cNvSpPr/>
          <p:nvPr/>
        </p:nvSpPr>
        <p:spPr>
          <a:xfrm>
            <a:off x="8920692" y="3178969"/>
            <a:ext cx="1219200" cy="12192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Lorem Ipsum</a:t>
            </a:r>
            <a:endParaRPr lang="en-ID" dirty="0"/>
          </a:p>
        </p:txBody>
      </p:sp>
      <p:sp>
        <p:nvSpPr>
          <p:cNvPr id="64" name="Rectangle: Rounded Corners 63">
            <a:extLst>
              <a:ext uri="{FF2B5EF4-FFF2-40B4-BE49-F238E27FC236}">
                <a16:creationId xmlns="" xmlns:a16="http://schemas.microsoft.com/office/drawing/2014/main" id="{D8E108CD-32A4-4E51-87B6-1B4742E2F25D}"/>
              </a:ext>
            </a:extLst>
          </p:cNvPr>
          <p:cNvSpPr/>
          <p:nvPr/>
        </p:nvSpPr>
        <p:spPr>
          <a:xfrm flipH="1">
            <a:off x="3768742" y="2223691"/>
            <a:ext cx="1219200" cy="12192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Lorem Ipsum</a:t>
            </a:r>
            <a:endParaRPr lang="en-ID" dirty="0"/>
          </a:p>
        </p:txBody>
      </p:sp>
      <p:sp>
        <p:nvSpPr>
          <p:cNvPr id="65" name="Rectangle: Rounded Corners 64">
            <a:extLst>
              <a:ext uri="{FF2B5EF4-FFF2-40B4-BE49-F238E27FC236}">
                <a16:creationId xmlns="" xmlns:a16="http://schemas.microsoft.com/office/drawing/2014/main" id="{8F8B5804-4892-4FDE-AFC1-5703EC0A6DC9}"/>
              </a:ext>
            </a:extLst>
          </p:cNvPr>
          <p:cNvSpPr/>
          <p:nvPr/>
        </p:nvSpPr>
        <p:spPr>
          <a:xfrm flipH="1">
            <a:off x="3768742" y="4134247"/>
            <a:ext cx="1219200" cy="12192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Lorem Ipsum</a:t>
            </a:r>
            <a:endParaRPr lang="en-ID" dirty="0"/>
          </a:p>
        </p:txBody>
      </p:sp>
      <p:sp>
        <p:nvSpPr>
          <p:cNvPr id="66" name="Rectangle: Rounded Corners 65">
            <a:extLst>
              <a:ext uri="{FF2B5EF4-FFF2-40B4-BE49-F238E27FC236}">
                <a16:creationId xmlns="" xmlns:a16="http://schemas.microsoft.com/office/drawing/2014/main" id="{C78B8F22-5C78-4DAF-8BF8-ED657ED85B69}"/>
              </a:ext>
            </a:extLst>
          </p:cNvPr>
          <p:cNvSpPr/>
          <p:nvPr/>
        </p:nvSpPr>
        <p:spPr>
          <a:xfrm flipH="1">
            <a:off x="2051083" y="1268413"/>
            <a:ext cx="1219200" cy="12192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rem Ipsum</a:t>
            </a:r>
            <a:endParaRPr lang="en-ID" dirty="0"/>
          </a:p>
        </p:txBody>
      </p:sp>
      <p:sp>
        <p:nvSpPr>
          <p:cNvPr id="67" name="Rectangle: Rounded Corners 66">
            <a:extLst>
              <a:ext uri="{FF2B5EF4-FFF2-40B4-BE49-F238E27FC236}">
                <a16:creationId xmlns="" xmlns:a16="http://schemas.microsoft.com/office/drawing/2014/main" id="{B14DF021-6F8D-4EF3-9FEE-3986413AA833}"/>
              </a:ext>
            </a:extLst>
          </p:cNvPr>
          <p:cNvSpPr/>
          <p:nvPr/>
        </p:nvSpPr>
        <p:spPr>
          <a:xfrm flipH="1">
            <a:off x="2051083" y="5089525"/>
            <a:ext cx="1219200" cy="12192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Lorem Ipsum</a:t>
            </a:r>
            <a:endParaRPr lang="en-ID" dirty="0"/>
          </a:p>
        </p:txBody>
      </p:sp>
      <p:sp>
        <p:nvSpPr>
          <p:cNvPr id="68" name="Rectangle: Rounded Corners 67">
            <a:extLst>
              <a:ext uri="{FF2B5EF4-FFF2-40B4-BE49-F238E27FC236}">
                <a16:creationId xmlns="" xmlns:a16="http://schemas.microsoft.com/office/drawing/2014/main" id="{78E33B47-B5C3-409E-B9C2-4CCA7E0D615B}"/>
              </a:ext>
            </a:extLst>
          </p:cNvPr>
          <p:cNvSpPr/>
          <p:nvPr/>
        </p:nvSpPr>
        <p:spPr>
          <a:xfrm flipH="1">
            <a:off x="2051083" y="3178969"/>
            <a:ext cx="1219200" cy="12192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Lorem Ipsum</a:t>
            </a:r>
            <a:endParaRPr lang="en-ID" dirty="0"/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="" xmlns:a16="http://schemas.microsoft.com/office/drawing/2014/main" id="{93582E64-45A2-48B6-9C05-15DB192097C2}"/>
              </a:ext>
            </a:extLst>
          </p:cNvPr>
          <p:cNvCxnSpPr>
            <a:stCxn id="7" idx="3"/>
            <a:endCxn id="57" idx="1"/>
          </p:cNvCxnSpPr>
          <p:nvPr/>
        </p:nvCxnSpPr>
        <p:spPr>
          <a:xfrm flipV="1">
            <a:off x="6705600" y="2833291"/>
            <a:ext cx="497946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>
            <a:extLst>
              <a:ext uri="{FF2B5EF4-FFF2-40B4-BE49-F238E27FC236}">
                <a16:creationId xmlns="" xmlns:a16="http://schemas.microsoft.com/office/drawing/2014/main" id="{5F00CC24-C6F9-4098-94B9-12D2576FBA52}"/>
              </a:ext>
            </a:extLst>
          </p:cNvPr>
          <p:cNvCxnSpPr>
            <a:cxnSpLocks/>
            <a:stCxn id="7" idx="3"/>
            <a:endCxn id="58" idx="1"/>
          </p:cNvCxnSpPr>
          <p:nvPr/>
        </p:nvCxnSpPr>
        <p:spPr>
          <a:xfrm>
            <a:off x="6705600" y="3788569"/>
            <a:ext cx="497946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="" xmlns:a16="http://schemas.microsoft.com/office/drawing/2014/main" id="{9F0CD9AA-AF12-4070-A203-F27ED44C9A27}"/>
              </a:ext>
            </a:extLst>
          </p:cNvPr>
          <p:cNvCxnSpPr>
            <a:cxnSpLocks/>
            <a:stCxn id="57" idx="3"/>
            <a:endCxn id="59" idx="1"/>
          </p:cNvCxnSpPr>
          <p:nvPr/>
        </p:nvCxnSpPr>
        <p:spPr>
          <a:xfrm flipV="1">
            <a:off x="8422746" y="1878013"/>
            <a:ext cx="497946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77">
            <a:extLst>
              <a:ext uri="{FF2B5EF4-FFF2-40B4-BE49-F238E27FC236}">
                <a16:creationId xmlns="" xmlns:a16="http://schemas.microsoft.com/office/drawing/2014/main" id="{684AC5C2-BC27-4994-A4B6-01DC1B526C1F}"/>
              </a:ext>
            </a:extLst>
          </p:cNvPr>
          <p:cNvCxnSpPr>
            <a:cxnSpLocks/>
            <a:stCxn id="57" idx="3"/>
            <a:endCxn id="61" idx="1"/>
          </p:cNvCxnSpPr>
          <p:nvPr/>
        </p:nvCxnSpPr>
        <p:spPr>
          <a:xfrm>
            <a:off x="8422746" y="2833291"/>
            <a:ext cx="497946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Arrow Connector 80">
            <a:extLst>
              <a:ext uri="{FF2B5EF4-FFF2-40B4-BE49-F238E27FC236}">
                <a16:creationId xmlns="" xmlns:a16="http://schemas.microsoft.com/office/drawing/2014/main" id="{2C6DADD8-31E4-4EC1-BE57-55E706B63427}"/>
              </a:ext>
            </a:extLst>
          </p:cNvPr>
          <p:cNvCxnSpPr>
            <a:cxnSpLocks/>
            <a:stCxn id="58" idx="3"/>
            <a:endCxn id="60" idx="1"/>
          </p:cNvCxnSpPr>
          <p:nvPr/>
        </p:nvCxnSpPr>
        <p:spPr>
          <a:xfrm>
            <a:off x="8422746" y="4743847"/>
            <a:ext cx="497946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Arrow Connector 84">
            <a:extLst>
              <a:ext uri="{FF2B5EF4-FFF2-40B4-BE49-F238E27FC236}">
                <a16:creationId xmlns="" xmlns:a16="http://schemas.microsoft.com/office/drawing/2014/main" id="{B1DCD9D1-9695-47B5-B824-9C3ACFF044D1}"/>
              </a:ext>
            </a:extLst>
          </p:cNvPr>
          <p:cNvCxnSpPr>
            <a:cxnSpLocks/>
            <a:stCxn id="58" idx="3"/>
            <a:endCxn id="61" idx="1"/>
          </p:cNvCxnSpPr>
          <p:nvPr/>
        </p:nvCxnSpPr>
        <p:spPr>
          <a:xfrm flipV="1">
            <a:off x="8422746" y="3788569"/>
            <a:ext cx="497946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>
            <a:extLst>
              <a:ext uri="{FF2B5EF4-FFF2-40B4-BE49-F238E27FC236}">
                <a16:creationId xmlns="" xmlns:a16="http://schemas.microsoft.com/office/drawing/2014/main" id="{77A0A8F4-E61F-4AA9-8148-5C717BA1B0B1}"/>
              </a:ext>
            </a:extLst>
          </p:cNvPr>
          <p:cNvCxnSpPr>
            <a:cxnSpLocks/>
            <a:stCxn id="7" idx="1"/>
            <a:endCxn id="64" idx="1"/>
          </p:cNvCxnSpPr>
          <p:nvPr/>
        </p:nvCxnSpPr>
        <p:spPr>
          <a:xfrm flipH="1" flipV="1">
            <a:off x="4987942" y="2833291"/>
            <a:ext cx="498458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Arrow Connector 90">
            <a:extLst>
              <a:ext uri="{FF2B5EF4-FFF2-40B4-BE49-F238E27FC236}">
                <a16:creationId xmlns="" xmlns:a16="http://schemas.microsoft.com/office/drawing/2014/main" id="{7B92A7F9-A181-417A-BA10-71E5C3C97197}"/>
              </a:ext>
            </a:extLst>
          </p:cNvPr>
          <p:cNvCxnSpPr>
            <a:cxnSpLocks/>
            <a:stCxn id="7" idx="1"/>
            <a:endCxn id="65" idx="1"/>
          </p:cNvCxnSpPr>
          <p:nvPr/>
        </p:nvCxnSpPr>
        <p:spPr>
          <a:xfrm flipH="1">
            <a:off x="4987942" y="3788569"/>
            <a:ext cx="498458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="" xmlns:a16="http://schemas.microsoft.com/office/drawing/2014/main" id="{5AB0FA98-407D-401D-A8A3-299CD0F8C49B}"/>
              </a:ext>
            </a:extLst>
          </p:cNvPr>
          <p:cNvCxnSpPr>
            <a:cxnSpLocks/>
            <a:stCxn id="64" idx="3"/>
            <a:endCxn id="68" idx="1"/>
          </p:cNvCxnSpPr>
          <p:nvPr/>
        </p:nvCxnSpPr>
        <p:spPr>
          <a:xfrm flipH="1">
            <a:off x="3270283" y="2833291"/>
            <a:ext cx="498459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>
            <a:extLst>
              <a:ext uri="{FF2B5EF4-FFF2-40B4-BE49-F238E27FC236}">
                <a16:creationId xmlns="" xmlns:a16="http://schemas.microsoft.com/office/drawing/2014/main" id="{713DABFD-34BF-4CCD-BDC4-10A287F81371}"/>
              </a:ext>
            </a:extLst>
          </p:cNvPr>
          <p:cNvCxnSpPr>
            <a:cxnSpLocks/>
            <a:stCxn id="64" idx="3"/>
            <a:endCxn id="66" idx="1"/>
          </p:cNvCxnSpPr>
          <p:nvPr/>
        </p:nvCxnSpPr>
        <p:spPr>
          <a:xfrm flipH="1" flipV="1">
            <a:off x="3270283" y="1878013"/>
            <a:ext cx="498459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="" xmlns:a16="http://schemas.microsoft.com/office/drawing/2014/main" id="{2F860920-D665-46F7-B548-5CA90124FBB2}"/>
              </a:ext>
            </a:extLst>
          </p:cNvPr>
          <p:cNvCxnSpPr>
            <a:cxnSpLocks/>
            <a:stCxn id="65" idx="3"/>
            <a:endCxn id="68" idx="1"/>
          </p:cNvCxnSpPr>
          <p:nvPr/>
        </p:nvCxnSpPr>
        <p:spPr>
          <a:xfrm flipH="1" flipV="1">
            <a:off x="3270283" y="3788569"/>
            <a:ext cx="498459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Arrow Connector 104">
            <a:extLst>
              <a:ext uri="{FF2B5EF4-FFF2-40B4-BE49-F238E27FC236}">
                <a16:creationId xmlns="" xmlns:a16="http://schemas.microsoft.com/office/drawing/2014/main" id="{3CCFE7FB-2F4D-47FC-9A31-E2897B7DC92C}"/>
              </a:ext>
            </a:extLst>
          </p:cNvPr>
          <p:cNvCxnSpPr>
            <a:cxnSpLocks/>
            <a:stCxn id="65" idx="3"/>
            <a:endCxn id="67" idx="1"/>
          </p:cNvCxnSpPr>
          <p:nvPr/>
        </p:nvCxnSpPr>
        <p:spPr>
          <a:xfrm flipH="1">
            <a:off x="3270283" y="4743847"/>
            <a:ext cx="498459" cy="955278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tangle: Rounded Corners 115">
            <a:extLst>
              <a:ext uri="{FF2B5EF4-FFF2-40B4-BE49-F238E27FC236}">
                <a16:creationId xmlns="" xmlns:a16="http://schemas.microsoft.com/office/drawing/2014/main" id="{6B94A690-167C-4D17-BBE9-8AE72F4765B3}"/>
              </a:ext>
            </a:extLst>
          </p:cNvPr>
          <p:cNvSpPr/>
          <p:nvPr/>
        </p:nvSpPr>
        <p:spPr>
          <a:xfrm>
            <a:off x="10637838" y="1268413"/>
            <a:ext cx="1219200" cy="12192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rem Ipsum</a:t>
            </a:r>
            <a:endParaRPr lang="en-ID" dirty="0"/>
          </a:p>
        </p:txBody>
      </p:sp>
      <p:sp>
        <p:nvSpPr>
          <p:cNvPr id="117" name="Rectangle: Rounded Corners 116">
            <a:extLst>
              <a:ext uri="{FF2B5EF4-FFF2-40B4-BE49-F238E27FC236}">
                <a16:creationId xmlns="" xmlns:a16="http://schemas.microsoft.com/office/drawing/2014/main" id="{F1541539-CC75-4796-9943-BFBC75DA44BD}"/>
              </a:ext>
            </a:extLst>
          </p:cNvPr>
          <p:cNvSpPr/>
          <p:nvPr/>
        </p:nvSpPr>
        <p:spPr>
          <a:xfrm>
            <a:off x="10637838" y="5089525"/>
            <a:ext cx="1219200" cy="12192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Lorem Ipsum</a:t>
            </a:r>
            <a:endParaRPr lang="en-ID" dirty="0"/>
          </a:p>
        </p:txBody>
      </p:sp>
      <p:sp>
        <p:nvSpPr>
          <p:cNvPr id="118" name="Rectangle: Rounded Corners 117">
            <a:extLst>
              <a:ext uri="{FF2B5EF4-FFF2-40B4-BE49-F238E27FC236}">
                <a16:creationId xmlns="" xmlns:a16="http://schemas.microsoft.com/office/drawing/2014/main" id="{58DCD398-590F-437D-9FD4-FE15F9D2005E}"/>
              </a:ext>
            </a:extLst>
          </p:cNvPr>
          <p:cNvSpPr/>
          <p:nvPr/>
        </p:nvSpPr>
        <p:spPr>
          <a:xfrm>
            <a:off x="10637838" y="3178969"/>
            <a:ext cx="1219200" cy="12192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rem Ipsum</a:t>
            </a:r>
            <a:endParaRPr lang="en-ID" dirty="0"/>
          </a:p>
        </p:txBody>
      </p:sp>
      <p:sp>
        <p:nvSpPr>
          <p:cNvPr id="123" name="Rectangle: Rounded Corners 122">
            <a:extLst>
              <a:ext uri="{FF2B5EF4-FFF2-40B4-BE49-F238E27FC236}">
                <a16:creationId xmlns="" xmlns:a16="http://schemas.microsoft.com/office/drawing/2014/main" id="{69681DCC-F128-4DE4-B278-8AC2F6EEDEC1}"/>
              </a:ext>
            </a:extLst>
          </p:cNvPr>
          <p:cNvSpPr/>
          <p:nvPr/>
        </p:nvSpPr>
        <p:spPr>
          <a:xfrm flipH="1">
            <a:off x="333424" y="1268413"/>
            <a:ext cx="1219200" cy="12192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rem Ipsum</a:t>
            </a:r>
            <a:endParaRPr lang="en-ID" dirty="0"/>
          </a:p>
        </p:txBody>
      </p:sp>
      <p:sp>
        <p:nvSpPr>
          <p:cNvPr id="124" name="Rectangle: Rounded Corners 123">
            <a:extLst>
              <a:ext uri="{FF2B5EF4-FFF2-40B4-BE49-F238E27FC236}">
                <a16:creationId xmlns="" xmlns:a16="http://schemas.microsoft.com/office/drawing/2014/main" id="{E8B67D64-6DE0-4E2E-8AB9-E4D908393B26}"/>
              </a:ext>
            </a:extLst>
          </p:cNvPr>
          <p:cNvSpPr/>
          <p:nvPr/>
        </p:nvSpPr>
        <p:spPr>
          <a:xfrm flipH="1">
            <a:off x="333424" y="5089525"/>
            <a:ext cx="1219200" cy="12192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rem Ipsum</a:t>
            </a:r>
            <a:endParaRPr lang="en-ID" dirty="0"/>
          </a:p>
        </p:txBody>
      </p:sp>
      <p:sp>
        <p:nvSpPr>
          <p:cNvPr id="125" name="Rectangle: Rounded Corners 124">
            <a:extLst>
              <a:ext uri="{FF2B5EF4-FFF2-40B4-BE49-F238E27FC236}">
                <a16:creationId xmlns="" xmlns:a16="http://schemas.microsoft.com/office/drawing/2014/main" id="{3D4BDF7E-7AAD-432D-9963-4D5C4C094C24}"/>
              </a:ext>
            </a:extLst>
          </p:cNvPr>
          <p:cNvSpPr/>
          <p:nvPr/>
        </p:nvSpPr>
        <p:spPr>
          <a:xfrm flipH="1">
            <a:off x="333424" y="3178969"/>
            <a:ext cx="1219200" cy="12192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rem Ipsum</a:t>
            </a:r>
            <a:endParaRPr lang="en-ID" dirty="0"/>
          </a:p>
        </p:txBody>
      </p:sp>
      <p:cxnSp>
        <p:nvCxnSpPr>
          <p:cNvPr id="126" name="Straight Arrow Connector 125">
            <a:extLst>
              <a:ext uri="{FF2B5EF4-FFF2-40B4-BE49-F238E27FC236}">
                <a16:creationId xmlns="" xmlns:a16="http://schemas.microsoft.com/office/drawing/2014/main" id="{2C8F059B-4773-4B70-ABC8-1088B34B61DB}"/>
              </a:ext>
            </a:extLst>
          </p:cNvPr>
          <p:cNvCxnSpPr>
            <a:cxnSpLocks/>
            <a:stCxn id="66" idx="3"/>
            <a:endCxn id="123" idx="1"/>
          </p:cNvCxnSpPr>
          <p:nvPr/>
        </p:nvCxnSpPr>
        <p:spPr>
          <a:xfrm flipH="1">
            <a:off x="1552624" y="1878013"/>
            <a:ext cx="498459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>
            <a:extLst>
              <a:ext uri="{FF2B5EF4-FFF2-40B4-BE49-F238E27FC236}">
                <a16:creationId xmlns="" xmlns:a16="http://schemas.microsoft.com/office/drawing/2014/main" id="{F8A8F009-3B54-4C4E-9FDC-297B899AD578}"/>
              </a:ext>
            </a:extLst>
          </p:cNvPr>
          <p:cNvCxnSpPr>
            <a:cxnSpLocks/>
            <a:stCxn id="68" idx="3"/>
            <a:endCxn id="125" idx="1"/>
          </p:cNvCxnSpPr>
          <p:nvPr/>
        </p:nvCxnSpPr>
        <p:spPr>
          <a:xfrm flipH="1">
            <a:off x="1552624" y="3788569"/>
            <a:ext cx="498459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Arrow Connector 131">
            <a:extLst>
              <a:ext uri="{FF2B5EF4-FFF2-40B4-BE49-F238E27FC236}">
                <a16:creationId xmlns="" xmlns:a16="http://schemas.microsoft.com/office/drawing/2014/main" id="{A9310166-444A-4F15-B9D1-DCB139D3F7B8}"/>
              </a:ext>
            </a:extLst>
          </p:cNvPr>
          <p:cNvCxnSpPr>
            <a:cxnSpLocks/>
            <a:stCxn id="67" idx="3"/>
            <a:endCxn id="124" idx="1"/>
          </p:cNvCxnSpPr>
          <p:nvPr/>
        </p:nvCxnSpPr>
        <p:spPr>
          <a:xfrm flipH="1">
            <a:off x="1552624" y="5699125"/>
            <a:ext cx="498459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Arrow Connector 134">
            <a:extLst>
              <a:ext uri="{FF2B5EF4-FFF2-40B4-BE49-F238E27FC236}">
                <a16:creationId xmlns="" xmlns:a16="http://schemas.microsoft.com/office/drawing/2014/main" id="{483A46D8-341E-4772-8D27-BC9C627F8B2A}"/>
              </a:ext>
            </a:extLst>
          </p:cNvPr>
          <p:cNvCxnSpPr>
            <a:cxnSpLocks/>
            <a:stCxn id="59" idx="3"/>
            <a:endCxn id="116" idx="1"/>
          </p:cNvCxnSpPr>
          <p:nvPr/>
        </p:nvCxnSpPr>
        <p:spPr>
          <a:xfrm>
            <a:off x="10139892" y="1878013"/>
            <a:ext cx="497946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Arrow Connector 137">
            <a:extLst>
              <a:ext uri="{FF2B5EF4-FFF2-40B4-BE49-F238E27FC236}">
                <a16:creationId xmlns="" xmlns:a16="http://schemas.microsoft.com/office/drawing/2014/main" id="{95B611E9-9F3E-4C58-89AF-1A8AAA4D0CBB}"/>
              </a:ext>
            </a:extLst>
          </p:cNvPr>
          <p:cNvCxnSpPr>
            <a:cxnSpLocks/>
            <a:stCxn id="61" idx="3"/>
            <a:endCxn id="118" idx="1"/>
          </p:cNvCxnSpPr>
          <p:nvPr/>
        </p:nvCxnSpPr>
        <p:spPr>
          <a:xfrm>
            <a:off x="10139892" y="3788569"/>
            <a:ext cx="497946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Arrow Connector 140">
            <a:extLst>
              <a:ext uri="{FF2B5EF4-FFF2-40B4-BE49-F238E27FC236}">
                <a16:creationId xmlns="" xmlns:a16="http://schemas.microsoft.com/office/drawing/2014/main" id="{4BD81890-5D43-4742-8A66-53DB2FFC7B30}"/>
              </a:ext>
            </a:extLst>
          </p:cNvPr>
          <p:cNvCxnSpPr>
            <a:cxnSpLocks/>
            <a:stCxn id="60" idx="3"/>
            <a:endCxn id="117" idx="1"/>
          </p:cNvCxnSpPr>
          <p:nvPr/>
        </p:nvCxnSpPr>
        <p:spPr>
          <a:xfrm>
            <a:off x="10139892" y="5699125"/>
            <a:ext cx="497946" cy="0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9563262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8505CDED-13AE-40F0-87D6-E4A6DDAE0C42}"/>
              </a:ext>
            </a:extLst>
          </p:cNvPr>
          <p:cNvSpPr txBox="1"/>
          <p:nvPr/>
        </p:nvSpPr>
        <p:spPr>
          <a:xfrm>
            <a:off x="391886" y="138113"/>
            <a:ext cx="11408228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>
                <a:solidFill>
                  <a:schemeClr val="tx2"/>
                </a:solidFill>
                <a:latin typeface="+mj-lt"/>
              </a:rPr>
              <a:t>SUPPLY CHAIN</a:t>
            </a:r>
            <a:endParaRPr lang="en-ID" sz="4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650DC6E6-7E8C-4810-BA99-8139F7C1E125}"/>
              </a:ext>
            </a:extLst>
          </p:cNvPr>
          <p:cNvSpPr/>
          <p:nvPr/>
        </p:nvSpPr>
        <p:spPr>
          <a:xfrm>
            <a:off x="334962" y="815221"/>
            <a:ext cx="1152207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lo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l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D372E057-0BFB-4CB4-8BB3-967DEB9AF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BA98C-1060-4864-8096-9350DC016A42}" type="datetime1">
              <a:rPr lang="en-ID" smtClean="0"/>
              <a:pPr/>
              <a:t>6/27/2020</a:t>
            </a:fld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24DC781-AC70-4CCD-8B70-39BA47EBA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89122-6C24-49FD-BEBC-7A811562A5F5}" type="slidenum">
              <a:rPr lang="en-ID" smtClean="0"/>
              <a:pPr/>
              <a:t>5</a:t>
            </a:fld>
            <a:endParaRPr lang="en-ID"/>
          </a:p>
        </p:txBody>
      </p:sp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611B1974-391E-4CF2-B0F6-BB598ADC6F97}"/>
              </a:ext>
            </a:extLst>
          </p:cNvPr>
          <p:cNvSpPr/>
          <p:nvPr/>
        </p:nvSpPr>
        <p:spPr>
          <a:xfrm>
            <a:off x="334963" y="1268414"/>
            <a:ext cx="1920346" cy="5040312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4" name="Rectangle 43">
            <a:extLst>
              <a:ext uri="{FF2B5EF4-FFF2-40B4-BE49-F238E27FC236}">
                <a16:creationId xmlns="" xmlns:a16="http://schemas.microsoft.com/office/drawing/2014/main" id="{A7BC5ACA-6354-4069-B21B-9C7F7B367BCE}"/>
              </a:ext>
            </a:extLst>
          </p:cNvPr>
          <p:cNvSpPr/>
          <p:nvPr/>
        </p:nvSpPr>
        <p:spPr>
          <a:xfrm>
            <a:off x="4175654" y="1268414"/>
            <a:ext cx="1920346" cy="5040312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5" name="Rectangle 44">
            <a:extLst>
              <a:ext uri="{FF2B5EF4-FFF2-40B4-BE49-F238E27FC236}">
                <a16:creationId xmlns="" xmlns:a16="http://schemas.microsoft.com/office/drawing/2014/main" id="{420D6965-933D-4D0C-8D17-B1E61C93ABFF}"/>
              </a:ext>
            </a:extLst>
          </p:cNvPr>
          <p:cNvSpPr/>
          <p:nvPr/>
        </p:nvSpPr>
        <p:spPr>
          <a:xfrm>
            <a:off x="8016345" y="1268414"/>
            <a:ext cx="1920346" cy="5040312"/>
          </a:xfrm>
          <a:prstGeom prst="rect">
            <a:avLst/>
          </a:pr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6" name="Rectangle 45">
            <a:extLst>
              <a:ext uri="{FF2B5EF4-FFF2-40B4-BE49-F238E27FC236}">
                <a16:creationId xmlns="" xmlns:a16="http://schemas.microsoft.com/office/drawing/2014/main" id="{783AE4FB-5862-44D4-A99A-500C230AD55D}"/>
              </a:ext>
            </a:extLst>
          </p:cNvPr>
          <p:cNvSpPr/>
          <p:nvPr/>
        </p:nvSpPr>
        <p:spPr>
          <a:xfrm>
            <a:off x="2255309" y="1268414"/>
            <a:ext cx="1920346" cy="50403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7" name="Rectangle 46">
            <a:extLst>
              <a:ext uri="{FF2B5EF4-FFF2-40B4-BE49-F238E27FC236}">
                <a16:creationId xmlns="" xmlns:a16="http://schemas.microsoft.com/office/drawing/2014/main" id="{7E1FB85B-BC82-47D3-B12C-A54C2630CB90}"/>
              </a:ext>
            </a:extLst>
          </p:cNvPr>
          <p:cNvSpPr/>
          <p:nvPr/>
        </p:nvSpPr>
        <p:spPr>
          <a:xfrm>
            <a:off x="6096000" y="1268414"/>
            <a:ext cx="1920346" cy="50403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8" name="Rectangle 47">
            <a:extLst>
              <a:ext uri="{FF2B5EF4-FFF2-40B4-BE49-F238E27FC236}">
                <a16:creationId xmlns="" xmlns:a16="http://schemas.microsoft.com/office/drawing/2014/main" id="{61299FA3-D249-495C-BE57-6895B11A8C7E}"/>
              </a:ext>
            </a:extLst>
          </p:cNvPr>
          <p:cNvSpPr/>
          <p:nvPr/>
        </p:nvSpPr>
        <p:spPr>
          <a:xfrm>
            <a:off x="9936692" y="1268414"/>
            <a:ext cx="1920346" cy="50403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50" name="Oval 49">
            <a:extLst>
              <a:ext uri="{FF2B5EF4-FFF2-40B4-BE49-F238E27FC236}">
                <a16:creationId xmlns="" xmlns:a16="http://schemas.microsoft.com/office/drawing/2014/main" id="{94FA8C0C-83C2-40B6-9351-05FF6A9696DF}"/>
              </a:ext>
            </a:extLst>
          </p:cNvPr>
          <p:cNvSpPr/>
          <p:nvPr/>
        </p:nvSpPr>
        <p:spPr>
          <a:xfrm>
            <a:off x="1929292" y="3462553"/>
            <a:ext cx="652034" cy="652034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51" name="Group 50">
            <a:extLst>
              <a:ext uri="{FF2B5EF4-FFF2-40B4-BE49-F238E27FC236}">
                <a16:creationId xmlns="" xmlns:a16="http://schemas.microsoft.com/office/drawing/2014/main" id="{ED210531-6BFB-43BF-AC19-D2A980384572}"/>
              </a:ext>
            </a:extLst>
          </p:cNvPr>
          <p:cNvGrpSpPr/>
          <p:nvPr/>
        </p:nvGrpSpPr>
        <p:grpSpPr>
          <a:xfrm>
            <a:off x="2115564" y="3662894"/>
            <a:ext cx="279490" cy="251353"/>
            <a:chOff x="7396163" y="4268788"/>
            <a:chExt cx="236538" cy="212725"/>
          </a:xfrm>
          <a:solidFill>
            <a:schemeClr val="accent4"/>
          </a:solidFill>
        </p:grpSpPr>
        <p:sp>
          <p:nvSpPr>
            <p:cNvPr id="52" name="Freeform 385">
              <a:extLst>
                <a:ext uri="{FF2B5EF4-FFF2-40B4-BE49-F238E27FC236}">
                  <a16:creationId xmlns="" xmlns:a16="http://schemas.microsoft.com/office/drawing/2014/main" id="{79362619-EA46-42D4-9C87-11BC6328B8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6163" y="4268788"/>
              <a:ext cx="138113" cy="212725"/>
            </a:xfrm>
            <a:custGeom>
              <a:avLst/>
              <a:gdLst>
                <a:gd name="T0" fmla="*/ 25 w 348"/>
                <a:gd name="T1" fmla="*/ 457 h 535"/>
                <a:gd name="T2" fmla="*/ 80 w 348"/>
                <a:gd name="T3" fmla="*/ 512 h 535"/>
                <a:gd name="T4" fmla="*/ 324 w 348"/>
                <a:gd name="T5" fmla="*/ 268 h 535"/>
                <a:gd name="T6" fmla="*/ 80 w 348"/>
                <a:gd name="T7" fmla="*/ 23 h 535"/>
                <a:gd name="T8" fmla="*/ 25 w 348"/>
                <a:gd name="T9" fmla="*/ 79 h 535"/>
                <a:gd name="T10" fmla="*/ 207 w 348"/>
                <a:gd name="T11" fmla="*/ 260 h 535"/>
                <a:gd name="T12" fmla="*/ 209 w 348"/>
                <a:gd name="T13" fmla="*/ 263 h 535"/>
                <a:gd name="T14" fmla="*/ 210 w 348"/>
                <a:gd name="T15" fmla="*/ 268 h 535"/>
                <a:gd name="T16" fmla="*/ 209 w 348"/>
                <a:gd name="T17" fmla="*/ 271 h 535"/>
                <a:gd name="T18" fmla="*/ 207 w 348"/>
                <a:gd name="T19" fmla="*/ 274 h 535"/>
                <a:gd name="T20" fmla="*/ 25 w 348"/>
                <a:gd name="T21" fmla="*/ 457 h 535"/>
                <a:gd name="T22" fmla="*/ 80 w 348"/>
                <a:gd name="T23" fmla="*/ 535 h 535"/>
                <a:gd name="T24" fmla="*/ 77 w 348"/>
                <a:gd name="T25" fmla="*/ 534 h 535"/>
                <a:gd name="T26" fmla="*/ 73 w 348"/>
                <a:gd name="T27" fmla="*/ 533 h 535"/>
                <a:gd name="T28" fmla="*/ 4 w 348"/>
                <a:gd name="T29" fmla="*/ 463 h 535"/>
                <a:gd name="T30" fmla="*/ 2 w 348"/>
                <a:gd name="T31" fmla="*/ 460 h 535"/>
                <a:gd name="T32" fmla="*/ 0 w 348"/>
                <a:gd name="T33" fmla="*/ 457 h 535"/>
                <a:gd name="T34" fmla="*/ 2 w 348"/>
                <a:gd name="T35" fmla="*/ 452 h 535"/>
                <a:gd name="T36" fmla="*/ 4 w 348"/>
                <a:gd name="T37" fmla="*/ 449 h 535"/>
                <a:gd name="T38" fmla="*/ 185 w 348"/>
                <a:gd name="T39" fmla="*/ 268 h 535"/>
                <a:gd name="T40" fmla="*/ 4 w 348"/>
                <a:gd name="T41" fmla="*/ 86 h 535"/>
                <a:gd name="T42" fmla="*/ 2 w 348"/>
                <a:gd name="T43" fmla="*/ 83 h 535"/>
                <a:gd name="T44" fmla="*/ 0 w 348"/>
                <a:gd name="T45" fmla="*/ 79 h 535"/>
                <a:gd name="T46" fmla="*/ 2 w 348"/>
                <a:gd name="T47" fmla="*/ 75 h 535"/>
                <a:gd name="T48" fmla="*/ 4 w 348"/>
                <a:gd name="T49" fmla="*/ 72 h 535"/>
                <a:gd name="T50" fmla="*/ 74 w 348"/>
                <a:gd name="T51" fmla="*/ 2 h 535"/>
                <a:gd name="T52" fmla="*/ 77 w 348"/>
                <a:gd name="T53" fmla="*/ 0 h 535"/>
                <a:gd name="T54" fmla="*/ 80 w 348"/>
                <a:gd name="T55" fmla="*/ 0 h 535"/>
                <a:gd name="T56" fmla="*/ 84 w 348"/>
                <a:gd name="T57" fmla="*/ 0 h 535"/>
                <a:gd name="T58" fmla="*/ 87 w 348"/>
                <a:gd name="T59" fmla="*/ 2 h 535"/>
                <a:gd name="T60" fmla="*/ 346 w 348"/>
                <a:gd name="T61" fmla="*/ 260 h 535"/>
                <a:gd name="T62" fmla="*/ 348 w 348"/>
                <a:gd name="T63" fmla="*/ 263 h 535"/>
                <a:gd name="T64" fmla="*/ 348 w 348"/>
                <a:gd name="T65" fmla="*/ 268 h 535"/>
                <a:gd name="T66" fmla="*/ 348 w 348"/>
                <a:gd name="T67" fmla="*/ 271 h 535"/>
                <a:gd name="T68" fmla="*/ 346 w 348"/>
                <a:gd name="T69" fmla="*/ 274 h 535"/>
                <a:gd name="T70" fmla="*/ 87 w 348"/>
                <a:gd name="T71" fmla="*/ 532 h 535"/>
                <a:gd name="T72" fmla="*/ 84 w 348"/>
                <a:gd name="T73" fmla="*/ 534 h 535"/>
                <a:gd name="T74" fmla="*/ 80 w 348"/>
                <a:gd name="T75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8" h="535">
                  <a:moveTo>
                    <a:pt x="25" y="457"/>
                  </a:moveTo>
                  <a:lnTo>
                    <a:pt x="80" y="512"/>
                  </a:lnTo>
                  <a:lnTo>
                    <a:pt x="324" y="268"/>
                  </a:lnTo>
                  <a:lnTo>
                    <a:pt x="80" y="23"/>
                  </a:lnTo>
                  <a:lnTo>
                    <a:pt x="25" y="79"/>
                  </a:lnTo>
                  <a:lnTo>
                    <a:pt x="207" y="260"/>
                  </a:lnTo>
                  <a:lnTo>
                    <a:pt x="209" y="263"/>
                  </a:lnTo>
                  <a:lnTo>
                    <a:pt x="210" y="268"/>
                  </a:lnTo>
                  <a:lnTo>
                    <a:pt x="209" y="271"/>
                  </a:lnTo>
                  <a:lnTo>
                    <a:pt x="207" y="274"/>
                  </a:lnTo>
                  <a:lnTo>
                    <a:pt x="25" y="457"/>
                  </a:lnTo>
                  <a:close/>
                  <a:moveTo>
                    <a:pt x="80" y="535"/>
                  </a:moveTo>
                  <a:lnTo>
                    <a:pt x="77" y="534"/>
                  </a:lnTo>
                  <a:lnTo>
                    <a:pt x="73" y="533"/>
                  </a:lnTo>
                  <a:lnTo>
                    <a:pt x="4" y="463"/>
                  </a:lnTo>
                  <a:lnTo>
                    <a:pt x="2" y="460"/>
                  </a:lnTo>
                  <a:lnTo>
                    <a:pt x="0" y="457"/>
                  </a:lnTo>
                  <a:lnTo>
                    <a:pt x="2" y="452"/>
                  </a:lnTo>
                  <a:lnTo>
                    <a:pt x="4" y="449"/>
                  </a:lnTo>
                  <a:lnTo>
                    <a:pt x="185" y="268"/>
                  </a:lnTo>
                  <a:lnTo>
                    <a:pt x="4" y="86"/>
                  </a:lnTo>
                  <a:lnTo>
                    <a:pt x="2" y="83"/>
                  </a:lnTo>
                  <a:lnTo>
                    <a:pt x="0" y="79"/>
                  </a:lnTo>
                  <a:lnTo>
                    <a:pt x="2" y="75"/>
                  </a:lnTo>
                  <a:lnTo>
                    <a:pt x="4" y="72"/>
                  </a:lnTo>
                  <a:lnTo>
                    <a:pt x="74" y="2"/>
                  </a:lnTo>
                  <a:lnTo>
                    <a:pt x="77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7" y="2"/>
                  </a:lnTo>
                  <a:lnTo>
                    <a:pt x="346" y="260"/>
                  </a:lnTo>
                  <a:lnTo>
                    <a:pt x="348" y="263"/>
                  </a:lnTo>
                  <a:lnTo>
                    <a:pt x="348" y="268"/>
                  </a:lnTo>
                  <a:lnTo>
                    <a:pt x="348" y="271"/>
                  </a:lnTo>
                  <a:lnTo>
                    <a:pt x="346" y="274"/>
                  </a:lnTo>
                  <a:lnTo>
                    <a:pt x="87" y="532"/>
                  </a:lnTo>
                  <a:lnTo>
                    <a:pt x="84" y="534"/>
                  </a:lnTo>
                  <a:lnTo>
                    <a:pt x="80" y="5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86">
              <a:extLst>
                <a:ext uri="{FF2B5EF4-FFF2-40B4-BE49-F238E27FC236}">
                  <a16:creationId xmlns="" xmlns:a16="http://schemas.microsoft.com/office/drawing/2014/main" id="{009BB13C-1B50-48B1-AC37-AABAFAEFCBE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94588" y="4268788"/>
              <a:ext cx="138113" cy="212725"/>
            </a:xfrm>
            <a:custGeom>
              <a:avLst/>
              <a:gdLst>
                <a:gd name="T0" fmla="*/ 25 w 348"/>
                <a:gd name="T1" fmla="*/ 457 h 535"/>
                <a:gd name="T2" fmla="*/ 80 w 348"/>
                <a:gd name="T3" fmla="*/ 512 h 535"/>
                <a:gd name="T4" fmla="*/ 324 w 348"/>
                <a:gd name="T5" fmla="*/ 268 h 535"/>
                <a:gd name="T6" fmla="*/ 80 w 348"/>
                <a:gd name="T7" fmla="*/ 23 h 535"/>
                <a:gd name="T8" fmla="*/ 25 w 348"/>
                <a:gd name="T9" fmla="*/ 79 h 535"/>
                <a:gd name="T10" fmla="*/ 206 w 348"/>
                <a:gd name="T11" fmla="*/ 260 h 535"/>
                <a:gd name="T12" fmla="*/ 208 w 348"/>
                <a:gd name="T13" fmla="*/ 263 h 535"/>
                <a:gd name="T14" fmla="*/ 208 w 348"/>
                <a:gd name="T15" fmla="*/ 268 h 535"/>
                <a:gd name="T16" fmla="*/ 208 w 348"/>
                <a:gd name="T17" fmla="*/ 271 h 535"/>
                <a:gd name="T18" fmla="*/ 206 w 348"/>
                <a:gd name="T19" fmla="*/ 274 h 535"/>
                <a:gd name="T20" fmla="*/ 25 w 348"/>
                <a:gd name="T21" fmla="*/ 457 h 535"/>
                <a:gd name="T22" fmla="*/ 80 w 348"/>
                <a:gd name="T23" fmla="*/ 535 h 535"/>
                <a:gd name="T24" fmla="*/ 75 w 348"/>
                <a:gd name="T25" fmla="*/ 534 h 535"/>
                <a:gd name="T26" fmla="*/ 72 w 348"/>
                <a:gd name="T27" fmla="*/ 533 h 535"/>
                <a:gd name="T28" fmla="*/ 3 w 348"/>
                <a:gd name="T29" fmla="*/ 463 h 535"/>
                <a:gd name="T30" fmla="*/ 1 w 348"/>
                <a:gd name="T31" fmla="*/ 460 h 535"/>
                <a:gd name="T32" fmla="*/ 0 w 348"/>
                <a:gd name="T33" fmla="*/ 457 h 535"/>
                <a:gd name="T34" fmla="*/ 1 w 348"/>
                <a:gd name="T35" fmla="*/ 452 h 535"/>
                <a:gd name="T36" fmla="*/ 3 w 348"/>
                <a:gd name="T37" fmla="*/ 449 h 535"/>
                <a:gd name="T38" fmla="*/ 185 w 348"/>
                <a:gd name="T39" fmla="*/ 268 h 535"/>
                <a:gd name="T40" fmla="*/ 3 w 348"/>
                <a:gd name="T41" fmla="*/ 86 h 535"/>
                <a:gd name="T42" fmla="*/ 1 w 348"/>
                <a:gd name="T43" fmla="*/ 83 h 535"/>
                <a:gd name="T44" fmla="*/ 0 w 348"/>
                <a:gd name="T45" fmla="*/ 79 h 535"/>
                <a:gd name="T46" fmla="*/ 1 w 348"/>
                <a:gd name="T47" fmla="*/ 75 h 535"/>
                <a:gd name="T48" fmla="*/ 3 w 348"/>
                <a:gd name="T49" fmla="*/ 72 h 535"/>
                <a:gd name="T50" fmla="*/ 72 w 348"/>
                <a:gd name="T51" fmla="*/ 2 h 535"/>
                <a:gd name="T52" fmla="*/ 75 w 348"/>
                <a:gd name="T53" fmla="*/ 0 h 535"/>
                <a:gd name="T54" fmla="*/ 80 w 348"/>
                <a:gd name="T55" fmla="*/ 0 h 535"/>
                <a:gd name="T56" fmla="*/ 83 w 348"/>
                <a:gd name="T57" fmla="*/ 0 h 535"/>
                <a:gd name="T58" fmla="*/ 86 w 348"/>
                <a:gd name="T59" fmla="*/ 2 h 535"/>
                <a:gd name="T60" fmla="*/ 344 w 348"/>
                <a:gd name="T61" fmla="*/ 260 h 535"/>
                <a:gd name="T62" fmla="*/ 347 w 348"/>
                <a:gd name="T63" fmla="*/ 263 h 535"/>
                <a:gd name="T64" fmla="*/ 348 w 348"/>
                <a:gd name="T65" fmla="*/ 268 h 535"/>
                <a:gd name="T66" fmla="*/ 347 w 348"/>
                <a:gd name="T67" fmla="*/ 271 h 535"/>
                <a:gd name="T68" fmla="*/ 344 w 348"/>
                <a:gd name="T69" fmla="*/ 274 h 535"/>
                <a:gd name="T70" fmla="*/ 86 w 348"/>
                <a:gd name="T71" fmla="*/ 532 h 535"/>
                <a:gd name="T72" fmla="*/ 83 w 348"/>
                <a:gd name="T73" fmla="*/ 534 h 535"/>
                <a:gd name="T74" fmla="*/ 80 w 348"/>
                <a:gd name="T75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8" h="535">
                  <a:moveTo>
                    <a:pt x="25" y="457"/>
                  </a:moveTo>
                  <a:lnTo>
                    <a:pt x="80" y="512"/>
                  </a:lnTo>
                  <a:lnTo>
                    <a:pt x="324" y="268"/>
                  </a:lnTo>
                  <a:lnTo>
                    <a:pt x="80" y="23"/>
                  </a:lnTo>
                  <a:lnTo>
                    <a:pt x="25" y="79"/>
                  </a:lnTo>
                  <a:lnTo>
                    <a:pt x="206" y="260"/>
                  </a:lnTo>
                  <a:lnTo>
                    <a:pt x="208" y="263"/>
                  </a:lnTo>
                  <a:lnTo>
                    <a:pt x="208" y="268"/>
                  </a:lnTo>
                  <a:lnTo>
                    <a:pt x="208" y="271"/>
                  </a:lnTo>
                  <a:lnTo>
                    <a:pt x="206" y="274"/>
                  </a:lnTo>
                  <a:lnTo>
                    <a:pt x="25" y="457"/>
                  </a:lnTo>
                  <a:close/>
                  <a:moveTo>
                    <a:pt x="80" y="535"/>
                  </a:moveTo>
                  <a:lnTo>
                    <a:pt x="75" y="534"/>
                  </a:lnTo>
                  <a:lnTo>
                    <a:pt x="72" y="533"/>
                  </a:lnTo>
                  <a:lnTo>
                    <a:pt x="3" y="463"/>
                  </a:lnTo>
                  <a:lnTo>
                    <a:pt x="1" y="460"/>
                  </a:lnTo>
                  <a:lnTo>
                    <a:pt x="0" y="457"/>
                  </a:lnTo>
                  <a:lnTo>
                    <a:pt x="1" y="452"/>
                  </a:lnTo>
                  <a:lnTo>
                    <a:pt x="3" y="449"/>
                  </a:lnTo>
                  <a:lnTo>
                    <a:pt x="185" y="268"/>
                  </a:lnTo>
                  <a:lnTo>
                    <a:pt x="3" y="86"/>
                  </a:lnTo>
                  <a:lnTo>
                    <a:pt x="1" y="83"/>
                  </a:lnTo>
                  <a:lnTo>
                    <a:pt x="0" y="79"/>
                  </a:lnTo>
                  <a:lnTo>
                    <a:pt x="1" y="75"/>
                  </a:lnTo>
                  <a:lnTo>
                    <a:pt x="3" y="72"/>
                  </a:lnTo>
                  <a:lnTo>
                    <a:pt x="72" y="2"/>
                  </a:lnTo>
                  <a:lnTo>
                    <a:pt x="75" y="0"/>
                  </a:lnTo>
                  <a:lnTo>
                    <a:pt x="80" y="0"/>
                  </a:lnTo>
                  <a:lnTo>
                    <a:pt x="83" y="0"/>
                  </a:lnTo>
                  <a:lnTo>
                    <a:pt x="86" y="2"/>
                  </a:lnTo>
                  <a:lnTo>
                    <a:pt x="344" y="260"/>
                  </a:lnTo>
                  <a:lnTo>
                    <a:pt x="347" y="263"/>
                  </a:lnTo>
                  <a:lnTo>
                    <a:pt x="348" y="268"/>
                  </a:lnTo>
                  <a:lnTo>
                    <a:pt x="347" y="271"/>
                  </a:lnTo>
                  <a:lnTo>
                    <a:pt x="344" y="274"/>
                  </a:lnTo>
                  <a:lnTo>
                    <a:pt x="86" y="532"/>
                  </a:lnTo>
                  <a:lnTo>
                    <a:pt x="83" y="534"/>
                  </a:lnTo>
                  <a:lnTo>
                    <a:pt x="80" y="5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6" name="Oval 55">
            <a:extLst>
              <a:ext uri="{FF2B5EF4-FFF2-40B4-BE49-F238E27FC236}">
                <a16:creationId xmlns="" xmlns:a16="http://schemas.microsoft.com/office/drawing/2014/main" id="{1C44AB62-95FA-4A54-955A-59CBBCB193F4}"/>
              </a:ext>
            </a:extLst>
          </p:cNvPr>
          <p:cNvSpPr/>
          <p:nvPr/>
        </p:nvSpPr>
        <p:spPr>
          <a:xfrm>
            <a:off x="3849637" y="3462553"/>
            <a:ext cx="652034" cy="652034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62" name="Group 61">
            <a:extLst>
              <a:ext uri="{FF2B5EF4-FFF2-40B4-BE49-F238E27FC236}">
                <a16:creationId xmlns="" xmlns:a16="http://schemas.microsoft.com/office/drawing/2014/main" id="{4A5DC792-DB3B-420D-887D-6E28163CB47D}"/>
              </a:ext>
            </a:extLst>
          </p:cNvPr>
          <p:cNvGrpSpPr/>
          <p:nvPr/>
        </p:nvGrpSpPr>
        <p:grpSpPr>
          <a:xfrm>
            <a:off x="4035909" y="3662894"/>
            <a:ext cx="279490" cy="251353"/>
            <a:chOff x="7396163" y="4268788"/>
            <a:chExt cx="236538" cy="212725"/>
          </a:xfrm>
          <a:solidFill>
            <a:schemeClr val="accent4"/>
          </a:solidFill>
        </p:grpSpPr>
        <p:sp>
          <p:nvSpPr>
            <p:cNvPr id="63" name="Freeform 385">
              <a:extLst>
                <a:ext uri="{FF2B5EF4-FFF2-40B4-BE49-F238E27FC236}">
                  <a16:creationId xmlns="" xmlns:a16="http://schemas.microsoft.com/office/drawing/2014/main" id="{5860DCC1-79F2-40FD-9B4E-B77383B476D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6163" y="4268788"/>
              <a:ext cx="138113" cy="212725"/>
            </a:xfrm>
            <a:custGeom>
              <a:avLst/>
              <a:gdLst>
                <a:gd name="T0" fmla="*/ 25 w 348"/>
                <a:gd name="T1" fmla="*/ 457 h 535"/>
                <a:gd name="T2" fmla="*/ 80 w 348"/>
                <a:gd name="T3" fmla="*/ 512 h 535"/>
                <a:gd name="T4" fmla="*/ 324 w 348"/>
                <a:gd name="T5" fmla="*/ 268 h 535"/>
                <a:gd name="T6" fmla="*/ 80 w 348"/>
                <a:gd name="T7" fmla="*/ 23 h 535"/>
                <a:gd name="T8" fmla="*/ 25 w 348"/>
                <a:gd name="T9" fmla="*/ 79 h 535"/>
                <a:gd name="T10" fmla="*/ 207 w 348"/>
                <a:gd name="T11" fmla="*/ 260 h 535"/>
                <a:gd name="T12" fmla="*/ 209 w 348"/>
                <a:gd name="T13" fmla="*/ 263 h 535"/>
                <a:gd name="T14" fmla="*/ 210 w 348"/>
                <a:gd name="T15" fmla="*/ 268 h 535"/>
                <a:gd name="T16" fmla="*/ 209 w 348"/>
                <a:gd name="T17" fmla="*/ 271 h 535"/>
                <a:gd name="T18" fmla="*/ 207 w 348"/>
                <a:gd name="T19" fmla="*/ 274 h 535"/>
                <a:gd name="T20" fmla="*/ 25 w 348"/>
                <a:gd name="T21" fmla="*/ 457 h 535"/>
                <a:gd name="T22" fmla="*/ 80 w 348"/>
                <a:gd name="T23" fmla="*/ 535 h 535"/>
                <a:gd name="T24" fmla="*/ 77 w 348"/>
                <a:gd name="T25" fmla="*/ 534 h 535"/>
                <a:gd name="T26" fmla="*/ 73 w 348"/>
                <a:gd name="T27" fmla="*/ 533 h 535"/>
                <a:gd name="T28" fmla="*/ 4 w 348"/>
                <a:gd name="T29" fmla="*/ 463 h 535"/>
                <a:gd name="T30" fmla="*/ 2 w 348"/>
                <a:gd name="T31" fmla="*/ 460 h 535"/>
                <a:gd name="T32" fmla="*/ 0 w 348"/>
                <a:gd name="T33" fmla="*/ 457 h 535"/>
                <a:gd name="T34" fmla="*/ 2 w 348"/>
                <a:gd name="T35" fmla="*/ 452 h 535"/>
                <a:gd name="T36" fmla="*/ 4 w 348"/>
                <a:gd name="T37" fmla="*/ 449 h 535"/>
                <a:gd name="T38" fmla="*/ 185 w 348"/>
                <a:gd name="T39" fmla="*/ 268 h 535"/>
                <a:gd name="T40" fmla="*/ 4 w 348"/>
                <a:gd name="T41" fmla="*/ 86 h 535"/>
                <a:gd name="T42" fmla="*/ 2 w 348"/>
                <a:gd name="T43" fmla="*/ 83 h 535"/>
                <a:gd name="T44" fmla="*/ 0 w 348"/>
                <a:gd name="T45" fmla="*/ 79 h 535"/>
                <a:gd name="T46" fmla="*/ 2 w 348"/>
                <a:gd name="T47" fmla="*/ 75 h 535"/>
                <a:gd name="T48" fmla="*/ 4 w 348"/>
                <a:gd name="T49" fmla="*/ 72 h 535"/>
                <a:gd name="T50" fmla="*/ 74 w 348"/>
                <a:gd name="T51" fmla="*/ 2 h 535"/>
                <a:gd name="T52" fmla="*/ 77 w 348"/>
                <a:gd name="T53" fmla="*/ 0 h 535"/>
                <a:gd name="T54" fmla="*/ 80 w 348"/>
                <a:gd name="T55" fmla="*/ 0 h 535"/>
                <a:gd name="T56" fmla="*/ 84 w 348"/>
                <a:gd name="T57" fmla="*/ 0 h 535"/>
                <a:gd name="T58" fmla="*/ 87 w 348"/>
                <a:gd name="T59" fmla="*/ 2 h 535"/>
                <a:gd name="T60" fmla="*/ 346 w 348"/>
                <a:gd name="T61" fmla="*/ 260 h 535"/>
                <a:gd name="T62" fmla="*/ 348 w 348"/>
                <a:gd name="T63" fmla="*/ 263 h 535"/>
                <a:gd name="T64" fmla="*/ 348 w 348"/>
                <a:gd name="T65" fmla="*/ 268 h 535"/>
                <a:gd name="T66" fmla="*/ 348 w 348"/>
                <a:gd name="T67" fmla="*/ 271 h 535"/>
                <a:gd name="T68" fmla="*/ 346 w 348"/>
                <a:gd name="T69" fmla="*/ 274 h 535"/>
                <a:gd name="T70" fmla="*/ 87 w 348"/>
                <a:gd name="T71" fmla="*/ 532 h 535"/>
                <a:gd name="T72" fmla="*/ 84 w 348"/>
                <a:gd name="T73" fmla="*/ 534 h 535"/>
                <a:gd name="T74" fmla="*/ 80 w 348"/>
                <a:gd name="T75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8" h="535">
                  <a:moveTo>
                    <a:pt x="25" y="457"/>
                  </a:moveTo>
                  <a:lnTo>
                    <a:pt x="80" y="512"/>
                  </a:lnTo>
                  <a:lnTo>
                    <a:pt x="324" y="268"/>
                  </a:lnTo>
                  <a:lnTo>
                    <a:pt x="80" y="23"/>
                  </a:lnTo>
                  <a:lnTo>
                    <a:pt x="25" y="79"/>
                  </a:lnTo>
                  <a:lnTo>
                    <a:pt x="207" y="260"/>
                  </a:lnTo>
                  <a:lnTo>
                    <a:pt x="209" y="263"/>
                  </a:lnTo>
                  <a:lnTo>
                    <a:pt x="210" y="268"/>
                  </a:lnTo>
                  <a:lnTo>
                    <a:pt x="209" y="271"/>
                  </a:lnTo>
                  <a:lnTo>
                    <a:pt x="207" y="274"/>
                  </a:lnTo>
                  <a:lnTo>
                    <a:pt x="25" y="457"/>
                  </a:lnTo>
                  <a:close/>
                  <a:moveTo>
                    <a:pt x="80" y="535"/>
                  </a:moveTo>
                  <a:lnTo>
                    <a:pt x="77" y="534"/>
                  </a:lnTo>
                  <a:lnTo>
                    <a:pt x="73" y="533"/>
                  </a:lnTo>
                  <a:lnTo>
                    <a:pt x="4" y="463"/>
                  </a:lnTo>
                  <a:lnTo>
                    <a:pt x="2" y="460"/>
                  </a:lnTo>
                  <a:lnTo>
                    <a:pt x="0" y="457"/>
                  </a:lnTo>
                  <a:lnTo>
                    <a:pt x="2" y="452"/>
                  </a:lnTo>
                  <a:lnTo>
                    <a:pt x="4" y="449"/>
                  </a:lnTo>
                  <a:lnTo>
                    <a:pt x="185" y="268"/>
                  </a:lnTo>
                  <a:lnTo>
                    <a:pt x="4" y="86"/>
                  </a:lnTo>
                  <a:lnTo>
                    <a:pt x="2" y="83"/>
                  </a:lnTo>
                  <a:lnTo>
                    <a:pt x="0" y="79"/>
                  </a:lnTo>
                  <a:lnTo>
                    <a:pt x="2" y="75"/>
                  </a:lnTo>
                  <a:lnTo>
                    <a:pt x="4" y="72"/>
                  </a:lnTo>
                  <a:lnTo>
                    <a:pt x="74" y="2"/>
                  </a:lnTo>
                  <a:lnTo>
                    <a:pt x="77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7" y="2"/>
                  </a:lnTo>
                  <a:lnTo>
                    <a:pt x="346" y="260"/>
                  </a:lnTo>
                  <a:lnTo>
                    <a:pt x="348" y="263"/>
                  </a:lnTo>
                  <a:lnTo>
                    <a:pt x="348" y="268"/>
                  </a:lnTo>
                  <a:lnTo>
                    <a:pt x="348" y="271"/>
                  </a:lnTo>
                  <a:lnTo>
                    <a:pt x="346" y="274"/>
                  </a:lnTo>
                  <a:lnTo>
                    <a:pt x="87" y="532"/>
                  </a:lnTo>
                  <a:lnTo>
                    <a:pt x="84" y="534"/>
                  </a:lnTo>
                  <a:lnTo>
                    <a:pt x="80" y="5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386">
              <a:extLst>
                <a:ext uri="{FF2B5EF4-FFF2-40B4-BE49-F238E27FC236}">
                  <a16:creationId xmlns="" xmlns:a16="http://schemas.microsoft.com/office/drawing/2014/main" id="{C2E2D237-08A4-440E-AAA7-D760C99F1A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94588" y="4268788"/>
              <a:ext cx="138113" cy="212725"/>
            </a:xfrm>
            <a:custGeom>
              <a:avLst/>
              <a:gdLst>
                <a:gd name="T0" fmla="*/ 25 w 348"/>
                <a:gd name="T1" fmla="*/ 457 h 535"/>
                <a:gd name="T2" fmla="*/ 80 w 348"/>
                <a:gd name="T3" fmla="*/ 512 h 535"/>
                <a:gd name="T4" fmla="*/ 324 w 348"/>
                <a:gd name="T5" fmla="*/ 268 h 535"/>
                <a:gd name="T6" fmla="*/ 80 w 348"/>
                <a:gd name="T7" fmla="*/ 23 h 535"/>
                <a:gd name="T8" fmla="*/ 25 w 348"/>
                <a:gd name="T9" fmla="*/ 79 h 535"/>
                <a:gd name="T10" fmla="*/ 206 w 348"/>
                <a:gd name="T11" fmla="*/ 260 h 535"/>
                <a:gd name="T12" fmla="*/ 208 w 348"/>
                <a:gd name="T13" fmla="*/ 263 h 535"/>
                <a:gd name="T14" fmla="*/ 208 w 348"/>
                <a:gd name="T15" fmla="*/ 268 h 535"/>
                <a:gd name="T16" fmla="*/ 208 w 348"/>
                <a:gd name="T17" fmla="*/ 271 h 535"/>
                <a:gd name="T18" fmla="*/ 206 w 348"/>
                <a:gd name="T19" fmla="*/ 274 h 535"/>
                <a:gd name="T20" fmla="*/ 25 w 348"/>
                <a:gd name="T21" fmla="*/ 457 h 535"/>
                <a:gd name="T22" fmla="*/ 80 w 348"/>
                <a:gd name="T23" fmla="*/ 535 h 535"/>
                <a:gd name="T24" fmla="*/ 75 w 348"/>
                <a:gd name="T25" fmla="*/ 534 h 535"/>
                <a:gd name="T26" fmla="*/ 72 w 348"/>
                <a:gd name="T27" fmla="*/ 533 h 535"/>
                <a:gd name="T28" fmla="*/ 3 w 348"/>
                <a:gd name="T29" fmla="*/ 463 h 535"/>
                <a:gd name="T30" fmla="*/ 1 w 348"/>
                <a:gd name="T31" fmla="*/ 460 h 535"/>
                <a:gd name="T32" fmla="*/ 0 w 348"/>
                <a:gd name="T33" fmla="*/ 457 h 535"/>
                <a:gd name="T34" fmla="*/ 1 w 348"/>
                <a:gd name="T35" fmla="*/ 452 h 535"/>
                <a:gd name="T36" fmla="*/ 3 w 348"/>
                <a:gd name="T37" fmla="*/ 449 h 535"/>
                <a:gd name="T38" fmla="*/ 185 w 348"/>
                <a:gd name="T39" fmla="*/ 268 h 535"/>
                <a:gd name="T40" fmla="*/ 3 w 348"/>
                <a:gd name="T41" fmla="*/ 86 h 535"/>
                <a:gd name="T42" fmla="*/ 1 w 348"/>
                <a:gd name="T43" fmla="*/ 83 h 535"/>
                <a:gd name="T44" fmla="*/ 0 w 348"/>
                <a:gd name="T45" fmla="*/ 79 h 535"/>
                <a:gd name="T46" fmla="*/ 1 w 348"/>
                <a:gd name="T47" fmla="*/ 75 h 535"/>
                <a:gd name="T48" fmla="*/ 3 w 348"/>
                <a:gd name="T49" fmla="*/ 72 h 535"/>
                <a:gd name="T50" fmla="*/ 72 w 348"/>
                <a:gd name="T51" fmla="*/ 2 h 535"/>
                <a:gd name="T52" fmla="*/ 75 w 348"/>
                <a:gd name="T53" fmla="*/ 0 h 535"/>
                <a:gd name="T54" fmla="*/ 80 w 348"/>
                <a:gd name="T55" fmla="*/ 0 h 535"/>
                <a:gd name="T56" fmla="*/ 83 w 348"/>
                <a:gd name="T57" fmla="*/ 0 h 535"/>
                <a:gd name="T58" fmla="*/ 86 w 348"/>
                <a:gd name="T59" fmla="*/ 2 h 535"/>
                <a:gd name="T60" fmla="*/ 344 w 348"/>
                <a:gd name="T61" fmla="*/ 260 h 535"/>
                <a:gd name="T62" fmla="*/ 347 w 348"/>
                <a:gd name="T63" fmla="*/ 263 h 535"/>
                <a:gd name="T64" fmla="*/ 348 w 348"/>
                <a:gd name="T65" fmla="*/ 268 h 535"/>
                <a:gd name="T66" fmla="*/ 347 w 348"/>
                <a:gd name="T67" fmla="*/ 271 h 535"/>
                <a:gd name="T68" fmla="*/ 344 w 348"/>
                <a:gd name="T69" fmla="*/ 274 h 535"/>
                <a:gd name="T70" fmla="*/ 86 w 348"/>
                <a:gd name="T71" fmla="*/ 532 h 535"/>
                <a:gd name="T72" fmla="*/ 83 w 348"/>
                <a:gd name="T73" fmla="*/ 534 h 535"/>
                <a:gd name="T74" fmla="*/ 80 w 348"/>
                <a:gd name="T75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8" h="535">
                  <a:moveTo>
                    <a:pt x="25" y="457"/>
                  </a:moveTo>
                  <a:lnTo>
                    <a:pt x="80" y="512"/>
                  </a:lnTo>
                  <a:lnTo>
                    <a:pt x="324" y="268"/>
                  </a:lnTo>
                  <a:lnTo>
                    <a:pt x="80" y="23"/>
                  </a:lnTo>
                  <a:lnTo>
                    <a:pt x="25" y="79"/>
                  </a:lnTo>
                  <a:lnTo>
                    <a:pt x="206" y="260"/>
                  </a:lnTo>
                  <a:lnTo>
                    <a:pt x="208" y="263"/>
                  </a:lnTo>
                  <a:lnTo>
                    <a:pt x="208" y="268"/>
                  </a:lnTo>
                  <a:lnTo>
                    <a:pt x="208" y="271"/>
                  </a:lnTo>
                  <a:lnTo>
                    <a:pt x="206" y="274"/>
                  </a:lnTo>
                  <a:lnTo>
                    <a:pt x="25" y="457"/>
                  </a:lnTo>
                  <a:close/>
                  <a:moveTo>
                    <a:pt x="80" y="535"/>
                  </a:moveTo>
                  <a:lnTo>
                    <a:pt x="75" y="534"/>
                  </a:lnTo>
                  <a:lnTo>
                    <a:pt x="72" y="533"/>
                  </a:lnTo>
                  <a:lnTo>
                    <a:pt x="3" y="463"/>
                  </a:lnTo>
                  <a:lnTo>
                    <a:pt x="1" y="460"/>
                  </a:lnTo>
                  <a:lnTo>
                    <a:pt x="0" y="457"/>
                  </a:lnTo>
                  <a:lnTo>
                    <a:pt x="1" y="452"/>
                  </a:lnTo>
                  <a:lnTo>
                    <a:pt x="3" y="449"/>
                  </a:lnTo>
                  <a:lnTo>
                    <a:pt x="185" y="268"/>
                  </a:lnTo>
                  <a:lnTo>
                    <a:pt x="3" y="86"/>
                  </a:lnTo>
                  <a:lnTo>
                    <a:pt x="1" y="83"/>
                  </a:lnTo>
                  <a:lnTo>
                    <a:pt x="0" y="79"/>
                  </a:lnTo>
                  <a:lnTo>
                    <a:pt x="1" y="75"/>
                  </a:lnTo>
                  <a:lnTo>
                    <a:pt x="3" y="72"/>
                  </a:lnTo>
                  <a:lnTo>
                    <a:pt x="72" y="2"/>
                  </a:lnTo>
                  <a:lnTo>
                    <a:pt x="75" y="0"/>
                  </a:lnTo>
                  <a:lnTo>
                    <a:pt x="80" y="0"/>
                  </a:lnTo>
                  <a:lnTo>
                    <a:pt x="83" y="0"/>
                  </a:lnTo>
                  <a:lnTo>
                    <a:pt x="86" y="2"/>
                  </a:lnTo>
                  <a:lnTo>
                    <a:pt x="344" y="260"/>
                  </a:lnTo>
                  <a:lnTo>
                    <a:pt x="347" y="263"/>
                  </a:lnTo>
                  <a:lnTo>
                    <a:pt x="348" y="268"/>
                  </a:lnTo>
                  <a:lnTo>
                    <a:pt x="347" y="271"/>
                  </a:lnTo>
                  <a:lnTo>
                    <a:pt x="344" y="274"/>
                  </a:lnTo>
                  <a:lnTo>
                    <a:pt x="86" y="532"/>
                  </a:lnTo>
                  <a:lnTo>
                    <a:pt x="83" y="534"/>
                  </a:lnTo>
                  <a:lnTo>
                    <a:pt x="80" y="5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1" name="Oval 70">
            <a:extLst>
              <a:ext uri="{FF2B5EF4-FFF2-40B4-BE49-F238E27FC236}">
                <a16:creationId xmlns="" xmlns:a16="http://schemas.microsoft.com/office/drawing/2014/main" id="{45F52987-E283-4E03-9045-52B6B75B6472}"/>
              </a:ext>
            </a:extLst>
          </p:cNvPr>
          <p:cNvSpPr/>
          <p:nvPr/>
        </p:nvSpPr>
        <p:spPr>
          <a:xfrm>
            <a:off x="5769983" y="3462553"/>
            <a:ext cx="652034" cy="652034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73" name="Group 72">
            <a:extLst>
              <a:ext uri="{FF2B5EF4-FFF2-40B4-BE49-F238E27FC236}">
                <a16:creationId xmlns="" xmlns:a16="http://schemas.microsoft.com/office/drawing/2014/main" id="{86D46B21-BA36-4ABB-89B7-897D16EB38E9}"/>
              </a:ext>
            </a:extLst>
          </p:cNvPr>
          <p:cNvGrpSpPr/>
          <p:nvPr/>
        </p:nvGrpSpPr>
        <p:grpSpPr>
          <a:xfrm>
            <a:off x="5956255" y="3662894"/>
            <a:ext cx="279490" cy="251353"/>
            <a:chOff x="7396163" y="4268788"/>
            <a:chExt cx="236538" cy="212725"/>
          </a:xfrm>
          <a:solidFill>
            <a:schemeClr val="accent4"/>
          </a:solidFill>
        </p:grpSpPr>
        <p:sp>
          <p:nvSpPr>
            <p:cNvPr id="74" name="Freeform 385">
              <a:extLst>
                <a:ext uri="{FF2B5EF4-FFF2-40B4-BE49-F238E27FC236}">
                  <a16:creationId xmlns="" xmlns:a16="http://schemas.microsoft.com/office/drawing/2014/main" id="{A4F14155-A654-42C1-97D4-4D17FA81C6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6163" y="4268788"/>
              <a:ext cx="138113" cy="212725"/>
            </a:xfrm>
            <a:custGeom>
              <a:avLst/>
              <a:gdLst>
                <a:gd name="T0" fmla="*/ 25 w 348"/>
                <a:gd name="T1" fmla="*/ 457 h 535"/>
                <a:gd name="T2" fmla="*/ 80 w 348"/>
                <a:gd name="T3" fmla="*/ 512 h 535"/>
                <a:gd name="T4" fmla="*/ 324 w 348"/>
                <a:gd name="T5" fmla="*/ 268 h 535"/>
                <a:gd name="T6" fmla="*/ 80 w 348"/>
                <a:gd name="T7" fmla="*/ 23 h 535"/>
                <a:gd name="T8" fmla="*/ 25 w 348"/>
                <a:gd name="T9" fmla="*/ 79 h 535"/>
                <a:gd name="T10" fmla="*/ 207 w 348"/>
                <a:gd name="T11" fmla="*/ 260 h 535"/>
                <a:gd name="T12" fmla="*/ 209 w 348"/>
                <a:gd name="T13" fmla="*/ 263 h 535"/>
                <a:gd name="T14" fmla="*/ 210 w 348"/>
                <a:gd name="T15" fmla="*/ 268 h 535"/>
                <a:gd name="T16" fmla="*/ 209 w 348"/>
                <a:gd name="T17" fmla="*/ 271 h 535"/>
                <a:gd name="T18" fmla="*/ 207 w 348"/>
                <a:gd name="T19" fmla="*/ 274 h 535"/>
                <a:gd name="T20" fmla="*/ 25 w 348"/>
                <a:gd name="T21" fmla="*/ 457 h 535"/>
                <a:gd name="T22" fmla="*/ 80 w 348"/>
                <a:gd name="T23" fmla="*/ 535 h 535"/>
                <a:gd name="T24" fmla="*/ 77 w 348"/>
                <a:gd name="T25" fmla="*/ 534 h 535"/>
                <a:gd name="T26" fmla="*/ 73 w 348"/>
                <a:gd name="T27" fmla="*/ 533 h 535"/>
                <a:gd name="T28" fmla="*/ 4 w 348"/>
                <a:gd name="T29" fmla="*/ 463 h 535"/>
                <a:gd name="T30" fmla="*/ 2 w 348"/>
                <a:gd name="T31" fmla="*/ 460 h 535"/>
                <a:gd name="T32" fmla="*/ 0 w 348"/>
                <a:gd name="T33" fmla="*/ 457 h 535"/>
                <a:gd name="T34" fmla="*/ 2 w 348"/>
                <a:gd name="T35" fmla="*/ 452 h 535"/>
                <a:gd name="T36" fmla="*/ 4 w 348"/>
                <a:gd name="T37" fmla="*/ 449 h 535"/>
                <a:gd name="T38" fmla="*/ 185 w 348"/>
                <a:gd name="T39" fmla="*/ 268 h 535"/>
                <a:gd name="T40" fmla="*/ 4 w 348"/>
                <a:gd name="T41" fmla="*/ 86 h 535"/>
                <a:gd name="T42" fmla="*/ 2 w 348"/>
                <a:gd name="T43" fmla="*/ 83 h 535"/>
                <a:gd name="T44" fmla="*/ 0 w 348"/>
                <a:gd name="T45" fmla="*/ 79 h 535"/>
                <a:gd name="T46" fmla="*/ 2 w 348"/>
                <a:gd name="T47" fmla="*/ 75 h 535"/>
                <a:gd name="T48" fmla="*/ 4 w 348"/>
                <a:gd name="T49" fmla="*/ 72 h 535"/>
                <a:gd name="T50" fmla="*/ 74 w 348"/>
                <a:gd name="T51" fmla="*/ 2 h 535"/>
                <a:gd name="T52" fmla="*/ 77 w 348"/>
                <a:gd name="T53" fmla="*/ 0 h 535"/>
                <a:gd name="T54" fmla="*/ 80 w 348"/>
                <a:gd name="T55" fmla="*/ 0 h 535"/>
                <a:gd name="T56" fmla="*/ 84 w 348"/>
                <a:gd name="T57" fmla="*/ 0 h 535"/>
                <a:gd name="T58" fmla="*/ 87 w 348"/>
                <a:gd name="T59" fmla="*/ 2 h 535"/>
                <a:gd name="T60" fmla="*/ 346 w 348"/>
                <a:gd name="T61" fmla="*/ 260 h 535"/>
                <a:gd name="T62" fmla="*/ 348 w 348"/>
                <a:gd name="T63" fmla="*/ 263 h 535"/>
                <a:gd name="T64" fmla="*/ 348 w 348"/>
                <a:gd name="T65" fmla="*/ 268 h 535"/>
                <a:gd name="T66" fmla="*/ 348 w 348"/>
                <a:gd name="T67" fmla="*/ 271 h 535"/>
                <a:gd name="T68" fmla="*/ 346 w 348"/>
                <a:gd name="T69" fmla="*/ 274 h 535"/>
                <a:gd name="T70" fmla="*/ 87 w 348"/>
                <a:gd name="T71" fmla="*/ 532 h 535"/>
                <a:gd name="T72" fmla="*/ 84 w 348"/>
                <a:gd name="T73" fmla="*/ 534 h 535"/>
                <a:gd name="T74" fmla="*/ 80 w 348"/>
                <a:gd name="T75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8" h="535">
                  <a:moveTo>
                    <a:pt x="25" y="457"/>
                  </a:moveTo>
                  <a:lnTo>
                    <a:pt x="80" y="512"/>
                  </a:lnTo>
                  <a:lnTo>
                    <a:pt x="324" y="268"/>
                  </a:lnTo>
                  <a:lnTo>
                    <a:pt x="80" y="23"/>
                  </a:lnTo>
                  <a:lnTo>
                    <a:pt x="25" y="79"/>
                  </a:lnTo>
                  <a:lnTo>
                    <a:pt x="207" y="260"/>
                  </a:lnTo>
                  <a:lnTo>
                    <a:pt x="209" y="263"/>
                  </a:lnTo>
                  <a:lnTo>
                    <a:pt x="210" y="268"/>
                  </a:lnTo>
                  <a:lnTo>
                    <a:pt x="209" y="271"/>
                  </a:lnTo>
                  <a:lnTo>
                    <a:pt x="207" y="274"/>
                  </a:lnTo>
                  <a:lnTo>
                    <a:pt x="25" y="457"/>
                  </a:lnTo>
                  <a:close/>
                  <a:moveTo>
                    <a:pt x="80" y="535"/>
                  </a:moveTo>
                  <a:lnTo>
                    <a:pt x="77" y="534"/>
                  </a:lnTo>
                  <a:lnTo>
                    <a:pt x="73" y="533"/>
                  </a:lnTo>
                  <a:lnTo>
                    <a:pt x="4" y="463"/>
                  </a:lnTo>
                  <a:lnTo>
                    <a:pt x="2" y="460"/>
                  </a:lnTo>
                  <a:lnTo>
                    <a:pt x="0" y="457"/>
                  </a:lnTo>
                  <a:lnTo>
                    <a:pt x="2" y="452"/>
                  </a:lnTo>
                  <a:lnTo>
                    <a:pt x="4" y="449"/>
                  </a:lnTo>
                  <a:lnTo>
                    <a:pt x="185" y="268"/>
                  </a:lnTo>
                  <a:lnTo>
                    <a:pt x="4" y="86"/>
                  </a:lnTo>
                  <a:lnTo>
                    <a:pt x="2" y="83"/>
                  </a:lnTo>
                  <a:lnTo>
                    <a:pt x="0" y="79"/>
                  </a:lnTo>
                  <a:lnTo>
                    <a:pt x="2" y="75"/>
                  </a:lnTo>
                  <a:lnTo>
                    <a:pt x="4" y="72"/>
                  </a:lnTo>
                  <a:lnTo>
                    <a:pt x="74" y="2"/>
                  </a:lnTo>
                  <a:lnTo>
                    <a:pt x="77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7" y="2"/>
                  </a:lnTo>
                  <a:lnTo>
                    <a:pt x="346" y="260"/>
                  </a:lnTo>
                  <a:lnTo>
                    <a:pt x="348" y="263"/>
                  </a:lnTo>
                  <a:lnTo>
                    <a:pt x="348" y="268"/>
                  </a:lnTo>
                  <a:lnTo>
                    <a:pt x="348" y="271"/>
                  </a:lnTo>
                  <a:lnTo>
                    <a:pt x="346" y="274"/>
                  </a:lnTo>
                  <a:lnTo>
                    <a:pt x="87" y="532"/>
                  </a:lnTo>
                  <a:lnTo>
                    <a:pt x="84" y="534"/>
                  </a:lnTo>
                  <a:lnTo>
                    <a:pt x="80" y="5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386">
              <a:extLst>
                <a:ext uri="{FF2B5EF4-FFF2-40B4-BE49-F238E27FC236}">
                  <a16:creationId xmlns="" xmlns:a16="http://schemas.microsoft.com/office/drawing/2014/main" id="{DAF2C6E5-09CD-4A5D-99E8-4B9588D41F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94588" y="4268788"/>
              <a:ext cx="138113" cy="212725"/>
            </a:xfrm>
            <a:custGeom>
              <a:avLst/>
              <a:gdLst>
                <a:gd name="T0" fmla="*/ 25 w 348"/>
                <a:gd name="T1" fmla="*/ 457 h 535"/>
                <a:gd name="T2" fmla="*/ 80 w 348"/>
                <a:gd name="T3" fmla="*/ 512 h 535"/>
                <a:gd name="T4" fmla="*/ 324 w 348"/>
                <a:gd name="T5" fmla="*/ 268 h 535"/>
                <a:gd name="T6" fmla="*/ 80 w 348"/>
                <a:gd name="T7" fmla="*/ 23 h 535"/>
                <a:gd name="T8" fmla="*/ 25 w 348"/>
                <a:gd name="T9" fmla="*/ 79 h 535"/>
                <a:gd name="T10" fmla="*/ 206 w 348"/>
                <a:gd name="T11" fmla="*/ 260 h 535"/>
                <a:gd name="T12" fmla="*/ 208 w 348"/>
                <a:gd name="T13" fmla="*/ 263 h 535"/>
                <a:gd name="T14" fmla="*/ 208 w 348"/>
                <a:gd name="T15" fmla="*/ 268 h 535"/>
                <a:gd name="T16" fmla="*/ 208 w 348"/>
                <a:gd name="T17" fmla="*/ 271 h 535"/>
                <a:gd name="T18" fmla="*/ 206 w 348"/>
                <a:gd name="T19" fmla="*/ 274 h 535"/>
                <a:gd name="T20" fmla="*/ 25 w 348"/>
                <a:gd name="T21" fmla="*/ 457 h 535"/>
                <a:gd name="T22" fmla="*/ 80 w 348"/>
                <a:gd name="T23" fmla="*/ 535 h 535"/>
                <a:gd name="T24" fmla="*/ 75 w 348"/>
                <a:gd name="T25" fmla="*/ 534 h 535"/>
                <a:gd name="T26" fmla="*/ 72 w 348"/>
                <a:gd name="T27" fmla="*/ 533 h 535"/>
                <a:gd name="T28" fmla="*/ 3 w 348"/>
                <a:gd name="T29" fmla="*/ 463 h 535"/>
                <a:gd name="T30" fmla="*/ 1 w 348"/>
                <a:gd name="T31" fmla="*/ 460 h 535"/>
                <a:gd name="T32" fmla="*/ 0 w 348"/>
                <a:gd name="T33" fmla="*/ 457 h 535"/>
                <a:gd name="T34" fmla="*/ 1 w 348"/>
                <a:gd name="T35" fmla="*/ 452 h 535"/>
                <a:gd name="T36" fmla="*/ 3 w 348"/>
                <a:gd name="T37" fmla="*/ 449 h 535"/>
                <a:gd name="T38" fmla="*/ 185 w 348"/>
                <a:gd name="T39" fmla="*/ 268 h 535"/>
                <a:gd name="T40" fmla="*/ 3 w 348"/>
                <a:gd name="T41" fmla="*/ 86 h 535"/>
                <a:gd name="T42" fmla="*/ 1 w 348"/>
                <a:gd name="T43" fmla="*/ 83 h 535"/>
                <a:gd name="T44" fmla="*/ 0 w 348"/>
                <a:gd name="T45" fmla="*/ 79 h 535"/>
                <a:gd name="T46" fmla="*/ 1 w 348"/>
                <a:gd name="T47" fmla="*/ 75 h 535"/>
                <a:gd name="T48" fmla="*/ 3 w 348"/>
                <a:gd name="T49" fmla="*/ 72 h 535"/>
                <a:gd name="T50" fmla="*/ 72 w 348"/>
                <a:gd name="T51" fmla="*/ 2 h 535"/>
                <a:gd name="T52" fmla="*/ 75 w 348"/>
                <a:gd name="T53" fmla="*/ 0 h 535"/>
                <a:gd name="T54" fmla="*/ 80 w 348"/>
                <a:gd name="T55" fmla="*/ 0 h 535"/>
                <a:gd name="T56" fmla="*/ 83 w 348"/>
                <a:gd name="T57" fmla="*/ 0 h 535"/>
                <a:gd name="T58" fmla="*/ 86 w 348"/>
                <a:gd name="T59" fmla="*/ 2 h 535"/>
                <a:gd name="T60" fmla="*/ 344 w 348"/>
                <a:gd name="T61" fmla="*/ 260 h 535"/>
                <a:gd name="T62" fmla="*/ 347 w 348"/>
                <a:gd name="T63" fmla="*/ 263 h 535"/>
                <a:gd name="T64" fmla="*/ 348 w 348"/>
                <a:gd name="T65" fmla="*/ 268 h 535"/>
                <a:gd name="T66" fmla="*/ 347 w 348"/>
                <a:gd name="T67" fmla="*/ 271 h 535"/>
                <a:gd name="T68" fmla="*/ 344 w 348"/>
                <a:gd name="T69" fmla="*/ 274 h 535"/>
                <a:gd name="T70" fmla="*/ 86 w 348"/>
                <a:gd name="T71" fmla="*/ 532 h 535"/>
                <a:gd name="T72" fmla="*/ 83 w 348"/>
                <a:gd name="T73" fmla="*/ 534 h 535"/>
                <a:gd name="T74" fmla="*/ 80 w 348"/>
                <a:gd name="T75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8" h="535">
                  <a:moveTo>
                    <a:pt x="25" y="457"/>
                  </a:moveTo>
                  <a:lnTo>
                    <a:pt x="80" y="512"/>
                  </a:lnTo>
                  <a:lnTo>
                    <a:pt x="324" y="268"/>
                  </a:lnTo>
                  <a:lnTo>
                    <a:pt x="80" y="23"/>
                  </a:lnTo>
                  <a:lnTo>
                    <a:pt x="25" y="79"/>
                  </a:lnTo>
                  <a:lnTo>
                    <a:pt x="206" y="260"/>
                  </a:lnTo>
                  <a:lnTo>
                    <a:pt x="208" y="263"/>
                  </a:lnTo>
                  <a:lnTo>
                    <a:pt x="208" y="268"/>
                  </a:lnTo>
                  <a:lnTo>
                    <a:pt x="208" y="271"/>
                  </a:lnTo>
                  <a:lnTo>
                    <a:pt x="206" y="274"/>
                  </a:lnTo>
                  <a:lnTo>
                    <a:pt x="25" y="457"/>
                  </a:lnTo>
                  <a:close/>
                  <a:moveTo>
                    <a:pt x="80" y="535"/>
                  </a:moveTo>
                  <a:lnTo>
                    <a:pt x="75" y="534"/>
                  </a:lnTo>
                  <a:lnTo>
                    <a:pt x="72" y="533"/>
                  </a:lnTo>
                  <a:lnTo>
                    <a:pt x="3" y="463"/>
                  </a:lnTo>
                  <a:lnTo>
                    <a:pt x="1" y="460"/>
                  </a:lnTo>
                  <a:lnTo>
                    <a:pt x="0" y="457"/>
                  </a:lnTo>
                  <a:lnTo>
                    <a:pt x="1" y="452"/>
                  </a:lnTo>
                  <a:lnTo>
                    <a:pt x="3" y="449"/>
                  </a:lnTo>
                  <a:lnTo>
                    <a:pt x="185" y="268"/>
                  </a:lnTo>
                  <a:lnTo>
                    <a:pt x="3" y="86"/>
                  </a:lnTo>
                  <a:lnTo>
                    <a:pt x="1" y="83"/>
                  </a:lnTo>
                  <a:lnTo>
                    <a:pt x="0" y="79"/>
                  </a:lnTo>
                  <a:lnTo>
                    <a:pt x="1" y="75"/>
                  </a:lnTo>
                  <a:lnTo>
                    <a:pt x="3" y="72"/>
                  </a:lnTo>
                  <a:lnTo>
                    <a:pt x="72" y="2"/>
                  </a:lnTo>
                  <a:lnTo>
                    <a:pt x="75" y="0"/>
                  </a:lnTo>
                  <a:lnTo>
                    <a:pt x="80" y="0"/>
                  </a:lnTo>
                  <a:lnTo>
                    <a:pt x="83" y="0"/>
                  </a:lnTo>
                  <a:lnTo>
                    <a:pt x="86" y="2"/>
                  </a:lnTo>
                  <a:lnTo>
                    <a:pt x="344" y="260"/>
                  </a:lnTo>
                  <a:lnTo>
                    <a:pt x="347" y="263"/>
                  </a:lnTo>
                  <a:lnTo>
                    <a:pt x="348" y="268"/>
                  </a:lnTo>
                  <a:lnTo>
                    <a:pt x="347" y="271"/>
                  </a:lnTo>
                  <a:lnTo>
                    <a:pt x="344" y="274"/>
                  </a:lnTo>
                  <a:lnTo>
                    <a:pt x="86" y="532"/>
                  </a:lnTo>
                  <a:lnTo>
                    <a:pt x="83" y="534"/>
                  </a:lnTo>
                  <a:lnTo>
                    <a:pt x="80" y="5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79" name="Oval 78">
            <a:extLst>
              <a:ext uri="{FF2B5EF4-FFF2-40B4-BE49-F238E27FC236}">
                <a16:creationId xmlns="" xmlns:a16="http://schemas.microsoft.com/office/drawing/2014/main" id="{E1D91C85-B077-4089-A07F-BDADD0C84940}"/>
              </a:ext>
            </a:extLst>
          </p:cNvPr>
          <p:cNvSpPr/>
          <p:nvPr/>
        </p:nvSpPr>
        <p:spPr>
          <a:xfrm>
            <a:off x="7690327" y="3462553"/>
            <a:ext cx="652034" cy="652034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80" name="Group 79">
            <a:extLst>
              <a:ext uri="{FF2B5EF4-FFF2-40B4-BE49-F238E27FC236}">
                <a16:creationId xmlns="" xmlns:a16="http://schemas.microsoft.com/office/drawing/2014/main" id="{18DB9F5C-5C4F-4177-87FC-6FEB3EE185C6}"/>
              </a:ext>
            </a:extLst>
          </p:cNvPr>
          <p:cNvGrpSpPr/>
          <p:nvPr/>
        </p:nvGrpSpPr>
        <p:grpSpPr>
          <a:xfrm>
            <a:off x="7876599" y="3662894"/>
            <a:ext cx="279490" cy="251353"/>
            <a:chOff x="7396163" y="4268788"/>
            <a:chExt cx="236538" cy="212725"/>
          </a:xfrm>
          <a:solidFill>
            <a:schemeClr val="accent4"/>
          </a:solidFill>
        </p:grpSpPr>
        <p:sp>
          <p:nvSpPr>
            <p:cNvPr id="82" name="Freeform 385">
              <a:extLst>
                <a:ext uri="{FF2B5EF4-FFF2-40B4-BE49-F238E27FC236}">
                  <a16:creationId xmlns="" xmlns:a16="http://schemas.microsoft.com/office/drawing/2014/main" id="{C151DF1E-6105-40D8-9EB2-4981140C5C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6163" y="4268788"/>
              <a:ext cx="138113" cy="212725"/>
            </a:xfrm>
            <a:custGeom>
              <a:avLst/>
              <a:gdLst>
                <a:gd name="T0" fmla="*/ 25 w 348"/>
                <a:gd name="T1" fmla="*/ 457 h 535"/>
                <a:gd name="T2" fmla="*/ 80 w 348"/>
                <a:gd name="T3" fmla="*/ 512 h 535"/>
                <a:gd name="T4" fmla="*/ 324 w 348"/>
                <a:gd name="T5" fmla="*/ 268 h 535"/>
                <a:gd name="T6" fmla="*/ 80 w 348"/>
                <a:gd name="T7" fmla="*/ 23 h 535"/>
                <a:gd name="T8" fmla="*/ 25 w 348"/>
                <a:gd name="T9" fmla="*/ 79 h 535"/>
                <a:gd name="T10" fmla="*/ 207 w 348"/>
                <a:gd name="T11" fmla="*/ 260 h 535"/>
                <a:gd name="T12" fmla="*/ 209 w 348"/>
                <a:gd name="T13" fmla="*/ 263 h 535"/>
                <a:gd name="T14" fmla="*/ 210 w 348"/>
                <a:gd name="T15" fmla="*/ 268 h 535"/>
                <a:gd name="T16" fmla="*/ 209 w 348"/>
                <a:gd name="T17" fmla="*/ 271 h 535"/>
                <a:gd name="T18" fmla="*/ 207 w 348"/>
                <a:gd name="T19" fmla="*/ 274 h 535"/>
                <a:gd name="T20" fmla="*/ 25 w 348"/>
                <a:gd name="T21" fmla="*/ 457 h 535"/>
                <a:gd name="T22" fmla="*/ 80 w 348"/>
                <a:gd name="T23" fmla="*/ 535 h 535"/>
                <a:gd name="T24" fmla="*/ 77 w 348"/>
                <a:gd name="T25" fmla="*/ 534 h 535"/>
                <a:gd name="T26" fmla="*/ 73 w 348"/>
                <a:gd name="T27" fmla="*/ 533 h 535"/>
                <a:gd name="T28" fmla="*/ 4 w 348"/>
                <a:gd name="T29" fmla="*/ 463 h 535"/>
                <a:gd name="T30" fmla="*/ 2 w 348"/>
                <a:gd name="T31" fmla="*/ 460 h 535"/>
                <a:gd name="T32" fmla="*/ 0 w 348"/>
                <a:gd name="T33" fmla="*/ 457 h 535"/>
                <a:gd name="T34" fmla="*/ 2 w 348"/>
                <a:gd name="T35" fmla="*/ 452 h 535"/>
                <a:gd name="T36" fmla="*/ 4 w 348"/>
                <a:gd name="T37" fmla="*/ 449 h 535"/>
                <a:gd name="T38" fmla="*/ 185 w 348"/>
                <a:gd name="T39" fmla="*/ 268 h 535"/>
                <a:gd name="T40" fmla="*/ 4 w 348"/>
                <a:gd name="T41" fmla="*/ 86 h 535"/>
                <a:gd name="T42" fmla="*/ 2 w 348"/>
                <a:gd name="T43" fmla="*/ 83 h 535"/>
                <a:gd name="T44" fmla="*/ 0 w 348"/>
                <a:gd name="T45" fmla="*/ 79 h 535"/>
                <a:gd name="T46" fmla="*/ 2 w 348"/>
                <a:gd name="T47" fmla="*/ 75 h 535"/>
                <a:gd name="T48" fmla="*/ 4 w 348"/>
                <a:gd name="T49" fmla="*/ 72 h 535"/>
                <a:gd name="T50" fmla="*/ 74 w 348"/>
                <a:gd name="T51" fmla="*/ 2 h 535"/>
                <a:gd name="T52" fmla="*/ 77 w 348"/>
                <a:gd name="T53" fmla="*/ 0 h 535"/>
                <a:gd name="T54" fmla="*/ 80 w 348"/>
                <a:gd name="T55" fmla="*/ 0 h 535"/>
                <a:gd name="T56" fmla="*/ 84 w 348"/>
                <a:gd name="T57" fmla="*/ 0 h 535"/>
                <a:gd name="T58" fmla="*/ 87 w 348"/>
                <a:gd name="T59" fmla="*/ 2 h 535"/>
                <a:gd name="T60" fmla="*/ 346 w 348"/>
                <a:gd name="T61" fmla="*/ 260 h 535"/>
                <a:gd name="T62" fmla="*/ 348 w 348"/>
                <a:gd name="T63" fmla="*/ 263 h 535"/>
                <a:gd name="T64" fmla="*/ 348 w 348"/>
                <a:gd name="T65" fmla="*/ 268 h 535"/>
                <a:gd name="T66" fmla="*/ 348 w 348"/>
                <a:gd name="T67" fmla="*/ 271 h 535"/>
                <a:gd name="T68" fmla="*/ 346 w 348"/>
                <a:gd name="T69" fmla="*/ 274 h 535"/>
                <a:gd name="T70" fmla="*/ 87 w 348"/>
                <a:gd name="T71" fmla="*/ 532 h 535"/>
                <a:gd name="T72" fmla="*/ 84 w 348"/>
                <a:gd name="T73" fmla="*/ 534 h 535"/>
                <a:gd name="T74" fmla="*/ 80 w 348"/>
                <a:gd name="T75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8" h="535">
                  <a:moveTo>
                    <a:pt x="25" y="457"/>
                  </a:moveTo>
                  <a:lnTo>
                    <a:pt x="80" y="512"/>
                  </a:lnTo>
                  <a:lnTo>
                    <a:pt x="324" y="268"/>
                  </a:lnTo>
                  <a:lnTo>
                    <a:pt x="80" y="23"/>
                  </a:lnTo>
                  <a:lnTo>
                    <a:pt x="25" y="79"/>
                  </a:lnTo>
                  <a:lnTo>
                    <a:pt x="207" y="260"/>
                  </a:lnTo>
                  <a:lnTo>
                    <a:pt x="209" y="263"/>
                  </a:lnTo>
                  <a:lnTo>
                    <a:pt x="210" y="268"/>
                  </a:lnTo>
                  <a:lnTo>
                    <a:pt x="209" y="271"/>
                  </a:lnTo>
                  <a:lnTo>
                    <a:pt x="207" y="274"/>
                  </a:lnTo>
                  <a:lnTo>
                    <a:pt x="25" y="457"/>
                  </a:lnTo>
                  <a:close/>
                  <a:moveTo>
                    <a:pt x="80" y="535"/>
                  </a:moveTo>
                  <a:lnTo>
                    <a:pt x="77" y="534"/>
                  </a:lnTo>
                  <a:lnTo>
                    <a:pt x="73" y="533"/>
                  </a:lnTo>
                  <a:lnTo>
                    <a:pt x="4" y="463"/>
                  </a:lnTo>
                  <a:lnTo>
                    <a:pt x="2" y="460"/>
                  </a:lnTo>
                  <a:lnTo>
                    <a:pt x="0" y="457"/>
                  </a:lnTo>
                  <a:lnTo>
                    <a:pt x="2" y="452"/>
                  </a:lnTo>
                  <a:lnTo>
                    <a:pt x="4" y="449"/>
                  </a:lnTo>
                  <a:lnTo>
                    <a:pt x="185" y="268"/>
                  </a:lnTo>
                  <a:lnTo>
                    <a:pt x="4" y="86"/>
                  </a:lnTo>
                  <a:lnTo>
                    <a:pt x="2" y="83"/>
                  </a:lnTo>
                  <a:lnTo>
                    <a:pt x="0" y="79"/>
                  </a:lnTo>
                  <a:lnTo>
                    <a:pt x="2" y="75"/>
                  </a:lnTo>
                  <a:lnTo>
                    <a:pt x="4" y="72"/>
                  </a:lnTo>
                  <a:lnTo>
                    <a:pt x="74" y="2"/>
                  </a:lnTo>
                  <a:lnTo>
                    <a:pt x="77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7" y="2"/>
                  </a:lnTo>
                  <a:lnTo>
                    <a:pt x="346" y="260"/>
                  </a:lnTo>
                  <a:lnTo>
                    <a:pt x="348" y="263"/>
                  </a:lnTo>
                  <a:lnTo>
                    <a:pt x="348" y="268"/>
                  </a:lnTo>
                  <a:lnTo>
                    <a:pt x="348" y="271"/>
                  </a:lnTo>
                  <a:lnTo>
                    <a:pt x="346" y="274"/>
                  </a:lnTo>
                  <a:lnTo>
                    <a:pt x="87" y="532"/>
                  </a:lnTo>
                  <a:lnTo>
                    <a:pt x="84" y="534"/>
                  </a:lnTo>
                  <a:lnTo>
                    <a:pt x="80" y="5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386">
              <a:extLst>
                <a:ext uri="{FF2B5EF4-FFF2-40B4-BE49-F238E27FC236}">
                  <a16:creationId xmlns="" xmlns:a16="http://schemas.microsoft.com/office/drawing/2014/main" id="{079B35E3-B9B9-4D68-B629-CC27CE111D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94588" y="4268788"/>
              <a:ext cx="138113" cy="212725"/>
            </a:xfrm>
            <a:custGeom>
              <a:avLst/>
              <a:gdLst>
                <a:gd name="T0" fmla="*/ 25 w 348"/>
                <a:gd name="T1" fmla="*/ 457 h 535"/>
                <a:gd name="T2" fmla="*/ 80 w 348"/>
                <a:gd name="T3" fmla="*/ 512 h 535"/>
                <a:gd name="T4" fmla="*/ 324 w 348"/>
                <a:gd name="T5" fmla="*/ 268 h 535"/>
                <a:gd name="T6" fmla="*/ 80 w 348"/>
                <a:gd name="T7" fmla="*/ 23 h 535"/>
                <a:gd name="T8" fmla="*/ 25 w 348"/>
                <a:gd name="T9" fmla="*/ 79 h 535"/>
                <a:gd name="T10" fmla="*/ 206 w 348"/>
                <a:gd name="T11" fmla="*/ 260 h 535"/>
                <a:gd name="T12" fmla="*/ 208 w 348"/>
                <a:gd name="T13" fmla="*/ 263 h 535"/>
                <a:gd name="T14" fmla="*/ 208 w 348"/>
                <a:gd name="T15" fmla="*/ 268 h 535"/>
                <a:gd name="T16" fmla="*/ 208 w 348"/>
                <a:gd name="T17" fmla="*/ 271 h 535"/>
                <a:gd name="T18" fmla="*/ 206 w 348"/>
                <a:gd name="T19" fmla="*/ 274 h 535"/>
                <a:gd name="T20" fmla="*/ 25 w 348"/>
                <a:gd name="T21" fmla="*/ 457 h 535"/>
                <a:gd name="T22" fmla="*/ 80 w 348"/>
                <a:gd name="T23" fmla="*/ 535 h 535"/>
                <a:gd name="T24" fmla="*/ 75 w 348"/>
                <a:gd name="T25" fmla="*/ 534 h 535"/>
                <a:gd name="T26" fmla="*/ 72 w 348"/>
                <a:gd name="T27" fmla="*/ 533 h 535"/>
                <a:gd name="T28" fmla="*/ 3 w 348"/>
                <a:gd name="T29" fmla="*/ 463 h 535"/>
                <a:gd name="T30" fmla="*/ 1 w 348"/>
                <a:gd name="T31" fmla="*/ 460 h 535"/>
                <a:gd name="T32" fmla="*/ 0 w 348"/>
                <a:gd name="T33" fmla="*/ 457 h 535"/>
                <a:gd name="T34" fmla="*/ 1 w 348"/>
                <a:gd name="T35" fmla="*/ 452 h 535"/>
                <a:gd name="T36" fmla="*/ 3 w 348"/>
                <a:gd name="T37" fmla="*/ 449 h 535"/>
                <a:gd name="T38" fmla="*/ 185 w 348"/>
                <a:gd name="T39" fmla="*/ 268 h 535"/>
                <a:gd name="T40" fmla="*/ 3 w 348"/>
                <a:gd name="T41" fmla="*/ 86 h 535"/>
                <a:gd name="T42" fmla="*/ 1 w 348"/>
                <a:gd name="T43" fmla="*/ 83 h 535"/>
                <a:gd name="T44" fmla="*/ 0 w 348"/>
                <a:gd name="T45" fmla="*/ 79 h 535"/>
                <a:gd name="T46" fmla="*/ 1 w 348"/>
                <a:gd name="T47" fmla="*/ 75 h 535"/>
                <a:gd name="T48" fmla="*/ 3 w 348"/>
                <a:gd name="T49" fmla="*/ 72 h 535"/>
                <a:gd name="T50" fmla="*/ 72 w 348"/>
                <a:gd name="T51" fmla="*/ 2 h 535"/>
                <a:gd name="T52" fmla="*/ 75 w 348"/>
                <a:gd name="T53" fmla="*/ 0 h 535"/>
                <a:gd name="T54" fmla="*/ 80 w 348"/>
                <a:gd name="T55" fmla="*/ 0 h 535"/>
                <a:gd name="T56" fmla="*/ 83 w 348"/>
                <a:gd name="T57" fmla="*/ 0 h 535"/>
                <a:gd name="T58" fmla="*/ 86 w 348"/>
                <a:gd name="T59" fmla="*/ 2 h 535"/>
                <a:gd name="T60" fmla="*/ 344 w 348"/>
                <a:gd name="T61" fmla="*/ 260 h 535"/>
                <a:gd name="T62" fmla="*/ 347 w 348"/>
                <a:gd name="T63" fmla="*/ 263 h 535"/>
                <a:gd name="T64" fmla="*/ 348 w 348"/>
                <a:gd name="T65" fmla="*/ 268 h 535"/>
                <a:gd name="T66" fmla="*/ 347 w 348"/>
                <a:gd name="T67" fmla="*/ 271 h 535"/>
                <a:gd name="T68" fmla="*/ 344 w 348"/>
                <a:gd name="T69" fmla="*/ 274 h 535"/>
                <a:gd name="T70" fmla="*/ 86 w 348"/>
                <a:gd name="T71" fmla="*/ 532 h 535"/>
                <a:gd name="T72" fmla="*/ 83 w 348"/>
                <a:gd name="T73" fmla="*/ 534 h 535"/>
                <a:gd name="T74" fmla="*/ 80 w 348"/>
                <a:gd name="T75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8" h="535">
                  <a:moveTo>
                    <a:pt x="25" y="457"/>
                  </a:moveTo>
                  <a:lnTo>
                    <a:pt x="80" y="512"/>
                  </a:lnTo>
                  <a:lnTo>
                    <a:pt x="324" y="268"/>
                  </a:lnTo>
                  <a:lnTo>
                    <a:pt x="80" y="23"/>
                  </a:lnTo>
                  <a:lnTo>
                    <a:pt x="25" y="79"/>
                  </a:lnTo>
                  <a:lnTo>
                    <a:pt x="206" y="260"/>
                  </a:lnTo>
                  <a:lnTo>
                    <a:pt x="208" y="263"/>
                  </a:lnTo>
                  <a:lnTo>
                    <a:pt x="208" y="268"/>
                  </a:lnTo>
                  <a:lnTo>
                    <a:pt x="208" y="271"/>
                  </a:lnTo>
                  <a:lnTo>
                    <a:pt x="206" y="274"/>
                  </a:lnTo>
                  <a:lnTo>
                    <a:pt x="25" y="457"/>
                  </a:lnTo>
                  <a:close/>
                  <a:moveTo>
                    <a:pt x="80" y="535"/>
                  </a:moveTo>
                  <a:lnTo>
                    <a:pt x="75" y="534"/>
                  </a:lnTo>
                  <a:lnTo>
                    <a:pt x="72" y="533"/>
                  </a:lnTo>
                  <a:lnTo>
                    <a:pt x="3" y="463"/>
                  </a:lnTo>
                  <a:lnTo>
                    <a:pt x="1" y="460"/>
                  </a:lnTo>
                  <a:lnTo>
                    <a:pt x="0" y="457"/>
                  </a:lnTo>
                  <a:lnTo>
                    <a:pt x="1" y="452"/>
                  </a:lnTo>
                  <a:lnTo>
                    <a:pt x="3" y="449"/>
                  </a:lnTo>
                  <a:lnTo>
                    <a:pt x="185" y="268"/>
                  </a:lnTo>
                  <a:lnTo>
                    <a:pt x="3" y="86"/>
                  </a:lnTo>
                  <a:lnTo>
                    <a:pt x="1" y="83"/>
                  </a:lnTo>
                  <a:lnTo>
                    <a:pt x="0" y="79"/>
                  </a:lnTo>
                  <a:lnTo>
                    <a:pt x="1" y="75"/>
                  </a:lnTo>
                  <a:lnTo>
                    <a:pt x="3" y="72"/>
                  </a:lnTo>
                  <a:lnTo>
                    <a:pt x="72" y="2"/>
                  </a:lnTo>
                  <a:lnTo>
                    <a:pt x="75" y="0"/>
                  </a:lnTo>
                  <a:lnTo>
                    <a:pt x="80" y="0"/>
                  </a:lnTo>
                  <a:lnTo>
                    <a:pt x="83" y="0"/>
                  </a:lnTo>
                  <a:lnTo>
                    <a:pt x="86" y="2"/>
                  </a:lnTo>
                  <a:lnTo>
                    <a:pt x="344" y="260"/>
                  </a:lnTo>
                  <a:lnTo>
                    <a:pt x="347" y="263"/>
                  </a:lnTo>
                  <a:lnTo>
                    <a:pt x="348" y="268"/>
                  </a:lnTo>
                  <a:lnTo>
                    <a:pt x="347" y="271"/>
                  </a:lnTo>
                  <a:lnTo>
                    <a:pt x="344" y="274"/>
                  </a:lnTo>
                  <a:lnTo>
                    <a:pt x="86" y="532"/>
                  </a:lnTo>
                  <a:lnTo>
                    <a:pt x="83" y="534"/>
                  </a:lnTo>
                  <a:lnTo>
                    <a:pt x="80" y="5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6" name="Oval 85">
            <a:extLst>
              <a:ext uri="{FF2B5EF4-FFF2-40B4-BE49-F238E27FC236}">
                <a16:creationId xmlns="" xmlns:a16="http://schemas.microsoft.com/office/drawing/2014/main" id="{352157BA-90CB-45A2-9907-A83A6A2F9E8F}"/>
              </a:ext>
            </a:extLst>
          </p:cNvPr>
          <p:cNvSpPr/>
          <p:nvPr/>
        </p:nvSpPr>
        <p:spPr>
          <a:xfrm>
            <a:off x="9610675" y="3462553"/>
            <a:ext cx="652034" cy="652034"/>
          </a:xfrm>
          <a:prstGeom prst="ellipse">
            <a:avLst/>
          </a:prstGeom>
          <a:solidFill>
            <a:schemeClr val="tx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87" name="Group 86">
            <a:extLst>
              <a:ext uri="{FF2B5EF4-FFF2-40B4-BE49-F238E27FC236}">
                <a16:creationId xmlns="" xmlns:a16="http://schemas.microsoft.com/office/drawing/2014/main" id="{CEDF47AB-BA74-491E-A43B-BF87F6161971}"/>
              </a:ext>
            </a:extLst>
          </p:cNvPr>
          <p:cNvGrpSpPr/>
          <p:nvPr/>
        </p:nvGrpSpPr>
        <p:grpSpPr>
          <a:xfrm>
            <a:off x="9796947" y="3662894"/>
            <a:ext cx="279490" cy="251353"/>
            <a:chOff x="7396163" y="4268788"/>
            <a:chExt cx="236538" cy="212725"/>
          </a:xfrm>
          <a:solidFill>
            <a:schemeClr val="accent4"/>
          </a:solidFill>
        </p:grpSpPr>
        <p:sp>
          <p:nvSpPr>
            <p:cNvPr id="89" name="Freeform 385">
              <a:extLst>
                <a:ext uri="{FF2B5EF4-FFF2-40B4-BE49-F238E27FC236}">
                  <a16:creationId xmlns="" xmlns:a16="http://schemas.microsoft.com/office/drawing/2014/main" id="{C511F880-E444-4AE2-A343-9BC11CFB40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96163" y="4268788"/>
              <a:ext cx="138113" cy="212725"/>
            </a:xfrm>
            <a:custGeom>
              <a:avLst/>
              <a:gdLst>
                <a:gd name="T0" fmla="*/ 25 w 348"/>
                <a:gd name="T1" fmla="*/ 457 h 535"/>
                <a:gd name="T2" fmla="*/ 80 w 348"/>
                <a:gd name="T3" fmla="*/ 512 h 535"/>
                <a:gd name="T4" fmla="*/ 324 w 348"/>
                <a:gd name="T5" fmla="*/ 268 h 535"/>
                <a:gd name="T6" fmla="*/ 80 w 348"/>
                <a:gd name="T7" fmla="*/ 23 h 535"/>
                <a:gd name="T8" fmla="*/ 25 w 348"/>
                <a:gd name="T9" fmla="*/ 79 h 535"/>
                <a:gd name="T10" fmla="*/ 207 w 348"/>
                <a:gd name="T11" fmla="*/ 260 h 535"/>
                <a:gd name="T12" fmla="*/ 209 w 348"/>
                <a:gd name="T13" fmla="*/ 263 h 535"/>
                <a:gd name="T14" fmla="*/ 210 w 348"/>
                <a:gd name="T15" fmla="*/ 268 h 535"/>
                <a:gd name="T16" fmla="*/ 209 w 348"/>
                <a:gd name="T17" fmla="*/ 271 h 535"/>
                <a:gd name="T18" fmla="*/ 207 w 348"/>
                <a:gd name="T19" fmla="*/ 274 h 535"/>
                <a:gd name="T20" fmla="*/ 25 w 348"/>
                <a:gd name="T21" fmla="*/ 457 h 535"/>
                <a:gd name="T22" fmla="*/ 80 w 348"/>
                <a:gd name="T23" fmla="*/ 535 h 535"/>
                <a:gd name="T24" fmla="*/ 77 w 348"/>
                <a:gd name="T25" fmla="*/ 534 h 535"/>
                <a:gd name="T26" fmla="*/ 73 w 348"/>
                <a:gd name="T27" fmla="*/ 533 h 535"/>
                <a:gd name="T28" fmla="*/ 4 w 348"/>
                <a:gd name="T29" fmla="*/ 463 h 535"/>
                <a:gd name="T30" fmla="*/ 2 w 348"/>
                <a:gd name="T31" fmla="*/ 460 h 535"/>
                <a:gd name="T32" fmla="*/ 0 w 348"/>
                <a:gd name="T33" fmla="*/ 457 h 535"/>
                <a:gd name="T34" fmla="*/ 2 w 348"/>
                <a:gd name="T35" fmla="*/ 452 h 535"/>
                <a:gd name="T36" fmla="*/ 4 w 348"/>
                <a:gd name="T37" fmla="*/ 449 h 535"/>
                <a:gd name="T38" fmla="*/ 185 w 348"/>
                <a:gd name="T39" fmla="*/ 268 h 535"/>
                <a:gd name="T40" fmla="*/ 4 w 348"/>
                <a:gd name="T41" fmla="*/ 86 h 535"/>
                <a:gd name="T42" fmla="*/ 2 w 348"/>
                <a:gd name="T43" fmla="*/ 83 h 535"/>
                <a:gd name="T44" fmla="*/ 0 w 348"/>
                <a:gd name="T45" fmla="*/ 79 h 535"/>
                <a:gd name="T46" fmla="*/ 2 w 348"/>
                <a:gd name="T47" fmla="*/ 75 h 535"/>
                <a:gd name="T48" fmla="*/ 4 w 348"/>
                <a:gd name="T49" fmla="*/ 72 h 535"/>
                <a:gd name="T50" fmla="*/ 74 w 348"/>
                <a:gd name="T51" fmla="*/ 2 h 535"/>
                <a:gd name="T52" fmla="*/ 77 w 348"/>
                <a:gd name="T53" fmla="*/ 0 h 535"/>
                <a:gd name="T54" fmla="*/ 80 w 348"/>
                <a:gd name="T55" fmla="*/ 0 h 535"/>
                <a:gd name="T56" fmla="*/ 84 w 348"/>
                <a:gd name="T57" fmla="*/ 0 h 535"/>
                <a:gd name="T58" fmla="*/ 87 w 348"/>
                <a:gd name="T59" fmla="*/ 2 h 535"/>
                <a:gd name="T60" fmla="*/ 346 w 348"/>
                <a:gd name="T61" fmla="*/ 260 h 535"/>
                <a:gd name="T62" fmla="*/ 348 w 348"/>
                <a:gd name="T63" fmla="*/ 263 h 535"/>
                <a:gd name="T64" fmla="*/ 348 w 348"/>
                <a:gd name="T65" fmla="*/ 268 h 535"/>
                <a:gd name="T66" fmla="*/ 348 w 348"/>
                <a:gd name="T67" fmla="*/ 271 h 535"/>
                <a:gd name="T68" fmla="*/ 346 w 348"/>
                <a:gd name="T69" fmla="*/ 274 h 535"/>
                <a:gd name="T70" fmla="*/ 87 w 348"/>
                <a:gd name="T71" fmla="*/ 532 h 535"/>
                <a:gd name="T72" fmla="*/ 84 w 348"/>
                <a:gd name="T73" fmla="*/ 534 h 535"/>
                <a:gd name="T74" fmla="*/ 80 w 348"/>
                <a:gd name="T75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8" h="535">
                  <a:moveTo>
                    <a:pt x="25" y="457"/>
                  </a:moveTo>
                  <a:lnTo>
                    <a:pt x="80" y="512"/>
                  </a:lnTo>
                  <a:lnTo>
                    <a:pt x="324" y="268"/>
                  </a:lnTo>
                  <a:lnTo>
                    <a:pt x="80" y="23"/>
                  </a:lnTo>
                  <a:lnTo>
                    <a:pt x="25" y="79"/>
                  </a:lnTo>
                  <a:lnTo>
                    <a:pt x="207" y="260"/>
                  </a:lnTo>
                  <a:lnTo>
                    <a:pt x="209" y="263"/>
                  </a:lnTo>
                  <a:lnTo>
                    <a:pt x="210" y="268"/>
                  </a:lnTo>
                  <a:lnTo>
                    <a:pt x="209" y="271"/>
                  </a:lnTo>
                  <a:lnTo>
                    <a:pt x="207" y="274"/>
                  </a:lnTo>
                  <a:lnTo>
                    <a:pt x="25" y="457"/>
                  </a:lnTo>
                  <a:close/>
                  <a:moveTo>
                    <a:pt x="80" y="535"/>
                  </a:moveTo>
                  <a:lnTo>
                    <a:pt x="77" y="534"/>
                  </a:lnTo>
                  <a:lnTo>
                    <a:pt x="73" y="533"/>
                  </a:lnTo>
                  <a:lnTo>
                    <a:pt x="4" y="463"/>
                  </a:lnTo>
                  <a:lnTo>
                    <a:pt x="2" y="460"/>
                  </a:lnTo>
                  <a:lnTo>
                    <a:pt x="0" y="457"/>
                  </a:lnTo>
                  <a:lnTo>
                    <a:pt x="2" y="452"/>
                  </a:lnTo>
                  <a:lnTo>
                    <a:pt x="4" y="449"/>
                  </a:lnTo>
                  <a:lnTo>
                    <a:pt x="185" y="268"/>
                  </a:lnTo>
                  <a:lnTo>
                    <a:pt x="4" y="86"/>
                  </a:lnTo>
                  <a:lnTo>
                    <a:pt x="2" y="83"/>
                  </a:lnTo>
                  <a:lnTo>
                    <a:pt x="0" y="79"/>
                  </a:lnTo>
                  <a:lnTo>
                    <a:pt x="2" y="75"/>
                  </a:lnTo>
                  <a:lnTo>
                    <a:pt x="4" y="72"/>
                  </a:lnTo>
                  <a:lnTo>
                    <a:pt x="74" y="2"/>
                  </a:lnTo>
                  <a:lnTo>
                    <a:pt x="77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7" y="2"/>
                  </a:lnTo>
                  <a:lnTo>
                    <a:pt x="346" y="260"/>
                  </a:lnTo>
                  <a:lnTo>
                    <a:pt x="348" y="263"/>
                  </a:lnTo>
                  <a:lnTo>
                    <a:pt x="348" y="268"/>
                  </a:lnTo>
                  <a:lnTo>
                    <a:pt x="348" y="271"/>
                  </a:lnTo>
                  <a:lnTo>
                    <a:pt x="346" y="274"/>
                  </a:lnTo>
                  <a:lnTo>
                    <a:pt x="87" y="532"/>
                  </a:lnTo>
                  <a:lnTo>
                    <a:pt x="84" y="534"/>
                  </a:lnTo>
                  <a:lnTo>
                    <a:pt x="80" y="5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86">
              <a:extLst>
                <a:ext uri="{FF2B5EF4-FFF2-40B4-BE49-F238E27FC236}">
                  <a16:creationId xmlns="" xmlns:a16="http://schemas.microsoft.com/office/drawing/2014/main" id="{E2FB6F54-43C9-49F6-9C1F-2E48EE8E45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94588" y="4268788"/>
              <a:ext cx="138113" cy="212725"/>
            </a:xfrm>
            <a:custGeom>
              <a:avLst/>
              <a:gdLst>
                <a:gd name="T0" fmla="*/ 25 w 348"/>
                <a:gd name="T1" fmla="*/ 457 h 535"/>
                <a:gd name="T2" fmla="*/ 80 w 348"/>
                <a:gd name="T3" fmla="*/ 512 h 535"/>
                <a:gd name="T4" fmla="*/ 324 w 348"/>
                <a:gd name="T5" fmla="*/ 268 h 535"/>
                <a:gd name="T6" fmla="*/ 80 w 348"/>
                <a:gd name="T7" fmla="*/ 23 h 535"/>
                <a:gd name="T8" fmla="*/ 25 w 348"/>
                <a:gd name="T9" fmla="*/ 79 h 535"/>
                <a:gd name="T10" fmla="*/ 206 w 348"/>
                <a:gd name="T11" fmla="*/ 260 h 535"/>
                <a:gd name="T12" fmla="*/ 208 w 348"/>
                <a:gd name="T13" fmla="*/ 263 h 535"/>
                <a:gd name="T14" fmla="*/ 208 w 348"/>
                <a:gd name="T15" fmla="*/ 268 h 535"/>
                <a:gd name="T16" fmla="*/ 208 w 348"/>
                <a:gd name="T17" fmla="*/ 271 h 535"/>
                <a:gd name="T18" fmla="*/ 206 w 348"/>
                <a:gd name="T19" fmla="*/ 274 h 535"/>
                <a:gd name="T20" fmla="*/ 25 w 348"/>
                <a:gd name="T21" fmla="*/ 457 h 535"/>
                <a:gd name="T22" fmla="*/ 80 w 348"/>
                <a:gd name="T23" fmla="*/ 535 h 535"/>
                <a:gd name="T24" fmla="*/ 75 w 348"/>
                <a:gd name="T25" fmla="*/ 534 h 535"/>
                <a:gd name="T26" fmla="*/ 72 w 348"/>
                <a:gd name="T27" fmla="*/ 533 h 535"/>
                <a:gd name="T28" fmla="*/ 3 w 348"/>
                <a:gd name="T29" fmla="*/ 463 h 535"/>
                <a:gd name="T30" fmla="*/ 1 w 348"/>
                <a:gd name="T31" fmla="*/ 460 h 535"/>
                <a:gd name="T32" fmla="*/ 0 w 348"/>
                <a:gd name="T33" fmla="*/ 457 h 535"/>
                <a:gd name="T34" fmla="*/ 1 w 348"/>
                <a:gd name="T35" fmla="*/ 452 h 535"/>
                <a:gd name="T36" fmla="*/ 3 w 348"/>
                <a:gd name="T37" fmla="*/ 449 h 535"/>
                <a:gd name="T38" fmla="*/ 185 w 348"/>
                <a:gd name="T39" fmla="*/ 268 h 535"/>
                <a:gd name="T40" fmla="*/ 3 w 348"/>
                <a:gd name="T41" fmla="*/ 86 h 535"/>
                <a:gd name="T42" fmla="*/ 1 w 348"/>
                <a:gd name="T43" fmla="*/ 83 h 535"/>
                <a:gd name="T44" fmla="*/ 0 w 348"/>
                <a:gd name="T45" fmla="*/ 79 h 535"/>
                <a:gd name="T46" fmla="*/ 1 w 348"/>
                <a:gd name="T47" fmla="*/ 75 h 535"/>
                <a:gd name="T48" fmla="*/ 3 w 348"/>
                <a:gd name="T49" fmla="*/ 72 h 535"/>
                <a:gd name="T50" fmla="*/ 72 w 348"/>
                <a:gd name="T51" fmla="*/ 2 h 535"/>
                <a:gd name="T52" fmla="*/ 75 w 348"/>
                <a:gd name="T53" fmla="*/ 0 h 535"/>
                <a:gd name="T54" fmla="*/ 80 w 348"/>
                <a:gd name="T55" fmla="*/ 0 h 535"/>
                <a:gd name="T56" fmla="*/ 83 w 348"/>
                <a:gd name="T57" fmla="*/ 0 h 535"/>
                <a:gd name="T58" fmla="*/ 86 w 348"/>
                <a:gd name="T59" fmla="*/ 2 h 535"/>
                <a:gd name="T60" fmla="*/ 344 w 348"/>
                <a:gd name="T61" fmla="*/ 260 h 535"/>
                <a:gd name="T62" fmla="*/ 347 w 348"/>
                <a:gd name="T63" fmla="*/ 263 h 535"/>
                <a:gd name="T64" fmla="*/ 348 w 348"/>
                <a:gd name="T65" fmla="*/ 268 h 535"/>
                <a:gd name="T66" fmla="*/ 347 w 348"/>
                <a:gd name="T67" fmla="*/ 271 h 535"/>
                <a:gd name="T68" fmla="*/ 344 w 348"/>
                <a:gd name="T69" fmla="*/ 274 h 535"/>
                <a:gd name="T70" fmla="*/ 86 w 348"/>
                <a:gd name="T71" fmla="*/ 532 h 535"/>
                <a:gd name="T72" fmla="*/ 83 w 348"/>
                <a:gd name="T73" fmla="*/ 534 h 535"/>
                <a:gd name="T74" fmla="*/ 80 w 348"/>
                <a:gd name="T75" fmla="*/ 535 h 5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8" h="535">
                  <a:moveTo>
                    <a:pt x="25" y="457"/>
                  </a:moveTo>
                  <a:lnTo>
                    <a:pt x="80" y="512"/>
                  </a:lnTo>
                  <a:lnTo>
                    <a:pt x="324" y="268"/>
                  </a:lnTo>
                  <a:lnTo>
                    <a:pt x="80" y="23"/>
                  </a:lnTo>
                  <a:lnTo>
                    <a:pt x="25" y="79"/>
                  </a:lnTo>
                  <a:lnTo>
                    <a:pt x="206" y="260"/>
                  </a:lnTo>
                  <a:lnTo>
                    <a:pt x="208" y="263"/>
                  </a:lnTo>
                  <a:lnTo>
                    <a:pt x="208" y="268"/>
                  </a:lnTo>
                  <a:lnTo>
                    <a:pt x="208" y="271"/>
                  </a:lnTo>
                  <a:lnTo>
                    <a:pt x="206" y="274"/>
                  </a:lnTo>
                  <a:lnTo>
                    <a:pt x="25" y="457"/>
                  </a:lnTo>
                  <a:close/>
                  <a:moveTo>
                    <a:pt x="80" y="535"/>
                  </a:moveTo>
                  <a:lnTo>
                    <a:pt x="75" y="534"/>
                  </a:lnTo>
                  <a:lnTo>
                    <a:pt x="72" y="533"/>
                  </a:lnTo>
                  <a:lnTo>
                    <a:pt x="3" y="463"/>
                  </a:lnTo>
                  <a:lnTo>
                    <a:pt x="1" y="460"/>
                  </a:lnTo>
                  <a:lnTo>
                    <a:pt x="0" y="457"/>
                  </a:lnTo>
                  <a:lnTo>
                    <a:pt x="1" y="452"/>
                  </a:lnTo>
                  <a:lnTo>
                    <a:pt x="3" y="449"/>
                  </a:lnTo>
                  <a:lnTo>
                    <a:pt x="185" y="268"/>
                  </a:lnTo>
                  <a:lnTo>
                    <a:pt x="3" y="86"/>
                  </a:lnTo>
                  <a:lnTo>
                    <a:pt x="1" y="83"/>
                  </a:lnTo>
                  <a:lnTo>
                    <a:pt x="0" y="79"/>
                  </a:lnTo>
                  <a:lnTo>
                    <a:pt x="1" y="75"/>
                  </a:lnTo>
                  <a:lnTo>
                    <a:pt x="3" y="72"/>
                  </a:lnTo>
                  <a:lnTo>
                    <a:pt x="72" y="2"/>
                  </a:lnTo>
                  <a:lnTo>
                    <a:pt x="75" y="0"/>
                  </a:lnTo>
                  <a:lnTo>
                    <a:pt x="80" y="0"/>
                  </a:lnTo>
                  <a:lnTo>
                    <a:pt x="83" y="0"/>
                  </a:lnTo>
                  <a:lnTo>
                    <a:pt x="86" y="2"/>
                  </a:lnTo>
                  <a:lnTo>
                    <a:pt x="344" y="260"/>
                  </a:lnTo>
                  <a:lnTo>
                    <a:pt x="347" y="263"/>
                  </a:lnTo>
                  <a:lnTo>
                    <a:pt x="348" y="268"/>
                  </a:lnTo>
                  <a:lnTo>
                    <a:pt x="347" y="271"/>
                  </a:lnTo>
                  <a:lnTo>
                    <a:pt x="344" y="274"/>
                  </a:lnTo>
                  <a:lnTo>
                    <a:pt x="86" y="532"/>
                  </a:lnTo>
                  <a:lnTo>
                    <a:pt x="83" y="534"/>
                  </a:lnTo>
                  <a:lnTo>
                    <a:pt x="80" y="5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2" name="Rectangle 91">
            <a:extLst>
              <a:ext uri="{FF2B5EF4-FFF2-40B4-BE49-F238E27FC236}">
                <a16:creationId xmlns="" xmlns:a16="http://schemas.microsoft.com/office/drawing/2014/main" id="{4A93B636-5ECD-4A08-8DA3-606A41C44A66}"/>
              </a:ext>
            </a:extLst>
          </p:cNvPr>
          <p:cNvSpPr/>
          <p:nvPr/>
        </p:nvSpPr>
        <p:spPr>
          <a:xfrm>
            <a:off x="468336" y="4264049"/>
            <a:ext cx="1653601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bg1"/>
                </a:solidFill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</a:rPr>
              <a:t>dolor</a:t>
            </a:r>
            <a:r>
              <a:rPr lang="en-ID" sz="1400" dirty="0">
                <a:solidFill>
                  <a:schemeClr val="bg1"/>
                </a:solidFill>
              </a:rPr>
              <a:t> sit </a:t>
            </a:r>
            <a:r>
              <a:rPr lang="en-ID" sz="1400" dirty="0" err="1">
                <a:solidFill>
                  <a:schemeClr val="bg1"/>
                </a:solidFill>
              </a:rPr>
              <a:t>amet</a:t>
            </a:r>
            <a:r>
              <a:rPr lang="en-ID" sz="1400" dirty="0">
                <a:solidFill>
                  <a:schemeClr val="bg1"/>
                </a:solidFill>
              </a:rPr>
              <a:t>, </a:t>
            </a:r>
            <a:r>
              <a:rPr lang="en-ID" sz="1400" dirty="0" err="1">
                <a:solidFill>
                  <a:schemeClr val="bg1"/>
                </a:solidFill>
              </a:rPr>
              <a:t>consectetur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adipiscing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elit</a:t>
            </a:r>
            <a:r>
              <a:rPr lang="en-ID" sz="1400" dirty="0">
                <a:solidFill>
                  <a:schemeClr val="bg1"/>
                </a:solidFill>
              </a:rPr>
              <a:t>. </a:t>
            </a:r>
            <a:r>
              <a:rPr lang="en-ID" sz="1400" dirty="0" err="1">
                <a:solidFill>
                  <a:schemeClr val="bg1"/>
                </a:solidFill>
              </a:rPr>
              <a:t>Praesent</a:t>
            </a:r>
            <a:r>
              <a:rPr lang="en-ID" sz="1400" dirty="0">
                <a:solidFill>
                  <a:schemeClr val="bg1"/>
                </a:solidFill>
              </a:rPr>
              <a:t> non lacinia </a:t>
            </a:r>
            <a:r>
              <a:rPr lang="en-ID" sz="1400" dirty="0" err="1">
                <a:solidFill>
                  <a:schemeClr val="bg1"/>
                </a:solidFill>
              </a:rPr>
              <a:t>massa</a:t>
            </a:r>
            <a:r>
              <a:rPr lang="en-ID" sz="1400" dirty="0">
                <a:solidFill>
                  <a:schemeClr val="bg1"/>
                </a:solidFill>
              </a:rPr>
              <a:t>, a pharetra ante. </a:t>
            </a:r>
            <a:r>
              <a:rPr lang="en-ID" sz="1400" dirty="0" err="1">
                <a:solidFill>
                  <a:schemeClr val="bg1"/>
                </a:solidFill>
              </a:rPr>
              <a:t>Nullam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condimentum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vel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diam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sed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tincidunt</a:t>
            </a:r>
            <a:r>
              <a:rPr lang="en-ID" sz="1400" dirty="0">
                <a:solidFill>
                  <a:schemeClr val="bg1"/>
                </a:solidFill>
              </a:rPr>
              <a:t>. </a:t>
            </a:r>
            <a:endParaRPr lang="en-US" sz="1400" dirty="0">
              <a:solidFill>
                <a:schemeClr val="bg1"/>
              </a:solidFill>
              <a:ea typeface="Cambria" panose="02040503050406030204" pitchFamily="18" charset="0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="" xmlns:a16="http://schemas.microsoft.com/office/drawing/2014/main" id="{E609B0B0-526B-4585-A915-9EDB89E160F6}"/>
              </a:ext>
            </a:extLst>
          </p:cNvPr>
          <p:cNvSpPr/>
          <p:nvPr/>
        </p:nvSpPr>
        <p:spPr>
          <a:xfrm>
            <a:off x="2388682" y="4264049"/>
            <a:ext cx="1653601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lo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l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="" xmlns:a16="http://schemas.microsoft.com/office/drawing/2014/main" id="{6649F335-2A95-450B-96F1-BDB49044C571}"/>
              </a:ext>
            </a:extLst>
          </p:cNvPr>
          <p:cNvSpPr/>
          <p:nvPr/>
        </p:nvSpPr>
        <p:spPr>
          <a:xfrm>
            <a:off x="4309027" y="4264049"/>
            <a:ext cx="1653601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bg1"/>
                </a:solidFill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</a:rPr>
              <a:t>dolor</a:t>
            </a:r>
            <a:r>
              <a:rPr lang="en-ID" sz="1400" dirty="0">
                <a:solidFill>
                  <a:schemeClr val="bg1"/>
                </a:solidFill>
              </a:rPr>
              <a:t> sit </a:t>
            </a:r>
            <a:r>
              <a:rPr lang="en-ID" sz="1400" dirty="0" err="1">
                <a:solidFill>
                  <a:schemeClr val="bg1"/>
                </a:solidFill>
              </a:rPr>
              <a:t>amet</a:t>
            </a:r>
            <a:r>
              <a:rPr lang="en-ID" sz="1400" dirty="0">
                <a:solidFill>
                  <a:schemeClr val="bg1"/>
                </a:solidFill>
              </a:rPr>
              <a:t>, </a:t>
            </a:r>
            <a:r>
              <a:rPr lang="en-ID" sz="1400" dirty="0" err="1">
                <a:solidFill>
                  <a:schemeClr val="bg1"/>
                </a:solidFill>
              </a:rPr>
              <a:t>consectetur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adipiscing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elit</a:t>
            </a:r>
            <a:r>
              <a:rPr lang="en-ID" sz="1400" dirty="0">
                <a:solidFill>
                  <a:schemeClr val="bg1"/>
                </a:solidFill>
              </a:rPr>
              <a:t>. </a:t>
            </a:r>
            <a:r>
              <a:rPr lang="en-ID" sz="1400" dirty="0" err="1">
                <a:solidFill>
                  <a:schemeClr val="bg1"/>
                </a:solidFill>
              </a:rPr>
              <a:t>Praesent</a:t>
            </a:r>
            <a:r>
              <a:rPr lang="en-ID" sz="1400" dirty="0">
                <a:solidFill>
                  <a:schemeClr val="bg1"/>
                </a:solidFill>
              </a:rPr>
              <a:t> non lacinia </a:t>
            </a:r>
            <a:r>
              <a:rPr lang="en-ID" sz="1400" dirty="0" err="1">
                <a:solidFill>
                  <a:schemeClr val="bg1"/>
                </a:solidFill>
              </a:rPr>
              <a:t>massa</a:t>
            </a:r>
            <a:r>
              <a:rPr lang="en-ID" sz="1400" dirty="0">
                <a:solidFill>
                  <a:schemeClr val="bg1"/>
                </a:solidFill>
              </a:rPr>
              <a:t>, a pharetra ante. </a:t>
            </a:r>
            <a:r>
              <a:rPr lang="en-ID" sz="1400" dirty="0" err="1">
                <a:solidFill>
                  <a:schemeClr val="bg1"/>
                </a:solidFill>
              </a:rPr>
              <a:t>Nullam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condimentum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vel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diam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sed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tincidunt</a:t>
            </a:r>
            <a:r>
              <a:rPr lang="en-ID" sz="1400" dirty="0">
                <a:solidFill>
                  <a:schemeClr val="bg1"/>
                </a:solidFill>
              </a:rPr>
              <a:t>. </a:t>
            </a:r>
            <a:endParaRPr lang="en-US" sz="1400" dirty="0">
              <a:solidFill>
                <a:schemeClr val="bg1"/>
              </a:solidFill>
              <a:ea typeface="Cambria" panose="02040503050406030204" pitchFamily="18" charset="0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="" xmlns:a16="http://schemas.microsoft.com/office/drawing/2014/main" id="{73C7AECE-7FF1-46B8-B46B-596720DA4D50}"/>
              </a:ext>
            </a:extLst>
          </p:cNvPr>
          <p:cNvSpPr/>
          <p:nvPr/>
        </p:nvSpPr>
        <p:spPr>
          <a:xfrm>
            <a:off x="6229373" y="4264049"/>
            <a:ext cx="1653601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lo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l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="" xmlns:a16="http://schemas.microsoft.com/office/drawing/2014/main" id="{8D770CEC-8359-450D-A004-C1991A28DFB3}"/>
              </a:ext>
            </a:extLst>
          </p:cNvPr>
          <p:cNvSpPr/>
          <p:nvPr/>
        </p:nvSpPr>
        <p:spPr>
          <a:xfrm>
            <a:off x="8149718" y="4264049"/>
            <a:ext cx="1653601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bg1"/>
                </a:solidFill>
              </a:rPr>
              <a:t>Lorem ipsum </a:t>
            </a:r>
            <a:r>
              <a:rPr lang="en-ID" sz="1400" dirty="0" err="1">
                <a:solidFill>
                  <a:schemeClr val="bg1"/>
                </a:solidFill>
              </a:rPr>
              <a:t>dolor</a:t>
            </a:r>
            <a:r>
              <a:rPr lang="en-ID" sz="1400" dirty="0">
                <a:solidFill>
                  <a:schemeClr val="bg1"/>
                </a:solidFill>
              </a:rPr>
              <a:t> sit </a:t>
            </a:r>
            <a:r>
              <a:rPr lang="en-ID" sz="1400" dirty="0" err="1">
                <a:solidFill>
                  <a:schemeClr val="bg1"/>
                </a:solidFill>
              </a:rPr>
              <a:t>amet</a:t>
            </a:r>
            <a:r>
              <a:rPr lang="en-ID" sz="1400" dirty="0">
                <a:solidFill>
                  <a:schemeClr val="bg1"/>
                </a:solidFill>
              </a:rPr>
              <a:t>, </a:t>
            </a:r>
            <a:r>
              <a:rPr lang="en-ID" sz="1400" dirty="0" err="1">
                <a:solidFill>
                  <a:schemeClr val="bg1"/>
                </a:solidFill>
              </a:rPr>
              <a:t>consectetur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adipiscing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elit</a:t>
            </a:r>
            <a:r>
              <a:rPr lang="en-ID" sz="1400" dirty="0">
                <a:solidFill>
                  <a:schemeClr val="bg1"/>
                </a:solidFill>
              </a:rPr>
              <a:t>. </a:t>
            </a:r>
            <a:r>
              <a:rPr lang="en-ID" sz="1400" dirty="0" err="1">
                <a:solidFill>
                  <a:schemeClr val="bg1"/>
                </a:solidFill>
              </a:rPr>
              <a:t>Praesent</a:t>
            </a:r>
            <a:r>
              <a:rPr lang="en-ID" sz="1400" dirty="0">
                <a:solidFill>
                  <a:schemeClr val="bg1"/>
                </a:solidFill>
              </a:rPr>
              <a:t> non lacinia </a:t>
            </a:r>
            <a:r>
              <a:rPr lang="en-ID" sz="1400" dirty="0" err="1">
                <a:solidFill>
                  <a:schemeClr val="bg1"/>
                </a:solidFill>
              </a:rPr>
              <a:t>massa</a:t>
            </a:r>
            <a:r>
              <a:rPr lang="en-ID" sz="1400" dirty="0">
                <a:solidFill>
                  <a:schemeClr val="bg1"/>
                </a:solidFill>
              </a:rPr>
              <a:t>, a pharetra ante. </a:t>
            </a:r>
            <a:r>
              <a:rPr lang="en-ID" sz="1400" dirty="0" err="1">
                <a:solidFill>
                  <a:schemeClr val="bg1"/>
                </a:solidFill>
              </a:rPr>
              <a:t>Nullam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condimentum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vel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diam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sed</a:t>
            </a:r>
            <a:r>
              <a:rPr lang="en-ID" sz="1400" dirty="0">
                <a:solidFill>
                  <a:schemeClr val="bg1"/>
                </a:solidFill>
              </a:rPr>
              <a:t> </a:t>
            </a:r>
            <a:r>
              <a:rPr lang="en-ID" sz="1400" dirty="0" err="1">
                <a:solidFill>
                  <a:schemeClr val="bg1"/>
                </a:solidFill>
              </a:rPr>
              <a:t>tincidunt</a:t>
            </a:r>
            <a:r>
              <a:rPr lang="en-ID" sz="1400" dirty="0">
                <a:solidFill>
                  <a:schemeClr val="bg1"/>
                </a:solidFill>
              </a:rPr>
              <a:t>. </a:t>
            </a:r>
            <a:endParaRPr lang="en-US" sz="1400" dirty="0">
              <a:solidFill>
                <a:schemeClr val="bg1"/>
              </a:solidFill>
              <a:ea typeface="Cambria" panose="02040503050406030204" pitchFamily="18" charset="0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="" xmlns:a16="http://schemas.microsoft.com/office/drawing/2014/main" id="{5D88A490-B45E-4342-9582-7E502BC4C3EA}"/>
              </a:ext>
            </a:extLst>
          </p:cNvPr>
          <p:cNvSpPr/>
          <p:nvPr/>
        </p:nvSpPr>
        <p:spPr>
          <a:xfrm>
            <a:off x="10070065" y="4264049"/>
            <a:ext cx="1653601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lo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l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="" xmlns:a16="http://schemas.microsoft.com/office/drawing/2014/main" id="{93156D79-93A9-4DFF-B823-590FF6DA07BD}"/>
              </a:ext>
            </a:extLst>
          </p:cNvPr>
          <p:cNvGrpSpPr/>
          <p:nvPr/>
        </p:nvGrpSpPr>
        <p:grpSpPr>
          <a:xfrm>
            <a:off x="997365" y="2368957"/>
            <a:ext cx="595542" cy="595542"/>
            <a:chOff x="9317038" y="769938"/>
            <a:chExt cx="287338" cy="287337"/>
          </a:xfrm>
          <a:solidFill>
            <a:schemeClr val="bg1"/>
          </a:solidFill>
        </p:grpSpPr>
        <p:sp>
          <p:nvSpPr>
            <p:cNvPr id="101" name="Freeform 317">
              <a:extLst>
                <a:ext uri="{FF2B5EF4-FFF2-40B4-BE49-F238E27FC236}">
                  <a16:creationId xmlns="" xmlns:a16="http://schemas.microsoft.com/office/drawing/2014/main" id="{211D5822-01B3-4EB7-890B-755ACFC7A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9509126" y="769938"/>
              <a:ext cx="33338" cy="52387"/>
            </a:xfrm>
            <a:custGeom>
              <a:avLst/>
              <a:gdLst>
                <a:gd name="T0" fmla="*/ 18 w 106"/>
                <a:gd name="T1" fmla="*/ 165 h 166"/>
                <a:gd name="T2" fmla="*/ 24 w 106"/>
                <a:gd name="T3" fmla="*/ 163 h 166"/>
                <a:gd name="T4" fmla="*/ 28 w 106"/>
                <a:gd name="T5" fmla="*/ 159 h 166"/>
                <a:gd name="T6" fmla="*/ 30 w 106"/>
                <a:gd name="T7" fmla="*/ 154 h 166"/>
                <a:gd name="T8" fmla="*/ 31 w 106"/>
                <a:gd name="T9" fmla="*/ 142 h 166"/>
                <a:gd name="T10" fmla="*/ 36 w 106"/>
                <a:gd name="T11" fmla="*/ 127 h 166"/>
                <a:gd name="T12" fmla="*/ 42 w 106"/>
                <a:gd name="T13" fmla="*/ 117 h 166"/>
                <a:gd name="T14" fmla="*/ 53 w 106"/>
                <a:gd name="T15" fmla="*/ 108 h 166"/>
                <a:gd name="T16" fmla="*/ 67 w 106"/>
                <a:gd name="T17" fmla="*/ 100 h 166"/>
                <a:gd name="T18" fmla="*/ 83 w 106"/>
                <a:gd name="T19" fmla="*/ 86 h 166"/>
                <a:gd name="T20" fmla="*/ 94 w 106"/>
                <a:gd name="T21" fmla="*/ 72 h 166"/>
                <a:gd name="T22" fmla="*/ 99 w 106"/>
                <a:gd name="T23" fmla="*/ 59 h 166"/>
                <a:gd name="T24" fmla="*/ 103 w 106"/>
                <a:gd name="T25" fmla="*/ 44 h 166"/>
                <a:gd name="T26" fmla="*/ 105 w 106"/>
                <a:gd name="T27" fmla="*/ 26 h 166"/>
                <a:gd name="T28" fmla="*/ 105 w 106"/>
                <a:gd name="T29" fmla="*/ 12 h 166"/>
                <a:gd name="T30" fmla="*/ 103 w 106"/>
                <a:gd name="T31" fmla="*/ 7 h 166"/>
                <a:gd name="T32" fmla="*/ 100 w 106"/>
                <a:gd name="T33" fmla="*/ 3 h 166"/>
                <a:gd name="T34" fmla="*/ 94 w 106"/>
                <a:gd name="T35" fmla="*/ 1 h 166"/>
                <a:gd name="T36" fmla="*/ 88 w 106"/>
                <a:gd name="T37" fmla="*/ 1 h 166"/>
                <a:gd name="T38" fmla="*/ 83 w 106"/>
                <a:gd name="T39" fmla="*/ 3 h 166"/>
                <a:gd name="T40" fmla="*/ 78 w 106"/>
                <a:gd name="T41" fmla="*/ 7 h 166"/>
                <a:gd name="T42" fmla="*/ 76 w 106"/>
                <a:gd name="T43" fmla="*/ 12 h 166"/>
                <a:gd name="T44" fmla="*/ 75 w 106"/>
                <a:gd name="T45" fmla="*/ 30 h 166"/>
                <a:gd name="T46" fmla="*/ 70 w 106"/>
                <a:gd name="T47" fmla="*/ 51 h 166"/>
                <a:gd name="T48" fmla="*/ 61 w 106"/>
                <a:gd name="T49" fmla="*/ 66 h 166"/>
                <a:gd name="T50" fmla="*/ 48 w 106"/>
                <a:gd name="T51" fmla="*/ 75 h 166"/>
                <a:gd name="T52" fmla="*/ 35 w 106"/>
                <a:gd name="T53" fmla="*/ 85 h 166"/>
                <a:gd name="T54" fmla="*/ 21 w 106"/>
                <a:gd name="T55" fmla="*/ 96 h 166"/>
                <a:gd name="T56" fmla="*/ 9 w 106"/>
                <a:gd name="T57" fmla="*/ 113 h 166"/>
                <a:gd name="T58" fmla="*/ 1 w 106"/>
                <a:gd name="T59" fmla="*/ 135 h 166"/>
                <a:gd name="T60" fmla="*/ 1 w 106"/>
                <a:gd name="T61" fmla="*/ 154 h 166"/>
                <a:gd name="T62" fmla="*/ 3 w 106"/>
                <a:gd name="T63" fmla="*/ 159 h 166"/>
                <a:gd name="T64" fmla="*/ 8 w 106"/>
                <a:gd name="T65" fmla="*/ 163 h 166"/>
                <a:gd name="T66" fmla="*/ 13 w 106"/>
                <a:gd name="T67" fmla="*/ 16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" h="166">
                  <a:moveTo>
                    <a:pt x="15" y="166"/>
                  </a:moveTo>
                  <a:lnTo>
                    <a:pt x="18" y="165"/>
                  </a:lnTo>
                  <a:lnTo>
                    <a:pt x="22" y="165"/>
                  </a:lnTo>
                  <a:lnTo>
                    <a:pt x="24" y="163"/>
                  </a:lnTo>
                  <a:lnTo>
                    <a:pt x="26" y="162"/>
                  </a:lnTo>
                  <a:lnTo>
                    <a:pt x="28" y="159"/>
                  </a:lnTo>
                  <a:lnTo>
                    <a:pt x="29" y="157"/>
                  </a:lnTo>
                  <a:lnTo>
                    <a:pt x="30" y="154"/>
                  </a:lnTo>
                  <a:lnTo>
                    <a:pt x="31" y="151"/>
                  </a:lnTo>
                  <a:lnTo>
                    <a:pt x="31" y="142"/>
                  </a:lnTo>
                  <a:lnTo>
                    <a:pt x="32" y="133"/>
                  </a:lnTo>
                  <a:lnTo>
                    <a:pt x="36" y="127"/>
                  </a:lnTo>
                  <a:lnTo>
                    <a:pt x="39" y="121"/>
                  </a:lnTo>
                  <a:lnTo>
                    <a:pt x="42" y="117"/>
                  </a:lnTo>
                  <a:lnTo>
                    <a:pt x="47" y="113"/>
                  </a:lnTo>
                  <a:lnTo>
                    <a:pt x="53" y="108"/>
                  </a:lnTo>
                  <a:lnTo>
                    <a:pt x="58" y="105"/>
                  </a:lnTo>
                  <a:lnTo>
                    <a:pt x="67" y="100"/>
                  </a:lnTo>
                  <a:lnTo>
                    <a:pt x="75" y="93"/>
                  </a:lnTo>
                  <a:lnTo>
                    <a:pt x="83" y="86"/>
                  </a:lnTo>
                  <a:lnTo>
                    <a:pt x="90" y="76"/>
                  </a:lnTo>
                  <a:lnTo>
                    <a:pt x="94" y="72"/>
                  </a:lnTo>
                  <a:lnTo>
                    <a:pt x="97" y="66"/>
                  </a:lnTo>
                  <a:lnTo>
                    <a:pt x="99" y="59"/>
                  </a:lnTo>
                  <a:lnTo>
                    <a:pt x="102" y="52"/>
                  </a:lnTo>
                  <a:lnTo>
                    <a:pt x="103" y="44"/>
                  </a:lnTo>
                  <a:lnTo>
                    <a:pt x="105" y="36"/>
                  </a:lnTo>
                  <a:lnTo>
                    <a:pt x="105" y="26"/>
                  </a:lnTo>
                  <a:lnTo>
                    <a:pt x="106" y="15"/>
                  </a:lnTo>
                  <a:lnTo>
                    <a:pt x="105" y="12"/>
                  </a:lnTo>
                  <a:lnTo>
                    <a:pt x="105" y="10"/>
                  </a:lnTo>
                  <a:lnTo>
                    <a:pt x="103" y="7"/>
                  </a:lnTo>
                  <a:lnTo>
                    <a:pt x="102" y="4"/>
                  </a:lnTo>
                  <a:lnTo>
                    <a:pt x="100" y="3"/>
                  </a:lnTo>
                  <a:lnTo>
                    <a:pt x="97" y="1"/>
                  </a:lnTo>
                  <a:lnTo>
                    <a:pt x="94" y="1"/>
                  </a:lnTo>
                  <a:lnTo>
                    <a:pt x="91" y="0"/>
                  </a:lnTo>
                  <a:lnTo>
                    <a:pt x="88" y="1"/>
                  </a:lnTo>
                  <a:lnTo>
                    <a:pt x="85" y="1"/>
                  </a:lnTo>
                  <a:lnTo>
                    <a:pt x="83" y="3"/>
                  </a:lnTo>
                  <a:lnTo>
                    <a:pt x="81" y="4"/>
                  </a:lnTo>
                  <a:lnTo>
                    <a:pt x="78" y="7"/>
                  </a:lnTo>
                  <a:lnTo>
                    <a:pt x="77" y="10"/>
                  </a:lnTo>
                  <a:lnTo>
                    <a:pt x="76" y="12"/>
                  </a:lnTo>
                  <a:lnTo>
                    <a:pt x="76" y="15"/>
                  </a:lnTo>
                  <a:lnTo>
                    <a:pt x="75" y="30"/>
                  </a:lnTo>
                  <a:lnTo>
                    <a:pt x="73" y="42"/>
                  </a:lnTo>
                  <a:lnTo>
                    <a:pt x="70" y="51"/>
                  </a:lnTo>
                  <a:lnTo>
                    <a:pt x="66" y="59"/>
                  </a:lnTo>
                  <a:lnTo>
                    <a:pt x="61" y="66"/>
                  </a:lnTo>
                  <a:lnTo>
                    <a:pt x="55" y="70"/>
                  </a:lnTo>
                  <a:lnTo>
                    <a:pt x="48" y="75"/>
                  </a:lnTo>
                  <a:lnTo>
                    <a:pt x="42" y="80"/>
                  </a:lnTo>
                  <a:lnTo>
                    <a:pt x="35" y="85"/>
                  </a:lnTo>
                  <a:lnTo>
                    <a:pt x="28" y="90"/>
                  </a:lnTo>
                  <a:lnTo>
                    <a:pt x="21" y="96"/>
                  </a:lnTo>
                  <a:lnTo>
                    <a:pt x="14" y="103"/>
                  </a:lnTo>
                  <a:lnTo>
                    <a:pt x="9" y="113"/>
                  </a:lnTo>
                  <a:lnTo>
                    <a:pt x="4" y="124"/>
                  </a:lnTo>
                  <a:lnTo>
                    <a:pt x="1" y="135"/>
                  </a:lnTo>
                  <a:lnTo>
                    <a:pt x="0" y="151"/>
                  </a:lnTo>
                  <a:lnTo>
                    <a:pt x="1" y="154"/>
                  </a:lnTo>
                  <a:lnTo>
                    <a:pt x="2" y="157"/>
                  </a:lnTo>
                  <a:lnTo>
                    <a:pt x="3" y="159"/>
                  </a:lnTo>
                  <a:lnTo>
                    <a:pt x="6" y="162"/>
                  </a:lnTo>
                  <a:lnTo>
                    <a:pt x="8" y="163"/>
                  </a:lnTo>
                  <a:lnTo>
                    <a:pt x="10" y="165"/>
                  </a:lnTo>
                  <a:lnTo>
                    <a:pt x="13" y="165"/>
                  </a:lnTo>
                  <a:lnTo>
                    <a:pt x="15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318">
              <a:extLst>
                <a:ext uri="{FF2B5EF4-FFF2-40B4-BE49-F238E27FC236}">
                  <a16:creationId xmlns="" xmlns:a16="http://schemas.microsoft.com/office/drawing/2014/main" id="{91615979-6C14-48DE-9DB6-1CB06B9D5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7701" y="769938"/>
              <a:ext cx="33338" cy="52387"/>
            </a:xfrm>
            <a:custGeom>
              <a:avLst/>
              <a:gdLst>
                <a:gd name="T0" fmla="*/ 19 w 105"/>
                <a:gd name="T1" fmla="*/ 165 h 166"/>
                <a:gd name="T2" fmla="*/ 24 w 105"/>
                <a:gd name="T3" fmla="*/ 163 h 166"/>
                <a:gd name="T4" fmla="*/ 27 w 105"/>
                <a:gd name="T5" fmla="*/ 159 h 166"/>
                <a:gd name="T6" fmla="*/ 29 w 105"/>
                <a:gd name="T7" fmla="*/ 154 h 166"/>
                <a:gd name="T8" fmla="*/ 30 w 105"/>
                <a:gd name="T9" fmla="*/ 142 h 166"/>
                <a:gd name="T10" fmla="*/ 35 w 105"/>
                <a:gd name="T11" fmla="*/ 127 h 166"/>
                <a:gd name="T12" fmla="*/ 42 w 105"/>
                <a:gd name="T13" fmla="*/ 117 h 166"/>
                <a:gd name="T14" fmla="*/ 52 w 105"/>
                <a:gd name="T15" fmla="*/ 108 h 166"/>
                <a:gd name="T16" fmla="*/ 66 w 105"/>
                <a:gd name="T17" fmla="*/ 100 h 166"/>
                <a:gd name="T18" fmla="*/ 82 w 105"/>
                <a:gd name="T19" fmla="*/ 86 h 166"/>
                <a:gd name="T20" fmla="*/ 93 w 105"/>
                <a:gd name="T21" fmla="*/ 72 h 166"/>
                <a:gd name="T22" fmla="*/ 99 w 105"/>
                <a:gd name="T23" fmla="*/ 59 h 166"/>
                <a:gd name="T24" fmla="*/ 103 w 105"/>
                <a:gd name="T25" fmla="*/ 44 h 166"/>
                <a:gd name="T26" fmla="*/ 105 w 105"/>
                <a:gd name="T27" fmla="*/ 26 h 166"/>
                <a:gd name="T28" fmla="*/ 105 w 105"/>
                <a:gd name="T29" fmla="*/ 12 h 166"/>
                <a:gd name="T30" fmla="*/ 103 w 105"/>
                <a:gd name="T31" fmla="*/ 7 h 166"/>
                <a:gd name="T32" fmla="*/ 99 w 105"/>
                <a:gd name="T33" fmla="*/ 3 h 166"/>
                <a:gd name="T34" fmla="*/ 94 w 105"/>
                <a:gd name="T35" fmla="*/ 1 h 166"/>
                <a:gd name="T36" fmla="*/ 87 w 105"/>
                <a:gd name="T37" fmla="*/ 1 h 166"/>
                <a:gd name="T38" fmla="*/ 82 w 105"/>
                <a:gd name="T39" fmla="*/ 3 h 166"/>
                <a:gd name="T40" fmla="*/ 78 w 105"/>
                <a:gd name="T41" fmla="*/ 7 h 166"/>
                <a:gd name="T42" fmla="*/ 75 w 105"/>
                <a:gd name="T43" fmla="*/ 12 h 166"/>
                <a:gd name="T44" fmla="*/ 74 w 105"/>
                <a:gd name="T45" fmla="*/ 30 h 166"/>
                <a:gd name="T46" fmla="*/ 69 w 105"/>
                <a:gd name="T47" fmla="*/ 51 h 166"/>
                <a:gd name="T48" fmla="*/ 60 w 105"/>
                <a:gd name="T49" fmla="*/ 66 h 166"/>
                <a:gd name="T50" fmla="*/ 49 w 105"/>
                <a:gd name="T51" fmla="*/ 75 h 166"/>
                <a:gd name="T52" fmla="*/ 35 w 105"/>
                <a:gd name="T53" fmla="*/ 85 h 166"/>
                <a:gd name="T54" fmla="*/ 20 w 105"/>
                <a:gd name="T55" fmla="*/ 96 h 166"/>
                <a:gd name="T56" fmla="*/ 8 w 105"/>
                <a:gd name="T57" fmla="*/ 113 h 166"/>
                <a:gd name="T58" fmla="*/ 1 w 105"/>
                <a:gd name="T59" fmla="*/ 135 h 166"/>
                <a:gd name="T60" fmla="*/ 0 w 105"/>
                <a:gd name="T61" fmla="*/ 154 h 166"/>
                <a:gd name="T62" fmla="*/ 3 w 105"/>
                <a:gd name="T63" fmla="*/ 159 h 166"/>
                <a:gd name="T64" fmla="*/ 7 w 105"/>
                <a:gd name="T65" fmla="*/ 163 h 166"/>
                <a:gd name="T66" fmla="*/ 12 w 105"/>
                <a:gd name="T67" fmla="*/ 16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" h="166">
                  <a:moveTo>
                    <a:pt x="15" y="166"/>
                  </a:moveTo>
                  <a:lnTo>
                    <a:pt x="19" y="165"/>
                  </a:lnTo>
                  <a:lnTo>
                    <a:pt x="21" y="165"/>
                  </a:lnTo>
                  <a:lnTo>
                    <a:pt x="24" y="163"/>
                  </a:lnTo>
                  <a:lnTo>
                    <a:pt x="26" y="162"/>
                  </a:lnTo>
                  <a:lnTo>
                    <a:pt x="27" y="159"/>
                  </a:lnTo>
                  <a:lnTo>
                    <a:pt x="29" y="157"/>
                  </a:lnTo>
                  <a:lnTo>
                    <a:pt x="29" y="154"/>
                  </a:lnTo>
                  <a:lnTo>
                    <a:pt x="30" y="151"/>
                  </a:lnTo>
                  <a:lnTo>
                    <a:pt x="30" y="142"/>
                  </a:lnTo>
                  <a:lnTo>
                    <a:pt x="33" y="133"/>
                  </a:lnTo>
                  <a:lnTo>
                    <a:pt x="35" y="127"/>
                  </a:lnTo>
                  <a:lnTo>
                    <a:pt x="38" y="121"/>
                  </a:lnTo>
                  <a:lnTo>
                    <a:pt x="42" y="117"/>
                  </a:lnTo>
                  <a:lnTo>
                    <a:pt x="46" y="113"/>
                  </a:lnTo>
                  <a:lnTo>
                    <a:pt x="52" y="108"/>
                  </a:lnTo>
                  <a:lnTo>
                    <a:pt x="58" y="105"/>
                  </a:lnTo>
                  <a:lnTo>
                    <a:pt x="66" y="100"/>
                  </a:lnTo>
                  <a:lnTo>
                    <a:pt x="74" y="93"/>
                  </a:lnTo>
                  <a:lnTo>
                    <a:pt x="82" y="86"/>
                  </a:lnTo>
                  <a:lnTo>
                    <a:pt x="89" y="76"/>
                  </a:lnTo>
                  <a:lnTo>
                    <a:pt x="93" y="72"/>
                  </a:lnTo>
                  <a:lnTo>
                    <a:pt x="96" y="66"/>
                  </a:lnTo>
                  <a:lnTo>
                    <a:pt x="99" y="59"/>
                  </a:lnTo>
                  <a:lnTo>
                    <a:pt x="101" y="52"/>
                  </a:lnTo>
                  <a:lnTo>
                    <a:pt x="103" y="44"/>
                  </a:lnTo>
                  <a:lnTo>
                    <a:pt x="104" y="36"/>
                  </a:lnTo>
                  <a:lnTo>
                    <a:pt x="105" y="26"/>
                  </a:lnTo>
                  <a:lnTo>
                    <a:pt x="105" y="15"/>
                  </a:lnTo>
                  <a:lnTo>
                    <a:pt x="105" y="12"/>
                  </a:lnTo>
                  <a:lnTo>
                    <a:pt x="104" y="10"/>
                  </a:lnTo>
                  <a:lnTo>
                    <a:pt x="103" y="7"/>
                  </a:lnTo>
                  <a:lnTo>
                    <a:pt x="101" y="4"/>
                  </a:lnTo>
                  <a:lnTo>
                    <a:pt x="99" y="3"/>
                  </a:lnTo>
                  <a:lnTo>
                    <a:pt x="96" y="1"/>
                  </a:lnTo>
                  <a:lnTo>
                    <a:pt x="94" y="1"/>
                  </a:lnTo>
                  <a:lnTo>
                    <a:pt x="90" y="0"/>
                  </a:lnTo>
                  <a:lnTo>
                    <a:pt x="87" y="1"/>
                  </a:lnTo>
                  <a:lnTo>
                    <a:pt x="84" y="1"/>
                  </a:lnTo>
                  <a:lnTo>
                    <a:pt x="82" y="3"/>
                  </a:lnTo>
                  <a:lnTo>
                    <a:pt x="80" y="4"/>
                  </a:lnTo>
                  <a:lnTo>
                    <a:pt x="78" y="7"/>
                  </a:lnTo>
                  <a:lnTo>
                    <a:pt x="77" y="10"/>
                  </a:lnTo>
                  <a:lnTo>
                    <a:pt x="75" y="12"/>
                  </a:lnTo>
                  <a:lnTo>
                    <a:pt x="75" y="15"/>
                  </a:lnTo>
                  <a:lnTo>
                    <a:pt x="74" y="30"/>
                  </a:lnTo>
                  <a:lnTo>
                    <a:pt x="72" y="42"/>
                  </a:lnTo>
                  <a:lnTo>
                    <a:pt x="69" y="51"/>
                  </a:lnTo>
                  <a:lnTo>
                    <a:pt x="66" y="59"/>
                  </a:lnTo>
                  <a:lnTo>
                    <a:pt x="60" y="66"/>
                  </a:lnTo>
                  <a:lnTo>
                    <a:pt x="55" y="70"/>
                  </a:lnTo>
                  <a:lnTo>
                    <a:pt x="49" y="75"/>
                  </a:lnTo>
                  <a:lnTo>
                    <a:pt x="41" y="80"/>
                  </a:lnTo>
                  <a:lnTo>
                    <a:pt x="35" y="85"/>
                  </a:lnTo>
                  <a:lnTo>
                    <a:pt x="27" y="90"/>
                  </a:lnTo>
                  <a:lnTo>
                    <a:pt x="20" y="96"/>
                  </a:lnTo>
                  <a:lnTo>
                    <a:pt x="13" y="103"/>
                  </a:lnTo>
                  <a:lnTo>
                    <a:pt x="8" y="113"/>
                  </a:lnTo>
                  <a:lnTo>
                    <a:pt x="4" y="124"/>
                  </a:lnTo>
                  <a:lnTo>
                    <a:pt x="1" y="135"/>
                  </a:lnTo>
                  <a:lnTo>
                    <a:pt x="0" y="151"/>
                  </a:lnTo>
                  <a:lnTo>
                    <a:pt x="0" y="154"/>
                  </a:lnTo>
                  <a:lnTo>
                    <a:pt x="1" y="157"/>
                  </a:lnTo>
                  <a:lnTo>
                    <a:pt x="3" y="159"/>
                  </a:lnTo>
                  <a:lnTo>
                    <a:pt x="5" y="162"/>
                  </a:lnTo>
                  <a:lnTo>
                    <a:pt x="7" y="163"/>
                  </a:lnTo>
                  <a:lnTo>
                    <a:pt x="9" y="165"/>
                  </a:lnTo>
                  <a:lnTo>
                    <a:pt x="12" y="165"/>
                  </a:lnTo>
                  <a:lnTo>
                    <a:pt x="15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319">
              <a:extLst>
                <a:ext uri="{FF2B5EF4-FFF2-40B4-BE49-F238E27FC236}">
                  <a16:creationId xmlns="" xmlns:a16="http://schemas.microsoft.com/office/drawing/2014/main" id="{75F54E94-0BED-4824-B595-5812666CF18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5138" y="931863"/>
              <a:ext cx="211138" cy="125412"/>
            </a:xfrm>
            <a:custGeom>
              <a:avLst/>
              <a:gdLst>
                <a:gd name="T0" fmla="*/ 647 w 662"/>
                <a:gd name="T1" fmla="*/ 0 h 392"/>
                <a:gd name="T2" fmla="*/ 644 w 662"/>
                <a:gd name="T3" fmla="*/ 1 h 392"/>
                <a:gd name="T4" fmla="*/ 641 w 662"/>
                <a:gd name="T5" fmla="*/ 2 h 392"/>
                <a:gd name="T6" fmla="*/ 639 w 662"/>
                <a:gd name="T7" fmla="*/ 3 h 392"/>
                <a:gd name="T8" fmla="*/ 637 w 662"/>
                <a:gd name="T9" fmla="*/ 5 h 392"/>
                <a:gd name="T10" fmla="*/ 635 w 662"/>
                <a:gd name="T11" fmla="*/ 7 h 392"/>
                <a:gd name="T12" fmla="*/ 633 w 662"/>
                <a:gd name="T13" fmla="*/ 10 h 392"/>
                <a:gd name="T14" fmla="*/ 632 w 662"/>
                <a:gd name="T15" fmla="*/ 13 h 392"/>
                <a:gd name="T16" fmla="*/ 632 w 662"/>
                <a:gd name="T17" fmla="*/ 16 h 392"/>
                <a:gd name="T18" fmla="*/ 632 w 662"/>
                <a:gd name="T19" fmla="*/ 361 h 392"/>
                <a:gd name="T20" fmla="*/ 451 w 662"/>
                <a:gd name="T21" fmla="*/ 361 h 392"/>
                <a:gd name="T22" fmla="*/ 451 w 662"/>
                <a:gd name="T23" fmla="*/ 91 h 392"/>
                <a:gd name="T24" fmla="*/ 211 w 662"/>
                <a:gd name="T25" fmla="*/ 91 h 392"/>
                <a:gd name="T26" fmla="*/ 211 w 662"/>
                <a:gd name="T27" fmla="*/ 361 h 392"/>
                <a:gd name="T28" fmla="*/ 30 w 662"/>
                <a:gd name="T29" fmla="*/ 361 h 392"/>
                <a:gd name="T30" fmla="*/ 30 w 662"/>
                <a:gd name="T31" fmla="*/ 15 h 392"/>
                <a:gd name="T32" fmla="*/ 30 w 662"/>
                <a:gd name="T33" fmla="*/ 13 h 392"/>
                <a:gd name="T34" fmla="*/ 29 w 662"/>
                <a:gd name="T35" fmla="*/ 10 h 392"/>
                <a:gd name="T36" fmla="*/ 28 w 662"/>
                <a:gd name="T37" fmla="*/ 7 h 392"/>
                <a:gd name="T38" fmla="*/ 25 w 662"/>
                <a:gd name="T39" fmla="*/ 5 h 392"/>
                <a:gd name="T40" fmla="*/ 23 w 662"/>
                <a:gd name="T41" fmla="*/ 3 h 392"/>
                <a:gd name="T42" fmla="*/ 21 w 662"/>
                <a:gd name="T43" fmla="*/ 2 h 392"/>
                <a:gd name="T44" fmla="*/ 18 w 662"/>
                <a:gd name="T45" fmla="*/ 1 h 392"/>
                <a:gd name="T46" fmla="*/ 15 w 662"/>
                <a:gd name="T47" fmla="*/ 0 h 392"/>
                <a:gd name="T48" fmla="*/ 13 w 662"/>
                <a:gd name="T49" fmla="*/ 1 h 392"/>
                <a:gd name="T50" fmla="*/ 9 w 662"/>
                <a:gd name="T51" fmla="*/ 2 h 392"/>
                <a:gd name="T52" fmla="*/ 7 w 662"/>
                <a:gd name="T53" fmla="*/ 3 h 392"/>
                <a:gd name="T54" fmla="*/ 4 w 662"/>
                <a:gd name="T55" fmla="*/ 5 h 392"/>
                <a:gd name="T56" fmla="*/ 3 w 662"/>
                <a:gd name="T57" fmla="*/ 7 h 392"/>
                <a:gd name="T58" fmla="*/ 1 w 662"/>
                <a:gd name="T59" fmla="*/ 10 h 392"/>
                <a:gd name="T60" fmla="*/ 1 w 662"/>
                <a:gd name="T61" fmla="*/ 13 h 392"/>
                <a:gd name="T62" fmla="*/ 0 w 662"/>
                <a:gd name="T63" fmla="*/ 16 h 392"/>
                <a:gd name="T64" fmla="*/ 0 w 662"/>
                <a:gd name="T65" fmla="*/ 392 h 392"/>
                <a:gd name="T66" fmla="*/ 241 w 662"/>
                <a:gd name="T67" fmla="*/ 392 h 392"/>
                <a:gd name="T68" fmla="*/ 241 w 662"/>
                <a:gd name="T69" fmla="*/ 121 h 392"/>
                <a:gd name="T70" fmla="*/ 421 w 662"/>
                <a:gd name="T71" fmla="*/ 121 h 392"/>
                <a:gd name="T72" fmla="*/ 421 w 662"/>
                <a:gd name="T73" fmla="*/ 392 h 392"/>
                <a:gd name="T74" fmla="*/ 662 w 662"/>
                <a:gd name="T75" fmla="*/ 392 h 392"/>
                <a:gd name="T76" fmla="*/ 662 w 662"/>
                <a:gd name="T77" fmla="*/ 15 h 392"/>
                <a:gd name="T78" fmla="*/ 662 w 662"/>
                <a:gd name="T79" fmla="*/ 13 h 392"/>
                <a:gd name="T80" fmla="*/ 661 w 662"/>
                <a:gd name="T81" fmla="*/ 10 h 392"/>
                <a:gd name="T82" fmla="*/ 659 w 662"/>
                <a:gd name="T83" fmla="*/ 7 h 392"/>
                <a:gd name="T84" fmla="*/ 658 w 662"/>
                <a:gd name="T85" fmla="*/ 5 h 392"/>
                <a:gd name="T86" fmla="*/ 656 w 662"/>
                <a:gd name="T87" fmla="*/ 3 h 392"/>
                <a:gd name="T88" fmla="*/ 653 w 662"/>
                <a:gd name="T89" fmla="*/ 2 h 392"/>
                <a:gd name="T90" fmla="*/ 651 w 662"/>
                <a:gd name="T91" fmla="*/ 1 h 392"/>
                <a:gd name="T92" fmla="*/ 647 w 662"/>
                <a:gd name="T93" fmla="*/ 0 h 392"/>
                <a:gd name="T94" fmla="*/ 647 w 662"/>
                <a:gd name="T95" fmla="*/ 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62" h="392">
                  <a:moveTo>
                    <a:pt x="647" y="0"/>
                  </a:moveTo>
                  <a:lnTo>
                    <a:pt x="644" y="1"/>
                  </a:lnTo>
                  <a:lnTo>
                    <a:pt x="641" y="2"/>
                  </a:lnTo>
                  <a:lnTo>
                    <a:pt x="639" y="3"/>
                  </a:lnTo>
                  <a:lnTo>
                    <a:pt x="637" y="5"/>
                  </a:lnTo>
                  <a:lnTo>
                    <a:pt x="635" y="7"/>
                  </a:lnTo>
                  <a:lnTo>
                    <a:pt x="633" y="10"/>
                  </a:lnTo>
                  <a:lnTo>
                    <a:pt x="632" y="13"/>
                  </a:lnTo>
                  <a:lnTo>
                    <a:pt x="632" y="16"/>
                  </a:lnTo>
                  <a:lnTo>
                    <a:pt x="632" y="361"/>
                  </a:lnTo>
                  <a:lnTo>
                    <a:pt x="451" y="361"/>
                  </a:lnTo>
                  <a:lnTo>
                    <a:pt x="451" y="91"/>
                  </a:lnTo>
                  <a:lnTo>
                    <a:pt x="211" y="91"/>
                  </a:lnTo>
                  <a:lnTo>
                    <a:pt x="211" y="361"/>
                  </a:lnTo>
                  <a:lnTo>
                    <a:pt x="30" y="361"/>
                  </a:lnTo>
                  <a:lnTo>
                    <a:pt x="30" y="15"/>
                  </a:lnTo>
                  <a:lnTo>
                    <a:pt x="30" y="13"/>
                  </a:lnTo>
                  <a:lnTo>
                    <a:pt x="29" y="10"/>
                  </a:lnTo>
                  <a:lnTo>
                    <a:pt x="28" y="7"/>
                  </a:lnTo>
                  <a:lnTo>
                    <a:pt x="25" y="5"/>
                  </a:lnTo>
                  <a:lnTo>
                    <a:pt x="23" y="3"/>
                  </a:lnTo>
                  <a:lnTo>
                    <a:pt x="21" y="2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3" y="1"/>
                  </a:lnTo>
                  <a:lnTo>
                    <a:pt x="9" y="2"/>
                  </a:lnTo>
                  <a:lnTo>
                    <a:pt x="7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3"/>
                  </a:lnTo>
                  <a:lnTo>
                    <a:pt x="0" y="16"/>
                  </a:lnTo>
                  <a:lnTo>
                    <a:pt x="0" y="392"/>
                  </a:lnTo>
                  <a:lnTo>
                    <a:pt x="241" y="392"/>
                  </a:lnTo>
                  <a:lnTo>
                    <a:pt x="241" y="121"/>
                  </a:lnTo>
                  <a:lnTo>
                    <a:pt x="421" y="121"/>
                  </a:lnTo>
                  <a:lnTo>
                    <a:pt x="421" y="392"/>
                  </a:lnTo>
                  <a:lnTo>
                    <a:pt x="662" y="392"/>
                  </a:lnTo>
                  <a:lnTo>
                    <a:pt x="662" y="15"/>
                  </a:lnTo>
                  <a:lnTo>
                    <a:pt x="662" y="13"/>
                  </a:lnTo>
                  <a:lnTo>
                    <a:pt x="661" y="10"/>
                  </a:lnTo>
                  <a:lnTo>
                    <a:pt x="659" y="7"/>
                  </a:lnTo>
                  <a:lnTo>
                    <a:pt x="658" y="5"/>
                  </a:lnTo>
                  <a:lnTo>
                    <a:pt x="656" y="3"/>
                  </a:lnTo>
                  <a:lnTo>
                    <a:pt x="653" y="2"/>
                  </a:lnTo>
                  <a:lnTo>
                    <a:pt x="651" y="1"/>
                  </a:lnTo>
                  <a:lnTo>
                    <a:pt x="647" y="0"/>
                  </a:lnTo>
                  <a:lnTo>
                    <a:pt x="6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320">
              <a:extLst>
                <a:ext uri="{FF2B5EF4-FFF2-40B4-BE49-F238E27FC236}">
                  <a16:creationId xmlns="" xmlns:a16="http://schemas.microsoft.com/office/drawing/2014/main" id="{F008EBD9-2A57-4B19-853C-F54CDDFE7D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17038" y="788988"/>
              <a:ext cx="287338" cy="149225"/>
            </a:xfrm>
            <a:custGeom>
              <a:avLst/>
              <a:gdLst>
                <a:gd name="T0" fmla="*/ 722 w 903"/>
                <a:gd name="T1" fmla="*/ 167 h 468"/>
                <a:gd name="T2" fmla="*/ 722 w 903"/>
                <a:gd name="T3" fmla="*/ 265 h 468"/>
                <a:gd name="T4" fmla="*/ 623 w 903"/>
                <a:gd name="T5" fmla="*/ 167 h 468"/>
                <a:gd name="T6" fmla="*/ 722 w 903"/>
                <a:gd name="T7" fmla="*/ 167 h 468"/>
                <a:gd name="T8" fmla="*/ 898 w 903"/>
                <a:gd name="T9" fmla="*/ 441 h 468"/>
                <a:gd name="T10" fmla="*/ 752 w 903"/>
                <a:gd name="T11" fmla="*/ 295 h 468"/>
                <a:gd name="T12" fmla="*/ 752 w 903"/>
                <a:gd name="T13" fmla="*/ 136 h 468"/>
                <a:gd name="T14" fmla="*/ 593 w 903"/>
                <a:gd name="T15" fmla="*/ 136 h 468"/>
                <a:gd name="T16" fmla="*/ 462 w 903"/>
                <a:gd name="T17" fmla="*/ 4 h 468"/>
                <a:gd name="T18" fmla="*/ 460 w 903"/>
                <a:gd name="T19" fmla="*/ 3 h 468"/>
                <a:gd name="T20" fmla="*/ 456 w 903"/>
                <a:gd name="T21" fmla="*/ 1 h 468"/>
                <a:gd name="T22" fmla="*/ 454 w 903"/>
                <a:gd name="T23" fmla="*/ 1 h 468"/>
                <a:gd name="T24" fmla="*/ 451 w 903"/>
                <a:gd name="T25" fmla="*/ 0 h 468"/>
                <a:gd name="T26" fmla="*/ 448 w 903"/>
                <a:gd name="T27" fmla="*/ 1 h 468"/>
                <a:gd name="T28" fmla="*/ 446 w 903"/>
                <a:gd name="T29" fmla="*/ 1 h 468"/>
                <a:gd name="T30" fmla="*/ 442 w 903"/>
                <a:gd name="T31" fmla="*/ 3 h 468"/>
                <a:gd name="T32" fmla="*/ 440 w 903"/>
                <a:gd name="T33" fmla="*/ 4 h 468"/>
                <a:gd name="T34" fmla="*/ 4 w 903"/>
                <a:gd name="T35" fmla="*/ 441 h 468"/>
                <a:gd name="T36" fmla="*/ 2 w 903"/>
                <a:gd name="T37" fmla="*/ 444 h 468"/>
                <a:gd name="T38" fmla="*/ 1 w 903"/>
                <a:gd name="T39" fmla="*/ 447 h 468"/>
                <a:gd name="T40" fmla="*/ 0 w 903"/>
                <a:gd name="T41" fmla="*/ 450 h 468"/>
                <a:gd name="T42" fmla="*/ 0 w 903"/>
                <a:gd name="T43" fmla="*/ 452 h 468"/>
                <a:gd name="T44" fmla="*/ 0 w 903"/>
                <a:gd name="T45" fmla="*/ 455 h 468"/>
                <a:gd name="T46" fmla="*/ 1 w 903"/>
                <a:gd name="T47" fmla="*/ 458 h 468"/>
                <a:gd name="T48" fmla="*/ 2 w 903"/>
                <a:gd name="T49" fmla="*/ 460 h 468"/>
                <a:gd name="T50" fmla="*/ 4 w 903"/>
                <a:gd name="T51" fmla="*/ 463 h 468"/>
                <a:gd name="T52" fmla="*/ 6 w 903"/>
                <a:gd name="T53" fmla="*/ 465 h 468"/>
                <a:gd name="T54" fmla="*/ 9 w 903"/>
                <a:gd name="T55" fmla="*/ 466 h 468"/>
                <a:gd name="T56" fmla="*/ 11 w 903"/>
                <a:gd name="T57" fmla="*/ 467 h 468"/>
                <a:gd name="T58" fmla="*/ 15 w 903"/>
                <a:gd name="T59" fmla="*/ 468 h 468"/>
                <a:gd name="T60" fmla="*/ 18 w 903"/>
                <a:gd name="T61" fmla="*/ 467 h 468"/>
                <a:gd name="T62" fmla="*/ 20 w 903"/>
                <a:gd name="T63" fmla="*/ 467 h 468"/>
                <a:gd name="T64" fmla="*/ 23 w 903"/>
                <a:gd name="T65" fmla="*/ 465 h 468"/>
                <a:gd name="T66" fmla="*/ 25 w 903"/>
                <a:gd name="T67" fmla="*/ 463 h 468"/>
                <a:gd name="T68" fmla="*/ 451 w 903"/>
                <a:gd name="T69" fmla="*/ 37 h 468"/>
                <a:gd name="T70" fmla="*/ 575 w 903"/>
                <a:gd name="T71" fmla="*/ 162 h 468"/>
                <a:gd name="T72" fmla="*/ 575 w 903"/>
                <a:gd name="T73" fmla="*/ 162 h 468"/>
                <a:gd name="T74" fmla="*/ 727 w 903"/>
                <a:gd name="T75" fmla="*/ 312 h 468"/>
                <a:gd name="T76" fmla="*/ 727 w 903"/>
                <a:gd name="T77" fmla="*/ 312 h 468"/>
                <a:gd name="T78" fmla="*/ 727 w 903"/>
                <a:gd name="T79" fmla="*/ 312 h 468"/>
                <a:gd name="T80" fmla="*/ 877 w 903"/>
                <a:gd name="T81" fmla="*/ 463 h 468"/>
                <a:gd name="T82" fmla="*/ 879 w 903"/>
                <a:gd name="T83" fmla="*/ 465 h 468"/>
                <a:gd name="T84" fmla="*/ 882 w 903"/>
                <a:gd name="T85" fmla="*/ 466 h 468"/>
                <a:gd name="T86" fmla="*/ 884 w 903"/>
                <a:gd name="T87" fmla="*/ 467 h 468"/>
                <a:gd name="T88" fmla="*/ 888 w 903"/>
                <a:gd name="T89" fmla="*/ 468 h 468"/>
                <a:gd name="T90" fmla="*/ 891 w 903"/>
                <a:gd name="T91" fmla="*/ 467 h 468"/>
                <a:gd name="T92" fmla="*/ 893 w 903"/>
                <a:gd name="T93" fmla="*/ 466 h 468"/>
                <a:gd name="T94" fmla="*/ 896 w 903"/>
                <a:gd name="T95" fmla="*/ 465 h 468"/>
                <a:gd name="T96" fmla="*/ 898 w 903"/>
                <a:gd name="T97" fmla="*/ 463 h 468"/>
                <a:gd name="T98" fmla="*/ 900 w 903"/>
                <a:gd name="T99" fmla="*/ 460 h 468"/>
                <a:gd name="T100" fmla="*/ 901 w 903"/>
                <a:gd name="T101" fmla="*/ 458 h 468"/>
                <a:gd name="T102" fmla="*/ 903 w 903"/>
                <a:gd name="T103" fmla="*/ 455 h 468"/>
                <a:gd name="T104" fmla="*/ 903 w 903"/>
                <a:gd name="T105" fmla="*/ 452 h 468"/>
                <a:gd name="T106" fmla="*/ 903 w 903"/>
                <a:gd name="T107" fmla="*/ 450 h 468"/>
                <a:gd name="T108" fmla="*/ 901 w 903"/>
                <a:gd name="T109" fmla="*/ 447 h 468"/>
                <a:gd name="T110" fmla="*/ 900 w 903"/>
                <a:gd name="T111" fmla="*/ 444 h 468"/>
                <a:gd name="T112" fmla="*/ 898 w 903"/>
                <a:gd name="T113" fmla="*/ 442 h 468"/>
                <a:gd name="T114" fmla="*/ 898 w 903"/>
                <a:gd name="T115" fmla="*/ 44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03" h="468">
                  <a:moveTo>
                    <a:pt x="722" y="167"/>
                  </a:moveTo>
                  <a:lnTo>
                    <a:pt x="722" y="265"/>
                  </a:lnTo>
                  <a:lnTo>
                    <a:pt x="623" y="167"/>
                  </a:lnTo>
                  <a:lnTo>
                    <a:pt x="722" y="167"/>
                  </a:lnTo>
                  <a:close/>
                  <a:moveTo>
                    <a:pt x="898" y="441"/>
                  </a:moveTo>
                  <a:lnTo>
                    <a:pt x="752" y="295"/>
                  </a:lnTo>
                  <a:lnTo>
                    <a:pt x="752" y="136"/>
                  </a:lnTo>
                  <a:lnTo>
                    <a:pt x="593" y="136"/>
                  </a:lnTo>
                  <a:lnTo>
                    <a:pt x="462" y="4"/>
                  </a:lnTo>
                  <a:lnTo>
                    <a:pt x="460" y="3"/>
                  </a:lnTo>
                  <a:lnTo>
                    <a:pt x="456" y="1"/>
                  </a:lnTo>
                  <a:lnTo>
                    <a:pt x="454" y="1"/>
                  </a:lnTo>
                  <a:lnTo>
                    <a:pt x="451" y="0"/>
                  </a:lnTo>
                  <a:lnTo>
                    <a:pt x="448" y="1"/>
                  </a:lnTo>
                  <a:lnTo>
                    <a:pt x="446" y="1"/>
                  </a:lnTo>
                  <a:lnTo>
                    <a:pt x="442" y="3"/>
                  </a:lnTo>
                  <a:lnTo>
                    <a:pt x="440" y="4"/>
                  </a:lnTo>
                  <a:lnTo>
                    <a:pt x="4" y="441"/>
                  </a:lnTo>
                  <a:lnTo>
                    <a:pt x="2" y="444"/>
                  </a:lnTo>
                  <a:lnTo>
                    <a:pt x="1" y="447"/>
                  </a:lnTo>
                  <a:lnTo>
                    <a:pt x="0" y="450"/>
                  </a:lnTo>
                  <a:lnTo>
                    <a:pt x="0" y="452"/>
                  </a:lnTo>
                  <a:lnTo>
                    <a:pt x="0" y="455"/>
                  </a:lnTo>
                  <a:lnTo>
                    <a:pt x="1" y="458"/>
                  </a:lnTo>
                  <a:lnTo>
                    <a:pt x="2" y="460"/>
                  </a:lnTo>
                  <a:lnTo>
                    <a:pt x="4" y="463"/>
                  </a:lnTo>
                  <a:lnTo>
                    <a:pt x="6" y="465"/>
                  </a:lnTo>
                  <a:lnTo>
                    <a:pt x="9" y="466"/>
                  </a:lnTo>
                  <a:lnTo>
                    <a:pt x="11" y="467"/>
                  </a:lnTo>
                  <a:lnTo>
                    <a:pt x="15" y="468"/>
                  </a:lnTo>
                  <a:lnTo>
                    <a:pt x="18" y="467"/>
                  </a:lnTo>
                  <a:lnTo>
                    <a:pt x="20" y="467"/>
                  </a:lnTo>
                  <a:lnTo>
                    <a:pt x="23" y="465"/>
                  </a:lnTo>
                  <a:lnTo>
                    <a:pt x="25" y="463"/>
                  </a:lnTo>
                  <a:lnTo>
                    <a:pt x="451" y="37"/>
                  </a:lnTo>
                  <a:lnTo>
                    <a:pt x="575" y="162"/>
                  </a:lnTo>
                  <a:lnTo>
                    <a:pt x="575" y="162"/>
                  </a:lnTo>
                  <a:lnTo>
                    <a:pt x="727" y="312"/>
                  </a:lnTo>
                  <a:lnTo>
                    <a:pt x="727" y="312"/>
                  </a:lnTo>
                  <a:lnTo>
                    <a:pt x="727" y="312"/>
                  </a:lnTo>
                  <a:lnTo>
                    <a:pt x="877" y="463"/>
                  </a:lnTo>
                  <a:lnTo>
                    <a:pt x="879" y="465"/>
                  </a:lnTo>
                  <a:lnTo>
                    <a:pt x="882" y="466"/>
                  </a:lnTo>
                  <a:lnTo>
                    <a:pt x="884" y="467"/>
                  </a:lnTo>
                  <a:lnTo>
                    <a:pt x="888" y="468"/>
                  </a:lnTo>
                  <a:lnTo>
                    <a:pt x="891" y="467"/>
                  </a:lnTo>
                  <a:lnTo>
                    <a:pt x="893" y="466"/>
                  </a:lnTo>
                  <a:lnTo>
                    <a:pt x="896" y="465"/>
                  </a:lnTo>
                  <a:lnTo>
                    <a:pt x="898" y="463"/>
                  </a:lnTo>
                  <a:lnTo>
                    <a:pt x="900" y="460"/>
                  </a:lnTo>
                  <a:lnTo>
                    <a:pt x="901" y="458"/>
                  </a:lnTo>
                  <a:lnTo>
                    <a:pt x="903" y="455"/>
                  </a:lnTo>
                  <a:lnTo>
                    <a:pt x="903" y="452"/>
                  </a:lnTo>
                  <a:lnTo>
                    <a:pt x="903" y="450"/>
                  </a:lnTo>
                  <a:lnTo>
                    <a:pt x="901" y="447"/>
                  </a:lnTo>
                  <a:lnTo>
                    <a:pt x="900" y="444"/>
                  </a:lnTo>
                  <a:lnTo>
                    <a:pt x="898" y="442"/>
                  </a:lnTo>
                  <a:lnTo>
                    <a:pt x="898" y="4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="" xmlns:a16="http://schemas.microsoft.com/office/drawing/2014/main" id="{A93F0A4E-6564-44F1-BED9-155DD43D4F15}"/>
              </a:ext>
            </a:extLst>
          </p:cNvPr>
          <p:cNvGrpSpPr/>
          <p:nvPr/>
        </p:nvGrpSpPr>
        <p:grpSpPr>
          <a:xfrm>
            <a:off x="4838912" y="2418311"/>
            <a:ext cx="595544" cy="496834"/>
            <a:chOff x="10464801" y="817563"/>
            <a:chExt cx="287338" cy="239712"/>
          </a:xfrm>
          <a:solidFill>
            <a:schemeClr val="bg1"/>
          </a:solidFill>
        </p:grpSpPr>
        <p:sp>
          <p:nvSpPr>
            <p:cNvPr id="108" name="Freeform 334">
              <a:extLst>
                <a:ext uri="{FF2B5EF4-FFF2-40B4-BE49-F238E27FC236}">
                  <a16:creationId xmlns="" xmlns:a16="http://schemas.microsoft.com/office/drawing/2014/main" id="{701A77D6-E011-4DB0-8A15-94BB54A9D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64801" y="817563"/>
              <a:ext cx="287338" cy="239712"/>
            </a:xfrm>
            <a:custGeom>
              <a:avLst/>
              <a:gdLst>
                <a:gd name="T0" fmla="*/ 723 w 904"/>
                <a:gd name="T1" fmla="*/ 602 h 753"/>
                <a:gd name="T2" fmla="*/ 512 w 904"/>
                <a:gd name="T3" fmla="*/ 602 h 753"/>
                <a:gd name="T4" fmla="*/ 512 w 904"/>
                <a:gd name="T5" fmla="*/ 722 h 753"/>
                <a:gd name="T6" fmla="*/ 181 w 904"/>
                <a:gd name="T7" fmla="*/ 542 h 753"/>
                <a:gd name="T8" fmla="*/ 181 w 904"/>
                <a:gd name="T9" fmla="*/ 722 h 753"/>
                <a:gd name="T10" fmla="*/ 391 w 904"/>
                <a:gd name="T11" fmla="*/ 722 h 753"/>
                <a:gd name="T12" fmla="*/ 331 w 904"/>
                <a:gd name="T13" fmla="*/ 524 h 753"/>
                <a:gd name="T14" fmla="*/ 327 w 904"/>
                <a:gd name="T15" fmla="*/ 516 h 753"/>
                <a:gd name="T16" fmla="*/ 319 w 904"/>
                <a:gd name="T17" fmla="*/ 512 h 753"/>
                <a:gd name="T18" fmla="*/ 163 w 904"/>
                <a:gd name="T19" fmla="*/ 512 h 753"/>
                <a:gd name="T20" fmla="*/ 155 w 904"/>
                <a:gd name="T21" fmla="*/ 516 h 753"/>
                <a:gd name="T22" fmla="*/ 151 w 904"/>
                <a:gd name="T23" fmla="*/ 524 h 753"/>
                <a:gd name="T24" fmla="*/ 91 w 904"/>
                <a:gd name="T25" fmla="*/ 722 h 753"/>
                <a:gd name="T26" fmla="*/ 813 w 904"/>
                <a:gd name="T27" fmla="*/ 722 h 753"/>
                <a:gd name="T28" fmla="*/ 753 w 904"/>
                <a:gd name="T29" fmla="*/ 584 h 753"/>
                <a:gd name="T30" fmla="*/ 748 w 904"/>
                <a:gd name="T31" fmla="*/ 577 h 753"/>
                <a:gd name="T32" fmla="*/ 741 w 904"/>
                <a:gd name="T33" fmla="*/ 572 h 753"/>
                <a:gd name="T34" fmla="*/ 494 w 904"/>
                <a:gd name="T35" fmla="*/ 572 h 753"/>
                <a:gd name="T36" fmla="*/ 487 w 904"/>
                <a:gd name="T37" fmla="*/ 577 h 753"/>
                <a:gd name="T38" fmla="*/ 482 w 904"/>
                <a:gd name="T39" fmla="*/ 584 h 753"/>
                <a:gd name="T40" fmla="*/ 421 w 904"/>
                <a:gd name="T41" fmla="*/ 722 h 753"/>
                <a:gd name="T42" fmla="*/ 723 w 904"/>
                <a:gd name="T43" fmla="*/ 121 h 753"/>
                <a:gd name="T44" fmla="*/ 723 w 904"/>
                <a:gd name="T45" fmla="*/ 241 h 753"/>
                <a:gd name="T46" fmla="*/ 843 w 904"/>
                <a:gd name="T47" fmla="*/ 722 h 753"/>
                <a:gd name="T48" fmla="*/ 885 w 904"/>
                <a:gd name="T49" fmla="*/ 376 h 753"/>
                <a:gd name="T50" fmla="*/ 895 w 904"/>
                <a:gd name="T51" fmla="*/ 375 h 753"/>
                <a:gd name="T52" fmla="*/ 903 w 904"/>
                <a:gd name="T53" fmla="*/ 366 h 753"/>
                <a:gd name="T54" fmla="*/ 903 w 904"/>
                <a:gd name="T55" fmla="*/ 358 h 753"/>
                <a:gd name="T56" fmla="*/ 898 w 904"/>
                <a:gd name="T57" fmla="*/ 350 h 753"/>
                <a:gd name="T58" fmla="*/ 813 w 904"/>
                <a:gd name="T59" fmla="*/ 106 h 753"/>
                <a:gd name="T60" fmla="*/ 811 w 904"/>
                <a:gd name="T61" fmla="*/ 97 h 753"/>
                <a:gd name="T62" fmla="*/ 804 w 904"/>
                <a:gd name="T63" fmla="*/ 92 h 753"/>
                <a:gd name="T64" fmla="*/ 708 w 904"/>
                <a:gd name="T65" fmla="*/ 91 h 753"/>
                <a:gd name="T66" fmla="*/ 699 w 904"/>
                <a:gd name="T67" fmla="*/ 93 h 753"/>
                <a:gd name="T68" fmla="*/ 694 w 904"/>
                <a:gd name="T69" fmla="*/ 99 h 753"/>
                <a:gd name="T70" fmla="*/ 693 w 904"/>
                <a:gd name="T71" fmla="*/ 221 h 753"/>
                <a:gd name="T72" fmla="*/ 333 w 904"/>
                <a:gd name="T73" fmla="*/ 0 h 753"/>
                <a:gd name="T74" fmla="*/ 325 w 904"/>
                <a:gd name="T75" fmla="*/ 1 h 753"/>
                <a:gd name="T76" fmla="*/ 318 w 904"/>
                <a:gd name="T77" fmla="*/ 7 h 753"/>
                <a:gd name="T78" fmla="*/ 316 w 904"/>
                <a:gd name="T79" fmla="*/ 15 h 753"/>
                <a:gd name="T80" fmla="*/ 319 w 904"/>
                <a:gd name="T81" fmla="*/ 24 h 753"/>
                <a:gd name="T82" fmla="*/ 391 w 904"/>
                <a:gd name="T83" fmla="*/ 70 h 753"/>
                <a:gd name="T84" fmla="*/ 69 w 904"/>
                <a:gd name="T85" fmla="*/ 394 h 753"/>
                <a:gd name="T86" fmla="*/ 6 w 904"/>
                <a:gd name="T87" fmla="*/ 424 h 753"/>
                <a:gd name="T88" fmla="*/ 1 w 904"/>
                <a:gd name="T89" fmla="*/ 432 h 753"/>
                <a:gd name="T90" fmla="*/ 1 w 904"/>
                <a:gd name="T91" fmla="*/ 440 h 753"/>
                <a:gd name="T92" fmla="*/ 7 w 904"/>
                <a:gd name="T93" fmla="*/ 450 h 753"/>
                <a:gd name="T94" fmla="*/ 19 w 904"/>
                <a:gd name="T95" fmla="*/ 451 h 753"/>
                <a:gd name="T96" fmla="*/ 61 w 904"/>
                <a:gd name="T97" fmla="*/ 722 h 753"/>
                <a:gd name="T98" fmla="*/ 9 w 904"/>
                <a:gd name="T99" fmla="*/ 724 h 753"/>
                <a:gd name="T100" fmla="*/ 3 w 904"/>
                <a:gd name="T101" fmla="*/ 730 h 753"/>
                <a:gd name="T102" fmla="*/ 0 w 904"/>
                <a:gd name="T103" fmla="*/ 738 h 753"/>
                <a:gd name="T104" fmla="*/ 3 w 904"/>
                <a:gd name="T105" fmla="*/ 746 h 753"/>
                <a:gd name="T106" fmla="*/ 9 w 904"/>
                <a:gd name="T107" fmla="*/ 751 h 753"/>
                <a:gd name="T108" fmla="*/ 166 w 904"/>
                <a:gd name="T109" fmla="*/ 753 h 753"/>
                <a:gd name="T110" fmla="*/ 738 w 904"/>
                <a:gd name="T111" fmla="*/ 753 h 753"/>
                <a:gd name="T112" fmla="*/ 894 w 904"/>
                <a:gd name="T113" fmla="*/ 751 h 753"/>
                <a:gd name="T114" fmla="*/ 901 w 904"/>
                <a:gd name="T115" fmla="*/ 746 h 753"/>
                <a:gd name="T116" fmla="*/ 904 w 904"/>
                <a:gd name="T117" fmla="*/ 738 h 753"/>
                <a:gd name="T118" fmla="*/ 901 w 904"/>
                <a:gd name="T119" fmla="*/ 730 h 753"/>
                <a:gd name="T120" fmla="*/ 894 w 904"/>
                <a:gd name="T121" fmla="*/ 724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753">
                  <a:moveTo>
                    <a:pt x="632" y="722"/>
                  </a:moveTo>
                  <a:lnTo>
                    <a:pt x="632" y="602"/>
                  </a:lnTo>
                  <a:lnTo>
                    <a:pt x="723" y="602"/>
                  </a:lnTo>
                  <a:lnTo>
                    <a:pt x="723" y="722"/>
                  </a:lnTo>
                  <a:lnTo>
                    <a:pt x="632" y="722"/>
                  </a:lnTo>
                  <a:close/>
                  <a:moveTo>
                    <a:pt x="512" y="602"/>
                  </a:moveTo>
                  <a:lnTo>
                    <a:pt x="602" y="602"/>
                  </a:lnTo>
                  <a:lnTo>
                    <a:pt x="602" y="722"/>
                  </a:lnTo>
                  <a:lnTo>
                    <a:pt x="512" y="722"/>
                  </a:lnTo>
                  <a:lnTo>
                    <a:pt x="512" y="602"/>
                  </a:lnTo>
                  <a:close/>
                  <a:moveTo>
                    <a:pt x="181" y="722"/>
                  </a:moveTo>
                  <a:lnTo>
                    <a:pt x="181" y="542"/>
                  </a:lnTo>
                  <a:lnTo>
                    <a:pt x="301" y="542"/>
                  </a:lnTo>
                  <a:lnTo>
                    <a:pt x="301" y="722"/>
                  </a:lnTo>
                  <a:lnTo>
                    <a:pt x="181" y="722"/>
                  </a:lnTo>
                  <a:close/>
                  <a:moveTo>
                    <a:pt x="91" y="417"/>
                  </a:moveTo>
                  <a:lnTo>
                    <a:pt x="391" y="273"/>
                  </a:lnTo>
                  <a:lnTo>
                    <a:pt x="391" y="722"/>
                  </a:lnTo>
                  <a:lnTo>
                    <a:pt x="331" y="722"/>
                  </a:lnTo>
                  <a:lnTo>
                    <a:pt x="331" y="527"/>
                  </a:lnTo>
                  <a:lnTo>
                    <a:pt x="331" y="524"/>
                  </a:lnTo>
                  <a:lnTo>
                    <a:pt x="330" y="521"/>
                  </a:lnTo>
                  <a:lnTo>
                    <a:pt x="329" y="519"/>
                  </a:lnTo>
                  <a:lnTo>
                    <a:pt x="327" y="516"/>
                  </a:lnTo>
                  <a:lnTo>
                    <a:pt x="325" y="514"/>
                  </a:lnTo>
                  <a:lnTo>
                    <a:pt x="323" y="513"/>
                  </a:lnTo>
                  <a:lnTo>
                    <a:pt x="319" y="512"/>
                  </a:lnTo>
                  <a:lnTo>
                    <a:pt x="316" y="512"/>
                  </a:lnTo>
                  <a:lnTo>
                    <a:pt x="166" y="512"/>
                  </a:lnTo>
                  <a:lnTo>
                    <a:pt x="163" y="512"/>
                  </a:lnTo>
                  <a:lnTo>
                    <a:pt x="160" y="513"/>
                  </a:lnTo>
                  <a:lnTo>
                    <a:pt x="157" y="514"/>
                  </a:lnTo>
                  <a:lnTo>
                    <a:pt x="155" y="516"/>
                  </a:lnTo>
                  <a:lnTo>
                    <a:pt x="153" y="519"/>
                  </a:lnTo>
                  <a:lnTo>
                    <a:pt x="152" y="521"/>
                  </a:lnTo>
                  <a:lnTo>
                    <a:pt x="151" y="524"/>
                  </a:lnTo>
                  <a:lnTo>
                    <a:pt x="151" y="527"/>
                  </a:lnTo>
                  <a:lnTo>
                    <a:pt x="151" y="722"/>
                  </a:lnTo>
                  <a:lnTo>
                    <a:pt x="91" y="722"/>
                  </a:lnTo>
                  <a:lnTo>
                    <a:pt x="91" y="417"/>
                  </a:lnTo>
                  <a:close/>
                  <a:moveTo>
                    <a:pt x="813" y="332"/>
                  </a:moveTo>
                  <a:lnTo>
                    <a:pt x="813" y="722"/>
                  </a:lnTo>
                  <a:lnTo>
                    <a:pt x="753" y="722"/>
                  </a:lnTo>
                  <a:lnTo>
                    <a:pt x="753" y="587"/>
                  </a:lnTo>
                  <a:lnTo>
                    <a:pt x="753" y="584"/>
                  </a:lnTo>
                  <a:lnTo>
                    <a:pt x="752" y="582"/>
                  </a:lnTo>
                  <a:lnTo>
                    <a:pt x="750" y="579"/>
                  </a:lnTo>
                  <a:lnTo>
                    <a:pt x="748" y="577"/>
                  </a:lnTo>
                  <a:lnTo>
                    <a:pt x="746" y="574"/>
                  </a:lnTo>
                  <a:lnTo>
                    <a:pt x="744" y="573"/>
                  </a:lnTo>
                  <a:lnTo>
                    <a:pt x="741" y="572"/>
                  </a:lnTo>
                  <a:lnTo>
                    <a:pt x="738" y="572"/>
                  </a:lnTo>
                  <a:lnTo>
                    <a:pt x="497" y="572"/>
                  </a:lnTo>
                  <a:lnTo>
                    <a:pt x="494" y="572"/>
                  </a:lnTo>
                  <a:lnTo>
                    <a:pt x="491" y="573"/>
                  </a:lnTo>
                  <a:lnTo>
                    <a:pt x="489" y="574"/>
                  </a:lnTo>
                  <a:lnTo>
                    <a:pt x="487" y="577"/>
                  </a:lnTo>
                  <a:lnTo>
                    <a:pt x="484" y="579"/>
                  </a:lnTo>
                  <a:lnTo>
                    <a:pt x="483" y="582"/>
                  </a:lnTo>
                  <a:lnTo>
                    <a:pt x="482" y="584"/>
                  </a:lnTo>
                  <a:lnTo>
                    <a:pt x="482" y="587"/>
                  </a:lnTo>
                  <a:lnTo>
                    <a:pt x="482" y="722"/>
                  </a:lnTo>
                  <a:lnTo>
                    <a:pt x="421" y="722"/>
                  </a:lnTo>
                  <a:lnTo>
                    <a:pt x="421" y="89"/>
                  </a:lnTo>
                  <a:lnTo>
                    <a:pt x="813" y="332"/>
                  </a:lnTo>
                  <a:close/>
                  <a:moveTo>
                    <a:pt x="723" y="121"/>
                  </a:moveTo>
                  <a:lnTo>
                    <a:pt x="783" y="121"/>
                  </a:lnTo>
                  <a:lnTo>
                    <a:pt x="783" y="278"/>
                  </a:lnTo>
                  <a:lnTo>
                    <a:pt x="723" y="241"/>
                  </a:lnTo>
                  <a:lnTo>
                    <a:pt x="723" y="121"/>
                  </a:lnTo>
                  <a:close/>
                  <a:moveTo>
                    <a:pt x="889" y="722"/>
                  </a:moveTo>
                  <a:lnTo>
                    <a:pt x="843" y="722"/>
                  </a:lnTo>
                  <a:lnTo>
                    <a:pt x="843" y="351"/>
                  </a:lnTo>
                  <a:lnTo>
                    <a:pt x="880" y="374"/>
                  </a:lnTo>
                  <a:lnTo>
                    <a:pt x="885" y="376"/>
                  </a:lnTo>
                  <a:lnTo>
                    <a:pt x="889" y="377"/>
                  </a:lnTo>
                  <a:lnTo>
                    <a:pt x="892" y="376"/>
                  </a:lnTo>
                  <a:lnTo>
                    <a:pt x="895" y="375"/>
                  </a:lnTo>
                  <a:lnTo>
                    <a:pt x="898" y="373"/>
                  </a:lnTo>
                  <a:lnTo>
                    <a:pt x="901" y="369"/>
                  </a:lnTo>
                  <a:lnTo>
                    <a:pt x="903" y="366"/>
                  </a:lnTo>
                  <a:lnTo>
                    <a:pt x="903" y="364"/>
                  </a:lnTo>
                  <a:lnTo>
                    <a:pt x="904" y="361"/>
                  </a:lnTo>
                  <a:lnTo>
                    <a:pt x="903" y="358"/>
                  </a:lnTo>
                  <a:lnTo>
                    <a:pt x="902" y="356"/>
                  </a:lnTo>
                  <a:lnTo>
                    <a:pt x="901" y="352"/>
                  </a:lnTo>
                  <a:lnTo>
                    <a:pt x="898" y="350"/>
                  </a:lnTo>
                  <a:lnTo>
                    <a:pt x="896" y="349"/>
                  </a:lnTo>
                  <a:lnTo>
                    <a:pt x="813" y="297"/>
                  </a:lnTo>
                  <a:lnTo>
                    <a:pt x="813" y="106"/>
                  </a:lnTo>
                  <a:lnTo>
                    <a:pt x="813" y="102"/>
                  </a:lnTo>
                  <a:lnTo>
                    <a:pt x="812" y="99"/>
                  </a:lnTo>
                  <a:lnTo>
                    <a:pt x="811" y="97"/>
                  </a:lnTo>
                  <a:lnTo>
                    <a:pt x="808" y="95"/>
                  </a:lnTo>
                  <a:lnTo>
                    <a:pt x="806" y="93"/>
                  </a:lnTo>
                  <a:lnTo>
                    <a:pt x="804" y="92"/>
                  </a:lnTo>
                  <a:lnTo>
                    <a:pt x="801" y="91"/>
                  </a:lnTo>
                  <a:lnTo>
                    <a:pt x="798" y="91"/>
                  </a:lnTo>
                  <a:lnTo>
                    <a:pt x="708" y="91"/>
                  </a:lnTo>
                  <a:lnTo>
                    <a:pt x="704" y="91"/>
                  </a:lnTo>
                  <a:lnTo>
                    <a:pt x="702" y="92"/>
                  </a:lnTo>
                  <a:lnTo>
                    <a:pt x="699" y="93"/>
                  </a:lnTo>
                  <a:lnTo>
                    <a:pt x="697" y="95"/>
                  </a:lnTo>
                  <a:lnTo>
                    <a:pt x="695" y="97"/>
                  </a:lnTo>
                  <a:lnTo>
                    <a:pt x="694" y="99"/>
                  </a:lnTo>
                  <a:lnTo>
                    <a:pt x="693" y="102"/>
                  </a:lnTo>
                  <a:lnTo>
                    <a:pt x="693" y="106"/>
                  </a:lnTo>
                  <a:lnTo>
                    <a:pt x="693" y="221"/>
                  </a:lnTo>
                  <a:lnTo>
                    <a:pt x="340" y="3"/>
                  </a:lnTo>
                  <a:lnTo>
                    <a:pt x="336" y="0"/>
                  </a:lnTo>
                  <a:lnTo>
                    <a:pt x="333" y="0"/>
                  </a:lnTo>
                  <a:lnTo>
                    <a:pt x="331" y="0"/>
                  </a:lnTo>
                  <a:lnTo>
                    <a:pt x="328" y="0"/>
                  </a:lnTo>
                  <a:lnTo>
                    <a:pt x="325" y="1"/>
                  </a:lnTo>
                  <a:lnTo>
                    <a:pt x="323" y="3"/>
                  </a:lnTo>
                  <a:lnTo>
                    <a:pt x="320" y="5"/>
                  </a:lnTo>
                  <a:lnTo>
                    <a:pt x="318" y="7"/>
                  </a:lnTo>
                  <a:lnTo>
                    <a:pt x="317" y="10"/>
                  </a:lnTo>
                  <a:lnTo>
                    <a:pt x="316" y="12"/>
                  </a:lnTo>
                  <a:lnTo>
                    <a:pt x="316" y="15"/>
                  </a:lnTo>
                  <a:lnTo>
                    <a:pt x="317" y="19"/>
                  </a:lnTo>
                  <a:lnTo>
                    <a:pt x="317" y="21"/>
                  </a:lnTo>
                  <a:lnTo>
                    <a:pt x="319" y="24"/>
                  </a:lnTo>
                  <a:lnTo>
                    <a:pt x="321" y="26"/>
                  </a:lnTo>
                  <a:lnTo>
                    <a:pt x="324" y="28"/>
                  </a:lnTo>
                  <a:lnTo>
                    <a:pt x="391" y="70"/>
                  </a:lnTo>
                  <a:lnTo>
                    <a:pt x="391" y="239"/>
                  </a:lnTo>
                  <a:lnTo>
                    <a:pt x="72" y="393"/>
                  </a:lnTo>
                  <a:lnTo>
                    <a:pt x="69" y="394"/>
                  </a:lnTo>
                  <a:lnTo>
                    <a:pt x="67" y="395"/>
                  </a:lnTo>
                  <a:lnTo>
                    <a:pt x="8" y="423"/>
                  </a:lnTo>
                  <a:lnTo>
                    <a:pt x="6" y="424"/>
                  </a:lnTo>
                  <a:lnTo>
                    <a:pt x="4" y="426"/>
                  </a:lnTo>
                  <a:lnTo>
                    <a:pt x="2" y="429"/>
                  </a:lnTo>
                  <a:lnTo>
                    <a:pt x="1" y="432"/>
                  </a:lnTo>
                  <a:lnTo>
                    <a:pt x="1" y="435"/>
                  </a:lnTo>
                  <a:lnTo>
                    <a:pt x="1" y="437"/>
                  </a:lnTo>
                  <a:lnTo>
                    <a:pt x="1" y="440"/>
                  </a:lnTo>
                  <a:lnTo>
                    <a:pt x="2" y="444"/>
                  </a:lnTo>
                  <a:lnTo>
                    <a:pt x="4" y="447"/>
                  </a:lnTo>
                  <a:lnTo>
                    <a:pt x="7" y="450"/>
                  </a:lnTo>
                  <a:lnTo>
                    <a:pt x="12" y="451"/>
                  </a:lnTo>
                  <a:lnTo>
                    <a:pt x="16" y="452"/>
                  </a:lnTo>
                  <a:lnTo>
                    <a:pt x="19" y="451"/>
                  </a:lnTo>
                  <a:lnTo>
                    <a:pt x="22" y="450"/>
                  </a:lnTo>
                  <a:lnTo>
                    <a:pt x="61" y="432"/>
                  </a:lnTo>
                  <a:lnTo>
                    <a:pt x="61" y="722"/>
                  </a:lnTo>
                  <a:lnTo>
                    <a:pt x="16" y="722"/>
                  </a:lnTo>
                  <a:lnTo>
                    <a:pt x="13" y="724"/>
                  </a:lnTo>
                  <a:lnTo>
                    <a:pt x="9" y="724"/>
                  </a:lnTo>
                  <a:lnTo>
                    <a:pt x="7" y="726"/>
                  </a:lnTo>
                  <a:lnTo>
                    <a:pt x="5" y="727"/>
                  </a:lnTo>
                  <a:lnTo>
                    <a:pt x="3" y="730"/>
                  </a:lnTo>
                  <a:lnTo>
                    <a:pt x="2" y="732"/>
                  </a:lnTo>
                  <a:lnTo>
                    <a:pt x="1" y="735"/>
                  </a:lnTo>
                  <a:lnTo>
                    <a:pt x="0" y="738"/>
                  </a:lnTo>
                  <a:lnTo>
                    <a:pt x="1" y="741"/>
                  </a:lnTo>
                  <a:lnTo>
                    <a:pt x="2" y="744"/>
                  </a:lnTo>
                  <a:lnTo>
                    <a:pt x="3" y="746"/>
                  </a:lnTo>
                  <a:lnTo>
                    <a:pt x="5" y="748"/>
                  </a:lnTo>
                  <a:lnTo>
                    <a:pt x="7" y="750"/>
                  </a:lnTo>
                  <a:lnTo>
                    <a:pt x="9" y="751"/>
                  </a:lnTo>
                  <a:lnTo>
                    <a:pt x="13" y="753"/>
                  </a:lnTo>
                  <a:lnTo>
                    <a:pt x="16" y="753"/>
                  </a:lnTo>
                  <a:lnTo>
                    <a:pt x="166" y="753"/>
                  </a:lnTo>
                  <a:lnTo>
                    <a:pt x="316" y="753"/>
                  </a:lnTo>
                  <a:lnTo>
                    <a:pt x="497" y="753"/>
                  </a:lnTo>
                  <a:lnTo>
                    <a:pt x="738" y="753"/>
                  </a:lnTo>
                  <a:lnTo>
                    <a:pt x="889" y="753"/>
                  </a:lnTo>
                  <a:lnTo>
                    <a:pt x="891" y="753"/>
                  </a:lnTo>
                  <a:lnTo>
                    <a:pt x="894" y="751"/>
                  </a:lnTo>
                  <a:lnTo>
                    <a:pt x="896" y="750"/>
                  </a:lnTo>
                  <a:lnTo>
                    <a:pt x="898" y="748"/>
                  </a:lnTo>
                  <a:lnTo>
                    <a:pt x="901" y="746"/>
                  </a:lnTo>
                  <a:lnTo>
                    <a:pt x="902" y="744"/>
                  </a:lnTo>
                  <a:lnTo>
                    <a:pt x="903" y="741"/>
                  </a:lnTo>
                  <a:lnTo>
                    <a:pt x="904" y="738"/>
                  </a:lnTo>
                  <a:lnTo>
                    <a:pt x="903" y="735"/>
                  </a:lnTo>
                  <a:lnTo>
                    <a:pt x="902" y="732"/>
                  </a:lnTo>
                  <a:lnTo>
                    <a:pt x="901" y="730"/>
                  </a:lnTo>
                  <a:lnTo>
                    <a:pt x="898" y="727"/>
                  </a:lnTo>
                  <a:lnTo>
                    <a:pt x="896" y="726"/>
                  </a:lnTo>
                  <a:lnTo>
                    <a:pt x="894" y="724"/>
                  </a:lnTo>
                  <a:lnTo>
                    <a:pt x="891" y="724"/>
                  </a:lnTo>
                  <a:lnTo>
                    <a:pt x="889" y="7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335">
              <a:extLst>
                <a:ext uri="{FF2B5EF4-FFF2-40B4-BE49-F238E27FC236}">
                  <a16:creationId xmlns="" xmlns:a16="http://schemas.microsoft.com/office/drawing/2014/main" id="{1898149A-B05C-40E2-8669-3C99DBDAC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2426" y="962025"/>
              <a:ext cx="57150" cy="9525"/>
            </a:xfrm>
            <a:custGeom>
              <a:avLst/>
              <a:gdLst>
                <a:gd name="T0" fmla="*/ 15 w 180"/>
                <a:gd name="T1" fmla="*/ 30 h 30"/>
                <a:gd name="T2" fmla="*/ 165 w 180"/>
                <a:gd name="T3" fmla="*/ 30 h 30"/>
                <a:gd name="T4" fmla="*/ 168 w 180"/>
                <a:gd name="T5" fmla="*/ 29 h 30"/>
                <a:gd name="T6" fmla="*/ 172 w 180"/>
                <a:gd name="T7" fmla="*/ 29 h 30"/>
                <a:gd name="T8" fmla="*/ 174 w 180"/>
                <a:gd name="T9" fmla="*/ 27 h 30"/>
                <a:gd name="T10" fmla="*/ 176 w 180"/>
                <a:gd name="T11" fmla="*/ 26 h 30"/>
                <a:gd name="T12" fmla="*/ 178 w 180"/>
                <a:gd name="T13" fmla="*/ 24 h 30"/>
                <a:gd name="T14" fmla="*/ 179 w 180"/>
                <a:gd name="T15" fmla="*/ 20 h 30"/>
                <a:gd name="T16" fmla="*/ 180 w 180"/>
                <a:gd name="T17" fmla="*/ 18 h 30"/>
                <a:gd name="T18" fmla="*/ 180 w 180"/>
                <a:gd name="T19" fmla="*/ 15 h 30"/>
                <a:gd name="T20" fmla="*/ 180 w 180"/>
                <a:gd name="T21" fmla="*/ 12 h 30"/>
                <a:gd name="T22" fmla="*/ 179 w 180"/>
                <a:gd name="T23" fmla="*/ 9 h 30"/>
                <a:gd name="T24" fmla="*/ 178 w 180"/>
                <a:gd name="T25" fmla="*/ 7 h 30"/>
                <a:gd name="T26" fmla="*/ 176 w 180"/>
                <a:gd name="T27" fmla="*/ 4 h 30"/>
                <a:gd name="T28" fmla="*/ 174 w 180"/>
                <a:gd name="T29" fmla="*/ 2 h 30"/>
                <a:gd name="T30" fmla="*/ 172 w 180"/>
                <a:gd name="T31" fmla="*/ 1 h 30"/>
                <a:gd name="T32" fmla="*/ 168 w 180"/>
                <a:gd name="T33" fmla="*/ 0 h 30"/>
                <a:gd name="T34" fmla="*/ 165 w 180"/>
                <a:gd name="T35" fmla="*/ 0 h 30"/>
                <a:gd name="T36" fmla="*/ 15 w 180"/>
                <a:gd name="T37" fmla="*/ 0 h 30"/>
                <a:gd name="T38" fmla="*/ 12 w 180"/>
                <a:gd name="T39" fmla="*/ 0 h 30"/>
                <a:gd name="T40" fmla="*/ 9 w 180"/>
                <a:gd name="T41" fmla="*/ 1 h 30"/>
                <a:gd name="T42" fmla="*/ 6 w 180"/>
                <a:gd name="T43" fmla="*/ 2 h 30"/>
                <a:gd name="T44" fmla="*/ 4 w 180"/>
                <a:gd name="T45" fmla="*/ 4 h 30"/>
                <a:gd name="T46" fmla="*/ 2 w 180"/>
                <a:gd name="T47" fmla="*/ 7 h 30"/>
                <a:gd name="T48" fmla="*/ 1 w 180"/>
                <a:gd name="T49" fmla="*/ 9 h 30"/>
                <a:gd name="T50" fmla="*/ 0 w 180"/>
                <a:gd name="T51" fmla="*/ 12 h 30"/>
                <a:gd name="T52" fmla="*/ 0 w 180"/>
                <a:gd name="T53" fmla="*/ 15 h 30"/>
                <a:gd name="T54" fmla="*/ 0 w 180"/>
                <a:gd name="T55" fmla="*/ 18 h 30"/>
                <a:gd name="T56" fmla="*/ 1 w 180"/>
                <a:gd name="T57" fmla="*/ 20 h 30"/>
                <a:gd name="T58" fmla="*/ 2 w 180"/>
                <a:gd name="T59" fmla="*/ 24 h 30"/>
                <a:gd name="T60" fmla="*/ 4 w 180"/>
                <a:gd name="T61" fmla="*/ 26 h 30"/>
                <a:gd name="T62" fmla="*/ 6 w 180"/>
                <a:gd name="T63" fmla="*/ 27 h 30"/>
                <a:gd name="T64" fmla="*/ 9 w 180"/>
                <a:gd name="T65" fmla="*/ 29 h 30"/>
                <a:gd name="T66" fmla="*/ 12 w 180"/>
                <a:gd name="T67" fmla="*/ 29 h 30"/>
                <a:gd name="T68" fmla="*/ 15 w 180"/>
                <a:gd name="T69" fmla="*/ 30 h 30"/>
                <a:gd name="T70" fmla="*/ 15 w 180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0" h="30">
                  <a:moveTo>
                    <a:pt x="15" y="30"/>
                  </a:moveTo>
                  <a:lnTo>
                    <a:pt x="165" y="30"/>
                  </a:lnTo>
                  <a:lnTo>
                    <a:pt x="168" y="29"/>
                  </a:lnTo>
                  <a:lnTo>
                    <a:pt x="172" y="29"/>
                  </a:lnTo>
                  <a:lnTo>
                    <a:pt x="174" y="27"/>
                  </a:lnTo>
                  <a:lnTo>
                    <a:pt x="176" y="26"/>
                  </a:lnTo>
                  <a:lnTo>
                    <a:pt x="178" y="24"/>
                  </a:lnTo>
                  <a:lnTo>
                    <a:pt x="179" y="20"/>
                  </a:lnTo>
                  <a:lnTo>
                    <a:pt x="180" y="18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7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336">
              <a:extLst>
                <a:ext uri="{FF2B5EF4-FFF2-40B4-BE49-F238E27FC236}">
                  <a16:creationId xmlns="" xmlns:a16="http://schemas.microsoft.com/office/drawing/2014/main" id="{D6F2B595-7189-4DF6-8D0D-2C0F957E1D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07676" y="893763"/>
              <a:ext cx="47625" cy="49212"/>
            </a:xfrm>
            <a:custGeom>
              <a:avLst/>
              <a:gdLst>
                <a:gd name="T0" fmla="*/ 84 w 150"/>
                <a:gd name="T1" fmla="*/ 31 h 151"/>
                <a:gd name="T2" fmla="*/ 100 w 150"/>
                <a:gd name="T3" fmla="*/ 37 h 151"/>
                <a:gd name="T4" fmla="*/ 113 w 150"/>
                <a:gd name="T5" fmla="*/ 50 h 151"/>
                <a:gd name="T6" fmla="*/ 119 w 150"/>
                <a:gd name="T7" fmla="*/ 66 h 151"/>
                <a:gd name="T8" fmla="*/ 119 w 150"/>
                <a:gd name="T9" fmla="*/ 84 h 151"/>
                <a:gd name="T10" fmla="*/ 113 w 150"/>
                <a:gd name="T11" fmla="*/ 101 h 151"/>
                <a:gd name="T12" fmla="*/ 100 w 150"/>
                <a:gd name="T13" fmla="*/ 112 h 151"/>
                <a:gd name="T14" fmla="*/ 84 w 150"/>
                <a:gd name="T15" fmla="*/ 120 h 151"/>
                <a:gd name="T16" fmla="*/ 66 w 150"/>
                <a:gd name="T17" fmla="*/ 120 h 151"/>
                <a:gd name="T18" fmla="*/ 50 w 150"/>
                <a:gd name="T19" fmla="*/ 112 h 151"/>
                <a:gd name="T20" fmla="*/ 38 w 150"/>
                <a:gd name="T21" fmla="*/ 101 h 151"/>
                <a:gd name="T22" fmla="*/ 30 w 150"/>
                <a:gd name="T23" fmla="*/ 84 h 151"/>
                <a:gd name="T24" fmla="*/ 30 w 150"/>
                <a:gd name="T25" fmla="*/ 66 h 151"/>
                <a:gd name="T26" fmla="*/ 38 w 150"/>
                <a:gd name="T27" fmla="*/ 50 h 151"/>
                <a:gd name="T28" fmla="*/ 50 w 150"/>
                <a:gd name="T29" fmla="*/ 37 h 151"/>
                <a:gd name="T30" fmla="*/ 66 w 150"/>
                <a:gd name="T31" fmla="*/ 31 h 151"/>
                <a:gd name="T32" fmla="*/ 75 w 150"/>
                <a:gd name="T33" fmla="*/ 150 h 151"/>
                <a:gd name="T34" fmla="*/ 90 w 150"/>
                <a:gd name="T35" fmla="*/ 149 h 151"/>
                <a:gd name="T36" fmla="*/ 104 w 150"/>
                <a:gd name="T37" fmla="*/ 145 h 151"/>
                <a:gd name="T38" fmla="*/ 117 w 150"/>
                <a:gd name="T39" fmla="*/ 137 h 151"/>
                <a:gd name="T40" fmla="*/ 128 w 150"/>
                <a:gd name="T41" fmla="*/ 128 h 151"/>
                <a:gd name="T42" fmla="*/ 138 w 150"/>
                <a:gd name="T43" fmla="*/ 118 h 151"/>
                <a:gd name="T44" fmla="*/ 144 w 150"/>
                <a:gd name="T45" fmla="*/ 105 h 151"/>
                <a:gd name="T46" fmla="*/ 148 w 150"/>
                <a:gd name="T47" fmla="*/ 90 h 151"/>
                <a:gd name="T48" fmla="*/ 150 w 150"/>
                <a:gd name="T49" fmla="*/ 75 h 151"/>
                <a:gd name="T50" fmla="*/ 148 w 150"/>
                <a:gd name="T51" fmla="*/ 60 h 151"/>
                <a:gd name="T52" fmla="*/ 144 w 150"/>
                <a:gd name="T53" fmla="*/ 46 h 151"/>
                <a:gd name="T54" fmla="*/ 138 w 150"/>
                <a:gd name="T55" fmla="*/ 33 h 151"/>
                <a:gd name="T56" fmla="*/ 128 w 150"/>
                <a:gd name="T57" fmla="*/ 22 h 151"/>
                <a:gd name="T58" fmla="*/ 117 w 150"/>
                <a:gd name="T59" fmla="*/ 13 h 151"/>
                <a:gd name="T60" fmla="*/ 104 w 150"/>
                <a:gd name="T61" fmla="*/ 6 h 151"/>
                <a:gd name="T62" fmla="*/ 90 w 150"/>
                <a:gd name="T63" fmla="*/ 2 h 151"/>
                <a:gd name="T64" fmla="*/ 75 w 150"/>
                <a:gd name="T65" fmla="*/ 0 h 151"/>
                <a:gd name="T66" fmla="*/ 60 w 150"/>
                <a:gd name="T67" fmla="*/ 2 h 151"/>
                <a:gd name="T68" fmla="*/ 45 w 150"/>
                <a:gd name="T69" fmla="*/ 6 h 151"/>
                <a:gd name="T70" fmla="*/ 32 w 150"/>
                <a:gd name="T71" fmla="*/ 13 h 151"/>
                <a:gd name="T72" fmla="*/ 22 w 150"/>
                <a:gd name="T73" fmla="*/ 22 h 151"/>
                <a:gd name="T74" fmla="*/ 13 w 150"/>
                <a:gd name="T75" fmla="*/ 33 h 151"/>
                <a:gd name="T76" fmla="*/ 6 w 150"/>
                <a:gd name="T77" fmla="*/ 46 h 151"/>
                <a:gd name="T78" fmla="*/ 1 w 150"/>
                <a:gd name="T79" fmla="*/ 60 h 151"/>
                <a:gd name="T80" fmla="*/ 0 w 150"/>
                <a:gd name="T81" fmla="*/ 75 h 151"/>
                <a:gd name="T82" fmla="*/ 1 w 150"/>
                <a:gd name="T83" fmla="*/ 90 h 151"/>
                <a:gd name="T84" fmla="*/ 6 w 150"/>
                <a:gd name="T85" fmla="*/ 105 h 151"/>
                <a:gd name="T86" fmla="*/ 13 w 150"/>
                <a:gd name="T87" fmla="*/ 117 h 151"/>
                <a:gd name="T88" fmla="*/ 22 w 150"/>
                <a:gd name="T89" fmla="*/ 128 h 151"/>
                <a:gd name="T90" fmla="*/ 32 w 150"/>
                <a:gd name="T91" fmla="*/ 137 h 151"/>
                <a:gd name="T92" fmla="*/ 45 w 150"/>
                <a:gd name="T93" fmla="*/ 145 h 151"/>
                <a:gd name="T94" fmla="*/ 60 w 150"/>
                <a:gd name="T95" fmla="*/ 149 h 151"/>
                <a:gd name="T96" fmla="*/ 75 w 150"/>
                <a:gd name="T97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0" h="151">
                  <a:moveTo>
                    <a:pt x="75" y="30"/>
                  </a:moveTo>
                  <a:lnTo>
                    <a:pt x="84" y="31"/>
                  </a:lnTo>
                  <a:lnTo>
                    <a:pt x="93" y="34"/>
                  </a:lnTo>
                  <a:lnTo>
                    <a:pt x="100" y="37"/>
                  </a:lnTo>
                  <a:lnTo>
                    <a:pt x="106" y="44"/>
                  </a:lnTo>
                  <a:lnTo>
                    <a:pt x="113" y="50"/>
                  </a:lnTo>
                  <a:lnTo>
                    <a:pt x="116" y="58"/>
                  </a:lnTo>
                  <a:lnTo>
                    <a:pt x="119" y="66"/>
                  </a:lnTo>
                  <a:lnTo>
                    <a:pt x="120" y="75"/>
                  </a:lnTo>
                  <a:lnTo>
                    <a:pt x="119" y="84"/>
                  </a:lnTo>
                  <a:lnTo>
                    <a:pt x="116" y="93"/>
                  </a:lnTo>
                  <a:lnTo>
                    <a:pt x="113" y="101"/>
                  </a:lnTo>
                  <a:lnTo>
                    <a:pt x="106" y="107"/>
                  </a:lnTo>
                  <a:lnTo>
                    <a:pt x="100" y="112"/>
                  </a:lnTo>
                  <a:lnTo>
                    <a:pt x="93" y="117"/>
                  </a:lnTo>
                  <a:lnTo>
                    <a:pt x="84" y="120"/>
                  </a:lnTo>
                  <a:lnTo>
                    <a:pt x="75" y="120"/>
                  </a:lnTo>
                  <a:lnTo>
                    <a:pt x="66" y="120"/>
                  </a:lnTo>
                  <a:lnTo>
                    <a:pt x="57" y="117"/>
                  </a:lnTo>
                  <a:lnTo>
                    <a:pt x="50" y="112"/>
                  </a:lnTo>
                  <a:lnTo>
                    <a:pt x="43" y="107"/>
                  </a:lnTo>
                  <a:lnTo>
                    <a:pt x="38" y="101"/>
                  </a:lnTo>
                  <a:lnTo>
                    <a:pt x="34" y="93"/>
                  </a:lnTo>
                  <a:lnTo>
                    <a:pt x="30" y="84"/>
                  </a:lnTo>
                  <a:lnTo>
                    <a:pt x="30" y="75"/>
                  </a:lnTo>
                  <a:lnTo>
                    <a:pt x="30" y="66"/>
                  </a:lnTo>
                  <a:lnTo>
                    <a:pt x="34" y="58"/>
                  </a:lnTo>
                  <a:lnTo>
                    <a:pt x="38" y="50"/>
                  </a:lnTo>
                  <a:lnTo>
                    <a:pt x="43" y="44"/>
                  </a:lnTo>
                  <a:lnTo>
                    <a:pt x="50" y="37"/>
                  </a:lnTo>
                  <a:lnTo>
                    <a:pt x="57" y="34"/>
                  </a:lnTo>
                  <a:lnTo>
                    <a:pt x="66" y="31"/>
                  </a:lnTo>
                  <a:lnTo>
                    <a:pt x="75" y="30"/>
                  </a:lnTo>
                  <a:close/>
                  <a:moveTo>
                    <a:pt x="75" y="150"/>
                  </a:moveTo>
                  <a:lnTo>
                    <a:pt x="83" y="150"/>
                  </a:lnTo>
                  <a:lnTo>
                    <a:pt x="90" y="149"/>
                  </a:lnTo>
                  <a:lnTo>
                    <a:pt x="98" y="147"/>
                  </a:lnTo>
                  <a:lnTo>
                    <a:pt x="104" y="145"/>
                  </a:lnTo>
                  <a:lnTo>
                    <a:pt x="111" y="141"/>
                  </a:lnTo>
                  <a:lnTo>
                    <a:pt x="117" y="137"/>
                  </a:lnTo>
                  <a:lnTo>
                    <a:pt x="123" y="133"/>
                  </a:lnTo>
                  <a:lnTo>
                    <a:pt x="128" y="128"/>
                  </a:lnTo>
                  <a:lnTo>
                    <a:pt x="133" y="123"/>
                  </a:lnTo>
                  <a:lnTo>
                    <a:pt x="138" y="118"/>
                  </a:lnTo>
                  <a:lnTo>
                    <a:pt x="141" y="111"/>
                  </a:lnTo>
                  <a:lnTo>
                    <a:pt x="144" y="105"/>
                  </a:lnTo>
                  <a:lnTo>
                    <a:pt x="147" y="97"/>
                  </a:lnTo>
                  <a:lnTo>
                    <a:pt x="148" y="90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67"/>
                  </a:lnTo>
                  <a:lnTo>
                    <a:pt x="148" y="60"/>
                  </a:lnTo>
                  <a:lnTo>
                    <a:pt x="147" y="52"/>
                  </a:lnTo>
                  <a:lnTo>
                    <a:pt x="144" y="46"/>
                  </a:lnTo>
                  <a:lnTo>
                    <a:pt x="141" y="39"/>
                  </a:lnTo>
                  <a:lnTo>
                    <a:pt x="138" y="33"/>
                  </a:lnTo>
                  <a:lnTo>
                    <a:pt x="133" y="28"/>
                  </a:lnTo>
                  <a:lnTo>
                    <a:pt x="128" y="22"/>
                  </a:lnTo>
                  <a:lnTo>
                    <a:pt x="123" y="17"/>
                  </a:lnTo>
                  <a:lnTo>
                    <a:pt x="117" y="13"/>
                  </a:lnTo>
                  <a:lnTo>
                    <a:pt x="111" y="9"/>
                  </a:lnTo>
                  <a:lnTo>
                    <a:pt x="104" y="6"/>
                  </a:lnTo>
                  <a:lnTo>
                    <a:pt x="98" y="3"/>
                  </a:lnTo>
                  <a:lnTo>
                    <a:pt x="90" y="2"/>
                  </a:lnTo>
                  <a:lnTo>
                    <a:pt x="83" y="1"/>
                  </a:lnTo>
                  <a:lnTo>
                    <a:pt x="75" y="0"/>
                  </a:lnTo>
                  <a:lnTo>
                    <a:pt x="68" y="1"/>
                  </a:lnTo>
                  <a:lnTo>
                    <a:pt x="60" y="2"/>
                  </a:lnTo>
                  <a:lnTo>
                    <a:pt x="53" y="3"/>
                  </a:lnTo>
                  <a:lnTo>
                    <a:pt x="45" y="6"/>
                  </a:lnTo>
                  <a:lnTo>
                    <a:pt x="39" y="9"/>
                  </a:lnTo>
                  <a:lnTo>
                    <a:pt x="32" y="13"/>
                  </a:lnTo>
                  <a:lnTo>
                    <a:pt x="27" y="17"/>
                  </a:lnTo>
                  <a:lnTo>
                    <a:pt x="22" y="22"/>
                  </a:lnTo>
                  <a:lnTo>
                    <a:pt x="17" y="28"/>
                  </a:lnTo>
                  <a:lnTo>
                    <a:pt x="13" y="33"/>
                  </a:lnTo>
                  <a:lnTo>
                    <a:pt x="9" y="39"/>
                  </a:lnTo>
                  <a:lnTo>
                    <a:pt x="6" y="46"/>
                  </a:lnTo>
                  <a:lnTo>
                    <a:pt x="4" y="53"/>
                  </a:lnTo>
                  <a:lnTo>
                    <a:pt x="1" y="60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1" y="90"/>
                  </a:lnTo>
                  <a:lnTo>
                    <a:pt x="4" y="97"/>
                  </a:lnTo>
                  <a:lnTo>
                    <a:pt x="6" y="105"/>
                  </a:lnTo>
                  <a:lnTo>
                    <a:pt x="9" y="111"/>
                  </a:lnTo>
                  <a:lnTo>
                    <a:pt x="13" y="117"/>
                  </a:lnTo>
                  <a:lnTo>
                    <a:pt x="17" y="123"/>
                  </a:lnTo>
                  <a:lnTo>
                    <a:pt x="22" y="128"/>
                  </a:lnTo>
                  <a:lnTo>
                    <a:pt x="27" y="133"/>
                  </a:lnTo>
                  <a:lnTo>
                    <a:pt x="32" y="137"/>
                  </a:lnTo>
                  <a:lnTo>
                    <a:pt x="39" y="141"/>
                  </a:lnTo>
                  <a:lnTo>
                    <a:pt x="45" y="145"/>
                  </a:lnTo>
                  <a:lnTo>
                    <a:pt x="53" y="147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5" y="151"/>
                  </a:lnTo>
                  <a:lnTo>
                    <a:pt x="75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="" xmlns:a16="http://schemas.microsoft.com/office/drawing/2014/main" id="{A7F36A35-9D46-4B9F-9F29-1011F8AE90BB}"/>
              </a:ext>
            </a:extLst>
          </p:cNvPr>
          <p:cNvGrpSpPr/>
          <p:nvPr/>
        </p:nvGrpSpPr>
        <p:grpSpPr>
          <a:xfrm>
            <a:off x="8676269" y="2368956"/>
            <a:ext cx="595544" cy="595544"/>
            <a:chOff x="8743951" y="1343025"/>
            <a:chExt cx="287338" cy="287338"/>
          </a:xfrm>
          <a:solidFill>
            <a:schemeClr val="bg1"/>
          </a:solidFill>
        </p:grpSpPr>
        <p:sp>
          <p:nvSpPr>
            <p:cNvPr id="112" name="Freeform 369">
              <a:extLst>
                <a:ext uri="{FF2B5EF4-FFF2-40B4-BE49-F238E27FC236}">
                  <a16:creationId xmlns="" xmlns:a16="http://schemas.microsoft.com/office/drawing/2014/main" id="{F9861BCF-0900-43D9-ACAE-620E52F806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67763" y="1343025"/>
              <a:ext cx="171450" cy="53975"/>
            </a:xfrm>
            <a:custGeom>
              <a:avLst/>
              <a:gdLst>
                <a:gd name="T0" fmla="*/ 209 w 541"/>
                <a:gd name="T1" fmla="*/ 33 h 167"/>
                <a:gd name="T2" fmla="*/ 267 w 541"/>
                <a:gd name="T3" fmla="*/ 47 h 167"/>
                <a:gd name="T4" fmla="*/ 356 w 541"/>
                <a:gd name="T5" fmla="*/ 75 h 167"/>
                <a:gd name="T6" fmla="*/ 402 w 541"/>
                <a:gd name="T7" fmla="*/ 84 h 167"/>
                <a:gd name="T8" fmla="*/ 442 w 541"/>
                <a:gd name="T9" fmla="*/ 83 h 167"/>
                <a:gd name="T10" fmla="*/ 449 w 541"/>
                <a:gd name="T11" fmla="*/ 92 h 167"/>
                <a:gd name="T12" fmla="*/ 398 w 541"/>
                <a:gd name="T13" fmla="*/ 122 h 167"/>
                <a:gd name="T14" fmla="*/ 344 w 541"/>
                <a:gd name="T15" fmla="*/ 136 h 167"/>
                <a:gd name="T16" fmla="*/ 289 w 541"/>
                <a:gd name="T17" fmla="*/ 134 h 167"/>
                <a:gd name="T18" fmla="*/ 218 w 541"/>
                <a:gd name="T19" fmla="*/ 116 h 167"/>
                <a:gd name="T20" fmla="*/ 125 w 541"/>
                <a:gd name="T21" fmla="*/ 85 h 167"/>
                <a:gd name="T22" fmla="*/ 82 w 541"/>
                <a:gd name="T23" fmla="*/ 77 h 167"/>
                <a:gd name="T24" fmla="*/ 66 w 541"/>
                <a:gd name="T25" fmla="*/ 76 h 167"/>
                <a:gd name="T26" fmla="*/ 108 w 541"/>
                <a:gd name="T27" fmla="*/ 48 h 167"/>
                <a:gd name="T28" fmla="*/ 151 w 541"/>
                <a:gd name="T29" fmla="*/ 33 h 167"/>
                <a:gd name="T30" fmla="*/ 181 w 541"/>
                <a:gd name="T31" fmla="*/ 31 h 167"/>
                <a:gd name="T32" fmla="*/ 43 w 541"/>
                <a:gd name="T33" fmla="*/ 109 h 167"/>
                <a:gd name="T34" fmla="*/ 80 w 541"/>
                <a:gd name="T35" fmla="*/ 107 h 167"/>
                <a:gd name="T36" fmla="*/ 119 w 541"/>
                <a:gd name="T37" fmla="*/ 115 h 167"/>
                <a:gd name="T38" fmla="*/ 210 w 541"/>
                <a:gd name="T39" fmla="*/ 145 h 167"/>
                <a:gd name="T40" fmla="*/ 285 w 541"/>
                <a:gd name="T41" fmla="*/ 164 h 167"/>
                <a:gd name="T42" fmla="*/ 339 w 541"/>
                <a:gd name="T43" fmla="*/ 166 h 167"/>
                <a:gd name="T44" fmla="*/ 383 w 541"/>
                <a:gd name="T45" fmla="*/ 159 h 167"/>
                <a:gd name="T46" fmla="*/ 425 w 541"/>
                <a:gd name="T47" fmla="*/ 143 h 167"/>
                <a:gd name="T48" fmla="*/ 465 w 541"/>
                <a:gd name="T49" fmla="*/ 118 h 167"/>
                <a:gd name="T50" fmla="*/ 503 w 541"/>
                <a:gd name="T51" fmla="*/ 84 h 167"/>
                <a:gd name="T52" fmla="*/ 539 w 541"/>
                <a:gd name="T53" fmla="*/ 40 h 167"/>
                <a:gd name="T54" fmla="*/ 540 w 541"/>
                <a:gd name="T55" fmla="*/ 25 h 167"/>
                <a:gd name="T56" fmla="*/ 527 w 541"/>
                <a:gd name="T57" fmla="*/ 16 h 167"/>
                <a:gd name="T58" fmla="*/ 506 w 541"/>
                <a:gd name="T59" fmla="*/ 27 h 167"/>
                <a:gd name="T60" fmla="*/ 469 w 541"/>
                <a:gd name="T61" fmla="*/ 45 h 167"/>
                <a:gd name="T62" fmla="*/ 432 w 541"/>
                <a:gd name="T63" fmla="*/ 54 h 167"/>
                <a:gd name="T64" fmla="*/ 390 w 541"/>
                <a:gd name="T65" fmla="*/ 51 h 167"/>
                <a:gd name="T66" fmla="*/ 333 w 541"/>
                <a:gd name="T67" fmla="*/ 37 h 167"/>
                <a:gd name="T68" fmla="*/ 244 w 541"/>
                <a:gd name="T69" fmla="*/ 10 h 167"/>
                <a:gd name="T70" fmla="*/ 197 w 541"/>
                <a:gd name="T71" fmla="*/ 1 h 167"/>
                <a:gd name="T72" fmla="*/ 156 w 541"/>
                <a:gd name="T73" fmla="*/ 2 h 167"/>
                <a:gd name="T74" fmla="*/ 122 w 541"/>
                <a:gd name="T75" fmla="*/ 10 h 167"/>
                <a:gd name="T76" fmla="*/ 89 w 541"/>
                <a:gd name="T77" fmla="*/ 24 h 167"/>
                <a:gd name="T78" fmla="*/ 56 w 541"/>
                <a:gd name="T79" fmla="*/ 45 h 167"/>
                <a:gd name="T80" fmla="*/ 24 w 541"/>
                <a:gd name="T81" fmla="*/ 73 h 167"/>
                <a:gd name="T82" fmla="*/ 1 w 541"/>
                <a:gd name="T83" fmla="*/ 101 h 167"/>
                <a:gd name="T84" fmla="*/ 3 w 541"/>
                <a:gd name="T85" fmla="*/ 116 h 167"/>
                <a:gd name="T86" fmla="*/ 18 w 541"/>
                <a:gd name="T87" fmla="*/ 120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1" h="167">
                  <a:moveTo>
                    <a:pt x="181" y="31"/>
                  </a:moveTo>
                  <a:lnTo>
                    <a:pt x="195" y="31"/>
                  </a:lnTo>
                  <a:lnTo>
                    <a:pt x="209" y="33"/>
                  </a:lnTo>
                  <a:lnTo>
                    <a:pt x="224" y="35"/>
                  </a:lnTo>
                  <a:lnTo>
                    <a:pt x="238" y="39"/>
                  </a:lnTo>
                  <a:lnTo>
                    <a:pt x="267" y="47"/>
                  </a:lnTo>
                  <a:lnTo>
                    <a:pt x="296" y="57"/>
                  </a:lnTo>
                  <a:lnTo>
                    <a:pt x="324" y="66"/>
                  </a:lnTo>
                  <a:lnTo>
                    <a:pt x="356" y="75"/>
                  </a:lnTo>
                  <a:lnTo>
                    <a:pt x="371" y="78"/>
                  </a:lnTo>
                  <a:lnTo>
                    <a:pt x="387" y="81"/>
                  </a:lnTo>
                  <a:lnTo>
                    <a:pt x="402" y="84"/>
                  </a:lnTo>
                  <a:lnTo>
                    <a:pt x="418" y="84"/>
                  </a:lnTo>
                  <a:lnTo>
                    <a:pt x="430" y="84"/>
                  </a:lnTo>
                  <a:lnTo>
                    <a:pt x="442" y="83"/>
                  </a:lnTo>
                  <a:lnTo>
                    <a:pt x="453" y="80"/>
                  </a:lnTo>
                  <a:lnTo>
                    <a:pt x="465" y="77"/>
                  </a:lnTo>
                  <a:lnTo>
                    <a:pt x="449" y="92"/>
                  </a:lnTo>
                  <a:lnTo>
                    <a:pt x="433" y="104"/>
                  </a:lnTo>
                  <a:lnTo>
                    <a:pt x="416" y="114"/>
                  </a:lnTo>
                  <a:lnTo>
                    <a:pt x="398" y="122"/>
                  </a:lnTo>
                  <a:lnTo>
                    <a:pt x="380" y="129"/>
                  </a:lnTo>
                  <a:lnTo>
                    <a:pt x="363" y="133"/>
                  </a:lnTo>
                  <a:lnTo>
                    <a:pt x="344" y="136"/>
                  </a:lnTo>
                  <a:lnTo>
                    <a:pt x="324" y="137"/>
                  </a:lnTo>
                  <a:lnTo>
                    <a:pt x="307" y="136"/>
                  </a:lnTo>
                  <a:lnTo>
                    <a:pt x="289" y="134"/>
                  </a:lnTo>
                  <a:lnTo>
                    <a:pt x="271" y="131"/>
                  </a:lnTo>
                  <a:lnTo>
                    <a:pt x="254" y="127"/>
                  </a:lnTo>
                  <a:lnTo>
                    <a:pt x="218" y="116"/>
                  </a:lnTo>
                  <a:lnTo>
                    <a:pt x="184" y="104"/>
                  </a:lnTo>
                  <a:lnTo>
                    <a:pt x="154" y="94"/>
                  </a:lnTo>
                  <a:lnTo>
                    <a:pt x="125" y="85"/>
                  </a:lnTo>
                  <a:lnTo>
                    <a:pt x="110" y="81"/>
                  </a:lnTo>
                  <a:lnTo>
                    <a:pt x="96" y="78"/>
                  </a:lnTo>
                  <a:lnTo>
                    <a:pt x="82" y="77"/>
                  </a:lnTo>
                  <a:lnTo>
                    <a:pt x="68" y="76"/>
                  </a:lnTo>
                  <a:lnTo>
                    <a:pt x="67" y="76"/>
                  </a:lnTo>
                  <a:lnTo>
                    <a:pt x="66" y="76"/>
                  </a:lnTo>
                  <a:lnTo>
                    <a:pt x="80" y="65"/>
                  </a:lnTo>
                  <a:lnTo>
                    <a:pt x="94" y="56"/>
                  </a:lnTo>
                  <a:lnTo>
                    <a:pt x="108" y="48"/>
                  </a:lnTo>
                  <a:lnTo>
                    <a:pt x="122" y="42"/>
                  </a:lnTo>
                  <a:lnTo>
                    <a:pt x="136" y="36"/>
                  </a:lnTo>
                  <a:lnTo>
                    <a:pt x="151" y="33"/>
                  </a:lnTo>
                  <a:lnTo>
                    <a:pt x="166" y="31"/>
                  </a:lnTo>
                  <a:lnTo>
                    <a:pt x="181" y="31"/>
                  </a:lnTo>
                  <a:lnTo>
                    <a:pt x="181" y="31"/>
                  </a:lnTo>
                  <a:close/>
                  <a:moveTo>
                    <a:pt x="23" y="119"/>
                  </a:moveTo>
                  <a:lnTo>
                    <a:pt x="33" y="114"/>
                  </a:lnTo>
                  <a:lnTo>
                    <a:pt x="43" y="109"/>
                  </a:lnTo>
                  <a:lnTo>
                    <a:pt x="55" y="107"/>
                  </a:lnTo>
                  <a:lnTo>
                    <a:pt x="68" y="106"/>
                  </a:lnTo>
                  <a:lnTo>
                    <a:pt x="80" y="107"/>
                  </a:lnTo>
                  <a:lnTo>
                    <a:pt x="93" y="108"/>
                  </a:lnTo>
                  <a:lnTo>
                    <a:pt x="106" y="112"/>
                  </a:lnTo>
                  <a:lnTo>
                    <a:pt x="119" y="115"/>
                  </a:lnTo>
                  <a:lnTo>
                    <a:pt x="145" y="123"/>
                  </a:lnTo>
                  <a:lnTo>
                    <a:pt x="174" y="133"/>
                  </a:lnTo>
                  <a:lnTo>
                    <a:pt x="210" y="145"/>
                  </a:lnTo>
                  <a:lnTo>
                    <a:pt x="246" y="155"/>
                  </a:lnTo>
                  <a:lnTo>
                    <a:pt x="265" y="161"/>
                  </a:lnTo>
                  <a:lnTo>
                    <a:pt x="285" y="164"/>
                  </a:lnTo>
                  <a:lnTo>
                    <a:pt x="305" y="166"/>
                  </a:lnTo>
                  <a:lnTo>
                    <a:pt x="324" y="167"/>
                  </a:lnTo>
                  <a:lnTo>
                    <a:pt x="339" y="166"/>
                  </a:lnTo>
                  <a:lnTo>
                    <a:pt x="355" y="165"/>
                  </a:lnTo>
                  <a:lnTo>
                    <a:pt x="370" y="163"/>
                  </a:lnTo>
                  <a:lnTo>
                    <a:pt x="383" y="159"/>
                  </a:lnTo>
                  <a:lnTo>
                    <a:pt x="397" y="154"/>
                  </a:lnTo>
                  <a:lnTo>
                    <a:pt x="411" y="149"/>
                  </a:lnTo>
                  <a:lnTo>
                    <a:pt x="425" y="143"/>
                  </a:lnTo>
                  <a:lnTo>
                    <a:pt x="438" y="135"/>
                  </a:lnTo>
                  <a:lnTo>
                    <a:pt x="451" y="127"/>
                  </a:lnTo>
                  <a:lnTo>
                    <a:pt x="465" y="118"/>
                  </a:lnTo>
                  <a:lnTo>
                    <a:pt x="478" y="107"/>
                  </a:lnTo>
                  <a:lnTo>
                    <a:pt x="490" y="95"/>
                  </a:lnTo>
                  <a:lnTo>
                    <a:pt x="503" y="84"/>
                  </a:lnTo>
                  <a:lnTo>
                    <a:pt x="514" y="70"/>
                  </a:lnTo>
                  <a:lnTo>
                    <a:pt x="527" y="55"/>
                  </a:lnTo>
                  <a:lnTo>
                    <a:pt x="539" y="40"/>
                  </a:lnTo>
                  <a:lnTo>
                    <a:pt x="541" y="34"/>
                  </a:lnTo>
                  <a:lnTo>
                    <a:pt x="541" y="29"/>
                  </a:lnTo>
                  <a:lnTo>
                    <a:pt x="540" y="25"/>
                  </a:lnTo>
                  <a:lnTo>
                    <a:pt x="537" y="20"/>
                  </a:lnTo>
                  <a:lnTo>
                    <a:pt x="533" y="17"/>
                  </a:lnTo>
                  <a:lnTo>
                    <a:pt x="527" y="16"/>
                  </a:lnTo>
                  <a:lnTo>
                    <a:pt x="522" y="16"/>
                  </a:lnTo>
                  <a:lnTo>
                    <a:pt x="518" y="18"/>
                  </a:lnTo>
                  <a:lnTo>
                    <a:pt x="506" y="27"/>
                  </a:lnTo>
                  <a:lnTo>
                    <a:pt x="493" y="34"/>
                  </a:lnTo>
                  <a:lnTo>
                    <a:pt x="481" y="41"/>
                  </a:lnTo>
                  <a:lnTo>
                    <a:pt x="469" y="45"/>
                  </a:lnTo>
                  <a:lnTo>
                    <a:pt x="456" y="49"/>
                  </a:lnTo>
                  <a:lnTo>
                    <a:pt x="445" y="51"/>
                  </a:lnTo>
                  <a:lnTo>
                    <a:pt x="432" y="54"/>
                  </a:lnTo>
                  <a:lnTo>
                    <a:pt x="418" y="54"/>
                  </a:lnTo>
                  <a:lnTo>
                    <a:pt x="404" y="54"/>
                  </a:lnTo>
                  <a:lnTo>
                    <a:pt x="390" y="51"/>
                  </a:lnTo>
                  <a:lnTo>
                    <a:pt x="376" y="49"/>
                  </a:lnTo>
                  <a:lnTo>
                    <a:pt x="362" y="46"/>
                  </a:lnTo>
                  <a:lnTo>
                    <a:pt x="333" y="37"/>
                  </a:lnTo>
                  <a:lnTo>
                    <a:pt x="305" y="28"/>
                  </a:lnTo>
                  <a:lnTo>
                    <a:pt x="275" y="18"/>
                  </a:lnTo>
                  <a:lnTo>
                    <a:pt x="244" y="10"/>
                  </a:lnTo>
                  <a:lnTo>
                    <a:pt x="228" y="5"/>
                  </a:lnTo>
                  <a:lnTo>
                    <a:pt x="213" y="3"/>
                  </a:lnTo>
                  <a:lnTo>
                    <a:pt x="197" y="1"/>
                  </a:lnTo>
                  <a:lnTo>
                    <a:pt x="181" y="0"/>
                  </a:lnTo>
                  <a:lnTo>
                    <a:pt x="168" y="1"/>
                  </a:lnTo>
                  <a:lnTo>
                    <a:pt x="156" y="2"/>
                  </a:lnTo>
                  <a:lnTo>
                    <a:pt x="145" y="3"/>
                  </a:lnTo>
                  <a:lnTo>
                    <a:pt x="134" y="6"/>
                  </a:lnTo>
                  <a:lnTo>
                    <a:pt x="122" y="10"/>
                  </a:lnTo>
                  <a:lnTo>
                    <a:pt x="111" y="14"/>
                  </a:lnTo>
                  <a:lnTo>
                    <a:pt x="99" y="18"/>
                  </a:lnTo>
                  <a:lnTo>
                    <a:pt x="89" y="24"/>
                  </a:lnTo>
                  <a:lnTo>
                    <a:pt x="78" y="30"/>
                  </a:lnTo>
                  <a:lnTo>
                    <a:pt x="67" y="37"/>
                  </a:lnTo>
                  <a:lnTo>
                    <a:pt x="56" y="45"/>
                  </a:lnTo>
                  <a:lnTo>
                    <a:pt x="46" y="54"/>
                  </a:lnTo>
                  <a:lnTo>
                    <a:pt x="35" y="63"/>
                  </a:lnTo>
                  <a:lnTo>
                    <a:pt x="24" y="73"/>
                  </a:lnTo>
                  <a:lnTo>
                    <a:pt x="13" y="84"/>
                  </a:lnTo>
                  <a:lnTo>
                    <a:pt x="3" y="95"/>
                  </a:lnTo>
                  <a:lnTo>
                    <a:pt x="1" y="101"/>
                  </a:lnTo>
                  <a:lnTo>
                    <a:pt x="0" y="106"/>
                  </a:lnTo>
                  <a:lnTo>
                    <a:pt x="1" y="110"/>
                  </a:lnTo>
                  <a:lnTo>
                    <a:pt x="3" y="116"/>
                  </a:lnTo>
                  <a:lnTo>
                    <a:pt x="7" y="119"/>
                  </a:lnTo>
                  <a:lnTo>
                    <a:pt x="12" y="121"/>
                  </a:lnTo>
                  <a:lnTo>
                    <a:pt x="18" y="120"/>
                  </a:lnTo>
                  <a:lnTo>
                    <a:pt x="23" y="1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370">
              <a:extLst>
                <a:ext uri="{FF2B5EF4-FFF2-40B4-BE49-F238E27FC236}">
                  <a16:creationId xmlns="" xmlns:a16="http://schemas.microsoft.com/office/drawing/2014/main" id="{5DCB7609-A66E-4A18-9B00-87CA6C519D6C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9676" y="1563688"/>
              <a:ext cx="28575" cy="9525"/>
            </a:xfrm>
            <a:custGeom>
              <a:avLst/>
              <a:gdLst>
                <a:gd name="T0" fmla="*/ 76 w 91"/>
                <a:gd name="T1" fmla="*/ 0 h 30"/>
                <a:gd name="T2" fmla="*/ 16 w 91"/>
                <a:gd name="T3" fmla="*/ 0 h 30"/>
                <a:gd name="T4" fmla="*/ 13 w 91"/>
                <a:gd name="T5" fmla="*/ 0 h 30"/>
                <a:gd name="T6" fmla="*/ 9 w 91"/>
                <a:gd name="T7" fmla="*/ 1 h 30"/>
                <a:gd name="T8" fmla="*/ 7 w 91"/>
                <a:gd name="T9" fmla="*/ 2 h 30"/>
                <a:gd name="T10" fmla="*/ 5 w 91"/>
                <a:gd name="T11" fmla="*/ 4 h 30"/>
                <a:gd name="T12" fmla="*/ 3 w 91"/>
                <a:gd name="T13" fmla="*/ 6 h 30"/>
                <a:gd name="T14" fmla="*/ 2 w 91"/>
                <a:gd name="T15" fmla="*/ 10 h 30"/>
                <a:gd name="T16" fmla="*/ 1 w 91"/>
                <a:gd name="T17" fmla="*/ 12 h 30"/>
                <a:gd name="T18" fmla="*/ 0 w 91"/>
                <a:gd name="T19" fmla="*/ 15 h 30"/>
                <a:gd name="T20" fmla="*/ 1 w 91"/>
                <a:gd name="T21" fmla="*/ 18 h 30"/>
                <a:gd name="T22" fmla="*/ 2 w 91"/>
                <a:gd name="T23" fmla="*/ 21 h 30"/>
                <a:gd name="T24" fmla="*/ 3 w 91"/>
                <a:gd name="T25" fmla="*/ 24 h 30"/>
                <a:gd name="T26" fmla="*/ 5 w 91"/>
                <a:gd name="T27" fmla="*/ 26 h 30"/>
                <a:gd name="T28" fmla="*/ 7 w 91"/>
                <a:gd name="T29" fmla="*/ 28 h 30"/>
                <a:gd name="T30" fmla="*/ 9 w 91"/>
                <a:gd name="T31" fmla="*/ 29 h 30"/>
                <a:gd name="T32" fmla="*/ 13 w 91"/>
                <a:gd name="T33" fmla="*/ 30 h 30"/>
                <a:gd name="T34" fmla="*/ 16 w 91"/>
                <a:gd name="T35" fmla="*/ 30 h 30"/>
                <a:gd name="T36" fmla="*/ 76 w 91"/>
                <a:gd name="T37" fmla="*/ 30 h 30"/>
                <a:gd name="T38" fmla="*/ 78 w 91"/>
                <a:gd name="T39" fmla="*/ 30 h 30"/>
                <a:gd name="T40" fmla="*/ 81 w 91"/>
                <a:gd name="T41" fmla="*/ 29 h 30"/>
                <a:gd name="T42" fmla="*/ 83 w 91"/>
                <a:gd name="T43" fmla="*/ 28 h 30"/>
                <a:gd name="T44" fmla="*/ 87 w 91"/>
                <a:gd name="T45" fmla="*/ 26 h 30"/>
                <a:gd name="T46" fmla="*/ 88 w 91"/>
                <a:gd name="T47" fmla="*/ 24 h 30"/>
                <a:gd name="T48" fmla="*/ 90 w 91"/>
                <a:gd name="T49" fmla="*/ 21 h 30"/>
                <a:gd name="T50" fmla="*/ 90 w 91"/>
                <a:gd name="T51" fmla="*/ 18 h 30"/>
                <a:gd name="T52" fmla="*/ 91 w 91"/>
                <a:gd name="T53" fmla="*/ 15 h 30"/>
                <a:gd name="T54" fmla="*/ 90 w 91"/>
                <a:gd name="T55" fmla="*/ 12 h 30"/>
                <a:gd name="T56" fmla="*/ 90 w 91"/>
                <a:gd name="T57" fmla="*/ 10 h 30"/>
                <a:gd name="T58" fmla="*/ 88 w 91"/>
                <a:gd name="T59" fmla="*/ 6 h 30"/>
                <a:gd name="T60" fmla="*/ 87 w 91"/>
                <a:gd name="T61" fmla="*/ 4 h 30"/>
                <a:gd name="T62" fmla="*/ 83 w 91"/>
                <a:gd name="T63" fmla="*/ 2 h 30"/>
                <a:gd name="T64" fmla="*/ 81 w 91"/>
                <a:gd name="T65" fmla="*/ 1 h 30"/>
                <a:gd name="T66" fmla="*/ 78 w 91"/>
                <a:gd name="T67" fmla="*/ 0 h 30"/>
                <a:gd name="T68" fmla="*/ 76 w 9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1" h="30">
                  <a:moveTo>
                    <a:pt x="76" y="0"/>
                  </a:moveTo>
                  <a:lnTo>
                    <a:pt x="16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3" y="6"/>
                  </a:lnTo>
                  <a:lnTo>
                    <a:pt x="2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2" y="21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3" y="30"/>
                  </a:lnTo>
                  <a:lnTo>
                    <a:pt x="16" y="30"/>
                  </a:lnTo>
                  <a:lnTo>
                    <a:pt x="76" y="30"/>
                  </a:lnTo>
                  <a:lnTo>
                    <a:pt x="78" y="30"/>
                  </a:lnTo>
                  <a:lnTo>
                    <a:pt x="81" y="29"/>
                  </a:lnTo>
                  <a:lnTo>
                    <a:pt x="83" y="28"/>
                  </a:lnTo>
                  <a:lnTo>
                    <a:pt x="87" y="26"/>
                  </a:lnTo>
                  <a:lnTo>
                    <a:pt x="88" y="24"/>
                  </a:lnTo>
                  <a:lnTo>
                    <a:pt x="90" y="21"/>
                  </a:lnTo>
                  <a:lnTo>
                    <a:pt x="90" y="18"/>
                  </a:lnTo>
                  <a:lnTo>
                    <a:pt x="91" y="15"/>
                  </a:lnTo>
                  <a:lnTo>
                    <a:pt x="90" y="12"/>
                  </a:lnTo>
                  <a:lnTo>
                    <a:pt x="90" y="10"/>
                  </a:lnTo>
                  <a:lnTo>
                    <a:pt x="88" y="6"/>
                  </a:lnTo>
                  <a:lnTo>
                    <a:pt x="87" y="4"/>
                  </a:lnTo>
                  <a:lnTo>
                    <a:pt x="83" y="2"/>
                  </a:lnTo>
                  <a:lnTo>
                    <a:pt x="81" y="1"/>
                  </a:lnTo>
                  <a:lnTo>
                    <a:pt x="78" y="0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371">
              <a:extLst>
                <a:ext uri="{FF2B5EF4-FFF2-40B4-BE49-F238E27FC236}">
                  <a16:creationId xmlns="" xmlns:a16="http://schemas.microsoft.com/office/drawing/2014/main" id="{BBF083FC-FE32-4E3A-A00B-E4AB45BC65EE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9676" y="1592263"/>
              <a:ext cx="28575" cy="9525"/>
            </a:xfrm>
            <a:custGeom>
              <a:avLst/>
              <a:gdLst>
                <a:gd name="T0" fmla="*/ 76 w 91"/>
                <a:gd name="T1" fmla="*/ 0 h 30"/>
                <a:gd name="T2" fmla="*/ 16 w 91"/>
                <a:gd name="T3" fmla="*/ 0 h 30"/>
                <a:gd name="T4" fmla="*/ 13 w 91"/>
                <a:gd name="T5" fmla="*/ 1 h 30"/>
                <a:gd name="T6" fmla="*/ 9 w 91"/>
                <a:gd name="T7" fmla="*/ 1 h 30"/>
                <a:gd name="T8" fmla="*/ 7 w 91"/>
                <a:gd name="T9" fmla="*/ 3 h 30"/>
                <a:gd name="T10" fmla="*/ 5 w 91"/>
                <a:gd name="T11" fmla="*/ 4 h 30"/>
                <a:gd name="T12" fmla="*/ 3 w 91"/>
                <a:gd name="T13" fmla="*/ 8 h 30"/>
                <a:gd name="T14" fmla="*/ 2 w 91"/>
                <a:gd name="T15" fmla="*/ 10 h 30"/>
                <a:gd name="T16" fmla="*/ 1 w 91"/>
                <a:gd name="T17" fmla="*/ 13 h 30"/>
                <a:gd name="T18" fmla="*/ 0 w 91"/>
                <a:gd name="T19" fmla="*/ 15 h 30"/>
                <a:gd name="T20" fmla="*/ 1 w 91"/>
                <a:gd name="T21" fmla="*/ 18 h 30"/>
                <a:gd name="T22" fmla="*/ 2 w 91"/>
                <a:gd name="T23" fmla="*/ 22 h 30"/>
                <a:gd name="T24" fmla="*/ 3 w 91"/>
                <a:gd name="T25" fmla="*/ 24 h 30"/>
                <a:gd name="T26" fmla="*/ 5 w 91"/>
                <a:gd name="T27" fmla="*/ 26 h 30"/>
                <a:gd name="T28" fmla="*/ 7 w 91"/>
                <a:gd name="T29" fmla="*/ 28 h 30"/>
                <a:gd name="T30" fmla="*/ 9 w 91"/>
                <a:gd name="T31" fmla="*/ 29 h 30"/>
                <a:gd name="T32" fmla="*/ 13 w 91"/>
                <a:gd name="T33" fmla="*/ 30 h 30"/>
                <a:gd name="T34" fmla="*/ 16 w 91"/>
                <a:gd name="T35" fmla="*/ 30 h 30"/>
                <a:gd name="T36" fmla="*/ 76 w 91"/>
                <a:gd name="T37" fmla="*/ 30 h 30"/>
                <a:gd name="T38" fmla="*/ 78 w 91"/>
                <a:gd name="T39" fmla="*/ 30 h 30"/>
                <a:gd name="T40" fmla="*/ 81 w 91"/>
                <a:gd name="T41" fmla="*/ 29 h 30"/>
                <a:gd name="T42" fmla="*/ 83 w 91"/>
                <a:gd name="T43" fmla="*/ 28 h 30"/>
                <a:gd name="T44" fmla="*/ 87 w 91"/>
                <a:gd name="T45" fmla="*/ 26 h 30"/>
                <a:gd name="T46" fmla="*/ 88 w 91"/>
                <a:gd name="T47" fmla="*/ 24 h 30"/>
                <a:gd name="T48" fmla="*/ 90 w 91"/>
                <a:gd name="T49" fmla="*/ 22 h 30"/>
                <a:gd name="T50" fmla="*/ 90 w 91"/>
                <a:gd name="T51" fmla="*/ 18 h 30"/>
                <a:gd name="T52" fmla="*/ 91 w 91"/>
                <a:gd name="T53" fmla="*/ 15 h 30"/>
                <a:gd name="T54" fmla="*/ 90 w 91"/>
                <a:gd name="T55" fmla="*/ 13 h 30"/>
                <a:gd name="T56" fmla="*/ 90 w 91"/>
                <a:gd name="T57" fmla="*/ 10 h 30"/>
                <a:gd name="T58" fmla="*/ 88 w 91"/>
                <a:gd name="T59" fmla="*/ 8 h 30"/>
                <a:gd name="T60" fmla="*/ 87 w 91"/>
                <a:gd name="T61" fmla="*/ 4 h 30"/>
                <a:gd name="T62" fmla="*/ 83 w 91"/>
                <a:gd name="T63" fmla="*/ 3 h 30"/>
                <a:gd name="T64" fmla="*/ 81 w 91"/>
                <a:gd name="T65" fmla="*/ 1 h 30"/>
                <a:gd name="T66" fmla="*/ 78 w 91"/>
                <a:gd name="T67" fmla="*/ 1 h 30"/>
                <a:gd name="T68" fmla="*/ 76 w 91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1" h="30">
                  <a:moveTo>
                    <a:pt x="76" y="0"/>
                  </a:moveTo>
                  <a:lnTo>
                    <a:pt x="16" y="0"/>
                  </a:lnTo>
                  <a:lnTo>
                    <a:pt x="13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3" y="8"/>
                  </a:lnTo>
                  <a:lnTo>
                    <a:pt x="2" y="10"/>
                  </a:lnTo>
                  <a:lnTo>
                    <a:pt x="1" y="13"/>
                  </a:lnTo>
                  <a:lnTo>
                    <a:pt x="0" y="15"/>
                  </a:lnTo>
                  <a:lnTo>
                    <a:pt x="1" y="18"/>
                  </a:lnTo>
                  <a:lnTo>
                    <a:pt x="2" y="22"/>
                  </a:lnTo>
                  <a:lnTo>
                    <a:pt x="3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3" y="30"/>
                  </a:lnTo>
                  <a:lnTo>
                    <a:pt x="16" y="30"/>
                  </a:lnTo>
                  <a:lnTo>
                    <a:pt x="76" y="30"/>
                  </a:lnTo>
                  <a:lnTo>
                    <a:pt x="78" y="30"/>
                  </a:lnTo>
                  <a:lnTo>
                    <a:pt x="81" y="29"/>
                  </a:lnTo>
                  <a:lnTo>
                    <a:pt x="83" y="28"/>
                  </a:lnTo>
                  <a:lnTo>
                    <a:pt x="87" y="26"/>
                  </a:lnTo>
                  <a:lnTo>
                    <a:pt x="88" y="24"/>
                  </a:lnTo>
                  <a:lnTo>
                    <a:pt x="90" y="22"/>
                  </a:lnTo>
                  <a:lnTo>
                    <a:pt x="90" y="18"/>
                  </a:lnTo>
                  <a:lnTo>
                    <a:pt x="91" y="15"/>
                  </a:lnTo>
                  <a:lnTo>
                    <a:pt x="90" y="13"/>
                  </a:lnTo>
                  <a:lnTo>
                    <a:pt x="90" y="10"/>
                  </a:lnTo>
                  <a:lnTo>
                    <a:pt x="88" y="8"/>
                  </a:lnTo>
                  <a:lnTo>
                    <a:pt x="87" y="4"/>
                  </a:lnTo>
                  <a:lnTo>
                    <a:pt x="83" y="3"/>
                  </a:lnTo>
                  <a:lnTo>
                    <a:pt x="81" y="1"/>
                  </a:lnTo>
                  <a:lnTo>
                    <a:pt x="78" y="1"/>
                  </a:lnTo>
                  <a:lnTo>
                    <a:pt x="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372">
              <a:extLst>
                <a:ext uri="{FF2B5EF4-FFF2-40B4-BE49-F238E27FC236}">
                  <a16:creationId xmlns="" xmlns:a16="http://schemas.microsoft.com/office/drawing/2014/main" id="{680BCA55-BC78-4BC3-A936-456FD255F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1113" y="1563688"/>
              <a:ext cx="28575" cy="9525"/>
            </a:xfrm>
            <a:custGeom>
              <a:avLst/>
              <a:gdLst>
                <a:gd name="T0" fmla="*/ 75 w 90"/>
                <a:gd name="T1" fmla="*/ 0 h 30"/>
                <a:gd name="T2" fmla="*/ 15 w 90"/>
                <a:gd name="T3" fmla="*/ 0 h 30"/>
                <a:gd name="T4" fmla="*/ 12 w 90"/>
                <a:gd name="T5" fmla="*/ 0 h 30"/>
                <a:gd name="T6" fmla="*/ 10 w 90"/>
                <a:gd name="T7" fmla="*/ 1 h 30"/>
                <a:gd name="T8" fmla="*/ 6 w 90"/>
                <a:gd name="T9" fmla="*/ 2 h 30"/>
                <a:gd name="T10" fmla="*/ 4 w 90"/>
                <a:gd name="T11" fmla="*/ 4 h 30"/>
                <a:gd name="T12" fmla="*/ 2 w 90"/>
                <a:gd name="T13" fmla="*/ 6 h 30"/>
                <a:gd name="T14" fmla="*/ 1 w 90"/>
                <a:gd name="T15" fmla="*/ 10 h 30"/>
                <a:gd name="T16" fmla="*/ 0 w 90"/>
                <a:gd name="T17" fmla="*/ 12 h 30"/>
                <a:gd name="T18" fmla="*/ 0 w 90"/>
                <a:gd name="T19" fmla="*/ 15 h 30"/>
                <a:gd name="T20" fmla="*/ 0 w 90"/>
                <a:gd name="T21" fmla="*/ 18 h 30"/>
                <a:gd name="T22" fmla="*/ 1 w 90"/>
                <a:gd name="T23" fmla="*/ 21 h 30"/>
                <a:gd name="T24" fmla="*/ 2 w 90"/>
                <a:gd name="T25" fmla="*/ 24 h 30"/>
                <a:gd name="T26" fmla="*/ 4 w 90"/>
                <a:gd name="T27" fmla="*/ 26 h 30"/>
                <a:gd name="T28" fmla="*/ 6 w 90"/>
                <a:gd name="T29" fmla="*/ 28 h 30"/>
                <a:gd name="T30" fmla="*/ 10 w 90"/>
                <a:gd name="T31" fmla="*/ 29 h 30"/>
                <a:gd name="T32" fmla="*/ 12 w 90"/>
                <a:gd name="T33" fmla="*/ 30 h 30"/>
                <a:gd name="T34" fmla="*/ 15 w 90"/>
                <a:gd name="T35" fmla="*/ 30 h 30"/>
                <a:gd name="T36" fmla="*/ 75 w 90"/>
                <a:gd name="T37" fmla="*/ 30 h 30"/>
                <a:gd name="T38" fmla="*/ 78 w 90"/>
                <a:gd name="T39" fmla="*/ 30 h 30"/>
                <a:gd name="T40" fmla="*/ 82 w 90"/>
                <a:gd name="T41" fmla="*/ 29 h 30"/>
                <a:gd name="T42" fmla="*/ 84 w 90"/>
                <a:gd name="T43" fmla="*/ 28 h 30"/>
                <a:gd name="T44" fmla="*/ 86 w 90"/>
                <a:gd name="T45" fmla="*/ 26 h 30"/>
                <a:gd name="T46" fmla="*/ 88 w 90"/>
                <a:gd name="T47" fmla="*/ 24 h 30"/>
                <a:gd name="T48" fmla="*/ 89 w 90"/>
                <a:gd name="T49" fmla="*/ 21 h 30"/>
                <a:gd name="T50" fmla="*/ 90 w 90"/>
                <a:gd name="T51" fmla="*/ 18 h 30"/>
                <a:gd name="T52" fmla="*/ 90 w 90"/>
                <a:gd name="T53" fmla="*/ 15 h 30"/>
                <a:gd name="T54" fmla="*/ 90 w 90"/>
                <a:gd name="T55" fmla="*/ 12 h 30"/>
                <a:gd name="T56" fmla="*/ 89 w 90"/>
                <a:gd name="T57" fmla="*/ 10 h 30"/>
                <a:gd name="T58" fmla="*/ 88 w 90"/>
                <a:gd name="T59" fmla="*/ 6 h 30"/>
                <a:gd name="T60" fmla="*/ 86 w 90"/>
                <a:gd name="T61" fmla="*/ 4 h 30"/>
                <a:gd name="T62" fmla="*/ 84 w 90"/>
                <a:gd name="T63" fmla="*/ 2 h 30"/>
                <a:gd name="T64" fmla="*/ 82 w 90"/>
                <a:gd name="T65" fmla="*/ 1 h 30"/>
                <a:gd name="T66" fmla="*/ 78 w 90"/>
                <a:gd name="T67" fmla="*/ 0 h 30"/>
                <a:gd name="T68" fmla="*/ 75 w 9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0" h="30">
                  <a:moveTo>
                    <a:pt x="7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75" y="30"/>
                  </a:lnTo>
                  <a:lnTo>
                    <a:pt x="78" y="30"/>
                  </a:lnTo>
                  <a:lnTo>
                    <a:pt x="82" y="29"/>
                  </a:lnTo>
                  <a:lnTo>
                    <a:pt x="84" y="28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89" y="21"/>
                  </a:lnTo>
                  <a:lnTo>
                    <a:pt x="90" y="18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10"/>
                  </a:lnTo>
                  <a:lnTo>
                    <a:pt x="88" y="6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2" y="1"/>
                  </a:lnTo>
                  <a:lnTo>
                    <a:pt x="78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373">
              <a:extLst>
                <a:ext uri="{FF2B5EF4-FFF2-40B4-BE49-F238E27FC236}">
                  <a16:creationId xmlns="" xmlns:a16="http://schemas.microsoft.com/office/drawing/2014/main" id="{AAF45F3A-1DAF-47C4-87C1-1626ED51CB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901113" y="1592263"/>
              <a:ext cx="28575" cy="9525"/>
            </a:xfrm>
            <a:custGeom>
              <a:avLst/>
              <a:gdLst>
                <a:gd name="T0" fmla="*/ 75 w 90"/>
                <a:gd name="T1" fmla="*/ 0 h 30"/>
                <a:gd name="T2" fmla="*/ 15 w 90"/>
                <a:gd name="T3" fmla="*/ 0 h 30"/>
                <a:gd name="T4" fmla="*/ 12 w 90"/>
                <a:gd name="T5" fmla="*/ 1 h 30"/>
                <a:gd name="T6" fmla="*/ 10 w 90"/>
                <a:gd name="T7" fmla="*/ 1 h 30"/>
                <a:gd name="T8" fmla="*/ 6 w 90"/>
                <a:gd name="T9" fmla="*/ 3 h 30"/>
                <a:gd name="T10" fmla="*/ 4 w 90"/>
                <a:gd name="T11" fmla="*/ 4 h 30"/>
                <a:gd name="T12" fmla="*/ 2 w 90"/>
                <a:gd name="T13" fmla="*/ 8 h 30"/>
                <a:gd name="T14" fmla="*/ 1 w 90"/>
                <a:gd name="T15" fmla="*/ 10 h 30"/>
                <a:gd name="T16" fmla="*/ 0 w 90"/>
                <a:gd name="T17" fmla="*/ 13 h 30"/>
                <a:gd name="T18" fmla="*/ 0 w 90"/>
                <a:gd name="T19" fmla="*/ 15 h 30"/>
                <a:gd name="T20" fmla="*/ 0 w 90"/>
                <a:gd name="T21" fmla="*/ 18 h 30"/>
                <a:gd name="T22" fmla="*/ 1 w 90"/>
                <a:gd name="T23" fmla="*/ 22 h 30"/>
                <a:gd name="T24" fmla="*/ 2 w 90"/>
                <a:gd name="T25" fmla="*/ 24 h 30"/>
                <a:gd name="T26" fmla="*/ 4 w 90"/>
                <a:gd name="T27" fmla="*/ 26 h 30"/>
                <a:gd name="T28" fmla="*/ 6 w 90"/>
                <a:gd name="T29" fmla="*/ 28 h 30"/>
                <a:gd name="T30" fmla="*/ 10 w 90"/>
                <a:gd name="T31" fmla="*/ 29 h 30"/>
                <a:gd name="T32" fmla="*/ 12 w 90"/>
                <a:gd name="T33" fmla="*/ 30 h 30"/>
                <a:gd name="T34" fmla="*/ 15 w 90"/>
                <a:gd name="T35" fmla="*/ 30 h 30"/>
                <a:gd name="T36" fmla="*/ 75 w 90"/>
                <a:gd name="T37" fmla="*/ 30 h 30"/>
                <a:gd name="T38" fmla="*/ 78 w 90"/>
                <a:gd name="T39" fmla="*/ 30 h 30"/>
                <a:gd name="T40" fmla="*/ 82 w 90"/>
                <a:gd name="T41" fmla="*/ 29 h 30"/>
                <a:gd name="T42" fmla="*/ 84 w 90"/>
                <a:gd name="T43" fmla="*/ 28 h 30"/>
                <a:gd name="T44" fmla="*/ 86 w 90"/>
                <a:gd name="T45" fmla="*/ 26 h 30"/>
                <a:gd name="T46" fmla="*/ 88 w 90"/>
                <a:gd name="T47" fmla="*/ 24 h 30"/>
                <a:gd name="T48" fmla="*/ 89 w 90"/>
                <a:gd name="T49" fmla="*/ 22 h 30"/>
                <a:gd name="T50" fmla="*/ 90 w 90"/>
                <a:gd name="T51" fmla="*/ 18 h 30"/>
                <a:gd name="T52" fmla="*/ 90 w 90"/>
                <a:gd name="T53" fmla="*/ 15 h 30"/>
                <a:gd name="T54" fmla="*/ 90 w 90"/>
                <a:gd name="T55" fmla="*/ 13 h 30"/>
                <a:gd name="T56" fmla="*/ 89 w 90"/>
                <a:gd name="T57" fmla="*/ 10 h 30"/>
                <a:gd name="T58" fmla="*/ 88 w 90"/>
                <a:gd name="T59" fmla="*/ 8 h 30"/>
                <a:gd name="T60" fmla="*/ 86 w 90"/>
                <a:gd name="T61" fmla="*/ 4 h 30"/>
                <a:gd name="T62" fmla="*/ 84 w 90"/>
                <a:gd name="T63" fmla="*/ 3 h 30"/>
                <a:gd name="T64" fmla="*/ 82 w 90"/>
                <a:gd name="T65" fmla="*/ 1 h 30"/>
                <a:gd name="T66" fmla="*/ 78 w 90"/>
                <a:gd name="T67" fmla="*/ 1 h 30"/>
                <a:gd name="T68" fmla="*/ 75 w 9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0" h="30">
                  <a:moveTo>
                    <a:pt x="75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75" y="30"/>
                  </a:lnTo>
                  <a:lnTo>
                    <a:pt x="78" y="30"/>
                  </a:lnTo>
                  <a:lnTo>
                    <a:pt x="82" y="29"/>
                  </a:lnTo>
                  <a:lnTo>
                    <a:pt x="84" y="28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89" y="22"/>
                  </a:lnTo>
                  <a:lnTo>
                    <a:pt x="90" y="18"/>
                  </a:lnTo>
                  <a:lnTo>
                    <a:pt x="90" y="15"/>
                  </a:lnTo>
                  <a:lnTo>
                    <a:pt x="90" y="13"/>
                  </a:lnTo>
                  <a:lnTo>
                    <a:pt x="89" y="10"/>
                  </a:lnTo>
                  <a:lnTo>
                    <a:pt x="88" y="8"/>
                  </a:lnTo>
                  <a:lnTo>
                    <a:pt x="86" y="4"/>
                  </a:lnTo>
                  <a:lnTo>
                    <a:pt x="84" y="3"/>
                  </a:lnTo>
                  <a:lnTo>
                    <a:pt x="82" y="1"/>
                  </a:lnTo>
                  <a:lnTo>
                    <a:pt x="78" y="1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374">
              <a:extLst>
                <a:ext uri="{FF2B5EF4-FFF2-40B4-BE49-F238E27FC236}">
                  <a16:creationId xmlns="" xmlns:a16="http://schemas.microsoft.com/office/drawing/2014/main" id="{C6522901-248B-46E8-AAA9-8ECA5DA44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4138" y="1563688"/>
              <a:ext cx="28575" cy="9525"/>
            </a:xfrm>
            <a:custGeom>
              <a:avLst/>
              <a:gdLst>
                <a:gd name="T0" fmla="*/ 15 w 90"/>
                <a:gd name="T1" fmla="*/ 30 h 30"/>
                <a:gd name="T2" fmla="*/ 75 w 90"/>
                <a:gd name="T3" fmla="*/ 30 h 30"/>
                <a:gd name="T4" fmla="*/ 79 w 90"/>
                <a:gd name="T5" fmla="*/ 30 h 30"/>
                <a:gd name="T6" fmla="*/ 81 w 90"/>
                <a:gd name="T7" fmla="*/ 29 h 30"/>
                <a:gd name="T8" fmla="*/ 84 w 90"/>
                <a:gd name="T9" fmla="*/ 28 h 30"/>
                <a:gd name="T10" fmla="*/ 86 w 90"/>
                <a:gd name="T11" fmla="*/ 26 h 30"/>
                <a:gd name="T12" fmla="*/ 87 w 90"/>
                <a:gd name="T13" fmla="*/ 24 h 30"/>
                <a:gd name="T14" fmla="*/ 89 w 90"/>
                <a:gd name="T15" fmla="*/ 21 h 30"/>
                <a:gd name="T16" fmla="*/ 89 w 90"/>
                <a:gd name="T17" fmla="*/ 18 h 30"/>
                <a:gd name="T18" fmla="*/ 90 w 90"/>
                <a:gd name="T19" fmla="*/ 15 h 30"/>
                <a:gd name="T20" fmla="*/ 89 w 90"/>
                <a:gd name="T21" fmla="*/ 12 h 30"/>
                <a:gd name="T22" fmla="*/ 89 w 90"/>
                <a:gd name="T23" fmla="*/ 10 h 30"/>
                <a:gd name="T24" fmla="*/ 87 w 90"/>
                <a:gd name="T25" fmla="*/ 6 h 30"/>
                <a:gd name="T26" fmla="*/ 86 w 90"/>
                <a:gd name="T27" fmla="*/ 4 h 30"/>
                <a:gd name="T28" fmla="*/ 84 w 90"/>
                <a:gd name="T29" fmla="*/ 3 h 30"/>
                <a:gd name="T30" fmla="*/ 81 w 90"/>
                <a:gd name="T31" fmla="*/ 1 h 30"/>
                <a:gd name="T32" fmla="*/ 79 w 90"/>
                <a:gd name="T33" fmla="*/ 0 h 30"/>
                <a:gd name="T34" fmla="*/ 75 w 90"/>
                <a:gd name="T35" fmla="*/ 0 h 30"/>
                <a:gd name="T36" fmla="*/ 15 w 90"/>
                <a:gd name="T37" fmla="*/ 0 h 30"/>
                <a:gd name="T38" fmla="*/ 12 w 90"/>
                <a:gd name="T39" fmla="*/ 0 h 30"/>
                <a:gd name="T40" fmla="*/ 9 w 90"/>
                <a:gd name="T41" fmla="*/ 1 h 30"/>
                <a:gd name="T42" fmla="*/ 7 w 90"/>
                <a:gd name="T43" fmla="*/ 2 h 30"/>
                <a:gd name="T44" fmla="*/ 5 w 90"/>
                <a:gd name="T45" fmla="*/ 4 h 30"/>
                <a:gd name="T46" fmla="*/ 2 w 90"/>
                <a:gd name="T47" fmla="*/ 6 h 30"/>
                <a:gd name="T48" fmla="*/ 1 w 90"/>
                <a:gd name="T49" fmla="*/ 10 h 30"/>
                <a:gd name="T50" fmla="*/ 0 w 90"/>
                <a:gd name="T51" fmla="*/ 12 h 30"/>
                <a:gd name="T52" fmla="*/ 0 w 90"/>
                <a:gd name="T53" fmla="*/ 15 h 30"/>
                <a:gd name="T54" fmla="*/ 0 w 90"/>
                <a:gd name="T55" fmla="*/ 18 h 30"/>
                <a:gd name="T56" fmla="*/ 1 w 90"/>
                <a:gd name="T57" fmla="*/ 21 h 30"/>
                <a:gd name="T58" fmla="*/ 2 w 90"/>
                <a:gd name="T59" fmla="*/ 24 h 30"/>
                <a:gd name="T60" fmla="*/ 5 w 90"/>
                <a:gd name="T61" fmla="*/ 26 h 30"/>
                <a:gd name="T62" fmla="*/ 7 w 90"/>
                <a:gd name="T63" fmla="*/ 28 h 30"/>
                <a:gd name="T64" fmla="*/ 9 w 90"/>
                <a:gd name="T65" fmla="*/ 29 h 30"/>
                <a:gd name="T66" fmla="*/ 12 w 90"/>
                <a:gd name="T67" fmla="*/ 30 h 30"/>
                <a:gd name="T68" fmla="*/ 15 w 90"/>
                <a:gd name="T69" fmla="*/ 30 h 30"/>
                <a:gd name="T70" fmla="*/ 15 w 90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30">
                  <a:moveTo>
                    <a:pt x="15" y="30"/>
                  </a:moveTo>
                  <a:lnTo>
                    <a:pt x="75" y="30"/>
                  </a:lnTo>
                  <a:lnTo>
                    <a:pt x="79" y="30"/>
                  </a:lnTo>
                  <a:lnTo>
                    <a:pt x="81" y="29"/>
                  </a:lnTo>
                  <a:lnTo>
                    <a:pt x="84" y="28"/>
                  </a:lnTo>
                  <a:lnTo>
                    <a:pt x="86" y="26"/>
                  </a:lnTo>
                  <a:lnTo>
                    <a:pt x="87" y="24"/>
                  </a:lnTo>
                  <a:lnTo>
                    <a:pt x="89" y="21"/>
                  </a:lnTo>
                  <a:lnTo>
                    <a:pt x="89" y="18"/>
                  </a:lnTo>
                  <a:lnTo>
                    <a:pt x="90" y="15"/>
                  </a:lnTo>
                  <a:lnTo>
                    <a:pt x="89" y="12"/>
                  </a:lnTo>
                  <a:lnTo>
                    <a:pt x="89" y="10"/>
                  </a:lnTo>
                  <a:lnTo>
                    <a:pt x="87" y="6"/>
                  </a:lnTo>
                  <a:lnTo>
                    <a:pt x="86" y="4"/>
                  </a:lnTo>
                  <a:lnTo>
                    <a:pt x="84" y="3"/>
                  </a:lnTo>
                  <a:lnTo>
                    <a:pt x="81" y="1"/>
                  </a:lnTo>
                  <a:lnTo>
                    <a:pt x="79" y="0"/>
                  </a:lnTo>
                  <a:lnTo>
                    <a:pt x="7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375">
              <a:extLst>
                <a:ext uri="{FF2B5EF4-FFF2-40B4-BE49-F238E27FC236}">
                  <a16:creationId xmlns="" xmlns:a16="http://schemas.microsoft.com/office/drawing/2014/main" id="{AC990536-865B-4B05-9736-43530FFDF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974138" y="1592263"/>
              <a:ext cx="28575" cy="9525"/>
            </a:xfrm>
            <a:custGeom>
              <a:avLst/>
              <a:gdLst>
                <a:gd name="T0" fmla="*/ 15 w 90"/>
                <a:gd name="T1" fmla="*/ 30 h 30"/>
                <a:gd name="T2" fmla="*/ 75 w 90"/>
                <a:gd name="T3" fmla="*/ 30 h 30"/>
                <a:gd name="T4" fmla="*/ 79 w 90"/>
                <a:gd name="T5" fmla="*/ 30 h 30"/>
                <a:gd name="T6" fmla="*/ 81 w 90"/>
                <a:gd name="T7" fmla="*/ 29 h 30"/>
                <a:gd name="T8" fmla="*/ 84 w 90"/>
                <a:gd name="T9" fmla="*/ 28 h 30"/>
                <a:gd name="T10" fmla="*/ 86 w 90"/>
                <a:gd name="T11" fmla="*/ 26 h 30"/>
                <a:gd name="T12" fmla="*/ 87 w 90"/>
                <a:gd name="T13" fmla="*/ 24 h 30"/>
                <a:gd name="T14" fmla="*/ 89 w 90"/>
                <a:gd name="T15" fmla="*/ 22 h 30"/>
                <a:gd name="T16" fmla="*/ 89 w 90"/>
                <a:gd name="T17" fmla="*/ 18 h 30"/>
                <a:gd name="T18" fmla="*/ 90 w 90"/>
                <a:gd name="T19" fmla="*/ 15 h 30"/>
                <a:gd name="T20" fmla="*/ 89 w 90"/>
                <a:gd name="T21" fmla="*/ 13 h 30"/>
                <a:gd name="T22" fmla="*/ 89 w 90"/>
                <a:gd name="T23" fmla="*/ 10 h 30"/>
                <a:gd name="T24" fmla="*/ 87 w 90"/>
                <a:gd name="T25" fmla="*/ 8 h 30"/>
                <a:gd name="T26" fmla="*/ 86 w 90"/>
                <a:gd name="T27" fmla="*/ 4 h 30"/>
                <a:gd name="T28" fmla="*/ 84 w 90"/>
                <a:gd name="T29" fmla="*/ 3 h 30"/>
                <a:gd name="T30" fmla="*/ 81 w 90"/>
                <a:gd name="T31" fmla="*/ 1 h 30"/>
                <a:gd name="T32" fmla="*/ 79 w 90"/>
                <a:gd name="T33" fmla="*/ 1 h 30"/>
                <a:gd name="T34" fmla="*/ 75 w 90"/>
                <a:gd name="T35" fmla="*/ 0 h 30"/>
                <a:gd name="T36" fmla="*/ 15 w 90"/>
                <a:gd name="T37" fmla="*/ 0 h 30"/>
                <a:gd name="T38" fmla="*/ 12 w 90"/>
                <a:gd name="T39" fmla="*/ 1 h 30"/>
                <a:gd name="T40" fmla="*/ 9 w 90"/>
                <a:gd name="T41" fmla="*/ 1 h 30"/>
                <a:gd name="T42" fmla="*/ 7 w 90"/>
                <a:gd name="T43" fmla="*/ 3 h 30"/>
                <a:gd name="T44" fmla="*/ 5 w 90"/>
                <a:gd name="T45" fmla="*/ 4 h 30"/>
                <a:gd name="T46" fmla="*/ 2 w 90"/>
                <a:gd name="T47" fmla="*/ 8 h 30"/>
                <a:gd name="T48" fmla="*/ 1 w 90"/>
                <a:gd name="T49" fmla="*/ 10 h 30"/>
                <a:gd name="T50" fmla="*/ 0 w 90"/>
                <a:gd name="T51" fmla="*/ 13 h 30"/>
                <a:gd name="T52" fmla="*/ 0 w 90"/>
                <a:gd name="T53" fmla="*/ 15 h 30"/>
                <a:gd name="T54" fmla="*/ 0 w 90"/>
                <a:gd name="T55" fmla="*/ 18 h 30"/>
                <a:gd name="T56" fmla="*/ 1 w 90"/>
                <a:gd name="T57" fmla="*/ 22 h 30"/>
                <a:gd name="T58" fmla="*/ 2 w 90"/>
                <a:gd name="T59" fmla="*/ 24 h 30"/>
                <a:gd name="T60" fmla="*/ 5 w 90"/>
                <a:gd name="T61" fmla="*/ 26 h 30"/>
                <a:gd name="T62" fmla="*/ 7 w 90"/>
                <a:gd name="T63" fmla="*/ 28 h 30"/>
                <a:gd name="T64" fmla="*/ 9 w 90"/>
                <a:gd name="T65" fmla="*/ 29 h 30"/>
                <a:gd name="T66" fmla="*/ 12 w 90"/>
                <a:gd name="T67" fmla="*/ 30 h 30"/>
                <a:gd name="T68" fmla="*/ 15 w 90"/>
                <a:gd name="T69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0" h="30">
                  <a:moveTo>
                    <a:pt x="15" y="30"/>
                  </a:moveTo>
                  <a:lnTo>
                    <a:pt x="75" y="30"/>
                  </a:lnTo>
                  <a:lnTo>
                    <a:pt x="79" y="30"/>
                  </a:lnTo>
                  <a:lnTo>
                    <a:pt x="81" y="29"/>
                  </a:lnTo>
                  <a:lnTo>
                    <a:pt x="84" y="28"/>
                  </a:lnTo>
                  <a:lnTo>
                    <a:pt x="86" y="26"/>
                  </a:lnTo>
                  <a:lnTo>
                    <a:pt x="87" y="24"/>
                  </a:lnTo>
                  <a:lnTo>
                    <a:pt x="89" y="22"/>
                  </a:lnTo>
                  <a:lnTo>
                    <a:pt x="89" y="18"/>
                  </a:lnTo>
                  <a:lnTo>
                    <a:pt x="90" y="15"/>
                  </a:lnTo>
                  <a:lnTo>
                    <a:pt x="89" y="13"/>
                  </a:lnTo>
                  <a:lnTo>
                    <a:pt x="89" y="10"/>
                  </a:lnTo>
                  <a:lnTo>
                    <a:pt x="87" y="8"/>
                  </a:lnTo>
                  <a:lnTo>
                    <a:pt x="86" y="4"/>
                  </a:lnTo>
                  <a:lnTo>
                    <a:pt x="84" y="3"/>
                  </a:lnTo>
                  <a:lnTo>
                    <a:pt x="81" y="1"/>
                  </a:lnTo>
                  <a:lnTo>
                    <a:pt x="79" y="1"/>
                  </a:lnTo>
                  <a:lnTo>
                    <a:pt x="75" y="0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9" y="1"/>
                  </a:lnTo>
                  <a:lnTo>
                    <a:pt x="7" y="3"/>
                  </a:lnTo>
                  <a:lnTo>
                    <a:pt x="5" y="4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5" y="26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376">
              <a:extLst>
                <a:ext uri="{FF2B5EF4-FFF2-40B4-BE49-F238E27FC236}">
                  <a16:creationId xmlns="" xmlns:a16="http://schemas.microsoft.com/office/drawing/2014/main" id="{4167A575-441C-4FCE-9D9C-4E46720C5B8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43951" y="1401763"/>
              <a:ext cx="287338" cy="228600"/>
            </a:xfrm>
            <a:custGeom>
              <a:avLst/>
              <a:gdLst>
                <a:gd name="T0" fmla="*/ 873 w 903"/>
                <a:gd name="T1" fmla="*/ 692 h 722"/>
                <a:gd name="T2" fmla="*/ 30 w 903"/>
                <a:gd name="T3" fmla="*/ 692 h 722"/>
                <a:gd name="T4" fmla="*/ 30 w 903"/>
                <a:gd name="T5" fmla="*/ 394 h 722"/>
                <a:gd name="T6" fmla="*/ 86 w 903"/>
                <a:gd name="T7" fmla="*/ 30 h 722"/>
                <a:gd name="T8" fmla="*/ 126 w 903"/>
                <a:gd name="T9" fmla="*/ 30 h 722"/>
                <a:gd name="T10" fmla="*/ 197 w 903"/>
                <a:gd name="T11" fmla="*/ 397 h 722"/>
                <a:gd name="T12" fmla="*/ 205 w 903"/>
                <a:gd name="T13" fmla="*/ 442 h 722"/>
                <a:gd name="T14" fmla="*/ 243 w 903"/>
                <a:gd name="T15" fmla="*/ 417 h 722"/>
                <a:gd name="T16" fmla="*/ 422 w 903"/>
                <a:gd name="T17" fmla="*/ 297 h 722"/>
                <a:gd name="T18" fmla="*/ 422 w 903"/>
                <a:gd name="T19" fmla="*/ 392 h 722"/>
                <a:gd name="T20" fmla="*/ 422 w 903"/>
                <a:gd name="T21" fmla="*/ 448 h 722"/>
                <a:gd name="T22" fmla="*/ 468 w 903"/>
                <a:gd name="T23" fmla="*/ 417 h 722"/>
                <a:gd name="T24" fmla="*/ 647 w 903"/>
                <a:gd name="T25" fmla="*/ 297 h 722"/>
                <a:gd name="T26" fmla="*/ 647 w 903"/>
                <a:gd name="T27" fmla="*/ 392 h 722"/>
                <a:gd name="T28" fmla="*/ 647 w 903"/>
                <a:gd name="T29" fmla="*/ 448 h 722"/>
                <a:gd name="T30" fmla="*/ 694 w 903"/>
                <a:gd name="T31" fmla="*/ 417 h 722"/>
                <a:gd name="T32" fmla="*/ 873 w 903"/>
                <a:gd name="T33" fmla="*/ 297 h 722"/>
                <a:gd name="T34" fmla="*/ 873 w 903"/>
                <a:gd name="T35" fmla="*/ 692 h 722"/>
                <a:gd name="T36" fmla="*/ 677 w 903"/>
                <a:gd name="T37" fmla="*/ 392 h 722"/>
                <a:gd name="T38" fmla="*/ 677 w 903"/>
                <a:gd name="T39" fmla="*/ 241 h 722"/>
                <a:gd name="T40" fmla="*/ 452 w 903"/>
                <a:gd name="T41" fmla="*/ 392 h 722"/>
                <a:gd name="T42" fmla="*/ 452 w 903"/>
                <a:gd name="T43" fmla="*/ 241 h 722"/>
                <a:gd name="T44" fmla="*/ 226 w 903"/>
                <a:gd name="T45" fmla="*/ 392 h 722"/>
                <a:gd name="T46" fmla="*/ 151 w 903"/>
                <a:gd name="T47" fmla="*/ 0 h 722"/>
                <a:gd name="T48" fmla="*/ 60 w 903"/>
                <a:gd name="T49" fmla="*/ 0 h 722"/>
                <a:gd name="T50" fmla="*/ 0 w 903"/>
                <a:gd name="T51" fmla="*/ 392 h 722"/>
                <a:gd name="T52" fmla="*/ 0 w 903"/>
                <a:gd name="T53" fmla="*/ 722 h 722"/>
                <a:gd name="T54" fmla="*/ 903 w 903"/>
                <a:gd name="T55" fmla="*/ 722 h 722"/>
                <a:gd name="T56" fmla="*/ 903 w 903"/>
                <a:gd name="T57" fmla="*/ 241 h 722"/>
                <a:gd name="T58" fmla="*/ 677 w 903"/>
                <a:gd name="T59" fmla="*/ 392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03" h="722">
                  <a:moveTo>
                    <a:pt x="873" y="692"/>
                  </a:moveTo>
                  <a:lnTo>
                    <a:pt x="30" y="692"/>
                  </a:lnTo>
                  <a:lnTo>
                    <a:pt x="30" y="394"/>
                  </a:lnTo>
                  <a:lnTo>
                    <a:pt x="86" y="30"/>
                  </a:lnTo>
                  <a:lnTo>
                    <a:pt x="126" y="30"/>
                  </a:lnTo>
                  <a:lnTo>
                    <a:pt x="197" y="397"/>
                  </a:lnTo>
                  <a:lnTo>
                    <a:pt x="205" y="442"/>
                  </a:lnTo>
                  <a:lnTo>
                    <a:pt x="243" y="417"/>
                  </a:lnTo>
                  <a:lnTo>
                    <a:pt x="422" y="297"/>
                  </a:lnTo>
                  <a:lnTo>
                    <a:pt x="422" y="392"/>
                  </a:lnTo>
                  <a:lnTo>
                    <a:pt x="422" y="448"/>
                  </a:lnTo>
                  <a:lnTo>
                    <a:pt x="468" y="417"/>
                  </a:lnTo>
                  <a:lnTo>
                    <a:pt x="647" y="297"/>
                  </a:lnTo>
                  <a:lnTo>
                    <a:pt x="647" y="392"/>
                  </a:lnTo>
                  <a:lnTo>
                    <a:pt x="647" y="448"/>
                  </a:lnTo>
                  <a:lnTo>
                    <a:pt x="694" y="417"/>
                  </a:lnTo>
                  <a:lnTo>
                    <a:pt x="873" y="297"/>
                  </a:lnTo>
                  <a:lnTo>
                    <a:pt x="873" y="692"/>
                  </a:lnTo>
                  <a:close/>
                  <a:moveTo>
                    <a:pt x="677" y="392"/>
                  </a:moveTo>
                  <a:lnTo>
                    <a:pt x="677" y="241"/>
                  </a:lnTo>
                  <a:lnTo>
                    <a:pt x="452" y="392"/>
                  </a:lnTo>
                  <a:lnTo>
                    <a:pt x="452" y="241"/>
                  </a:lnTo>
                  <a:lnTo>
                    <a:pt x="226" y="392"/>
                  </a:lnTo>
                  <a:lnTo>
                    <a:pt x="151" y="0"/>
                  </a:lnTo>
                  <a:lnTo>
                    <a:pt x="60" y="0"/>
                  </a:lnTo>
                  <a:lnTo>
                    <a:pt x="0" y="392"/>
                  </a:lnTo>
                  <a:lnTo>
                    <a:pt x="0" y="722"/>
                  </a:lnTo>
                  <a:lnTo>
                    <a:pt x="903" y="722"/>
                  </a:lnTo>
                  <a:lnTo>
                    <a:pt x="903" y="241"/>
                  </a:lnTo>
                  <a:lnTo>
                    <a:pt x="677" y="3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46" name="Group 145">
            <a:extLst>
              <a:ext uri="{FF2B5EF4-FFF2-40B4-BE49-F238E27FC236}">
                <a16:creationId xmlns="" xmlns:a16="http://schemas.microsoft.com/office/drawing/2014/main" id="{E2C48D71-E116-4860-A4D3-AC532B10365A}"/>
              </a:ext>
            </a:extLst>
          </p:cNvPr>
          <p:cNvGrpSpPr/>
          <p:nvPr/>
        </p:nvGrpSpPr>
        <p:grpSpPr>
          <a:xfrm>
            <a:off x="10539668" y="2356894"/>
            <a:ext cx="714394" cy="619668"/>
            <a:chOff x="8736013" y="2536825"/>
            <a:chExt cx="287338" cy="249238"/>
          </a:xfrm>
        </p:grpSpPr>
        <p:sp>
          <p:nvSpPr>
            <p:cNvPr id="147" name="Freeform 219">
              <a:extLst>
                <a:ext uri="{FF2B5EF4-FFF2-40B4-BE49-F238E27FC236}">
                  <a16:creationId xmlns="" xmlns:a16="http://schemas.microsoft.com/office/drawing/2014/main" id="{65FEE7A8-7A24-4E18-A8D4-6626E8CDA0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93163" y="2632075"/>
              <a:ext cx="230188" cy="153988"/>
            </a:xfrm>
            <a:custGeom>
              <a:avLst/>
              <a:gdLst>
                <a:gd name="T0" fmla="*/ 621 w 722"/>
                <a:gd name="T1" fmla="*/ 368 h 481"/>
                <a:gd name="T2" fmla="*/ 588 w 722"/>
                <a:gd name="T3" fmla="*/ 338 h 481"/>
                <a:gd name="T4" fmla="*/ 557 w 722"/>
                <a:gd name="T5" fmla="*/ 331 h 481"/>
                <a:gd name="T6" fmla="*/ 525 w 722"/>
                <a:gd name="T7" fmla="*/ 338 h 481"/>
                <a:gd name="T8" fmla="*/ 493 w 722"/>
                <a:gd name="T9" fmla="*/ 368 h 481"/>
                <a:gd name="T10" fmla="*/ 451 w 722"/>
                <a:gd name="T11" fmla="*/ 391 h 481"/>
                <a:gd name="T12" fmla="*/ 557 w 722"/>
                <a:gd name="T13" fmla="*/ 451 h 481"/>
                <a:gd name="T14" fmla="*/ 520 w 722"/>
                <a:gd name="T15" fmla="*/ 432 h 481"/>
                <a:gd name="T16" fmla="*/ 515 w 722"/>
                <a:gd name="T17" fmla="*/ 389 h 481"/>
                <a:gd name="T18" fmla="*/ 547 w 722"/>
                <a:gd name="T19" fmla="*/ 362 h 481"/>
                <a:gd name="T20" fmla="*/ 588 w 722"/>
                <a:gd name="T21" fmla="*/ 374 h 481"/>
                <a:gd name="T22" fmla="*/ 601 w 722"/>
                <a:gd name="T23" fmla="*/ 415 h 481"/>
                <a:gd name="T24" fmla="*/ 574 w 722"/>
                <a:gd name="T25" fmla="*/ 448 h 481"/>
                <a:gd name="T26" fmla="*/ 451 w 722"/>
                <a:gd name="T27" fmla="*/ 241 h 481"/>
                <a:gd name="T28" fmla="*/ 163 w 722"/>
                <a:gd name="T29" fmla="*/ 448 h 481"/>
                <a:gd name="T30" fmla="*/ 136 w 722"/>
                <a:gd name="T31" fmla="*/ 415 h 481"/>
                <a:gd name="T32" fmla="*/ 149 w 722"/>
                <a:gd name="T33" fmla="*/ 374 h 481"/>
                <a:gd name="T34" fmla="*/ 190 w 722"/>
                <a:gd name="T35" fmla="*/ 362 h 481"/>
                <a:gd name="T36" fmla="*/ 222 w 722"/>
                <a:gd name="T37" fmla="*/ 389 h 481"/>
                <a:gd name="T38" fmla="*/ 219 w 722"/>
                <a:gd name="T39" fmla="*/ 431 h 481"/>
                <a:gd name="T40" fmla="*/ 181 w 722"/>
                <a:gd name="T41" fmla="*/ 451 h 481"/>
                <a:gd name="T42" fmla="*/ 565 w 722"/>
                <a:gd name="T43" fmla="*/ 94 h 481"/>
                <a:gd name="T44" fmla="*/ 451 w 722"/>
                <a:gd name="T45" fmla="*/ 15 h 481"/>
                <a:gd name="T46" fmla="*/ 445 w 722"/>
                <a:gd name="T47" fmla="*/ 3 h 481"/>
                <a:gd name="T48" fmla="*/ 253 w 722"/>
                <a:gd name="T49" fmla="*/ 0 h 481"/>
                <a:gd name="T50" fmla="*/ 242 w 722"/>
                <a:gd name="T51" fmla="*/ 10 h 481"/>
                <a:gd name="T52" fmla="*/ 243 w 722"/>
                <a:gd name="T53" fmla="*/ 24 h 481"/>
                <a:gd name="T54" fmla="*/ 256 w 722"/>
                <a:gd name="T55" fmla="*/ 30 h 481"/>
                <a:gd name="T56" fmla="*/ 251 w 722"/>
                <a:gd name="T57" fmla="*/ 378 h 481"/>
                <a:gd name="T58" fmla="*/ 224 w 722"/>
                <a:gd name="T59" fmla="*/ 344 h 481"/>
                <a:gd name="T60" fmla="*/ 194 w 722"/>
                <a:gd name="T61" fmla="*/ 332 h 481"/>
                <a:gd name="T62" fmla="*/ 161 w 722"/>
                <a:gd name="T63" fmla="*/ 334 h 481"/>
                <a:gd name="T64" fmla="*/ 133 w 722"/>
                <a:gd name="T65" fmla="*/ 349 h 481"/>
                <a:gd name="T66" fmla="*/ 108 w 722"/>
                <a:gd name="T67" fmla="*/ 385 h 481"/>
                <a:gd name="T68" fmla="*/ 29 w 722"/>
                <a:gd name="T69" fmla="*/ 115 h 481"/>
                <a:gd name="T70" fmla="*/ 18 w 722"/>
                <a:gd name="T71" fmla="*/ 106 h 481"/>
                <a:gd name="T72" fmla="*/ 4 w 722"/>
                <a:gd name="T73" fmla="*/ 110 h 481"/>
                <a:gd name="T74" fmla="*/ 0 w 722"/>
                <a:gd name="T75" fmla="*/ 406 h 481"/>
                <a:gd name="T76" fmla="*/ 6 w 722"/>
                <a:gd name="T77" fmla="*/ 419 h 481"/>
                <a:gd name="T78" fmla="*/ 108 w 722"/>
                <a:gd name="T79" fmla="*/ 428 h 481"/>
                <a:gd name="T80" fmla="*/ 133 w 722"/>
                <a:gd name="T81" fmla="*/ 464 h 481"/>
                <a:gd name="T82" fmla="*/ 161 w 722"/>
                <a:gd name="T83" fmla="*/ 479 h 481"/>
                <a:gd name="T84" fmla="*/ 194 w 722"/>
                <a:gd name="T85" fmla="*/ 480 h 481"/>
                <a:gd name="T86" fmla="*/ 224 w 722"/>
                <a:gd name="T87" fmla="*/ 468 h 481"/>
                <a:gd name="T88" fmla="*/ 251 w 722"/>
                <a:gd name="T89" fmla="*/ 434 h 481"/>
                <a:gd name="T90" fmla="*/ 484 w 722"/>
                <a:gd name="T91" fmla="*/ 428 h 481"/>
                <a:gd name="T92" fmla="*/ 509 w 722"/>
                <a:gd name="T93" fmla="*/ 464 h 481"/>
                <a:gd name="T94" fmla="*/ 537 w 722"/>
                <a:gd name="T95" fmla="*/ 479 h 481"/>
                <a:gd name="T96" fmla="*/ 570 w 722"/>
                <a:gd name="T97" fmla="*/ 480 h 481"/>
                <a:gd name="T98" fmla="*/ 599 w 722"/>
                <a:gd name="T99" fmla="*/ 468 h 481"/>
                <a:gd name="T100" fmla="*/ 627 w 722"/>
                <a:gd name="T101" fmla="*/ 434 h 481"/>
                <a:gd name="T102" fmla="*/ 712 w 722"/>
                <a:gd name="T103" fmla="*/ 420 h 481"/>
                <a:gd name="T104" fmla="*/ 722 w 722"/>
                <a:gd name="T105" fmla="*/ 410 h 481"/>
                <a:gd name="T106" fmla="*/ 721 w 722"/>
                <a:gd name="T107" fmla="*/ 250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22" h="481">
                  <a:moveTo>
                    <a:pt x="630" y="391"/>
                  </a:moveTo>
                  <a:lnTo>
                    <a:pt x="629" y="385"/>
                  </a:lnTo>
                  <a:lnTo>
                    <a:pt x="627" y="378"/>
                  </a:lnTo>
                  <a:lnTo>
                    <a:pt x="623" y="373"/>
                  </a:lnTo>
                  <a:lnTo>
                    <a:pt x="621" y="368"/>
                  </a:lnTo>
                  <a:lnTo>
                    <a:pt x="614" y="357"/>
                  </a:lnTo>
                  <a:lnTo>
                    <a:pt x="604" y="349"/>
                  </a:lnTo>
                  <a:lnTo>
                    <a:pt x="599" y="344"/>
                  </a:lnTo>
                  <a:lnTo>
                    <a:pt x="593" y="341"/>
                  </a:lnTo>
                  <a:lnTo>
                    <a:pt x="588" y="338"/>
                  </a:lnTo>
                  <a:lnTo>
                    <a:pt x="583" y="336"/>
                  </a:lnTo>
                  <a:lnTo>
                    <a:pt x="576" y="334"/>
                  </a:lnTo>
                  <a:lnTo>
                    <a:pt x="570" y="332"/>
                  </a:lnTo>
                  <a:lnTo>
                    <a:pt x="563" y="331"/>
                  </a:lnTo>
                  <a:lnTo>
                    <a:pt x="557" y="331"/>
                  </a:lnTo>
                  <a:lnTo>
                    <a:pt x="550" y="331"/>
                  </a:lnTo>
                  <a:lnTo>
                    <a:pt x="543" y="332"/>
                  </a:lnTo>
                  <a:lnTo>
                    <a:pt x="537" y="334"/>
                  </a:lnTo>
                  <a:lnTo>
                    <a:pt x="530" y="336"/>
                  </a:lnTo>
                  <a:lnTo>
                    <a:pt x="525" y="338"/>
                  </a:lnTo>
                  <a:lnTo>
                    <a:pt x="520" y="341"/>
                  </a:lnTo>
                  <a:lnTo>
                    <a:pt x="514" y="344"/>
                  </a:lnTo>
                  <a:lnTo>
                    <a:pt x="509" y="349"/>
                  </a:lnTo>
                  <a:lnTo>
                    <a:pt x="499" y="357"/>
                  </a:lnTo>
                  <a:lnTo>
                    <a:pt x="493" y="368"/>
                  </a:lnTo>
                  <a:lnTo>
                    <a:pt x="490" y="373"/>
                  </a:lnTo>
                  <a:lnTo>
                    <a:pt x="486" y="378"/>
                  </a:lnTo>
                  <a:lnTo>
                    <a:pt x="484" y="385"/>
                  </a:lnTo>
                  <a:lnTo>
                    <a:pt x="483" y="391"/>
                  </a:lnTo>
                  <a:lnTo>
                    <a:pt x="451" y="391"/>
                  </a:lnTo>
                  <a:lnTo>
                    <a:pt x="451" y="271"/>
                  </a:lnTo>
                  <a:lnTo>
                    <a:pt x="692" y="271"/>
                  </a:lnTo>
                  <a:lnTo>
                    <a:pt x="692" y="391"/>
                  </a:lnTo>
                  <a:lnTo>
                    <a:pt x="630" y="391"/>
                  </a:lnTo>
                  <a:close/>
                  <a:moveTo>
                    <a:pt x="557" y="451"/>
                  </a:moveTo>
                  <a:lnTo>
                    <a:pt x="547" y="450"/>
                  </a:lnTo>
                  <a:lnTo>
                    <a:pt x="539" y="448"/>
                  </a:lnTo>
                  <a:lnTo>
                    <a:pt x="531" y="444"/>
                  </a:lnTo>
                  <a:lnTo>
                    <a:pt x="525" y="438"/>
                  </a:lnTo>
                  <a:lnTo>
                    <a:pt x="520" y="432"/>
                  </a:lnTo>
                  <a:lnTo>
                    <a:pt x="515" y="423"/>
                  </a:lnTo>
                  <a:lnTo>
                    <a:pt x="512" y="415"/>
                  </a:lnTo>
                  <a:lnTo>
                    <a:pt x="511" y="406"/>
                  </a:lnTo>
                  <a:lnTo>
                    <a:pt x="512" y="398"/>
                  </a:lnTo>
                  <a:lnTo>
                    <a:pt x="515" y="389"/>
                  </a:lnTo>
                  <a:lnTo>
                    <a:pt x="520" y="381"/>
                  </a:lnTo>
                  <a:lnTo>
                    <a:pt x="525" y="374"/>
                  </a:lnTo>
                  <a:lnTo>
                    <a:pt x="531" y="369"/>
                  </a:lnTo>
                  <a:lnTo>
                    <a:pt x="539" y="365"/>
                  </a:lnTo>
                  <a:lnTo>
                    <a:pt x="547" y="362"/>
                  </a:lnTo>
                  <a:lnTo>
                    <a:pt x="557" y="361"/>
                  </a:lnTo>
                  <a:lnTo>
                    <a:pt x="566" y="362"/>
                  </a:lnTo>
                  <a:lnTo>
                    <a:pt x="574" y="365"/>
                  </a:lnTo>
                  <a:lnTo>
                    <a:pt x="582" y="369"/>
                  </a:lnTo>
                  <a:lnTo>
                    <a:pt x="588" y="374"/>
                  </a:lnTo>
                  <a:lnTo>
                    <a:pt x="593" y="381"/>
                  </a:lnTo>
                  <a:lnTo>
                    <a:pt x="598" y="389"/>
                  </a:lnTo>
                  <a:lnTo>
                    <a:pt x="601" y="398"/>
                  </a:lnTo>
                  <a:lnTo>
                    <a:pt x="602" y="406"/>
                  </a:lnTo>
                  <a:lnTo>
                    <a:pt x="601" y="415"/>
                  </a:lnTo>
                  <a:lnTo>
                    <a:pt x="598" y="423"/>
                  </a:lnTo>
                  <a:lnTo>
                    <a:pt x="593" y="431"/>
                  </a:lnTo>
                  <a:lnTo>
                    <a:pt x="588" y="438"/>
                  </a:lnTo>
                  <a:lnTo>
                    <a:pt x="582" y="444"/>
                  </a:lnTo>
                  <a:lnTo>
                    <a:pt x="574" y="448"/>
                  </a:lnTo>
                  <a:lnTo>
                    <a:pt x="566" y="450"/>
                  </a:lnTo>
                  <a:lnTo>
                    <a:pt x="557" y="451"/>
                  </a:lnTo>
                  <a:close/>
                  <a:moveTo>
                    <a:pt x="551" y="120"/>
                  </a:moveTo>
                  <a:lnTo>
                    <a:pt x="671" y="241"/>
                  </a:lnTo>
                  <a:lnTo>
                    <a:pt x="451" y="241"/>
                  </a:lnTo>
                  <a:lnTo>
                    <a:pt x="451" y="120"/>
                  </a:lnTo>
                  <a:lnTo>
                    <a:pt x="551" y="120"/>
                  </a:lnTo>
                  <a:close/>
                  <a:moveTo>
                    <a:pt x="181" y="451"/>
                  </a:moveTo>
                  <a:lnTo>
                    <a:pt x="171" y="450"/>
                  </a:lnTo>
                  <a:lnTo>
                    <a:pt x="163" y="448"/>
                  </a:lnTo>
                  <a:lnTo>
                    <a:pt x="155" y="444"/>
                  </a:lnTo>
                  <a:lnTo>
                    <a:pt x="149" y="438"/>
                  </a:lnTo>
                  <a:lnTo>
                    <a:pt x="144" y="432"/>
                  </a:lnTo>
                  <a:lnTo>
                    <a:pt x="139" y="423"/>
                  </a:lnTo>
                  <a:lnTo>
                    <a:pt x="136" y="415"/>
                  </a:lnTo>
                  <a:lnTo>
                    <a:pt x="136" y="406"/>
                  </a:lnTo>
                  <a:lnTo>
                    <a:pt x="136" y="398"/>
                  </a:lnTo>
                  <a:lnTo>
                    <a:pt x="139" y="389"/>
                  </a:lnTo>
                  <a:lnTo>
                    <a:pt x="144" y="381"/>
                  </a:lnTo>
                  <a:lnTo>
                    <a:pt x="149" y="374"/>
                  </a:lnTo>
                  <a:lnTo>
                    <a:pt x="155" y="369"/>
                  </a:lnTo>
                  <a:lnTo>
                    <a:pt x="163" y="365"/>
                  </a:lnTo>
                  <a:lnTo>
                    <a:pt x="171" y="362"/>
                  </a:lnTo>
                  <a:lnTo>
                    <a:pt x="181" y="361"/>
                  </a:lnTo>
                  <a:lnTo>
                    <a:pt x="190" y="362"/>
                  </a:lnTo>
                  <a:lnTo>
                    <a:pt x="198" y="365"/>
                  </a:lnTo>
                  <a:lnTo>
                    <a:pt x="206" y="369"/>
                  </a:lnTo>
                  <a:lnTo>
                    <a:pt x="212" y="374"/>
                  </a:lnTo>
                  <a:lnTo>
                    <a:pt x="219" y="381"/>
                  </a:lnTo>
                  <a:lnTo>
                    <a:pt x="222" y="389"/>
                  </a:lnTo>
                  <a:lnTo>
                    <a:pt x="225" y="398"/>
                  </a:lnTo>
                  <a:lnTo>
                    <a:pt x="226" y="406"/>
                  </a:lnTo>
                  <a:lnTo>
                    <a:pt x="225" y="415"/>
                  </a:lnTo>
                  <a:lnTo>
                    <a:pt x="222" y="423"/>
                  </a:lnTo>
                  <a:lnTo>
                    <a:pt x="219" y="431"/>
                  </a:lnTo>
                  <a:lnTo>
                    <a:pt x="212" y="438"/>
                  </a:lnTo>
                  <a:lnTo>
                    <a:pt x="206" y="444"/>
                  </a:lnTo>
                  <a:lnTo>
                    <a:pt x="198" y="448"/>
                  </a:lnTo>
                  <a:lnTo>
                    <a:pt x="190" y="450"/>
                  </a:lnTo>
                  <a:lnTo>
                    <a:pt x="181" y="451"/>
                  </a:lnTo>
                  <a:close/>
                  <a:moveTo>
                    <a:pt x="721" y="250"/>
                  </a:moveTo>
                  <a:lnTo>
                    <a:pt x="720" y="248"/>
                  </a:lnTo>
                  <a:lnTo>
                    <a:pt x="718" y="246"/>
                  </a:lnTo>
                  <a:lnTo>
                    <a:pt x="568" y="95"/>
                  </a:lnTo>
                  <a:lnTo>
                    <a:pt x="565" y="94"/>
                  </a:lnTo>
                  <a:lnTo>
                    <a:pt x="562" y="91"/>
                  </a:lnTo>
                  <a:lnTo>
                    <a:pt x="559" y="91"/>
                  </a:lnTo>
                  <a:lnTo>
                    <a:pt x="557" y="90"/>
                  </a:lnTo>
                  <a:lnTo>
                    <a:pt x="451" y="90"/>
                  </a:lnTo>
                  <a:lnTo>
                    <a:pt x="451" y="15"/>
                  </a:lnTo>
                  <a:lnTo>
                    <a:pt x="451" y="12"/>
                  </a:lnTo>
                  <a:lnTo>
                    <a:pt x="450" y="10"/>
                  </a:lnTo>
                  <a:lnTo>
                    <a:pt x="449" y="7"/>
                  </a:lnTo>
                  <a:lnTo>
                    <a:pt x="447" y="5"/>
                  </a:lnTo>
                  <a:lnTo>
                    <a:pt x="445" y="3"/>
                  </a:lnTo>
                  <a:lnTo>
                    <a:pt x="442" y="1"/>
                  </a:lnTo>
                  <a:lnTo>
                    <a:pt x="439" y="0"/>
                  </a:lnTo>
                  <a:lnTo>
                    <a:pt x="436" y="0"/>
                  </a:lnTo>
                  <a:lnTo>
                    <a:pt x="256" y="0"/>
                  </a:lnTo>
                  <a:lnTo>
                    <a:pt x="253" y="0"/>
                  </a:lnTo>
                  <a:lnTo>
                    <a:pt x="250" y="1"/>
                  </a:lnTo>
                  <a:lnTo>
                    <a:pt x="247" y="3"/>
                  </a:lnTo>
                  <a:lnTo>
                    <a:pt x="245" y="5"/>
                  </a:lnTo>
                  <a:lnTo>
                    <a:pt x="243" y="7"/>
                  </a:lnTo>
                  <a:lnTo>
                    <a:pt x="242" y="10"/>
                  </a:lnTo>
                  <a:lnTo>
                    <a:pt x="241" y="12"/>
                  </a:lnTo>
                  <a:lnTo>
                    <a:pt x="241" y="15"/>
                  </a:lnTo>
                  <a:lnTo>
                    <a:pt x="241" y="19"/>
                  </a:lnTo>
                  <a:lnTo>
                    <a:pt x="242" y="22"/>
                  </a:lnTo>
                  <a:lnTo>
                    <a:pt x="243" y="24"/>
                  </a:lnTo>
                  <a:lnTo>
                    <a:pt x="245" y="26"/>
                  </a:lnTo>
                  <a:lnTo>
                    <a:pt x="247" y="28"/>
                  </a:lnTo>
                  <a:lnTo>
                    <a:pt x="250" y="29"/>
                  </a:lnTo>
                  <a:lnTo>
                    <a:pt x="253" y="30"/>
                  </a:lnTo>
                  <a:lnTo>
                    <a:pt x="256" y="30"/>
                  </a:lnTo>
                  <a:lnTo>
                    <a:pt x="421" y="30"/>
                  </a:lnTo>
                  <a:lnTo>
                    <a:pt x="421" y="391"/>
                  </a:lnTo>
                  <a:lnTo>
                    <a:pt x="254" y="391"/>
                  </a:lnTo>
                  <a:lnTo>
                    <a:pt x="253" y="385"/>
                  </a:lnTo>
                  <a:lnTo>
                    <a:pt x="251" y="378"/>
                  </a:lnTo>
                  <a:lnTo>
                    <a:pt x="249" y="373"/>
                  </a:lnTo>
                  <a:lnTo>
                    <a:pt x="245" y="368"/>
                  </a:lnTo>
                  <a:lnTo>
                    <a:pt x="238" y="357"/>
                  </a:lnTo>
                  <a:lnTo>
                    <a:pt x="228" y="349"/>
                  </a:lnTo>
                  <a:lnTo>
                    <a:pt x="224" y="344"/>
                  </a:lnTo>
                  <a:lnTo>
                    <a:pt x="219" y="341"/>
                  </a:lnTo>
                  <a:lnTo>
                    <a:pt x="212" y="338"/>
                  </a:lnTo>
                  <a:lnTo>
                    <a:pt x="207" y="336"/>
                  </a:lnTo>
                  <a:lnTo>
                    <a:pt x="200" y="334"/>
                  </a:lnTo>
                  <a:lnTo>
                    <a:pt x="194" y="332"/>
                  </a:lnTo>
                  <a:lnTo>
                    <a:pt x="187" y="331"/>
                  </a:lnTo>
                  <a:lnTo>
                    <a:pt x="181" y="331"/>
                  </a:lnTo>
                  <a:lnTo>
                    <a:pt x="174" y="331"/>
                  </a:lnTo>
                  <a:lnTo>
                    <a:pt x="167" y="332"/>
                  </a:lnTo>
                  <a:lnTo>
                    <a:pt x="161" y="334"/>
                  </a:lnTo>
                  <a:lnTo>
                    <a:pt x="155" y="336"/>
                  </a:lnTo>
                  <a:lnTo>
                    <a:pt x="149" y="338"/>
                  </a:lnTo>
                  <a:lnTo>
                    <a:pt x="144" y="341"/>
                  </a:lnTo>
                  <a:lnTo>
                    <a:pt x="138" y="344"/>
                  </a:lnTo>
                  <a:lnTo>
                    <a:pt x="133" y="349"/>
                  </a:lnTo>
                  <a:lnTo>
                    <a:pt x="124" y="357"/>
                  </a:lnTo>
                  <a:lnTo>
                    <a:pt x="117" y="368"/>
                  </a:lnTo>
                  <a:lnTo>
                    <a:pt x="114" y="373"/>
                  </a:lnTo>
                  <a:lnTo>
                    <a:pt x="110" y="378"/>
                  </a:lnTo>
                  <a:lnTo>
                    <a:pt x="108" y="385"/>
                  </a:lnTo>
                  <a:lnTo>
                    <a:pt x="107" y="391"/>
                  </a:lnTo>
                  <a:lnTo>
                    <a:pt x="30" y="391"/>
                  </a:lnTo>
                  <a:lnTo>
                    <a:pt x="30" y="120"/>
                  </a:lnTo>
                  <a:lnTo>
                    <a:pt x="30" y="117"/>
                  </a:lnTo>
                  <a:lnTo>
                    <a:pt x="29" y="115"/>
                  </a:lnTo>
                  <a:lnTo>
                    <a:pt x="28" y="112"/>
                  </a:lnTo>
                  <a:lnTo>
                    <a:pt x="26" y="110"/>
                  </a:lnTo>
                  <a:lnTo>
                    <a:pt x="24" y="109"/>
                  </a:lnTo>
                  <a:lnTo>
                    <a:pt x="21" y="106"/>
                  </a:lnTo>
                  <a:lnTo>
                    <a:pt x="18" y="106"/>
                  </a:lnTo>
                  <a:lnTo>
                    <a:pt x="15" y="105"/>
                  </a:lnTo>
                  <a:lnTo>
                    <a:pt x="12" y="106"/>
                  </a:lnTo>
                  <a:lnTo>
                    <a:pt x="10" y="106"/>
                  </a:lnTo>
                  <a:lnTo>
                    <a:pt x="6" y="109"/>
                  </a:lnTo>
                  <a:lnTo>
                    <a:pt x="4" y="110"/>
                  </a:lnTo>
                  <a:lnTo>
                    <a:pt x="3" y="112"/>
                  </a:lnTo>
                  <a:lnTo>
                    <a:pt x="1" y="115"/>
                  </a:lnTo>
                  <a:lnTo>
                    <a:pt x="1" y="117"/>
                  </a:lnTo>
                  <a:lnTo>
                    <a:pt x="0" y="120"/>
                  </a:lnTo>
                  <a:lnTo>
                    <a:pt x="0" y="406"/>
                  </a:lnTo>
                  <a:lnTo>
                    <a:pt x="1" y="410"/>
                  </a:lnTo>
                  <a:lnTo>
                    <a:pt x="1" y="412"/>
                  </a:lnTo>
                  <a:lnTo>
                    <a:pt x="3" y="415"/>
                  </a:lnTo>
                  <a:lnTo>
                    <a:pt x="4" y="417"/>
                  </a:lnTo>
                  <a:lnTo>
                    <a:pt x="6" y="419"/>
                  </a:lnTo>
                  <a:lnTo>
                    <a:pt x="10" y="420"/>
                  </a:lnTo>
                  <a:lnTo>
                    <a:pt x="12" y="421"/>
                  </a:lnTo>
                  <a:lnTo>
                    <a:pt x="15" y="421"/>
                  </a:lnTo>
                  <a:lnTo>
                    <a:pt x="107" y="421"/>
                  </a:lnTo>
                  <a:lnTo>
                    <a:pt x="108" y="428"/>
                  </a:lnTo>
                  <a:lnTo>
                    <a:pt x="110" y="434"/>
                  </a:lnTo>
                  <a:lnTo>
                    <a:pt x="114" y="440"/>
                  </a:lnTo>
                  <a:lnTo>
                    <a:pt x="117" y="445"/>
                  </a:lnTo>
                  <a:lnTo>
                    <a:pt x="124" y="456"/>
                  </a:lnTo>
                  <a:lnTo>
                    <a:pt x="133" y="464"/>
                  </a:lnTo>
                  <a:lnTo>
                    <a:pt x="138" y="468"/>
                  </a:lnTo>
                  <a:lnTo>
                    <a:pt x="144" y="472"/>
                  </a:lnTo>
                  <a:lnTo>
                    <a:pt x="149" y="475"/>
                  </a:lnTo>
                  <a:lnTo>
                    <a:pt x="155" y="477"/>
                  </a:lnTo>
                  <a:lnTo>
                    <a:pt x="161" y="479"/>
                  </a:lnTo>
                  <a:lnTo>
                    <a:pt x="167" y="480"/>
                  </a:lnTo>
                  <a:lnTo>
                    <a:pt x="174" y="481"/>
                  </a:lnTo>
                  <a:lnTo>
                    <a:pt x="181" y="481"/>
                  </a:lnTo>
                  <a:lnTo>
                    <a:pt x="187" y="481"/>
                  </a:lnTo>
                  <a:lnTo>
                    <a:pt x="194" y="480"/>
                  </a:lnTo>
                  <a:lnTo>
                    <a:pt x="200" y="479"/>
                  </a:lnTo>
                  <a:lnTo>
                    <a:pt x="207" y="477"/>
                  </a:lnTo>
                  <a:lnTo>
                    <a:pt x="212" y="475"/>
                  </a:lnTo>
                  <a:lnTo>
                    <a:pt x="219" y="472"/>
                  </a:lnTo>
                  <a:lnTo>
                    <a:pt x="224" y="468"/>
                  </a:lnTo>
                  <a:lnTo>
                    <a:pt x="228" y="464"/>
                  </a:lnTo>
                  <a:lnTo>
                    <a:pt x="238" y="456"/>
                  </a:lnTo>
                  <a:lnTo>
                    <a:pt x="245" y="445"/>
                  </a:lnTo>
                  <a:lnTo>
                    <a:pt x="249" y="440"/>
                  </a:lnTo>
                  <a:lnTo>
                    <a:pt x="251" y="434"/>
                  </a:lnTo>
                  <a:lnTo>
                    <a:pt x="253" y="428"/>
                  </a:lnTo>
                  <a:lnTo>
                    <a:pt x="254" y="421"/>
                  </a:lnTo>
                  <a:lnTo>
                    <a:pt x="436" y="421"/>
                  </a:lnTo>
                  <a:lnTo>
                    <a:pt x="483" y="421"/>
                  </a:lnTo>
                  <a:lnTo>
                    <a:pt x="484" y="428"/>
                  </a:lnTo>
                  <a:lnTo>
                    <a:pt x="486" y="434"/>
                  </a:lnTo>
                  <a:lnTo>
                    <a:pt x="490" y="440"/>
                  </a:lnTo>
                  <a:lnTo>
                    <a:pt x="493" y="445"/>
                  </a:lnTo>
                  <a:lnTo>
                    <a:pt x="499" y="456"/>
                  </a:lnTo>
                  <a:lnTo>
                    <a:pt x="509" y="464"/>
                  </a:lnTo>
                  <a:lnTo>
                    <a:pt x="514" y="468"/>
                  </a:lnTo>
                  <a:lnTo>
                    <a:pt x="520" y="472"/>
                  </a:lnTo>
                  <a:lnTo>
                    <a:pt x="525" y="475"/>
                  </a:lnTo>
                  <a:lnTo>
                    <a:pt x="530" y="477"/>
                  </a:lnTo>
                  <a:lnTo>
                    <a:pt x="537" y="479"/>
                  </a:lnTo>
                  <a:lnTo>
                    <a:pt x="543" y="480"/>
                  </a:lnTo>
                  <a:lnTo>
                    <a:pt x="550" y="481"/>
                  </a:lnTo>
                  <a:lnTo>
                    <a:pt x="557" y="481"/>
                  </a:lnTo>
                  <a:lnTo>
                    <a:pt x="563" y="481"/>
                  </a:lnTo>
                  <a:lnTo>
                    <a:pt x="570" y="480"/>
                  </a:lnTo>
                  <a:lnTo>
                    <a:pt x="576" y="479"/>
                  </a:lnTo>
                  <a:lnTo>
                    <a:pt x="583" y="477"/>
                  </a:lnTo>
                  <a:lnTo>
                    <a:pt x="588" y="475"/>
                  </a:lnTo>
                  <a:lnTo>
                    <a:pt x="593" y="472"/>
                  </a:lnTo>
                  <a:lnTo>
                    <a:pt x="599" y="468"/>
                  </a:lnTo>
                  <a:lnTo>
                    <a:pt x="604" y="464"/>
                  </a:lnTo>
                  <a:lnTo>
                    <a:pt x="614" y="456"/>
                  </a:lnTo>
                  <a:lnTo>
                    <a:pt x="621" y="445"/>
                  </a:lnTo>
                  <a:lnTo>
                    <a:pt x="623" y="440"/>
                  </a:lnTo>
                  <a:lnTo>
                    <a:pt x="627" y="434"/>
                  </a:lnTo>
                  <a:lnTo>
                    <a:pt x="629" y="428"/>
                  </a:lnTo>
                  <a:lnTo>
                    <a:pt x="630" y="421"/>
                  </a:lnTo>
                  <a:lnTo>
                    <a:pt x="707" y="421"/>
                  </a:lnTo>
                  <a:lnTo>
                    <a:pt x="710" y="421"/>
                  </a:lnTo>
                  <a:lnTo>
                    <a:pt x="712" y="420"/>
                  </a:lnTo>
                  <a:lnTo>
                    <a:pt x="716" y="419"/>
                  </a:lnTo>
                  <a:lnTo>
                    <a:pt x="718" y="417"/>
                  </a:lnTo>
                  <a:lnTo>
                    <a:pt x="720" y="415"/>
                  </a:lnTo>
                  <a:lnTo>
                    <a:pt x="721" y="412"/>
                  </a:lnTo>
                  <a:lnTo>
                    <a:pt x="722" y="410"/>
                  </a:lnTo>
                  <a:lnTo>
                    <a:pt x="722" y="406"/>
                  </a:lnTo>
                  <a:lnTo>
                    <a:pt x="722" y="256"/>
                  </a:lnTo>
                  <a:lnTo>
                    <a:pt x="722" y="253"/>
                  </a:lnTo>
                  <a:lnTo>
                    <a:pt x="721" y="250"/>
                  </a:lnTo>
                  <a:lnTo>
                    <a:pt x="721" y="250"/>
                  </a:lnTo>
                  <a:close/>
                </a:path>
              </a:pathLst>
            </a:custGeom>
            <a:solidFill>
              <a:srgbClr val="24222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8" name="Freeform 220">
              <a:extLst>
                <a:ext uri="{FF2B5EF4-FFF2-40B4-BE49-F238E27FC236}">
                  <a16:creationId xmlns="" xmlns:a16="http://schemas.microsoft.com/office/drawing/2014/main" id="{4BB9EB63-36D9-4F73-80C7-94B037050E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793163" y="2565400"/>
              <a:ext cx="28575" cy="38100"/>
            </a:xfrm>
            <a:custGeom>
              <a:avLst/>
              <a:gdLst>
                <a:gd name="T0" fmla="*/ 15 w 90"/>
                <a:gd name="T1" fmla="*/ 120 h 120"/>
                <a:gd name="T2" fmla="*/ 75 w 90"/>
                <a:gd name="T3" fmla="*/ 120 h 120"/>
                <a:gd name="T4" fmla="*/ 78 w 90"/>
                <a:gd name="T5" fmla="*/ 120 h 120"/>
                <a:gd name="T6" fmla="*/ 81 w 90"/>
                <a:gd name="T7" fmla="*/ 119 h 120"/>
                <a:gd name="T8" fmla="*/ 84 w 90"/>
                <a:gd name="T9" fmla="*/ 117 h 120"/>
                <a:gd name="T10" fmla="*/ 86 w 90"/>
                <a:gd name="T11" fmla="*/ 116 h 120"/>
                <a:gd name="T12" fmla="*/ 88 w 90"/>
                <a:gd name="T13" fmla="*/ 114 h 120"/>
                <a:gd name="T14" fmla="*/ 89 w 90"/>
                <a:gd name="T15" fmla="*/ 111 h 120"/>
                <a:gd name="T16" fmla="*/ 90 w 90"/>
                <a:gd name="T17" fmla="*/ 109 h 120"/>
                <a:gd name="T18" fmla="*/ 90 w 90"/>
                <a:gd name="T19" fmla="*/ 105 h 120"/>
                <a:gd name="T20" fmla="*/ 90 w 90"/>
                <a:gd name="T21" fmla="*/ 102 h 120"/>
                <a:gd name="T22" fmla="*/ 89 w 90"/>
                <a:gd name="T23" fmla="*/ 99 h 120"/>
                <a:gd name="T24" fmla="*/ 88 w 90"/>
                <a:gd name="T25" fmla="*/ 97 h 120"/>
                <a:gd name="T26" fmla="*/ 86 w 90"/>
                <a:gd name="T27" fmla="*/ 95 h 120"/>
                <a:gd name="T28" fmla="*/ 84 w 90"/>
                <a:gd name="T29" fmla="*/ 93 h 120"/>
                <a:gd name="T30" fmla="*/ 81 w 90"/>
                <a:gd name="T31" fmla="*/ 91 h 120"/>
                <a:gd name="T32" fmla="*/ 78 w 90"/>
                <a:gd name="T33" fmla="*/ 90 h 120"/>
                <a:gd name="T34" fmla="*/ 75 w 90"/>
                <a:gd name="T35" fmla="*/ 90 h 120"/>
                <a:gd name="T36" fmla="*/ 30 w 90"/>
                <a:gd name="T37" fmla="*/ 90 h 120"/>
                <a:gd name="T38" fmla="*/ 30 w 90"/>
                <a:gd name="T39" fmla="*/ 15 h 120"/>
                <a:gd name="T40" fmla="*/ 30 w 90"/>
                <a:gd name="T41" fmla="*/ 12 h 120"/>
                <a:gd name="T42" fmla="*/ 29 w 90"/>
                <a:gd name="T43" fmla="*/ 9 h 120"/>
                <a:gd name="T44" fmla="*/ 28 w 90"/>
                <a:gd name="T45" fmla="*/ 7 h 120"/>
                <a:gd name="T46" fmla="*/ 26 w 90"/>
                <a:gd name="T47" fmla="*/ 5 h 120"/>
                <a:gd name="T48" fmla="*/ 24 w 90"/>
                <a:gd name="T49" fmla="*/ 3 h 120"/>
                <a:gd name="T50" fmla="*/ 21 w 90"/>
                <a:gd name="T51" fmla="*/ 1 h 120"/>
                <a:gd name="T52" fmla="*/ 18 w 90"/>
                <a:gd name="T53" fmla="*/ 0 h 120"/>
                <a:gd name="T54" fmla="*/ 15 w 90"/>
                <a:gd name="T55" fmla="*/ 0 h 120"/>
                <a:gd name="T56" fmla="*/ 12 w 90"/>
                <a:gd name="T57" fmla="*/ 0 h 120"/>
                <a:gd name="T58" fmla="*/ 10 w 90"/>
                <a:gd name="T59" fmla="*/ 1 h 120"/>
                <a:gd name="T60" fmla="*/ 6 w 90"/>
                <a:gd name="T61" fmla="*/ 3 h 120"/>
                <a:gd name="T62" fmla="*/ 4 w 90"/>
                <a:gd name="T63" fmla="*/ 5 h 120"/>
                <a:gd name="T64" fmla="*/ 3 w 90"/>
                <a:gd name="T65" fmla="*/ 7 h 120"/>
                <a:gd name="T66" fmla="*/ 1 w 90"/>
                <a:gd name="T67" fmla="*/ 9 h 120"/>
                <a:gd name="T68" fmla="*/ 1 w 90"/>
                <a:gd name="T69" fmla="*/ 12 h 120"/>
                <a:gd name="T70" fmla="*/ 0 w 90"/>
                <a:gd name="T71" fmla="*/ 15 h 120"/>
                <a:gd name="T72" fmla="*/ 0 w 90"/>
                <a:gd name="T73" fmla="*/ 105 h 120"/>
                <a:gd name="T74" fmla="*/ 1 w 90"/>
                <a:gd name="T75" fmla="*/ 109 h 120"/>
                <a:gd name="T76" fmla="*/ 1 w 90"/>
                <a:gd name="T77" fmla="*/ 111 h 120"/>
                <a:gd name="T78" fmla="*/ 3 w 90"/>
                <a:gd name="T79" fmla="*/ 114 h 120"/>
                <a:gd name="T80" fmla="*/ 4 w 90"/>
                <a:gd name="T81" fmla="*/ 116 h 120"/>
                <a:gd name="T82" fmla="*/ 6 w 90"/>
                <a:gd name="T83" fmla="*/ 117 h 120"/>
                <a:gd name="T84" fmla="*/ 10 w 90"/>
                <a:gd name="T85" fmla="*/ 119 h 120"/>
                <a:gd name="T86" fmla="*/ 13 w 90"/>
                <a:gd name="T87" fmla="*/ 120 h 120"/>
                <a:gd name="T88" fmla="*/ 15 w 90"/>
                <a:gd name="T89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0" h="120">
                  <a:moveTo>
                    <a:pt x="15" y="120"/>
                  </a:moveTo>
                  <a:lnTo>
                    <a:pt x="75" y="120"/>
                  </a:lnTo>
                  <a:lnTo>
                    <a:pt x="78" y="120"/>
                  </a:lnTo>
                  <a:lnTo>
                    <a:pt x="81" y="119"/>
                  </a:lnTo>
                  <a:lnTo>
                    <a:pt x="84" y="117"/>
                  </a:lnTo>
                  <a:lnTo>
                    <a:pt x="86" y="116"/>
                  </a:lnTo>
                  <a:lnTo>
                    <a:pt x="88" y="114"/>
                  </a:lnTo>
                  <a:lnTo>
                    <a:pt x="89" y="111"/>
                  </a:lnTo>
                  <a:lnTo>
                    <a:pt x="90" y="109"/>
                  </a:lnTo>
                  <a:lnTo>
                    <a:pt x="90" y="105"/>
                  </a:lnTo>
                  <a:lnTo>
                    <a:pt x="90" y="102"/>
                  </a:lnTo>
                  <a:lnTo>
                    <a:pt x="89" y="99"/>
                  </a:lnTo>
                  <a:lnTo>
                    <a:pt x="88" y="97"/>
                  </a:lnTo>
                  <a:lnTo>
                    <a:pt x="86" y="95"/>
                  </a:lnTo>
                  <a:lnTo>
                    <a:pt x="84" y="93"/>
                  </a:lnTo>
                  <a:lnTo>
                    <a:pt x="81" y="91"/>
                  </a:lnTo>
                  <a:lnTo>
                    <a:pt x="78" y="90"/>
                  </a:lnTo>
                  <a:lnTo>
                    <a:pt x="75" y="90"/>
                  </a:lnTo>
                  <a:lnTo>
                    <a:pt x="30" y="90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9"/>
                  </a:lnTo>
                  <a:lnTo>
                    <a:pt x="28" y="7"/>
                  </a:lnTo>
                  <a:lnTo>
                    <a:pt x="26" y="5"/>
                  </a:lnTo>
                  <a:lnTo>
                    <a:pt x="24" y="3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105"/>
                  </a:lnTo>
                  <a:lnTo>
                    <a:pt x="1" y="109"/>
                  </a:lnTo>
                  <a:lnTo>
                    <a:pt x="1" y="111"/>
                  </a:lnTo>
                  <a:lnTo>
                    <a:pt x="3" y="114"/>
                  </a:lnTo>
                  <a:lnTo>
                    <a:pt x="4" y="116"/>
                  </a:lnTo>
                  <a:lnTo>
                    <a:pt x="6" y="117"/>
                  </a:lnTo>
                  <a:lnTo>
                    <a:pt x="10" y="119"/>
                  </a:lnTo>
                  <a:lnTo>
                    <a:pt x="13" y="120"/>
                  </a:lnTo>
                  <a:lnTo>
                    <a:pt x="15" y="120"/>
                  </a:lnTo>
                  <a:close/>
                </a:path>
              </a:pathLst>
            </a:custGeom>
            <a:solidFill>
              <a:srgbClr val="24222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9" name="Freeform 221">
              <a:extLst>
                <a:ext uri="{FF2B5EF4-FFF2-40B4-BE49-F238E27FC236}">
                  <a16:creationId xmlns="" xmlns:a16="http://schemas.microsoft.com/office/drawing/2014/main" id="{0ED3D2FE-3628-4B88-8B9F-A4AE8B9EA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36013" y="2698750"/>
              <a:ext cx="47625" cy="11113"/>
            </a:xfrm>
            <a:custGeom>
              <a:avLst/>
              <a:gdLst>
                <a:gd name="T0" fmla="*/ 135 w 150"/>
                <a:gd name="T1" fmla="*/ 0 h 31"/>
                <a:gd name="T2" fmla="*/ 15 w 150"/>
                <a:gd name="T3" fmla="*/ 0 h 31"/>
                <a:gd name="T4" fmla="*/ 12 w 150"/>
                <a:gd name="T5" fmla="*/ 1 h 31"/>
                <a:gd name="T6" fmla="*/ 9 w 150"/>
                <a:gd name="T7" fmla="*/ 2 h 31"/>
                <a:gd name="T8" fmla="*/ 6 w 150"/>
                <a:gd name="T9" fmla="*/ 4 h 31"/>
                <a:gd name="T10" fmla="*/ 4 w 150"/>
                <a:gd name="T11" fmla="*/ 6 h 31"/>
                <a:gd name="T12" fmla="*/ 2 w 150"/>
                <a:gd name="T13" fmla="*/ 8 h 31"/>
                <a:gd name="T14" fmla="*/ 1 w 150"/>
                <a:gd name="T15" fmla="*/ 10 h 31"/>
                <a:gd name="T16" fmla="*/ 0 w 150"/>
                <a:gd name="T17" fmla="*/ 13 h 31"/>
                <a:gd name="T18" fmla="*/ 0 w 150"/>
                <a:gd name="T19" fmla="*/ 16 h 31"/>
                <a:gd name="T20" fmla="*/ 0 w 150"/>
                <a:gd name="T21" fmla="*/ 19 h 31"/>
                <a:gd name="T22" fmla="*/ 1 w 150"/>
                <a:gd name="T23" fmla="*/ 22 h 31"/>
                <a:gd name="T24" fmla="*/ 2 w 150"/>
                <a:gd name="T25" fmla="*/ 24 h 31"/>
                <a:gd name="T26" fmla="*/ 4 w 150"/>
                <a:gd name="T27" fmla="*/ 26 h 31"/>
                <a:gd name="T28" fmla="*/ 6 w 150"/>
                <a:gd name="T29" fmla="*/ 28 h 31"/>
                <a:gd name="T30" fmla="*/ 9 w 150"/>
                <a:gd name="T31" fmla="*/ 29 h 31"/>
                <a:gd name="T32" fmla="*/ 12 w 150"/>
                <a:gd name="T33" fmla="*/ 30 h 31"/>
                <a:gd name="T34" fmla="*/ 15 w 150"/>
                <a:gd name="T35" fmla="*/ 31 h 31"/>
                <a:gd name="T36" fmla="*/ 135 w 150"/>
                <a:gd name="T37" fmla="*/ 31 h 31"/>
                <a:gd name="T38" fmla="*/ 138 w 150"/>
                <a:gd name="T39" fmla="*/ 30 h 31"/>
                <a:gd name="T40" fmla="*/ 141 w 150"/>
                <a:gd name="T41" fmla="*/ 29 h 31"/>
                <a:gd name="T42" fmla="*/ 144 w 150"/>
                <a:gd name="T43" fmla="*/ 28 h 31"/>
                <a:gd name="T44" fmla="*/ 146 w 150"/>
                <a:gd name="T45" fmla="*/ 26 h 31"/>
                <a:gd name="T46" fmla="*/ 148 w 150"/>
                <a:gd name="T47" fmla="*/ 24 h 31"/>
                <a:gd name="T48" fmla="*/ 149 w 150"/>
                <a:gd name="T49" fmla="*/ 22 h 31"/>
                <a:gd name="T50" fmla="*/ 150 w 150"/>
                <a:gd name="T51" fmla="*/ 19 h 31"/>
                <a:gd name="T52" fmla="*/ 150 w 150"/>
                <a:gd name="T53" fmla="*/ 16 h 31"/>
                <a:gd name="T54" fmla="*/ 150 w 150"/>
                <a:gd name="T55" fmla="*/ 13 h 31"/>
                <a:gd name="T56" fmla="*/ 149 w 150"/>
                <a:gd name="T57" fmla="*/ 10 h 31"/>
                <a:gd name="T58" fmla="*/ 148 w 150"/>
                <a:gd name="T59" fmla="*/ 8 h 31"/>
                <a:gd name="T60" fmla="*/ 146 w 150"/>
                <a:gd name="T61" fmla="*/ 6 h 31"/>
                <a:gd name="T62" fmla="*/ 144 w 150"/>
                <a:gd name="T63" fmla="*/ 4 h 31"/>
                <a:gd name="T64" fmla="*/ 141 w 150"/>
                <a:gd name="T65" fmla="*/ 2 h 31"/>
                <a:gd name="T66" fmla="*/ 138 w 150"/>
                <a:gd name="T67" fmla="*/ 1 h 31"/>
                <a:gd name="T68" fmla="*/ 135 w 150"/>
                <a:gd name="T6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0" h="31">
                  <a:moveTo>
                    <a:pt x="135" y="0"/>
                  </a:moveTo>
                  <a:lnTo>
                    <a:pt x="15" y="0"/>
                  </a:lnTo>
                  <a:lnTo>
                    <a:pt x="12" y="1"/>
                  </a:lnTo>
                  <a:lnTo>
                    <a:pt x="9" y="2"/>
                  </a:lnTo>
                  <a:lnTo>
                    <a:pt x="6" y="4"/>
                  </a:lnTo>
                  <a:lnTo>
                    <a:pt x="4" y="6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1"/>
                  </a:lnTo>
                  <a:lnTo>
                    <a:pt x="135" y="31"/>
                  </a:lnTo>
                  <a:lnTo>
                    <a:pt x="138" y="30"/>
                  </a:lnTo>
                  <a:lnTo>
                    <a:pt x="141" y="29"/>
                  </a:lnTo>
                  <a:lnTo>
                    <a:pt x="144" y="28"/>
                  </a:lnTo>
                  <a:lnTo>
                    <a:pt x="146" y="26"/>
                  </a:lnTo>
                  <a:lnTo>
                    <a:pt x="148" y="24"/>
                  </a:lnTo>
                  <a:lnTo>
                    <a:pt x="149" y="22"/>
                  </a:lnTo>
                  <a:lnTo>
                    <a:pt x="150" y="19"/>
                  </a:lnTo>
                  <a:lnTo>
                    <a:pt x="150" y="16"/>
                  </a:lnTo>
                  <a:lnTo>
                    <a:pt x="150" y="13"/>
                  </a:lnTo>
                  <a:lnTo>
                    <a:pt x="149" y="10"/>
                  </a:lnTo>
                  <a:lnTo>
                    <a:pt x="148" y="8"/>
                  </a:lnTo>
                  <a:lnTo>
                    <a:pt x="146" y="6"/>
                  </a:lnTo>
                  <a:lnTo>
                    <a:pt x="144" y="4"/>
                  </a:lnTo>
                  <a:lnTo>
                    <a:pt x="141" y="2"/>
                  </a:lnTo>
                  <a:lnTo>
                    <a:pt x="138" y="1"/>
                  </a:lnTo>
                  <a:lnTo>
                    <a:pt x="135" y="0"/>
                  </a:lnTo>
                  <a:close/>
                </a:path>
              </a:pathLst>
            </a:custGeom>
            <a:solidFill>
              <a:srgbClr val="24222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222">
              <a:extLst>
                <a:ext uri="{FF2B5EF4-FFF2-40B4-BE49-F238E27FC236}">
                  <a16:creationId xmlns="" xmlns:a16="http://schemas.microsoft.com/office/drawing/2014/main" id="{C4D383A6-CFBF-44B6-816B-D465EEC2A8FA}"/>
                </a:ext>
              </a:extLst>
            </p:cNvPr>
            <p:cNvSpPr>
              <a:spLocks/>
            </p:cNvSpPr>
            <p:nvPr/>
          </p:nvSpPr>
          <p:spPr bwMode="auto">
            <a:xfrm>
              <a:off x="8755063" y="2719388"/>
              <a:ext cx="28575" cy="9525"/>
            </a:xfrm>
            <a:custGeom>
              <a:avLst/>
              <a:gdLst>
                <a:gd name="T0" fmla="*/ 75 w 90"/>
                <a:gd name="T1" fmla="*/ 0 h 30"/>
                <a:gd name="T2" fmla="*/ 15 w 90"/>
                <a:gd name="T3" fmla="*/ 0 h 30"/>
                <a:gd name="T4" fmla="*/ 12 w 90"/>
                <a:gd name="T5" fmla="*/ 0 h 30"/>
                <a:gd name="T6" fmla="*/ 10 w 90"/>
                <a:gd name="T7" fmla="*/ 1 h 30"/>
                <a:gd name="T8" fmla="*/ 6 w 90"/>
                <a:gd name="T9" fmla="*/ 3 h 30"/>
                <a:gd name="T10" fmla="*/ 4 w 90"/>
                <a:gd name="T11" fmla="*/ 5 h 30"/>
                <a:gd name="T12" fmla="*/ 2 w 90"/>
                <a:gd name="T13" fmla="*/ 7 h 30"/>
                <a:gd name="T14" fmla="*/ 1 w 90"/>
                <a:gd name="T15" fmla="*/ 9 h 30"/>
                <a:gd name="T16" fmla="*/ 0 w 90"/>
                <a:gd name="T17" fmla="*/ 12 h 30"/>
                <a:gd name="T18" fmla="*/ 0 w 90"/>
                <a:gd name="T19" fmla="*/ 15 h 30"/>
                <a:gd name="T20" fmla="*/ 0 w 90"/>
                <a:gd name="T21" fmla="*/ 19 h 30"/>
                <a:gd name="T22" fmla="*/ 1 w 90"/>
                <a:gd name="T23" fmla="*/ 21 h 30"/>
                <a:gd name="T24" fmla="*/ 2 w 90"/>
                <a:gd name="T25" fmla="*/ 24 h 30"/>
                <a:gd name="T26" fmla="*/ 4 w 90"/>
                <a:gd name="T27" fmla="*/ 26 h 30"/>
                <a:gd name="T28" fmla="*/ 6 w 90"/>
                <a:gd name="T29" fmla="*/ 27 h 30"/>
                <a:gd name="T30" fmla="*/ 10 w 90"/>
                <a:gd name="T31" fmla="*/ 29 h 30"/>
                <a:gd name="T32" fmla="*/ 12 w 90"/>
                <a:gd name="T33" fmla="*/ 29 h 30"/>
                <a:gd name="T34" fmla="*/ 15 w 90"/>
                <a:gd name="T35" fmla="*/ 30 h 30"/>
                <a:gd name="T36" fmla="*/ 75 w 90"/>
                <a:gd name="T37" fmla="*/ 30 h 30"/>
                <a:gd name="T38" fmla="*/ 78 w 90"/>
                <a:gd name="T39" fmla="*/ 29 h 30"/>
                <a:gd name="T40" fmla="*/ 81 w 90"/>
                <a:gd name="T41" fmla="*/ 29 h 30"/>
                <a:gd name="T42" fmla="*/ 84 w 90"/>
                <a:gd name="T43" fmla="*/ 27 h 30"/>
                <a:gd name="T44" fmla="*/ 86 w 90"/>
                <a:gd name="T45" fmla="*/ 26 h 30"/>
                <a:gd name="T46" fmla="*/ 88 w 90"/>
                <a:gd name="T47" fmla="*/ 24 h 30"/>
                <a:gd name="T48" fmla="*/ 89 w 90"/>
                <a:gd name="T49" fmla="*/ 21 h 30"/>
                <a:gd name="T50" fmla="*/ 90 w 90"/>
                <a:gd name="T51" fmla="*/ 19 h 30"/>
                <a:gd name="T52" fmla="*/ 90 w 90"/>
                <a:gd name="T53" fmla="*/ 15 h 30"/>
                <a:gd name="T54" fmla="*/ 90 w 90"/>
                <a:gd name="T55" fmla="*/ 12 h 30"/>
                <a:gd name="T56" fmla="*/ 89 w 90"/>
                <a:gd name="T57" fmla="*/ 9 h 30"/>
                <a:gd name="T58" fmla="*/ 88 w 90"/>
                <a:gd name="T59" fmla="*/ 7 h 30"/>
                <a:gd name="T60" fmla="*/ 86 w 90"/>
                <a:gd name="T61" fmla="*/ 5 h 30"/>
                <a:gd name="T62" fmla="*/ 84 w 90"/>
                <a:gd name="T63" fmla="*/ 3 h 30"/>
                <a:gd name="T64" fmla="*/ 81 w 90"/>
                <a:gd name="T65" fmla="*/ 1 h 30"/>
                <a:gd name="T66" fmla="*/ 78 w 90"/>
                <a:gd name="T67" fmla="*/ 0 h 30"/>
                <a:gd name="T68" fmla="*/ 75 w 90"/>
                <a:gd name="T69" fmla="*/ 0 h 30"/>
                <a:gd name="T70" fmla="*/ 75 w 9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30">
                  <a:moveTo>
                    <a:pt x="7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75" y="30"/>
                  </a:lnTo>
                  <a:lnTo>
                    <a:pt x="78" y="29"/>
                  </a:lnTo>
                  <a:lnTo>
                    <a:pt x="81" y="29"/>
                  </a:lnTo>
                  <a:lnTo>
                    <a:pt x="84" y="27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89" y="21"/>
                  </a:lnTo>
                  <a:lnTo>
                    <a:pt x="90" y="19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3"/>
                  </a:lnTo>
                  <a:lnTo>
                    <a:pt x="81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24222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223">
              <a:extLst>
                <a:ext uri="{FF2B5EF4-FFF2-40B4-BE49-F238E27FC236}">
                  <a16:creationId xmlns="" xmlns:a16="http://schemas.microsoft.com/office/drawing/2014/main" id="{C10B60D2-5862-42D0-B1AF-7899C1F3766E}"/>
                </a:ext>
              </a:extLst>
            </p:cNvPr>
            <p:cNvSpPr>
              <a:spLocks/>
            </p:cNvSpPr>
            <p:nvPr/>
          </p:nvSpPr>
          <p:spPr bwMode="auto">
            <a:xfrm>
              <a:off x="8764588" y="2738438"/>
              <a:ext cx="19050" cy="9525"/>
            </a:xfrm>
            <a:custGeom>
              <a:avLst/>
              <a:gdLst>
                <a:gd name="T0" fmla="*/ 45 w 60"/>
                <a:gd name="T1" fmla="*/ 0 h 30"/>
                <a:gd name="T2" fmla="*/ 15 w 60"/>
                <a:gd name="T3" fmla="*/ 0 h 30"/>
                <a:gd name="T4" fmla="*/ 12 w 60"/>
                <a:gd name="T5" fmla="*/ 0 h 30"/>
                <a:gd name="T6" fmla="*/ 10 w 60"/>
                <a:gd name="T7" fmla="*/ 1 h 30"/>
                <a:gd name="T8" fmla="*/ 6 w 60"/>
                <a:gd name="T9" fmla="*/ 3 h 30"/>
                <a:gd name="T10" fmla="*/ 4 w 60"/>
                <a:gd name="T11" fmla="*/ 5 h 30"/>
                <a:gd name="T12" fmla="*/ 2 w 60"/>
                <a:gd name="T13" fmla="*/ 7 h 30"/>
                <a:gd name="T14" fmla="*/ 1 w 60"/>
                <a:gd name="T15" fmla="*/ 9 h 30"/>
                <a:gd name="T16" fmla="*/ 0 w 60"/>
                <a:gd name="T17" fmla="*/ 12 h 30"/>
                <a:gd name="T18" fmla="*/ 0 w 60"/>
                <a:gd name="T19" fmla="*/ 15 h 30"/>
                <a:gd name="T20" fmla="*/ 0 w 60"/>
                <a:gd name="T21" fmla="*/ 19 h 30"/>
                <a:gd name="T22" fmla="*/ 1 w 60"/>
                <a:gd name="T23" fmla="*/ 21 h 30"/>
                <a:gd name="T24" fmla="*/ 2 w 60"/>
                <a:gd name="T25" fmla="*/ 24 h 30"/>
                <a:gd name="T26" fmla="*/ 4 w 60"/>
                <a:gd name="T27" fmla="*/ 26 h 30"/>
                <a:gd name="T28" fmla="*/ 6 w 60"/>
                <a:gd name="T29" fmla="*/ 27 h 30"/>
                <a:gd name="T30" fmla="*/ 10 w 60"/>
                <a:gd name="T31" fmla="*/ 29 h 30"/>
                <a:gd name="T32" fmla="*/ 12 w 60"/>
                <a:gd name="T33" fmla="*/ 30 h 30"/>
                <a:gd name="T34" fmla="*/ 15 w 60"/>
                <a:gd name="T35" fmla="*/ 30 h 30"/>
                <a:gd name="T36" fmla="*/ 45 w 60"/>
                <a:gd name="T37" fmla="*/ 30 h 30"/>
                <a:gd name="T38" fmla="*/ 48 w 60"/>
                <a:gd name="T39" fmla="*/ 30 h 30"/>
                <a:gd name="T40" fmla="*/ 51 w 60"/>
                <a:gd name="T41" fmla="*/ 29 h 30"/>
                <a:gd name="T42" fmla="*/ 54 w 60"/>
                <a:gd name="T43" fmla="*/ 27 h 30"/>
                <a:gd name="T44" fmla="*/ 56 w 60"/>
                <a:gd name="T45" fmla="*/ 26 h 30"/>
                <a:gd name="T46" fmla="*/ 58 w 60"/>
                <a:gd name="T47" fmla="*/ 24 h 30"/>
                <a:gd name="T48" fmla="*/ 59 w 60"/>
                <a:gd name="T49" fmla="*/ 21 h 30"/>
                <a:gd name="T50" fmla="*/ 60 w 60"/>
                <a:gd name="T51" fmla="*/ 19 h 30"/>
                <a:gd name="T52" fmla="*/ 60 w 60"/>
                <a:gd name="T53" fmla="*/ 15 h 30"/>
                <a:gd name="T54" fmla="*/ 60 w 60"/>
                <a:gd name="T55" fmla="*/ 12 h 30"/>
                <a:gd name="T56" fmla="*/ 59 w 60"/>
                <a:gd name="T57" fmla="*/ 9 h 30"/>
                <a:gd name="T58" fmla="*/ 58 w 60"/>
                <a:gd name="T59" fmla="*/ 7 h 30"/>
                <a:gd name="T60" fmla="*/ 56 w 60"/>
                <a:gd name="T61" fmla="*/ 5 h 30"/>
                <a:gd name="T62" fmla="*/ 54 w 60"/>
                <a:gd name="T63" fmla="*/ 3 h 30"/>
                <a:gd name="T64" fmla="*/ 51 w 60"/>
                <a:gd name="T65" fmla="*/ 1 h 30"/>
                <a:gd name="T66" fmla="*/ 48 w 60"/>
                <a:gd name="T67" fmla="*/ 0 h 30"/>
                <a:gd name="T68" fmla="*/ 45 w 6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30">
                  <a:moveTo>
                    <a:pt x="4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5" y="30"/>
                  </a:lnTo>
                  <a:lnTo>
                    <a:pt x="48" y="30"/>
                  </a:lnTo>
                  <a:lnTo>
                    <a:pt x="51" y="29"/>
                  </a:lnTo>
                  <a:lnTo>
                    <a:pt x="54" y="27"/>
                  </a:lnTo>
                  <a:lnTo>
                    <a:pt x="56" y="26"/>
                  </a:lnTo>
                  <a:lnTo>
                    <a:pt x="58" y="24"/>
                  </a:lnTo>
                  <a:lnTo>
                    <a:pt x="59" y="21"/>
                  </a:lnTo>
                  <a:lnTo>
                    <a:pt x="60" y="19"/>
                  </a:lnTo>
                  <a:lnTo>
                    <a:pt x="60" y="15"/>
                  </a:lnTo>
                  <a:lnTo>
                    <a:pt x="60" y="12"/>
                  </a:lnTo>
                  <a:lnTo>
                    <a:pt x="59" y="9"/>
                  </a:lnTo>
                  <a:lnTo>
                    <a:pt x="58" y="7"/>
                  </a:lnTo>
                  <a:lnTo>
                    <a:pt x="56" y="5"/>
                  </a:lnTo>
                  <a:lnTo>
                    <a:pt x="54" y="3"/>
                  </a:lnTo>
                  <a:lnTo>
                    <a:pt x="51" y="1"/>
                  </a:lnTo>
                  <a:lnTo>
                    <a:pt x="48" y="0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24222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224">
              <a:extLst>
                <a:ext uri="{FF2B5EF4-FFF2-40B4-BE49-F238E27FC236}">
                  <a16:creationId xmlns="" xmlns:a16="http://schemas.microsoft.com/office/drawing/2014/main" id="{925067E4-3EB8-4C61-A4C4-45CBF81E56C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740775" y="2536825"/>
              <a:ext cx="115888" cy="114300"/>
            </a:xfrm>
            <a:custGeom>
              <a:avLst/>
              <a:gdLst>
                <a:gd name="T0" fmla="*/ 211 w 361"/>
                <a:gd name="T1" fmla="*/ 34 h 361"/>
                <a:gd name="T2" fmla="*/ 252 w 361"/>
                <a:gd name="T3" fmla="*/ 49 h 361"/>
                <a:gd name="T4" fmla="*/ 286 w 361"/>
                <a:gd name="T5" fmla="*/ 75 h 361"/>
                <a:gd name="T6" fmla="*/ 313 w 361"/>
                <a:gd name="T7" fmla="*/ 110 h 361"/>
                <a:gd name="T8" fmla="*/ 328 w 361"/>
                <a:gd name="T9" fmla="*/ 151 h 361"/>
                <a:gd name="T10" fmla="*/ 330 w 361"/>
                <a:gd name="T11" fmla="*/ 196 h 361"/>
                <a:gd name="T12" fmla="*/ 319 w 361"/>
                <a:gd name="T13" fmla="*/ 239 h 361"/>
                <a:gd name="T14" fmla="*/ 297 w 361"/>
                <a:gd name="T15" fmla="*/ 277 h 361"/>
                <a:gd name="T16" fmla="*/ 265 w 361"/>
                <a:gd name="T17" fmla="*/ 306 h 361"/>
                <a:gd name="T18" fmla="*/ 225 w 361"/>
                <a:gd name="T19" fmla="*/ 325 h 361"/>
                <a:gd name="T20" fmla="*/ 180 w 361"/>
                <a:gd name="T21" fmla="*/ 331 h 361"/>
                <a:gd name="T22" fmla="*/ 136 w 361"/>
                <a:gd name="T23" fmla="*/ 325 h 361"/>
                <a:gd name="T24" fmla="*/ 96 w 361"/>
                <a:gd name="T25" fmla="*/ 306 h 361"/>
                <a:gd name="T26" fmla="*/ 64 w 361"/>
                <a:gd name="T27" fmla="*/ 277 h 361"/>
                <a:gd name="T28" fmla="*/ 42 w 361"/>
                <a:gd name="T29" fmla="*/ 239 h 361"/>
                <a:gd name="T30" fmla="*/ 31 w 361"/>
                <a:gd name="T31" fmla="*/ 196 h 361"/>
                <a:gd name="T32" fmla="*/ 33 w 361"/>
                <a:gd name="T33" fmla="*/ 151 h 361"/>
                <a:gd name="T34" fmla="*/ 48 w 361"/>
                <a:gd name="T35" fmla="*/ 110 h 361"/>
                <a:gd name="T36" fmla="*/ 74 w 361"/>
                <a:gd name="T37" fmla="*/ 75 h 361"/>
                <a:gd name="T38" fmla="*/ 108 w 361"/>
                <a:gd name="T39" fmla="*/ 49 h 361"/>
                <a:gd name="T40" fmla="*/ 150 w 361"/>
                <a:gd name="T41" fmla="*/ 34 h 361"/>
                <a:gd name="T42" fmla="*/ 180 w 361"/>
                <a:gd name="T43" fmla="*/ 30 h 361"/>
                <a:gd name="T44" fmla="*/ 216 w 361"/>
                <a:gd name="T45" fmla="*/ 358 h 361"/>
                <a:gd name="T46" fmla="*/ 267 w 361"/>
                <a:gd name="T47" fmla="*/ 340 h 361"/>
                <a:gd name="T48" fmla="*/ 307 w 361"/>
                <a:gd name="T49" fmla="*/ 309 h 361"/>
                <a:gd name="T50" fmla="*/ 339 w 361"/>
                <a:gd name="T51" fmla="*/ 267 h 361"/>
                <a:gd name="T52" fmla="*/ 357 w 361"/>
                <a:gd name="T53" fmla="*/ 218 h 361"/>
                <a:gd name="T54" fmla="*/ 360 w 361"/>
                <a:gd name="T55" fmla="*/ 163 h 361"/>
                <a:gd name="T56" fmla="*/ 346 w 361"/>
                <a:gd name="T57" fmla="*/ 111 h 361"/>
                <a:gd name="T58" fmla="*/ 319 w 361"/>
                <a:gd name="T59" fmla="*/ 67 h 361"/>
                <a:gd name="T60" fmla="*/ 281 w 361"/>
                <a:gd name="T61" fmla="*/ 31 h 361"/>
                <a:gd name="T62" fmla="*/ 234 w 361"/>
                <a:gd name="T63" fmla="*/ 9 h 361"/>
                <a:gd name="T64" fmla="*/ 180 w 361"/>
                <a:gd name="T65" fmla="*/ 0 h 361"/>
                <a:gd name="T66" fmla="*/ 126 w 361"/>
                <a:gd name="T67" fmla="*/ 9 h 361"/>
                <a:gd name="T68" fmla="*/ 79 w 361"/>
                <a:gd name="T69" fmla="*/ 31 h 361"/>
                <a:gd name="T70" fmla="*/ 41 w 361"/>
                <a:gd name="T71" fmla="*/ 67 h 361"/>
                <a:gd name="T72" fmla="*/ 14 w 361"/>
                <a:gd name="T73" fmla="*/ 111 h 361"/>
                <a:gd name="T74" fmla="*/ 1 w 361"/>
                <a:gd name="T75" fmla="*/ 163 h 361"/>
                <a:gd name="T76" fmla="*/ 3 w 361"/>
                <a:gd name="T77" fmla="*/ 218 h 361"/>
                <a:gd name="T78" fmla="*/ 21 w 361"/>
                <a:gd name="T79" fmla="*/ 267 h 361"/>
                <a:gd name="T80" fmla="*/ 53 w 361"/>
                <a:gd name="T81" fmla="*/ 309 h 361"/>
                <a:gd name="T82" fmla="*/ 94 w 361"/>
                <a:gd name="T83" fmla="*/ 340 h 361"/>
                <a:gd name="T84" fmla="*/ 144 w 361"/>
                <a:gd name="T85" fmla="*/ 358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1" h="361">
                  <a:moveTo>
                    <a:pt x="180" y="30"/>
                  </a:moveTo>
                  <a:lnTo>
                    <a:pt x="196" y="31"/>
                  </a:lnTo>
                  <a:lnTo>
                    <a:pt x="211" y="34"/>
                  </a:lnTo>
                  <a:lnTo>
                    <a:pt x="225" y="38"/>
                  </a:lnTo>
                  <a:lnTo>
                    <a:pt x="239" y="42"/>
                  </a:lnTo>
                  <a:lnTo>
                    <a:pt x="252" y="49"/>
                  </a:lnTo>
                  <a:lnTo>
                    <a:pt x="265" y="56"/>
                  </a:lnTo>
                  <a:lnTo>
                    <a:pt x="276" y="65"/>
                  </a:lnTo>
                  <a:lnTo>
                    <a:pt x="286" y="75"/>
                  </a:lnTo>
                  <a:lnTo>
                    <a:pt x="297" y="85"/>
                  </a:lnTo>
                  <a:lnTo>
                    <a:pt x="305" y="97"/>
                  </a:lnTo>
                  <a:lnTo>
                    <a:pt x="313" y="110"/>
                  </a:lnTo>
                  <a:lnTo>
                    <a:pt x="319" y="122"/>
                  </a:lnTo>
                  <a:lnTo>
                    <a:pt x="324" y="136"/>
                  </a:lnTo>
                  <a:lnTo>
                    <a:pt x="328" y="151"/>
                  </a:lnTo>
                  <a:lnTo>
                    <a:pt x="330" y="165"/>
                  </a:lnTo>
                  <a:lnTo>
                    <a:pt x="331" y="181"/>
                  </a:lnTo>
                  <a:lnTo>
                    <a:pt x="330" y="196"/>
                  </a:lnTo>
                  <a:lnTo>
                    <a:pt x="328" y="211"/>
                  </a:lnTo>
                  <a:lnTo>
                    <a:pt x="324" y="225"/>
                  </a:lnTo>
                  <a:lnTo>
                    <a:pt x="319" y="239"/>
                  </a:lnTo>
                  <a:lnTo>
                    <a:pt x="313" y="253"/>
                  </a:lnTo>
                  <a:lnTo>
                    <a:pt x="305" y="265"/>
                  </a:lnTo>
                  <a:lnTo>
                    <a:pt x="297" y="277"/>
                  </a:lnTo>
                  <a:lnTo>
                    <a:pt x="286" y="287"/>
                  </a:lnTo>
                  <a:lnTo>
                    <a:pt x="276" y="297"/>
                  </a:lnTo>
                  <a:lnTo>
                    <a:pt x="265" y="306"/>
                  </a:lnTo>
                  <a:lnTo>
                    <a:pt x="252" y="313"/>
                  </a:lnTo>
                  <a:lnTo>
                    <a:pt x="239" y="320"/>
                  </a:lnTo>
                  <a:lnTo>
                    <a:pt x="225" y="325"/>
                  </a:lnTo>
                  <a:lnTo>
                    <a:pt x="211" y="328"/>
                  </a:lnTo>
                  <a:lnTo>
                    <a:pt x="196" y="330"/>
                  </a:lnTo>
                  <a:lnTo>
                    <a:pt x="180" y="331"/>
                  </a:lnTo>
                  <a:lnTo>
                    <a:pt x="165" y="330"/>
                  </a:lnTo>
                  <a:lnTo>
                    <a:pt x="150" y="328"/>
                  </a:lnTo>
                  <a:lnTo>
                    <a:pt x="136" y="325"/>
                  </a:lnTo>
                  <a:lnTo>
                    <a:pt x="122" y="320"/>
                  </a:lnTo>
                  <a:lnTo>
                    <a:pt x="108" y="313"/>
                  </a:lnTo>
                  <a:lnTo>
                    <a:pt x="96" y="306"/>
                  </a:lnTo>
                  <a:lnTo>
                    <a:pt x="85" y="297"/>
                  </a:lnTo>
                  <a:lnTo>
                    <a:pt x="74" y="287"/>
                  </a:lnTo>
                  <a:lnTo>
                    <a:pt x="64" y="277"/>
                  </a:lnTo>
                  <a:lnTo>
                    <a:pt x="56" y="265"/>
                  </a:lnTo>
                  <a:lnTo>
                    <a:pt x="48" y="253"/>
                  </a:lnTo>
                  <a:lnTo>
                    <a:pt x="42" y="239"/>
                  </a:lnTo>
                  <a:lnTo>
                    <a:pt x="36" y="225"/>
                  </a:lnTo>
                  <a:lnTo>
                    <a:pt x="33" y="211"/>
                  </a:lnTo>
                  <a:lnTo>
                    <a:pt x="31" y="196"/>
                  </a:lnTo>
                  <a:lnTo>
                    <a:pt x="30" y="181"/>
                  </a:lnTo>
                  <a:lnTo>
                    <a:pt x="31" y="165"/>
                  </a:lnTo>
                  <a:lnTo>
                    <a:pt x="33" y="151"/>
                  </a:lnTo>
                  <a:lnTo>
                    <a:pt x="36" y="136"/>
                  </a:lnTo>
                  <a:lnTo>
                    <a:pt x="42" y="122"/>
                  </a:lnTo>
                  <a:lnTo>
                    <a:pt x="48" y="110"/>
                  </a:lnTo>
                  <a:lnTo>
                    <a:pt x="56" y="97"/>
                  </a:lnTo>
                  <a:lnTo>
                    <a:pt x="64" y="86"/>
                  </a:lnTo>
                  <a:lnTo>
                    <a:pt x="74" y="75"/>
                  </a:lnTo>
                  <a:lnTo>
                    <a:pt x="85" y="65"/>
                  </a:lnTo>
                  <a:lnTo>
                    <a:pt x="96" y="56"/>
                  </a:lnTo>
                  <a:lnTo>
                    <a:pt x="108" y="49"/>
                  </a:lnTo>
                  <a:lnTo>
                    <a:pt x="122" y="42"/>
                  </a:lnTo>
                  <a:lnTo>
                    <a:pt x="136" y="38"/>
                  </a:lnTo>
                  <a:lnTo>
                    <a:pt x="150" y="34"/>
                  </a:lnTo>
                  <a:lnTo>
                    <a:pt x="165" y="31"/>
                  </a:lnTo>
                  <a:lnTo>
                    <a:pt x="180" y="30"/>
                  </a:lnTo>
                  <a:lnTo>
                    <a:pt x="180" y="30"/>
                  </a:lnTo>
                  <a:close/>
                  <a:moveTo>
                    <a:pt x="180" y="361"/>
                  </a:moveTo>
                  <a:lnTo>
                    <a:pt x="199" y="360"/>
                  </a:lnTo>
                  <a:lnTo>
                    <a:pt x="216" y="358"/>
                  </a:lnTo>
                  <a:lnTo>
                    <a:pt x="234" y="354"/>
                  </a:lnTo>
                  <a:lnTo>
                    <a:pt x="251" y="347"/>
                  </a:lnTo>
                  <a:lnTo>
                    <a:pt x="267" y="340"/>
                  </a:lnTo>
                  <a:lnTo>
                    <a:pt x="281" y="330"/>
                  </a:lnTo>
                  <a:lnTo>
                    <a:pt x="295" y="321"/>
                  </a:lnTo>
                  <a:lnTo>
                    <a:pt x="307" y="309"/>
                  </a:lnTo>
                  <a:lnTo>
                    <a:pt x="319" y="296"/>
                  </a:lnTo>
                  <a:lnTo>
                    <a:pt x="330" y="282"/>
                  </a:lnTo>
                  <a:lnTo>
                    <a:pt x="339" y="267"/>
                  </a:lnTo>
                  <a:lnTo>
                    <a:pt x="346" y="251"/>
                  </a:lnTo>
                  <a:lnTo>
                    <a:pt x="352" y="235"/>
                  </a:lnTo>
                  <a:lnTo>
                    <a:pt x="357" y="218"/>
                  </a:lnTo>
                  <a:lnTo>
                    <a:pt x="360" y="200"/>
                  </a:lnTo>
                  <a:lnTo>
                    <a:pt x="361" y="181"/>
                  </a:lnTo>
                  <a:lnTo>
                    <a:pt x="360" y="163"/>
                  </a:lnTo>
                  <a:lnTo>
                    <a:pt x="357" y="145"/>
                  </a:lnTo>
                  <a:lnTo>
                    <a:pt x="352" y="128"/>
                  </a:lnTo>
                  <a:lnTo>
                    <a:pt x="346" y="111"/>
                  </a:lnTo>
                  <a:lnTo>
                    <a:pt x="339" y="96"/>
                  </a:lnTo>
                  <a:lnTo>
                    <a:pt x="330" y="81"/>
                  </a:lnTo>
                  <a:lnTo>
                    <a:pt x="319" y="67"/>
                  </a:lnTo>
                  <a:lnTo>
                    <a:pt x="307" y="54"/>
                  </a:lnTo>
                  <a:lnTo>
                    <a:pt x="295" y="42"/>
                  </a:lnTo>
                  <a:lnTo>
                    <a:pt x="281" y="31"/>
                  </a:lnTo>
                  <a:lnTo>
                    <a:pt x="267" y="23"/>
                  </a:lnTo>
                  <a:lnTo>
                    <a:pt x="251" y="15"/>
                  </a:lnTo>
                  <a:lnTo>
                    <a:pt x="234" y="9"/>
                  </a:lnTo>
                  <a:lnTo>
                    <a:pt x="216" y="5"/>
                  </a:lnTo>
                  <a:lnTo>
                    <a:pt x="199" y="1"/>
                  </a:lnTo>
                  <a:lnTo>
                    <a:pt x="180" y="0"/>
                  </a:lnTo>
                  <a:lnTo>
                    <a:pt x="162" y="1"/>
                  </a:lnTo>
                  <a:lnTo>
                    <a:pt x="144" y="5"/>
                  </a:lnTo>
                  <a:lnTo>
                    <a:pt x="126" y="9"/>
                  </a:lnTo>
                  <a:lnTo>
                    <a:pt x="110" y="15"/>
                  </a:lnTo>
                  <a:lnTo>
                    <a:pt x="94" y="23"/>
                  </a:lnTo>
                  <a:lnTo>
                    <a:pt x="79" y="31"/>
                  </a:lnTo>
                  <a:lnTo>
                    <a:pt x="65" y="42"/>
                  </a:lnTo>
                  <a:lnTo>
                    <a:pt x="53" y="54"/>
                  </a:lnTo>
                  <a:lnTo>
                    <a:pt x="41" y="67"/>
                  </a:lnTo>
                  <a:lnTo>
                    <a:pt x="31" y="81"/>
                  </a:lnTo>
                  <a:lnTo>
                    <a:pt x="21" y="96"/>
                  </a:lnTo>
                  <a:lnTo>
                    <a:pt x="14" y="111"/>
                  </a:lnTo>
                  <a:lnTo>
                    <a:pt x="8" y="128"/>
                  </a:lnTo>
                  <a:lnTo>
                    <a:pt x="3" y="145"/>
                  </a:lnTo>
                  <a:lnTo>
                    <a:pt x="1" y="163"/>
                  </a:lnTo>
                  <a:lnTo>
                    <a:pt x="0" y="181"/>
                  </a:lnTo>
                  <a:lnTo>
                    <a:pt x="1" y="200"/>
                  </a:lnTo>
                  <a:lnTo>
                    <a:pt x="3" y="218"/>
                  </a:lnTo>
                  <a:lnTo>
                    <a:pt x="8" y="235"/>
                  </a:lnTo>
                  <a:lnTo>
                    <a:pt x="14" y="251"/>
                  </a:lnTo>
                  <a:lnTo>
                    <a:pt x="21" y="267"/>
                  </a:lnTo>
                  <a:lnTo>
                    <a:pt x="31" y="282"/>
                  </a:lnTo>
                  <a:lnTo>
                    <a:pt x="41" y="296"/>
                  </a:lnTo>
                  <a:lnTo>
                    <a:pt x="53" y="309"/>
                  </a:lnTo>
                  <a:lnTo>
                    <a:pt x="65" y="321"/>
                  </a:lnTo>
                  <a:lnTo>
                    <a:pt x="79" y="330"/>
                  </a:lnTo>
                  <a:lnTo>
                    <a:pt x="94" y="340"/>
                  </a:lnTo>
                  <a:lnTo>
                    <a:pt x="110" y="347"/>
                  </a:lnTo>
                  <a:lnTo>
                    <a:pt x="126" y="354"/>
                  </a:lnTo>
                  <a:lnTo>
                    <a:pt x="144" y="358"/>
                  </a:lnTo>
                  <a:lnTo>
                    <a:pt x="162" y="360"/>
                  </a:lnTo>
                  <a:lnTo>
                    <a:pt x="180" y="361"/>
                  </a:lnTo>
                  <a:close/>
                </a:path>
              </a:pathLst>
            </a:custGeom>
            <a:solidFill>
              <a:srgbClr val="24222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="" xmlns:a16="http://schemas.microsoft.com/office/drawing/2014/main" id="{64E4FB2E-60A9-4584-840D-DEBA2DBBAAE4}"/>
              </a:ext>
            </a:extLst>
          </p:cNvPr>
          <p:cNvGrpSpPr/>
          <p:nvPr/>
        </p:nvGrpSpPr>
        <p:grpSpPr>
          <a:xfrm>
            <a:off x="6700951" y="2392416"/>
            <a:ext cx="710444" cy="548624"/>
            <a:chOff x="7018338" y="2565400"/>
            <a:chExt cx="285750" cy="220663"/>
          </a:xfrm>
        </p:grpSpPr>
        <p:sp>
          <p:nvSpPr>
            <p:cNvPr id="154" name="Freeform 225">
              <a:extLst>
                <a:ext uri="{FF2B5EF4-FFF2-40B4-BE49-F238E27FC236}">
                  <a16:creationId xmlns="" xmlns:a16="http://schemas.microsoft.com/office/drawing/2014/main" id="{CE00E1CE-8778-46F8-9D7B-4B2393B257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18338" y="2565400"/>
              <a:ext cx="85725" cy="220663"/>
            </a:xfrm>
            <a:custGeom>
              <a:avLst/>
              <a:gdLst>
                <a:gd name="T0" fmla="*/ 181 w 271"/>
                <a:gd name="T1" fmla="*/ 60 h 691"/>
                <a:gd name="T2" fmla="*/ 182 w 271"/>
                <a:gd name="T3" fmla="*/ 46 h 691"/>
                <a:gd name="T4" fmla="*/ 187 w 271"/>
                <a:gd name="T5" fmla="*/ 37 h 691"/>
                <a:gd name="T6" fmla="*/ 197 w 271"/>
                <a:gd name="T7" fmla="*/ 31 h 691"/>
                <a:gd name="T8" fmla="*/ 211 w 271"/>
                <a:gd name="T9" fmla="*/ 30 h 691"/>
                <a:gd name="T10" fmla="*/ 225 w 271"/>
                <a:gd name="T11" fmla="*/ 31 h 691"/>
                <a:gd name="T12" fmla="*/ 234 w 271"/>
                <a:gd name="T13" fmla="*/ 37 h 691"/>
                <a:gd name="T14" fmla="*/ 239 w 271"/>
                <a:gd name="T15" fmla="*/ 46 h 691"/>
                <a:gd name="T16" fmla="*/ 241 w 271"/>
                <a:gd name="T17" fmla="*/ 60 h 691"/>
                <a:gd name="T18" fmla="*/ 181 w 271"/>
                <a:gd name="T19" fmla="*/ 661 h 691"/>
                <a:gd name="T20" fmla="*/ 204 w 271"/>
                <a:gd name="T21" fmla="*/ 0 h 691"/>
                <a:gd name="T22" fmla="*/ 191 w 271"/>
                <a:gd name="T23" fmla="*/ 3 h 691"/>
                <a:gd name="T24" fmla="*/ 180 w 271"/>
                <a:gd name="T25" fmla="*/ 6 h 691"/>
                <a:gd name="T26" fmla="*/ 170 w 271"/>
                <a:gd name="T27" fmla="*/ 12 h 691"/>
                <a:gd name="T28" fmla="*/ 163 w 271"/>
                <a:gd name="T29" fmla="*/ 20 h 691"/>
                <a:gd name="T30" fmla="*/ 156 w 271"/>
                <a:gd name="T31" fmla="*/ 29 h 691"/>
                <a:gd name="T32" fmla="*/ 153 w 271"/>
                <a:gd name="T33" fmla="*/ 40 h 691"/>
                <a:gd name="T34" fmla="*/ 151 w 271"/>
                <a:gd name="T35" fmla="*/ 53 h 691"/>
                <a:gd name="T36" fmla="*/ 151 w 271"/>
                <a:gd name="T37" fmla="*/ 481 h 691"/>
                <a:gd name="T38" fmla="*/ 73 w 271"/>
                <a:gd name="T39" fmla="*/ 481 h 691"/>
                <a:gd name="T40" fmla="*/ 67 w 271"/>
                <a:gd name="T41" fmla="*/ 484 h 691"/>
                <a:gd name="T42" fmla="*/ 63 w 271"/>
                <a:gd name="T43" fmla="*/ 488 h 691"/>
                <a:gd name="T44" fmla="*/ 61 w 271"/>
                <a:gd name="T45" fmla="*/ 493 h 691"/>
                <a:gd name="T46" fmla="*/ 61 w 271"/>
                <a:gd name="T47" fmla="*/ 500 h 691"/>
                <a:gd name="T48" fmla="*/ 63 w 271"/>
                <a:gd name="T49" fmla="*/ 505 h 691"/>
                <a:gd name="T50" fmla="*/ 67 w 271"/>
                <a:gd name="T51" fmla="*/ 508 h 691"/>
                <a:gd name="T52" fmla="*/ 73 w 271"/>
                <a:gd name="T53" fmla="*/ 510 h 691"/>
                <a:gd name="T54" fmla="*/ 151 w 271"/>
                <a:gd name="T55" fmla="*/ 511 h 691"/>
                <a:gd name="T56" fmla="*/ 15 w 271"/>
                <a:gd name="T57" fmla="*/ 661 h 691"/>
                <a:gd name="T58" fmla="*/ 10 w 271"/>
                <a:gd name="T59" fmla="*/ 662 h 691"/>
                <a:gd name="T60" fmla="*/ 4 w 271"/>
                <a:gd name="T61" fmla="*/ 666 h 691"/>
                <a:gd name="T62" fmla="*/ 1 w 271"/>
                <a:gd name="T63" fmla="*/ 671 h 691"/>
                <a:gd name="T64" fmla="*/ 0 w 271"/>
                <a:gd name="T65" fmla="*/ 676 h 691"/>
                <a:gd name="T66" fmla="*/ 1 w 271"/>
                <a:gd name="T67" fmla="*/ 683 h 691"/>
                <a:gd name="T68" fmla="*/ 4 w 271"/>
                <a:gd name="T69" fmla="*/ 687 h 691"/>
                <a:gd name="T70" fmla="*/ 10 w 271"/>
                <a:gd name="T71" fmla="*/ 690 h 691"/>
                <a:gd name="T72" fmla="*/ 15 w 271"/>
                <a:gd name="T73" fmla="*/ 691 h 691"/>
                <a:gd name="T74" fmla="*/ 256 w 271"/>
                <a:gd name="T75" fmla="*/ 691 h 691"/>
                <a:gd name="T76" fmla="*/ 261 w 271"/>
                <a:gd name="T77" fmla="*/ 690 h 691"/>
                <a:gd name="T78" fmla="*/ 267 w 271"/>
                <a:gd name="T79" fmla="*/ 687 h 691"/>
                <a:gd name="T80" fmla="*/ 270 w 271"/>
                <a:gd name="T81" fmla="*/ 683 h 691"/>
                <a:gd name="T82" fmla="*/ 271 w 271"/>
                <a:gd name="T83" fmla="*/ 676 h 691"/>
                <a:gd name="T84" fmla="*/ 271 w 271"/>
                <a:gd name="T85" fmla="*/ 53 h 691"/>
                <a:gd name="T86" fmla="*/ 269 w 271"/>
                <a:gd name="T87" fmla="*/ 40 h 691"/>
                <a:gd name="T88" fmla="*/ 265 w 271"/>
                <a:gd name="T89" fmla="*/ 29 h 691"/>
                <a:gd name="T90" fmla="*/ 259 w 271"/>
                <a:gd name="T91" fmla="*/ 20 h 691"/>
                <a:gd name="T92" fmla="*/ 251 w 271"/>
                <a:gd name="T93" fmla="*/ 12 h 691"/>
                <a:gd name="T94" fmla="*/ 242 w 271"/>
                <a:gd name="T95" fmla="*/ 6 h 691"/>
                <a:gd name="T96" fmla="*/ 230 w 271"/>
                <a:gd name="T97" fmla="*/ 3 h 691"/>
                <a:gd name="T98" fmla="*/ 217 w 271"/>
                <a:gd name="T99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1" h="691">
                  <a:moveTo>
                    <a:pt x="181" y="661"/>
                  </a:moveTo>
                  <a:lnTo>
                    <a:pt x="181" y="60"/>
                  </a:lnTo>
                  <a:lnTo>
                    <a:pt x="181" y="53"/>
                  </a:lnTo>
                  <a:lnTo>
                    <a:pt x="182" y="46"/>
                  </a:lnTo>
                  <a:lnTo>
                    <a:pt x="184" y="41"/>
                  </a:lnTo>
                  <a:lnTo>
                    <a:pt x="187" y="37"/>
                  </a:lnTo>
                  <a:lnTo>
                    <a:pt x="192" y="34"/>
                  </a:lnTo>
                  <a:lnTo>
                    <a:pt x="197" y="31"/>
                  </a:lnTo>
                  <a:lnTo>
                    <a:pt x="204" y="30"/>
                  </a:lnTo>
                  <a:lnTo>
                    <a:pt x="211" y="30"/>
                  </a:lnTo>
                  <a:lnTo>
                    <a:pt x="219" y="30"/>
                  </a:lnTo>
                  <a:lnTo>
                    <a:pt x="225" y="31"/>
                  </a:lnTo>
                  <a:lnTo>
                    <a:pt x="229" y="34"/>
                  </a:lnTo>
                  <a:lnTo>
                    <a:pt x="234" y="37"/>
                  </a:lnTo>
                  <a:lnTo>
                    <a:pt x="237" y="41"/>
                  </a:lnTo>
                  <a:lnTo>
                    <a:pt x="239" y="46"/>
                  </a:lnTo>
                  <a:lnTo>
                    <a:pt x="240" y="53"/>
                  </a:lnTo>
                  <a:lnTo>
                    <a:pt x="241" y="60"/>
                  </a:lnTo>
                  <a:lnTo>
                    <a:pt x="241" y="661"/>
                  </a:lnTo>
                  <a:lnTo>
                    <a:pt x="181" y="661"/>
                  </a:lnTo>
                  <a:close/>
                  <a:moveTo>
                    <a:pt x="211" y="0"/>
                  </a:moveTo>
                  <a:lnTo>
                    <a:pt x="204" y="0"/>
                  </a:lnTo>
                  <a:lnTo>
                    <a:pt x="197" y="0"/>
                  </a:lnTo>
                  <a:lnTo>
                    <a:pt x="191" y="3"/>
                  </a:lnTo>
                  <a:lnTo>
                    <a:pt x="185" y="4"/>
                  </a:lnTo>
                  <a:lnTo>
                    <a:pt x="180" y="6"/>
                  </a:lnTo>
                  <a:lnTo>
                    <a:pt x="175" y="9"/>
                  </a:lnTo>
                  <a:lnTo>
                    <a:pt x="170" y="12"/>
                  </a:lnTo>
                  <a:lnTo>
                    <a:pt x="166" y="15"/>
                  </a:lnTo>
                  <a:lnTo>
                    <a:pt x="163" y="20"/>
                  </a:lnTo>
                  <a:lnTo>
                    <a:pt x="160" y="24"/>
                  </a:lnTo>
                  <a:lnTo>
                    <a:pt x="156" y="29"/>
                  </a:lnTo>
                  <a:lnTo>
                    <a:pt x="154" y="35"/>
                  </a:lnTo>
                  <a:lnTo>
                    <a:pt x="153" y="40"/>
                  </a:lnTo>
                  <a:lnTo>
                    <a:pt x="152" y="46"/>
                  </a:lnTo>
                  <a:lnTo>
                    <a:pt x="151" y="53"/>
                  </a:lnTo>
                  <a:lnTo>
                    <a:pt x="151" y="60"/>
                  </a:lnTo>
                  <a:lnTo>
                    <a:pt x="151" y="481"/>
                  </a:lnTo>
                  <a:lnTo>
                    <a:pt x="75" y="481"/>
                  </a:lnTo>
                  <a:lnTo>
                    <a:pt x="73" y="481"/>
                  </a:lnTo>
                  <a:lnTo>
                    <a:pt x="70" y="482"/>
                  </a:lnTo>
                  <a:lnTo>
                    <a:pt x="67" y="484"/>
                  </a:lnTo>
                  <a:lnTo>
                    <a:pt x="65" y="486"/>
                  </a:lnTo>
                  <a:lnTo>
                    <a:pt x="63" y="488"/>
                  </a:lnTo>
                  <a:lnTo>
                    <a:pt x="61" y="490"/>
                  </a:lnTo>
                  <a:lnTo>
                    <a:pt x="61" y="493"/>
                  </a:lnTo>
                  <a:lnTo>
                    <a:pt x="60" y="496"/>
                  </a:lnTo>
                  <a:lnTo>
                    <a:pt x="61" y="500"/>
                  </a:lnTo>
                  <a:lnTo>
                    <a:pt x="61" y="502"/>
                  </a:lnTo>
                  <a:lnTo>
                    <a:pt x="63" y="505"/>
                  </a:lnTo>
                  <a:lnTo>
                    <a:pt x="65" y="507"/>
                  </a:lnTo>
                  <a:lnTo>
                    <a:pt x="67" y="508"/>
                  </a:lnTo>
                  <a:lnTo>
                    <a:pt x="70" y="510"/>
                  </a:lnTo>
                  <a:lnTo>
                    <a:pt x="73" y="510"/>
                  </a:lnTo>
                  <a:lnTo>
                    <a:pt x="75" y="511"/>
                  </a:lnTo>
                  <a:lnTo>
                    <a:pt x="151" y="511"/>
                  </a:lnTo>
                  <a:lnTo>
                    <a:pt x="151" y="661"/>
                  </a:lnTo>
                  <a:lnTo>
                    <a:pt x="15" y="661"/>
                  </a:lnTo>
                  <a:lnTo>
                    <a:pt x="12" y="661"/>
                  </a:lnTo>
                  <a:lnTo>
                    <a:pt x="10" y="662"/>
                  </a:lnTo>
                  <a:lnTo>
                    <a:pt x="6" y="663"/>
                  </a:lnTo>
                  <a:lnTo>
                    <a:pt x="4" y="666"/>
                  </a:lnTo>
                  <a:lnTo>
                    <a:pt x="3" y="668"/>
                  </a:lnTo>
                  <a:lnTo>
                    <a:pt x="1" y="671"/>
                  </a:lnTo>
                  <a:lnTo>
                    <a:pt x="1" y="673"/>
                  </a:lnTo>
                  <a:lnTo>
                    <a:pt x="0" y="676"/>
                  </a:lnTo>
                  <a:lnTo>
                    <a:pt x="1" y="680"/>
                  </a:lnTo>
                  <a:lnTo>
                    <a:pt x="1" y="683"/>
                  </a:lnTo>
                  <a:lnTo>
                    <a:pt x="3" y="685"/>
                  </a:lnTo>
                  <a:lnTo>
                    <a:pt x="4" y="687"/>
                  </a:lnTo>
                  <a:lnTo>
                    <a:pt x="6" y="689"/>
                  </a:lnTo>
                  <a:lnTo>
                    <a:pt x="10" y="690"/>
                  </a:lnTo>
                  <a:lnTo>
                    <a:pt x="12" y="691"/>
                  </a:lnTo>
                  <a:lnTo>
                    <a:pt x="15" y="691"/>
                  </a:lnTo>
                  <a:lnTo>
                    <a:pt x="166" y="691"/>
                  </a:lnTo>
                  <a:lnTo>
                    <a:pt x="256" y="691"/>
                  </a:lnTo>
                  <a:lnTo>
                    <a:pt x="259" y="691"/>
                  </a:lnTo>
                  <a:lnTo>
                    <a:pt x="261" y="690"/>
                  </a:lnTo>
                  <a:lnTo>
                    <a:pt x="265" y="689"/>
                  </a:lnTo>
                  <a:lnTo>
                    <a:pt x="267" y="687"/>
                  </a:lnTo>
                  <a:lnTo>
                    <a:pt x="268" y="685"/>
                  </a:lnTo>
                  <a:lnTo>
                    <a:pt x="270" y="683"/>
                  </a:lnTo>
                  <a:lnTo>
                    <a:pt x="271" y="680"/>
                  </a:lnTo>
                  <a:lnTo>
                    <a:pt x="271" y="676"/>
                  </a:lnTo>
                  <a:lnTo>
                    <a:pt x="271" y="60"/>
                  </a:lnTo>
                  <a:lnTo>
                    <a:pt x="271" y="53"/>
                  </a:lnTo>
                  <a:lnTo>
                    <a:pt x="270" y="46"/>
                  </a:lnTo>
                  <a:lnTo>
                    <a:pt x="269" y="40"/>
                  </a:lnTo>
                  <a:lnTo>
                    <a:pt x="267" y="35"/>
                  </a:lnTo>
                  <a:lnTo>
                    <a:pt x="265" y="29"/>
                  </a:lnTo>
                  <a:lnTo>
                    <a:pt x="262" y="24"/>
                  </a:lnTo>
                  <a:lnTo>
                    <a:pt x="259" y="20"/>
                  </a:lnTo>
                  <a:lnTo>
                    <a:pt x="255" y="15"/>
                  </a:lnTo>
                  <a:lnTo>
                    <a:pt x="251" y="12"/>
                  </a:lnTo>
                  <a:lnTo>
                    <a:pt x="246" y="9"/>
                  </a:lnTo>
                  <a:lnTo>
                    <a:pt x="242" y="6"/>
                  </a:lnTo>
                  <a:lnTo>
                    <a:pt x="237" y="4"/>
                  </a:lnTo>
                  <a:lnTo>
                    <a:pt x="230" y="3"/>
                  </a:lnTo>
                  <a:lnTo>
                    <a:pt x="224" y="0"/>
                  </a:lnTo>
                  <a:lnTo>
                    <a:pt x="217" y="0"/>
                  </a:lnTo>
                  <a:lnTo>
                    <a:pt x="211" y="0"/>
                  </a:lnTo>
                  <a:close/>
                </a:path>
              </a:pathLst>
            </a:custGeom>
            <a:solidFill>
              <a:srgbClr val="24222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226">
              <a:extLst>
                <a:ext uri="{FF2B5EF4-FFF2-40B4-BE49-F238E27FC236}">
                  <a16:creationId xmlns="" xmlns:a16="http://schemas.microsoft.com/office/drawing/2014/main" id="{349EB72E-AFCD-46C6-A9B8-E109D07071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3588" y="2584450"/>
              <a:ext cx="190500" cy="201613"/>
            </a:xfrm>
            <a:custGeom>
              <a:avLst/>
              <a:gdLst>
                <a:gd name="T0" fmla="*/ 530 w 601"/>
                <a:gd name="T1" fmla="*/ 499 h 631"/>
                <a:gd name="T2" fmla="*/ 486 w 601"/>
                <a:gd name="T3" fmla="*/ 458 h 631"/>
                <a:gd name="T4" fmla="*/ 424 w 601"/>
                <a:gd name="T5" fmla="*/ 456 h 631"/>
                <a:gd name="T6" fmla="*/ 376 w 601"/>
                <a:gd name="T7" fmla="*/ 491 h 631"/>
                <a:gd name="T8" fmla="*/ 327 w 601"/>
                <a:gd name="T9" fmla="*/ 541 h 631"/>
                <a:gd name="T10" fmla="*/ 322 w 601"/>
                <a:gd name="T11" fmla="*/ 466 h 631"/>
                <a:gd name="T12" fmla="*/ 285 w 601"/>
                <a:gd name="T13" fmla="*/ 417 h 631"/>
                <a:gd name="T14" fmla="*/ 520 w 601"/>
                <a:gd name="T15" fmla="*/ 330 h 631"/>
                <a:gd name="T16" fmla="*/ 427 w 601"/>
                <a:gd name="T17" fmla="*/ 597 h 631"/>
                <a:gd name="T18" fmla="*/ 399 w 601"/>
                <a:gd name="T19" fmla="*/ 570 h 631"/>
                <a:gd name="T20" fmla="*/ 392 w 601"/>
                <a:gd name="T21" fmla="*/ 530 h 631"/>
                <a:gd name="T22" fmla="*/ 412 w 601"/>
                <a:gd name="T23" fmla="*/ 495 h 631"/>
                <a:gd name="T24" fmla="*/ 451 w 601"/>
                <a:gd name="T25" fmla="*/ 481 h 631"/>
                <a:gd name="T26" fmla="*/ 490 w 601"/>
                <a:gd name="T27" fmla="*/ 495 h 631"/>
                <a:gd name="T28" fmla="*/ 510 w 601"/>
                <a:gd name="T29" fmla="*/ 530 h 631"/>
                <a:gd name="T30" fmla="*/ 503 w 601"/>
                <a:gd name="T31" fmla="*/ 570 h 631"/>
                <a:gd name="T32" fmla="*/ 475 w 601"/>
                <a:gd name="T33" fmla="*/ 597 h 631"/>
                <a:gd name="T34" fmla="*/ 192 w 601"/>
                <a:gd name="T35" fmla="*/ 599 h 631"/>
                <a:gd name="T36" fmla="*/ 140 w 601"/>
                <a:gd name="T37" fmla="*/ 568 h 631"/>
                <a:gd name="T38" fmla="*/ 120 w 601"/>
                <a:gd name="T39" fmla="*/ 511 h 631"/>
                <a:gd name="T40" fmla="*/ 140 w 601"/>
                <a:gd name="T41" fmla="*/ 454 h 631"/>
                <a:gd name="T42" fmla="*/ 192 w 601"/>
                <a:gd name="T43" fmla="*/ 422 h 631"/>
                <a:gd name="T44" fmla="*/ 254 w 601"/>
                <a:gd name="T45" fmla="*/ 432 h 631"/>
                <a:gd name="T46" fmla="*/ 294 w 601"/>
                <a:gd name="T47" fmla="*/ 476 h 631"/>
                <a:gd name="T48" fmla="*/ 297 w 601"/>
                <a:gd name="T49" fmla="*/ 538 h 631"/>
                <a:gd name="T50" fmla="*/ 260 w 601"/>
                <a:gd name="T51" fmla="*/ 586 h 631"/>
                <a:gd name="T52" fmla="*/ 30 w 601"/>
                <a:gd name="T53" fmla="*/ 541 h 631"/>
                <a:gd name="T54" fmla="*/ 195 w 601"/>
                <a:gd name="T55" fmla="*/ 285 h 631"/>
                <a:gd name="T56" fmla="*/ 210 w 601"/>
                <a:gd name="T57" fmla="*/ 268 h 631"/>
                <a:gd name="T58" fmla="*/ 168 w 601"/>
                <a:gd name="T59" fmla="*/ 223 h 631"/>
                <a:gd name="T60" fmla="*/ 151 w 601"/>
                <a:gd name="T61" fmla="*/ 232 h 631"/>
                <a:gd name="T62" fmla="*/ 160 w 601"/>
                <a:gd name="T63" fmla="*/ 254 h 631"/>
                <a:gd name="T64" fmla="*/ 41 w 601"/>
                <a:gd name="T65" fmla="*/ 279 h 631"/>
                <a:gd name="T66" fmla="*/ 88 w 601"/>
                <a:gd name="T67" fmla="*/ 177 h 631"/>
                <a:gd name="T68" fmla="*/ 164 w 601"/>
                <a:gd name="T69" fmla="*/ 97 h 631"/>
                <a:gd name="T70" fmla="*/ 264 w 601"/>
                <a:gd name="T71" fmla="*/ 45 h 631"/>
                <a:gd name="T72" fmla="*/ 451 w 601"/>
                <a:gd name="T73" fmla="*/ 30 h 631"/>
                <a:gd name="T74" fmla="*/ 490 w 601"/>
                <a:gd name="T75" fmla="*/ 43 h 631"/>
                <a:gd name="T76" fmla="*/ 510 w 601"/>
                <a:gd name="T77" fmla="*/ 78 h 631"/>
                <a:gd name="T78" fmla="*/ 436 w 601"/>
                <a:gd name="T79" fmla="*/ 148 h 631"/>
                <a:gd name="T80" fmla="*/ 422 w 601"/>
                <a:gd name="T81" fmla="*/ 135 h 631"/>
                <a:gd name="T82" fmla="*/ 406 w 601"/>
                <a:gd name="T83" fmla="*/ 146 h 631"/>
                <a:gd name="T84" fmla="*/ 219 w 601"/>
                <a:gd name="T85" fmla="*/ 391 h 631"/>
                <a:gd name="T86" fmla="*/ 153 w 601"/>
                <a:gd name="T87" fmla="*/ 405 h 631"/>
                <a:gd name="T88" fmla="*/ 100 w 601"/>
                <a:gd name="T89" fmla="*/ 464 h 631"/>
                <a:gd name="T90" fmla="*/ 30 w 601"/>
                <a:gd name="T91" fmla="*/ 541 h 631"/>
                <a:gd name="T92" fmla="*/ 535 w 601"/>
                <a:gd name="T93" fmla="*/ 55 h 631"/>
                <a:gd name="T94" fmla="*/ 494 w 601"/>
                <a:gd name="T95" fmla="*/ 11 h 631"/>
                <a:gd name="T96" fmla="*/ 343 w 601"/>
                <a:gd name="T97" fmla="*/ 0 h 631"/>
                <a:gd name="T98" fmla="*/ 222 w 601"/>
                <a:gd name="T99" fmla="*/ 29 h 631"/>
                <a:gd name="T100" fmla="*/ 120 w 601"/>
                <a:gd name="T101" fmla="*/ 95 h 631"/>
                <a:gd name="T102" fmla="*/ 44 w 601"/>
                <a:gd name="T103" fmla="*/ 190 h 631"/>
                <a:gd name="T104" fmla="*/ 4 w 601"/>
                <a:gd name="T105" fmla="*/ 307 h 631"/>
                <a:gd name="T106" fmla="*/ 2 w 601"/>
                <a:gd name="T107" fmla="*/ 565 h 631"/>
                <a:gd name="T108" fmla="*/ 115 w 601"/>
                <a:gd name="T109" fmla="*/ 584 h 631"/>
                <a:gd name="T110" fmla="*/ 194 w 601"/>
                <a:gd name="T111" fmla="*/ 630 h 631"/>
                <a:gd name="T112" fmla="*/ 257 w 601"/>
                <a:gd name="T113" fmla="*/ 622 h 631"/>
                <a:gd name="T114" fmla="*/ 372 w 601"/>
                <a:gd name="T115" fmla="*/ 584 h 631"/>
                <a:gd name="T116" fmla="*/ 437 w 601"/>
                <a:gd name="T117" fmla="*/ 630 h 631"/>
                <a:gd name="T118" fmla="*/ 492 w 601"/>
                <a:gd name="T119" fmla="*/ 622 h 631"/>
                <a:gd name="T120" fmla="*/ 589 w 601"/>
                <a:gd name="T121" fmla="*/ 571 h 631"/>
                <a:gd name="T122" fmla="*/ 601 w 601"/>
                <a:gd name="T123" fmla="*/ 556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1" h="631">
                  <a:moveTo>
                    <a:pt x="571" y="541"/>
                  </a:moveTo>
                  <a:lnTo>
                    <a:pt x="541" y="541"/>
                  </a:lnTo>
                  <a:lnTo>
                    <a:pt x="541" y="532"/>
                  </a:lnTo>
                  <a:lnTo>
                    <a:pt x="539" y="523"/>
                  </a:lnTo>
                  <a:lnTo>
                    <a:pt x="537" y="515"/>
                  </a:lnTo>
                  <a:lnTo>
                    <a:pt x="535" y="506"/>
                  </a:lnTo>
                  <a:lnTo>
                    <a:pt x="530" y="499"/>
                  </a:lnTo>
                  <a:lnTo>
                    <a:pt x="526" y="491"/>
                  </a:lnTo>
                  <a:lnTo>
                    <a:pt x="521" y="484"/>
                  </a:lnTo>
                  <a:lnTo>
                    <a:pt x="515" y="477"/>
                  </a:lnTo>
                  <a:lnTo>
                    <a:pt x="509" y="472"/>
                  </a:lnTo>
                  <a:lnTo>
                    <a:pt x="501" y="466"/>
                  </a:lnTo>
                  <a:lnTo>
                    <a:pt x="494" y="462"/>
                  </a:lnTo>
                  <a:lnTo>
                    <a:pt x="486" y="458"/>
                  </a:lnTo>
                  <a:lnTo>
                    <a:pt x="478" y="456"/>
                  </a:lnTo>
                  <a:lnTo>
                    <a:pt x="469" y="452"/>
                  </a:lnTo>
                  <a:lnTo>
                    <a:pt x="461" y="451"/>
                  </a:lnTo>
                  <a:lnTo>
                    <a:pt x="451" y="451"/>
                  </a:lnTo>
                  <a:lnTo>
                    <a:pt x="441" y="451"/>
                  </a:lnTo>
                  <a:lnTo>
                    <a:pt x="433" y="452"/>
                  </a:lnTo>
                  <a:lnTo>
                    <a:pt x="424" y="456"/>
                  </a:lnTo>
                  <a:lnTo>
                    <a:pt x="416" y="458"/>
                  </a:lnTo>
                  <a:lnTo>
                    <a:pt x="408" y="462"/>
                  </a:lnTo>
                  <a:lnTo>
                    <a:pt x="401" y="466"/>
                  </a:lnTo>
                  <a:lnTo>
                    <a:pt x="393" y="472"/>
                  </a:lnTo>
                  <a:lnTo>
                    <a:pt x="387" y="477"/>
                  </a:lnTo>
                  <a:lnTo>
                    <a:pt x="381" y="484"/>
                  </a:lnTo>
                  <a:lnTo>
                    <a:pt x="376" y="491"/>
                  </a:lnTo>
                  <a:lnTo>
                    <a:pt x="372" y="499"/>
                  </a:lnTo>
                  <a:lnTo>
                    <a:pt x="367" y="506"/>
                  </a:lnTo>
                  <a:lnTo>
                    <a:pt x="365" y="515"/>
                  </a:lnTo>
                  <a:lnTo>
                    <a:pt x="362" y="523"/>
                  </a:lnTo>
                  <a:lnTo>
                    <a:pt x="361" y="532"/>
                  </a:lnTo>
                  <a:lnTo>
                    <a:pt x="361" y="541"/>
                  </a:lnTo>
                  <a:lnTo>
                    <a:pt x="327" y="541"/>
                  </a:lnTo>
                  <a:lnTo>
                    <a:pt x="330" y="526"/>
                  </a:lnTo>
                  <a:lnTo>
                    <a:pt x="331" y="511"/>
                  </a:lnTo>
                  <a:lnTo>
                    <a:pt x="330" y="502"/>
                  </a:lnTo>
                  <a:lnTo>
                    <a:pt x="329" y="492"/>
                  </a:lnTo>
                  <a:lnTo>
                    <a:pt x="328" y="484"/>
                  </a:lnTo>
                  <a:lnTo>
                    <a:pt x="325" y="475"/>
                  </a:lnTo>
                  <a:lnTo>
                    <a:pt x="322" y="466"/>
                  </a:lnTo>
                  <a:lnTo>
                    <a:pt x="318" y="458"/>
                  </a:lnTo>
                  <a:lnTo>
                    <a:pt x="314" y="450"/>
                  </a:lnTo>
                  <a:lnTo>
                    <a:pt x="310" y="443"/>
                  </a:lnTo>
                  <a:lnTo>
                    <a:pt x="303" y="435"/>
                  </a:lnTo>
                  <a:lnTo>
                    <a:pt x="298" y="429"/>
                  </a:lnTo>
                  <a:lnTo>
                    <a:pt x="291" y="422"/>
                  </a:lnTo>
                  <a:lnTo>
                    <a:pt x="285" y="417"/>
                  </a:lnTo>
                  <a:lnTo>
                    <a:pt x="277" y="412"/>
                  </a:lnTo>
                  <a:lnTo>
                    <a:pt x="270" y="406"/>
                  </a:lnTo>
                  <a:lnTo>
                    <a:pt x="261" y="403"/>
                  </a:lnTo>
                  <a:lnTo>
                    <a:pt x="254" y="399"/>
                  </a:lnTo>
                  <a:lnTo>
                    <a:pt x="321" y="330"/>
                  </a:lnTo>
                  <a:lnTo>
                    <a:pt x="376" y="330"/>
                  </a:lnTo>
                  <a:lnTo>
                    <a:pt x="520" y="330"/>
                  </a:lnTo>
                  <a:lnTo>
                    <a:pt x="571" y="382"/>
                  </a:lnTo>
                  <a:lnTo>
                    <a:pt x="571" y="541"/>
                  </a:lnTo>
                  <a:close/>
                  <a:moveTo>
                    <a:pt x="451" y="601"/>
                  </a:moveTo>
                  <a:lnTo>
                    <a:pt x="445" y="601"/>
                  </a:lnTo>
                  <a:lnTo>
                    <a:pt x="439" y="600"/>
                  </a:lnTo>
                  <a:lnTo>
                    <a:pt x="433" y="599"/>
                  </a:lnTo>
                  <a:lnTo>
                    <a:pt x="427" y="597"/>
                  </a:lnTo>
                  <a:lnTo>
                    <a:pt x="422" y="594"/>
                  </a:lnTo>
                  <a:lnTo>
                    <a:pt x="418" y="591"/>
                  </a:lnTo>
                  <a:lnTo>
                    <a:pt x="412" y="587"/>
                  </a:lnTo>
                  <a:lnTo>
                    <a:pt x="408" y="584"/>
                  </a:lnTo>
                  <a:lnTo>
                    <a:pt x="405" y="580"/>
                  </a:lnTo>
                  <a:lnTo>
                    <a:pt x="401" y="575"/>
                  </a:lnTo>
                  <a:lnTo>
                    <a:pt x="399" y="570"/>
                  </a:lnTo>
                  <a:lnTo>
                    <a:pt x="395" y="565"/>
                  </a:lnTo>
                  <a:lnTo>
                    <a:pt x="393" y="560"/>
                  </a:lnTo>
                  <a:lnTo>
                    <a:pt x="392" y="553"/>
                  </a:lnTo>
                  <a:lnTo>
                    <a:pt x="391" y="548"/>
                  </a:lnTo>
                  <a:lnTo>
                    <a:pt x="391" y="541"/>
                  </a:lnTo>
                  <a:lnTo>
                    <a:pt x="391" y="535"/>
                  </a:lnTo>
                  <a:lnTo>
                    <a:pt x="392" y="530"/>
                  </a:lnTo>
                  <a:lnTo>
                    <a:pt x="393" y="523"/>
                  </a:lnTo>
                  <a:lnTo>
                    <a:pt x="395" y="518"/>
                  </a:lnTo>
                  <a:lnTo>
                    <a:pt x="399" y="512"/>
                  </a:lnTo>
                  <a:lnTo>
                    <a:pt x="401" y="508"/>
                  </a:lnTo>
                  <a:lnTo>
                    <a:pt x="405" y="503"/>
                  </a:lnTo>
                  <a:lnTo>
                    <a:pt x="408" y="499"/>
                  </a:lnTo>
                  <a:lnTo>
                    <a:pt x="412" y="495"/>
                  </a:lnTo>
                  <a:lnTo>
                    <a:pt x="418" y="491"/>
                  </a:lnTo>
                  <a:lnTo>
                    <a:pt x="422" y="489"/>
                  </a:lnTo>
                  <a:lnTo>
                    <a:pt x="427" y="486"/>
                  </a:lnTo>
                  <a:lnTo>
                    <a:pt x="433" y="484"/>
                  </a:lnTo>
                  <a:lnTo>
                    <a:pt x="439" y="482"/>
                  </a:lnTo>
                  <a:lnTo>
                    <a:pt x="445" y="481"/>
                  </a:lnTo>
                  <a:lnTo>
                    <a:pt x="451" y="481"/>
                  </a:lnTo>
                  <a:lnTo>
                    <a:pt x="457" y="481"/>
                  </a:lnTo>
                  <a:lnTo>
                    <a:pt x="463" y="482"/>
                  </a:lnTo>
                  <a:lnTo>
                    <a:pt x="469" y="484"/>
                  </a:lnTo>
                  <a:lnTo>
                    <a:pt x="475" y="486"/>
                  </a:lnTo>
                  <a:lnTo>
                    <a:pt x="480" y="489"/>
                  </a:lnTo>
                  <a:lnTo>
                    <a:pt x="484" y="491"/>
                  </a:lnTo>
                  <a:lnTo>
                    <a:pt x="490" y="495"/>
                  </a:lnTo>
                  <a:lnTo>
                    <a:pt x="494" y="499"/>
                  </a:lnTo>
                  <a:lnTo>
                    <a:pt x="497" y="503"/>
                  </a:lnTo>
                  <a:lnTo>
                    <a:pt x="501" y="508"/>
                  </a:lnTo>
                  <a:lnTo>
                    <a:pt x="503" y="512"/>
                  </a:lnTo>
                  <a:lnTo>
                    <a:pt x="507" y="518"/>
                  </a:lnTo>
                  <a:lnTo>
                    <a:pt x="509" y="523"/>
                  </a:lnTo>
                  <a:lnTo>
                    <a:pt x="510" y="530"/>
                  </a:lnTo>
                  <a:lnTo>
                    <a:pt x="511" y="535"/>
                  </a:lnTo>
                  <a:lnTo>
                    <a:pt x="511" y="541"/>
                  </a:lnTo>
                  <a:lnTo>
                    <a:pt x="511" y="548"/>
                  </a:lnTo>
                  <a:lnTo>
                    <a:pt x="510" y="553"/>
                  </a:lnTo>
                  <a:lnTo>
                    <a:pt x="509" y="560"/>
                  </a:lnTo>
                  <a:lnTo>
                    <a:pt x="507" y="565"/>
                  </a:lnTo>
                  <a:lnTo>
                    <a:pt x="503" y="570"/>
                  </a:lnTo>
                  <a:lnTo>
                    <a:pt x="501" y="575"/>
                  </a:lnTo>
                  <a:lnTo>
                    <a:pt x="497" y="580"/>
                  </a:lnTo>
                  <a:lnTo>
                    <a:pt x="494" y="584"/>
                  </a:lnTo>
                  <a:lnTo>
                    <a:pt x="490" y="587"/>
                  </a:lnTo>
                  <a:lnTo>
                    <a:pt x="484" y="591"/>
                  </a:lnTo>
                  <a:lnTo>
                    <a:pt x="480" y="594"/>
                  </a:lnTo>
                  <a:lnTo>
                    <a:pt x="475" y="597"/>
                  </a:lnTo>
                  <a:lnTo>
                    <a:pt x="469" y="599"/>
                  </a:lnTo>
                  <a:lnTo>
                    <a:pt x="463" y="600"/>
                  </a:lnTo>
                  <a:lnTo>
                    <a:pt x="457" y="601"/>
                  </a:lnTo>
                  <a:lnTo>
                    <a:pt x="451" y="601"/>
                  </a:lnTo>
                  <a:close/>
                  <a:moveTo>
                    <a:pt x="210" y="601"/>
                  </a:moveTo>
                  <a:lnTo>
                    <a:pt x="201" y="601"/>
                  </a:lnTo>
                  <a:lnTo>
                    <a:pt x="192" y="599"/>
                  </a:lnTo>
                  <a:lnTo>
                    <a:pt x="183" y="597"/>
                  </a:lnTo>
                  <a:lnTo>
                    <a:pt x="176" y="594"/>
                  </a:lnTo>
                  <a:lnTo>
                    <a:pt x="167" y="591"/>
                  </a:lnTo>
                  <a:lnTo>
                    <a:pt x="160" y="586"/>
                  </a:lnTo>
                  <a:lnTo>
                    <a:pt x="153" y="581"/>
                  </a:lnTo>
                  <a:lnTo>
                    <a:pt x="147" y="575"/>
                  </a:lnTo>
                  <a:lnTo>
                    <a:pt x="140" y="568"/>
                  </a:lnTo>
                  <a:lnTo>
                    <a:pt x="136" y="562"/>
                  </a:lnTo>
                  <a:lnTo>
                    <a:pt x="131" y="554"/>
                  </a:lnTo>
                  <a:lnTo>
                    <a:pt x="127" y="547"/>
                  </a:lnTo>
                  <a:lnTo>
                    <a:pt x="124" y="538"/>
                  </a:lnTo>
                  <a:lnTo>
                    <a:pt x="122" y="530"/>
                  </a:lnTo>
                  <a:lnTo>
                    <a:pt x="121" y="520"/>
                  </a:lnTo>
                  <a:lnTo>
                    <a:pt x="120" y="511"/>
                  </a:lnTo>
                  <a:lnTo>
                    <a:pt x="121" y="502"/>
                  </a:lnTo>
                  <a:lnTo>
                    <a:pt x="122" y="493"/>
                  </a:lnTo>
                  <a:lnTo>
                    <a:pt x="124" y="485"/>
                  </a:lnTo>
                  <a:lnTo>
                    <a:pt x="127" y="476"/>
                  </a:lnTo>
                  <a:lnTo>
                    <a:pt x="131" y="469"/>
                  </a:lnTo>
                  <a:lnTo>
                    <a:pt x="136" y="461"/>
                  </a:lnTo>
                  <a:lnTo>
                    <a:pt x="140" y="454"/>
                  </a:lnTo>
                  <a:lnTo>
                    <a:pt x="147" y="447"/>
                  </a:lnTo>
                  <a:lnTo>
                    <a:pt x="153" y="442"/>
                  </a:lnTo>
                  <a:lnTo>
                    <a:pt x="160" y="436"/>
                  </a:lnTo>
                  <a:lnTo>
                    <a:pt x="167" y="432"/>
                  </a:lnTo>
                  <a:lnTo>
                    <a:pt x="176" y="428"/>
                  </a:lnTo>
                  <a:lnTo>
                    <a:pt x="183" y="425"/>
                  </a:lnTo>
                  <a:lnTo>
                    <a:pt x="192" y="422"/>
                  </a:lnTo>
                  <a:lnTo>
                    <a:pt x="201" y="421"/>
                  </a:lnTo>
                  <a:lnTo>
                    <a:pt x="210" y="421"/>
                  </a:lnTo>
                  <a:lnTo>
                    <a:pt x="220" y="421"/>
                  </a:lnTo>
                  <a:lnTo>
                    <a:pt x="228" y="422"/>
                  </a:lnTo>
                  <a:lnTo>
                    <a:pt x="237" y="425"/>
                  </a:lnTo>
                  <a:lnTo>
                    <a:pt x="245" y="428"/>
                  </a:lnTo>
                  <a:lnTo>
                    <a:pt x="254" y="432"/>
                  </a:lnTo>
                  <a:lnTo>
                    <a:pt x="260" y="436"/>
                  </a:lnTo>
                  <a:lnTo>
                    <a:pt x="268" y="442"/>
                  </a:lnTo>
                  <a:lnTo>
                    <a:pt x="274" y="447"/>
                  </a:lnTo>
                  <a:lnTo>
                    <a:pt x="280" y="454"/>
                  </a:lnTo>
                  <a:lnTo>
                    <a:pt x="285" y="461"/>
                  </a:lnTo>
                  <a:lnTo>
                    <a:pt x="289" y="469"/>
                  </a:lnTo>
                  <a:lnTo>
                    <a:pt x="294" y="476"/>
                  </a:lnTo>
                  <a:lnTo>
                    <a:pt x="297" y="485"/>
                  </a:lnTo>
                  <a:lnTo>
                    <a:pt x="299" y="493"/>
                  </a:lnTo>
                  <a:lnTo>
                    <a:pt x="300" y="502"/>
                  </a:lnTo>
                  <a:lnTo>
                    <a:pt x="301" y="511"/>
                  </a:lnTo>
                  <a:lnTo>
                    <a:pt x="300" y="520"/>
                  </a:lnTo>
                  <a:lnTo>
                    <a:pt x="299" y="530"/>
                  </a:lnTo>
                  <a:lnTo>
                    <a:pt x="297" y="538"/>
                  </a:lnTo>
                  <a:lnTo>
                    <a:pt x="294" y="547"/>
                  </a:lnTo>
                  <a:lnTo>
                    <a:pt x="289" y="554"/>
                  </a:lnTo>
                  <a:lnTo>
                    <a:pt x="285" y="562"/>
                  </a:lnTo>
                  <a:lnTo>
                    <a:pt x="280" y="568"/>
                  </a:lnTo>
                  <a:lnTo>
                    <a:pt x="274" y="575"/>
                  </a:lnTo>
                  <a:lnTo>
                    <a:pt x="268" y="581"/>
                  </a:lnTo>
                  <a:lnTo>
                    <a:pt x="260" y="586"/>
                  </a:lnTo>
                  <a:lnTo>
                    <a:pt x="254" y="591"/>
                  </a:lnTo>
                  <a:lnTo>
                    <a:pt x="245" y="594"/>
                  </a:lnTo>
                  <a:lnTo>
                    <a:pt x="237" y="597"/>
                  </a:lnTo>
                  <a:lnTo>
                    <a:pt x="228" y="599"/>
                  </a:lnTo>
                  <a:lnTo>
                    <a:pt x="220" y="601"/>
                  </a:lnTo>
                  <a:lnTo>
                    <a:pt x="210" y="601"/>
                  </a:lnTo>
                  <a:close/>
                  <a:moveTo>
                    <a:pt x="30" y="541"/>
                  </a:moveTo>
                  <a:lnTo>
                    <a:pt x="30" y="427"/>
                  </a:lnTo>
                  <a:lnTo>
                    <a:pt x="181" y="277"/>
                  </a:lnTo>
                  <a:lnTo>
                    <a:pt x="184" y="281"/>
                  </a:lnTo>
                  <a:lnTo>
                    <a:pt x="186" y="283"/>
                  </a:lnTo>
                  <a:lnTo>
                    <a:pt x="190" y="284"/>
                  </a:lnTo>
                  <a:lnTo>
                    <a:pt x="193" y="285"/>
                  </a:lnTo>
                  <a:lnTo>
                    <a:pt x="195" y="285"/>
                  </a:lnTo>
                  <a:lnTo>
                    <a:pt x="200" y="284"/>
                  </a:lnTo>
                  <a:lnTo>
                    <a:pt x="206" y="282"/>
                  </a:lnTo>
                  <a:lnTo>
                    <a:pt x="208" y="279"/>
                  </a:lnTo>
                  <a:lnTo>
                    <a:pt x="209" y="277"/>
                  </a:lnTo>
                  <a:lnTo>
                    <a:pt x="210" y="274"/>
                  </a:lnTo>
                  <a:lnTo>
                    <a:pt x="210" y="271"/>
                  </a:lnTo>
                  <a:lnTo>
                    <a:pt x="210" y="268"/>
                  </a:lnTo>
                  <a:lnTo>
                    <a:pt x="210" y="265"/>
                  </a:lnTo>
                  <a:lnTo>
                    <a:pt x="208" y="263"/>
                  </a:lnTo>
                  <a:lnTo>
                    <a:pt x="207" y="261"/>
                  </a:lnTo>
                  <a:lnTo>
                    <a:pt x="176" y="227"/>
                  </a:lnTo>
                  <a:lnTo>
                    <a:pt x="174" y="225"/>
                  </a:lnTo>
                  <a:lnTo>
                    <a:pt x="170" y="223"/>
                  </a:lnTo>
                  <a:lnTo>
                    <a:pt x="168" y="223"/>
                  </a:lnTo>
                  <a:lnTo>
                    <a:pt x="165" y="222"/>
                  </a:lnTo>
                  <a:lnTo>
                    <a:pt x="162" y="222"/>
                  </a:lnTo>
                  <a:lnTo>
                    <a:pt x="160" y="223"/>
                  </a:lnTo>
                  <a:lnTo>
                    <a:pt x="156" y="224"/>
                  </a:lnTo>
                  <a:lnTo>
                    <a:pt x="154" y="226"/>
                  </a:lnTo>
                  <a:lnTo>
                    <a:pt x="152" y="229"/>
                  </a:lnTo>
                  <a:lnTo>
                    <a:pt x="151" y="232"/>
                  </a:lnTo>
                  <a:lnTo>
                    <a:pt x="150" y="234"/>
                  </a:lnTo>
                  <a:lnTo>
                    <a:pt x="149" y="237"/>
                  </a:lnTo>
                  <a:lnTo>
                    <a:pt x="150" y="239"/>
                  </a:lnTo>
                  <a:lnTo>
                    <a:pt x="150" y="242"/>
                  </a:lnTo>
                  <a:lnTo>
                    <a:pt x="151" y="246"/>
                  </a:lnTo>
                  <a:lnTo>
                    <a:pt x="153" y="248"/>
                  </a:lnTo>
                  <a:lnTo>
                    <a:pt x="160" y="254"/>
                  </a:lnTo>
                  <a:lnTo>
                    <a:pt x="30" y="385"/>
                  </a:lnTo>
                  <a:lnTo>
                    <a:pt x="30" y="360"/>
                  </a:lnTo>
                  <a:lnTo>
                    <a:pt x="30" y="344"/>
                  </a:lnTo>
                  <a:lnTo>
                    <a:pt x="32" y="327"/>
                  </a:lnTo>
                  <a:lnTo>
                    <a:pt x="34" y="311"/>
                  </a:lnTo>
                  <a:lnTo>
                    <a:pt x="36" y="295"/>
                  </a:lnTo>
                  <a:lnTo>
                    <a:pt x="41" y="279"/>
                  </a:lnTo>
                  <a:lnTo>
                    <a:pt x="45" y="264"/>
                  </a:lnTo>
                  <a:lnTo>
                    <a:pt x="50" y="249"/>
                  </a:lnTo>
                  <a:lnTo>
                    <a:pt x="57" y="234"/>
                  </a:lnTo>
                  <a:lnTo>
                    <a:pt x="63" y="219"/>
                  </a:lnTo>
                  <a:lnTo>
                    <a:pt x="71" y="205"/>
                  </a:lnTo>
                  <a:lnTo>
                    <a:pt x="78" y="191"/>
                  </a:lnTo>
                  <a:lnTo>
                    <a:pt x="88" y="177"/>
                  </a:lnTo>
                  <a:lnTo>
                    <a:pt x="96" y="164"/>
                  </a:lnTo>
                  <a:lnTo>
                    <a:pt x="107" y="151"/>
                  </a:lnTo>
                  <a:lnTo>
                    <a:pt x="117" y="140"/>
                  </a:lnTo>
                  <a:lnTo>
                    <a:pt x="129" y="128"/>
                  </a:lnTo>
                  <a:lnTo>
                    <a:pt x="139" y="117"/>
                  </a:lnTo>
                  <a:lnTo>
                    <a:pt x="152" y="106"/>
                  </a:lnTo>
                  <a:lnTo>
                    <a:pt x="164" y="97"/>
                  </a:lnTo>
                  <a:lnTo>
                    <a:pt x="178" y="87"/>
                  </a:lnTo>
                  <a:lnTo>
                    <a:pt x="191" y="79"/>
                  </a:lnTo>
                  <a:lnTo>
                    <a:pt x="205" y="71"/>
                  </a:lnTo>
                  <a:lnTo>
                    <a:pt x="219" y="64"/>
                  </a:lnTo>
                  <a:lnTo>
                    <a:pt x="234" y="56"/>
                  </a:lnTo>
                  <a:lnTo>
                    <a:pt x="249" y="51"/>
                  </a:lnTo>
                  <a:lnTo>
                    <a:pt x="264" y="45"/>
                  </a:lnTo>
                  <a:lnTo>
                    <a:pt x="280" y="41"/>
                  </a:lnTo>
                  <a:lnTo>
                    <a:pt x="295" y="37"/>
                  </a:lnTo>
                  <a:lnTo>
                    <a:pt x="311" y="34"/>
                  </a:lnTo>
                  <a:lnTo>
                    <a:pt x="328" y="31"/>
                  </a:lnTo>
                  <a:lnTo>
                    <a:pt x="344" y="30"/>
                  </a:lnTo>
                  <a:lnTo>
                    <a:pt x="361" y="30"/>
                  </a:lnTo>
                  <a:lnTo>
                    <a:pt x="451" y="30"/>
                  </a:lnTo>
                  <a:lnTo>
                    <a:pt x="457" y="30"/>
                  </a:lnTo>
                  <a:lnTo>
                    <a:pt x="463" y="31"/>
                  </a:lnTo>
                  <a:lnTo>
                    <a:pt x="469" y="33"/>
                  </a:lnTo>
                  <a:lnTo>
                    <a:pt x="475" y="35"/>
                  </a:lnTo>
                  <a:lnTo>
                    <a:pt x="480" y="37"/>
                  </a:lnTo>
                  <a:lnTo>
                    <a:pt x="485" y="40"/>
                  </a:lnTo>
                  <a:lnTo>
                    <a:pt x="490" y="43"/>
                  </a:lnTo>
                  <a:lnTo>
                    <a:pt x="494" y="48"/>
                  </a:lnTo>
                  <a:lnTo>
                    <a:pt x="497" y="52"/>
                  </a:lnTo>
                  <a:lnTo>
                    <a:pt x="501" y="56"/>
                  </a:lnTo>
                  <a:lnTo>
                    <a:pt x="503" y="61"/>
                  </a:lnTo>
                  <a:lnTo>
                    <a:pt x="507" y="67"/>
                  </a:lnTo>
                  <a:lnTo>
                    <a:pt x="509" y="72"/>
                  </a:lnTo>
                  <a:lnTo>
                    <a:pt x="510" y="78"/>
                  </a:lnTo>
                  <a:lnTo>
                    <a:pt x="511" y="84"/>
                  </a:lnTo>
                  <a:lnTo>
                    <a:pt x="511" y="90"/>
                  </a:lnTo>
                  <a:lnTo>
                    <a:pt x="511" y="300"/>
                  </a:lnTo>
                  <a:lnTo>
                    <a:pt x="395" y="300"/>
                  </a:lnTo>
                  <a:lnTo>
                    <a:pt x="435" y="155"/>
                  </a:lnTo>
                  <a:lnTo>
                    <a:pt x="436" y="151"/>
                  </a:lnTo>
                  <a:lnTo>
                    <a:pt x="436" y="148"/>
                  </a:lnTo>
                  <a:lnTo>
                    <a:pt x="435" y="145"/>
                  </a:lnTo>
                  <a:lnTo>
                    <a:pt x="434" y="143"/>
                  </a:lnTo>
                  <a:lnTo>
                    <a:pt x="433" y="141"/>
                  </a:lnTo>
                  <a:lnTo>
                    <a:pt x="431" y="139"/>
                  </a:lnTo>
                  <a:lnTo>
                    <a:pt x="427" y="138"/>
                  </a:lnTo>
                  <a:lnTo>
                    <a:pt x="425" y="135"/>
                  </a:lnTo>
                  <a:lnTo>
                    <a:pt x="422" y="135"/>
                  </a:lnTo>
                  <a:lnTo>
                    <a:pt x="419" y="135"/>
                  </a:lnTo>
                  <a:lnTo>
                    <a:pt x="416" y="136"/>
                  </a:lnTo>
                  <a:lnTo>
                    <a:pt x="414" y="138"/>
                  </a:lnTo>
                  <a:lnTo>
                    <a:pt x="411" y="139"/>
                  </a:lnTo>
                  <a:lnTo>
                    <a:pt x="409" y="141"/>
                  </a:lnTo>
                  <a:lnTo>
                    <a:pt x="407" y="144"/>
                  </a:lnTo>
                  <a:lnTo>
                    <a:pt x="406" y="146"/>
                  </a:lnTo>
                  <a:lnTo>
                    <a:pt x="364" y="300"/>
                  </a:lnTo>
                  <a:lnTo>
                    <a:pt x="316" y="300"/>
                  </a:lnTo>
                  <a:lnTo>
                    <a:pt x="313" y="301"/>
                  </a:lnTo>
                  <a:lnTo>
                    <a:pt x="310" y="301"/>
                  </a:lnTo>
                  <a:lnTo>
                    <a:pt x="307" y="304"/>
                  </a:lnTo>
                  <a:lnTo>
                    <a:pt x="305" y="306"/>
                  </a:lnTo>
                  <a:lnTo>
                    <a:pt x="219" y="391"/>
                  </a:lnTo>
                  <a:lnTo>
                    <a:pt x="214" y="391"/>
                  </a:lnTo>
                  <a:lnTo>
                    <a:pt x="210" y="391"/>
                  </a:lnTo>
                  <a:lnTo>
                    <a:pt x="198" y="391"/>
                  </a:lnTo>
                  <a:lnTo>
                    <a:pt x="186" y="394"/>
                  </a:lnTo>
                  <a:lnTo>
                    <a:pt x="175" y="397"/>
                  </a:lnTo>
                  <a:lnTo>
                    <a:pt x="164" y="400"/>
                  </a:lnTo>
                  <a:lnTo>
                    <a:pt x="153" y="405"/>
                  </a:lnTo>
                  <a:lnTo>
                    <a:pt x="144" y="412"/>
                  </a:lnTo>
                  <a:lnTo>
                    <a:pt x="134" y="418"/>
                  </a:lnTo>
                  <a:lnTo>
                    <a:pt x="125" y="426"/>
                  </a:lnTo>
                  <a:lnTo>
                    <a:pt x="118" y="434"/>
                  </a:lnTo>
                  <a:lnTo>
                    <a:pt x="110" y="444"/>
                  </a:lnTo>
                  <a:lnTo>
                    <a:pt x="105" y="454"/>
                  </a:lnTo>
                  <a:lnTo>
                    <a:pt x="100" y="464"/>
                  </a:lnTo>
                  <a:lnTo>
                    <a:pt x="95" y="476"/>
                  </a:lnTo>
                  <a:lnTo>
                    <a:pt x="92" y="487"/>
                  </a:lnTo>
                  <a:lnTo>
                    <a:pt x="91" y="499"/>
                  </a:lnTo>
                  <a:lnTo>
                    <a:pt x="90" y="511"/>
                  </a:lnTo>
                  <a:lnTo>
                    <a:pt x="91" y="526"/>
                  </a:lnTo>
                  <a:lnTo>
                    <a:pt x="94" y="541"/>
                  </a:lnTo>
                  <a:lnTo>
                    <a:pt x="30" y="541"/>
                  </a:lnTo>
                  <a:close/>
                  <a:moveTo>
                    <a:pt x="597" y="366"/>
                  </a:moveTo>
                  <a:lnTo>
                    <a:pt x="541" y="310"/>
                  </a:lnTo>
                  <a:lnTo>
                    <a:pt x="541" y="90"/>
                  </a:lnTo>
                  <a:lnTo>
                    <a:pt x="541" y="81"/>
                  </a:lnTo>
                  <a:lnTo>
                    <a:pt x="540" y="72"/>
                  </a:lnTo>
                  <a:lnTo>
                    <a:pt x="537" y="64"/>
                  </a:lnTo>
                  <a:lnTo>
                    <a:pt x="535" y="55"/>
                  </a:lnTo>
                  <a:lnTo>
                    <a:pt x="530" y="46"/>
                  </a:lnTo>
                  <a:lnTo>
                    <a:pt x="526" y="39"/>
                  </a:lnTo>
                  <a:lnTo>
                    <a:pt x="521" y="33"/>
                  </a:lnTo>
                  <a:lnTo>
                    <a:pt x="515" y="26"/>
                  </a:lnTo>
                  <a:lnTo>
                    <a:pt x="509" y="21"/>
                  </a:lnTo>
                  <a:lnTo>
                    <a:pt x="501" y="15"/>
                  </a:lnTo>
                  <a:lnTo>
                    <a:pt x="494" y="11"/>
                  </a:lnTo>
                  <a:lnTo>
                    <a:pt x="486" y="7"/>
                  </a:lnTo>
                  <a:lnTo>
                    <a:pt x="478" y="4"/>
                  </a:lnTo>
                  <a:lnTo>
                    <a:pt x="469" y="1"/>
                  </a:lnTo>
                  <a:lnTo>
                    <a:pt x="461" y="0"/>
                  </a:lnTo>
                  <a:lnTo>
                    <a:pt x="451" y="0"/>
                  </a:lnTo>
                  <a:lnTo>
                    <a:pt x="361" y="0"/>
                  </a:lnTo>
                  <a:lnTo>
                    <a:pt x="343" y="0"/>
                  </a:lnTo>
                  <a:lnTo>
                    <a:pt x="325" y="1"/>
                  </a:lnTo>
                  <a:lnTo>
                    <a:pt x="306" y="5"/>
                  </a:lnTo>
                  <a:lnTo>
                    <a:pt x="289" y="8"/>
                  </a:lnTo>
                  <a:lnTo>
                    <a:pt x="272" y="11"/>
                  </a:lnTo>
                  <a:lnTo>
                    <a:pt x="255" y="16"/>
                  </a:lnTo>
                  <a:lnTo>
                    <a:pt x="238" y="22"/>
                  </a:lnTo>
                  <a:lnTo>
                    <a:pt x="222" y="29"/>
                  </a:lnTo>
                  <a:lnTo>
                    <a:pt x="206" y="36"/>
                  </a:lnTo>
                  <a:lnTo>
                    <a:pt x="191" y="44"/>
                  </a:lnTo>
                  <a:lnTo>
                    <a:pt x="176" y="53"/>
                  </a:lnTo>
                  <a:lnTo>
                    <a:pt x="161" y="63"/>
                  </a:lnTo>
                  <a:lnTo>
                    <a:pt x="147" y="73"/>
                  </a:lnTo>
                  <a:lnTo>
                    <a:pt x="133" y="84"/>
                  </a:lnTo>
                  <a:lnTo>
                    <a:pt x="120" y="95"/>
                  </a:lnTo>
                  <a:lnTo>
                    <a:pt x="107" y="108"/>
                  </a:lnTo>
                  <a:lnTo>
                    <a:pt x="95" y="119"/>
                  </a:lnTo>
                  <a:lnTo>
                    <a:pt x="84" y="133"/>
                  </a:lnTo>
                  <a:lnTo>
                    <a:pt x="73" y="146"/>
                  </a:lnTo>
                  <a:lnTo>
                    <a:pt x="62" y="161"/>
                  </a:lnTo>
                  <a:lnTo>
                    <a:pt x="54" y="175"/>
                  </a:lnTo>
                  <a:lnTo>
                    <a:pt x="44" y="190"/>
                  </a:lnTo>
                  <a:lnTo>
                    <a:pt x="36" y="206"/>
                  </a:lnTo>
                  <a:lnTo>
                    <a:pt x="29" y="222"/>
                  </a:lnTo>
                  <a:lnTo>
                    <a:pt x="23" y="238"/>
                  </a:lnTo>
                  <a:lnTo>
                    <a:pt x="16" y="255"/>
                  </a:lnTo>
                  <a:lnTo>
                    <a:pt x="12" y="272"/>
                  </a:lnTo>
                  <a:lnTo>
                    <a:pt x="8" y="290"/>
                  </a:lnTo>
                  <a:lnTo>
                    <a:pt x="4" y="307"/>
                  </a:lnTo>
                  <a:lnTo>
                    <a:pt x="2" y="325"/>
                  </a:lnTo>
                  <a:lnTo>
                    <a:pt x="0" y="343"/>
                  </a:lnTo>
                  <a:lnTo>
                    <a:pt x="0" y="361"/>
                  </a:lnTo>
                  <a:lnTo>
                    <a:pt x="0" y="556"/>
                  </a:lnTo>
                  <a:lnTo>
                    <a:pt x="0" y="560"/>
                  </a:lnTo>
                  <a:lnTo>
                    <a:pt x="1" y="562"/>
                  </a:lnTo>
                  <a:lnTo>
                    <a:pt x="2" y="565"/>
                  </a:lnTo>
                  <a:lnTo>
                    <a:pt x="4" y="567"/>
                  </a:lnTo>
                  <a:lnTo>
                    <a:pt x="6" y="569"/>
                  </a:lnTo>
                  <a:lnTo>
                    <a:pt x="10" y="570"/>
                  </a:lnTo>
                  <a:lnTo>
                    <a:pt x="12" y="571"/>
                  </a:lnTo>
                  <a:lnTo>
                    <a:pt x="15" y="571"/>
                  </a:lnTo>
                  <a:lnTo>
                    <a:pt x="106" y="571"/>
                  </a:lnTo>
                  <a:lnTo>
                    <a:pt x="115" y="584"/>
                  </a:lnTo>
                  <a:lnTo>
                    <a:pt x="125" y="596"/>
                  </a:lnTo>
                  <a:lnTo>
                    <a:pt x="137" y="606"/>
                  </a:lnTo>
                  <a:lnTo>
                    <a:pt x="150" y="615"/>
                  </a:lnTo>
                  <a:lnTo>
                    <a:pt x="164" y="622"/>
                  </a:lnTo>
                  <a:lnTo>
                    <a:pt x="179" y="627"/>
                  </a:lnTo>
                  <a:lnTo>
                    <a:pt x="186" y="629"/>
                  </a:lnTo>
                  <a:lnTo>
                    <a:pt x="194" y="630"/>
                  </a:lnTo>
                  <a:lnTo>
                    <a:pt x="202" y="631"/>
                  </a:lnTo>
                  <a:lnTo>
                    <a:pt x="210" y="631"/>
                  </a:lnTo>
                  <a:lnTo>
                    <a:pt x="219" y="631"/>
                  </a:lnTo>
                  <a:lnTo>
                    <a:pt x="227" y="630"/>
                  </a:lnTo>
                  <a:lnTo>
                    <a:pt x="235" y="629"/>
                  </a:lnTo>
                  <a:lnTo>
                    <a:pt x="242" y="627"/>
                  </a:lnTo>
                  <a:lnTo>
                    <a:pt x="257" y="622"/>
                  </a:lnTo>
                  <a:lnTo>
                    <a:pt x="271" y="615"/>
                  </a:lnTo>
                  <a:lnTo>
                    <a:pt x="284" y="607"/>
                  </a:lnTo>
                  <a:lnTo>
                    <a:pt x="296" y="596"/>
                  </a:lnTo>
                  <a:lnTo>
                    <a:pt x="305" y="584"/>
                  </a:lnTo>
                  <a:lnTo>
                    <a:pt x="315" y="571"/>
                  </a:lnTo>
                  <a:lnTo>
                    <a:pt x="366" y="571"/>
                  </a:lnTo>
                  <a:lnTo>
                    <a:pt x="372" y="584"/>
                  </a:lnTo>
                  <a:lnTo>
                    <a:pt x="379" y="596"/>
                  </a:lnTo>
                  <a:lnTo>
                    <a:pt x="388" y="606"/>
                  </a:lnTo>
                  <a:lnTo>
                    <a:pt x="399" y="614"/>
                  </a:lnTo>
                  <a:lnTo>
                    <a:pt x="410" y="622"/>
                  </a:lnTo>
                  <a:lnTo>
                    <a:pt x="423" y="627"/>
                  </a:lnTo>
                  <a:lnTo>
                    <a:pt x="430" y="629"/>
                  </a:lnTo>
                  <a:lnTo>
                    <a:pt x="437" y="630"/>
                  </a:lnTo>
                  <a:lnTo>
                    <a:pt x="444" y="631"/>
                  </a:lnTo>
                  <a:lnTo>
                    <a:pt x="451" y="631"/>
                  </a:lnTo>
                  <a:lnTo>
                    <a:pt x="459" y="631"/>
                  </a:lnTo>
                  <a:lnTo>
                    <a:pt x="465" y="630"/>
                  </a:lnTo>
                  <a:lnTo>
                    <a:pt x="472" y="629"/>
                  </a:lnTo>
                  <a:lnTo>
                    <a:pt x="479" y="627"/>
                  </a:lnTo>
                  <a:lnTo>
                    <a:pt x="492" y="622"/>
                  </a:lnTo>
                  <a:lnTo>
                    <a:pt x="503" y="614"/>
                  </a:lnTo>
                  <a:lnTo>
                    <a:pt x="514" y="606"/>
                  </a:lnTo>
                  <a:lnTo>
                    <a:pt x="523" y="596"/>
                  </a:lnTo>
                  <a:lnTo>
                    <a:pt x="530" y="584"/>
                  </a:lnTo>
                  <a:lnTo>
                    <a:pt x="536" y="571"/>
                  </a:lnTo>
                  <a:lnTo>
                    <a:pt x="586" y="571"/>
                  </a:lnTo>
                  <a:lnTo>
                    <a:pt x="589" y="571"/>
                  </a:lnTo>
                  <a:lnTo>
                    <a:pt x="592" y="570"/>
                  </a:lnTo>
                  <a:lnTo>
                    <a:pt x="595" y="569"/>
                  </a:lnTo>
                  <a:lnTo>
                    <a:pt x="597" y="567"/>
                  </a:lnTo>
                  <a:lnTo>
                    <a:pt x="599" y="565"/>
                  </a:lnTo>
                  <a:lnTo>
                    <a:pt x="600" y="562"/>
                  </a:lnTo>
                  <a:lnTo>
                    <a:pt x="601" y="560"/>
                  </a:lnTo>
                  <a:lnTo>
                    <a:pt x="601" y="556"/>
                  </a:lnTo>
                  <a:lnTo>
                    <a:pt x="601" y="376"/>
                  </a:lnTo>
                  <a:lnTo>
                    <a:pt x="601" y="373"/>
                  </a:lnTo>
                  <a:lnTo>
                    <a:pt x="600" y="370"/>
                  </a:lnTo>
                  <a:lnTo>
                    <a:pt x="599" y="368"/>
                  </a:lnTo>
                  <a:lnTo>
                    <a:pt x="597" y="366"/>
                  </a:lnTo>
                  <a:lnTo>
                    <a:pt x="597" y="366"/>
                  </a:lnTo>
                  <a:close/>
                </a:path>
              </a:pathLst>
            </a:custGeom>
            <a:solidFill>
              <a:srgbClr val="24222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="" xmlns:a16="http://schemas.microsoft.com/office/drawing/2014/main" id="{27C7C001-E9B4-4233-9A07-3044CEC3117A}"/>
              </a:ext>
            </a:extLst>
          </p:cNvPr>
          <p:cNvGrpSpPr/>
          <p:nvPr/>
        </p:nvGrpSpPr>
        <p:grpSpPr>
          <a:xfrm>
            <a:off x="2943144" y="2309531"/>
            <a:ext cx="544678" cy="714394"/>
            <a:chOff x="6445250" y="2498725"/>
            <a:chExt cx="219075" cy="287338"/>
          </a:xfrm>
        </p:grpSpPr>
        <p:sp>
          <p:nvSpPr>
            <p:cNvPr id="157" name="Freeform 227">
              <a:extLst>
                <a:ext uri="{FF2B5EF4-FFF2-40B4-BE49-F238E27FC236}">
                  <a16:creationId xmlns="" xmlns:a16="http://schemas.microsoft.com/office/drawing/2014/main" id="{602EE434-F2D3-4A3B-B2D5-CD3EB07509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45250" y="2498725"/>
              <a:ext cx="219075" cy="287338"/>
            </a:xfrm>
            <a:custGeom>
              <a:avLst/>
              <a:gdLst>
                <a:gd name="T0" fmla="*/ 104 w 692"/>
                <a:gd name="T1" fmla="*/ 868 h 902"/>
                <a:gd name="T2" fmla="*/ 69 w 692"/>
                <a:gd name="T3" fmla="*/ 849 h 902"/>
                <a:gd name="T4" fmla="*/ 43 w 692"/>
                <a:gd name="T5" fmla="*/ 818 h 902"/>
                <a:gd name="T6" fmla="*/ 31 w 692"/>
                <a:gd name="T7" fmla="*/ 778 h 902"/>
                <a:gd name="T8" fmla="*/ 35 w 692"/>
                <a:gd name="T9" fmla="*/ 736 h 902"/>
                <a:gd name="T10" fmla="*/ 55 w 692"/>
                <a:gd name="T11" fmla="*/ 700 h 902"/>
                <a:gd name="T12" fmla="*/ 86 w 692"/>
                <a:gd name="T13" fmla="*/ 674 h 902"/>
                <a:gd name="T14" fmla="*/ 124 w 692"/>
                <a:gd name="T15" fmla="*/ 662 h 902"/>
                <a:gd name="T16" fmla="*/ 167 w 692"/>
                <a:gd name="T17" fmla="*/ 667 h 902"/>
                <a:gd name="T18" fmla="*/ 202 w 692"/>
                <a:gd name="T19" fmla="*/ 686 h 902"/>
                <a:gd name="T20" fmla="*/ 228 w 692"/>
                <a:gd name="T21" fmla="*/ 717 h 902"/>
                <a:gd name="T22" fmla="*/ 240 w 692"/>
                <a:gd name="T23" fmla="*/ 757 h 902"/>
                <a:gd name="T24" fmla="*/ 236 w 692"/>
                <a:gd name="T25" fmla="*/ 798 h 902"/>
                <a:gd name="T26" fmla="*/ 216 w 692"/>
                <a:gd name="T27" fmla="*/ 834 h 902"/>
                <a:gd name="T28" fmla="*/ 185 w 692"/>
                <a:gd name="T29" fmla="*/ 859 h 902"/>
                <a:gd name="T30" fmla="*/ 146 w 692"/>
                <a:gd name="T31" fmla="*/ 872 h 902"/>
                <a:gd name="T32" fmla="*/ 511 w 692"/>
                <a:gd name="T33" fmla="*/ 361 h 902"/>
                <a:gd name="T34" fmla="*/ 271 w 692"/>
                <a:gd name="T35" fmla="*/ 722 h 902"/>
                <a:gd name="T36" fmla="*/ 632 w 692"/>
                <a:gd name="T37" fmla="*/ 722 h 902"/>
                <a:gd name="T38" fmla="*/ 622 w 692"/>
                <a:gd name="T39" fmla="*/ 813 h 902"/>
                <a:gd name="T40" fmla="*/ 266 w 692"/>
                <a:gd name="T41" fmla="*/ 802 h 902"/>
                <a:gd name="T42" fmla="*/ 270 w 692"/>
                <a:gd name="T43" fmla="*/ 760 h 902"/>
                <a:gd name="T44" fmla="*/ 652 w 692"/>
                <a:gd name="T45" fmla="*/ 751 h 902"/>
                <a:gd name="T46" fmla="*/ 660 w 692"/>
                <a:gd name="T47" fmla="*/ 743 h 902"/>
                <a:gd name="T48" fmla="*/ 661 w 692"/>
                <a:gd name="T49" fmla="*/ 373 h 902"/>
                <a:gd name="T50" fmla="*/ 655 w 692"/>
                <a:gd name="T51" fmla="*/ 364 h 902"/>
                <a:gd name="T52" fmla="*/ 541 w 692"/>
                <a:gd name="T53" fmla="*/ 361 h 902"/>
                <a:gd name="T54" fmla="*/ 539 w 692"/>
                <a:gd name="T55" fmla="*/ 158 h 902"/>
                <a:gd name="T56" fmla="*/ 529 w 692"/>
                <a:gd name="T57" fmla="*/ 151 h 902"/>
                <a:gd name="T58" fmla="*/ 250 w 692"/>
                <a:gd name="T59" fmla="*/ 151 h 902"/>
                <a:gd name="T60" fmla="*/ 242 w 692"/>
                <a:gd name="T61" fmla="*/ 160 h 902"/>
                <a:gd name="T62" fmla="*/ 241 w 692"/>
                <a:gd name="T63" fmla="*/ 683 h 902"/>
                <a:gd name="T64" fmla="*/ 213 w 692"/>
                <a:gd name="T65" fmla="*/ 657 h 902"/>
                <a:gd name="T66" fmla="*/ 180 w 692"/>
                <a:gd name="T67" fmla="*/ 640 h 902"/>
                <a:gd name="T68" fmla="*/ 178 w 692"/>
                <a:gd name="T69" fmla="*/ 7 h 902"/>
                <a:gd name="T70" fmla="*/ 168 w 692"/>
                <a:gd name="T71" fmla="*/ 0 h 902"/>
                <a:gd name="T72" fmla="*/ 70 w 692"/>
                <a:gd name="T73" fmla="*/ 1 h 902"/>
                <a:gd name="T74" fmla="*/ 61 w 692"/>
                <a:gd name="T75" fmla="*/ 10 h 902"/>
                <a:gd name="T76" fmla="*/ 61 w 692"/>
                <a:gd name="T77" fmla="*/ 22 h 902"/>
                <a:gd name="T78" fmla="*/ 70 w 692"/>
                <a:gd name="T79" fmla="*/ 29 h 902"/>
                <a:gd name="T80" fmla="*/ 150 w 692"/>
                <a:gd name="T81" fmla="*/ 632 h 902"/>
                <a:gd name="T82" fmla="*/ 108 w 692"/>
                <a:gd name="T83" fmla="*/ 635 h 902"/>
                <a:gd name="T84" fmla="*/ 60 w 692"/>
                <a:gd name="T85" fmla="*/ 655 h 902"/>
                <a:gd name="T86" fmla="*/ 24 w 692"/>
                <a:gd name="T87" fmla="*/ 691 h 902"/>
                <a:gd name="T88" fmla="*/ 3 w 692"/>
                <a:gd name="T89" fmla="*/ 740 h 902"/>
                <a:gd name="T90" fmla="*/ 3 w 692"/>
                <a:gd name="T91" fmla="*/ 794 h 902"/>
                <a:gd name="T92" fmla="*/ 24 w 692"/>
                <a:gd name="T93" fmla="*/ 842 h 902"/>
                <a:gd name="T94" fmla="*/ 60 w 692"/>
                <a:gd name="T95" fmla="*/ 880 h 902"/>
                <a:gd name="T96" fmla="*/ 108 w 692"/>
                <a:gd name="T97" fmla="*/ 900 h 902"/>
                <a:gd name="T98" fmla="*/ 152 w 692"/>
                <a:gd name="T99" fmla="*/ 901 h 902"/>
                <a:gd name="T100" fmla="*/ 200 w 692"/>
                <a:gd name="T101" fmla="*/ 886 h 902"/>
                <a:gd name="T102" fmla="*/ 247 w 692"/>
                <a:gd name="T103" fmla="*/ 842 h 902"/>
                <a:gd name="T104" fmla="*/ 671 w 692"/>
                <a:gd name="T105" fmla="*/ 901 h 902"/>
                <a:gd name="T106" fmla="*/ 682 w 692"/>
                <a:gd name="T107" fmla="*/ 901 h 902"/>
                <a:gd name="T108" fmla="*/ 691 w 692"/>
                <a:gd name="T109" fmla="*/ 893 h 902"/>
                <a:gd name="T110" fmla="*/ 691 w 692"/>
                <a:gd name="T111" fmla="*/ 8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2" h="902">
                  <a:moveTo>
                    <a:pt x="135" y="872"/>
                  </a:moveTo>
                  <a:lnTo>
                    <a:pt x="124" y="872"/>
                  </a:lnTo>
                  <a:lnTo>
                    <a:pt x="115" y="870"/>
                  </a:lnTo>
                  <a:lnTo>
                    <a:pt x="104" y="868"/>
                  </a:lnTo>
                  <a:lnTo>
                    <a:pt x="94" y="864"/>
                  </a:lnTo>
                  <a:lnTo>
                    <a:pt x="86" y="859"/>
                  </a:lnTo>
                  <a:lnTo>
                    <a:pt x="76" y="854"/>
                  </a:lnTo>
                  <a:lnTo>
                    <a:pt x="69" y="849"/>
                  </a:lnTo>
                  <a:lnTo>
                    <a:pt x="61" y="841"/>
                  </a:lnTo>
                  <a:lnTo>
                    <a:pt x="55" y="834"/>
                  </a:lnTo>
                  <a:lnTo>
                    <a:pt x="48" y="826"/>
                  </a:lnTo>
                  <a:lnTo>
                    <a:pt x="43" y="818"/>
                  </a:lnTo>
                  <a:lnTo>
                    <a:pt x="39" y="808"/>
                  </a:lnTo>
                  <a:lnTo>
                    <a:pt x="35" y="798"/>
                  </a:lnTo>
                  <a:lnTo>
                    <a:pt x="32" y="789"/>
                  </a:lnTo>
                  <a:lnTo>
                    <a:pt x="31" y="778"/>
                  </a:lnTo>
                  <a:lnTo>
                    <a:pt x="30" y="767"/>
                  </a:lnTo>
                  <a:lnTo>
                    <a:pt x="31" y="757"/>
                  </a:lnTo>
                  <a:lnTo>
                    <a:pt x="32" y="746"/>
                  </a:lnTo>
                  <a:lnTo>
                    <a:pt x="35" y="736"/>
                  </a:lnTo>
                  <a:lnTo>
                    <a:pt x="39" y="727"/>
                  </a:lnTo>
                  <a:lnTo>
                    <a:pt x="43" y="717"/>
                  </a:lnTo>
                  <a:lnTo>
                    <a:pt x="48" y="708"/>
                  </a:lnTo>
                  <a:lnTo>
                    <a:pt x="55" y="700"/>
                  </a:lnTo>
                  <a:lnTo>
                    <a:pt x="61" y="692"/>
                  </a:lnTo>
                  <a:lnTo>
                    <a:pt x="69" y="686"/>
                  </a:lnTo>
                  <a:lnTo>
                    <a:pt x="76" y="680"/>
                  </a:lnTo>
                  <a:lnTo>
                    <a:pt x="86" y="674"/>
                  </a:lnTo>
                  <a:lnTo>
                    <a:pt x="94" y="670"/>
                  </a:lnTo>
                  <a:lnTo>
                    <a:pt x="104" y="667"/>
                  </a:lnTo>
                  <a:lnTo>
                    <a:pt x="115" y="665"/>
                  </a:lnTo>
                  <a:lnTo>
                    <a:pt x="124" y="662"/>
                  </a:lnTo>
                  <a:lnTo>
                    <a:pt x="135" y="662"/>
                  </a:lnTo>
                  <a:lnTo>
                    <a:pt x="146" y="662"/>
                  </a:lnTo>
                  <a:lnTo>
                    <a:pt x="156" y="665"/>
                  </a:lnTo>
                  <a:lnTo>
                    <a:pt x="167" y="667"/>
                  </a:lnTo>
                  <a:lnTo>
                    <a:pt x="177" y="670"/>
                  </a:lnTo>
                  <a:lnTo>
                    <a:pt x="185" y="674"/>
                  </a:lnTo>
                  <a:lnTo>
                    <a:pt x="194" y="680"/>
                  </a:lnTo>
                  <a:lnTo>
                    <a:pt x="202" y="686"/>
                  </a:lnTo>
                  <a:lnTo>
                    <a:pt x="210" y="692"/>
                  </a:lnTo>
                  <a:lnTo>
                    <a:pt x="216" y="700"/>
                  </a:lnTo>
                  <a:lnTo>
                    <a:pt x="223" y="708"/>
                  </a:lnTo>
                  <a:lnTo>
                    <a:pt x="228" y="717"/>
                  </a:lnTo>
                  <a:lnTo>
                    <a:pt x="232" y="727"/>
                  </a:lnTo>
                  <a:lnTo>
                    <a:pt x="236" y="736"/>
                  </a:lnTo>
                  <a:lnTo>
                    <a:pt x="239" y="746"/>
                  </a:lnTo>
                  <a:lnTo>
                    <a:pt x="240" y="757"/>
                  </a:lnTo>
                  <a:lnTo>
                    <a:pt x="241" y="767"/>
                  </a:lnTo>
                  <a:lnTo>
                    <a:pt x="240" y="778"/>
                  </a:lnTo>
                  <a:lnTo>
                    <a:pt x="239" y="789"/>
                  </a:lnTo>
                  <a:lnTo>
                    <a:pt x="236" y="798"/>
                  </a:lnTo>
                  <a:lnTo>
                    <a:pt x="232" y="808"/>
                  </a:lnTo>
                  <a:lnTo>
                    <a:pt x="228" y="818"/>
                  </a:lnTo>
                  <a:lnTo>
                    <a:pt x="223" y="826"/>
                  </a:lnTo>
                  <a:lnTo>
                    <a:pt x="216" y="834"/>
                  </a:lnTo>
                  <a:lnTo>
                    <a:pt x="210" y="841"/>
                  </a:lnTo>
                  <a:lnTo>
                    <a:pt x="202" y="849"/>
                  </a:lnTo>
                  <a:lnTo>
                    <a:pt x="194" y="854"/>
                  </a:lnTo>
                  <a:lnTo>
                    <a:pt x="185" y="859"/>
                  </a:lnTo>
                  <a:lnTo>
                    <a:pt x="177" y="864"/>
                  </a:lnTo>
                  <a:lnTo>
                    <a:pt x="167" y="868"/>
                  </a:lnTo>
                  <a:lnTo>
                    <a:pt x="156" y="870"/>
                  </a:lnTo>
                  <a:lnTo>
                    <a:pt x="146" y="872"/>
                  </a:lnTo>
                  <a:lnTo>
                    <a:pt x="135" y="872"/>
                  </a:lnTo>
                  <a:close/>
                  <a:moveTo>
                    <a:pt x="271" y="180"/>
                  </a:moveTo>
                  <a:lnTo>
                    <a:pt x="511" y="180"/>
                  </a:lnTo>
                  <a:lnTo>
                    <a:pt x="511" y="361"/>
                  </a:lnTo>
                  <a:lnTo>
                    <a:pt x="271" y="361"/>
                  </a:lnTo>
                  <a:lnTo>
                    <a:pt x="271" y="180"/>
                  </a:lnTo>
                  <a:close/>
                  <a:moveTo>
                    <a:pt x="632" y="722"/>
                  </a:moveTo>
                  <a:lnTo>
                    <a:pt x="271" y="722"/>
                  </a:lnTo>
                  <a:lnTo>
                    <a:pt x="271" y="391"/>
                  </a:lnTo>
                  <a:lnTo>
                    <a:pt x="526" y="391"/>
                  </a:lnTo>
                  <a:lnTo>
                    <a:pt x="632" y="391"/>
                  </a:lnTo>
                  <a:lnTo>
                    <a:pt x="632" y="722"/>
                  </a:lnTo>
                  <a:close/>
                  <a:moveTo>
                    <a:pt x="688" y="877"/>
                  </a:moveTo>
                  <a:lnTo>
                    <a:pt x="627" y="817"/>
                  </a:lnTo>
                  <a:lnTo>
                    <a:pt x="625" y="814"/>
                  </a:lnTo>
                  <a:lnTo>
                    <a:pt x="622" y="813"/>
                  </a:lnTo>
                  <a:lnTo>
                    <a:pt x="619" y="812"/>
                  </a:lnTo>
                  <a:lnTo>
                    <a:pt x="616" y="812"/>
                  </a:lnTo>
                  <a:lnTo>
                    <a:pt x="262" y="812"/>
                  </a:lnTo>
                  <a:lnTo>
                    <a:pt x="266" y="802"/>
                  </a:lnTo>
                  <a:lnTo>
                    <a:pt x="269" y="790"/>
                  </a:lnTo>
                  <a:lnTo>
                    <a:pt x="270" y="779"/>
                  </a:lnTo>
                  <a:lnTo>
                    <a:pt x="271" y="767"/>
                  </a:lnTo>
                  <a:lnTo>
                    <a:pt x="270" y="760"/>
                  </a:lnTo>
                  <a:lnTo>
                    <a:pt x="270" y="752"/>
                  </a:lnTo>
                  <a:lnTo>
                    <a:pt x="647" y="752"/>
                  </a:lnTo>
                  <a:lnTo>
                    <a:pt x="649" y="752"/>
                  </a:lnTo>
                  <a:lnTo>
                    <a:pt x="652" y="751"/>
                  </a:lnTo>
                  <a:lnTo>
                    <a:pt x="655" y="749"/>
                  </a:lnTo>
                  <a:lnTo>
                    <a:pt x="657" y="748"/>
                  </a:lnTo>
                  <a:lnTo>
                    <a:pt x="659" y="746"/>
                  </a:lnTo>
                  <a:lnTo>
                    <a:pt x="660" y="743"/>
                  </a:lnTo>
                  <a:lnTo>
                    <a:pt x="661" y="741"/>
                  </a:lnTo>
                  <a:lnTo>
                    <a:pt x="662" y="737"/>
                  </a:lnTo>
                  <a:lnTo>
                    <a:pt x="662" y="376"/>
                  </a:lnTo>
                  <a:lnTo>
                    <a:pt x="661" y="373"/>
                  </a:lnTo>
                  <a:lnTo>
                    <a:pt x="660" y="370"/>
                  </a:lnTo>
                  <a:lnTo>
                    <a:pt x="659" y="368"/>
                  </a:lnTo>
                  <a:lnTo>
                    <a:pt x="657" y="366"/>
                  </a:lnTo>
                  <a:lnTo>
                    <a:pt x="655" y="364"/>
                  </a:lnTo>
                  <a:lnTo>
                    <a:pt x="652" y="362"/>
                  </a:lnTo>
                  <a:lnTo>
                    <a:pt x="649" y="361"/>
                  </a:lnTo>
                  <a:lnTo>
                    <a:pt x="647" y="361"/>
                  </a:lnTo>
                  <a:lnTo>
                    <a:pt x="541" y="361"/>
                  </a:lnTo>
                  <a:lnTo>
                    <a:pt x="541" y="165"/>
                  </a:lnTo>
                  <a:lnTo>
                    <a:pt x="541" y="163"/>
                  </a:lnTo>
                  <a:lnTo>
                    <a:pt x="540" y="160"/>
                  </a:lnTo>
                  <a:lnTo>
                    <a:pt x="539" y="158"/>
                  </a:lnTo>
                  <a:lnTo>
                    <a:pt x="537" y="155"/>
                  </a:lnTo>
                  <a:lnTo>
                    <a:pt x="535" y="154"/>
                  </a:lnTo>
                  <a:lnTo>
                    <a:pt x="532" y="152"/>
                  </a:lnTo>
                  <a:lnTo>
                    <a:pt x="529" y="151"/>
                  </a:lnTo>
                  <a:lnTo>
                    <a:pt x="526" y="150"/>
                  </a:lnTo>
                  <a:lnTo>
                    <a:pt x="256" y="150"/>
                  </a:lnTo>
                  <a:lnTo>
                    <a:pt x="253" y="151"/>
                  </a:lnTo>
                  <a:lnTo>
                    <a:pt x="250" y="151"/>
                  </a:lnTo>
                  <a:lnTo>
                    <a:pt x="247" y="154"/>
                  </a:lnTo>
                  <a:lnTo>
                    <a:pt x="245" y="155"/>
                  </a:lnTo>
                  <a:lnTo>
                    <a:pt x="243" y="158"/>
                  </a:lnTo>
                  <a:lnTo>
                    <a:pt x="242" y="160"/>
                  </a:lnTo>
                  <a:lnTo>
                    <a:pt x="241" y="163"/>
                  </a:lnTo>
                  <a:lnTo>
                    <a:pt x="241" y="165"/>
                  </a:lnTo>
                  <a:lnTo>
                    <a:pt x="241" y="376"/>
                  </a:lnTo>
                  <a:lnTo>
                    <a:pt x="241" y="683"/>
                  </a:lnTo>
                  <a:lnTo>
                    <a:pt x="235" y="675"/>
                  </a:lnTo>
                  <a:lnTo>
                    <a:pt x="228" y="669"/>
                  </a:lnTo>
                  <a:lnTo>
                    <a:pt x="221" y="662"/>
                  </a:lnTo>
                  <a:lnTo>
                    <a:pt x="213" y="657"/>
                  </a:lnTo>
                  <a:lnTo>
                    <a:pt x="206" y="652"/>
                  </a:lnTo>
                  <a:lnTo>
                    <a:pt x="198" y="647"/>
                  </a:lnTo>
                  <a:lnTo>
                    <a:pt x="190" y="643"/>
                  </a:lnTo>
                  <a:lnTo>
                    <a:pt x="180" y="640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10"/>
                  </a:lnTo>
                  <a:lnTo>
                    <a:pt x="178" y="7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75" y="0"/>
                  </a:lnTo>
                  <a:lnTo>
                    <a:pt x="72" y="0"/>
                  </a:lnTo>
                  <a:lnTo>
                    <a:pt x="70" y="1"/>
                  </a:lnTo>
                  <a:lnTo>
                    <a:pt x="66" y="3"/>
                  </a:lnTo>
                  <a:lnTo>
                    <a:pt x="64" y="5"/>
                  </a:lnTo>
                  <a:lnTo>
                    <a:pt x="63" y="7"/>
                  </a:lnTo>
                  <a:lnTo>
                    <a:pt x="61" y="10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0" y="19"/>
                  </a:lnTo>
                  <a:lnTo>
                    <a:pt x="61" y="22"/>
                  </a:lnTo>
                  <a:lnTo>
                    <a:pt x="63" y="24"/>
                  </a:lnTo>
                  <a:lnTo>
                    <a:pt x="64" y="26"/>
                  </a:lnTo>
                  <a:lnTo>
                    <a:pt x="66" y="28"/>
                  </a:lnTo>
                  <a:lnTo>
                    <a:pt x="70" y="29"/>
                  </a:lnTo>
                  <a:lnTo>
                    <a:pt x="72" y="30"/>
                  </a:lnTo>
                  <a:lnTo>
                    <a:pt x="75" y="30"/>
                  </a:lnTo>
                  <a:lnTo>
                    <a:pt x="150" y="30"/>
                  </a:lnTo>
                  <a:lnTo>
                    <a:pt x="150" y="632"/>
                  </a:lnTo>
                  <a:lnTo>
                    <a:pt x="142" y="632"/>
                  </a:lnTo>
                  <a:lnTo>
                    <a:pt x="135" y="632"/>
                  </a:lnTo>
                  <a:lnTo>
                    <a:pt x="121" y="632"/>
                  </a:lnTo>
                  <a:lnTo>
                    <a:pt x="108" y="635"/>
                  </a:lnTo>
                  <a:lnTo>
                    <a:pt x="95" y="638"/>
                  </a:lnTo>
                  <a:lnTo>
                    <a:pt x="82" y="642"/>
                  </a:lnTo>
                  <a:lnTo>
                    <a:pt x="71" y="648"/>
                  </a:lnTo>
                  <a:lnTo>
                    <a:pt x="60" y="655"/>
                  </a:lnTo>
                  <a:lnTo>
                    <a:pt x="49" y="662"/>
                  </a:lnTo>
                  <a:lnTo>
                    <a:pt x="40" y="672"/>
                  </a:lnTo>
                  <a:lnTo>
                    <a:pt x="31" y="682"/>
                  </a:lnTo>
                  <a:lnTo>
                    <a:pt x="24" y="691"/>
                  </a:lnTo>
                  <a:lnTo>
                    <a:pt x="16" y="703"/>
                  </a:lnTo>
                  <a:lnTo>
                    <a:pt x="11" y="715"/>
                  </a:lnTo>
                  <a:lnTo>
                    <a:pt x="6" y="727"/>
                  </a:lnTo>
                  <a:lnTo>
                    <a:pt x="3" y="740"/>
                  </a:lnTo>
                  <a:lnTo>
                    <a:pt x="1" y="753"/>
                  </a:lnTo>
                  <a:lnTo>
                    <a:pt x="0" y="767"/>
                  </a:lnTo>
                  <a:lnTo>
                    <a:pt x="1" y="781"/>
                  </a:lnTo>
                  <a:lnTo>
                    <a:pt x="3" y="794"/>
                  </a:lnTo>
                  <a:lnTo>
                    <a:pt x="6" y="807"/>
                  </a:lnTo>
                  <a:lnTo>
                    <a:pt x="11" y="820"/>
                  </a:lnTo>
                  <a:lnTo>
                    <a:pt x="16" y="832"/>
                  </a:lnTo>
                  <a:lnTo>
                    <a:pt x="24" y="842"/>
                  </a:lnTo>
                  <a:lnTo>
                    <a:pt x="31" y="853"/>
                  </a:lnTo>
                  <a:lnTo>
                    <a:pt x="40" y="863"/>
                  </a:lnTo>
                  <a:lnTo>
                    <a:pt x="49" y="871"/>
                  </a:lnTo>
                  <a:lnTo>
                    <a:pt x="60" y="880"/>
                  </a:lnTo>
                  <a:lnTo>
                    <a:pt x="71" y="886"/>
                  </a:lnTo>
                  <a:lnTo>
                    <a:pt x="82" y="892"/>
                  </a:lnTo>
                  <a:lnTo>
                    <a:pt x="95" y="896"/>
                  </a:lnTo>
                  <a:lnTo>
                    <a:pt x="108" y="900"/>
                  </a:lnTo>
                  <a:lnTo>
                    <a:pt x="121" y="902"/>
                  </a:lnTo>
                  <a:lnTo>
                    <a:pt x="135" y="902"/>
                  </a:lnTo>
                  <a:lnTo>
                    <a:pt x="144" y="902"/>
                  </a:lnTo>
                  <a:lnTo>
                    <a:pt x="152" y="901"/>
                  </a:lnTo>
                  <a:lnTo>
                    <a:pt x="161" y="900"/>
                  </a:lnTo>
                  <a:lnTo>
                    <a:pt x="169" y="898"/>
                  </a:lnTo>
                  <a:lnTo>
                    <a:pt x="185" y="893"/>
                  </a:lnTo>
                  <a:lnTo>
                    <a:pt x="200" y="886"/>
                  </a:lnTo>
                  <a:lnTo>
                    <a:pt x="214" y="878"/>
                  </a:lnTo>
                  <a:lnTo>
                    <a:pt x="226" y="867"/>
                  </a:lnTo>
                  <a:lnTo>
                    <a:pt x="238" y="855"/>
                  </a:lnTo>
                  <a:lnTo>
                    <a:pt x="247" y="842"/>
                  </a:lnTo>
                  <a:lnTo>
                    <a:pt x="611" y="842"/>
                  </a:lnTo>
                  <a:lnTo>
                    <a:pt x="666" y="898"/>
                  </a:lnTo>
                  <a:lnTo>
                    <a:pt x="668" y="900"/>
                  </a:lnTo>
                  <a:lnTo>
                    <a:pt x="671" y="901"/>
                  </a:lnTo>
                  <a:lnTo>
                    <a:pt x="674" y="902"/>
                  </a:lnTo>
                  <a:lnTo>
                    <a:pt x="677" y="902"/>
                  </a:lnTo>
                  <a:lnTo>
                    <a:pt x="679" y="902"/>
                  </a:lnTo>
                  <a:lnTo>
                    <a:pt x="682" y="901"/>
                  </a:lnTo>
                  <a:lnTo>
                    <a:pt x="685" y="900"/>
                  </a:lnTo>
                  <a:lnTo>
                    <a:pt x="688" y="898"/>
                  </a:lnTo>
                  <a:lnTo>
                    <a:pt x="689" y="896"/>
                  </a:lnTo>
                  <a:lnTo>
                    <a:pt x="691" y="893"/>
                  </a:lnTo>
                  <a:lnTo>
                    <a:pt x="691" y="891"/>
                  </a:lnTo>
                  <a:lnTo>
                    <a:pt x="692" y="887"/>
                  </a:lnTo>
                  <a:lnTo>
                    <a:pt x="691" y="884"/>
                  </a:lnTo>
                  <a:lnTo>
                    <a:pt x="691" y="882"/>
                  </a:lnTo>
                  <a:lnTo>
                    <a:pt x="689" y="879"/>
                  </a:lnTo>
                  <a:lnTo>
                    <a:pt x="688" y="877"/>
                  </a:lnTo>
                  <a:lnTo>
                    <a:pt x="688" y="877"/>
                  </a:lnTo>
                  <a:close/>
                </a:path>
              </a:pathLst>
            </a:custGeom>
            <a:solidFill>
              <a:srgbClr val="24222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228">
              <a:extLst>
                <a:ext uri="{FF2B5EF4-FFF2-40B4-BE49-F238E27FC236}">
                  <a16:creationId xmlns="" xmlns:a16="http://schemas.microsoft.com/office/drawing/2014/main" id="{72EBAF64-B9E1-442C-A8B7-24D2E7E5CF1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2888" y="2709863"/>
              <a:ext cx="42863" cy="9525"/>
            </a:xfrm>
            <a:custGeom>
              <a:avLst/>
              <a:gdLst>
                <a:gd name="T0" fmla="*/ 0 w 135"/>
                <a:gd name="T1" fmla="*/ 15 h 30"/>
                <a:gd name="T2" fmla="*/ 0 w 135"/>
                <a:gd name="T3" fmla="*/ 18 h 30"/>
                <a:gd name="T4" fmla="*/ 1 w 135"/>
                <a:gd name="T5" fmla="*/ 21 h 30"/>
                <a:gd name="T6" fmla="*/ 3 w 135"/>
                <a:gd name="T7" fmla="*/ 23 h 30"/>
                <a:gd name="T8" fmla="*/ 4 w 135"/>
                <a:gd name="T9" fmla="*/ 26 h 30"/>
                <a:gd name="T10" fmla="*/ 6 w 135"/>
                <a:gd name="T11" fmla="*/ 27 h 30"/>
                <a:gd name="T12" fmla="*/ 10 w 135"/>
                <a:gd name="T13" fmla="*/ 29 h 30"/>
                <a:gd name="T14" fmla="*/ 12 w 135"/>
                <a:gd name="T15" fmla="*/ 29 h 30"/>
                <a:gd name="T16" fmla="*/ 15 w 135"/>
                <a:gd name="T17" fmla="*/ 30 h 30"/>
                <a:gd name="T18" fmla="*/ 120 w 135"/>
                <a:gd name="T19" fmla="*/ 30 h 30"/>
                <a:gd name="T20" fmla="*/ 123 w 135"/>
                <a:gd name="T21" fmla="*/ 29 h 30"/>
                <a:gd name="T22" fmla="*/ 126 w 135"/>
                <a:gd name="T23" fmla="*/ 28 h 30"/>
                <a:gd name="T24" fmla="*/ 129 w 135"/>
                <a:gd name="T25" fmla="*/ 27 h 30"/>
                <a:gd name="T26" fmla="*/ 131 w 135"/>
                <a:gd name="T27" fmla="*/ 26 h 30"/>
                <a:gd name="T28" fmla="*/ 133 w 135"/>
                <a:gd name="T29" fmla="*/ 23 h 30"/>
                <a:gd name="T30" fmla="*/ 134 w 135"/>
                <a:gd name="T31" fmla="*/ 21 h 30"/>
                <a:gd name="T32" fmla="*/ 135 w 135"/>
                <a:gd name="T33" fmla="*/ 18 h 30"/>
                <a:gd name="T34" fmla="*/ 135 w 135"/>
                <a:gd name="T35" fmla="*/ 15 h 30"/>
                <a:gd name="T36" fmla="*/ 135 w 135"/>
                <a:gd name="T37" fmla="*/ 12 h 30"/>
                <a:gd name="T38" fmla="*/ 134 w 135"/>
                <a:gd name="T39" fmla="*/ 9 h 30"/>
                <a:gd name="T40" fmla="*/ 133 w 135"/>
                <a:gd name="T41" fmla="*/ 7 h 30"/>
                <a:gd name="T42" fmla="*/ 131 w 135"/>
                <a:gd name="T43" fmla="*/ 5 h 30"/>
                <a:gd name="T44" fmla="*/ 129 w 135"/>
                <a:gd name="T45" fmla="*/ 3 h 30"/>
                <a:gd name="T46" fmla="*/ 126 w 135"/>
                <a:gd name="T47" fmla="*/ 1 h 30"/>
                <a:gd name="T48" fmla="*/ 123 w 135"/>
                <a:gd name="T49" fmla="*/ 0 h 30"/>
                <a:gd name="T50" fmla="*/ 120 w 135"/>
                <a:gd name="T51" fmla="*/ 0 h 30"/>
                <a:gd name="T52" fmla="*/ 15 w 135"/>
                <a:gd name="T53" fmla="*/ 0 h 30"/>
                <a:gd name="T54" fmla="*/ 12 w 135"/>
                <a:gd name="T55" fmla="*/ 0 h 30"/>
                <a:gd name="T56" fmla="*/ 10 w 135"/>
                <a:gd name="T57" fmla="*/ 1 h 30"/>
                <a:gd name="T58" fmla="*/ 6 w 135"/>
                <a:gd name="T59" fmla="*/ 3 h 30"/>
                <a:gd name="T60" fmla="*/ 4 w 135"/>
                <a:gd name="T61" fmla="*/ 5 h 30"/>
                <a:gd name="T62" fmla="*/ 3 w 135"/>
                <a:gd name="T63" fmla="*/ 7 h 30"/>
                <a:gd name="T64" fmla="*/ 1 w 135"/>
                <a:gd name="T65" fmla="*/ 9 h 30"/>
                <a:gd name="T66" fmla="*/ 0 w 135"/>
                <a:gd name="T67" fmla="*/ 12 h 30"/>
                <a:gd name="T68" fmla="*/ 0 w 135"/>
                <a:gd name="T69" fmla="*/ 15 h 30"/>
                <a:gd name="T70" fmla="*/ 0 w 135"/>
                <a:gd name="T71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5" h="30">
                  <a:moveTo>
                    <a:pt x="0" y="15"/>
                  </a:moveTo>
                  <a:lnTo>
                    <a:pt x="0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120" y="30"/>
                  </a:lnTo>
                  <a:lnTo>
                    <a:pt x="123" y="29"/>
                  </a:lnTo>
                  <a:lnTo>
                    <a:pt x="126" y="28"/>
                  </a:lnTo>
                  <a:lnTo>
                    <a:pt x="129" y="27"/>
                  </a:lnTo>
                  <a:lnTo>
                    <a:pt x="131" y="26"/>
                  </a:lnTo>
                  <a:lnTo>
                    <a:pt x="133" y="23"/>
                  </a:lnTo>
                  <a:lnTo>
                    <a:pt x="134" y="21"/>
                  </a:lnTo>
                  <a:lnTo>
                    <a:pt x="135" y="18"/>
                  </a:lnTo>
                  <a:lnTo>
                    <a:pt x="135" y="15"/>
                  </a:lnTo>
                  <a:lnTo>
                    <a:pt x="135" y="12"/>
                  </a:lnTo>
                  <a:lnTo>
                    <a:pt x="134" y="9"/>
                  </a:lnTo>
                  <a:lnTo>
                    <a:pt x="133" y="7"/>
                  </a:lnTo>
                  <a:lnTo>
                    <a:pt x="131" y="5"/>
                  </a:lnTo>
                  <a:lnTo>
                    <a:pt x="129" y="3"/>
                  </a:lnTo>
                  <a:lnTo>
                    <a:pt x="126" y="1"/>
                  </a:lnTo>
                  <a:lnTo>
                    <a:pt x="123" y="0"/>
                  </a:lnTo>
                  <a:lnTo>
                    <a:pt x="120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rgbClr val="24222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229">
              <a:extLst>
                <a:ext uri="{FF2B5EF4-FFF2-40B4-BE49-F238E27FC236}">
                  <a16:creationId xmlns="" xmlns:a16="http://schemas.microsoft.com/office/drawing/2014/main" id="{D52DA83C-64C1-4DF2-A6D0-44EFFF8D23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0500" y="2593975"/>
              <a:ext cx="28575" cy="9525"/>
            </a:xfrm>
            <a:custGeom>
              <a:avLst/>
              <a:gdLst>
                <a:gd name="T0" fmla="*/ 75 w 90"/>
                <a:gd name="T1" fmla="*/ 0 h 30"/>
                <a:gd name="T2" fmla="*/ 15 w 90"/>
                <a:gd name="T3" fmla="*/ 0 h 30"/>
                <a:gd name="T4" fmla="*/ 12 w 90"/>
                <a:gd name="T5" fmla="*/ 0 h 30"/>
                <a:gd name="T6" fmla="*/ 9 w 90"/>
                <a:gd name="T7" fmla="*/ 1 h 30"/>
                <a:gd name="T8" fmla="*/ 6 w 90"/>
                <a:gd name="T9" fmla="*/ 3 h 30"/>
                <a:gd name="T10" fmla="*/ 4 w 90"/>
                <a:gd name="T11" fmla="*/ 5 h 30"/>
                <a:gd name="T12" fmla="*/ 2 w 90"/>
                <a:gd name="T13" fmla="*/ 7 h 30"/>
                <a:gd name="T14" fmla="*/ 1 w 90"/>
                <a:gd name="T15" fmla="*/ 9 h 30"/>
                <a:gd name="T16" fmla="*/ 0 w 90"/>
                <a:gd name="T17" fmla="*/ 12 h 30"/>
                <a:gd name="T18" fmla="*/ 0 w 90"/>
                <a:gd name="T19" fmla="*/ 15 h 30"/>
                <a:gd name="T20" fmla="*/ 0 w 90"/>
                <a:gd name="T21" fmla="*/ 19 h 30"/>
                <a:gd name="T22" fmla="*/ 1 w 90"/>
                <a:gd name="T23" fmla="*/ 21 h 30"/>
                <a:gd name="T24" fmla="*/ 2 w 90"/>
                <a:gd name="T25" fmla="*/ 24 h 30"/>
                <a:gd name="T26" fmla="*/ 4 w 90"/>
                <a:gd name="T27" fmla="*/ 26 h 30"/>
                <a:gd name="T28" fmla="*/ 6 w 90"/>
                <a:gd name="T29" fmla="*/ 27 h 30"/>
                <a:gd name="T30" fmla="*/ 9 w 90"/>
                <a:gd name="T31" fmla="*/ 29 h 30"/>
                <a:gd name="T32" fmla="*/ 12 w 90"/>
                <a:gd name="T33" fmla="*/ 30 h 30"/>
                <a:gd name="T34" fmla="*/ 15 w 90"/>
                <a:gd name="T35" fmla="*/ 30 h 30"/>
                <a:gd name="T36" fmla="*/ 75 w 90"/>
                <a:gd name="T37" fmla="*/ 30 h 30"/>
                <a:gd name="T38" fmla="*/ 78 w 90"/>
                <a:gd name="T39" fmla="*/ 30 h 30"/>
                <a:gd name="T40" fmla="*/ 80 w 90"/>
                <a:gd name="T41" fmla="*/ 29 h 30"/>
                <a:gd name="T42" fmla="*/ 84 w 90"/>
                <a:gd name="T43" fmla="*/ 27 h 30"/>
                <a:gd name="T44" fmla="*/ 86 w 90"/>
                <a:gd name="T45" fmla="*/ 26 h 30"/>
                <a:gd name="T46" fmla="*/ 88 w 90"/>
                <a:gd name="T47" fmla="*/ 24 h 30"/>
                <a:gd name="T48" fmla="*/ 89 w 90"/>
                <a:gd name="T49" fmla="*/ 21 h 30"/>
                <a:gd name="T50" fmla="*/ 90 w 90"/>
                <a:gd name="T51" fmla="*/ 19 h 30"/>
                <a:gd name="T52" fmla="*/ 90 w 90"/>
                <a:gd name="T53" fmla="*/ 15 h 30"/>
                <a:gd name="T54" fmla="*/ 90 w 90"/>
                <a:gd name="T55" fmla="*/ 12 h 30"/>
                <a:gd name="T56" fmla="*/ 89 w 90"/>
                <a:gd name="T57" fmla="*/ 9 h 30"/>
                <a:gd name="T58" fmla="*/ 88 w 90"/>
                <a:gd name="T59" fmla="*/ 7 h 30"/>
                <a:gd name="T60" fmla="*/ 86 w 90"/>
                <a:gd name="T61" fmla="*/ 5 h 30"/>
                <a:gd name="T62" fmla="*/ 84 w 90"/>
                <a:gd name="T63" fmla="*/ 3 h 30"/>
                <a:gd name="T64" fmla="*/ 80 w 90"/>
                <a:gd name="T65" fmla="*/ 1 h 30"/>
                <a:gd name="T66" fmla="*/ 78 w 90"/>
                <a:gd name="T67" fmla="*/ 0 h 30"/>
                <a:gd name="T68" fmla="*/ 75 w 90"/>
                <a:gd name="T69" fmla="*/ 0 h 30"/>
                <a:gd name="T70" fmla="*/ 75 w 9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30">
                  <a:moveTo>
                    <a:pt x="7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75" y="30"/>
                  </a:lnTo>
                  <a:lnTo>
                    <a:pt x="78" y="30"/>
                  </a:lnTo>
                  <a:lnTo>
                    <a:pt x="80" y="29"/>
                  </a:lnTo>
                  <a:lnTo>
                    <a:pt x="84" y="27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89" y="21"/>
                  </a:lnTo>
                  <a:lnTo>
                    <a:pt x="90" y="19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3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solidFill>
              <a:srgbClr val="242222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60" name="Rectangle 159">
            <a:extLst>
              <a:ext uri="{FF2B5EF4-FFF2-40B4-BE49-F238E27FC236}">
                <a16:creationId xmlns="" xmlns:a16="http://schemas.microsoft.com/office/drawing/2014/main" id="{4DAD33B4-ECF2-4B08-AD88-B4E59791C9C7}"/>
              </a:ext>
            </a:extLst>
          </p:cNvPr>
          <p:cNvSpPr/>
          <p:nvPr/>
        </p:nvSpPr>
        <p:spPr>
          <a:xfrm>
            <a:off x="468336" y="1580269"/>
            <a:ext cx="165360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="" xmlns:a16="http://schemas.microsoft.com/office/drawing/2014/main" id="{A1ADBBAA-B6DE-424B-AD4A-48B637760620}"/>
              </a:ext>
            </a:extLst>
          </p:cNvPr>
          <p:cNvSpPr/>
          <p:nvPr/>
        </p:nvSpPr>
        <p:spPr>
          <a:xfrm>
            <a:off x="2383062" y="1580269"/>
            <a:ext cx="165360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="" xmlns:a16="http://schemas.microsoft.com/office/drawing/2014/main" id="{D0053F98-7C91-4721-945D-5BB7D7C734C3}"/>
              </a:ext>
            </a:extLst>
          </p:cNvPr>
          <p:cNvSpPr/>
          <p:nvPr/>
        </p:nvSpPr>
        <p:spPr>
          <a:xfrm>
            <a:off x="4309027" y="1580269"/>
            <a:ext cx="165360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163" name="Rectangle 162">
            <a:extLst>
              <a:ext uri="{FF2B5EF4-FFF2-40B4-BE49-F238E27FC236}">
                <a16:creationId xmlns="" xmlns:a16="http://schemas.microsoft.com/office/drawing/2014/main" id="{3465B670-C2D8-4008-BB41-2DD53EF7633A}"/>
              </a:ext>
            </a:extLst>
          </p:cNvPr>
          <p:cNvSpPr/>
          <p:nvPr/>
        </p:nvSpPr>
        <p:spPr>
          <a:xfrm>
            <a:off x="6229373" y="1580269"/>
            <a:ext cx="165360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164" name="Rectangle 163">
            <a:extLst>
              <a:ext uri="{FF2B5EF4-FFF2-40B4-BE49-F238E27FC236}">
                <a16:creationId xmlns="" xmlns:a16="http://schemas.microsoft.com/office/drawing/2014/main" id="{5BA1E905-8A5D-4777-8EC9-B6B9D4DC0A12}"/>
              </a:ext>
            </a:extLst>
          </p:cNvPr>
          <p:cNvSpPr/>
          <p:nvPr/>
        </p:nvSpPr>
        <p:spPr>
          <a:xfrm>
            <a:off x="8149718" y="1580269"/>
            <a:ext cx="165360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="" xmlns:a16="http://schemas.microsoft.com/office/drawing/2014/main" id="{977E0AB0-C879-4871-8585-A8AEFC2E8908}"/>
              </a:ext>
            </a:extLst>
          </p:cNvPr>
          <p:cNvSpPr/>
          <p:nvPr/>
        </p:nvSpPr>
        <p:spPr>
          <a:xfrm>
            <a:off x="10070065" y="1580269"/>
            <a:ext cx="165360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940794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8505CDED-13AE-40F0-87D6-E4A6DDAE0C42}"/>
              </a:ext>
            </a:extLst>
          </p:cNvPr>
          <p:cNvSpPr txBox="1"/>
          <p:nvPr/>
        </p:nvSpPr>
        <p:spPr>
          <a:xfrm>
            <a:off x="391886" y="138113"/>
            <a:ext cx="11408228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>
                <a:solidFill>
                  <a:schemeClr val="tx2"/>
                </a:solidFill>
                <a:latin typeface="+mj-lt"/>
              </a:rPr>
              <a:t>SUPPLY CHAIN</a:t>
            </a:r>
            <a:endParaRPr lang="en-ID" sz="4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650DC6E6-7E8C-4810-BA99-8139F7C1E125}"/>
              </a:ext>
            </a:extLst>
          </p:cNvPr>
          <p:cNvSpPr/>
          <p:nvPr/>
        </p:nvSpPr>
        <p:spPr>
          <a:xfrm>
            <a:off x="334962" y="815221"/>
            <a:ext cx="1152207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lo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l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D372E057-0BFB-4CB4-8BB3-967DEB9AF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BA98C-1060-4864-8096-9350DC016A42}" type="datetime1">
              <a:rPr lang="en-ID" smtClean="0"/>
              <a:pPr/>
              <a:t>6/27/2020</a:t>
            </a:fld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24DC781-AC70-4CCD-8B70-39BA47EBA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89122-6C24-49FD-BEBC-7A811562A5F5}" type="slidenum">
              <a:rPr lang="en-ID" smtClean="0"/>
              <a:pPr/>
              <a:t>6</a:t>
            </a:fld>
            <a:endParaRPr lang="en-ID"/>
          </a:p>
        </p:txBody>
      </p:sp>
      <p:sp>
        <p:nvSpPr>
          <p:cNvPr id="81" name="Freeform 97">
            <a:extLst>
              <a:ext uri="{FF2B5EF4-FFF2-40B4-BE49-F238E27FC236}">
                <a16:creationId xmlns="" xmlns:a16="http://schemas.microsoft.com/office/drawing/2014/main" id="{048CDF39-FE92-4EF3-A133-973F733BE6BC}"/>
              </a:ext>
            </a:extLst>
          </p:cNvPr>
          <p:cNvSpPr>
            <a:spLocks noEditPoints="1"/>
          </p:cNvSpPr>
          <p:nvPr/>
        </p:nvSpPr>
        <p:spPr bwMode="auto">
          <a:xfrm>
            <a:off x="4964226" y="2656795"/>
            <a:ext cx="2263548" cy="2263548"/>
          </a:xfrm>
          <a:custGeom>
            <a:avLst/>
            <a:gdLst>
              <a:gd name="T0" fmla="*/ 677 w 714"/>
              <a:gd name="T1" fmla="*/ 212 h 715"/>
              <a:gd name="T2" fmla="*/ 626 w 714"/>
              <a:gd name="T3" fmla="*/ 179 h 715"/>
              <a:gd name="T4" fmla="*/ 573 w 714"/>
              <a:gd name="T5" fmla="*/ 139 h 715"/>
              <a:gd name="T6" fmla="*/ 553 w 714"/>
              <a:gd name="T7" fmla="*/ 94 h 715"/>
              <a:gd name="T8" fmla="*/ 516 w 714"/>
              <a:gd name="T9" fmla="*/ 53 h 715"/>
              <a:gd name="T10" fmla="*/ 421 w 714"/>
              <a:gd name="T11" fmla="*/ 60 h 715"/>
              <a:gd name="T12" fmla="*/ 429 w 714"/>
              <a:gd name="T13" fmla="*/ 26 h 715"/>
              <a:gd name="T14" fmla="*/ 22 w 714"/>
              <a:gd name="T15" fmla="*/ 436 h 715"/>
              <a:gd name="T16" fmla="*/ 39 w 714"/>
              <a:gd name="T17" fmla="*/ 451 h 715"/>
              <a:gd name="T18" fmla="*/ 60 w 714"/>
              <a:gd name="T19" fmla="*/ 465 h 715"/>
              <a:gd name="T20" fmla="*/ 108 w 714"/>
              <a:gd name="T21" fmla="*/ 446 h 715"/>
              <a:gd name="T22" fmla="*/ 102 w 714"/>
              <a:gd name="T23" fmla="*/ 508 h 715"/>
              <a:gd name="T24" fmla="*/ 146 w 714"/>
              <a:gd name="T25" fmla="*/ 552 h 715"/>
              <a:gd name="T26" fmla="*/ 190 w 714"/>
              <a:gd name="T27" fmla="*/ 596 h 715"/>
              <a:gd name="T28" fmla="*/ 214 w 714"/>
              <a:gd name="T29" fmla="*/ 647 h 715"/>
              <a:gd name="T30" fmla="*/ 296 w 714"/>
              <a:gd name="T31" fmla="*/ 709 h 715"/>
              <a:gd name="T32" fmla="*/ 684 w 714"/>
              <a:gd name="T33" fmla="*/ 227 h 715"/>
              <a:gd name="T34" fmla="*/ 434 w 714"/>
              <a:gd name="T35" fmla="*/ 24 h 715"/>
              <a:gd name="T36" fmla="*/ 9 w 714"/>
              <a:gd name="T37" fmla="*/ 371 h 715"/>
              <a:gd name="T38" fmla="*/ 37 w 714"/>
              <a:gd name="T39" fmla="*/ 344 h 715"/>
              <a:gd name="T40" fmla="*/ 45 w 714"/>
              <a:gd name="T41" fmla="*/ 192 h 715"/>
              <a:gd name="T42" fmla="*/ 64 w 714"/>
              <a:gd name="T43" fmla="*/ 419 h 715"/>
              <a:gd name="T44" fmla="*/ 84 w 714"/>
              <a:gd name="T45" fmla="*/ 332 h 715"/>
              <a:gd name="T46" fmla="*/ 87 w 714"/>
              <a:gd name="T47" fmla="*/ 502 h 715"/>
              <a:gd name="T48" fmla="*/ 234 w 714"/>
              <a:gd name="T49" fmla="*/ 679 h 715"/>
              <a:gd name="T50" fmla="*/ 287 w 714"/>
              <a:gd name="T51" fmla="*/ 641 h 715"/>
              <a:gd name="T52" fmla="*/ 303 w 714"/>
              <a:gd name="T53" fmla="*/ 67 h 715"/>
              <a:gd name="T54" fmla="*/ 270 w 714"/>
              <a:gd name="T55" fmla="*/ 571 h 715"/>
              <a:gd name="T56" fmla="*/ 246 w 714"/>
              <a:gd name="T57" fmla="*/ 640 h 715"/>
              <a:gd name="T58" fmla="*/ 249 w 714"/>
              <a:gd name="T59" fmla="*/ 640 h 715"/>
              <a:gd name="T60" fmla="*/ 227 w 714"/>
              <a:gd name="T61" fmla="*/ 527 h 715"/>
              <a:gd name="T62" fmla="*/ 209 w 714"/>
              <a:gd name="T63" fmla="*/ 468 h 715"/>
              <a:gd name="T64" fmla="*/ 178 w 714"/>
              <a:gd name="T65" fmla="*/ 383 h 715"/>
              <a:gd name="T66" fmla="*/ 165 w 714"/>
              <a:gd name="T67" fmla="*/ 345 h 715"/>
              <a:gd name="T68" fmla="*/ 156 w 714"/>
              <a:gd name="T69" fmla="*/ 435 h 715"/>
              <a:gd name="T70" fmla="*/ 132 w 714"/>
              <a:gd name="T71" fmla="*/ 280 h 715"/>
              <a:gd name="T72" fmla="*/ 123 w 714"/>
              <a:gd name="T73" fmla="*/ 474 h 715"/>
              <a:gd name="T74" fmla="*/ 154 w 714"/>
              <a:gd name="T75" fmla="*/ 484 h 715"/>
              <a:gd name="T76" fmla="*/ 189 w 714"/>
              <a:gd name="T77" fmla="*/ 398 h 715"/>
              <a:gd name="T78" fmla="*/ 235 w 714"/>
              <a:gd name="T79" fmla="*/ 592 h 715"/>
              <a:gd name="T80" fmla="*/ 277 w 714"/>
              <a:gd name="T81" fmla="*/ 700 h 715"/>
              <a:gd name="T82" fmla="*/ 335 w 714"/>
              <a:gd name="T83" fmla="*/ 131 h 715"/>
              <a:gd name="T84" fmla="*/ 522 w 714"/>
              <a:gd name="T85" fmla="*/ 181 h 715"/>
              <a:gd name="T86" fmla="*/ 480 w 714"/>
              <a:gd name="T87" fmla="*/ 95 h 715"/>
              <a:gd name="T88" fmla="*/ 502 w 714"/>
              <a:gd name="T89" fmla="*/ 132 h 715"/>
              <a:gd name="T90" fmla="*/ 509 w 714"/>
              <a:gd name="T91" fmla="*/ 36 h 715"/>
              <a:gd name="T92" fmla="*/ 462 w 714"/>
              <a:gd name="T93" fmla="*/ 49 h 715"/>
              <a:gd name="T94" fmla="*/ 406 w 714"/>
              <a:gd name="T95" fmla="*/ 125 h 715"/>
              <a:gd name="T96" fmla="*/ 372 w 714"/>
              <a:gd name="T97" fmla="*/ 610 h 715"/>
              <a:gd name="T98" fmla="*/ 398 w 714"/>
              <a:gd name="T99" fmla="*/ 679 h 715"/>
              <a:gd name="T100" fmla="*/ 454 w 714"/>
              <a:gd name="T101" fmla="*/ 644 h 715"/>
              <a:gd name="T102" fmla="*/ 469 w 714"/>
              <a:gd name="T103" fmla="*/ 168 h 715"/>
              <a:gd name="T104" fmla="*/ 522 w 714"/>
              <a:gd name="T105" fmla="*/ 285 h 715"/>
              <a:gd name="T106" fmla="*/ 585 w 714"/>
              <a:gd name="T107" fmla="*/ 213 h 715"/>
              <a:gd name="T108" fmla="*/ 544 w 714"/>
              <a:gd name="T109" fmla="*/ 168 h 715"/>
              <a:gd name="T110" fmla="*/ 573 w 714"/>
              <a:gd name="T111" fmla="*/ 236 h 715"/>
              <a:gd name="T112" fmla="*/ 595 w 714"/>
              <a:gd name="T113" fmla="*/ 470 h 715"/>
              <a:gd name="T114" fmla="*/ 651 w 714"/>
              <a:gd name="T115" fmla="*/ 272 h 715"/>
              <a:gd name="T116" fmla="*/ 630 w 714"/>
              <a:gd name="T117" fmla="*/ 261 h 715"/>
              <a:gd name="T118" fmla="*/ 615 w 714"/>
              <a:gd name="T119" fmla="*/ 194 h 715"/>
              <a:gd name="T120" fmla="*/ 625 w 714"/>
              <a:gd name="T121" fmla="*/ 381 h 715"/>
              <a:gd name="T122" fmla="*/ 658 w 714"/>
              <a:gd name="T123" fmla="*/ 277 h 715"/>
              <a:gd name="T124" fmla="*/ 686 w 714"/>
              <a:gd name="T125" fmla="*/ 342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14" h="715">
                <a:moveTo>
                  <a:pt x="710" y="304"/>
                </a:moveTo>
                <a:cubicBezTo>
                  <a:pt x="710" y="305"/>
                  <a:pt x="710" y="305"/>
                  <a:pt x="709" y="305"/>
                </a:cubicBezTo>
                <a:cubicBezTo>
                  <a:pt x="709" y="304"/>
                  <a:pt x="710" y="303"/>
                  <a:pt x="710" y="303"/>
                </a:cubicBezTo>
                <a:cubicBezTo>
                  <a:pt x="710" y="303"/>
                  <a:pt x="710" y="303"/>
                  <a:pt x="710" y="303"/>
                </a:cubicBezTo>
                <a:cubicBezTo>
                  <a:pt x="709" y="297"/>
                  <a:pt x="708" y="292"/>
                  <a:pt x="707" y="286"/>
                </a:cubicBezTo>
                <a:cubicBezTo>
                  <a:pt x="707" y="287"/>
                  <a:pt x="707" y="288"/>
                  <a:pt x="706" y="290"/>
                </a:cubicBezTo>
                <a:cubicBezTo>
                  <a:pt x="706" y="289"/>
                  <a:pt x="707" y="289"/>
                  <a:pt x="707" y="289"/>
                </a:cubicBezTo>
                <a:cubicBezTo>
                  <a:pt x="707" y="290"/>
                  <a:pt x="706" y="290"/>
                  <a:pt x="706" y="290"/>
                </a:cubicBezTo>
                <a:cubicBezTo>
                  <a:pt x="706" y="292"/>
                  <a:pt x="706" y="294"/>
                  <a:pt x="705" y="295"/>
                </a:cubicBezTo>
                <a:cubicBezTo>
                  <a:pt x="703" y="298"/>
                  <a:pt x="703" y="301"/>
                  <a:pt x="703" y="301"/>
                </a:cubicBezTo>
                <a:cubicBezTo>
                  <a:pt x="702" y="302"/>
                  <a:pt x="700" y="300"/>
                  <a:pt x="699" y="300"/>
                </a:cubicBezTo>
                <a:cubicBezTo>
                  <a:pt x="697" y="301"/>
                  <a:pt x="697" y="303"/>
                  <a:pt x="696" y="300"/>
                </a:cubicBezTo>
                <a:cubicBezTo>
                  <a:pt x="696" y="299"/>
                  <a:pt x="696" y="301"/>
                  <a:pt x="695" y="298"/>
                </a:cubicBezTo>
                <a:cubicBezTo>
                  <a:pt x="695" y="297"/>
                  <a:pt x="697" y="291"/>
                  <a:pt x="700" y="292"/>
                </a:cubicBezTo>
                <a:cubicBezTo>
                  <a:pt x="701" y="293"/>
                  <a:pt x="702" y="295"/>
                  <a:pt x="703" y="292"/>
                </a:cubicBezTo>
                <a:cubicBezTo>
                  <a:pt x="703" y="291"/>
                  <a:pt x="703" y="290"/>
                  <a:pt x="703" y="289"/>
                </a:cubicBezTo>
                <a:cubicBezTo>
                  <a:pt x="703" y="287"/>
                  <a:pt x="705" y="284"/>
                  <a:pt x="706" y="282"/>
                </a:cubicBezTo>
                <a:cubicBezTo>
                  <a:pt x="705" y="276"/>
                  <a:pt x="704" y="270"/>
                  <a:pt x="702" y="264"/>
                </a:cubicBezTo>
                <a:cubicBezTo>
                  <a:pt x="701" y="268"/>
                  <a:pt x="695" y="273"/>
                  <a:pt x="691" y="270"/>
                </a:cubicBezTo>
                <a:cubicBezTo>
                  <a:pt x="691" y="271"/>
                  <a:pt x="691" y="270"/>
                  <a:pt x="690" y="270"/>
                </a:cubicBezTo>
                <a:cubicBezTo>
                  <a:pt x="690" y="270"/>
                  <a:pt x="690" y="270"/>
                  <a:pt x="690" y="270"/>
                </a:cubicBezTo>
                <a:cubicBezTo>
                  <a:pt x="690" y="271"/>
                  <a:pt x="690" y="270"/>
                  <a:pt x="690" y="270"/>
                </a:cubicBezTo>
                <a:cubicBezTo>
                  <a:pt x="690" y="270"/>
                  <a:pt x="690" y="270"/>
                  <a:pt x="690" y="269"/>
                </a:cubicBezTo>
                <a:cubicBezTo>
                  <a:pt x="689" y="270"/>
                  <a:pt x="688" y="271"/>
                  <a:pt x="688" y="271"/>
                </a:cubicBezTo>
                <a:cubicBezTo>
                  <a:pt x="686" y="270"/>
                  <a:pt x="686" y="273"/>
                  <a:pt x="685" y="274"/>
                </a:cubicBezTo>
                <a:cubicBezTo>
                  <a:pt x="684" y="274"/>
                  <a:pt x="682" y="273"/>
                  <a:pt x="682" y="275"/>
                </a:cubicBezTo>
                <a:cubicBezTo>
                  <a:pt x="681" y="270"/>
                  <a:pt x="674" y="279"/>
                  <a:pt x="674" y="281"/>
                </a:cubicBezTo>
                <a:cubicBezTo>
                  <a:pt x="675" y="280"/>
                  <a:pt x="681" y="280"/>
                  <a:pt x="680" y="280"/>
                </a:cubicBezTo>
                <a:cubicBezTo>
                  <a:pt x="680" y="280"/>
                  <a:pt x="681" y="280"/>
                  <a:pt x="681" y="280"/>
                </a:cubicBezTo>
                <a:cubicBezTo>
                  <a:pt x="681" y="280"/>
                  <a:pt x="681" y="280"/>
                  <a:pt x="681" y="280"/>
                </a:cubicBezTo>
                <a:cubicBezTo>
                  <a:pt x="681" y="279"/>
                  <a:pt x="682" y="278"/>
                  <a:pt x="682" y="279"/>
                </a:cubicBezTo>
                <a:cubicBezTo>
                  <a:pt x="684" y="280"/>
                  <a:pt x="681" y="280"/>
                  <a:pt x="681" y="281"/>
                </a:cubicBezTo>
                <a:cubicBezTo>
                  <a:pt x="681" y="282"/>
                  <a:pt x="681" y="282"/>
                  <a:pt x="681" y="282"/>
                </a:cubicBezTo>
                <a:cubicBezTo>
                  <a:pt x="682" y="282"/>
                  <a:pt x="683" y="282"/>
                  <a:pt x="683" y="284"/>
                </a:cubicBezTo>
                <a:cubicBezTo>
                  <a:pt x="683" y="284"/>
                  <a:pt x="683" y="284"/>
                  <a:pt x="683" y="284"/>
                </a:cubicBezTo>
                <a:cubicBezTo>
                  <a:pt x="683" y="284"/>
                  <a:pt x="684" y="285"/>
                  <a:pt x="684" y="286"/>
                </a:cubicBezTo>
                <a:cubicBezTo>
                  <a:pt x="684" y="286"/>
                  <a:pt x="681" y="289"/>
                  <a:pt x="681" y="290"/>
                </a:cubicBezTo>
                <a:cubicBezTo>
                  <a:pt x="680" y="290"/>
                  <a:pt x="679" y="295"/>
                  <a:pt x="678" y="295"/>
                </a:cubicBezTo>
                <a:cubicBezTo>
                  <a:pt x="676" y="295"/>
                  <a:pt x="679" y="293"/>
                  <a:pt x="677" y="292"/>
                </a:cubicBezTo>
                <a:cubicBezTo>
                  <a:pt x="677" y="291"/>
                  <a:pt x="675" y="293"/>
                  <a:pt x="674" y="293"/>
                </a:cubicBezTo>
                <a:cubicBezTo>
                  <a:pt x="673" y="292"/>
                  <a:pt x="674" y="291"/>
                  <a:pt x="673" y="290"/>
                </a:cubicBezTo>
                <a:cubicBezTo>
                  <a:pt x="673" y="290"/>
                  <a:pt x="671" y="292"/>
                  <a:pt x="670" y="290"/>
                </a:cubicBezTo>
                <a:cubicBezTo>
                  <a:pt x="669" y="288"/>
                  <a:pt x="672" y="289"/>
                  <a:pt x="672" y="288"/>
                </a:cubicBezTo>
                <a:cubicBezTo>
                  <a:pt x="672" y="287"/>
                  <a:pt x="671" y="287"/>
                  <a:pt x="671" y="287"/>
                </a:cubicBezTo>
                <a:cubicBezTo>
                  <a:pt x="671" y="286"/>
                  <a:pt x="672" y="285"/>
                  <a:pt x="672" y="283"/>
                </a:cubicBezTo>
                <a:cubicBezTo>
                  <a:pt x="672" y="283"/>
                  <a:pt x="672" y="282"/>
                  <a:pt x="672" y="282"/>
                </a:cubicBezTo>
                <a:cubicBezTo>
                  <a:pt x="673" y="279"/>
                  <a:pt x="678" y="276"/>
                  <a:pt x="677" y="271"/>
                </a:cubicBezTo>
                <a:cubicBezTo>
                  <a:pt x="676" y="270"/>
                  <a:pt x="675" y="271"/>
                  <a:pt x="674" y="272"/>
                </a:cubicBezTo>
                <a:cubicBezTo>
                  <a:pt x="675" y="269"/>
                  <a:pt x="676" y="260"/>
                  <a:pt x="681" y="259"/>
                </a:cubicBezTo>
                <a:cubicBezTo>
                  <a:pt x="681" y="259"/>
                  <a:pt x="684" y="259"/>
                  <a:pt x="685" y="259"/>
                </a:cubicBezTo>
                <a:cubicBezTo>
                  <a:pt x="685" y="259"/>
                  <a:pt x="686" y="260"/>
                  <a:pt x="687" y="261"/>
                </a:cubicBezTo>
                <a:cubicBezTo>
                  <a:pt x="687" y="261"/>
                  <a:pt x="687" y="261"/>
                  <a:pt x="688" y="261"/>
                </a:cubicBezTo>
                <a:cubicBezTo>
                  <a:pt x="688" y="261"/>
                  <a:pt x="688" y="261"/>
                  <a:pt x="688" y="261"/>
                </a:cubicBezTo>
                <a:cubicBezTo>
                  <a:pt x="688" y="262"/>
                  <a:pt x="688" y="262"/>
                  <a:pt x="689" y="262"/>
                </a:cubicBezTo>
                <a:cubicBezTo>
                  <a:pt x="690" y="261"/>
                  <a:pt x="691" y="259"/>
                  <a:pt x="692" y="258"/>
                </a:cubicBezTo>
                <a:cubicBezTo>
                  <a:pt x="691" y="257"/>
                  <a:pt x="690" y="258"/>
                  <a:pt x="689" y="259"/>
                </a:cubicBezTo>
                <a:cubicBezTo>
                  <a:pt x="689" y="258"/>
                  <a:pt x="689" y="258"/>
                  <a:pt x="689" y="258"/>
                </a:cubicBezTo>
                <a:cubicBezTo>
                  <a:pt x="688" y="258"/>
                  <a:pt x="687" y="258"/>
                  <a:pt x="687" y="257"/>
                </a:cubicBezTo>
                <a:cubicBezTo>
                  <a:pt x="686" y="256"/>
                  <a:pt x="688" y="256"/>
                  <a:pt x="688" y="256"/>
                </a:cubicBezTo>
                <a:cubicBezTo>
                  <a:pt x="689" y="254"/>
                  <a:pt x="687" y="255"/>
                  <a:pt x="688" y="253"/>
                </a:cubicBezTo>
                <a:cubicBezTo>
                  <a:pt x="689" y="252"/>
                  <a:pt x="692" y="252"/>
                  <a:pt x="692" y="251"/>
                </a:cubicBezTo>
                <a:cubicBezTo>
                  <a:pt x="692" y="251"/>
                  <a:pt x="692" y="250"/>
                  <a:pt x="692" y="250"/>
                </a:cubicBezTo>
                <a:cubicBezTo>
                  <a:pt x="692" y="250"/>
                  <a:pt x="691" y="249"/>
                  <a:pt x="691" y="249"/>
                </a:cubicBezTo>
                <a:cubicBezTo>
                  <a:pt x="691" y="249"/>
                  <a:pt x="692" y="247"/>
                  <a:pt x="691" y="246"/>
                </a:cubicBezTo>
                <a:cubicBezTo>
                  <a:pt x="690" y="245"/>
                  <a:pt x="690" y="246"/>
                  <a:pt x="690" y="246"/>
                </a:cubicBezTo>
                <a:cubicBezTo>
                  <a:pt x="689" y="246"/>
                  <a:pt x="688" y="242"/>
                  <a:pt x="688" y="242"/>
                </a:cubicBezTo>
                <a:cubicBezTo>
                  <a:pt x="689" y="240"/>
                  <a:pt x="691" y="242"/>
                  <a:pt x="693" y="241"/>
                </a:cubicBezTo>
                <a:cubicBezTo>
                  <a:pt x="692" y="241"/>
                  <a:pt x="693" y="239"/>
                  <a:pt x="694" y="239"/>
                </a:cubicBezTo>
                <a:cubicBezTo>
                  <a:pt x="693" y="235"/>
                  <a:pt x="691" y="231"/>
                  <a:pt x="690" y="227"/>
                </a:cubicBezTo>
                <a:cubicBezTo>
                  <a:pt x="690" y="227"/>
                  <a:pt x="689" y="227"/>
                  <a:pt x="689" y="227"/>
                </a:cubicBezTo>
                <a:cubicBezTo>
                  <a:pt x="688" y="227"/>
                  <a:pt x="689" y="225"/>
                  <a:pt x="688" y="224"/>
                </a:cubicBezTo>
                <a:cubicBezTo>
                  <a:pt x="688" y="223"/>
                  <a:pt x="688" y="223"/>
                  <a:pt x="688" y="223"/>
                </a:cubicBezTo>
                <a:cubicBezTo>
                  <a:pt x="688" y="222"/>
                  <a:pt x="688" y="222"/>
                  <a:pt x="688" y="221"/>
                </a:cubicBezTo>
                <a:cubicBezTo>
                  <a:pt x="685" y="222"/>
                  <a:pt x="682" y="222"/>
                  <a:pt x="681" y="222"/>
                </a:cubicBezTo>
                <a:cubicBezTo>
                  <a:pt x="679" y="222"/>
                  <a:pt x="680" y="219"/>
                  <a:pt x="678" y="220"/>
                </a:cubicBezTo>
                <a:cubicBezTo>
                  <a:pt x="680" y="218"/>
                  <a:pt x="676" y="218"/>
                  <a:pt x="676" y="216"/>
                </a:cubicBezTo>
                <a:cubicBezTo>
                  <a:pt x="675" y="215"/>
                  <a:pt x="677" y="215"/>
                  <a:pt x="677" y="215"/>
                </a:cubicBezTo>
                <a:cubicBezTo>
                  <a:pt x="678" y="214"/>
                  <a:pt x="676" y="213"/>
                  <a:pt x="677" y="212"/>
                </a:cubicBezTo>
                <a:cubicBezTo>
                  <a:pt x="677" y="212"/>
                  <a:pt x="677" y="212"/>
                  <a:pt x="677" y="212"/>
                </a:cubicBezTo>
                <a:cubicBezTo>
                  <a:pt x="676" y="212"/>
                  <a:pt x="675" y="210"/>
                  <a:pt x="675" y="209"/>
                </a:cubicBezTo>
                <a:cubicBezTo>
                  <a:pt x="674" y="209"/>
                  <a:pt x="674" y="209"/>
                  <a:pt x="673" y="209"/>
                </a:cubicBezTo>
                <a:cubicBezTo>
                  <a:pt x="674" y="210"/>
                  <a:pt x="674" y="210"/>
                  <a:pt x="674" y="211"/>
                </a:cubicBezTo>
                <a:cubicBezTo>
                  <a:pt x="674" y="212"/>
                  <a:pt x="674" y="212"/>
                  <a:pt x="673" y="213"/>
                </a:cubicBezTo>
                <a:cubicBezTo>
                  <a:pt x="673" y="214"/>
                  <a:pt x="673" y="214"/>
                  <a:pt x="673" y="215"/>
                </a:cubicBezTo>
                <a:cubicBezTo>
                  <a:pt x="673" y="215"/>
                  <a:pt x="673" y="215"/>
                  <a:pt x="673" y="215"/>
                </a:cubicBezTo>
                <a:cubicBezTo>
                  <a:pt x="673" y="215"/>
                  <a:pt x="672" y="216"/>
                  <a:pt x="672" y="216"/>
                </a:cubicBezTo>
                <a:cubicBezTo>
                  <a:pt x="671" y="217"/>
                  <a:pt x="669" y="218"/>
                  <a:pt x="669" y="220"/>
                </a:cubicBezTo>
                <a:cubicBezTo>
                  <a:pt x="670" y="217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7" y="219"/>
                </a:cubicBezTo>
                <a:cubicBezTo>
                  <a:pt x="668" y="220"/>
                  <a:pt x="668" y="224"/>
                  <a:pt x="667" y="225"/>
                </a:cubicBezTo>
                <a:cubicBezTo>
                  <a:pt x="667" y="225"/>
                  <a:pt x="667" y="224"/>
                  <a:pt x="666" y="224"/>
                </a:cubicBezTo>
                <a:cubicBezTo>
                  <a:pt x="665" y="225"/>
                  <a:pt x="663" y="228"/>
                  <a:pt x="660" y="228"/>
                </a:cubicBezTo>
                <a:cubicBezTo>
                  <a:pt x="661" y="226"/>
                  <a:pt x="663" y="226"/>
                  <a:pt x="663" y="225"/>
                </a:cubicBezTo>
                <a:cubicBezTo>
                  <a:pt x="663" y="224"/>
                  <a:pt x="662" y="225"/>
                  <a:pt x="661" y="224"/>
                </a:cubicBezTo>
                <a:cubicBezTo>
                  <a:pt x="660" y="223"/>
                  <a:pt x="662" y="219"/>
                  <a:pt x="665" y="218"/>
                </a:cubicBezTo>
                <a:cubicBezTo>
                  <a:pt x="665" y="217"/>
                  <a:pt x="665" y="216"/>
                  <a:pt x="665" y="216"/>
                </a:cubicBezTo>
                <a:cubicBezTo>
                  <a:pt x="665" y="215"/>
                  <a:pt x="664" y="215"/>
                  <a:pt x="664" y="215"/>
                </a:cubicBezTo>
                <a:cubicBezTo>
                  <a:pt x="663" y="217"/>
                  <a:pt x="661" y="218"/>
                  <a:pt x="660" y="220"/>
                </a:cubicBezTo>
                <a:cubicBezTo>
                  <a:pt x="660" y="221"/>
                  <a:pt x="661" y="222"/>
                  <a:pt x="660" y="223"/>
                </a:cubicBezTo>
                <a:cubicBezTo>
                  <a:pt x="660" y="223"/>
                  <a:pt x="659" y="224"/>
                  <a:pt x="659" y="225"/>
                </a:cubicBezTo>
                <a:cubicBezTo>
                  <a:pt x="659" y="226"/>
                  <a:pt x="661" y="225"/>
                  <a:pt x="660" y="226"/>
                </a:cubicBezTo>
                <a:cubicBezTo>
                  <a:pt x="660" y="227"/>
                  <a:pt x="659" y="228"/>
                  <a:pt x="659" y="227"/>
                </a:cubicBezTo>
                <a:cubicBezTo>
                  <a:pt x="658" y="227"/>
                  <a:pt x="658" y="225"/>
                  <a:pt x="657" y="224"/>
                </a:cubicBezTo>
                <a:cubicBezTo>
                  <a:pt x="657" y="223"/>
                  <a:pt x="656" y="224"/>
                  <a:pt x="655" y="223"/>
                </a:cubicBezTo>
                <a:cubicBezTo>
                  <a:pt x="653" y="223"/>
                  <a:pt x="653" y="221"/>
                  <a:pt x="650" y="224"/>
                </a:cubicBezTo>
                <a:cubicBezTo>
                  <a:pt x="653" y="220"/>
                  <a:pt x="649" y="222"/>
                  <a:pt x="648" y="221"/>
                </a:cubicBezTo>
                <a:cubicBezTo>
                  <a:pt x="648" y="222"/>
                  <a:pt x="647" y="215"/>
                  <a:pt x="647" y="215"/>
                </a:cubicBezTo>
                <a:cubicBezTo>
                  <a:pt x="647" y="214"/>
                  <a:pt x="648" y="211"/>
                  <a:pt x="648" y="209"/>
                </a:cubicBezTo>
                <a:cubicBezTo>
                  <a:pt x="648" y="210"/>
                  <a:pt x="648" y="210"/>
                  <a:pt x="647" y="210"/>
                </a:cubicBezTo>
                <a:cubicBezTo>
                  <a:pt x="647" y="210"/>
                  <a:pt x="647" y="209"/>
                  <a:pt x="648" y="208"/>
                </a:cubicBezTo>
                <a:cubicBezTo>
                  <a:pt x="648" y="208"/>
                  <a:pt x="648" y="208"/>
                  <a:pt x="648" y="208"/>
                </a:cubicBezTo>
                <a:cubicBezTo>
                  <a:pt x="647" y="208"/>
                  <a:pt x="647" y="209"/>
                  <a:pt x="647" y="209"/>
                </a:cubicBezTo>
                <a:cubicBezTo>
                  <a:pt x="647" y="209"/>
                  <a:pt x="647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4" y="211"/>
                  <a:pt x="639" y="212"/>
                  <a:pt x="635" y="212"/>
                </a:cubicBezTo>
                <a:cubicBezTo>
                  <a:pt x="635" y="213"/>
                  <a:pt x="635" y="214"/>
                  <a:pt x="635" y="214"/>
                </a:cubicBezTo>
                <a:cubicBezTo>
                  <a:pt x="634" y="214"/>
                  <a:pt x="634" y="213"/>
                  <a:pt x="634" y="212"/>
                </a:cubicBezTo>
                <a:cubicBezTo>
                  <a:pt x="633" y="212"/>
                  <a:pt x="633" y="212"/>
                  <a:pt x="633" y="212"/>
                </a:cubicBezTo>
                <a:cubicBezTo>
                  <a:pt x="633" y="211"/>
                  <a:pt x="633" y="210"/>
                  <a:pt x="635" y="210"/>
                </a:cubicBezTo>
                <a:cubicBezTo>
                  <a:pt x="634" y="210"/>
                  <a:pt x="634" y="209"/>
                  <a:pt x="634" y="209"/>
                </a:cubicBezTo>
                <a:cubicBezTo>
                  <a:pt x="633" y="208"/>
                  <a:pt x="634" y="207"/>
                  <a:pt x="635" y="206"/>
                </a:cubicBezTo>
                <a:cubicBezTo>
                  <a:pt x="634" y="205"/>
                  <a:pt x="634" y="204"/>
                  <a:pt x="635" y="203"/>
                </a:cubicBezTo>
                <a:cubicBezTo>
                  <a:pt x="636" y="203"/>
                  <a:pt x="636" y="203"/>
                  <a:pt x="637" y="203"/>
                </a:cubicBezTo>
                <a:cubicBezTo>
                  <a:pt x="637" y="202"/>
                  <a:pt x="636" y="202"/>
                  <a:pt x="635" y="203"/>
                </a:cubicBezTo>
                <a:cubicBezTo>
                  <a:pt x="634" y="203"/>
                  <a:pt x="632" y="206"/>
                  <a:pt x="632" y="206"/>
                </a:cubicBezTo>
                <a:cubicBezTo>
                  <a:pt x="632" y="207"/>
                  <a:pt x="632" y="207"/>
                  <a:pt x="633" y="207"/>
                </a:cubicBezTo>
                <a:cubicBezTo>
                  <a:pt x="629" y="209"/>
                  <a:pt x="629" y="201"/>
                  <a:pt x="631" y="201"/>
                </a:cubicBezTo>
                <a:cubicBezTo>
                  <a:pt x="631" y="201"/>
                  <a:pt x="632" y="203"/>
                  <a:pt x="632" y="203"/>
                </a:cubicBezTo>
                <a:cubicBezTo>
                  <a:pt x="633" y="203"/>
                  <a:pt x="636" y="199"/>
                  <a:pt x="638" y="198"/>
                </a:cubicBezTo>
                <a:cubicBezTo>
                  <a:pt x="638" y="198"/>
                  <a:pt x="638" y="197"/>
                  <a:pt x="639" y="197"/>
                </a:cubicBezTo>
                <a:cubicBezTo>
                  <a:pt x="639" y="196"/>
                  <a:pt x="637" y="195"/>
                  <a:pt x="637" y="194"/>
                </a:cubicBezTo>
                <a:cubicBezTo>
                  <a:pt x="637" y="193"/>
                  <a:pt x="639" y="193"/>
                  <a:pt x="639" y="193"/>
                </a:cubicBezTo>
                <a:cubicBezTo>
                  <a:pt x="639" y="192"/>
                  <a:pt x="640" y="189"/>
                  <a:pt x="639" y="189"/>
                </a:cubicBezTo>
                <a:cubicBezTo>
                  <a:pt x="639" y="188"/>
                  <a:pt x="637" y="189"/>
                  <a:pt x="638" y="190"/>
                </a:cubicBezTo>
                <a:cubicBezTo>
                  <a:pt x="638" y="190"/>
                  <a:pt x="636" y="188"/>
                  <a:pt x="637" y="187"/>
                </a:cubicBezTo>
                <a:cubicBezTo>
                  <a:pt x="637" y="187"/>
                  <a:pt x="637" y="187"/>
                  <a:pt x="637" y="187"/>
                </a:cubicBezTo>
                <a:cubicBezTo>
                  <a:pt x="637" y="186"/>
                  <a:pt x="637" y="186"/>
                  <a:pt x="636" y="186"/>
                </a:cubicBezTo>
                <a:cubicBezTo>
                  <a:pt x="636" y="187"/>
                  <a:pt x="636" y="188"/>
                  <a:pt x="636" y="188"/>
                </a:cubicBezTo>
                <a:cubicBezTo>
                  <a:pt x="636" y="188"/>
                  <a:pt x="636" y="188"/>
                  <a:pt x="637" y="188"/>
                </a:cubicBezTo>
                <a:cubicBezTo>
                  <a:pt x="637" y="189"/>
                  <a:pt x="637" y="189"/>
                  <a:pt x="636" y="189"/>
                </a:cubicBezTo>
                <a:cubicBezTo>
                  <a:pt x="637" y="190"/>
                  <a:pt x="636" y="191"/>
                  <a:pt x="635" y="190"/>
                </a:cubicBezTo>
                <a:cubicBezTo>
                  <a:pt x="635" y="190"/>
                  <a:pt x="635" y="190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4" y="190"/>
                  <a:pt x="633" y="190"/>
                  <a:pt x="632" y="189"/>
                </a:cubicBezTo>
                <a:cubicBezTo>
                  <a:pt x="631" y="188"/>
                  <a:pt x="631" y="186"/>
                  <a:pt x="632" y="185"/>
                </a:cubicBezTo>
                <a:cubicBezTo>
                  <a:pt x="632" y="185"/>
                  <a:pt x="632" y="185"/>
                  <a:pt x="631" y="185"/>
                </a:cubicBezTo>
                <a:cubicBezTo>
                  <a:pt x="630" y="186"/>
                  <a:pt x="632" y="185"/>
                  <a:pt x="631" y="184"/>
                </a:cubicBezTo>
                <a:cubicBezTo>
                  <a:pt x="630" y="184"/>
                  <a:pt x="630" y="185"/>
                  <a:pt x="630" y="185"/>
                </a:cubicBezTo>
                <a:cubicBezTo>
                  <a:pt x="629" y="185"/>
                  <a:pt x="630" y="185"/>
                  <a:pt x="630" y="185"/>
                </a:cubicBezTo>
                <a:cubicBezTo>
                  <a:pt x="629" y="185"/>
                  <a:pt x="629" y="186"/>
                  <a:pt x="628" y="185"/>
                </a:cubicBezTo>
                <a:cubicBezTo>
                  <a:pt x="625" y="185"/>
                  <a:pt x="628" y="181"/>
                  <a:pt x="626" y="179"/>
                </a:cubicBezTo>
                <a:cubicBezTo>
                  <a:pt x="625" y="180"/>
                  <a:pt x="624" y="180"/>
                  <a:pt x="624" y="180"/>
                </a:cubicBezTo>
                <a:cubicBezTo>
                  <a:pt x="623" y="181"/>
                  <a:pt x="623" y="182"/>
                  <a:pt x="623" y="183"/>
                </a:cubicBezTo>
                <a:cubicBezTo>
                  <a:pt x="624" y="184"/>
                  <a:pt x="625" y="185"/>
                  <a:pt x="624" y="186"/>
                </a:cubicBezTo>
                <a:cubicBezTo>
                  <a:pt x="624" y="191"/>
                  <a:pt x="618" y="190"/>
                  <a:pt x="617" y="188"/>
                </a:cubicBezTo>
                <a:cubicBezTo>
                  <a:pt x="616" y="188"/>
                  <a:pt x="615" y="188"/>
                  <a:pt x="615" y="189"/>
                </a:cubicBezTo>
                <a:cubicBezTo>
                  <a:pt x="615" y="189"/>
                  <a:pt x="616" y="188"/>
                  <a:pt x="615" y="188"/>
                </a:cubicBezTo>
                <a:cubicBezTo>
                  <a:pt x="614" y="189"/>
                  <a:pt x="612" y="190"/>
                  <a:pt x="610" y="190"/>
                </a:cubicBezTo>
                <a:cubicBezTo>
                  <a:pt x="609" y="191"/>
                  <a:pt x="607" y="191"/>
                  <a:pt x="607" y="191"/>
                </a:cubicBezTo>
                <a:cubicBezTo>
                  <a:pt x="607" y="190"/>
                  <a:pt x="608" y="190"/>
                  <a:pt x="609" y="189"/>
                </a:cubicBezTo>
                <a:cubicBezTo>
                  <a:pt x="609" y="189"/>
                  <a:pt x="608" y="189"/>
                  <a:pt x="608" y="189"/>
                </a:cubicBezTo>
                <a:cubicBezTo>
                  <a:pt x="608" y="188"/>
                  <a:pt x="607" y="187"/>
                  <a:pt x="607" y="186"/>
                </a:cubicBezTo>
                <a:cubicBezTo>
                  <a:pt x="606" y="186"/>
                  <a:pt x="604" y="186"/>
                  <a:pt x="605" y="183"/>
                </a:cubicBezTo>
                <a:cubicBezTo>
                  <a:pt x="606" y="181"/>
                  <a:pt x="605" y="180"/>
                  <a:pt x="605" y="179"/>
                </a:cubicBezTo>
                <a:cubicBezTo>
                  <a:pt x="605" y="179"/>
                  <a:pt x="606" y="178"/>
                  <a:pt x="605" y="177"/>
                </a:cubicBezTo>
                <a:cubicBezTo>
                  <a:pt x="604" y="179"/>
                  <a:pt x="603" y="181"/>
                  <a:pt x="601" y="183"/>
                </a:cubicBezTo>
                <a:cubicBezTo>
                  <a:pt x="604" y="184"/>
                  <a:pt x="606" y="186"/>
                  <a:pt x="602" y="189"/>
                </a:cubicBezTo>
                <a:cubicBezTo>
                  <a:pt x="602" y="189"/>
                  <a:pt x="601" y="189"/>
                  <a:pt x="600" y="190"/>
                </a:cubicBezTo>
                <a:cubicBezTo>
                  <a:pt x="602" y="190"/>
                  <a:pt x="602" y="194"/>
                  <a:pt x="599" y="193"/>
                </a:cubicBezTo>
                <a:cubicBezTo>
                  <a:pt x="598" y="192"/>
                  <a:pt x="599" y="191"/>
                  <a:pt x="599" y="191"/>
                </a:cubicBezTo>
                <a:cubicBezTo>
                  <a:pt x="600" y="190"/>
                  <a:pt x="600" y="190"/>
                  <a:pt x="600" y="190"/>
                </a:cubicBezTo>
                <a:cubicBezTo>
                  <a:pt x="598" y="190"/>
                  <a:pt x="596" y="191"/>
                  <a:pt x="595" y="192"/>
                </a:cubicBezTo>
                <a:cubicBezTo>
                  <a:pt x="593" y="194"/>
                  <a:pt x="594" y="195"/>
                  <a:pt x="592" y="194"/>
                </a:cubicBezTo>
                <a:cubicBezTo>
                  <a:pt x="592" y="193"/>
                  <a:pt x="591" y="192"/>
                  <a:pt x="590" y="193"/>
                </a:cubicBezTo>
                <a:cubicBezTo>
                  <a:pt x="590" y="193"/>
                  <a:pt x="587" y="198"/>
                  <a:pt x="587" y="195"/>
                </a:cubicBezTo>
                <a:cubicBezTo>
                  <a:pt x="587" y="194"/>
                  <a:pt x="588" y="194"/>
                  <a:pt x="588" y="194"/>
                </a:cubicBezTo>
                <a:cubicBezTo>
                  <a:pt x="587" y="193"/>
                  <a:pt x="584" y="194"/>
                  <a:pt x="583" y="193"/>
                </a:cubicBezTo>
                <a:cubicBezTo>
                  <a:pt x="583" y="192"/>
                  <a:pt x="587" y="190"/>
                  <a:pt x="584" y="189"/>
                </a:cubicBezTo>
                <a:cubicBezTo>
                  <a:pt x="583" y="188"/>
                  <a:pt x="583" y="188"/>
                  <a:pt x="583" y="188"/>
                </a:cubicBezTo>
                <a:cubicBezTo>
                  <a:pt x="583" y="188"/>
                  <a:pt x="583" y="188"/>
                  <a:pt x="583" y="187"/>
                </a:cubicBezTo>
                <a:cubicBezTo>
                  <a:pt x="584" y="186"/>
                  <a:pt x="584" y="185"/>
                  <a:pt x="583" y="185"/>
                </a:cubicBezTo>
                <a:cubicBezTo>
                  <a:pt x="582" y="186"/>
                  <a:pt x="581" y="186"/>
                  <a:pt x="580" y="185"/>
                </a:cubicBezTo>
                <a:cubicBezTo>
                  <a:pt x="580" y="184"/>
                  <a:pt x="581" y="184"/>
                  <a:pt x="581" y="183"/>
                </a:cubicBezTo>
                <a:cubicBezTo>
                  <a:pt x="582" y="183"/>
                  <a:pt x="582" y="183"/>
                  <a:pt x="582" y="183"/>
                </a:cubicBezTo>
                <a:cubicBezTo>
                  <a:pt x="581" y="182"/>
                  <a:pt x="580" y="182"/>
                  <a:pt x="579" y="182"/>
                </a:cubicBezTo>
                <a:cubicBezTo>
                  <a:pt x="578" y="181"/>
                  <a:pt x="580" y="179"/>
                  <a:pt x="580" y="178"/>
                </a:cubicBezTo>
                <a:cubicBezTo>
                  <a:pt x="578" y="176"/>
                  <a:pt x="577" y="179"/>
                  <a:pt x="574" y="179"/>
                </a:cubicBezTo>
                <a:cubicBezTo>
                  <a:pt x="574" y="179"/>
                  <a:pt x="572" y="177"/>
                  <a:pt x="570" y="179"/>
                </a:cubicBezTo>
                <a:cubicBezTo>
                  <a:pt x="569" y="180"/>
                  <a:pt x="571" y="182"/>
                  <a:pt x="568" y="184"/>
                </a:cubicBezTo>
                <a:cubicBezTo>
                  <a:pt x="567" y="184"/>
                  <a:pt x="562" y="186"/>
                  <a:pt x="562" y="185"/>
                </a:cubicBezTo>
                <a:cubicBezTo>
                  <a:pt x="561" y="184"/>
                  <a:pt x="563" y="184"/>
                  <a:pt x="563" y="184"/>
                </a:cubicBezTo>
                <a:cubicBezTo>
                  <a:pt x="564" y="182"/>
                  <a:pt x="562" y="180"/>
                  <a:pt x="562" y="181"/>
                </a:cubicBezTo>
                <a:cubicBezTo>
                  <a:pt x="563" y="179"/>
                  <a:pt x="565" y="179"/>
                  <a:pt x="565" y="178"/>
                </a:cubicBezTo>
                <a:cubicBezTo>
                  <a:pt x="565" y="178"/>
                  <a:pt x="565" y="178"/>
                  <a:pt x="564" y="178"/>
                </a:cubicBezTo>
                <a:cubicBezTo>
                  <a:pt x="564" y="177"/>
                  <a:pt x="565" y="177"/>
                  <a:pt x="565" y="177"/>
                </a:cubicBezTo>
                <a:cubicBezTo>
                  <a:pt x="565" y="176"/>
                  <a:pt x="564" y="174"/>
                  <a:pt x="565" y="173"/>
                </a:cubicBezTo>
                <a:cubicBezTo>
                  <a:pt x="565" y="173"/>
                  <a:pt x="565" y="173"/>
                  <a:pt x="565" y="173"/>
                </a:cubicBezTo>
                <a:cubicBezTo>
                  <a:pt x="565" y="173"/>
                  <a:pt x="565" y="172"/>
                  <a:pt x="565" y="172"/>
                </a:cubicBezTo>
                <a:cubicBezTo>
                  <a:pt x="564" y="172"/>
                  <a:pt x="564" y="171"/>
                  <a:pt x="566" y="170"/>
                </a:cubicBezTo>
                <a:cubicBezTo>
                  <a:pt x="566" y="170"/>
                  <a:pt x="566" y="170"/>
                  <a:pt x="566" y="170"/>
                </a:cubicBezTo>
                <a:cubicBezTo>
                  <a:pt x="566" y="170"/>
                  <a:pt x="565" y="170"/>
                  <a:pt x="565" y="170"/>
                </a:cubicBezTo>
                <a:cubicBezTo>
                  <a:pt x="564" y="170"/>
                  <a:pt x="563" y="170"/>
                  <a:pt x="563" y="169"/>
                </a:cubicBezTo>
                <a:cubicBezTo>
                  <a:pt x="562" y="169"/>
                  <a:pt x="562" y="169"/>
                  <a:pt x="562" y="169"/>
                </a:cubicBezTo>
                <a:cubicBezTo>
                  <a:pt x="562" y="169"/>
                  <a:pt x="562" y="168"/>
                  <a:pt x="563" y="167"/>
                </a:cubicBezTo>
                <a:cubicBezTo>
                  <a:pt x="563" y="167"/>
                  <a:pt x="563" y="166"/>
                  <a:pt x="562" y="166"/>
                </a:cubicBezTo>
                <a:cubicBezTo>
                  <a:pt x="563" y="165"/>
                  <a:pt x="566" y="165"/>
                  <a:pt x="568" y="164"/>
                </a:cubicBezTo>
                <a:cubicBezTo>
                  <a:pt x="567" y="165"/>
                  <a:pt x="568" y="167"/>
                  <a:pt x="569" y="165"/>
                </a:cubicBezTo>
                <a:cubicBezTo>
                  <a:pt x="571" y="164"/>
                  <a:pt x="569" y="164"/>
                  <a:pt x="569" y="164"/>
                </a:cubicBezTo>
                <a:cubicBezTo>
                  <a:pt x="569" y="164"/>
                  <a:pt x="570" y="163"/>
                  <a:pt x="569" y="162"/>
                </a:cubicBezTo>
                <a:cubicBezTo>
                  <a:pt x="569" y="162"/>
                  <a:pt x="569" y="162"/>
                  <a:pt x="569" y="162"/>
                </a:cubicBezTo>
                <a:cubicBezTo>
                  <a:pt x="567" y="163"/>
                  <a:pt x="565" y="164"/>
                  <a:pt x="563" y="163"/>
                </a:cubicBezTo>
                <a:cubicBezTo>
                  <a:pt x="563" y="163"/>
                  <a:pt x="563" y="163"/>
                  <a:pt x="563" y="164"/>
                </a:cubicBezTo>
                <a:cubicBezTo>
                  <a:pt x="563" y="164"/>
                  <a:pt x="564" y="164"/>
                  <a:pt x="564" y="164"/>
                </a:cubicBezTo>
                <a:cubicBezTo>
                  <a:pt x="563" y="165"/>
                  <a:pt x="563" y="164"/>
                  <a:pt x="563" y="163"/>
                </a:cubicBezTo>
                <a:cubicBezTo>
                  <a:pt x="562" y="163"/>
                  <a:pt x="562" y="162"/>
                  <a:pt x="562" y="161"/>
                </a:cubicBezTo>
                <a:cubicBezTo>
                  <a:pt x="562" y="160"/>
                  <a:pt x="564" y="158"/>
                  <a:pt x="567" y="158"/>
                </a:cubicBezTo>
                <a:cubicBezTo>
                  <a:pt x="566" y="157"/>
                  <a:pt x="565" y="156"/>
                  <a:pt x="566" y="155"/>
                </a:cubicBezTo>
                <a:cubicBezTo>
                  <a:pt x="566" y="153"/>
                  <a:pt x="570" y="153"/>
                  <a:pt x="569" y="152"/>
                </a:cubicBezTo>
                <a:cubicBezTo>
                  <a:pt x="570" y="152"/>
                  <a:pt x="572" y="151"/>
                  <a:pt x="574" y="151"/>
                </a:cubicBezTo>
                <a:cubicBezTo>
                  <a:pt x="576" y="153"/>
                  <a:pt x="575" y="153"/>
                  <a:pt x="579" y="152"/>
                </a:cubicBezTo>
                <a:cubicBezTo>
                  <a:pt x="579" y="152"/>
                  <a:pt x="580" y="151"/>
                  <a:pt x="581" y="151"/>
                </a:cubicBezTo>
                <a:cubicBezTo>
                  <a:pt x="584" y="150"/>
                  <a:pt x="583" y="150"/>
                  <a:pt x="582" y="148"/>
                </a:cubicBezTo>
                <a:cubicBezTo>
                  <a:pt x="584" y="150"/>
                  <a:pt x="583" y="148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0" y="147"/>
                  <a:pt x="580" y="147"/>
                </a:cubicBezTo>
                <a:cubicBezTo>
                  <a:pt x="580" y="147"/>
                  <a:pt x="579" y="149"/>
                  <a:pt x="578" y="148"/>
                </a:cubicBezTo>
                <a:cubicBezTo>
                  <a:pt x="577" y="147"/>
                  <a:pt x="581" y="144"/>
                  <a:pt x="577" y="144"/>
                </a:cubicBezTo>
                <a:cubicBezTo>
                  <a:pt x="583" y="142"/>
                  <a:pt x="575" y="140"/>
                  <a:pt x="573" y="139"/>
                </a:cubicBezTo>
                <a:cubicBezTo>
                  <a:pt x="572" y="138"/>
                  <a:pt x="571" y="137"/>
                  <a:pt x="570" y="135"/>
                </a:cubicBezTo>
                <a:cubicBezTo>
                  <a:pt x="570" y="135"/>
                  <a:pt x="569" y="134"/>
                  <a:pt x="569" y="134"/>
                </a:cubicBezTo>
                <a:cubicBezTo>
                  <a:pt x="569" y="134"/>
                  <a:pt x="569" y="134"/>
                  <a:pt x="569" y="133"/>
                </a:cubicBezTo>
                <a:cubicBezTo>
                  <a:pt x="569" y="133"/>
                  <a:pt x="568" y="132"/>
                  <a:pt x="568" y="132"/>
                </a:cubicBezTo>
                <a:cubicBezTo>
                  <a:pt x="567" y="132"/>
                  <a:pt x="567" y="132"/>
                  <a:pt x="567" y="132"/>
                </a:cubicBezTo>
                <a:cubicBezTo>
                  <a:pt x="567" y="132"/>
                  <a:pt x="566" y="133"/>
                  <a:pt x="566" y="133"/>
                </a:cubicBezTo>
                <a:cubicBezTo>
                  <a:pt x="566" y="134"/>
                  <a:pt x="564" y="135"/>
                  <a:pt x="563" y="135"/>
                </a:cubicBezTo>
                <a:cubicBezTo>
                  <a:pt x="562" y="135"/>
                  <a:pt x="561" y="134"/>
                  <a:pt x="561" y="133"/>
                </a:cubicBezTo>
                <a:cubicBezTo>
                  <a:pt x="560" y="134"/>
                  <a:pt x="559" y="134"/>
                  <a:pt x="558" y="134"/>
                </a:cubicBezTo>
                <a:cubicBezTo>
                  <a:pt x="557" y="134"/>
                  <a:pt x="559" y="133"/>
                  <a:pt x="560" y="133"/>
                </a:cubicBezTo>
                <a:cubicBezTo>
                  <a:pt x="560" y="132"/>
                  <a:pt x="560" y="131"/>
                  <a:pt x="561" y="131"/>
                </a:cubicBezTo>
                <a:cubicBezTo>
                  <a:pt x="560" y="131"/>
                  <a:pt x="558" y="131"/>
                  <a:pt x="557" y="131"/>
                </a:cubicBezTo>
                <a:cubicBezTo>
                  <a:pt x="557" y="131"/>
                  <a:pt x="557" y="131"/>
                  <a:pt x="557" y="131"/>
                </a:cubicBezTo>
                <a:cubicBezTo>
                  <a:pt x="558" y="131"/>
                  <a:pt x="559" y="131"/>
                  <a:pt x="559" y="132"/>
                </a:cubicBezTo>
                <a:cubicBezTo>
                  <a:pt x="558" y="132"/>
                  <a:pt x="557" y="132"/>
                  <a:pt x="556" y="132"/>
                </a:cubicBezTo>
                <a:cubicBezTo>
                  <a:pt x="555" y="132"/>
                  <a:pt x="555" y="132"/>
                  <a:pt x="555" y="133"/>
                </a:cubicBezTo>
                <a:cubicBezTo>
                  <a:pt x="556" y="133"/>
                  <a:pt x="555" y="135"/>
                  <a:pt x="554" y="134"/>
                </a:cubicBezTo>
                <a:cubicBezTo>
                  <a:pt x="553" y="135"/>
                  <a:pt x="552" y="135"/>
                  <a:pt x="552" y="135"/>
                </a:cubicBezTo>
                <a:cubicBezTo>
                  <a:pt x="552" y="134"/>
                  <a:pt x="552" y="134"/>
                  <a:pt x="553" y="133"/>
                </a:cubicBezTo>
                <a:cubicBezTo>
                  <a:pt x="552" y="133"/>
                  <a:pt x="551" y="131"/>
                  <a:pt x="553" y="132"/>
                </a:cubicBezTo>
                <a:cubicBezTo>
                  <a:pt x="553" y="132"/>
                  <a:pt x="553" y="132"/>
                  <a:pt x="553" y="132"/>
                </a:cubicBezTo>
                <a:cubicBezTo>
                  <a:pt x="553" y="133"/>
                  <a:pt x="553" y="133"/>
                  <a:pt x="553" y="133"/>
                </a:cubicBezTo>
                <a:cubicBezTo>
                  <a:pt x="554" y="133"/>
                  <a:pt x="554" y="132"/>
                  <a:pt x="554" y="132"/>
                </a:cubicBezTo>
                <a:cubicBezTo>
                  <a:pt x="553" y="132"/>
                  <a:pt x="552" y="131"/>
                  <a:pt x="552" y="131"/>
                </a:cubicBezTo>
                <a:cubicBezTo>
                  <a:pt x="552" y="131"/>
                  <a:pt x="553" y="131"/>
                  <a:pt x="555" y="131"/>
                </a:cubicBezTo>
                <a:cubicBezTo>
                  <a:pt x="554" y="130"/>
                  <a:pt x="554" y="130"/>
                  <a:pt x="554" y="130"/>
                </a:cubicBezTo>
                <a:cubicBezTo>
                  <a:pt x="553" y="130"/>
                  <a:pt x="552" y="131"/>
                  <a:pt x="552" y="131"/>
                </a:cubicBezTo>
                <a:cubicBezTo>
                  <a:pt x="551" y="130"/>
                  <a:pt x="550" y="127"/>
                  <a:pt x="548" y="129"/>
                </a:cubicBezTo>
                <a:cubicBezTo>
                  <a:pt x="548" y="130"/>
                  <a:pt x="549" y="131"/>
                  <a:pt x="549" y="130"/>
                </a:cubicBezTo>
                <a:cubicBezTo>
                  <a:pt x="549" y="131"/>
                  <a:pt x="549" y="131"/>
                  <a:pt x="549" y="131"/>
                </a:cubicBezTo>
                <a:cubicBezTo>
                  <a:pt x="549" y="131"/>
                  <a:pt x="549" y="131"/>
                  <a:pt x="550" y="131"/>
                </a:cubicBezTo>
                <a:cubicBezTo>
                  <a:pt x="551" y="131"/>
                  <a:pt x="549" y="133"/>
                  <a:pt x="549" y="132"/>
                </a:cubicBezTo>
                <a:cubicBezTo>
                  <a:pt x="549" y="132"/>
                  <a:pt x="549" y="132"/>
                  <a:pt x="549" y="132"/>
                </a:cubicBezTo>
                <a:cubicBezTo>
                  <a:pt x="548" y="133"/>
                  <a:pt x="544" y="131"/>
                  <a:pt x="543" y="131"/>
                </a:cubicBezTo>
                <a:cubicBezTo>
                  <a:pt x="545" y="130"/>
                  <a:pt x="543" y="130"/>
                  <a:pt x="542" y="129"/>
                </a:cubicBezTo>
                <a:cubicBezTo>
                  <a:pt x="540" y="130"/>
                  <a:pt x="539" y="131"/>
                  <a:pt x="537" y="132"/>
                </a:cubicBezTo>
                <a:cubicBezTo>
                  <a:pt x="538" y="130"/>
                  <a:pt x="540" y="129"/>
                  <a:pt x="542" y="129"/>
                </a:cubicBezTo>
                <a:cubicBezTo>
                  <a:pt x="541" y="128"/>
                  <a:pt x="541" y="127"/>
                  <a:pt x="541" y="127"/>
                </a:cubicBezTo>
                <a:cubicBezTo>
                  <a:pt x="542" y="125"/>
                  <a:pt x="546" y="126"/>
                  <a:pt x="546" y="124"/>
                </a:cubicBezTo>
                <a:cubicBezTo>
                  <a:pt x="547" y="123"/>
                  <a:pt x="545" y="124"/>
                  <a:pt x="545" y="124"/>
                </a:cubicBezTo>
                <a:cubicBezTo>
                  <a:pt x="546" y="122"/>
                  <a:pt x="547" y="121"/>
                  <a:pt x="545" y="120"/>
                </a:cubicBezTo>
                <a:cubicBezTo>
                  <a:pt x="545" y="120"/>
                  <a:pt x="540" y="120"/>
                  <a:pt x="538" y="120"/>
                </a:cubicBezTo>
                <a:cubicBezTo>
                  <a:pt x="536" y="120"/>
                  <a:pt x="534" y="121"/>
                  <a:pt x="531" y="119"/>
                </a:cubicBezTo>
                <a:cubicBezTo>
                  <a:pt x="534" y="119"/>
                  <a:pt x="535" y="117"/>
                  <a:pt x="537" y="117"/>
                </a:cubicBezTo>
                <a:cubicBezTo>
                  <a:pt x="537" y="117"/>
                  <a:pt x="537" y="116"/>
                  <a:pt x="537" y="116"/>
                </a:cubicBezTo>
                <a:cubicBezTo>
                  <a:pt x="537" y="116"/>
                  <a:pt x="537" y="117"/>
                  <a:pt x="537" y="117"/>
                </a:cubicBezTo>
                <a:cubicBezTo>
                  <a:pt x="538" y="116"/>
                  <a:pt x="538" y="116"/>
                  <a:pt x="539" y="116"/>
                </a:cubicBezTo>
                <a:cubicBezTo>
                  <a:pt x="542" y="115"/>
                  <a:pt x="545" y="118"/>
                  <a:pt x="548" y="117"/>
                </a:cubicBezTo>
                <a:cubicBezTo>
                  <a:pt x="548" y="117"/>
                  <a:pt x="551" y="114"/>
                  <a:pt x="552" y="114"/>
                </a:cubicBezTo>
                <a:cubicBezTo>
                  <a:pt x="553" y="114"/>
                  <a:pt x="554" y="115"/>
                  <a:pt x="554" y="114"/>
                </a:cubicBezTo>
                <a:cubicBezTo>
                  <a:pt x="553" y="114"/>
                  <a:pt x="553" y="113"/>
                  <a:pt x="553" y="113"/>
                </a:cubicBezTo>
                <a:cubicBezTo>
                  <a:pt x="553" y="113"/>
                  <a:pt x="552" y="113"/>
                  <a:pt x="552" y="113"/>
                </a:cubicBezTo>
                <a:cubicBezTo>
                  <a:pt x="552" y="114"/>
                  <a:pt x="551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8" y="114"/>
                  <a:pt x="547" y="114"/>
                  <a:pt x="547" y="114"/>
                </a:cubicBezTo>
                <a:cubicBezTo>
                  <a:pt x="547" y="114"/>
                  <a:pt x="547" y="113"/>
                  <a:pt x="547" y="113"/>
                </a:cubicBezTo>
                <a:cubicBezTo>
                  <a:pt x="547" y="112"/>
                  <a:pt x="548" y="111"/>
                  <a:pt x="549" y="110"/>
                </a:cubicBezTo>
                <a:cubicBezTo>
                  <a:pt x="550" y="110"/>
                  <a:pt x="552" y="111"/>
                  <a:pt x="552" y="112"/>
                </a:cubicBezTo>
                <a:cubicBezTo>
                  <a:pt x="552" y="112"/>
                  <a:pt x="552" y="112"/>
                  <a:pt x="553" y="112"/>
                </a:cubicBezTo>
                <a:cubicBezTo>
                  <a:pt x="552" y="111"/>
                  <a:pt x="554" y="110"/>
                  <a:pt x="555" y="111"/>
                </a:cubicBezTo>
                <a:cubicBezTo>
                  <a:pt x="555" y="110"/>
                  <a:pt x="555" y="110"/>
                  <a:pt x="554" y="109"/>
                </a:cubicBezTo>
                <a:cubicBezTo>
                  <a:pt x="554" y="110"/>
                  <a:pt x="554" y="110"/>
                  <a:pt x="554" y="110"/>
                </a:cubicBezTo>
                <a:cubicBezTo>
                  <a:pt x="554" y="110"/>
                  <a:pt x="554" y="109"/>
                  <a:pt x="554" y="109"/>
                </a:cubicBezTo>
                <a:cubicBezTo>
                  <a:pt x="553" y="108"/>
                  <a:pt x="550" y="108"/>
                  <a:pt x="549" y="107"/>
                </a:cubicBezTo>
                <a:cubicBezTo>
                  <a:pt x="550" y="106"/>
                  <a:pt x="551" y="106"/>
                  <a:pt x="550" y="105"/>
                </a:cubicBezTo>
                <a:cubicBezTo>
                  <a:pt x="549" y="106"/>
                  <a:pt x="546" y="106"/>
                  <a:pt x="548" y="104"/>
                </a:cubicBezTo>
                <a:cubicBezTo>
                  <a:pt x="548" y="104"/>
                  <a:pt x="548" y="104"/>
                  <a:pt x="548" y="104"/>
                </a:cubicBezTo>
                <a:cubicBezTo>
                  <a:pt x="548" y="104"/>
                  <a:pt x="547" y="103"/>
                  <a:pt x="547" y="103"/>
                </a:cubicBezTo>
                <a:cubicBezTo>
                  <a:pt x="545" y="104"/>
                  <a:pt x="543" y="105"/>
                  <a:pt x="541" y="106"/>
                </a:cubicBezTo>
                <a:cubicBezTo>
                  <a:pt x="537" y="107"/>
                  <a:pt x="541" y="104"/>
                  <a:pt x="543" y="103"/>
                </a:cubicBezTo>
                <a:cubicBezTo>
                  <a:pt x="544" y="103"/>
                  <a:pt x="546" y="102"/>
                  <a:pt x="548" y="101"/>
                </a:cubicBezTo>
                <a:cubicBezTo>
                  <a:pt x="548" y="101"/>
                  <a:pt x="548" y="101"/>
                  <a:pt x="548" y="100"/>
                </a:cubicBezTo>
                <a:cubicBezTo>
                  <a:pt x="549" y="100"/>
                  <a:pt x="549" y="100"/>
                  <a:pt x="550" y="100"/>
                </a:cubicBezTo>
                <a:cubicBezTo>
                  <a:pt x="552" y="99"/>
                  <a:pt x="553" y="99"/>
                  <a:pt x="554" y="98"/>
                </a:cubicBezTo>
                <a:cubicBezTo>
                  <a:pt x="555" y="97"/>
                  <a:pt x="555" y="95"/>
                  <a:pt x="555" y="94"/>
                </a:cubicBezTo>
                <a:cubicBezTo>
                  <a:pt x="554" y="95"/>
                  <a:pt x="554" y="94"/>
                  <a:pt x="553" y="94"/>
                </a:cubicBezTo>
                <a:cubicBezTo>
                  <a:pt x="553" y="94"/>
                  <a:pt x="553" y="94"/>
                  <a:pt x="553" y="94"/>
                </a:cubicBezTo>
                <a:cubicBezTo>
                  <a:pt x="553" y="94"/>
                  <a:pt x="553" y="94"/>
                  <a:pt x="552" y="94"/>
                </a:cubicBezTo>
                <a:cubicBezTo>
                  <a:pt x="552" y="94"/>
                  <a:pt x="550" y="93"/>
                  <a:pt x="550" y="93"/>
                </a:cubicBezTo>
                <a:cubicBezTo>
                  <a:pt x="550" y="93"/>
                  <a:pt x="550" y="93"/>
                  <a:pt x="550" y="92"/>
                </a:cubicBezTo>
                <a:cubicBezTo>
                  <a:pt x="549" y="91"/>
                  <a:pt x="551" y="90"/>
                  <a:pt x="552" y="90"/>
                </a:cubicBezTo>
                <a:cubicBezTo>
                  <a:pt x="552" y="89"/>
                  <a:pt x="552" y="89"/>
                  <a:pt x="553" y="88"/>
                </a:cubicBezTo>
                <a:cubicBezTo>
                  <a:pt x="553" y="88"/>
                  <a:pt x="553" y="88"/>
                  <a:pt x="553" y="88"/>
                </a:cubicBezTo>
                <a:cubicBezTo>
                  <a:pt x="552" y="87"/>
                  <a:pt x="550" y="87"/>
                  <a:pt x="549" y="87"/>
                </a:cubicBezTo>
                <a:cubicBezTo>
                  <a:pt x="548" y="87"/>
                  <a:pt x="546" y="87"/>
                  <a:pt x="546" y="86"/>
                </a:cubicBezTo>
                <a:cubicBezTo>
                  <a:pt x="545" y="86"/>
                  <a:pt x="544" y="85"/>
                  <a:pt x="544" y="84"/>
                </a:cubicBezTo>
                <a:cubicBezTo>
                  <a:pt x="543" y="85"/>
                  <a:pt x="542" y="85"/>
                  <a:pt x="542" y="84"/>
                </a:cubicBezTo>
                <a:cubicBezTo>
                  <a:pt x="541" y="84"/>
                  <a:pt x="540" y="82"/>
                  <a:pt x="542" y="81"/>
                </a:cubicBezTo>
                <a:cubicBezTo>
                  <a:pt x="542" y="81"/>
                  <a:pt x="542" y="81"/>
                  <a:pt x="542" y="81"/>
                </a:cubicBezTo>
                <a:cubicBezTo>
                  <a:pt x="541" y="80"/>
                  <a:pt x="542" y="80"/>
                  <a:pt x="542" y="79"/>
                </a:cubicBezTo>
                <a:cubicBezTo>
                  <a:pt x="541" y="80"/>
                  <a:pt x="540" y="80"/>
                  <a:pt x="539" y="80"/>
                </a:cubicBezTo>
                <a:cubicBezTo>
                  <a:pt x="539" y="80"/>
                  <a:pt x="538" y="81"/>
                  <a:pt x="539" y="82"/>
                </a:cubicBezTo>
                <a:cubicBezTo>
                  <a:pt x="538" y="82"/>
                  <a:pt x="536" y="83"/>
                  <a:pt x="535" y="84"/>
                </a:cubicBezTo>
                <a:cubicBezTo>
                  <a:pt x="534" y="85"/>
                  <a:pt x="533" y="85"/>
                  <a:pt x="532" y="86"/>
                </a:cubicBezTo>
                <a:cubicBezTo>
                  <a:pt x="532" y="86"/>
                  <a:pt x="532" y="87"/>
                  <a:pt x="532" y="87"/>
                </a:cubicBezTo>
                <a:cubicBezTo>
                  <a:pt x="531" y="87"/>
                  <a:pt x="530" y="86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8" y="87"/>
                </a:cubicBezTo>
                <a:cubicBezTo>
                  <a:pt x="527" y="87"/>
                  <a:pt x="527" y="88"/>
                  <a:pt x="526" y="88"/>
                </a:cubicBezTo>
                <a:cubicBezTo>
                  <a:pt x="526" y="88"/>
                  <a:pt x="526" y="87"/>
                  <a:pt x="526" y="87"/>
                </a:cubicBezTo>
                <a:cubicBezTo>
                  <a:pt x="525" y="85"/>
                  <a:pt x="521" y="83"/>
                  <a:pt x="520" y="81"/>
                </a:cubicBezTo>
                <a:cubicBezTo>
                  <a:pt x="520" y="79"/>
                  <a:pt x="524" y="78"/>
                  <a:pt x="525" y="76"/>
                </a:cubicBezTo>
                <a:cubicBezTo>
                  <a:pt x="526" y="76"/>
                  <a:pt x="524" y="74"/>
                  <a:pt x="525" y="74"/>
                </a:cubicBezTo>
                <a:cubicBezTo>
                  <a:pt x="526" y="73"/>
                  <a:pt x="526" y="75"/>
                  <a:pt x="527" y="75"/>
                </a:cubicBezTo>
                <a:cubicBezTo>
                  <a:pt x="528" y="76"/>
                  <a:pt x="533" y="76"/>
                  <a:pt x="535" y="76"/>
                </a:cubicBezTo>
                <a:cubicBezTo>
                  <a:pt x="536" y="76"/>
                  <a:pt x="537" y="76"/>
                  <a:pt x="538" y="77"/>
                </a:cubicBezTo>
                <a:cubicBezTo>
                  <a:pt x="539" y="75"/>
                  <a:pt x="543" y="75"/>
                  <a:pt x="543" y="74"/>
                </a:cubicBezTo>
                <a:cubicBezTo>
                  <a:pt x="544" y="74"/>
                  <a:pt x="542" y="74"/>
                  <a:pt x="542" y="73"/>
                </a:cubicBezTo>
                <a:cubicBezTo>
                  <a:pt x="543" y="73"/>
                  <a:pt x="544" y="73"/>
                  <a:pt x="545" y="74"/>
                </a:cubicBezTo>
                <a:cubicBezTo>
                  <a:pt x="547" y="73"/>
                  <a:pt x="550" y="72"/>
                  <a:pt x="553" y="72"/>
                </a:cubicBezTo>
                <a:cubicBezTo>
                  <a:pt x="552" y="71"/>
                  <a:pt x="552" y="70"/>
                  <a:pt x="551" y="70"/>
                </a:cubicBezTo>
                <a:cubicBezTo>
                  <a:pt x="551" y="70"/>
                  <a:pt x="550" y="71"/>
                  <a:pt x="550" y="71"/>
                </a:cubicBezTo>
                <a:cubicBezTo>
                  <a:pt x="550" y="71"/>
                  <a:pt x="547" y="70"/>
                  <a:pt x="545" y="69"/>
                </a:cubicBezTo>
                <a:cubicBezTo>
                  <a:pt x="544" y="69"/>
                  <a:pt x="543" y="69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2" y="67"/>
                  <a:pt x="543" y="66"/>
                  <a:pt x="542" y="66"/>
                </a:cubicBezTo>
                <a:cubicBezTo>
                  <a:pt x="540" y="64"/>
                  <a:pt x="537" y="66"/>
                  <a:pt x="535" y="66"/>
                </a:cubicBezTo>
                <a:cubicBezTo>
                  <a:pt x="535" y="66"/>
                  <a:pt x="534" y="65"/>
                  <a:pt x="534" y="65"/>
                </a:cubicBezTo>
                <a:cubicBezTo>
                  <a:pt x="534" y="65"/>
                  <a:pt x="534" y="65"/>
                  <a:pt x="534" y="65"/>
                </a:cubicBezTo>
                <a:cubicBezTo>
                  <a:pt x="534" y="67"/>
                  <a:pt x="529" y="69"/>
                  <a:pt x="528" y="68"/>
                </a:cubicBezTo>
                <a:cubicBezTo>
                  <a:pt x="527" y="66"/>
                  <a:pt x="528" y="64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2"/>
                  <a:pt x="529" y="62"/>
                </a:cubicBezTo>
                <a:cubicBezTo>
                  <a:pt x="529" y="62"/>
                  <a:pt x="529" y="62"/>
                  <a:pt x="529" y="62"/>
                </a:cubicBezTo>
                <a:cubicBezTo>
                  <a:pt x="528" y="62"/>
                  <a:pt x="527" y="63"/>
                  <a:pt x="526" y="63"/>
                </a:cubicBezTo>
                <a:cubicBezTo>
                  <a:pt x="526" y="63"/>
                  <a:pt x="526" y="63"/>
                  <a:pt x="526" y="63"/>
                </a:cubicBezTo>
                <a:cubicBezTo>
                  <a:pt x="526" y="64"/>
                  <a:pt x="526" y="64"/>
                  <a:pt x="526" y="65"/>
                </a:cubicBezTo>
                <a:cubicBezTo>
                  <a:pt x="525" y="66"/>
                  <a:pt x="522" y="66"/>
                  <a:pt x="520" y="68"/>
                </a:cubicBezTo>
                <a:cubicBezTo>
                  <a:pt x="519" y="69"/>
                  <a:pt x="517" y="72"/>
                  <a:pt x="515" y="72"/>
                </a:cubicBezTo>
                <a:cubicBezTo>
                  <a:pt x="514" y="71"/>
                  <a:pt x="514" y="70"/>
                  <a:pt x="513" y="70"/>
                </a:cubicBezTo>
                <a:cubicBezTo>
                  <a:pt x="513" y="69"/>
                  <a:pt x="513" y="70"/>
                  <a:pt x="512" y="70"/>
                </a:cubicBezTo>
                <a:cubicBezTo>
                  <a:pt x="511" y="71"/>
                  <a:pt x="510" y="70"/>
                  <a:pt x="510" y="69"/>
                </a:cubicBezTo>
                <a:cubicBezTo>
                  <a:pt x="509" y="69"/>
                  <a:pt x="508" y="69"/>
                  <a:pt x="508" y="68"/>
                </a:cubicBezTo>
                <a:cubicBezTo>
                  <a:pt x="508" y="68"/>
                  <a:pt x="509" y="67"/>
                  <a:pt x="510" y="66"/>
                </a:cubicBezTo>
                <a:cubicBezTo>
                  <a:pt x="510" y="65"/>
                  <a:pt x="511" y="65"/>
                  <a:pt x="512" y="66"/>
                </a:cubicBezTo>
                <a:cubicBezTo>
                  <a:pt x="513" y="67"/>
                  <a:pt x="513" y="66"/>
                  <a:pt x="513" y="65"/>
                </a:cubicBezTo>
                <a:cubicBezTo>
                  <a:pt x="512" y="64"/>
                  <a:pt x="511" y="64"/>
                  <a:pt x="511" y="63"/>
                </a:cubicBezTo>
                <a:cubicBezTo>
                  <a:pt x="511" y="63"/>
                  <a:pt x="511" y="62"/>
                  <a:pt x="513" y="61"/>
                </a:cubicBezTo>
                <a:cubicBezTo>
                  <a:pt x="511" y="61"/>
                  <a:pt x="510" y="60"/>
                  <a:pt x="509" y="59"/>
                </a:cubicBezTo>
                <a:cubicBezTo>
                  <a:pt x="509" y="59"/>
                  <a:pt x="510" y="56"/>
                  <a:pt x="511" y="55"/>
                </a:cubicBezTo>
                <a:cubicBezTo>
                  <a:pt x="512" y="54"/>
                  <a:pt x="515" y="54"/>
                  <a:pt x="515" y="53"/>
                </a:cubicBezTo>
                <a:cubicBezTo>
                  <a:pt x="515" y="53"/>
                  <a:pt x="514" y="53"/>
                  <a:pt x="514" y="53"/>
                </a:cubicBezTo>
                <a:cubicBezTo>
                  <a:pt x="514" y="53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2" y="54"/>
                  <a:pt x="511" y="55"/>
                  <a:pt x="510" y="54"/>
                </a:cubicBezTo>
                <a:cubicBezTo>
                  <a:pt x="510" y="54"/>
                  <a:pt x="510" y="53"/>
                  <a:pt x="510" y="53"/>
                </a:cubicBezTo>
                <a:cubicBezTo>
                  <a:pt x="510" y="53"/>
                  <a:pt x="510" y="53"/>
                  <a:pt x="510" y="53"/>
                </a:cubicBezTo>
                <a:cubicBezTo>
                  <a:pt x="510" y="53"/>
                  <a:pt x="510" y="52"/>
                  <a:pt x="510" y="52"/>
                </a:cubicBezTo>
                <a:cubicBezTo>
                  <a:pt x="510" y="52"/>
                  <a:pt x="510" y="52"/>
                  <a:pt x="510" y="52"/>
                </a:cubicBezTo>
                <a:cubicBezTo>
                  <a:pt x="511" y="51"/>
                  <a:pt x="513" y="51"/>
                  <a:pt x="513" y="52"/>
                </a:cubicBezTo>
                <a:cubicBezTo>
                  <a:pt x="515" y="52"/>
                  <a:pt x="517" y="52"/>
                  <a:pt x="516" y="53"/>
                </a:cubicBezTo>
                <a:cubicBezTo>
                  <a:pt x="516" y="53"/>
                  <a:pt x="515" y="54"/>
                  <a:pt x="515" y="54"/>
                </a:cubicBezTo>
                <a:cubicBezTo>
                  <a:pt x="516" y="54"/>
                  <a:pt x="517" y="54"/>
                  <a:pt x="517" y="54"/>
                </a:cubicBezTo>
                <a:cubicBezTo>
                  <a:pt x="518" y="54"/>
                  <a:pt x="519" y="55"/>
                  <a:pt x="520" y="55"/>
                </a:cubicBezTo>
                <a:cubicBezTo>
                  <a:pt x="521" y="55"/>
                  <a:pt x="522" y="55"/>
                  <a:pt x="522" y="56"/>
                </a:cubicBezTo>
                <a:cubicBezTo>
                  <a:pt x="522" y="57"/>
                  <a:pt x="522" y="57"/>
                  <a:pt x="521" y="57"/>
                </a:cubicBezTo>
                <a:cubicBezTo>
                  <a:pt x="521" y="57"/>
                  <a:pt x="521" y="58"/>
                  <a:pt x="521" y="58"/>
                </a:cubicBezTo>
                <a:cubicBezTo>
                  <a:pt x="522" y="57"/>
                  <a:pt x="523" y="57"/>
                  <a:pt x="525" y="58"/>
                </a:cubicBezTo>
                <a:cubicBezTo>
                  <a:pt x="525" y="59"/>
                  <a:pt x="524" y="59"/>
                  <a:pt x="524" y="59"/>
                </a:cubicBezTo>
                <a:cubicBezTo>
                  <a:pt x="525" y="59"/>
                  <a:pt x="526" y="58"/>
                  <a:pt x="528" y="58"/>
                </a:cubicBezTo>
                <a:cubicBezTo>
                  <a:pt x="528" y="58"/>
                  <a:pt x="528" y="57"/>
                  <a:pt x="528" y="57"/>
                </a:cubicBezTo>
                <a:cubicBezTo>
                  <a:pt x="528" y="57"/>
                  <a:pt x="527" y="57"/>
                  <a:pt x="527" y="56"/>
                </a:cubicBezTo>
                <a:cubicBezTo>
                  <a:pt x="527" y="54"/>
                  <a:pt x="532" y="55"/>
                  <a:pt x="530" y="57"/>
                </a:cubicBezTo>
                <a:cubicBezTo>
                  <a:pt x="530" y="57"/>
                  <a:pt x="530" y="57"/>
                  <a:pt x="530" y="57"/>
                </a:cubicBezTo>
                <a:cubicBezTo>
                  <a:pt x="531" y="56"/>
                  <a:pt x="533" y="55"/>
                  <a:pt x="533" y="55"/>
                </a:cubicBezTo>
                <a:cubicBezTo>
                  <a:pt x="532" y="54"/>
                  <a:pt x="530" y="55"/>
                  <a:pt x="529" y="54"/>
                </a:cubicBezTo>
                <a:cubicBezTo>
                  <a:pt x="529" y="53"/>
                  <a:pt x="532" y="51"/>
                  <a:pt x="532" y="51"/>
                </a:cubicBezTo>
                <a:cubicBezTo>
                  <a:pt x="532" y="51"/>
                  <a:pt x="532" y="50"/>
                  <a:pt x="532" y="50"/>
                </a:cubicBezTo>
                <a:cubicBezTo>
                  <a:pt x="530" y="52"/>
                  <a:pt x="527" y="52"/>
                  <a:pt x="525" y="52"/>
                </a:cubicBezTo>
                <a:cubicBezTo>
                  <a:pt x="523" y="51"/>
                  <a:pt x="522" y="48"/>
                  <a:pt x="521" y="48"/>
                </a:cubicBezTo>
                <a:cubicBezTo>
                  <a:pt x="520" y="48"/>
                  <a:pt x="518" y="48"/>
                  <a:pt x="516" y="49"/>
                </a:cubicBezTo>
                <a:cubicBezTo>
                  <a:pt x="517" y="48"/>
                  <a:pt x="518" y="48"/>
                  <a:pt x="519" y="47"/>
                </a:cubicBezTo>
                <a:cubicBezTo>
                  <a:pt x="519" y="47"/>
                  <a:pt x="520" y="47"/>
                  <a:pt x="520" y="47"/>
                </a:cubicBezTo>
                <a:cubicBezTo>
                  <a:pt x="521" y="46"/>
                  <a:pt x="521" y="46"/>
                  <a:pt x="521" y="45"/>
                </a:cubicBezTo>
                <a:cubicBezTo>
                  <a:pt x="520" y="45"/>
                  <a:pt x="520" y="45"/>
                  <a:pt x="519" y="45"/>
                </a:cubicBezTo>
                <a:cubicBezTo>
                  <a:pt x="519" y="44"/>
                  <a:pt x="520" y="44"/>
                  <a:pt x="521" y="44"/>
                </a:cubicBezTo>
                <a:cubicBezTo>
                  <a:pt x="521" y="44"/>
                  <a:pt x="521" y="44"/>
                  <a:pt x="521" y="44"/>
                </a:cubicBezTo>
                <a:cubicBezTo>
                  <a:pt x="521" y="43"/>
                  <a:pt x="521" y="41"/>
                  <a:pt x="521" y="40"/>
                </a:cubicBezTo>
                <a:cubicBezTo>
                  <a:pt x="521" y="40"/>
                  <a:pt x="520" y="40"/>
                  <a:pt x="520" y="40"/>
                </a:cubicBezTo>
                <a:cubicBezTo>
                  <a:pt x="520" y="40"/>
                  <a:pt x="520" y="40"/>
                  <a:pt x="520" y="40"/>
                </a:cubicBezTo>
                <a:cubicBezTo>
                  <a:pt x="520" y="40"/>
                  <a:pt x="520" y="40"/>
                  <a:pt x="520" y="39"/>
                </a:cubicBezTo>
                <a:cubicBezTo>
                  <a:pt x="520" y="39"/>
                  <a:pt x="520" y="39"/>
                  <a:pt x="520" y="39"/>
                </a:cubicBezTo>
                <a:cubicBezTo>
                  <a:pt x="510" y="34"/>
                  <a:pt x="501" y="30"/>
                  <a:pt x="491" y="26"/>
                </a:cubicBezTo>
                <a:cubicBezTo>
                  <a:pt x="491" y="26"/>
                  <a:pt x="489" y="27"/>
                  <a:pt x="489" y="27"/>
                </a:cubicBezTo>
                <a:cubicBezTo>
                  <a:pt x="489" y="26"/>
                  <a:pt x="489" y="26"/>
                  <a:pt x="490" y="26"/>
                </a:cubicBezTo>
                <a:cubicBezTo>
                  <a:pt x="487" y="24"/>
                  <a:pt x="483" y="23"/>
                  <a:pt x="480" y="22"/>
                </a:cubicBezTo>
                <a:cubicBezTo>
                  <a:pt x="480" y="22"/>
                  <a:pt x="480" y="22"/>
                  <a:pt x="480" y="22"/>
                </a:cubicBezTo>
                <a:cubicBezTo>
                  <a:pt x="478" y="22"/>
                  <a:pt x="476" y="25"/>
                  <a:pt x="474" y="25"/>
                </a:cubicBezTo>
                <a:cubicBezTo>
                  <a:pt x="472" y="25"/>
                  <a:pt x="473" y="25"/>
                  <a:pt x="471" y="25"/>
                </a:cubicBezTo>
                <a:cubicBezTo>
                  <a:pt x="471" y="25"/>
                  <a:pt x="469" y="26"/>
                  <a:pt x="468" y="27"/>
                </a:cubicBezTo>
                <a:cubicBezTo>
                  <a:pt x="467" y="27"/>
                  <a:pt x="464" y="29"/>
                  <a:pt x="464" y="29"/>
                </a:cubicBezTo>
                <a:cubicBezTo>
                  <a:pt x="462" y="30"/>
                  <a:pt x="464" y="30"/>
                  <a:pt x="462" y="30"/>
                </a:cubicBezTo>
                <a:cubicBezTo>
                  <a:pt x="461" y="30"/>
                  <a:pt x="461" y="30"/>
                  <a:pt x="460" y="30"/>
                </a:cubicBezTo>
                <a:cubicBezTo>
                  <a:pt x="461" y="30"/>
                  <a:pt x="461" y="30"/>
                  <a:pt x="461" y="30"/>
                </a:cubicBezTo>
                <a:cubicBezTo>
                  <a:pt x="462" y="31"/>
                  <a:pt x="459" y="32"/>
                  <a:pt x="459" y="31"/>
                </a:cubicBezTo>
                <a:cubicBezTo>
                  <a:pt x="459" y="31"/>
                  <a:pt x="458" y="32"/>
                  <a:pt x="458" y="32"/>
                </a:cubicBezTo>
                <a:cubicBezTo>
                  <a:pt x="458" y="32"/>
                  <a:pt x="458" y="33"/>
                  <a:pt x="458" y="33"/>
                </a:cubicBezTo>
                <a:cubicBezTo>
                  <a:pt x="461" y="34"/>
                  <a:pt x="463" y="32"/>
                  <a:pt x="461" y="36"/>
                </a:cubicBezTo>
                <a:cubicBezTo>
                  <a:pt x="461" y="37"/>
                  <a:pt x="462" y="37"/>
                  <a:pt x="461" y="37"/>
                </a:cubicBezTo>
                <a:cubicBezTo>
                  <a:pt x="460" y="39"/>
                  <a:pt x="459" y="37"/>
                  <a:pt x="459" y="36"/>
                </a:cubicBezTo>
                <a:cubicBezTo>
                  <a:pt x="458" y="37"/>
                  <a:pt x="458" y="38"/>
                  <a:pt x="460" y="39"/>
                </a:cubicBezTo>
                <a:cubicBezTo>
                  <a:pt x="460" y="39"/>
                  <a:pt x="457" y="39"/>
                  <a:pt x="456" y="39"/>
                </a:cubicBezTo>
                <a:cubicBezTo>
                  <a:pt x="456" y="39"/>
                  <a:pt x="454" y="36"/>
                  <a:pt x="453" y="35"/>
                </a:cubicBezTo>
                <a:cubicBezTo>
                  <a:pt x="452" y="35"/>
                  <a:pt x="451" y="36"/>
                  <a:pt x="451" y="36"/>
                </a:cubicBezTo>
                <a:cubicBezTo>
                  <a:pt x="449" y="37"/>
                  <a:pt x="446" y="38"/>
                  <a:pt x="444" y="39"/>
                </a:cubicBezTo>
                <a:cubicBezTo>
                  <a:pt x="443" y="40"/>
                  <a:pt x="443" y="40"/>
                  <a:pt x="442" y="40"/>
                </a:cubicBezTo>
                <a:cubicBezTo>
                  <a:pt x="441" y="40"/>
                  <a:pt x="440" y="41"/>
                  <a:pt x="439" y="41"/>
                </a:cubicBezTo>
                <a:cubicBezTo>
                  <a:pt x="437" y="42"/>
                  <a:pt x="435" y="43"/>
                  <a:pt x="432" y="44"/>
                </a:cubicBezTo>
                <a:cubicBezTo>
                  <a:pt x="433" y="44"/>
                  <a:pt x="433" y="44"/>
                  <a:pt x="433" y="44"/>
                </a:cubicBezTo>
                <a:cubicBezTo>
                  <a:pt x="433" y="44"/>
                  <a:pt x="433" y="44"/>
                  <a:pt x="432" y="44"/>
                </a:cubicBezTo>
                <a:cubicBezTo>
                  <a:pt x="432" y="44"/>
                  <a:pt x="431" y="44"/>
                  <a:pt x="431" y="44"/>
                </a:cubicBezTo>
                <a:cubicBezTo>
                  <a:pt x="430" y="44"/>
                  <a:pt x="427" y="45"/>
                  <a:pt x="427" y="46"/>
                </a:cubicBezTo>
                <a:cubicBezTo>
                  <a:pt x="427" y="46"/>
                  <a:pt x="433" y="44"/>
                  <a:pt x="432" y="48"/>
                </a:cubicBezTo>
                <a:cubicBezTo>
                  <a:pt x="432" y="49"/>
                  <a:pt x="431" y="49"/>
                  <a:pt x="431" y="49"/>
                </a:cubicBezTo>
                <a:cubicBezTo>
                  <a:pt x="435" y="49"/>
                  <a:pt x="440" y="49"/>
                  <a:pt x="444" y="50"/>
                </a:cubicBezTo>
                <a:cubicBezTo>
                  <a:pt x="444" y="47"/>
                  <a:pt x="436" y="48"/>
                  <a:pt x="436" y="45"/>
                </a:cubicBezTo>
                <a:cubicBezTo>
                  <a:pt x="436" y="42"/>
                  <a:pt x="442" y="45"/>
                  <a:pt x="444" y="43"/>
                </a:cubicBezTo>
                <a:cubicBezTo>
                  <a:pt x="445" y="43"/>
                  <a:pt x="444" y="42"/>
                  <a:pt x="445" y="42"/>
                </a:cubicBezTo>
                <a:cubicBezTo>
                  <a:pt x="446" y="42"/>
                  <a:pt x="449" y="43"/>
                  <a:pt x="448" y="41"/>
                </a:cubicBezTo>
                <a:cubicBezTo>
                  <a:pt x="448" y="38"/>
                  <a:pt x="459" y="43"/>
                  <a:pt x="460" y="46"/>
                </a:cubicBezTo>
                <a:cubicBezTo>
                  <a:pt x="460" y="48"/>
                  <a:pt x="459" y="52"/>
                  <a:pt x="458" y="52"/>
                </a:cubicBezTo>
                <a:cubicBezTo>
                  <a:pt x="458" y="53"/>
                  <a:pt x="452" y="54"/>
                  <a:pt x="452" y="54"/>
                </a:cubicBezTo>
                <a:cubicBezTo>
                  <a:pt x="451" y="53"/>
                  <a:pt x="449" y="53"/>
                  <a:pt x="448" y="53"/>
                </a:cubicBezTo>
                <a:cubicBezTo>
                  <a:pt x="449" y="53"/>
                  <a:pt x="449" y="53"/>
                  <a:pt x="449" y="54"/>
                </a:cubicBezTo>
                <a:cubicBezTo>
                  <a:pt x="450" y="55"/>
                  <a:pt x="450" y="57"/>
                  <a:pt x="450" y="58"/>
                </a:cubicBezTo>
                <a:cubicBezTo>
                  <a:pt x="447" y="62"/>
                  <a:pt x="436" y="61"/>
                  <a:pt x="432" y="59"/>
                </a:cubicBezTo>
                <a:cubicBezTo>
                  <a:pt x="432" y="60"/>
                  <a:pt x="432" y="61"/>
                  <a:pt x="432" y="62"/>
                </a:cubicBezTo>
                <a:cubicBezTo>
                  <a:pt x="431" y="65"/>
                  <a:pt x="423" y="63"/>
                  <a:pt x="423" y="60"/>
                </a:cubicBezTo>
                <a:cubicBezTo>
                  <a:pt x="423" y="61"/>
                  <a:pt x="421" y="60"/>
                  <a:pt x="421" y="60"/>
                </a:cubicBezTo>
                <a:cubicBezTo>
                  <a:pt x="421" y="59"/>
                  <a:pt x="423" y="59"/>
                  <a:pt x="423" y="60"/>
                </a:cubicBezTo>
                <a:cubicBezTo>
                  <a:pt x="424" y="58"/>
                  <a:pt x="427" y="58"/>
                  <a:pt x="429" y="58"/>
                </a:cubicBezTo>
                <a:cubicBezTo>
                  <a:pt x="430" y="58"/>
                  <a:pt x="431" y="57"/>
                  <a:pt x="432" y="55"/>
                </a:cubicBezTo>
                <a:cubicBezTo>
                  <a:pt x="432" y="55"/>
                  <a:pt x="432" y="53"/>
                  <a:pt x="432" y="54"/>
                </a:cubicBezTo>
                <a:cubicBezTo>
                  <a:pt x="432" y="53"/>
                  <a:pt x="434" y="52"/>
                  <a:pt x="435" y="52"/>
                </a:cubicBezTo>
                <a:cubicBezTo>
                  <a:pt x="435" y="50"/>
                  <a:pt x="431" y="50"/>
                  <a:pt x="429" y="50"/>
                </a:cubicBezTo>
                <a:cubicBezTo>
                  <a:pt x="427" y="50"/>
                  <a:pt x="423" y="49"/>
                  <a:pt x="422" y="48"/>
                </a:cubicBezTo>
                <a:cubicBezTo>
                  <a:pt x="422" y="48"/>
                  <a:pt x="422" y="47"/>
                  <a:pt x="422" y="47"/>
                </a:cubicBezTo>
                <a:cubicBezTo>
                  <a:pt x="422" y="47"/>
                  <a:pt x="421" y="47"/>
                  <a:pt x="421" y="48"/>
                </a:cubicBezTo>
                <a:cubicBezTo>
                  <a:pt x="420" y="48"/>
                  <a:pt x="419" y="49"/>
                  <a:pt x="417" y="50"/>
                </a:cubicBezTo>
                <a:cubicBezTo>
                  <a:pt x="417" y="50"/>
                  <a:pt x="416" y="50"/>
                  <a:pt x="416" y="51"/>
                </a:cubicBezTo>
                <a:cubicBezTo>
                  <a:pt x="418" y="53"/>
                  <a:pt x="416" y="54"/>
                  <a:pt x="414" y="54"/>
                </a:cubicBezTo>
                <a:cubicBezTo>
                  <a:pt x="413" y="54"/>
                  <a:pt x="412" y="54"/>
                  <a:pt x="412" y="54"/>
                </a:cubicBezTo>
                <a:cubicBezTo>
                  <a:pt x="412" y="54"/>
                  <a:pt x="412" y="54"/>
                  <a:pt x="412" y="53"/>
                </a:cubicBezTo>
                <a:cubicBezTo>
                  <a:pt x="411" y="53"/>
                  <a:pt x="411" y="53"/>
                  <a:pt x="411" y="53"/>
                </a:cubicBezTo>
                <a:cubicBezTo>
                  <a:pt x="410" y="53"/>
                  <a:pt x="410" y="53"/>
                  <a:pt x="410" y="53"/>
                </a:cubicBezTo>
                <a:cubicBezTo>
                  <a:pt x="409" y="53"/>
                  <a:pt x="409" y="54"/>
                  <a:pt x="409" y="54"/>
                </a:cubicBezTo>
                <a:cubicBezTo>
                  <a:pt x="408" y="55"/>
                  <a:pt x="407" y="54"/>
                  <a:pt x="407" y="55"/>
                </a:cubicBezTo>
                <a:cubicBezTo>
                  <a:pt x="406" y="55"/>
                  <a:pt x="405" y="56"/>
                  <a:pt x="404" y="57"/>
                </a:cubicBezTo>
                <a:cubicBezTo>
                  <a:pt x="404" y="57"/>
                  <a:pt x="404" y="58"/>
                  <a:pt x="402" y="58"/>
                </a:cubicBezTo>
                <a:cubicBezTo>
                  <a:pt x="401" y="59"/>
                  <a:pt x="401" y="59"/>
                  <a:pt x="400" y="60"/>
                </a:cubicBezTo>
                <a:cubicBezTo>
                  <a:pt x="396" y="62"/>
                  <a:pt x="392" y="63"/>
                  <a:pt x="388" y="64"/>
                </a:cubicBezTo>
                <a:cubicBezTo>
                  <a:pt x="387" y="65"/>
                  <a:pt x="387" y="65"/>
                  <a:pt x="387" y="65"/>
                </a:cubicBezTo>
                <a:cubicBezTo>
                  <a:pt x="387" y="65"/>
                  <a:pt x="388" y="65"/>
                  <a:pt x="388" y="65"/>
                </a:cubicBezTo>
                <a:cubicBezTo>
                  <a:pt x="389" y="65"/>
                  <a:pt x="391" y="66"/>
                  <a:pt x="392" y="67"/>
                </a:cubicBezTo>
                <a:cubicBezTo>
                  <a:pt x="392" y="67"/>
                  <a:pt x="393" y="68"/>
                  <a:pt x="392" y="68"/>
                </a:cubicBezTo>
                <a:cubicBezTo>
                  <a:pt x="393" y="69"/>
                  <a:pt x="394" y="70"/>
                  <a:pt x="393" y="71"/>
                </a:cubicBezTo>
                <a:cubicBezTo>
                  <a:pt x="393" y="78"/>
                  <a:pt x="380" y="78"/>
                  <a:pt x="374" y="76"/>
                </a:cubicBezTo>
                <a:cubicBezTo>
                  <a:pt x="373" y="75"/>
                  <a:pt x="371" y="73"/>
                  <a:pt x="370" y="72"/>
                </a:cubicBezTo>
                <a:cubicBezTo>
                  <a:pt x="368" y="73"/>
                  <a:pt x="366" y="74"/>
                  <a:pt x="366" y="73"/>
                </a:cubicBezTo>
                <a:cubicBezTo>
                  <a:pt x="365" y="72"/>
                  <a:pt x="367" y="71"/>
                  <a:pt x="369" y="70"/>
                </a:cubicBezTo>
                <a:cubicBezTo>
                  <a:pt x="369" y="70"/>
                  <a:pt x="369" y="70"/>
                  <a:pt x="369" y="70"/>
                </a:cubicBezTo>
                <a:cubicBezTo>
                  <a:pt x="368" y="69"/>
                  <a:pt x="366" y="69"/>
                  <a:pt x="366" y="69"/>
                </a:cubicBezTo>
                <a:cubicBezTo>
                  <a:pt x="366" y="67"/>
                  <a:pt x="370" y="65"/>
                  <a:pt x="374" y="64"/>
                </a:cubicBezTo>
                <a:cubicBezTo>
                  <a:pt x="369" y="65"/>
                  <a:pt x="362" y="65"/>
                  <a:pt x="358" y="66"/>
                </a:cubicBezTo>
                <a:cubicBezTo>
                  <a:pt x="358" y="66"/>
                  <a:pt x="351" y="68"/>
                  <a:pt x="351" y="67"/>
                </a:cubicBezTo>
                <a:cubicBezTo>
                  <a:pt x="350" y="66"/>
                  <a:pt x="356" y="66"/>
                  <a:pt x="357" y="65"/>
                </a:cubicBezTo>
                <a:cubicBezTo>
                  <a:pt x="363" y="65"/>
                  <a:pt x="372" y="62"/>
                  <a:pt x="379" y="62"/>
                </a:cubicBezTo>
                <a:cubicBezTo>
                  <a:pt x="379" y="62"/>
                  <a:pt x="379" y="62"/>
                  <a:pt x="379" y="62"/>
                </a:cubicBezTo>
                <a:cubicBezTo>
                  <a:pt x="379" y="62"/>
                  <a:pt x="380" y="62"/>
                  <a:pt x="379" y="62"/>
                </a:cubicBezTo>
                <a:cubicBezTo>
                  <a:pt x="379" y="63"/>
                  <a:pt x="379" y="63"/>
                  <a:pt x="378" y="63"/>
                </a:cubicBezTo>
                <a:cubicBezTo>
                  <a:pt x="379" y="63"/>
                  <a:pt x="381" y="63"/>
                  <a:pt x="382" y="63"/>
                </a:cubicBezTo>
                <a:cubicBezTo>
                  <a:pt x="382" y="62"/>
                  <a:pt x="383" y="61"/>
                  <a:pt x="383" y="61"/>
                </a:cubicBezTo>
                <a:cubicBezTo>
                  <a:pt x="384" y="61"/>
                  <a:pt x="384" y="62"/>
                  <a:pt x="384" y="62"/>
                </a:cubicBezTo>
                <a:cubicBezTo>
                  <a:pt x="385" y="61"/>
                  <a:pt x="385" y="60"/>
                  <a:pt x="386" y="60"/>
                </a:cubicBezTo>
                <a:cubicBezTo>
                  <a:pt x="387" y="59"/>
                  <a:pt x="389" y="59"/>
                  <a:pt x="390" y="59"/>
                </a:cubicBezTo>
                <a:cubicBezTo>
                  <a:pt x="392" y="58"/>
                  <a:pt x="393" y="57"/>
                  <a:pt x="395" y="56"/>
                </a:cubicBezTo>
                <a:cubicBezTo>
                  <a:pt x="396" y="56"/>
                  <a:pt x="396" y="56"/>
                  <a:pt x="396" y="56"/>
                </a:cubicBezTo>
                <a:cubicBezTo>
                  <a:pt x="398" y="55"/>
                  <a:pt x="399" y="53"/>
                  <a:pt x="400" y="52"/>
                </a:cubicBezTo>
                <a:cubicBezTo>
                  <a:pt x="401" y="52"/>
                  <a:pt x="402" y="53"/>
                  <a:pt x="402" y="52"/>
                </a:cubicBezTo>
                <a:cubicBezTo>
                  <a:pt x="404" y="52"/>
                  <a:pt x="405" y="51"/>
                  <a:pt x="407" y="50"/>
                </a:cubicBezTo>
                <a:cubicBezTo>
                  <a:pt x="409" y="50"/>
                  <a:pt x="411" y="48"/>
                  <a:pt x="411" y="48"/>
                </a:cubicBezTo>
                <a:cubicBezTo>
                  <a:pt x="412" y="48"/>
                  <a:pt x="412" y="49"/>
                  <a:pt x="412" y="49"/>
                </a:cubicBezTo>
                <a:cubicBezTo>
                  <a:pt x="413" y="48"/>
                  <a:pt x="413" y="48"/>
                  <a:pt x="413" y="47"/>
                </a:cubicBezTo>
                <a:cubicBezTo>
                  <a:pt x="414" y="47"/>
                  <a:pt x="414" y="48"/>
                  <a:pt x="415" y="48"/>
                </a:cubicBezTo>
                <a:cubicBezTo>
                  <a:pt x="415" y="47"/>
                  <a:pt x="415" y="47"/>
                  <a:pt x="416" y="46"/>
                </a:cubicBezTo>
                <a:cubicBezTo>
                  <a:pt x="416" y="46"/>
                  <a:pt x="416" y="47"/>
                  <a:pt x="417" y="47"/>
                </a:cubicBezTo>
                <a:cubicBezTo>
                  <a:pt x="417" y="47"/>
                  <a:pt x="417" y="46"/>
                  <a:pt x="418" y="45"/>
                </a:cubicBezTo>
                <a:cubicBezTo>
                  <a:pt x="419" y="45"/>
                  <a:pt x="419" y="46"/>
                  <a:pt x="420" y="45"/>
                </a:cubicBezTo>
                <a:cubicBezTo>
                  <a:pt x="420" y="45"/>
                  <a:pt x="420" y="44"/>
                  <a:pt x="421" y="44"/>
                </a:cubicBezTo>
                <a:cubicBezTo>
                  <a:pt x="422" y="43"/>
                  <a:pt x="424" y="43"/>
                  <a:pt x="425" y="42"/>
                </a:cubicBezTo>
                <a:cubicBezTo>
                  <a:pt x="427" y="40"/>
                  <a:pt x="432" y="39"/>
                  <a:pt x="435" y="36"/>
                </a:cubicBezTo>
                <a:cubicBezTo>
                  <a:pt x="438" y="35"/>
                  <a:pt x="441" y="33"/>
                  <a:pt x="444" y="32"/>
                </a:cubicBezTo>
                <a:cubicBezTo>
                  <a:pt x="444" y="32"/>
                  <a:pt x="443" y="32"/>
                  <a:pt x="443" y="32"/>
                </a:cubicBezTo>
                <a:cubicBezTo>
                  <a:pt x="440" y="31"/>
                  <a:pt x="439" y="28"/>
                  <a:pt x="438" y="28"/>
                </a:cubicBezTo>
                <a:cubicBezTo>
                  <a:pt x="437" y="28"/>
                  <a:pt x="437" y="28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5" y="30"/>
                  <a:pt x="434" y="30"/>
                  <a:pt x="433" y="31"/>
                </a:cubicBezTo>
                <a:cubicBezTo>
                  <a:pt x="432" y="31"/>
                  <a:pt x="431" y="31"/>
                  <a:pt x="431" y="30"/>
                </a:cubicBezTo>
                <a:cubicBezTo>
                  <a:pt x="431" y="30"/>
                  <a:pt x="431" y="30"/>
                  <a:pt x="431" y="30"/>
                </a:cubicBezTo>
                <a:cubicBezTo>
                  <a:pt x="430" y="30"/>
                  <a:pt x="430" y="31"/>
                  <a:pt x="429" y="31"/>
                </a:cubicBezTo>
                <a:cubicBezTo>
                  <a:pt x="428" y="32"/>
                  <a:pt x="425" y="32"/>
                  <a:pt x="424" y="31"/>
                </a:cubicBezTo>
                <a:cubicBezTo>
                  <a:pt x="424" y="31"/>
                  <a:pt x="425" y="30"/>
                  <a:pt x="426" y="30"/>
                </a:cubicBezTo>
                <a:cubicBezTo>
                  <a:pt x="426" y="30"/>
                  <a:pt x="425" y="29"/>
                  <a:pt x="425" y="29"/>
                </a:cubicBezTo>
                <a:cubicBezTo>
                  <a:pt x="424" y="30"/>
                  <a:pt x="423" y="30"/>
                  <a:pt x="423" y="30"/>
                </a:cubicBezTo>
                <a:cubicBezTo>
                  <a:pt x="418" y="29"/>
                  <a:pt x="416" y="25"/>
                  <a:pt x="419" y="23"/>
                </a:cubicBezTo>
                <a:cubicBezTo>
                  <a:pt x="421" y="21"/>
                  <a:pt x="429" y="22"/>
                  <a:pt x="429" y="26"/>
                </a:cubicBezTo>
                <a:cubicBezTo>
                  <a:pt x="429" y="29"/>
                  <a:pt x="428" y="27"/>
                  <a:pt x="431" y="27"/>
                </a:cubicBezTo>
                <a:cubicBezTo>
                  <a:pt x="434" y="26"/>
                  <a:pt x="435" y="27"/>
                  <a:pt x="436" y="25"/>
                </a:cubicBezTo>
                <a:cubicBezTo>
                  <a:pt x="439" y="21"/>
                  <a:pt x="442" y="21"/>
                  <a:pt x="446" y="22"/>
                </a:cubicBezTo>
                <a:cubicBezTo>
                  <a:pt x="446" y="21"/>
                  <a:pt x="448" y="21"/>
                  <a:pt x="449" y="22"/>
                </a:cubicBezTo>
                <a:cubicBezTo>
                  <a:pt x="450" y="22"/>
                  <a:pt x="450" y="21"/>
                  <a:pt x="451" y="21"/>
                </a:cubicBezTo>
                <a:cubicBezTo>
                  <a:pt x="452" y="22"/>
                  <a:pt x="451" y="23"/>
                  <a:pt x="450" y="24"/>
                </a:cubicBezTo>
                <a:cubicBezTo>
                  <a:pt x="451" y="25"/>
                  <a:pt x="452" y="26"/>
                  <a:pt x="452" y="28"/>
                </a:cubicBezTo>
                <a:cubicBezTo>
                  <a:pt x="451" y="28"/>
                  <a:pt x="451" y="29"/>
                  <a:pt x="451" y="30"/>
                </a:cubicBezTo>
                <a:cubicBezTo>
                  <a:pt x="451" y="29"/>
                  <a:pt x="451" y="29"/>
                  <a:pt x="452" y="29"/>
                </a:cubicBezTo>
                <a:cubicBezTo>
                  <a:pt x="453" y="29"/>
                  <a:pt x="455" y="29"/>
                  <a:pt x="457" y="29"/>
                </a:cubicBezTo>
                <a:cubicBezTo>
                  <a:pt x="458" y="28"/>
                  <a:pt x="458" y="27"/>
                  <a:pt x="460" y="27"/>
                </a:cubicBezTo>
                <a:cubicBezTo>
                  <a:pt x="461" y="26"/>
                  <a:pt x="463" y="26"/>
                  <a:pt x="465" y="26"/>
                </a:cubicBezTo>
                <a:cubicBezTo>
                  <a:pt x="463" y="25"/>
                  <a:pt x="462" y="25"/>
                  <a:pt x="460" y="25"/>
                </a:cubicBezTo>
                <a:cubicBezTo>
                  <a:pt x="462" y="25"/>
                  <a:pt x="462" y="23"/>
                  <a:pt x="461" y="23"/>
                </a:cubicBezTo>
                <a:cubicBezTo>
                  <a:pt x="461" y="23"/>
                  <a:pt x="462" y="21"/>
                  <a:pt x="463" y="20"/>
                </a:cubicBezTo>
                <a:cubicBezTo>
                  <a:pt x="464" y="20"/>
                  <a:pt x="465" y="20"/>
                  <a:pt x="466" y="20"/>
                </a:cubicBezTo>
                <a:cubicBezTo>
                  <a:pt x="466" y="20"/>
                  <a:pt x="467" y="20"/>
                  <a:pt x="468" y="20"/>
                </a:cubicBezTo>
                <a:cubicBezTo>
                  <a:pt x="468" y="21"/>
                  <a:pt x="467" y="21"/>
                  <a:pt x="466" y="21"/>
                </a:cubicBezTo>
                <a:cubicBezTo>
                  <a:pt x="468" y="22"/>
                  <a:pt x="468" y="23"/>
                  <a:pt x="468" y="24"/>
                </a:cubicBezTo>
                <a:cubicBezTo>
                  <a:pt x="469" y="23"/>
                  <a:pt x="470" y="23"/>
                  <a:pt x="471" y="22"/>
                </a:cubicBezTo>
                <a:cubicBezTo>
                  <a:pt x="471" y="22"/>
                  <a:pt x="470" y="22"/>
                  <a:pt x="470" y="21"/>
                </a:cubicBezTo>
                <a:cubicBezTo>
                  <a:pt x="469" y="20"/>
                  <a:pt x="471" y="19"/>
                  <a:pt x="473" y="19"/>
                </a:cubicBezTo>
                <a:cubicBezTo>
                  <a:pt x="473" y="19"/>
                  <a:pt x="473" y="19"/>
                  <a:pt x="473" y="19"/>
                </a:cubicBezTo>
                <a:cubicBezTo>
                  <a:pt x="456" y="13"/>
                  <a:pt x="438" y="9"/>
                  <a:pt x="419" y="5"/>
                </a:cubicBezTo>
                <a:cubicBezTo>
                  <a:pt x="427" y="10"/>
                  <a:pt x="416" y="16"/>
                  <a:pt x="410" y="12"/>
                </a:cubicBezTo>
                <a:cubicBezTo>
                  <a:pt x="408" y="10"/>
                  <a:pt x="409" y="9"/>
                  <a:pt x="407" y="7"/>
                </a:cubicBezTo>
                <a:cubicBezTo>
                  <a:pt x="408" y="6"/>
                  <a:pt x="410" y="5"/>
                  <a:pt x="412" y="4"/>
                </a:cubicBezTo>
                <a:cubicBezTo>
                  <a:pt x="408" y="4"/>
                  <a:pt x="405" y="3"/>
                  <a:pt x="401" y="3"/>
                </a:cubicBezTo>
                <a:cubicBezTo>
                  <a:pt x="401" y="3"/>
                  <a:pt x="401" y="3"/>
                  <a:pt x="401" y="3"/>
                </a:cubicBezTo>
                <a:cubicBezTo>
                  <a:pt x="398" y="2"/>
                  <a:pt x="396" y="2"/>
                  <a:pt x="393" y="2"/>
                </a:cubicBezTo>
                <a:cubicBezTo>
                  <a:pt x="392" y="6"/>
                  <a:pt x="385" y="4"/>
                  <a:pt x="382" y="1"/>
                </a:cubicBezTo>
                <a:cubicBezTo>
                  <a:pt x="374" y="0"/>
                  <a:pt x="366" y="0"/>
                  <a:pt x="357" y="0"/>
                </a:cubicBezTo>
                <a:cubicBezTo>
                  <a:pt x="343" y="0"/>
                  <a:pt x="328" y="1"/>
                  <a:pt x="314" y="3"/>
                </a:cubicBezTo>
                <a:cubicBezTo>
                  <a:pt x="314" y="3"/>
                  <a:pt x="314" y="3"/>
                  <a:pt x="315" y="3"/>
                </a:cubicBezTo>
                <a:cubicBezTo>
                  <a:pt x="315" y="3"/>
                  <a:pt x="315" y="3"/>
                  <a:pt x="315" y="3"/>
                </a:cubicBezTo>
                <a:cubicBezTo>
                  <a:pt x="315" y="4"/>
                  <a:pt x="314" y="3"/>
                  <a:pt x="314" y="3"/>
                </a:cubicBezTo>
                <a:cubicBezTo>
                  <a:pt x="138" y="24"/>
                  <a:pt x="1" y="173"/>
                  <a:pt x="0" y="354"/>
                </a:cubicBezTo>
                <a:cubicBezTo>
                  <a:pt x="0" y="354"/>
                  <a:pt x="0" y="353"/>
                  <a:pt x="1" y="353"/>
                </a:cubicBezTo>
                <a:cubicBezTo>
                  <a:pt x="1" y="353"/>
                  <a:pt x="2" y="356"/>
                  <a:pt x="1" y="356"/>
                </a:cubicBezTo>
                <a:cubicBezTo>
                  <a:pt x="0" y="357"/>
                  <a:pt x="0" y="356"/>
                  <a:pt x="0" y="356"/>
                </a:cubicBezTo>
                <a:cubicBezTo>
                  <a:pt x="0" y="356"/>
                  <a:pt x="0" y="357"/>
                  <a:pt x="0" y="357"/>
                </a:cubicBezTo>
                <a:cubicBezTo>
                  <a:pt x="0" y="375"/>
                  <a:pt x="1" y="392"/>
                  <a:pt x="4" y="409"/>
                </a:cubicBezTo>
                <a:cubicBezTo>
                  <a:pt x="4" y="409"/>
                  <a:pt x="4" y="409"/>
                  <a:pt x="4" y="409"/>
                </a:cubicBezTo>
                <a:cubicBezTo>
                  <a:pt x="5" y="409"/>
                  <a:pt x="5" y="412"/>
                  <a:pt x="5" y="412"/>
                </a:cubicBezTo>
                <a:cubicBezTo>
                  <a:pt x="4" y="413"/>
                  <a:pt x="4" y="413"/>
                  <a:pt x="4" y="413"/>
                </a:cubicBezTo>
                <a:cubicBezTo>
                  <a:pt x="5" y="418"/>
                  <a:pt x="6" y="424"/>
                  <a:pt x="7" y="429"/>
                </a:cubicBezTo>
                <a:cubicBezTo>
                  <a:pt x="8" y="429"/>
                  <a:pt x="8" y="429"/>
                  <a:pt x="8" y="429"/>
                </a:cubicBezTo>
                <a:cubicBezTo>
                  <a:pt x="9" y="430"/>
                  <a:pt x="8" y="430"/>
                  <a:pt x="7" y="431"/>
                </a:cubicBezTo>
                <a:cubicBezTo>
                  <a:pt x="8" y="433"/>
                  <a:pt x="8" y="435"/>
                  <a:pt x="9" y="438"/>
                </a:cubicBezTo>
                <a:cubicBezTo>
                  <a:pt x="9" y="438"/>
                  <a:pt x="9" y="438"/>
                  <a:pt x="9" y="438"/>
                </a:cubicBezTo>
                <a:cubicBezTo>
                  <a:pt x="9" y="440"/>
                  <a:pt x="10" y="441"/>
                  <a:pt x="10" y="443"/>
                </a:cubicBezTo>
                <a:cubicBezTo>
                  <a:pt x="10" y="443"/>
                  <a:pt x="10" y="443"/>
                  <a:pt x="10" y="442"/>
                </a:cubicBezTo>
                <a:cubicBezTo>
                  <a:pt x="10" y="442"/>
                  <a:pt x="10" y="442"/>
                  <a:pt x="10" y="441"/>
                </a:cubicBezTo>
                <a:cubicBezTo>
                  <a:pt x="10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2" y="441"/>
                  <a:pt x="13" y="440"/>
                  <a:pt x="14" y="440"/>
                </a:cubicBezTo>
                <a:cubicBezTo>
                  <a:pt x="14" y="439"/>
                  <a:pt x="15" y="438"/>
                  <a:pt x="16" y="439"/>
                </a:cubicBezTo>
                <a:cubicBezTo>
                  <a:pt x="17" y="439"/>
                  <a:pt x="17" y="439"/>
                  <a:pt x="18" y="440"/>
                </a:cubicBezTo>
                <a:cubicBezTo>
                  <a:pt x="20" y="443"/>
                  <a:pt x="19" y="438"/>
                  <a:pt x="18" y="438"/>
                </a:cubicBezTo>
                <a:cubicBezTo>
                  <a:pt x="18" y="438"/>
                  <a:pt x="18" y="438"/>
                  <a:pt x="17" y="437"/>
                </a:cubicBezTo>
                <a:cubicBezTo>
                  <a:pt x="17" y="437"/>
                  <a:pt x="17" y="437"/>
                  <a:pt x="17" y="436"/>
                </a:cubicBezTo>
                <a:cubicBezTo>
                  <a:pt x="17" y="435"/>
                  <a:pt x="17" y="432"/>
                  <a:pt x="17" y="431"/>
                </a:cubicBezTo>
                <a:cubicBezTo>
                  <a:pt x="17" y="433"/>
                  <a:pt x="18" y="434"/>
                  <a:pt x="19" y="435"/>
                </a:cubicBezTo>
                <a:cubicBezTo>
                  <a:pt x="19" y="435"/>
                  <a:pt x="19" y="435"/>
                  <a:pt x="19" y="435"/>
                </a:cubicBezTo>
                <a:cubicBezTo>
                  <a:pt x="20" y="435"/>
                  <a:pt x="19" y="436"/>
                  <a:pt x="19" y="436"/>
                </a:cubicBezTo>
                <a:cubicBezTo>
                  <a:pt x="19" y="437"/>
                  <a:pt x="19" y="437"/>
                  <a:pt x="19" y="438"/>
                </a:cubicBezTo>
                <a:cubicBezTo>
                  <a:pt x="20" y="437"/>
                  <a:pt x="19" y="435"/>
                  <a:pt x="21" y="434"/>
                </a:cubicBezTo>
                <a:cubicBezTo>
                  <a:pt x="20" y="436"/>
                  <a:pt x="20" y="437"/>
                  <a:pt x="21" y="438"/>
                </a:cubicBezTo>
                <a:cubicBezTo>
                  <a:pt x="21" y="438"/>
                  <a:pt x="22" y="438"/>
                  <a:pt x="22" y="438"/>
                </a:cubicBezTo>
                <a:cubicBezTo>
                  <a:pt x="22" y="438"/>
                  <a:pt x="22" y="438"/>
                  <a:pt x="22" y="438"/>
                </a:cubicBezTo>
                <a:cubicBezTo>
                  <a:pt x="23" y="438"/>
                  <a:pt x="23" y="438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3" y="435"/>
                  <a:pt x="23" y="434"/>
                  <a:pt x="23" y="434"/>
                </a:cubicBezTo>
                <a:cubicBezTo>
                  <a:pt x="23" y="433"/>
                  <a:pt x="22" y="433"/>
                  <a:pt x="21" y="434"/>
                </a:cubicBezTo>
                <a:cubicBezTo>
                  <a:pt x="20" y="434"/>
                  <a:pt x="20" y="435"/>
                  <a:pt x="19" y="434"/>
                </a:cubicBezTo>
                <a:cubicBezTo>
                  <a:pt x="19" y="434"/>
                  <a:pt x="19" y="434"/>
                  <a:pt x="19" y="433"/>
                </a:cubicBezTo>
                <a:cubicBezTo>
                  <a:pt x="19" y="433"/>
                  <a:pt x="19" y="433"/>
                  <a:pt x="19" y="433"/>
                </a:cubicBezTo>
                <a:cubicBezTo>
                  <a:pt x="18" y="433"/>
                  <a:pt x="19" y="431"/>
                  <a:pt x="18" y="429"/>
                </a:cubicBezTo>
                <a:cubicBezTo>
                  <a:pt x="17" y="430"/>
                  <a:pt x="16" y="429"/>
                  <a:pt x="16" y="426"/>
                </a:cubicBezTo>
                <a:cubicBezTo>
                  <a:pt x="16" y="426"/>
                  <a:pt x="16" y="426"/>
                  <a:pt x="16" y="426"/>
                </a:cubicBezTo>
                <a:cubicBezTo>
                  <a:pt x="16" y="427"/>
                  <a:pt x="14" y="432"/>
                  <a:pt x="15" y="433"/>
                </a:cubicBezTo>
                <a:cubicBezTo>
                  <a:pt x="15" y="433"/>
                  <a:pt x="16" y="437"/>
                  <a:pt x="14" y="435"/>
                </a:cubicBezTo>
                <a:cubicBezTo>
                  <a:pt x="12" y="434"/>
                  <a:pt x="15" y="429"/>
                  <a:pt x="15" y="426"/>
                </a:cubicBezTo>
                <a:cubicBezTo>
                  <a:pt x="14" y="426"/>
                  <a:pt x="14" y="426"/>
                  <a:pt x="14" y="425"/>
                </a:cubicBezTo>
                <a:cubicBezTo>
                  <a:pt x="13" y="424"/>
                  <a:pt x="14" y="424"/>
                  <a:pt x="14" y="423"/>
                </a:cubicBezTo>
                <a:cubicBezTo>
                  <a:pt x="14" y="423"/>
                  <a:pt x="14" y="422"/>
                  <a:pt x="15" y="422"/>
                </a:cubicBezTo>
                <a:cubicBezTo>
                  <a:pt x="14" y="421"/>
                  <a:pt x="13" y="422"/>
                  <a:pt x="12" y="421"/>
                </a:cubicBezTo>
                <a:cubicBezTo>
                  <a:pt x="13" y="421"/>
                  <a:pt x="11" y="419"/>
                  <a:pt x="11" y="420"/>
                </a:cubicBezTo>
                <a:cubicBezTo>
                  <a:pt x="11" y="417"/>
                  <a:pt x="14" y="417"/>
                  <a:pt x="15" y="419"/>
                </a:cubicBezTo>
                <a:cubicBezTo>
                  <a:pt x="14" y="418"/>
                  <a:pt x="16" y="419"/>
                  <a:pt x="17" y="418"/>
                </a:cubicBezTo>
                <a:cubicBezTo>
                  <a:pt x="16" y="418"/>
                  <a:pt x="17" y="413"/>
                  <a:pt x="19" y="413"/>
                </a:cubicBezTo>
                <a:cubicBezTo>
                  <a:pt x="19" y="413"/>
                  <a:pt x="18" y="416"/>
                  <a:pt x="19" y="417"/>
                </a:cubicBezTo>
                <a:cubicBezTo>
                  <a:pt x="19" y="417"/>
                  <a:pt x="19" y="417"/>
                  <a:pt x="19" y="417"/>
                </a:cubicBezTo>
                <a:cubicBezTo>
                  <a:pt x="19" y="417"/>
                  <a:pt x="19" y="416"/>
                  <a:pt x="20" y="417"/>
                </a:cubicBezTo>
                <a:cubicBezTo>
                  <a:pt x="20" y="417"/>
                  <a:pt x="21" y="418"/>
                  <a:pt x="20" y="419"/>
                </a:cubicBezTo>
                <a:cubicBezTo>
                  <a:pt x="20" y="419"/>
                  <a:pt x="20" y="419"/>
                  <a:pt x="20" y="419"/>
                </a:cubicBezTo>
                <a:cubicBezTo>
                  <a:pt x="21" y="419"/>
                  <a:pt x="20" y="420"/>
                  <a:pt x="19" y="420"/>
                </a:cubicBezTo>
                <a:cubicBezTo>
                  <a:pt x="17" y="421"/>
                  <a:pt x="19" y="421"/>
                  <a:pt x="20" y="422"/>
                </a:cubicBezTo>
                <a:cubicBezTo>
                  <a:pt x="20" y="422"/>
                  <a:pt x="20" y="422"/>
                  <a:pt x="21" y="422"/>
                </a:cubicBezTo>
                <a:cubicBezTo>
                  <a:pt x="21" y="422"/>
                  <a:pt x="21" y="422"/>
                  <a:pt x="21" y="422"/>
                </a:cubicBezTo>
                <a:cubicBezTo>
                  <a:pt x="22" y="423"/>
                  <a:pt x="22" y="423"/>
                  <a:pt x="22" y="424"/>
                </a:cubicBezTo>
                <a:cubicBezTo>
                  <a:pt x="22" y="424"/>
                  <a:pt x="23" y="423"/>
                  <a:pt x="24" y="423"/>
                </a:cubicBezTo>
                <a:cubicBezTo>
                  <a:pt x="25" y="423"/>
                  <a:pt x="24" y="425"/>
                  <a:pt x="26" y="425"/>
                </a:cubicBezTo>
                <a:cubicBezTo>
                  <a:pt x="26" y="425"/>
                  <a:pt x="26" y="425"/>
                  <a:pt x="26" y="425"/>
                </a:cubicBezTo>
                <a:cubicBezTo>
                  <a:pt x="27" y="422"/>
                  <a:pt x="30" y="417"/>
                  <a:pt x="26" y="418"/>
                </a:cubicBezTo>
                <a:cubicBezTo>
                  <a:pt x="29" y="416"/>
                  <a:pt x="25" y="414"/>
                  <a:pt x="24" y="414"/>
                </a:cubicBezTo>
                <a:cubicBezTo>
                  <a:pt x="23" y="412"/>
                  <a:pt x="25" y="415"/>
                  <a:pt x="25" y="414"/>
                </a:cubicBezTo>
                <a:cubicBezTo>
                  <a:pt x="27" y="413"/>
                  <a:pt x="24" y="411"/>
                  <a:pt x="24" y="408"/>
                </a:cubicBezTo>
                <a:cubicBezTo>
                  <a:pt x="24" y="408"/>
                  <a:pt x="26" y="406"/>
                  <a:pt x="26" y="406"/>
                </a:cubicBezTo>
                <a:cubicBezTo>
                  <a:pt x="27" y="404"/>
                  <a:pt x="24" y="405"/>
                  <a:pt x="27" y="404"/>
                </a:cubicBezTo>
                <a:cubicBezTo>
                  <a:pt x="29" y="404"/>
                  <a:pt x="29" y="400"/>
                  <a:pt x="30" y="399"/>
                </a:cubicBezTo>
                <a:cubicBezTo>
                  <a:pt x="30" y="399"/>
                  <a:pt x="34" y="398"/>
                  <a:pt x="34" y="396"/>
                </a:cubicBezTo>
                <a:cubicBezTo>
                  <a:pt x="30" y="400"/>
                  <a:pt x="28" y="395"/>
                  <a:pt x="29" y="394"/>
                </a:cubicBezTo>
                <a:cubicBezTo>
                  <a:pt x="29" y="394"/>
                  <a:pt x="28" y="391"/>
                  <a:pt x="31" y="391"/>
                </a:cubicBezTo>
                <a:cubicBezTo>
                  <a:pt x="33" y="390"/>
                  <a:pt x="32" y="391"/>
                  <a:pt x="34" y="389"/>
                </a:cubicBezTo>
                <a:cubicBezTo>
                  <a:pt x="35" y="388"/>
                  <a:pt x="34" y="396"/>
                  <a:pt x="35" y="396"/>
                </a:cubicBezTo>
                <a:cubicBezTo>
                  <a:pt x="36" y="398"/>
                  <a:pt x="36" y="395"/>
                  <a:pt x="37" y="398"/>
                </a:cubicBezTo>
                <a:cubicBezTo>
                  <a:pt x="38" y="404"/>
                  <a:pt x="42" y="414"/>
                  <a:pt x="34" y="417"/>
                </a:cubicBezTo>
                <a:cubicBezTo>
                  <a:pt x="32" y="418"/>
                  <a:pt x="31" y="417"/>
                  <a:pt x="30" y="418"/>
                </a:cubicBezTo>
                <a:cubicBezTo>
                  <a:pt x="28" y="420"/>
                  <a:pt x="28" y="422"/>
                  <a:pt x="27" y="425"/>
                </a:cubicBezTo>
                <a:cubicBezTo>
                  <a:pt x="27" y="425"/>
                  <a:pt x="27" y="425"/>
                  <a:pt x="27" y="425"/>
                </a:cubicBezTo>
                <a:cubicBezTo>
                  <a:pt x="28" y="425"/>
                  <a:pt x="27" y="426"/>
                  <a:pt x="28" y="427"/>
                </a:cubicBezTo>
                <a:cubicBezTo>
                  <a:pt x="28" y="427"/>
                  <a:pt x="29" y="427"/>
                  <a:pt x="30" y="427"/>
                </a:cubicBezTo>
                <a:cubicBezTo>
                  <a:pt x="30" y="426"/>
                  <a:pt x="30" y="426"/>
                  <a:pt x="31" y="426"/>
                </a:cubicBezTo>
                <a:cubicBezTo>
                  <a:pt x="31" y="426"/>
                  <a:pt x="31" y="426"/>
                  <a:pt x="31" y="427"/>
                </a:cubicBezTo>
                <a:cubicBezTo>
                  <a:pt x="31" y="427"/>
                  <a:pt x="32" y="427"/>
                  <a:pt x="32" y="427"/>
                </a:cubicBezTo>
                <a:cubicBezTo>
                  <a:pt x="32" y="428"/>
                  <a:pt x="31" y="430"/>
                  <a:pt x="33" y="429"/>
                </a:cubicBezTo>
                <a:cubicBezTo>
                  <a:pt x="33" y="430"/>
                  <a:pt x="33" y="432"/>
                  <a:pt x="33" y="433"/>
                </a:cubicBezTo>
                <a:cubicBezTo>
                  <a:pt x="33" y="433"/>
                  <a:pt x="33" y="433"/>
                  <a:pt x="33" y="433"/>
                </a:cubicBezTo>
                <a:cubicBezTo>
                  <a:pt x="34" y="433"/>
                  <a:pt x="36" y="432"/>
                  <a:pt x="35" y="432"/>
                </a:cubicBezTo>
                <a:cubicBezTo>
                  <a:pt x="36" y="432"/>
                  <a:pt x="35" y="435"/>
                  <a:pt x="34" y="436"/>
                </a:cubicBezTo>
                <a:cubicBezTo>
                  <a:pt x="34" y="437"/>
                  <a:pt x="34" y="437"/>
                  <a:pt x="35" y="437"/>
                </a:cubicBezTo>
                <a:cubicBezTo>
                  <a:pt x="34" y="437"/>
                  <a:pt x="38" y="431"/>
                  <a:pt x="39" y="435"/>
                </a:cubicBezTo>
                <a:cubicBezTo>
                  <a:pt x="39" y="434"/>
                  <a:pt x="39" y="434"/>
                  <a:pt x="39" y="434"/>
                </a:cubicBezTo>
                <a:cubicBezTo>
                  <a:pt x="39" y="434"/>
                  <a:pt x="41" y="432"/>
                  <a:pt x="41" y="432"/>
                </a:cubicBezTo>
                <a:cubicBezTo>
                  <a:pt x="43" y="433"/>
                  <a:pt x="41" y="437"/>
                  <a:pt x="40" y="439"/>
                </a:cubicBezTo>
                <a:cubicBezTo>
                  <a:pt x="42" y="439"/>
                  <a:pt x="43" y="440"/>
                  <a:pt x="42" y="441"/>
                </a:cubicBezTo>
                <a:cubicBezTo>
                  <a:pt x="42" y="441"/>
                  <a:pt x="42" y="442"/>
                  <a:pt x="42" y="442"/>
                </a:cubicBezTo>
                <a:cubicBezTo>
                  <a:pt x="42" y="442"/>
                  <a:pt x="42" y="443"/>
                  <a:pt x="41" y="443"/>
                </a:cubicBezTo>
                <a:cubicBezTo>
                  <a:pt x="41" y="443"/>
                  <a:pt x="40" y="444"/>
                  <a:pt x="40" y="444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5"/>
                  <a:pt x="39" y="447"/>
                  <a:pt x="38" y="448"/>
                </a:cubicBezTo>
                <a:cubicBezTo>
                  <a:pt x="38" y="449"/>
                  <a:pt x="38" y="449"/>
                  <a:pt x="38" y="450"/>
                </a:cubicBezTo>
                <a:cubicBezTo>
                  <a:pt x="38" y="450"/>
                  <a:pt x="38" y="450"/>
                  <a:pt x="39" y="450"/>
                </a:cubicBezTo>
                <a:cubicBezTo>
                  <a:pt x="39" y="449"/>
                  <a:pt x="40" y="448"/>
                  <a:pt x="41" y="447"/>
                </a:cubicBezTo>
                <a:cubicBezTo>
                  <a:pt x="41" y="448"/>
                  <a:pt x="40" y="450"/>
                  <a:pt x="39" y="451"/>
                </a:cubicBezTo>
                <a:cubicBezTo>
                  <a:pt x="39" y="451"/>
                  <a:pt x="39" y="451"/>
                  <a:pt x="39" y="451"/>
                </a:cubicBezTo>
                <a:cubicBezTo>
                  <a:pt x="39" y="451"/>
                  <a:pt x="40" y="451"/>
                  <a:pt x="40" y="451"/>
                </a:cubicBezTo>
                <a:cubicBezTo>
                  <a:pt x="40" y="451"/>
                  <a:pt x="39" y="452"/>
                  <a:pt x="39" y="451"/>
                </a:cubicBezTo>
                <a:cubicBezTo>
                  <a:pt x="38" y="453"/>
                  <a:pt x="35" y="455"/>
                  <a:pt x="35" y="457"/>
                </a:cubicBezTo>
                <a:cubicBezTo>
                  <a:pt x="35" y="456"/>
                  <a:pt x="35" y="456"/>
                  <a:pt x="35" y="456"/>
                </a:cubicBezTo>
                <a:cubicBezTo>
                  <a:pt x="36" y="456"/>
                  <a:pt x="36" y="458"/>
                  <a:pt x="36" y="459"/>
                </a:cubicBezTo>
                <a:cubicBezTo>
                  <a:pt x="36" y="459"/>
                  <a:pt x="37" y="459"/>
                  <a:pt x="37" y="460"/>
                </a:cubicBezTo>
                <a:cubicBezTo>
                  <a:pt x="37" y="461"/>
                  <a:pt x="35" y="463"/>
                  <a:pt x="34" y="463"/>
                </a:cubicBezTo>
                <a:cubicBezTo>
                  <a:pt x="34" y="463"/>
                  <a:pt x="34" y="462"/>
                  <a:pt x="34" y="462"/>
                </a:cubicBezTo>
                <a:cubicBezTo>
                  <a:pt x="34" y="462"/>
                  <a:pt x="34" y="462"/>
                  <a:pt x="34" y="462"/>
                </a:cubicBezTo>
                <a:cubicBezTo>
                  <a:pt x="34" y="462"/>
                  <a:pt x="33" y="463"/>
                  <a:pt x="33" y="463"/>
                </a:cubicBezTo>
                <a:cubicBezTo>
                  <a:pt x="31" y="462"/>
                  <a:pt x="33" y="461"/>
                  <a:pt x="34" y="461"/>
                </a:cubicBezTo>
                <a:cubicBezTo>
                  <a:pt x="34" y="461"/>
                  <a:pt x="34" y="460"/>
                  <a:pt x="33" y="460"/>
                </a:cubicBezTo>
                <a:cubicBezTo>
                  <a:pt x="33" y="460"/>
                  <a:pt x="33" y="460"/>
                  <a:pt x="33" y="461"/>
                </a:cubicBezTo>
                <a:cubicBezTo>
                  <a:pt x="32" y="462"/>
                  <a:pt x="31" y="461"/>
                  <a:pt x="32" y="460"/>
                </a:cubicBezTo>
                <a:cubicBezTo>
                  <a:pt x="29" y="460"/>
                  <a:pt x="23" y="461"/>
                  <a:pt x="24" y="461"/>
                </a:cubicBezTo>
                <a:cubicBezTo>
                  <a:pt x="23" y="461"/>
                  <a:pt x="21" y="469"/>
                  <a:pt x="21" y="464"/>
                </a:cubicBezTo>
                <a:cubicBezTo>
                  <a:pt x="21" y="464"/>
                  <a:pt x="21" y="465"/>
                  <a:pt x="20" y="465"/>
                </a:cubicBezTo>
                <a:cubicBezTo>
                  <a:pt x="20" y="465"/>
                  <a:pt x="20" y="465"/>
                  <a:pt x="20" y="465"/>
                </a:cubicBezTo>
                <a:cubicBezTo>
                  <a:pt x="20" y="465"/>
                  <a:pt x="20" y="466"/>
                  <a:pt x="19" y="465"/>
                </a:cubicBezTo>
                <a:cubicBezTo>
                  <a:pt x="19" y="465"/>
                  <a:pt x="19" y="466"/>
                  <a:pt x="19" y="466"/>
                </a:cubicBezTo>
                <a:cubicBezTo>
                  <a:pt x="19" y="467"/>
                  <a:pt x="18" y="465"/>
                  <a:pt x="18" y="465"/>
                </a:cubicBezTo>
                <a:cubicBezTo>
                  <a:pt x="17" y="464"/>
                  <a:pt x="17" y="464"/>
                  <a:pt x="16" y="464"/>
                </a:cubicBezTo>
                <a:cubicBezTo>
                  <a:pt x="16" y="464"/>
                  <a:pt x="16" y="463"/>
                  <a:pt x="16" y="463"/>
                </a:cubicBezTo>
                <a:cubicBezTo>
                  <a:pt x="17" y="466"/>
                  <a:pt x="17" y="468"/>
                  <a:pt x="18" y="470"/>
                </a:cubicBezTo>
                <a:cubicBezTo>
                  <a:pt x="18" y="471"/>
                  <a:pt x="19" y="471"/>
                  <a:pt x="18" y="471"/>
                </a:cubicBezTo>
                <a:cubicBezTo>
                  <a:pt x="18" y="472"/>
                  <a:pt x="19" y="472"/>
                  <a:pt x="19" y="472"/>
                </a:cubicBezTo>
                <a:cubicBezTo>
                  <a:pt x="19" y="472"/>
                  <a:pt x="19" y="472"/>
                  <a:pt x="19" y="471"/>
                </a:cubicBezTo>
                <a:cubicBezTo>
                  <a:pt x="20" y="470"/>
                  <a:pt x="21" y="470"/>
                  <a:pt x="22" y="469"/>
                </a:cubicBezTo>
                <a:cubicBezTo>
                  <a:pt x="21" y="468"/>
                  <a:pt x="22" y="466"/>
                  <a:pt x="23" y="467"/>
                </a:cubicBezTo>
                <a:cubicBezTo>
                  <a:pt x="24" y="467"/>
                  <a:pt x="24" y="468"/>
                  <a:pt x="23" y="469"/>
                </a:cubicBezTo>
                <a:cubicBezTo>
                  <a:pt x="23" y="469"/>
                  <a:pt x="23" y="469"/>
                  <a:pt x="24" y="469"/>
                </a:cubicBezTo>
                <a:cubicBezTo>
                  <a:pt x="24" y="469"/>
                  <a:pt x="24" y="469"/>
                  <a:pt x="24" y="469"/>
                </a:cubicBezTo>
                <a:cubicBezTo>
                  <a:pt x="26" y="468"/>
                  <a:pt x="28" y="469"/>
                  <a:pt x="29" y="470"/>
                </a:cubicBezTo>
                <a:cubicBezTo>
                  <a:pt x="29" y="470"/>
                  <a:pt x="30" y="470"/>
                  <a:pt x="30" y="470"/>
                </a:cubicBezTo>
                <a:cubicBezTo>
                  <a:pt x="30" y="470"/>
                  <a:pt x="30" y="470"/>
                  <a:pt x="30" y="470"/>
                </a:cubicBezTo>
                <a:cubicBezTo>
                  <a:pt x="30" y="470"/>
                  <a:pt x="31" y="471"/>
                  <a:pt x="30" y="471"/>
                </a:cubicBezTo>
                <a:cubicBezTo>
                  <a:pt x="32" y="472"/>
                  <a:pt x="33" y="475"/>
                  <a:pt x="33" y="477"/>
                </a:cubicBezTo>
                <a:cubicBezTo>
                  <a:pt x="33" y="477"/>
                  <a:pt x="32" y="480"/>
                  <a:pt x="31" y="480"/>
                </a:cubicBezTo>
                <a:cubicBezTo>
                  <a:pt x="31" y="480"/>
                  <a:pt x="30" y="479"/>
                  <a:pt x="30" y="480"/>
                </a:cubicBezTo>
                <a:cubicBezTo>
                  <a:pt x="30" y="480"/>
                  <a:pt x="30" y="480"/>
                  <a:pt x="30" y="480"/>
                </a:cubicBezTo>
                <a:cubicBezTo>
                  <a:pt x="29" y="480"/>
                  <a:pt x="29" y="481"/>
                  <a:pt x="29" y="481"/>
                </a:cubicBezTo>
                <a:cubicBezTo>
                  <a:pt x="29" y="481"/>
                  <a:pt x="30" y="481"/>
                  <a:pt x="30" y="482"/>
                </a:cubicBezTo>
                <a:cubicBezTo>
                  <a:pt x="30" y="482"/>
                  <a:pt x="29" y="483"/>
                  <a:pt x="28" y="482"/>
                </a:cubicBezTo>
                <a:cubicBezTo>
                  <a:pt x="28" y="482"/>
                  <a:pt x="28" y="482"/>
                  <a:pt x="28" y="482"/>
                </a:cubicBezTo>
                <a:cubicBezTo>
                  <a:pt x="28" y="483"/>
                  <a:pt x="28" y="484"/>
                  <a:pt x="28" y="485"/>
                </a:cubicBezTo>
                <a:cubicBezTo>
                  <a:pt x="29" y="485"/>
                  <a:pt x="31" y="483"/>
                  <a:pt x="32" y="485"/>
                </a:cubicBezTo>
                <a:cubicBezTo>
                  <a:pt x="29" y="485"/>
                  <a:pt x="31" y="486"/>
                  <a:pt x="31" y="489"/>
                </a:cubicBezTo>
                <a:cubicBezTo>
                  <a:pt x="31" y="493"/>
                  <a:pt x="30" y="491"/>
                  <a:pt x="32" y="488"/>
                </a:cubicBezTo>
                <a:cubicBezTo>
                  <a:pt x="33" y="487"/>
                  <a:pt x="33" y="489"/>
                  <a:pt x="35" y="487"/>
                </a:cubicBezTo>
                <a:cubicBezTo>
                  <a:pt x="35" y="486"/>
                  <a:pt x="35" y="484"/>
                  <a:pt x="35" y="482"/>
                </a:cubicBezTo>
                <a:cubicBezTo>
                  <a:pt x="35" y="482"/>
                  <a:pt x="35" y="482"/>
                  <a:pt x="35" y="482"/>
                </a:cubicBezTo>
                <a:cubicBezTo>
                  <a:pt x="35" y="481"/>
                  <a:pt x="35" y="481"/>
                  <a:pt x="35" y="480"/>
                </a:cubicBezTo>
                <a:cubicBezTo>
                  <a:pt x="35" y="482"/>
                  <a:pt x="31" y="480"/>
                  <a:pt x="33" y="479"/>
                </a:cubicBezTo>
                <a:cubicBezTo>
                  <a:pt x="33" y="479"/>
                  <a:pt x="33" y="479"/>
                  <a:pt x="34" y="478"/>
                </a:cubicBezTo>
                <a:cubicBezTo>
                  <a:pt x="34" y="477"/>
                  <a:pt x="35" y="474"/>
                  <a:pt x="36" y="473"/>
                </a:cubicBezTo>
                <a:cubicBezTo>
                  <a:pt x="36" y="470"/>
                  <a:pt x="37" y="470"/>
                  <a:pt x="36" y="473"/>
                </a:cubicBezTo>
                <a:cubicBezTo>
                  <a:pt x="36" y="475"/>
                  <a:pt x="36" y="477"/>
                  <a:pt x="35" y="478"/>
                </a:cubicBezTo>
                <a:cubicBezTo>
                  <a:pt x="37" y="477"/>
                  <a:pt x="35" y="476"/>
                  <a:pt x="36" y="475"/>
                </a:cubicBezTo>
                <a:cubicBezTo>
                  <a:pt x="36" y="474"/>
                  <a:pt x="38" y="473"/>
                  <a:pt x="39" y="472"/>
                </a:cubicBezTo>
                <a:cubicBezTo>
                  <a:pt x="39" y="472"/>
                  <a:pt x="39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39" y="469"/>
                  <a:pt x="43" y="469"/>
                  <a:pt x="42" y="470"/>
                </a:cubicBezTo>
                <a:cubicBezTo>
                  <a:pt x="43" y="470"/>
                  <a:pt x="43" y="470"/>
                  <a:pt x="43" y="470"/>
                </a:cubicBezTo>
                <a:cubicBezTo>
                  <a:pt x="43" y="470"/>
                  <a:pt x="44" y="470"/>
                  <a:pt x="44" y="471"/>
                </a:cubicBezTo>
                <a:cubicBezTo>
                  <a:pt x="44" y="471"/>
                  <a:pt x="44" y="471"/>
                  <a:pt x="44" y="471"/>
                </a:cubicBezTo>
                <a:cubicBezTo>
                  <a:pt x="44" y="471"/>
                  <a:pt x="45" y="473"/>
                  <a:pt x="46" y="474"/>
                </a:cubicBezTo>
                <a:cubicBezTo>
                  <a:pt x="46" y="474"/>
                  <a:pt x="47" y="474"/>
                  <a:pt x="47" y="474"/>
                </a:cubicBezTo>
                <a:cubicBezTo>
                  <a:pt x="47" y="474"/>
                  <a:pt x="47" y="475"/>
                  <a:pt x="47" y="475"/>
                </a:cubicBezTo>
                <a:cubicBezTo>
                  <a:pt x="47" y="475"/>
                  <a:pt x="48" y="475"/>
                  <a:pt x="48" y="474"/>
                </a:cubicBezTo>
                <a:cubicBezTo>
                  <a:pt x="48" y="474"/>
                  <a:pt x="48" y="473"/>
                  <a:pt x="48" y="473"/>
                </a:cubicBezTo>
                <a:cubicBezTo>
                  <a:pt x="49" y="473"/>
                  <a:pt x="56" y="472"/>
                  <a:pt x="53" y="470"/>
                </a:cubicBezTo>
                <a:cubicBezTo>
                  <a:pt x="52" y="470"/>
                  <a:pt x="52" y="471"/>
                  <a:pt x="52" y="471"/>
                </a:cubicBezTo>
                <a:cubicBezTo>
                  <a:pt x="52" y="471"/>
                  <a:pt x="52" y="470"/>
                  <a:pt x="51" y="470"/>
                </a:cubicBezTo>
                <a:cubicBezTo>
                  <a:pt x="50" y="470"/>
                  <a:pt x="49" y="472"/>
                  <a:pt x="48" y="472"/>
                </a:cubicBezTo>
                <a:cubicBezTo>
                  <a:pt x="50" y="471"/>
                  <a:pt x="48" y="468"/>
                  <a:pt x="49" y="467"/>
                </a:cubicBezTo>
                <a:cubicBezTo>
                  <a:pt x="51" y="467"/>
                  <a:pt x="53" y="470"/>
                  <a:pt x="55" y="470"/>
                </a:cubicBezTo>
                <a:cubicBezTo>
                  <a:pt x="58" y="469"/>
                  <a:pt x="59" y="467"/>
                  <a:pt x="60" y="465"/>
                </a:cubicBezTo>
                <a:cubicBezTo>
                  <a:pt x="59" y="466"/>
                  <a:pt x="57" y="466"/>
                  <a:pt x="56" y="465"/>
                </a:cubicBezTo>
                <a:cubicBezTo>
                  <a:pt x="55" y="466"/>
                  <a:pt x="54" y="467"/>
                  <a:pt x="53" y="465"/>
                </a:cubicBezTo>
                <a:cubicBezTo>
                  <a:pt x="52" y="463"/>
                  <a:pt x="48" y="460"/>
                  <a:pt x="50" y="458"/>
                </a:cubicBezTo>
                <a:cubicBezTo>
                  <a:pt x="53" y="455"/>
                  <a:pt x="58" y="451"/>
                  <a:pt x="59" y="445"/>
                </a:cubicBezTo>
                <a:cubicBezTo>
                  <a:pt x="55" y="450"/>
                  <a:pt x="54" y="444"/>
                  <a:pt x="59" y="443"/>
                </a:cubicBezTo>
                <a:cubicBezTo>
                  <a:pt x="58" y="445"/>
                  <a:pt x="60" y="444"/>
                  <a:pt x="61" y="445"/>
                </a:cubicBezTo>
                <a:cubicBezTo>
                  <a:pt x="61" y="445"/>
                  <a:pt x="61" y="446"/>
                  <a:pt x="61" y="446"/>
                </a:cubicBezTo>
                <a:cubicBezTo>
                  <a:pt x="61" y="446"/>
                  <a:pt x="61" y="446"/>
                  <a:pt x="61" y="446"/>
                </a:cubicBezTo>
                <a:cubicBezTo>
                  <a:pt x="63" y="446"/>
                  <a:pt x="60" y="450"/>
                  <a:pt x="60" y="447"/>
                </a:cubicBezTo>
                <a:cubicBezTo>
                  <a:pt x="60" y="447"/>
                  <a:pt x="60" y="447"/>
                  <a:pt x="60" y="447"/>
                </a:cubicBezTo>
                <a:cubicBezTo>
                  <a:pt x="60" y="448"/>
                  <a:pt x="59" y="448"/>
                  <a:pt x="59" y="449"/>
                </a:cubicBezTo>
                <a:cubicBezTo>
                  <a:pt x="59" y="452"/>
                  <a:pt x="59" y="456"/>
                  <a:pt x="60" y="459"/>
                </a:cubicBezTo>
                <a:cubicBezTo>
                  <a:pt x="61" y="459"/>
                  <a:pt x="61" y="459"/>
                  <a:pt x="62" y="460"/>
                </a:cubicBezTo>
                <a:cubicBezTo>
                  <a:pt x="62" y="460"/>
                  <a:pt x="62" y="460"/>
                  <a:pt x="62" y="461"/>
                </a:cubicBezTo>
                <a:cubicBezTo>
                  <a:pt x="63" y="462"/>
                  <a:pt x="64" y="461"/>
                  <a:pt x="66" y="457"/>
                </a:cubicBezTo>
                <a:cubicBezTo>
                  <a:pt x="67" y="464"/>
                  <a:pt x="71" y="455"/>
                  <a:pt x="70" y="453"/>
                </a:cubicBezTo>
                <a:cubicBezTo>
                  <a:pt x="70" y="453"/>
                  <a:pt x="68" y="453"/>
                  <a:pt x="68" y="452"/>
                </a:cubicBezTo>
                <a:cubicBezTo>
                  <a:pt x="67" y="452"/>
                  <a:pt x="68" y="449"/>
                  <a:pt x="68" y="447"/>
                </a:cubicBezTo>
                <a:cubicBezTo>
                  <a:pt x="69" y="446"/>
                  <a:pt x="73" y="440"/>
                  <a:pt x="72" y="445"/>
                </a:cubicBezTo>
                <a:cubicBezTo>
                  <a:pt x="71" y="446"/>
                  <a:pt x="71" y="448"/>
                  <a:pt x="71" y="449"/>
                </a:cubicBezTo>
                <a:cubicBezTo>
                  <a:pt x="72" y="449"/>
                  <a:pt x="72" y="449"/>
                  <a:pt x="71" y="449"/>
                </a:cubicBezTo>
                <a:cubicBezTo>
                  <a:pt x="71" y="449"/>
                  <a:pt x="71" y="449"/>
                  <a:pt x="71" y="449"/>
                </a:cubicBezTo>
                <a:cubicBezTo>
                  <a:pt x="71" y="450"/>
                  <a:pt x="71" y="452"/>
                  <a:pt x="71" y="453"/>
                </a:cubicBezTo>
                <a:cubicBezTo>
                  <a:pt x="71" y="455"/>
                  <a:pt x="70" y="457"/>
                  <a:pt x="70" y="458"/>
                </a:cubicBezTo>
                <a:cubicBezTo>
                  <a:pt x="70" y="458"/>
                  <a:pt x="70" y="458"/>
                  <a:pt x="71" y="459"/>
                </a:cubicBezTo>
                <a:cubicBezTo>
                  <a:pt x="71" y="459"/>
                  <a:pt x="72" y="459"/>
                  <a:pt x="72" y="460"/>
                </a:cubicBezTo>
                <a:cubicBezTo>
                  <a:pt x="71" y="460"/>
                  <a:pt x="71" y="460"/>
                  <a:pt x="71" y="460"/>
                </a:cubicBezTo>
                <a:cubicBezTo>
                  <a:pt x="71" y="461"/>
                  <a:pt x="72" y="461"/>
                  <a:pt x="72" y="461"/>
                </a:cubicBezTo>
                <a:cubicBezTo>
                  <a:pt x="74" y="461"/>
                  <a:pt x="74" y="453"/>
                  <a:pt x="73" y="450"/>
                </a:cubicBezTo>
                <a:cubicBezTo>
                  <a:pt x="73" y="450"/>
                  <a:pt x="73" y="451"/>
                  <a:pt x="73" y="450"/>
                </a:cubicBezTo>
                <a:cubicBezTo>
                  <a:pt x="72" y="450"/>
                  <a:pt x="73" y="449"/>
                  <a:pt x="73" y="449"/>
                </a:cubicBezTo>
                <a:cubicBezTo>
                  <a:pt x="73" y="449"/>
                  <a:pt x="73" y="449"/>
                  <a:pt x="73" y="449"/>
                </a:cubicBezTo>
                <a:cubicBezTo>
                  <a:pt x="73" y="449"/>
                  <a:pt x="74" y="448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5"/>
                  <a:pt x="74" y="442"/>
                  <a:pt x="75" y="442"/>
                </a:cubicBezTo>
                <a:cubicBezTo>
                  <a:pt x="78" y="440"/>
                  <a:pt x="73" y="455"/>
                  <a:pt x="78" y="450"/>
                </a:cubicBezTo>
                <a:cubicBezTo>
                  <a:pt x="79" y="450"/>
                  <a:pt x="83" y="445"/>
                  <a:pt x="83" y="445"/>
                </a:cubicBezTo>
                <a:cubicBezTo>
                  <a:pt x="82" y="444"/>
                  <a:pt x="81" y="445"/>
                  <a:pt x="80" y="445"/>
                </a:cubicBezTo>
                <a:cubicBezTo>
                  <a:pt x="78" y="444"/>
                  <a:pt x="79" y="441"/>
                  <a:pt x="80" y="441"/>
                </a:cubicBezTo>
                <a:cubicBezTo>
                  <a:pt x="82" y="440"/>
                  <a:pt x="82" y="442"/>
                  <a:pt x="83" y="442"/>
                </a:cubicBezTo>
                <a:cubicBezTo>
                  <a:pt x="85" y="441"/>
                  <a:pt x="85" y="439"/>
                  <a:pt x="86" y="437"/>
                </a:cubicBezTo>
                <a:cubicBezTo>
                  <a:pt x="86" y="438"/>
                  <a:pt x="85" y="438"/>
                  <a:pt x="85" y="438"/>
                </a:cubicBezTo>
                <a:cubicBezTo>
                  <a:pt x="85" y="437"/>
                  <a:pt x="86" y="437"/>
                  <a:pt x="86" y="437"/>
                </a:cubicBezTo>
                <a:cubicBezTo>
                  <a:pt x="86" y="435"/>
                  <a:pt x="87" y="434"/>
                  <a:pt x="88" y="432"/>
                </a:cubicBezTo>
                <a:cubicBezTo>
                  <a:pt x="90" y="430"/>
                  <a:pt x="91" y="426"/>
                  <a:pt x="91" y="426"/>
                </a:cubicBezTo>
                <a:cubicBezTo>
                  <a:pt x="91" y="426"/>
                  <a:pt x="93" y="428"/>
                  <a:pt x="95" y="428"/>
                </a:cubicBezTo>
                <a:cubicBezTo>
                  <a:pt x="97" y="428"/>
                  <a:pt x="96" y="426"/>
                  <a:pt x="97" y="428"/>
                </a:cubicBezTo>
                <a:cubicBezTo>
                  <a:pt x="97" y="430"/>
                  <a:pt x="98" y="428"/>
                  <a:pt x="98" y="430"/>
                </a:cubicBezTo>
                <a:cubicBezTo>
                  <a:pt x="98" y="432"/>
                  <a:pt x="95" y="437"/>
                  <a:pt x="92" y="435"/>
                </a:cubicBezTo>
                <a:cubicBezTo>
                  <a:pt x="91" y="435"/>
                  <a:pt x="91" y="433"/>
                  <a:pt x="89" y="435"/>
                </a:cubicBezTo>
                <a:cubicBezTo>
                  <a:pt x="89" y="436"/>
                  <a:pt x="90" y="437"/>
                  <a:pt x="89" y="439"/>
                </a:cubicBezTo>
                <a:cubicBezTo>
                  <a:pt x="88" y="441"/>
                  <a:pt x="84" y="445"/>
                  <a:pt x="83" y="448"/>
                </a:cubicBezTo>
                <a:cubicBezTo>
                  <a:pt x="82" y="450"/>
                  <a:pt x="83" y="453"/>
                  <a:pt x="81" y="456"/>
                </a:cubicBezTo>
                <a:cubicBezTo>
                  <a:pt x="80" y="458"/>
                  <a:pt x="75" y="461"/>
                  <a:pt x="75" y="463"/>
                </a:cubicBezTo>
                <a:cubicBezTo>
                  <a:pt x="75" y="463"/>
                  <a:pt x="76" y="464"/>
                  <a:pt x="76" y="464"/>
                </a:cubicBezTo>
                <a:cubicBezTo>
                  <a:pt x="77" y="464"/>
                  <a:pt x="77" y="464"/>
                  <a:pt x="77" y="464"/>
                </a:cubicBezTo>
                <a:cubicBezTo>
                  <a:pt x="77" y="465"/>
                  <a:pt x="77" y="465"/>
                  <a:pt x="77" y="465"/>
                </a:cubicBezTo>
                <a:cubicBezTo>
                  <a:pt x="79" y="466"/>
                  <a:pt x="83" y="467"/>
                  <a:pt x="86" y="467"/>
                </a:cubicBezTo>
                <a:cubicBezTo>
                  <a:pt x="86" y="467"/>
                  <a:pt x="86" y="466"/>
                  <a:pt x="86" y="466"/>
                </a:cubicBezTo>
                <a:cubicBezTo>
                  <a:pt x="86" y="465"/>
                  <a:pt x="86" y="465"/>
                  <a:pt x="86" y="464"/>
                </a:cubicBezTo>
                <a:cubicBezTo>
                  <a:pt x="87" y="460"/>
                  <a:pt x="94" y="456"/>
                  <a:pt x="98" y="458"/>
                </a:cubicBezTo>
                <a:cubicBezTo>
                  <a:pt x="98" y="458"/>
                  <a:pt x="98" y="459"/>
                  <a:pt x="99" y="459"/>
                </a:cubicBezTo>
                <a:cubicBezTo>
                  <a:pt x="99" y="459"/>
                  <a:pt x="99" y="459"/>
                  <a:pt x="99" y="459"/>
                </a:cubicBezTo>
                <a:cubicBezTo>
                  <a:pt x="100" y="458"/>
                  <a:pt x="99" y="459"/>
                  <a:pt x="99" y="459"/>
                </a:cubicBezTo>
                <a:cubicBezTo>
                  <a:pt x="99" y="459"/>
                  <a:pt x="99" y="459"/>
                  <a:pt x="99" y="460"/>
                </a:cubicBezTo>
                <a:cubicBezTo>
                  <a:pt x="100" y="459"/>
                  <a:pt x="101" y="459"/>
                  <a:pt x="101" y="458"/>
                </a:cubicBezTo>
                <a:cubicBezTo>
                  <a:pt x="103" y="459"/>
                  <a:pt x="103" y="456"/>
                  <a:pt x="105" y="456"/>
                </a:cubicBezTo>
                <a:cubicBezTo>
                  <a:pt x="106" y="455"/>
                  <a:pt x="108" y="458"/>
                  <a:pt x="108" y="455"/>
                </a:cubicBezTo>
                <a:cubicBezTo>
                  <a:pt x="108" y="460"/>
                  <a:pt x="116" y="452"/>
                  <a:pt x="116" y="451"/>
                </a:cubicBezTo>
                <a:cubicBezTo>
                  <a:pt x="116" y="451"/>
                  <a:pt x="110" y="450"/>
                  <a:pt x="110" y="450"/>
                </a:cubicBezTo>
                <a:cubicBezTo>
                  <a:pt x="110" y="450"/>
                  <a:pt x="110" y="450"/>
                  <a:pt x="110" y="450"/>
                </a:cubicBezTo>
                <a:cubicBezTo>
                  <a:pt x="110" y="451"/>
                  <a:pt x="110" y="451"/>
                  <a:pt x="110" y="451"/>
                </a:cubicBezTo>
                <a:cubicBezTo>
                  <a:pt x="109" y="451"/>
                  <a:pt x="109" y="452"/>
                  <a:pt x="108" y="451"/>
                </a:cubicBezTo>
                <a:cubicBezTo>
                  <a:pt x="107" y="450"/>
                  <a:pt x="109" y="450"/>
                  <a:pt x="110" y="449"/>
                </a:cubicBezTo>
                <a:cubicBezTo>
                  <a:pt x="110" y="449"/>
                  <a:pt x="110" y="449"/>
                  <a:pt x="109" y="449"/>
                </a:cubicBezTo>
                <a:cubicBezTo>
                  <a:pt x="109" y="449"/>
                  <a:pt x="108" y="448"/>
                  <a:pt x="108" y="447"/>
                </a:cubicBezTo>
                <a:cubicBezTo>
                  <a:pt x="108" y="447"/>
                  <a:pt x="108" y="446"/>
                  <a:pt x="108" y="446"/>
                </a:cubicBezTo>
                <a:cubicBezTo>
                  <a:pt x="108" y="446"/>
                  <a:pt x="108" y="445"/>
                  <a:pt x="108" y="444"/>
                </a:cubicBezTo>
                <a:cubicBezTo>
                  <a:pt x="108" y="444"/>
                  <a:pt x="110" y="441"/>
                  <a:pt x="111" y="441"/>
                </a:cubicBezTo>
                <a:cubicBezTo>
                  <a:pt x="112" y="440"/>
                  <a:pt x="114" y="435"/>
                  <a:pt x="115" y="436"/>
                </a:cubicBezTo>
                <a:cubicBezTo>
                  <a:pt x="116" y="436"/>
                  <a:pt x="114" y="438"/>
                  <a:pt x="115" y="439"/>
                </a:cubicBezTo>
                <a:cubicBezTo>
                  <a:pt x="115" y="440"/>
                  <a:pt x="117" y="439"/>
                  <a:pt x="118" y="439"/>
                </a:cubicBezTo>
                <a:cubicBezTo>
                  <a:pt x="119" y="439"/>
                  <a:pt x="118" y="441"/>
                  <a:pt x="119" y="442"/>
                </a:cubicBezTo>
                <a:cubicBezTo>
                  <a:pt x="119" y="441"/>
                  <a:pt x="121" y="440"/>
                  <a:pt x="122" y="442"/>
                </a:cubicBezTo>
                <a:cubicBezTo>
                  <a:pt x="122" y="444"/>
                  <a:pt x="120" y="443"/>
                  <a:pt x="120" y="444"/>
                </a:cubicBezTo>
                <a:cubicBezTo>
                  <a:pt x="119" y="444"/>
                  <a:pt x="120" y="445"/>
                  <a:pt x="120" y="445"/>
                </a:cubicBezTo>
                <a:cubicBezTo>
                  <a:pt x="121" y="446"/>
                  <a:pt x="119" y="447"/>
                  <a:pt x="118" y="448"/>
                </a:cubicBezTo>
                <a:cubicBezTo>
                  <a:pt x="118" y="449"/>
                  <a:pt x="119" y="450"/>
                  <a:pt x="119" y="450"/>
                </a:cubicBezTo>
                <a:cubicBezTo>
                  <a:pt x="117" y="453"/>
                  <a:pt x="112" y="455"/>
                  <a:pt x="113" y="460"/>
                </a:cubicBezTo>
                <a:cubicBezTo>
                  <a:pt x="113" y="461"/>
                  <a:pt x="114" y="460"/>
                  <a:pt x="115" y="460"/>
                </a:cubicBezTo>
                <a:cubicBezTo>
                  <a:pt x="114" y="463"/>
                  <a:pt x="112" y="471"/>
                  <a:pt x="107" y="472"/>
                </a:cubicBezTo>
                <a:cubicBezTo>
                  <a:pt x="106" y="472"/>
                  <a:pt x="104" y="471"/>
                  <a:pt x="103" y="471"/>
                </a:cubicBezTo>
                <a:cubicBezTo>
                  <a:pt x="102" y="471"/>
                  <a:pt x="102" y="470"/>
                  <a:pt x="101" y="469"/>
                </a:cubicBezTo>
                <a:cubicBezTo>
                  <a:pt x="101" y="469"/>
                  <a:pt x="100" y="469"/>
                  <a:pt x="100" y="468"/>
                </a:cubicBezTo>
                <a:cubicBezTo>
                  <a:pt x="100" y="468"/>
                  <a:pt x="100" y="468"/>
                  <a:pt x="100" y="468"/>
                </a:cubicBezTo>
                <a:cubicBezTo>
                  <a:pt x="100" y="468"/>
                  <a:pt x="100" y="467"/>
                  <a:pt x="99" y="467"/>
                </a:cubicBezTo>
                <a:cubicBezTo>
                  <a:pt x="98" y="468"/>
                  <a:pt x="96" y="470"/>
                  <a:pt x="95" y="470"/>
                </a:cubicBezTo>
                <a:cubicBezTo>
                  <a:pt x="96" y="472"/>
                  <a:pt x="98" y="470"/>
                  <a:pt x="99" y="470"/>
                </a:cubicBezTo>
                <a:cubicBezTo>
                  <a:pt x="98" y="471"/>
                  <a:pt x="98" y="471"/>
                  <a:pt x="98" y="472"/>
                </a:cubicBezTo>
                <a:cubicBezTo>
                  <a:pt x="99" y="472"/>
                  <a:pt x="100" y="472"/>
                  <a:pt x="100" y="472"/>
                </a:cubicBezTo>
                <a:cubicBezTo>
                  <a:pt x="101" y="473"/>
                  <a:pt x="99" y="473"/>
                  <a:pt x="99" y="473"/>
                </a:cubicBezTo>
                <a:cubicBezTo>
                  <a:pt x="98" y="475"/>
                  <a:pt x="100" y="474"/>
                  <a:pt x="99" y="476"/>
                </a:cubicBezTo>
                <a:cubicBezTo>
                  <a:pt x="98" y="478"/>
                  <a:pt x="95" y="477"/>
                  <a:pt x="94" y="478"/>
                </a:cubicBezTo>
                <a:cubicBezTo>
                  <a:pt x="94" y="478"/>
                  <a:pt x="94" y="478"/>
                  <a:pt x="94" y="479"/>
                </a:cubicBezTo>
                <a:cubicBezTo>
                  <a:pt x="95" y="479"/>
                  <a:pt x="95" y="479"/>
                  <a:pt x="96" y="479"/>
                </a:cubicBezTo>
                <a:cubicBezTo>
                  <a:pt x="96" y="480"/>
                  <a:pt x="94" y="481"/>
                  <a:pt x="95" y="483"/>
                </a:cubicBezTo>
                <a:cubicBezTo>
                  <a:pt x="95" y="483"/>
                  <a:pt x="96" y="483"/>
                  <a:pt x="96" y="483"/>
                </a:cubicBezTo>
                <a:cubicBezTo>
                  <a:pt x="96" y="483"/>
                  <a:pt x="97" y="487"/>
                  <a:pt x="97" y="487"/>
                </a:cubicBezTo>
                <a:cubicBezTo>
                  <a:pt x="96" y="489"/>
                  <a:pt x="94" y="487"/>
                  <a:pt x="92" y="488"/>
                </a:cubicBezTo>
                <a:cubicBezTo>
                  <a:pt x="93" y="488"/>
                  <a:pt x="90" y="490"/>
                  <a:pt x="90" y="490"/>
                </a:cubicBezTo>
                <a:cubicBezTo>
                  <a:pt x="90" y="491"/>
                  <a:pt x="91" y="491"/>
                  <a:pt x="91" y="492"/>
                </a:cubicBezTo>
                <a:cubicBezTo>
                  <a:pt x="90" y="495"/>
                  <a:pt x="89" y="494"/>
                  <a:pt x="89" y="497"/>
                </a:cubicBezTo>
                <a:cubicBezTo>
                  <a:pt x="89" y="498"/>
                  <a:pt x="86" y="502"/>
                  <a:pt x="84" y="502"/>
                </a:cubicBezTo>
                <a:cubicBezTo>
                  <a:pt x="80" y="502"/>
                  <a:pt x="82" y="494"/>
                  <a:pt x="76" y="496"/>
                </a:cubicBezTo>
                <a:cubicBezTo>
                  <a:pt x="75" y="491"/>
                  <a:pt x="70" y="501"/>
                  <a:pt x="69" y="501"/>
                </a:cubicBezTo>
                <a:cubicBezTo>
                  <a:pt x="69" y="501"/>
                  <a:pt x="69" y="501"/>
                  <a:pt x="69" y="501"/>
                </a:cubicBezTo>
                <a:cubicBezTo>
                  <a:pt x="69" y="501"/>
                  <a:pt x="69" y="502"/>
                  <a:pt x="68" y="501"/>
                </a:cubicBezTo>
                <a:cubicBezTo>
                  <a:pt x="68" y="501"/>
                  <a:pt x="68" y="501"/>
                  <a:pt x="68" y="501"/>
                </a:cubicBezTo>
                <a:cubicBezTo>
                  <a:pt x="68" y="500"/>
                  <a:pt x="69" y="500"/>
                  <a:pt x="69" y="501"/>
                </a:cubicBezTo>
                <a:cubicBezTo>
                  <a:pt x="69" y="499"/>
                  <a:pt x="73" y="494"/>
                  <a:pt x="68" y="496"/>
                </a:cubicBezTo>
                <a:cubicBezTo>
                  <a:pt x="67" y="497"/>
                  <a:pt x="69" y="499"/>
                  <a:pt x="68" y="500"/>
                </a:cubicBezTo>
                <a:cubicBezTo>
                  <a:pt x="67" y="501"/>
                  <a:pt x="64" y="500"/>
                  <a:pt x="62" y="500"/>
                </a:cubicBezTo>
                <a:cubicBezTo>
                  <a:pt x="62" y="500"/>
                  <a:pt x="61" y="504"/>
                  <a:pt x="61" y="505"/>
                </a:cubicBezTo>
                <a:cubicBezTo>
                  <a:pt x="62" y="506"/>
                  <a:pt x="63" y="506"/>
                  <a:pt x="62" y="508"/>
                </a:cubicBezTo>
                <a:cubicBezTo>
                  <a:pt x="62" y="508"/>
                  <a:pt x="62" y="507"/>
                  <a:pt x="63" y="507"/>
                </a:cubicBezTo>
                <a:cubicBezTo>
                  <a:pt x="62" y="508"/>
                  <a:pt x="62" y="509"/>
                  <a:pt x="65" y="508"/>
                </a:cubicBezTo>
                <a:cubicBezTo>
                  <a:pt x="63" y="511"/>
                  <a:pt x="60" y="511"/>
                  <a:pt x="61" y="514"/>
                </a:cubicBezTo>
                <a:cubicBezTo>
                  <a:pt x="61" y="514"/>
                  <a:pt x="67" y="516"/>
                  <a:pt x="66" y="517"/>
                </a:cubicBezTo>
                <a:cubicBezTo>
                  <a:pt x="70" y="515"/>
                  <a:pt x="64" y="513"/>
                  <a:pt x="65" y="510"/>
                </a:cubicBezTo>
                <a:cubicBezTo>
                  <a:pt x="66" y="507"/>
                  <a:pt x="68" y="514"/>
                  <a:pt x="69" y="514"/>
                </a:cubicBezTo>
                <a:cubicBezTo>
                  <a:pt x="70" y="515"/>
                  <a:pt x="69" y="514"/>
                  <a:pt x="70" y="514"/>
                </a:cubicBezTo>
                <a:cubicBezTo>
                  <a:pt x="72" y="513"/>
                  <a:pt x="73" y="516"/>
                  <a:pt x="74" y="514"/>
                </a:cubicBezTo>
                <a:cubicBezTo>
                  <a:pt x="74" y="514"/>
                  <a:pt x="71" y="514"/>
                  <a:pt x="72" y="512"/>
                </a:cubicBezTo>
                <a:cubicBezTo>
                  <a:pt x="73" y="511"/>
                  <a:pt x="75" y="513"/>
                  <a:pt x="75" y="513"/>
                </a:cubicBezTo>
                <a:cubicBezTo>
                  <a:pt x="76" y="513"/>
                  <a:pt x="77" y="513"/>
                  <a:pt x="78" y="514"/>
                </a:cubicBezTo>
                <a:cubicBezTo>
                  <a:pt x="78" y="513"/>
                  <a:pt x="78" y="513"/>
                  <a:pt x="78" y="513"/>
                </a:cubicBezTo>
                <a:cubicBezTo>
                  <a:pt x="78" y="513"/>
                  <a:pt x="78" y="514"/>
                  <a:pt x="78" y="515"/>
                </a:cubicBezTo>
                <a:cubicBezTo>
                  <a:pt x="78" y="517"/>
                  <a:pt x="78" y="519"/>
                  <a:pt x="78" y="520"/>
                </a:cubicBezTo>
                <a:cubicBezTo>
                  <a:pt x="78" y="520"/>
                  <a:pt x="78" y="520"/>
                  <a:pt x="78" y="520"/>
                </a:cubicBezTo>
                <a:cubicBezTo>
                  <a:pt x="79" y="520"/>
                  <a:pt x="78" y="519"/>
                  <a:pt x="79" y="519"/>
                </a:cubicBezTo>
                <a:cubicBezTo>
                  <a:pt x="80" y="520"/>
                  <a:pt x="80" y="520"/>
                  <a:pt x="81" y="520"/>
                </a:cubicBezTo>
                <a:cubicBezTo>
                  <a:pt x="81" y="518"/>
                  <a:pt x="82" y="515"/>
                  <a:pt x="82" y="515"/>
                </a:cubicBezTo>
                <a:cubicBezTo>
                  <a:pt x="84" y="514"/>
                  <a:pt x="85" y="516"/>
                  <a:pt x="86" y="514"/>
                </a:cubicBezTo>
                <a:cubicBezTo>
                  <a:pt x="86" y="513"/>
                  <a:pt x="84" y="512"/>
                  <a:pt x="84" y="511"/>
                </a:cubicBezTo>
                <a:cubicBezTo>
                  <a:pt x="84" y="511"/>
                  <a:pt x="83" y="509"/>
                  <a:pt x="84" y="509"/>
                </a:cubicBezTo>
                <a:cubicBezTo>
                  <a:pt x="82" y="509"/>
                  <a:pt x="80" y="511"/>
                  <a:pt x="80" y="510"/>
                </a:cubicBezTo>
                <a:cubicBezTo>
                  <a:pt x="79" y="510"/>
                  <a:pt x="80" y="508"/>
                  <a:pt x="81" y="507"/>
                </a:cubicBezTo>
                <a:cubicBezTo>
                  <a:pt x="82" y="510"/>
                  <a:pt x="84" y="506"/>
                  <a:pt x="85" y="505"/>
                </a:cubicBezTo>
                <a:cubicBezTo>
                  <a:pt x="86" y="504"/>
                  <a:pt x="89" y="504"/>
                  <a:pt x="89" y="504"/>
                </a:cubicBezTo>
                <a:cubicBezTo>
                  <a:pt x="90" y="503"/>
                  <a:pt x="88" y="501"/>
                  <a:pt x="90" y="501"/>
                </a:cubicBezTo>
                <a:cubicBezTo>
                  <a:pt x="91" y="501"/>
                  <a:pt x="90" y="502"/>
                  <a:pt x="90" y="502"/>
                </a:cubicBezTo>
                <a:cubicBezTo>
                  <a:pt x="91" y="503"/>
                  <a:pt x="93" y="501"/>
                  <a:pt x="94" y="502"/>
                </a:cubicBezTo>
                <a:cubicBezTo>
                  <a:pt x="95" y="502"/>
                  <a:pt x="94" y="504"/>
                  <a:pt x="94" y="505"/>
                </a:cubicBezTo>
                <a:cubicBezTo>
                  <a:pt x="94" y="506"/>
                  <a:pt x="94" y="507"/>
                  <a:pt x="94" y="508"/>
                </a:cubicBezTo>
                <a:cubicBezTo>
                  <a:pt x="97" y="507"/>
                  <a:pt x="101" y="507"/>
                  <a:pt x="102" y="508"/>
                </a:cubicBezTo>
                <a:cubicBezTo>
                  <a:pt x="103" y="509"/>
                  <a:pt x="101" y="511"/>
                  <a:pt x="104" y="510"/>
                </a:cubicBezTo>
                <a:cubicBezTo>
                  <a:pt x="102" y="512"/>
                  <a:pt x="106" y="513"/>
                  <a:pt x="106" y="514"/>
                </a:cubicBezTo>
                <a:cubicBezTo>
                  <a:pt x="106" y="515"/>
                  <a:pt x="104" y="516"/>
                  <a:pt x="104" y="516"/>
                </a:cubicBezTo>
                <a:cubicBezTo>
                  <a:pt x="104" y="516"/>
                  <a:pt x="105" y="517"/>
                  <a:pt x="104" y="518"/>
                </a:cubicBezTo>
                <a:cubicBezTo>
                  <a:pt x="104" y="518"/>
                  <a:pt x="104" y="518"/>
                  <a:pt x="104" y="518"/>
                </a:cubicBezTo>
                <a:cubicBezTo>
                  <a:pt x="105" y="519"/>
                  <a:pt x="106" y="520"/>
                  <a:pt x="106" y="522"/>
                </a:cubicBezTo>
                <a:cubicBezTo>
                  <a:pt x="106" y="522"/>
                  <a:pt x="107" y="522"/>
                  <a:pt x="107" y="522"/>
                </a:cubicBezTo>
                <a:cubicBezTo>
                  <a:pt x="107" y="521"/>
                  <a:pt x="106" y="521"/>
                  <a:pt x="106" y="520"/>
                </a:cubicBezTo>
                <a:cubicBezTo>
                  <a:pt x="106" y="519"/>
                  <a:pt x="107" y="518"/>
                  <a:pt x="108" y="518"/>
                </a:cubicBezTo>
                <a:cubicBezTo>
                  <a:pt x="108" y="517"/>
                  <a:pt x="108" y="517"/>
                  <a:pt x="109" y="516"/>
                </a:cubicBezTo>
                <a:cubicBezTo>
                  <a:pt x="109" y="516"/>
                  <a:pt x="108" y="516"/>
                  <a:pt x="108" y="516"/>
                </a:cubicBezTo>
                <a:cubicBezTo>
                  <a:pt x="108" y="515"/>
                  <a:pt x="109" y="515"/>
                  <a:pt x="109" y="515"/>
                </a:cubicBezTo>
                <a:cubicBezTo>
                  <a:pt x="111" y="514"/>
                  <a:pt x="112" y="513"/>
                  <a:pt x="113" y="512"/>
                </a:cubicBezTo>
                <a:cubicBezTo>
                  <a:pt x="112" y="514"/>
                  <a:pt x="115" y="514"/>
                  <a:pt x="115" y="514"/>
                </a:cubicBezTo>
                <a:cubicBezTo>
                  <a:pt x="115" y="514"/>
                  <a:pt x="116" y="514"/>
                  <a:pt x="116" y="514"/>
                </a:cubicBezTo>
                <a:cubicBezTo>
                  <a:pt x="116" y="514"/>
                  <a:pt x="116" y="514"/>
                  <a:pt x="116" y="514"/>
                </a:cubicBezTo>
                <a:cubicBezTo>
                  <a:pt x="115" y="514"/>
                  <a:pt x="115" y="513"/>
                  <a:pt x="115" y="513"/>
                </a:cubicBezTo>
                <a:cubicBezTo>
                  <a:pt x="114" y="512"/>
                  <a:pt x="115" y="508"/>
                  <a:pt x="115" y="507"/>
                </a:cubicBezTo>
                <a:cubicBezTo>
                  <a:pt x="116" y="507"/>
                  <a:pt x="116" y="508"/>
                  <a:pt x="117" y="508"/>
                </a:cubicBezTo>
                <a:cubicBezTo>
                  <a:pt x="118" y="507"/>
                  <a:pt x="120" y="504"/>
                  <a:pt x="123" y="505"/>
                </a:cubicBezTo>
                <a:cubicBezTo>
                  <a:pt x="122" y="507"/>
                  <a:pt x="120" y="506"/>
                  <a:pt x="120" y="507"/>
                </a:cubicBezTo>
                <a:cubicBezTo>
                  <a:pt x="119" y="508"/>
                  <a:pt x="121" y="508"/>
                  <a:pt x="121" y="508"/>
                </a:cubicBezTo>
                <a:cubicBezTo>
                  <a:pt x="122" y="510"/>
                  <a:pt x="120" y="514"/>
                  <a:pt x="117" y="514"/>
                </a:cubicBezTo>
                <a:cubicBezTo>
                  <a:pt x="117" y="515"/>
                  <a:pt x="117" y="516"/>
                  <a:pt x="116" y="517"/>
                </a:cubicBezTo>
                <a:cubicBezTo>
                  <a:pt x="117" y="517"/>
                  <a:pt x="117" y="517"/>
                  <a:pt x="117" y="517"/>
                </a:cubicBezTo>
                <a:cubicBezTo>
                  <a:pt x="118" y="515"/>
                  <a:pt x="121" y="515"/>
                  <a:pt x="122" y="513"/>
                </a:cubicBezTo>
                <a:cubicBezTo>
                  <a:pt x="122" y="512"/>
                  <a:pt x="122" y="511"/>
                  <a:pt x="122" y="510"/>
                </a:cubicBezTo>
                <a:cubicBezTo>
                  <a:pt x="122" y="510"/>
                  <a:pt x="123" y="509"/>
                  <a:pt x="123" y="508"/>
                </a:cubicBezTo>
                <a:cubicBezTo>
                  <a:pt x="123" y="507"/>
                  <a:pt x="122" y="508"/>
                  <a:pt x="122" y="507"/>
                </a:cubicBezTo>
                <a:cubicBezTo>
                  <a:pt x="123" y="506"/>
                  <a:pt x="124" y="505"/>
                  <a:pt x="124" y="506"/>
                </a:cubicBezTo>
                <a:cubicBezTo>
                  <a:pt x="125" y="506"/>
                  <a:pt x="124" y="508"/>
                  <a:pt x="125" y="510"/>
                </a:cubicBezTo>
                <a:cubicBezTo>
                  <a:pt x="125" y="510"/>
                  <a:pt x="127" y="510"/>
                  <a:pt x="128" y="510"/>
                </a:cubicBezTo>
                <a:cubicBezTo>
                  <a:pt x="129" y="511"/>
                  <a:pt x="129" y="513"/>
                  <a:pt x="132" y="511"/>
                </a:cubicBezTo>
                <a:cubicBezTo>
                  <a:pt x="129" y="514"/>
                  <a:pt x="133" y="512"/>
                  <a:pt x="134" y="513"/>
                </a:cubicBezTo>
                <a:cubicBezTo>
                  <a:pt x="133" y="513"/>
                  <a:pt x="134" y="519"/>
                  <a:pt x="134" y="520"/>
                </a:cubicBezTo>
                <a:cubicBezTo>
                  <a:pt x="134" y="521"/>
                  <a:pt x="132" y="523"/>
                  <a:pt x="132" y="525"/>
                </a:cubicBezTo>
                <a:cubicBezTo>
                  <a:pt x="132" y="525"/>
                  <a:pt x="133" y="524"/>
                  <a:pt x="133" y="524"/>
                </a:cubicBezTo>
                <a:cubicBezTo>
                  <a:pt x="133" y="525"/>
                  <a:pt x="133" y="525"/>
                  <a:pt x="132" y="526"/>
                </a:cubicBezTo>
                <a:cubicBezTo>
                  <a:pt x="132" y="526"/>
                  <a:pt x="132" y="526"/>
                  <a:pt x="132" y="527"/>
                </a:cubicBezTo>
                <a:cubicBezTo>
                  <a:pt x="133" y="526"/>
                  <a:pt x="133" y="526"/>
                  <a:pt x="133" y="526"/>
                </a:cubicBezTo>
                <a:cubicBezTo>
                  <a:pt x="133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6" y="524"/>
                  <a:pt x="142" y="524"/>
                  <a:pt x="145" y="524"/>
                </a:cubicBezTo>
                <a:cubicBezTo>
                  <a:pt x="145" y="523"/>
                  <a:pt x="146" y="522"/>
                  <a:pt x="146" y="522"/>
                </a:cubicBezTo>
                <a:cubicBezTo>
                  <a:pt x="147" y="522"/>
                  <a:pt x="147" y="523"/>
                  <a:pt x="147" y="524"/>
                </a:cubicBezTo>
                <a:cubicBezTo>
                  <a:pt x="147" y="524"/>
                  <a:pt x="148" y="524"/>
                  <a:pt x="148" y="525"/>
                </a:cubicBezTo>
                <a:cubicBezTo>
                  <a:pt x="148" y="526"/>
                  <a:pt x="147" y="526"/>
                  <a:pt x="145" y="527"/>
                </a:cubicBezTo>
                <a:cubicBezTo>
                  <a:pt x="146" y="527"/>
                  <a:pt x="146" y="527"/>
                  <a:pt x="146" y="527"/>
                </a:cubicBezTo>
                <a:cubicBezTo>
                  <a:pt x="146" y="529"/>
                  <a:pt x="146" y="530"/>
                  <a:pt x="145" y="530"/>
                </a:cubicBezTo>
                <a:cubicBezTo>
                  <a:pt x="145" y="531"/>
                  <a:pt x="145" y="532"/>
                  <a:pt x="144" y="533"/>
                </a:cubicBezTo>
                <a:cubicBezTo>
                  <a:pt x="144" y="533"/>
                  <a:pt x="143" y="533"/>
                  <a:pt x="142" y="533"/>
                </a:cubicBezTo>
                <a:cubicBezTo>
                  <a:pt x="142" y="534"/>
                  <a:pt x="143" y="534"/>
                  <a:pt x="144" y="533"/>
                </a:cubicBezTo>
                <a:cubicBezTo>
                  <a:pt x="145" y="533"/>
                  <a:pt x="147" y="530"/>
                  <a:pt x="147" y="530"/>
                </a:cubicBezTo>
                <a:cubicBezTo>
                  <a:pt x="148" y="530"/>
                  <a:pt x="148" y="529"/>
                  <a:pt x="147" y="529"/>
                </a:cubicBezTo>
                <a:cubicBezTo>
                  <a:pt x="151" y="528"/>
                  <a:pt x="150" y="537"/>
                  <a:pt x="148" y="535"/>
                </a:cubicBezTo>
                <a:cubicBezTo>
                  <a:pt x="148" y="535"/>
                  <a:pt x="147" y="533"/>
                  <a:pt x="147" y="533"/>
                </a:cubicBezTo>
                <a:cubicBezTo>
                  <a:pt x="146" y="533"/>
                  <a:pt x="143" y="537"/>
                  <a:pt x="141" y="538"/>
                </a:cubicBezTo>
                <a:cubicBezTo>
                  <a:pt x="140" y="538"/>
                  <a:pt x="140" y="538"/>
                  <a:pt x="139" y="539"/>
                </a:cubicBezTo>
                <a:cubicBezTo>
                  <a:pt x="140" y="540"/>
                  <a:pt x="141" y="541"/>
                  <a:pt x="140" y="542"/>
                </a:cubicBezTo>
                <a:cubicBezTo>
                  <a:pt x="140" y="542"/>
                  <a:pt x="139" y="543"/>
                  <a:pt x="139" y="543"/>
                </a:cubicBezTo>
                <a:cubicBezTo>
                  <a:pt x="139" y="543"/>
                  <a:pt x="138" y="546"/>
                  <a:pt x="138" y="547"/>
                </a:cubicBezTo>
                <a:cubicBezTo>
                  <a:pt x="138" y="547"/>
                  <a:pt x="140" y="546"/>
                  <a:pt x="139" y="546"/>
                </a:cubicBezTo>
                <a:cubicBezTo>
                  <a:pt x="139" y="546"/>
                  <a:pt x="141" y="548"/>
                  <a:pt x="140" y="549"/>
                </a:cubicBezTo>
                <a:cubicBezTo>
                  <a:pt x="140" y="549"/>
                  <a:pt x="140" y="549"/>
                  <a:pt x="139" y="549"/>
                </a:cubicBezTo>
                <a:cubicBezTo>
                  <a:pt x="140" y="549"/>
                  <a:pt x="140" y="550"/>
                  <a:pt x="141" y="550"/>
                </a:cubicBezTo>
                <a:cubicBezTo>
                  <a:pt x="141" y="549"/>
                  <a:pt x="141" y="548"/>
                  <a:pt x="142" y="548"/>
                </a:cubicBezTo>
                <a:cubicBezTo>
                  <a:pt x="141" y="548"/>
                  <a:pt x="141" y="548"/>
                  <a:pt x="140" y="548"/>
                </a:cubicBezTo>
                <a:cubicBezTo>
                  <a:pt x="140" y="547"/>
                  <a:pt x="140" y="547"/>
                  <a:pt x="141" y="547"/>
                </a:cubicBezTo>
                <a:cubicBezTo>
                  <a:pt x="141" y="546"/>
                  <a:pt x="142" y="544"/>
                  <a:pt x="142" y="546"/>
                </a:cubicBezTo>
                <a:cubicBezTo>
                  <a:pt x="143" y="546"/>
                  <a:pt x="142" y="546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3" y="546"/>
                  <a:pt x="144" y="546"/>
                  <a:pt x="145" y="548"/>
                </a:cubicBezTo>
                <a:cubicBezTo>
                  <a:pt x="146" y="549"/>
                  <a:pt x="145" y="550"/>
                  <a:pt x="145" y="551"/>
                </a:cubicBezTo>
                <a:cubicBezTo>
                  <a:pt x="145" y="551"/>
                  <a:pt x="145" y="551"/>
                  <a:pt x="145" y="551"/>
                </a:cubicBezTo>
                <a:cubicBezTo>
                  <a:pt x="147" y="551"/>
                  <a:pt x="145" y="551"/>
                  <a:pt x="146" y="552"/>
                </a:cubicBezTo>
                <a:cubicBezTo>
                  <a:pt x="146" y="552"/>
                  <a:pt x="146" y="552"/>
                  <a:pt x="147" y="552"/>
                </a:cubicBezTo>
                <a:cubicBezTo>
                  <a:pt x="147" y="552"/>
                  <a:pt x="147" y="552"/>
                  <a:pt x="147" y="552"/>
                </a:cubicBezTo>
                <a:cubicBezTo>
                  <a:pt x="147" y="551"/>
                  <a:pt x="148" y="551"/>
                  <a:pt x="148" y="551"/>
                </a:cubicBezTo>
                <a:cubicBezTo>
                  <a:pt x="151" y="552"/>
                  <a:pt x="148" y="556"/>
                  <a:pt x="149" y="558"/>
                </a:cubicBezTo>
                <a:cubicBezTo>
                  <a:pt x="150" y="558"/>
                  <a:pt x="152" y="558"/>
                  <a:pt x="152" y="557"/>
                </a:cubicBezTo>
                <a:cubicBezTo>
                  <a:pt x="153" y="557"/>
                  <a:pt x="153" y="556"/>
                  <a:pt x="154" y="555"/>
                </a:cubicBezTo>
                <a:cubicBezTo>
                  <a:pt x="152" y="554"/>
                  <a:pt x="152" y="553"/>
                  <a:pt x="152" y="551"/>
                </a:cubicBezTo>
                <a:cubicBezTo>
                  <a:pt x="154" y="547"/>
                  <a:pt x="159" y="548"/>
                  <a:pt x="160" y="551"/>
                </a:cubicBezTo>
                <a:cubicBezTo>
                  <a:pt x="161" y="551"/>
                  <a:pt x="161" y="551"/>
                  <a:pt x="162" y="550"/>
                </a:cubicBezTo>
                <a:cubicBezTo>
                  <a:pt x="161" y="550"/>
                  <a:pt x="161" y="551"/>
                  <a:pt x="161" y="551"/>
                </a:cubicBezTo>
                <a:cubicBezTo>
                  <a:pt x="163" y="550"/>
                  <a:pt x="165" y="549"/>
                  <a:pt x="167" y="550"/>
                </a:cubicBezTo>
                <a:cubicBezTo>
                  <a:pt x="169" y="549"/>
                  <a:pt x="170" y="549"/>
                  <a:pt x="170" y="549"/>
                </a:cubicBezTo>
                <a:cubicBezTo>
                  <a:pt x="171" y="550"/>
                  <a:pt x="170" y="550"/>
                  <a:pt x="168" y="551"/>
                </a:cubicBezTo>
                <a:cubicBezTo>
                  <a:pt x="168" y="551"/>
                  <a:pt x="169" y="551"/>
                  <a:pt x="169" y="551"/>
                </a:cubicBezTo>
                <a:cubicBezTo>
                  <a:pt x="169" y="552"/>
                  <a:pt x="169" y="553"/>
                  <a:pt x="169" y="554"/>
                </a:cubicBezTo>
                <a:cubicBezTo>
                  <a:pt x="171" y="554"/>
                  <a:pt x="172" y="555"/>
                  <a:pt x="171" y="557"/>
                </a:cubicBezTo>
                <a:cubicBezTo>
                  <a:pt x="170" y="559"/>
                  <a:pt x="171" y="560"/>
                  <a:pt x="171" y="561"/>
                </a:cubicBezTo>
                <a:cubicBezTo>
                  <a:pt x="171" y="561"/>
                  <a:pt x="170" y="562"/>
                  <a:pt x="170" y="563"/>
                </a:cubicBezTo>
                <a:cubicBezTo>
                  <a:pt x="172" y="561"/>
                  <a:pt x="173" y="559"/>
                  <a:pt x="175" y="558"/>
                </a:cubicBezTo>
                <a:cubicBezTo>
                  <a:pt x="173" y="556"/>
                  <a:pt x="171" y="554"/>
                  <a:pt x="175" y="552"/>
                </a:cubicBezTo>
                <a:cubicBezTo>
                  <a:pt x="175" y="551"/>
                  <a:pt x="176" y="551"/>
                  <a:pt x="177" y="551"/>
                </a:cubicBezTo>
                <a:cubicBezTo>
                  <a:pt x="175" y="551"/>
                  <a:pt x="176" y="547"/>
                  <a:pt x="178" y="548"/>
                </a:cubicBezTo>
                <a:cubicBezTo>
                  <a:pt x="179" y="549"/>
                  <a:pt x="178" y="550"/>
                  <a:pt x="178" y="550"/>
                </a:cubicBezTo>
                <a:cubicBezTo>
                  <a:pt x="177" y="551"/>
                  <a:pt x="177" y="551"/>
                  <a:pt x="177" y="551"/>
                </a:cubicBezTo>
                <a:cubicBezTo>
                  <a:pt x="179" y="551"/>
                  <a:pt x="181" y="550"/>
                  <a:pt x="182" y="550"/>
                </a:cubicBezTo>
                <a:cubicBezTo>
                  <a:pt x="184" y="548"/>
                  <a:pt x="183" y="547"/>
                  <a:pt x="185" y="549"/>
                </a:cubicBezTo>
                <a:cubicBezTo>
                  <a:pt x="186" y="549"/>
                  <a:pt x="186" y="550"/>
                  <a:pt x="188" y="549"/>
                </a:cubicBezTo>
                <a:cubicBezTo>
                  <a:pt x="188" y="549"/>
                  <a:pt x="191" y="545"/>
                  <a:pt x="191" y="548"/>
                </a:cubicBezTo>
                <a:cubicBezTo>
                  <a:pt x="191" y="549"/>
                  <a:pt x="189" y="549"/>
                  <a:pt x="189" y="549"/>
                </a:cubicBezTo>
                <a:cubicBezTo>
                  <a:pt x="190" y="550"/>
                  <a:pt x="194" y="550"/>
                  <a:pt x="194" y="550"/>
                </a:cubicBezTo>
                <a:cubicBezTo>
                  <a:pt x="194" y="551"/>
                  <a:pt x="190" y="553"/>
                  <a:pt x="192" y="555"/>
                </a:cubicBezTo>
                <a:cubicBezTo>
                  <a:pt x="193" y="555"/>
                  <a:pt x="194" y="555"/>
                  <a:pt x="194" y="555"/>
                </a:cubicBezTo>
                <a:cubicBezTo>
                  <a:pt x="194" y="555"/>
                  <a:pt x="193" y="556"/>
                  <a:pt x="193" y="556"/>
                </a:cubicBezTo>
                <a:cubicBezTo>
                  <a:pt x="192" y="558"/>
                  <a:pt x="192" y="558"/>
                  <a:pt x="193" y="558"/>
                </a:cubicBezTo>
                <a:cubicBezTo>
                  <a:pt x="194" y="558"/>
                  <a:pt x="195" y="558"/>
                  <a:pt x="196" y="559"/>
                </a:cubicBezTo>
                <a:cubicBezTo>
                  <a:pt x="196" y="560"/>
                  <a:pt x="195" y="560"/>
                  <a:pt x="194" y="560"/>
                </a:cubicBezTo>
                <a:cubicBezTo>
                  <a:pt x="194" y="561"/>
                  <a:pt x="194" y="561"/>
                  <a:pt x="194" y="561"/>
                </a:cubicBezTo>
                <a:cubicBezTo>
                  <a:pt x="194" y="562"/>
                  <a:pt x="196" y="561"/>
                  <a:pt x="196" y="562"/>
                </a:cubicBezTo>
                <a:cubicBezTo>
                  <a:pt x="197" y="563"/>
                  <a:pt x="195" y="565"/>
                  <a:pt x="195" y="566"/>
                </a:cubicBezTo>
                <a:cubicBezTo>
                  <a:pt x="197" y="568"/>
                  <a:pt x="199" y="565"/>
                  <a:pt x="201" y="566"/>
                </a:cubicBezTo>
                <a:cubicBezTo>
                  <a:pt x="201" y="566"/>
                  <a:pt x="203" y="568"/>
                  <a:pt x="205" y="566"/>
                </a:cubicBezTo>
                <a:cubicBezTo>
                  <a:pt x="206" y="565"/>
                  <a:pt x="204" y="563"/>
                  <a:pt x="208" y="562"/>
                </a:cubicBezTo>
                <a:cubicBezTo>
                  <a:pt x="209" y="561"/>
                  <a:pt x="214" y="560"/>
                  <a:pt x="214" y="562"/>
                </a:cubicBezTo>
                <a:cubicBezTo>
                  <a:pt x="214" y="563"/>
                  <a:pt x="213" y="562"/>
                  <a:pt x="212" y="563"/>
                </a:cubicBezTo>
                <a:cubicBezTo>
                  <a:pt x="211" y="563"/>
                  <a:pt x="213" y="566"/>
                  <a:pt x="213" y="566"/>
                </a:cubicBezTo>
                <a:cubicBezTo>
                  <a:pt x="212" y="567"/>
                  <a:pt x="210" y="567"/>
                  <a:pt x="210" y="568"/>
                </a:cubicBezTo>
                <a:cubicBezTo>
                  <a:pt x="210" y="568"/>
                  <a:pt x="210" y="568"/>
                  <a:pt x="210" y="568"/>
                </a:cubicBezTo>
                <a:cubicBezTo>
                  <a:pt x="210" y="569"/>
                  <a:pt x="210" y="569"/>
                  <a:pt x="210" y="569"/>
                </a:cubicBezTo>
                <a:cubicBezTo>
                  <a:pt x="210" y="570"/>
                  <a:pt x="211" y="572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10" y="574"/>
                  <a:pt x="210" y="575"/>
                  <a:pt x="208" y="576"/>
                </a:cubicBezTo>
                <a:cubicBezTo>
                  <a:pt x="208" y="576"/>
                  <a:pt x="208" y="576"/>
                  <a:pt x="208" y="576"/>
                </a:cubicBezTo>
                <a:cubicBezTo>
                  <a:pt x="208" y="576"/>
                  <a:pt x="209" y="576"/>
                  <a:pt x="209" y="576"/>
                </a:cubicBezTo>
                <a:cubicBezTo>
                  <a:pt x="210" y="576"/>
                  <a:pt x="210" y="576"/>
                  <a:pt x="211" y="577"/>
                </a:cubicBezTo>
                <a:cubicBezTo>
                  <a:pt x="211" y="577"/>
                  <a:pt x="212" y="577"/>
                  <a:pt x="212" y="577"/>
                </a:cubicBezTo>
                <a:cubicBezTo>
                  <a:pt x="212" y="578"/>
                  <a:pt x="211" y="578"/>
                  <a:pt x="211" y="579"/>
                </a:cubicBezTo>
                <a:cubicBezTo>
                  <a:pt x="211" y="579"/>
                  <a:pt x="211" y="580"/>
                  <a:pt x="211" y="580"/>
                </a:cubicBezTo>
                <a:cubicBezTo>
                  <a:pt x="210" y="581"/>
                  <a:pt x="207" y="580"/>
                  <a:pt x="205" y="581"/>
                </a:cubicBezTo>
                <a:cubicBezTo>
                  <a:pt x="206" y="580"/>
                  <a:pt x="206" y="578"/>
                  <a:pt x="204" y="580"/>
                </a:cubicBezTo>
                <a:cubicBezTo>
                  <a:pt x="202" y="581"/>
                  <a:pt x="204" y="581"/>
                  <a:pt x="204" y="582"/>
                </a:cubicBezTo>
                <a:cubicBezTo>
                  <a:pt x="204" y="582"/>
                  <a:pt x="203" y="582"/>
                  <a:pt x="204" y="583"/>
                </a:cubicBezTo>
                <a:cubicBezTo>
                  <a:pt x="204" y="583"/>
                  <a:pt x="204" y="583"/>
                  <a:pt x="204" y="583"/>
                </a:cubicBezTo>
                <a:cubicBezTo>
                  <a:pt x="206" y="582"/>
                  <a:pt x="208" y="582"/>
                  <a:pt x="210" y="583"/>
                </a:cubicBezTo>
                <a:cubicBezTo>
                  <a:pt x="209" y="583"/>
                  <a:pt x="209" y="582"/>
                  <a:pt x="209" y="582"/>
                </a:cubicBezTo>
                <a:cubicBezTo>
                  <a:pt x="209" y="582"/>
                  <a:pt x="209" y="582"/>
                  <a:pt x="209" y="582"/>
                </a:cubicBezTo>
                <a:cubicBezTo>
                  <a:pt x="210" y="581"/>
                  <a:pt x="210" y="582"/>
                  <a:pt x="210" y="583"/>
                </a:cubicBezTo>
                <a:cubicBezTo>
                  <a:pt x="210" y="583"/>
                  <a:pt x="211" y="584"/>
                  <a:pt x="210" y="585"/>
                </a:cubicBezTo>
                <a:cubicBezTo>
                  <a:pt x="210" y="586"/>
                  <a:pt x="208" y="588"/>
                  <a:pt x="205" y="588"/>
                </a:cubicBezTo>
                <a:cubicBezTo>
                  <a:pt x="206" y="588"/>
                  <a:pt x="206" y="590"/>
                  <a:pt x="206" y="591"/>
                </a:cubicBezTo>
                <a:cubicBezTo>
                  <a:pt x="205" y="592"/>
                  <a:pt x="201" y="592"/>
                  <a:pt x="202" y="593"/>
                </a:cubicBezTo>
                <a:cubicBezTo>
                  <a:pt x="201" y="593"/>
                  <a:pt x="199" y="594"/>
                  <a:pt x="198" y="593"/>
                </a:cubicBezTo>
                <a:cubicBezTo>
                  <a:pt x="195" y="591"/>
                  <a:pt x="196" y="591"/>
                  <a:pt x="192" y="592"/>
                </a:cubicBezTo>
                <a:cubicBezTo>
                  <a:pt x="192" y="592"/>
                  <a:pt x="191" y="592"/>
                  <a:pt x="190" y="592"/>
                </a:cubicBezTo>
                <a:cubicBezTo>
                  <a:pt x="188" y="592"/>
                  <a:pt x="189" y="593"/>
                  <a:pt x="189" y="595"/>
                </a:cubicBezTo>
                <a:cubicBezTo>
                  <a:pt x="187" y="593"/>
                  <a:pt x="188" y="595"/>
                  <a:pt x="189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1" y="597"/>
                  <a:pt x="191" y="596"/>
                </a:cubicBezTo>
                <a:cubicBezTo>
                  <a:pt x="190" y="597"/>
                  <a:pt x="192" y="594"/>
                  <a:pt x="193" y="596"/>
                </a:cubicBezTo>
                <a:cubicBezTo>
                  <a:pt x="193" y="596"/>
                  <a:pt x="190" y="600"/>
                  <a:pt x="193" y="600"/>
                </a:cubicBezTo>
                <a:cubicBezTo>
                  <a:pt x="187" y="601"/>
                  <a:pt x="195" y="604"/>
                  <a:pt x="197" y="605"/>
                </a:cubicBezTo>
                <a:cubicBezTo>
                  <a:pt x="198" y="606"/>
                  <a:pt x="198" y="608"/>
                  <a:pt x="198" y="609"/>
                </a:cubicBezTo>
                <a:cubicBezTo>
                  <a:pt x="199" y="610"/>
                  <a:pt x="200" y="610"/>
                  <a:pt x="199" y="611"/>
                </a:cubicBezTo>
                <a:cubicBezTo>
                  <a:pt x="199" y="611"/>
                  <a:pt x="199" y="611"/>
                  <a:pt x="199" y="611"/>
                </a:cubicBezTo>
                <a:cubicBezTo>
                  <a:pt x="200" y="612"/>
                  <a:pt x="200" y="613"/>
                  <a:pt x="201" y="613"/>
                </a:cubicBezTo>
                <a:cubicBezTo>
                  <a:pt x="201" y="613"/>
                  <a:pt x="201" y="613"/>
                  <a:pt x="202" y="613"/>
                </a:cubicBezTo>
                <a:cubicBezTo>
                  <a:pt x="202" y="613"/>
                  <a:pt x="202" y="613"/>
                  <a:pt x="202" y="612"/>
                </a:cubicBezTo>
                <a:cubicBezTo>
                  <a:pt x="203" y="611"/>
                  <a:pt x="204" y="611"/>
                  <a:pt x="206" y="611"/>
                </a:cubicBezTo>
                <a:cubicBezTo>
                  <a:pt x="207" y="611"/>
                  <a:pt x="208" y="612"/>
                  <a:pt x="208" y="613"/>
                </a:cubicBezTo>
                <a:cubicBezTo>
                  <a:pt x="209" y="613"/>
                  <a:pt x="209" y="612"/>
                  <a:pt x="211" y="612"/>
                </a:cubicBezTo>
                <a:cubicBezTo>
                  <a:pt x="211" y="613"/>
                  <a:pt x="210" y="613"/>
                  <a:pt x="208" y="613"/>
                </a:cubicBezTo>
                <a:cubicBezTo>
                  <a:pt x="208" y="614"/>
                  <a:pt x="208" y="615"/>
                  <a:pt x="207" y="615"/>
                </a:cubicBezTo>
                <a:cubicBezTo>
                  <a:pt x="209" y="616"/>
                  <a:pt x="211" y="616"/>
                  <a:pt x="211" y="616"/>
                </a:cubicBezTo>
                <a:cubicBezTo>
                  <a:pt x="211" y="616"/>
                  <a:pt x="211" y="616"/>
                  <a:pt x="212" y="616"/>
                </a:cubicBezTo>
                <a:cubicBezTo>
                  <a:pt x="211" y="615"/>
                  <a:pt x="210" y="615"/>
                  <a:pt x="209" y="615"/>
                </a:cubicBezTo>
                <a:cubicBezTo>
                  <a:pt x="210" y="614"/>
                  <a:pt x="211" y="614"/>
                  <a:pt x="213" y="615"/>
                </a:cubicBezTo>
                <a:cubicBezTo>
                  <a:pt x="213" y="614"/>
                  <a:pt x="213" y="614"/>
                  <a:pt x="213" y="614"/>
                </a:cubicBezTo>
                <a:cubicBezTo>
                  <a:pt x="213" y="614"/>
                  <a:pt x="214" y="612"/>
                  <a:pt x="215" y="613"/>
                </a:cubicBezTo>
                <a:cubicBezTo>
                  <a:pt x="216" y="612"/>
                  <a:pt x="216" y="612"/>
                  <a:pt x="217" y="613"/>
                </a:cubicBezTo>
                <a:cubicBezTo>
                  <a:pt x="217" y="613"/>
                  <a:pt x="216" y="613"/>
                  <a:pt x="216" y="614"/>
                </a:cubicBezTo>
                <a:cubicBezTo>
                  <a:pt x="216" y="614"/>
                  <a:pt x="217" y="616"/>
                  <a:pt x="216" y="615"/>
                </a:cubicBezTo>
                <a:cubicBezTo>
                  <a:pt x="216" y="615"/>
                  <a:pt x="215" y="615"/>
                  <a:pt x="215" y="615"/>
                </a:cubicBezTo>
                <a:cubicBezTo>
                  <a:pt x="215" y="614"/>
                  <a:pt x="215" y="614"/>
                  <a:pt x="215" y="614"/>
                </a:cubicBezTo>
                <a:cubicBezTo>
                  <a:pt x="215" y="614"/>
                  <a:pt x="214" y="615"/>
                  <a:pt x="214" y="615"/>
                </a:cubicBezTo>
                <a:cubicBezTo>
                  <a:pt x="215" y="615"/>
                  <a:pt x="216" y="616"/>
                  <a:pt x="216" y="616"/>
                </a:cubicBezTo>
                <a:cubicBezTo>
                  <a:pt x="216" y="617"/>
                  <a:pt x="215" y="616"/>
                  <a:pt x="214" y="616"/>
                </a:cubicBezTo>
                <a:cubicBezTo>
                  <a:pt x="214" y="616"/>
                  <a:pt x="214" y="617"/>
                  <a:pt x="214" y="617"/>
                </a:cubicBezTo>
                <a:cubicBezTo>
                  <a:pt x="215" y="617"/>
                  <a:pt x="216" y="616"/>
                  <a:pt x="216" y="616"/>
                </a:cubicBezTo>
                <a:cubicBezTo>
                  <a:pt x="217" y="617"/>
                  <a:pt x="218" y="620"/>
                  <a:pt x="220" y="618"/>
                </a:cubicBezTo>
                <a:cubicBezTo>
                  <a:pt x="220" y="618"/>
                  <a:pt x="219" y="617"/>
                  <a:pt x="219" y="617"/>
                </a:cubicBezTo>
                <a:cubicBezTo>
                  <a:pt x="219" y="617"/>
                  <a:pt x="219" y="617"/>
                  <a:pt x="219" y="617"/>
                </a:cubicBezTo>
                <a:cubicBezTo>
                  <a:pt x="219" y="617"/>
                  <a:pt x="219" y="617"/>
                  <a:pt x="218" y="617"/>
                </a:cubicBezTo>
                <a:cubicBezTo>
                  <a:pt x="218" y="616"/>
                  <a:pt x="219" y="615"/>
                  <a:pt x="220" y="616"/>
                </a:cubicBezTo>
                <a:cubicBezTo>
                  <a:pt x="220" y="616"/>
                  <a:pt x="220" y="616"/>
                  <a:pt x="220" y="616"/>
                </a:cubicBezTo>
                <a:cubicBezTo>
                  <a:pt x="221" y="615"/>
                  <a:pt x="224" y="617"/>
                  <a:pt x="225" y="617"/>
                </a:cubicBezTo>
                <a:cubicBezTo>
                  <a:pt x="223" y="618"/>
                  <a:pt x="225" y="619"/>
                  <a:pt x="226" y="620"/>
                </a:cubicBezTo>
                <a:cubicBezTo>
                  <a:pt x="227" y="619"/>
                  <a:pt x="229" y="618"/>
                  <a:pt x="231" y="618"/>
                </a:cubicBezTo>
                <a:cubicBezTo>
                  <a:pt x="230" y="619"/>
                  <a:pt x="228" y="620"/>
                  <a:pt x="226" y="620"/>
                </a:cubicBezTo>
                <a:cubicBezTo>
                  <a:pt x="227" y="621"/>
                  <a:pt x="227" y="621"/>
                  <a:pt x="226" y="622"/>
                </a:cubicBezTo>
                <a:cubicBezTo>
                  <a:pt x="225" y="624"/>
                  <a:pt x="222" y="622"/>
                  <a:pt x="221" y="624"/>
                </a:cubicBezTo>
                <a:cubicBezTo>
                  <a:pt x="220" y="624"/>
                  <a:pt x="222" y="624"/>
                  <a:pt x="222" y="624"/>
                </a:cubicBezTo>
                <a:cubicBezTo>
                  <a:pt x="221" y="626"/>
                  <a:pt x="219" y="627"/>
                  <a:pt x="222" y="628"/>
                </a:cubicBezTo>
                <a:cubicBezTo>
                  <a:pt x="222" y="628"/>
                  <a:pt x="227" y="629"/>
                  <a:pt x="228" y="629"/>
                </a:cubicBezTo>
                <a:cubicBezTo>
                  <a:pt x="231" y="629"/>
                  <a:pt x="233" y="629"/>
                  <a:pt x="235" y="631"/>
                </a:cubicBezTo>
                <a:cubicBezTo>
                  <a:pt x="232" y="631"/>
                  <a:pt x="231" y="632"/>
                  <a:pt x="228" y="633"/>
                </a:cubicBezTo>
                <a:cubicBezTo>
                  <a:pt x="228" y="633"/>
                  <a:pt x="229" y="633"/>
                  <a:pt x="229" y="633"/>
                </a:cubicBezTo>
                <a:cubicBezTo>
                  <a:pt x="229" y="633"/>
                  <a:pt x="228" y="633"/>
                  <a:pt x="228" y="633"/>
                </a:cubicBezTo>
                <a:cubicBezTo>
                  <a:pt x="228" y="633"/>
                  <a:pt x="228" y="633"/>
                  <a:pt x="227" y="633"/>
                </a:cubicBezTo>
                <a:cubicBezTo>
                  <a:pt x="224" y="633"/>
                  <a:pt x="221" y="630"/>
                  <a:pt x="218" y="630"/>
                </a:cubicBezTo>
                <a:cubicBezTo>
                  <a:pt x="218" y="630"/>
                  <a:pt x="215" y="633"/>
                  <a:pt x="214" y="633"/>
                </a:cubicBezTo>
                <a:cubicBezTo>
                  <a:pt x="213" y="633"/>
                  <a:pt x="212" y="632"/>
                  <a:pt x="212" y="633"/>
                </a:cubicBezTo>
                <a:cubicBezTo>
                  <a:pt x="212" y="633"/>
                  <a:pt x="213" y="633"/>
                  <a:pt x="213" y="634"/>
                </a:cubicBezTo>
                <a:cubicBezTo>
                  <a:pt x="213" y="634"/>
                  <a:pt x="213" y="634"/>
                  <a:pt x="214" y="634"/>
                </a:cubicBezTo>
                <a:cubicBezTo>
                  <a:pt x="214" y="633"/>
                  <a:pt x="215" y="633"/>
                  <a:pt x="216" y="633"/>
                </a:cubicBezTo>
                <a:cubicBezTo>
                  <a:pt x="216" y="633"/>
                  <a:pt x="217" y="633"/>
                  <a:pt x="217" y="633"/>
                </a:cubicBezTo>
                <a:cubicBezTo>
                  <a:pt x="217" y="633"/>
                  <a:pt x="217" y="633"/>
                  <a:pt x="217" y="633"/>
                </a:cubicBezTo>
                <a:cubicBezTo>
                  <a:pt x="218" y="633"/>
                  <a:pt x="219" y="633"/>
                  <a:pt x="219" y="634"/>
                </a:cubicBezTo>
                <a:cubicBezTo>
                  <a:pt x="219" y="634"/>
                  <a:pt x="219" y="635"/>
                  <a:pt x="218" y="635"/>
                </a:cubicBezTo>
                <a:cubicBezTo>
                  <a:pt x="218" y="636"/>
                  <a:pt x="217" y="637"/>
                  <a:pt x="216" y="637"/>
                </a:cubicBezTo>
                <a:cubicBezTo>
                  <a:pt x="215" y="637"/>
                  <a:pt x="213" y="636"/>
                  <a:pt x="213" y="635"/>
                </a:cubicBezTo>
                <a:cubicBezTo>
                  <a:pt x="213" y="635"/>
                  <a:pt x="213" y="635"/>
                  <a:pt x="213" y="635"/>
                </a:cubicBezTo>
                <a:cubicBezTo>
                  <a:pt x="213" y="636"/>
                  <a:pt x="211" y="636"/>
                  <a:pt x="210" y="636"/>
                </a:cubicBezTo>
                <a:cubicBezTo>
                  <a:pt x="210" y="636"/>
                  <a:pt x="210" y="637"/>
                  <a:pt x="211" y="637"/>
                </a:cubicBezTo>
                <a:cubicBezTo>
                  <a:pt x="211" y="637"/>
                  <a:pt x="211" y="637"/>
                  <a:pt x="211" y="637"/>
                </a:cubicBezTo>
                <a:cubicBezTo>
                  <a:pt x="212" y="637"/>
                  <a:pt x="211" y="637"/>
                  <a:pt x="211" y="637"/>
                </a:cubicBezTo>
                <a:cubicBezTo>
                  <a:pt x="212" y="639"/>
                  <a:pt x="215" y="640"/>
                  <a:pt x="216" y="641"/>
                </a:cubicBezTo>
                <a:cubicBezTo>
                  <a:pt x="214" y="641"/>
                  <a:pt x="214" y="642"/>
                  <a:pt x="214" y="642"/>
                </a:cubicBezTo>
                <a:cubicBezTo>
                  <a:pt x="216" y="641"/>
                  <a:pt x="219" y="642"/>
                  <a:pt x="216" y="643"/>
                </a:cubicBezTo>
                <a:cubicBezTo>
                  <a:pt x="216" y="643"/>
                  <a:pt x="216" y="644"/>
                  <a:pt x="216" y="644"/>
                </a:cubicBezTo>
                <a:cubicBezTo>
                  <a:pt x="216" y="644"/>
                  <a:pt x="217" y="644"/>
                  <a:pt x="217" y="645"/>
                </a:cubicBezTo>
                <a:cubicBezTo>
                  <a:pt x="219" y="644"/>
                  <a:pt x="222" y="643"/>
                  <a:pt x="224" y="643"/>
                </a:cubicBezTo>
                <a:cubicBezTo>
                  <a:pt x="228" y="642"/>
                  <a:pt x="223" y="645"/>
                  <a:pt x="221" y="645"/>
                </a:cubicBezTo>
                <a:cubicBezTo>
                  <a:pt x="220" y="645"/>
                  <a:pt x="218" y="646"/>
                  <a:pt x="216" y="646"/>
                </a:cubicBezTo>
                <a:cubicBezTo>
                  <a:pt x="216" y="647"/>
                  <a:pt x="216" y="647"/>
                  <a:pt x="215" y="647"/>
                </a:cubicBezTo>
                <a:cubicBezTo>
                  <a:pt x="215" y="647"/>
                  <a:pt x="214" y="647"/>
                  <a:pt x="214" y="647"/>
                </a:cubicBezTo>
                <a:cubicBezTo>
                  <a:pt x="212" y="648"/>
                  <a:pt x="211" y="648"/>
                  <a:pt x="210" y="649"/>
                </a:cubicBezTo>
                <a:cubicBezTo>
                  <a:pt x="209" y="650"/>
                  <a:pt x="208" y="651"/>
                  <a:pt x="208" y="652"/>
                </a:cubicBezTo>
                <a:cubicBezTo>
                  <a:pt x="209" y="652"/>
                  <a:pt x="209" y="652"/>
                  <a:pt x="210" y="653"/>
                </a:cubicBezTo>
                <a:cubicBezTo>
                  <a:pt x="210" y="653"/>
                  <a:pt x="210" y="653"/>
                  <a:pt x="210" y="653"/>
                </a:cubicBezTo>
                <a:cubicBezTo>
                  <a:pt x="210" y="653"/>
                  <a:pt x="210" y="653"/>
                  <a:pt x="211" y="653"/>
                </a:cubicBezTo>
                <a:cubicBezTo>
                  <a:pt x="211" y="653"/>
                  <a:pt x="213" y="654"/>
                  <a:pt x="213" y="654"/>
                </a:cubicBezTo>
                <a:cubicBezTo>
                  <a:pt x="213" y="654"/>
                  <a:pt x="213" y="655"/>
                  <a:pt x="213" y="655"/>
                </a:cubicBezTo>
                <a:cubicBezTo>
                  <a:pt x="213" y="656"/>
                  <a:pt x="212" y="657"/>
                  <a:pt x="210" y="657"/>
                </a:cubicBezTo>
                <a:cubicBezTo>
                  <a:pt x="210" y="658"/>
                  <a:pt x="210" y="658"/>
                  <a:pt x="209" y="659"/>
                </a:cubicBezTo>
                <a:cubicBezTo>
                  <a:pt x="209" y="659"/>
                  <a:pt x="209" y="659"/>
                  <a:pt x="209" y="659"/>
                </a:cubicBezTo>
                <a:cubicBezTo>
                  <a:pt x="210" y="660"/>
                  <a:pt x="212" y="660"/>
                  <a:pt x="213" y="660"/>
                </a:cubicBezTo>
                <a:cubicBezTo>
                  <a:pt x="214" y="660"/>
                  <a:pt x="216" y="660"/>
                  <a:pt x="216" y="661"/>
                </a:cubicBezTo>
                <a:cubicBezTo>
                  <a:pt x="217" y="662"/>
                  <a:pt x="218" y="663"/>
                  <a:pt x="218" y="663"/>
                </a:cubicBezTo>
                <a:cubicBezTo>
                  <a:pt x="218" y="663"/>
                  <a:pt x="219" y="663"/>
                  <a:pt x="220" y="664"/>
                </a:cubicBezTo>
                <a:cubicBezTo>
                  <a:pt x="221" y="665"/>
                  <a:pt x="221" y="667"/>
                  <a:pt x="219" y="667"/>
                </a:cubicBezTo>
                <a:cubicBezTo>
                  <a:pt x="219" y="667"/>
                  <a:pt x="219" y="667"/>
                  <a:pt x="219" y="667"/>
                </a:cubicBezTo>
                <a:cubicBezTo>
                  <a:pt x="219" y="668"/>
                  <a:pt x="219" y="668"/>
                  <a:pt x="219" y="669"/>
                </a:cubicBezTo>
                <a:cubicBezTo>
                  <a:pt x="220" y="669"/>
                  <a:pt x="221" y="668"/>
                  <a:pt x="222" y="669"/>
                </a:cubicBezTo>
                <a:cubicBezTo>
                  <a:pt x="222" y="668"/>
                  <a:pt x="223" y="667"/>
                  <a:pt x="223" y="667"/>
                </a:cubicBezTo>
                <a:cubicBezTo>
                  <a:pt x="223" y="667"/>
                  <a:pt x="225" y="666"/>
                  <a:pt x="226" y="666"/>
                </a:cubicBezTo>
                <a:cubicBezTo>
                  <a:pt x="227" y="664"/>
                  <a:pt x="228" y="664"/>
                  <a:pt x="229" y="664"/>
                </a:cubicBezTo>
                <a:cubicBezTo>
                  <a:pt x="230" y="664"/>
                  <a:pt x="229" y="663"/>
                  <a:pt x="230" y="663"/>
                </a:cubicBezTo>
                <a:cubicBezTo>
                  <a:pt x="231" y="662"/>
                  <a:pt x="232" y="664"/>
                  <a:pt x="232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4" y="663"/>
                </a:cubicBezTo>
                <a:cubicBezTo>
                  <a:pt x="235" y="664"/>
                  <a:pt x="235" y="662"/>
                  <a:pt x="236" y="663"/>
                </a:cubicBezTo>
                <a:cubicBezTo>
                  <a:pt x="236" y="663"/>
                  <a:pt x="235" y="664"/>
                  <a:pt x="235" y="664"/>
                </a:cubicBezTo>
                <a:cubicBezTo>
                  <a:pt x="236" y="665"/>
                  <a:pt x="241" y="668"/>
                  <a:pt x="241" y="670"/>
                </a:cubicBezTo>
                <a:cubicBezTo>
                  <a:pt x="241" y="672"/>
                  <a:pt x="236" y="672"/>
                  <a:pt x="235" y="674"/>
                </a:cubicBezTo>
                <a:cubicBezTo>
                  <a:pt x="235" y="675"/>
                  <a:pt x="236" y="676"/>
                  <a:pt x="235" y="677"/>
                </a:cubicBezTo>
                <a:cubicBezTo>
                  <a:pt x="233" y="677"/>
                  <a:pt x="234" y="675"/>
                  <a:pt x="233" y="675"/>
                </a:cubicBezTo>
                <a:cubicBezTo>
                  <a:pt x="232" y="674"/>
                  <a:pt x="227" y="674"/>
                  <a:pt x="225" y="673"/>
                </a:cubicBezTo>
                <a:cubicBezTo>
                  <a:pt x="225" y="673"/>
                  <a:pt x="224" y="672"/>
                  <a:pt x="223" y="672"/>
                </a:cubicBezTo>
                <a:cubicBezTo>
                  <a:pt x="221" y="673"/>
                  <a:pt x="217" y="673"/>
                  <a:pt x="217" y="674"/>
                </a:cubicBezTo>
                <a:cubicBezTo>
                  <a:pt x="216" y="674"/>
                  <a:pt x="218" y="674"/>
                  <a:pt x="218" y="675"/>
                </a:cubicBezTo>
                <a:cubicBezTo>
                  <a:pt x="217" y="675"/>
                  <a:pt x="216" y="674"/>
                  <a:pt x="215" y="674"/>
                </a:cubicBezTo>
                <a:cubicBezTo>
                  <a:pt x="213" y="674"/>
                  <a:pt x="210" y="675"/>
                  <a:pt x="207" y="675"/>
                </a:cubicBezTo>
                <a:cubicBezTo>
                  <a:pt x="208" y="676"/>
                  <a:pt x="208" y="677"/>
                  <a:pt x="208" y="677"/>
                </a:cubicBezTo>
                <a:cubicBezTo>
                  <a:pt x="209" y="677"/>
                  <a:pt x="209" y="676"/>
                  <a:pt x="209" y="676"/>
                </a:cubicBezTo>
                <a:cubicBezTo>
                  <a:pt x="210" y="676"/>
                  <a:pt x="212" y="677"/>
                  <a:pt x="214" y="679"/>
                </a:cubicBezTo>
                <a:cubicBezTo>
                  <a:pt x="215" y="679"/>
                  <a:pt x="216" y="679"/>
                  <a:pt x="216" y="679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7" y="681"/>
                  <a:pt x="216" y="682"/>
                  <a:pt x="216" y="682"/>
                </a:cubicBezTo>
                <a:cubicBezTo>
                  <a:pt x="218" y="684"/>
                  <a:pt x="222" y="683"/>
                  <a:pt x="224" y="683"/>
                </a:cubicBezTo>
                <a:cubicBezTo>
                  <a:pt x="224" y="683"/>
                  <a:pt x="224" y="684"/>
                  <a:pt x="225" y="684"/>
                </a:cubicBezTo>
                <a:cubicBezTo>
                  <a:pt x="225" y="684"/>
                  <a:pt x="225" y="684"/>
                  <a:pt x="225" y="684"/>
                </a:cubicBezTo>
                <a:cubicBezTo>
                  <a:pt x="225" y="683"/>
                  <a:pt x="230" y="681"/>
                  <a:pt x="231" y="682"/>
                </a:cubicBezTo>
                <a:cubicBezTo>
                  <a:pt x="232" y="684"/>
                  <a:pt x="231" y="686"/>
                  <a:pt x="229" y="686"/>
                </a:cubicBezTo>
                <a:cubicBezTo>
                  <a:pt x="229" y="686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30" y="688"/>
                  <a:pt x="231" y="688"/>
                  <a:pt x="232" y="687"/>
                </a:cubicBezTo>
                <a:cubicBezTo>
                  <a:pt x="232" y="687"/>
                  <a:pt x="232" y="687"/>
                  <a:pt x="232" y="687"/>
                </a:cubicBezTo>
                <a:cubicBezTo>
                  <a:pt x="232" y="687"/>
                  <a:pt x="233" y="686"/>
                  <a:pt x="233" y="686"/>
                </a:cubicBezTo>
                <a:cubicBezTo>
                  <a:pt x="234" y="685"/>
                  <a:pt x="237" y="685"/>
                  <a:pt x="239" y="683"/>
                </a:cubicBezTo>
                <a:cubicBezTo>
                  <a:pt x="240" y="682"/>
                  <a:pt x="243" y="680"/>
                  <a:pt x="244" y="680"/>
                </a:cubicBezTo>
                <a:cubicBezTo>
                  <a:pt x="245" y="681"/>
                  <a:pt x="245" y="682"/>
                  <a:pt x="246" y="683"/>
                </a:cubicBezTo>
                <a:cubicBezTo>
                  <a:pt x="246" y="683"/>
                  <a:pt x="246" y="682"/>
                  <a:pt x="247" y="682"/>
                </a:cubicBezTo>
                <a:cubicBezTo>
                  <a:pt x="248" y="682"/>
                  <a:pt x="249" y="683"/>
                  <a:pt x="249" y="684"/>
                </a:cubicBezTo>
                <a:cubicBezTo>
                  <a:pt x="250" y="684"/>
                  <a:pt x="251" y="684"/>
                  <a:pt x="251" y="685"/>
                </a:cubicBezTo>
                <a:cubicBezTo>
                  <a:pt x="251" y="685"/>
                  <a:pt x="250" y="686"/>
                  <a:pt x="249" y="686"/>
                </a:cubicBezTo>
                <a:cubicBezTo>
                  <a:pt x="248" y="687"/>
                  <a:pt x="247" y="688"/>
                  <a:pt x="246" y="686"/>
                </a:cubicBezTo>
                <a:cubicBezTo>
                  <a:pt x="246" y="685"/>
                  <a:pt x="246" y="686"/>
                  <a:pt x="246" y="687"/>
                </a:cubicBezTo>
                <a:cubicBezTo>
                  <a:pt x="247" y="688"/>
                  <a:pt x="248" y="688"/>
                  <a:pt x="248" y="689"/>
                </a:cubicBezTo>
                <a:cubicBezTo>
                  <a:pt x="248" y="690"/>
                  <a:pt x="247" y="690"/>
                  <a:pt x="245" y="691"/>
                </a:cubicBezTo>
                <a:cubicBezTo>
                  <a:pt x="247" y="692"/>
                  <a:pt x="248" y="693"/>
                  <a:pt x="248" y="694"/>
                </a:cubicBezTo>
                <a:cubicBezTo>
                  <a:pt x="248" y="694"/>
                  <a:pt x="247" y="696"/>
                  <a:pt x="246" y="697"/>
                </a:cubicBezTo>
                <a:cubicBezTo>
                  <a:pt x="252" y="699"/>
                  <a:pt x="257" y="700"/>
                  <a:pt x="263" y="702"/>
                </a:cubicBezTo>
                <a:cubicBezTo>
                  <a:pt x="263" y="702"/>
                  <a:pt x="263" y="702"/>
                  <a:pt x="264" y="701"/>
                </a:cubicBezTo>
                <a:cubicBezTo>
                  <a:pt x="264" y="701"/>
                  <a:pt x="265" y="702"/>
                  <a:pt x="266" y="702"/>
                </a:cubicBezTo>
                <a:cubicBezTo>
                  <a:pt x="267" y="702"/>
                  <a:pt x="267" y="701"/>
                  <a:pt x="268" y="701"/>
                </a:cubicBezTo>
                <a:cubicBezTo>
                  <a:pt x="269" y="701"/>
                  <a:pt x="271" y="702"/>
                  <a:pt x="273" y="702"/>
                </a:cubicBezTo>
                <a:cubicBezTo>
                  <a:pt x="274" y="703"/>
                  <a:pt x="274" y="702"/>
                  <a:pt x="274" y="703"/>
                </a:cubicBezTo>
                <a:cubicBezTo>
                  <a:pt x="275" y="703"/>
                  <a:pt x="274" y="704"/>
                  <a:pt x="274" y="705"/>
                </a:cubicBezTo>
                <a:cubicBezTo>
                  <a:pt x="281" y="707"/>
                  <a:pt x="289" y="708"/>
                  <a:pt x="296" y="709"/>
                </a:cubicBezTo>
                <a:cubicBezTo>
                  <a:pt x="297" y="708"/>
                  <a:pt x="297" y="708"/>
                  <a:pt x="298" y="707"/>
                </a:cubicBezTo>
                <a:cubicBezTo>
                  <a:pt x="298" y="707"/>
                  <a:pt x="304" y="707"/>
                  <a:pt x="305" y="707"/>
                </a:cubicBezTo>
                <a:cubicBezTo>
                  <a:pt x="306" y="707"/>
                  <a:pt x="307" y="708"/>
                  <a:pt x="308" y="708"/>
                </a:cubicBezTo>
                <a:cubicBezTo>
                  <a:pt x="307" y="708"/>
                  <a:pt x="307" y="708"/>
                  <a:pt x="307" y="707"/>
                </a:cubicBezTo>
                <a:cubicBezTo>
                  <a:pt x="306" y="706"/>
                  <a:pt x="306" y="704"/>
                  <a:pt x="307" y="703"/>
                </a:cubicBezTo>
                <a:cubicBezTo>
                  <a:pt x="311" y="699"/>
                  <a:pt x="321" y="702"/>
                  <a:pt x="325" y="704"/>
                </a:cubicBezTo>
                <a:cubicBezTo>
                  <a:pt x="325" y="703"/>
                  <a:pt x="325" y="703"/>
                  <a:pt x="325" y="702"/>
                </a:cubicBezTo>
                <a:cubicBezTo>
                  <a:pt x="326" y="699"/>
                  <a:pt x="334" y="701"/>
                  <a:pt x="334" y="704"/>
                </a:cubicBezTo>
                <a:cubicBezTo>
                  <a:pt x="334" y="704"/>
                  <a:pt x="336" y="705"/>
                  <a:pt x="336" y="705"/>
                </a:cubicBezTo>
                <a:cubicBezTo>
                  <a:pt x="336" y="706"/>
                  <a:pt x="334" y="706"/>
                  <a:pt x="334" y="705"/>
                </a:cubicBezTo>
                <a:cubicBezTo>
                  <a:pt x="333" y="706"/>
                  <a:pt x="330" y="707"/>
                  <a:pt x="328" y="706"/>
                </a:cubicBezTo>
                <a:cubicBezTo>
                  <a:pt x="327" y="706"/>
                  <a:pt x="325" y="706"/>
                  <a:pt x="324" y="708"/>
                </a:cubicBezTo>
                <a:cubicBezTo>
                  <a:pt x="324" y="708"/>
                  <a:pt x="324" y="710"/>
                  <a:pt x="324" y="710"/>
                </a:cubicBezTo>
                <a:cubicBezTo>
                  <a:pt x="323" y="711"/>
                  <a:pt x="321" y="711"/>
                  <a:pt x="321" y="711"/>
                </a:cubicBezTo>
                <a:cubicBezTo>
                  <a:pt x="321" y="712"/>
                  <a:pt x="322" y="713"/>
                  <a:pt x="323" y="713"/>
                </a:cubicBezTo>
                <a:cubicBezTo>
                  <a:pt x="328" y="713"/>
                  <a:pt x="334" y="714"/>
                  <a:pt x="339" y="714"/>
                </a:cubicBezTo>
                <a:cubicBezTo>
                  <a:pt x="338" y="712"/>
                  <a:pt x="340" y="712"/>
                  <a:pt x="342" y="712"/>
                </a:cubicBezTo>
                <a:cubicBezTo>
                  <a:pt x="342" y="712"/>
                  <a:pt x="343" y="712"/>
                  <a:pt x="344" y="712"/>
                </a:cubicBezTo>
                <a:cubicBezTo>
                  <a:pt x="344" y="712"/>
                  <a:pt x="344" y="713"/>
                  <a:pt x="344" y="713"/>
                </a:cubicBezTo>
                <a:cubicBezTo>
                  <a:pt x="344" y="713"/>
                  <a:pt x="345" y="713"/>
                  <a:pt x="345" y="714"/>
                </a:cubicBezTo>
                <a:cubicBezTo>
                  <a:pt x="345" y="714"/>
                  <a:pt x="346" y="714"/>
                  <a:pt x="346" y="714"/>
                </a:cubicBezTo>
                <a:cubicBezTo>
                  <a:pt x="346" y="713"/>
                  <a:pt x="347" y="712"/>
                  <a:pt x="347" y="712"/>
                </a:cubicBezTo>
                <a:cubicBezTo>
                  <a:pt x="348" y="712"/>
                  <a:pt x="349" y="712"/>
                  <a:pt x="349" y="712"/>
                </a:cubicBezTo>
                <a:cubicBezTo>
                  <a:pt x="350" y="712"/>
                  <a:pt x="351" y="711"/>
                  <a:pt x="352" y="711"/>
                </a:cubicBezTo>
                <a:cubicBezTo>
                  <a:pt x="352" y="710"/>
                  <a:pt x="352" y="710"/>
                  <a:pt x="354" y="709"/>
                </a:cubicBezTo>
                <a:cubicBezTo>
                  <a:pt x="355" y="709"/>
                  <a:pt x="355" y="708"/>
                  <a:pt x="357" y="708"/>
                </a:cubicBezTo>
                <a:cubicBezTo>
                  <a:pt x="360" y="707"/>
                  <a:pt x="365" y="706"/>
                  <a:pt x="369" y="705"/>
                </a:cubicBezTo>
                <a:cubicBezTo>
                  <a:pt x="370" y="705"/>
                  <a:pt x="370" y="705"/>
                  <a:pt x="370" y="705"/>
                </a:cubicBezTo>
                <a:cubicBezTo>
                  <a:pt x="370" y="705"/>
                  <a:pt x="369" y="705"/>
                  <a:pt x="369" y="705"/>
                </a:cubicBezTo>
                <a:cubicBezTo>
                  <a:pt x="368" y="705"/>
                  <a:pt x="367" y="704"/>
                  <a:pt x="366" y="702"/>
                </a:cubicBezTo>
                <a:cubicBezTo>
                  <a:pt x="365" y="702"/>
                  <a:pt x="365" y="702"/>
                  <a:pt x="365" y="701"/>
                </a:cubicBezTo>
                <a:cubicBezTo>
                  <a:pt x="365" y="700"/>
                  <a:pt x="364" y="699"/>
                  <a:pt x="365" y="698"/>
                </a:cubicBezTo>
                <a:cubicBezTo>
                  <a:pt x="366" y="692"/>
                  <a:pt x="379" y="693"/>
                  <a:pt x="384" y="696"/>
                </a:cubicBezTo>
                <a:cubicBezTo>
                  <a:pt x="386" y="697"/>
                  <a:pt x="387" y="699"/>
                  <a:pt x="388" y="701"/>
                </a:cubicBezTo>
                <a:cubicBezTo>
                  <a:pt x="390" y="700"/>
                  <a:pt x="392" y="699"/>
                  <a:pt x="392" y="700"/>
                </a:cubicBezTo>
                <a:cubicBezTo>
                  <a:pt x="393" y="701"/>
                  <a:pt x="391" y="702"/>
                  <a:pt x="389" y="702"/>
                </a:cubicBezTo>
                <a:cubicBezTo>
                  <a:pt x="389" y="702"/>
                  <a:pt x="389" y="702"/>
                  <a:pt x="389" y="702"/>
                </a:cubicBezTo>
                <a:cubicBezTo>
                  <a:pt x="390" y="703"/>
                  <a:pt x="391" y="704"/>
                  <a:pt x="391" y="704"/>
                </a:cubicBezTo>
                <a:cubicBezTo>
                  <a:pt x="391" y="706"/>
                  <a:pt x="387" y="707"/>
                  <a:pt x="383" y="708"/>
                </a:cubicBezTo>
                <a:cubicBezTo>
                  <a:pt x="388" y="708"/>
                  <a:pt x="395" y="708"/>
                  <a:pt x="399" y="708"/>
                </a:cubicBezTo>
                <a:cubicBezTo>
                  <a:pt x="399" y="708"/>
                  <a:pt x="406" y="707"/>
                  <a:pt x="406" y="708"/>
                </a:cubicBezTo>
                <a:cubicBezTo>
                  <a:pt x="407" y="710"/>
                  <a:pt x="401" y="709"/>
                  <a:pt x="400" y="709"/>
                </a:cubicBezTo>
                <a:cubicBezTo>
                  <a:pt x="394" y="709"/>
                  <a:pt x="384" y="709"/>
                  <a:pt x="378" y="709"/>
                </a:cubicBezTo>
                <a:cubicBezTo>
                  <a:pt x="378" y="709"/>
                  <a:pt x="377" y="709"/>
                  <a:pt x="377" y="709"/>
                </a:cubicBezTo>
                <a:cubicBezTo>
                  <a:pt x="377" y="709"/>
                  <a:pt x="377" y="709"/>
                  <a:pt x="377" y="708"/>
                </a:cubicBezTo>
                <a:cubicBezTo>
                  <a:pt x="378" y="708"/>
                  <a:pt x="378" y="708"/>
                  <a:pt x="379" y="708"/>
                </a:cubicBezTo>
                <a:cubicBezTo>
                  <a:pt x="377" y="708"/>
                  <a:pt x="376" y="708"/>
                  <a:pt x="375" y="708"/>
                </a:cubicBezTo>
                <a:cubicBezTo>
                  <a:pt x="374" y="708"/>
                  <a:pt x="374" y="709"/>
                  <a:pt x="373" y="709"/>
                </a:cubicBezTo>
                <a:cubicBezTo>
                  <a:pt x="373" y="709"/>
                  <a:pt x="372" y="709"/>
                  <a:pt x="372" y="709"/>
                </a:cubicBezTo>
                <a:cubicBezTo>
                  <a:pt x="372" y="709"/>
                  <a:pt x="371" y="710"/>
                  <a:pt x="370" y="710"/>
                </a:cubicBezTo>
                <a:cubicBezTo>
                  <a:pt x="369" y="710"/>
                  <a:pt x="367" y="710"/>
                  <a:pt x="366" y="711"/>
                </a:cubicBezTo>
                <a:cubicBezTo>
                  <a:pt x="364" y="711"/>
                  <a:pt x="363" y="712"/>
                  <a:pt x="361" y="713"/>
                </a:cubicBezTo>
                <a:cubicBezTo>
                  <a:pt x="360" y="713"/>
                  <a:pt x="360" y="713"/>
                  <a:pt x="360" y="713"/>
                </a:cubicBezTo>
                <a:cubicBezTo>
                  <a:pt x="359" y="713"/>
                  <a:pt x="358" y="714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554" y="715"/>
                  <a:pt x="714" y="555"/>
                  <a:pt x="714" y="357"/>
                </a:cubicBezTo>
                <a:cubicBezTo>
                  <a:pt x="714" y="339"/>
                  <a:pt x="713" y="322"/>
                  <a:pt x="710" y="304"/>
                </a:cubicBezTo>
                <a:close/>
                <a:moveTo>
                  <a:pt x="703" y="277"/>
                </a:moveTo>
                <a:cubicBezTo>
                  <a:pt x="704" y="277"/>
                  <a:pt x="703" y="279"/>
                  <a:pt x="702" y="279"/>
                </a:cubicBezTo>
                <a:cubicBezTo>
                  <a:pt x="702" y="278"/>
                  <a:pt x="703" y="278"/>
                  <a:pt x="703" y="277"/>
                </a:cubicBezTo>
                <a:close/>
                <a:moveTo>
                  <a:pt x="702" y="292"/>
                </a:moveTo>
                <a:cubicBezTo>
                  <a:pt x="702" y="292"/>
                  <a:pt x="702" y="292"/>
                  <a:pt x="702" y="292"/>
                </a:cubicBezTo>
                <a:cubicBezTo>
                  <a:pt x="702" y="292"/>
                  <a:pt x="701" y="293"/>
                  <a:pt x="701" y="293"/>
                </a:cubicBezTo>
                <a:cubicBezTo>
                  <a:pt x="701" y="293"/>
                  <a:pt x="701" y="292"/>
                  <a:pt x="702" y="292"/>
                </a:cubicBezTo>
                <a:close/>
                <a:moveTo>
                  <a:pt x="699" y="271"/>
                </a:moveTo>
                <a:cubicBezTo>
                  <a:pt x="697" y="274"/>
                  <a:pt x="700" y="270"/>
                  <a:pt x="699" y="271"/>
                </a:cubicBezTo>
                <a:close/>
                <a:moveTo>
                  <a:pt x="681" y="279"/>
                </a:moveTo>
                <a:cubicBezTo>
                  <a:pt x="681" y="277"/>
                  <a:pt x="683" y="278"/>
                  <a:pt x="681" y="279"/>
                </a:cubicBezTo>
                <a:close/>
                <a:moveTo>
                  <a:pt x="682" y="275"/>
                </a:moveTo>
                <a:cubicBezTo>
                  <a:pt x="683" y="276"/>
                  <a:pt x="681" y="277"/>
                  <a:pt x="682" y="275"/>
                </a:cubicBezTo>
                <a:close/>
                <a:moveTo>
                  <a:pt x="686" y="247"/>
                </a:moveTo>
                <a:cubicBezTo>
                  <a:pt x="687" y="248"/>
                  <a:pt x="687" y="250"/>
                  <a:pt x="687" y="252"/>
                </a:cubicBezTo>
                <a:cubicBezTo>
                  <a:pt x="686" y="251"/>
                  <a:pt x="686" y="249"/>
                  <a:pt x="686" y="247"/>
                </a:cubicBezTo>
                <a:close/>
                <a:moveTo>
                  <a:pt x="680" y="254"/>
                </a:moveTo>
                <a:cubicBezTo>
                  <a:pt x="680" y="255"/>
                  <a:pt x="681" y="252"/>
                  <a:pt x="680" y="254"/>
                </a:cubicBezTo>
                <a:close/>
                <a:moveTo>
                  <a:pt x="684" y="227"/>
                </a:moveTo>
                <a:cubicBezTo>
                  <a:pt x="687" y="230"/>
                  <a:pt x="682" y="233"/>
                  <a:pt x="680" y="234"/>
                </a:cubicBezTo>
                <a:cubicBezTo>
                  <a:pt x="678" y="231"/>
                  <a:pt x="681" y="225"/>
                  <a:pt x="684" y="227"/>
                </a:cubicBezTo>
                <a:close/>
                <a:moveTo>
                  <a:pt x="634" y="190"/>
                </a:moveTo>
                <a:cubicBezTo>
                  <a:pt x="634" y="190"/>
                  <a:pt x="634" y="191"/>
                  <a:pt x="634" y="191"/>
                </a:cubicBezTo>
                <a:cubicBezTo>
                  <a:pt x="635" y="194"/>
                  <a:pt x="630" y="192"/>
                  <a:pt x="634" y="190"/>
                </a:cubicBezTo>
                <a:close/>
                <a:moveTo>
                  <a:pt x="574" y="146"/>
                </a:moveTo>
                <a:cubicBezTo>
                  <a:pt x="575" y="147"/>
                  <a:pt x="573" y="147"/>
                  <a:pt x="573" y="146"/>
                </a:cubicBezTo>
                <a:cubicBezTo>
                  <a:pt x="572" y="146"/>
                  <a:pt x="574" y="145"/>
                  <a:pt x="574" y="146"/>
                </a:cubicBezTo>
                <a:close/>
                <a:moveTo>
                  <a:pt x="571" y="138"/>
                </a:moveTo>
                <a:cubicBezTo>
                  <a:pt x="571" y="138"/>
                  <a:pt x="571" y="138"/>
                  <a:pt x="571" y="138"/>
                </a:cubicBezTo>
                <a:cubicBezTo>
                  <a:pt x="572" y="140"/>
                  <a:pt x="569" y="137"/>
                  <a:pt x="571" y="138"/>
                </a:cubicBezTo>
                <a:close/>
                <a:moveTo>
                  <a:pt x="566" y="136"/>
                </a:moveTo>
                <a:cubicBezTo>
                  <a:pt x="566" y="137"/>
                  <a:pt x="564" y="137"/>
                  <a:pt x="564" y="137"/>
                </a:cubicBezTo>
                <a:cubicBezTo>
                  <a:pt x="564" y="136"/>
                  <a:pt x="566" y="135"/>
                  <a:pt x="566" y="136"/>
                </a:cubicBezTo>
                <a:close/>
                <a:moveTo>
                  <a:pt x="562" y="145"/>
                </a:moveTo>
                <a:cubicBezTo>
                  <a:pt x="563" y="146"/>
                  <a:pt x="562" y="146"/>
                  <a:pt x="562" y="146"/>
                </a:cubicBezTo>
                <a:cubicBezTo>
                  <a:pt x="561" y="145"/>
                  <a:pt x="562" y="145"/>
                  <a:pt x="562" y="145"/>
                </a:cubicBezTo>
                <a:close/>
                <a:moveTo>
                  <a:pt x="549" y="88"/>
                </a:moveTo>
                <a:cubicBezTo>
                  <a:pt x="549" y="88"/>
                  <a:pt x="549" y="88"/>
                  <a:pt x="549" y="88"/>
                </a:cubicBezTo>
                <a:cubicBezTo>
                  <a:pt x="549" y="88"/>
                  <a:pt x="549" y="88"/>
                  <a:pt x="549" y="88"/>
                </a:cubicBezTo>
                <a:close/>
                <a:moveTo>
                  <a:pt x="549" y="88"/>
                </a:moveTo>
                <a:cubicBezTo>
                  <a:pt x="549" y="88"/>
                  <a:pt x="548" y="88"/>
                  <a:pt x="549" y="88"/>
                </a:cubicBezTo>
                <a:close/>
                <a:moveTo>
                  <a:pt x="549" y="90"/>
                </a:moveTo>
                <a:cubicBezTo>
                  <a:pt x="549" y="91"/>
                  <a:pt x="548" y="91"/>
                  <a:pt x="548" y="91"/>
                </a:cubicBezTo>
                <a:cubicBezTo>
                  <a:pt x="548" y="91"/>
                  <a:pt x="549" y="90"/>
                  <a:pt x="549" y="90"/>
                </a:cubicBezTo>
                <a:close/>
                <a:moveTo>
                  <a:pt x="547" y="89"/>
                </a:moveTo>
                <a:cubicBezTo>
                  <a:pt x="546" y="89"/>
                  <a:pt x="546" y="90"/>
                  <a:pt x="545" y="90"/>
                </a:cubicBezTo>
                <a:cubicBezTo>
                  <a:pt x="546" y="90"/>
                  <a:pt x="544" y="88"/>
                  <a:pt x="544" y="88"/>
                </a:cubicBezTo>
                <a:cubicBezTo>
                  <a:pt x="545" y="87"/>
                  <a:pt x="547" y="87"/>
                  <a:pt x="547" y="89"/>
                </a:cubicBezTo>
                <a:close/>
                <a:moveTo>
                  <a:pt x="540" y="94"/>
                </a:moveTo>
                <a:cubicBezTo>
                  <a:pt x="541" y="94"/>
                  <a:pt x="539" y="94"/>
                  <a:pt x="539" y="94"/>
                </a:cubicBezTo>
                <a:cubicBezTo>
                  <a:pt x="539" y="93"/>
                  <a:pt x="540" y="93"/>
                  <a:pt x="540" y="94"/>
                </a:cubicBezTo>
                <a:close/>
                <a:moveTo>
                  <a:pt x="540" y="97"/>
                </a:moveTo>
                <a:cubicBezTo>
                  <a:pt x="540" y="96"/>
                  <a:pt x="538" y="98"/>
                  <a:pt x="539" y="97"/>
                </a:cubicBezTo>
                <a:cubicBezTo>
                  <a:pt x="539" y="96"/>
                  <a:pt x="542" y="93"/>
                  <a:pt x="544" y="93"/>
                </a:cubicBezTo>
                <a:cubicBezTo>
                  <a:pt x="546" y="93"/>
                  <a:pt x="549" y="94"/>
                  <a:pt x="548" y="96"/>
                </a:cubicBezTo>
                <a:cubicBezTo>
                  <a:pt x="548" y="98"/>
                  <a:pt x="544" y="100"/>
                  <a:pt x="542" y="100"/>
                </a:cubicBezTo>
                <a:cubicBezTo>
                  <a:pt x="541" y="100"/>
                  <a:pt x="540" y="99"/>
                  <a:pt x="540" y="99"/>
                </a:cubicBezTo>
                <a:cubicBezTo>
                  <a:pt x="539" y="99"/>
                  <a:pt x="538" y="101"/>
                  <a:pt x="538" y="99"/>
                </a:cubicBezTo>
                <a:cubicBezTo>
                  <a:pt x="538" y="99"/>
                  <a:pt x="540" y="97"/>
                  <a:pt x="540" y="97"/>
                </a:cubicBezTo>
                <a:close/>
                <a:moveTo>
                  <a:pt x="535" y="95"/>
                </a:moveTo>
                <a:cubicBezTo>
                  <a:pt x="536" y="96"/>
                  <a:pt x="533" y="95"/>
                  <a:pt x="535" y="95"/>
                </a:cubicBezTo>
                <a:close/>
                <a:moveTo>
                  <a:pt x="535" y="97"/>
                </a:moveTo>
                <a:cubicBezTo>
                  <a:pt x="535" y="97"/>
                  <a:pt x="535" y="96"/>
                  <a:pt x="535" y="96"/>
                </a:cubicBezTo>
                <a:cubicBezTo>
                  <a:pt x="535" y="97"/>
                  <a:pt x="536" y="97"/>
                  <a:pt x="535" y="97"/>
                </a:cubicBezTo>
                <a:close/>
                <a:moveTo>
                  <a:pt x="534" y="111"/>
                </a:moveTo>
                <a:cubicBezTo>
                  <a:pt x="534" y="110"/>
                  <a:pt x="535" y="109"/>
                  <a:pt x="536" y="110"/>
                </a:cubicBezTo>
                <a:cubicBezTo>
                  <a:pt x="537" y="111"/>
                  <a:pt x="535" y="111"/>
                  <a:pt x="534" y="111"/>
                </a:cubicBezTo>
                <a:close/>
                <a:moveTo>
                  <a:pt x="535" y="84"/>
                </a:moveTo>
                <a:cubicBezTo>
                  <a:pt x="538" y="83"/>
                  <a:pt x="536" y="88"/>
                  <a:pt x="534" y="87"/>
                </a:cubicBezTo>
                <a:cubicBezTo>
                  <a:pt x="532" y="86"/>
                  <a:pt x="534" y="85"/>
                  <a:pt x="535" y="84"/>
                </a:cubicBezTo>
                <a:close/>
                <a:moveTo>
                  <a:pt x="545" y="73"/>
                </a:moveTo>
                <a:cubicBezTo>
                  <a:pt x="544" y="74"/>
                  <a:pt x="544" y="72"/>
                  <a:pt x="545" y="73"/>
                </a:cubicBezTo>
                <a:close/>
                <a:moveTo>
                  <a:pt x="541" y="72"/>
                </a:moveTo>
                <a:cubicBezTo>
                  <a:pt x="540" y="73"/>
                  <a:pt x="539" y="73"/>
                  <a:pt x="537" y="73"/>
                </a:cubicBezTo>
                <a:cubicBezTo>
                  <a:pt x="539" y="73"/>
                  <a:pt x="539" y="71"/>
                  <a:pt x="541" y="72"/>
                </a:cubicBezTo>
                <a:close/>
                <a:moveTo>
                  <a:pt x="534" y="73"/>
                </a:moveTo>
                <a:cubicBezTo>
                  <a:pt x="534" y="74"/>
                  <a:pt x="532" y="75"/>
                  <a:pt x="532" y="74"/>
                </a:cubicBezTo>
                <a:cubicBezTo>
                  <a:pt x="531" y="74"/>
                  <a:pt x="534" y="73"/>
                  <a:pt x="534" y="73"/>
                </a:cubicBezTo>
                <a:close/>
                <a:moveTo>
                  <a:pt x="531" y="74"/>
                </a:moveTo>
                <a:cubicBezTo>
                  <a:pt x="532" y="75"/>
                  <a:pt x="530" y="74"/>
                  <a:pt x="530" y="74"/>
                </a:cubicBezTo>
                <a:cubicBezTo>
                  <a:pt x="529" y="73"/>
                  <a:pt x="531" y="73"/>
                  <a:pt x="531" y="74"/>
                </a:cubicBezTo>
                <a:close/>
                <a:moveTo>
                  <a:pt x="458" y="41"/>
                </a:moveTo>
                <a:cubicBezTo>
                  <a:pt x="458" y="42"/>
                  <a:pt x="458" y="42"/>
                  <a:pt x="458" y="42"/>
                </a:cubicBezTo>
                <a:cubicBezTo>
                  <a:pt x="458" y="41"/>
                  <a:pt x="457" y="40"/>
                  <a:pt x="458" y="41"/>
                </a:cubicBezTo>
                <a:close/>
                <a:moveTo>
                  <a:pt x="421" y="34"/>
                </a:moveTo>
                <a:cubicBezTo>
                  <a:pt x="420" y="34"/>
                  <a:pt x="420" y="33"/>
                  <a:pt x="421" y="34"/>
                </a:cubicBezTo>
                <a:close/>
                <a:moveTo>
                  <a:pt x="421" y="29"/>
                </a:moveTo>
                <a:cubicBezTo>
                  <a:pt x="422" y="30"/>
                  <a:pt x="420" y="30"/>
                  <a:pt x="420" y="30"/>
                </a:cubicBezTo>
                <a:cubicBezTo>
                  <a:pt x="419" y="29"/>
                  <a:pt x="421" y="29"/>
                  <a:pt x="421" y="29"/>
                </a:cubicBezTo>
                <a:close/>
                <a:moveTo>
                  <a:pt x="461" y="19"/>
                </a:moveTo>
                <a:cubicBezTo>
                  <a:pt x="461" y="20"/>
                  <a:pt x="458" y="20"/>
                  <a:pt x="458" y="19"/>
                </a:cubicBezTo>
                <a:cubicBezTo>
                  <a:pt x="457" y="18"/>
                  <a:pt x="461" y="17"/>
                  <a:pt x="461" y="19"/>
                </a:cubicBezTo>
                <a:close/>
                <a:moveTo>
                  <a:pt x="456" y="20"/>
                </a:moveTo>
                <a:cubicBezTo>
                  <a:pt x="457" y="21"/>
                  <a:pt x="454" y="22"/>
                  <a:pt x="454" y="20"/>
                </a:cubicBezTo>
                <a:cubicBezTo>
                  <a:pt x="454" y="20"/>
                  <a:pt x="456" y="20"/>
                  <a:pt x="456" y="20"/>
                </a:cubicBezTo>
                <a:close/>
                <a:moveTo>
                  <a:pt x="455" y="23"/>
                </a:moveTo>
                <a:cubicBezTo>
                  <a:pt x="456" y="24"/>
                  <a:pt x="453" y="23"/>
                  <a:pt x="453" y="23"/>
                </a:cubicBezTo>
                <a:cubicBezTo>
                  <a:pt x="453" y="22"/>
                  <a:pt x="455" y="22"/>
                  <a:pt x="455" y="23"/>
                </a:cubicBezTo>
                <a:close/>
                <a:moveTo>
                  <a:pt x="434" y="24"/>
                </a:moveTo>
                <a:cubicBezTo>
                  <a:pt x="434" y="25"/>
                  <a:pt x="430" y="24"/>
                  <a:pt x="430" y="23"/>
                </a:cubicBezTo>
                <a:cubicBezTo>
                  <a:pt x="430" y="22"/>
                  <a:pt x="433" y="22"/>
                  <a:pt x="434" y="24"/>
                </a:cubicBezTo>
                <a:close/>
                <a:moveTo>
                  <a:pt x="427" y="20"/>
                </a:moveTo>
                <a:cubicBezTo>
                  <a:pt x="427" y="21"/>
                  <a:pt x="425" y="20"/>
                  <a:pt x="425" y="20"/>
                </a:cubicBezTo>
                <a:cubicBezTo>
                  <a:pt x="425" y="20"/>
                  <a:pt x="427" y="19"/>
                  <a:pt x="427" y="20"/>
                </a:cubicBezTo>
                <a:close/>
                <a:moveTo>
                  <a:pt x="418" y="41"/>
                </a:moveTo>
                <a:cubicBezTo>
                  <a:pt x="418" y="41"/>
                  <a:pt x="418" y="40"/>
                  <a:pt x="418" y="40"/>
                </a:cubicBezTo>
                <a:cubicBezTo>
                  <a:pt x="416" y="39"/>
                  <a:pt x="420" y="40"/>
                  <a:pt x="418" y="41"/>
                </a:cubicBezTo>
                <a:close/>
                <a:moveTo>
                  <a:pt x="415" y="43"/>
                </a:moveTo>
                <a:cubicBezTo>
                  <a:pt x="416" y="44"/>
                  <a:pt x="414" y="44"/>
                  <a:pt x="414" y="44"/>
                </a:cubicBezTo>
                <a:cubicBezTo>
                  <a:pt x="414" y="44"/>
                  <a:pt x="414" y="43"/>
                  <a:pt x="415" y="43"/>
                </a:cubicBezTo>
                <a:close/>
                <a:moveTo>
                  <a:pt x="388" y="45"/>
                </a:moveTo>
                <a:cubicBezTo>
                  <a:pt x="388" y="43"/>
                  <a:pt x="393" y="43"/>
                  <a:pt x="393" y="45"/>
                </a:cubicBezTo>
                <a:cubicBezTo>
                  <a:pt x="393" y="48"/>
                  <a:pt x="388" y="46"/>
                  <a:pt x="388" y="45"/>
                </a:cubicBezTo>
                <a:close/>
                <a:moveTo>
                  <a:pt x="394" y="10"/>
                </a:moveTo>
                <a:cubicBezTo>
                  <a:pt x="394" y="11"/>
                  <a:pt x="393" y="11"/>
                  <a:pt x="392" y="11"/>
                </a:cubicBezTo>
                <a:cubicBezTo>
                  <a:pt x="393" y="10"/>
                  <a:pt x="394" y="10"/>
                  <a:pt x="394" y="10"/>
                </a:cubicBezTo>
                <a:close/>
                <a:moveTo>
                  <a:pt x="389" y="10"/>
                </a:moveTo>
                <a:cubicBezTo>
                  <a:pt x="391" y="9"/>
                  <a:pt x="391" y="12"/>
                  <a:pt x="389" y="10"/>
                </a:cubicBezTo>
                <a:close/>
                <a:moveTo>
                  <a:pt x="387" y="32"/>
                </a:moveTo>
                <a:cubicBezTo>
                  <a:pt x="393" y="30"/>
                  <a:pt x="399" y="30"/>
                  <a:pt x="404" y="30"/>
                </a:cubicBezTo>
                <a:cubicBezTo>
                  <a:pt x="399" y="31"/>
                  <a:pt x="391" y="32"/>
                  <a:pt x="384" y="33"/>
                </a:cubicBezTo>
                <a:cubicBezTo>
                  <a:pt x="379" y="35"/>
                  <a:pt x="386" y="32"/>
                  <a:pt x="387" y="32"/>
                </a:cubicBezTo>
                <a:close/>
                <a:moveTo>
                  <a:pt x="380" y="25"/>
                </a:moveTo>
                <a:cubicBezTo>
                  <a:pt x="381" y="24"/>
                  <a:pt x="382" y="26"/>
                  <a:pt x="380" y="25"/>
                </a:cubicBezTo>
                <a:close/>
                <a:moveTo>
                  <a:pt x="355" y="52"/>
                </a:moveTo>
                <a:cubicBezTo>
                  <a:pt x="355" y="51"/>
                  <a:pt x="357" y="50"/>
                  <a:pt x="357" y="51"/>
                </a:cubicBezTo>
                <a:cubicBezTo>
                  <a:pt x="358" y="53"/>
                  <a:pt x="356" y="52"/>
                  <a:pt x="355" y="52"/>
                </a:cubicBezTo>
                <a:close/>
                <a:moveTo>
                  <a:pt x="375" y="42"/>
                </a:move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lose/>
                <a:moveTo>
                  <a:pt x="371" y="6"/>
                </a:moveTo>
                <a:cubicBezTo>
                  <a:pt x="372" y="5"/>
                  <a:pt x="373" y="7"/>
                  <a:pt x="371" y="6"/>
                </a:cubicBezTo>
                <a:close/>
                <a:moveTo>
                  <a:pt x="367" y="52"/>
                </a:moveTo>
                <a:cubicBezTo>
                  <a:pt x="366" y="53"/>
                  <a:pt x="365" y="53"/>
                  <a:pt x="364" y="53"/>
                </a:cubicBezTo>
                <a:cubicBezTo>
                  <a:pt x="365" y="52"/>
                  <a:pt x="366" y="52"/>
                  <a:pt x="367" y="52"/>
                </a:cubicBezTo>
                <a:close/>
                <a:moveTo>
                  <a:pt x="360" y="41"/>
                </a:moveTo>
                <a:cubicBezTo>
                  <a:pt x="358" y="42"/>
                  <a:pt x="354" y="43"/>
                  <a:pt x="351" y="41"/>
                </a:cubicBezTo>
                <a:cubicBezTo>
                  <a:pt x="351" y="40"/>
                  <a:pt x="360" y="41"/>
                  <a:pt x="360" y="41"/>
                </a:cubicBezTo>
                <a:close/>
                <a:moveTo>
                  <a:pt x="2" y="391"/>
                </a:moveTo>
                <a:cubicBezTo>
                  <a:pt x="2" y="392"/>
                  <a:pt x="2" y="389"/>
                  <a:pt x="2" y="391"/>
                </a:cubicBezTo>
                <a:close/>
                <a:moveTo>
                  <a:pt x="2" y="338"/>
                </a:moveTo>
                <a:cubicBezTo>
                  <a:pt x="1" y="339"/>
                  <a:pt x="1" y="336"/>
                  <a:pt x="2" y="337"/>
                </a:cubicBezTo>
                <a:cubicBezTo>
                  <a:pt x="2" y="337"/>
                  <a:pt x="2" y="337"/>
                  <a:pt x="2" y="338"/>
                </a:cubicBezTo>
                <a:close/>
                <a:moveTo>
                  <a:pt x="6" y="411"/>
                </a:moveTo>
                <a:cubicBezTo>
                  <a:pt x="7" y="410"/>
                  <a:pt x="8" y="410"/>
                  <a:pt x="6" y="411"/>
                </a:cubicBezTo>
                <a:close/>
                <a:moveTo>
                  <a:pt x="7" y="377"/>
                </a:moveTo>
                <a:cubicBezTo>
                  <a:pt x="8" y="377"/>
                  <a:pt x="8" y="378"/>
                  <a:pt x="7" y="379"/>
                </a:cubicBezTo>
                <a:cubicBezTo>
                  <a:pt x="6" y="380"/>
                  <a:pt x="7" y="377"/>
                  <a:pt x="7" y="377"/>
                </a:cubicBezTo>
                <a:close/>
                <a:moveTo>
                  <a:pt x="7" y="415"/>
                </a:moveTo>
                <a:cubicBezTo>
                  <a:pt x="7" y="416"/>
                  <a:pt x="7" y="413"/>
                  <a:pt x="8" y="414"/>
                </a:cubicBezTo>
                <a:cubicBezTo>
                  <a:pt x="9" y="414"/>
                  <a:pt x="8" y="415"/>
                  <a:pt x="7" y="415"/>
                </a:cubicBezTo>
                <a:close/>
                <a:moveTo>
                  <a:pt x="7" y="368"/>
                </a:moveTo>
                <a:cubicBezTo>
                  <a:pt x="6" y="367"/>
                  <a:pt x="7" y="364"/>
                  <a:pt x="8" y="363"/>
                </a:cubicBezTo>
                <a:cubicBezTo>
                  <a:pt x="8" y="365"/>
                  <a:pt x="7" y="366"/>
                  <a:pt x="7" y="368"/>
                </a:cubicBezTo>
                <a:close/>
                <a:moveTo>
                  <a:pt x="13" y="438"/>
                </a:moveTo>
                <a:cubicBezTo>
                  <a:pt x="13" y="438"/>
                  <a:pt x="13" y="439"/>
                  <a:pt x="13" y="439"/>
                </a:cubicBezTo>
                <a:cubicBezTo>
                  <a:pt x="13" y="441"/>
                  <a:pt x="12" y="437"/>
                  <a:pt x="13" y="438"/>
                </a:cubicBezTo>
                <a:close/>
                <a:moveTo>
                  <a:pt x="12" y="423"/>
                </a:moveTo>
                <a:cubicBezTo>
                  <a:pt x="13" y="423"/>
                  <a:pt x="11" y="425"/>
                  <a:pt x="12" y="423"/>
                </a:cubicBezTo>
                <a:close/>
                <a:moveTo>
                  <a:pt x="15" y="295"/>
                </a:moveTo>
                <a:cubicBezTo>
                  <a:pt x="15" y="298"/>
                  <a:pt x="13" y="296"/>
                  <a:pt x="15" y="295"/>
                </a:cubicBezTo>
                <a:close/>
                <a:moveTo>
                  <a:pt x="13" y="368"/>
                </a:moveTo>
                <a:cubicBezTo>
                  <a:pt x="14" y="368"/>
                  <a:pt x="13" y="369"/>
                  <a:pt x="13" y="369"/>
                </a:cubicBezTo>
                <a:cubicBezTo>
                  <a:pt x="12" y="370"/>
                  <a:pt x="12" y="367"/>
                  <a:pt x="13" y="368"/>
                </a:cubicBezTo>
                <a:close/>
                <a:moveTo>
                  <a:pt x="12" y="352"/>
                </a:moveTo>
                <a:cubicBezTo>
                  <a:pt x="11" y="353"/>
                  <a:pt x="11" y="350"/>
                  <a:pt x="12" y="351"/>
                </a:cubicBezTo>
                <a:cubicBezTo>
                  <a:pt x="13" y="351"/>
                  <a:pt x="12" y="352"/>
                  <a:pt x="12" y="352"/>
                </a:cubicBezTo>
                <a:close/>
                <a:moveTo>
                  <a:pt x="10" y="333"/>
                </a:moveTo>
                <a:cubicBezTo>
                  <a:pt x="12" y="332"/>
                  <a:pt x="14" y="337"/>
                  <a:pt x="12" y="338"/>
                </a:cubicBezTo>
                <a:cubicBezTo>
                  <a:pt x="9" y="339"/>
                  <a:pt x="9" y="334"/>
                  <a:pt x="10" y="333"/>
                </a:cubicBezTo>
                <a:close/>
                <a:moveTo>
                  <a:pt x="10" y="355"/>
                </a:moveTo>
                <a:cubicBezTo>
                  <a:pt x="9" y="356"/>
                  <a:pt x="10" y="353"/>
                  <a:pt x="10" y="353"/>
                </a:cubicBezTo>
                <a:cubicBezTo>
                  <a:pt x="11" y="354"/>
                  <a:pt x="10" y="355"/>
                  <a:pt x="10" y="355"/>
                </a:cubicBezTo>
                <a:close/>
                <a:moveTo>
                  <a:pt x="9" y="371"/>
                </a:moveTo>
                <a:cubicBezTo>
                  <a:pt x="8" y="372"/>
                  <a:pt x="8" y="369"/>
                  <a:pt x="9" y="370"/>
                </a:cubicBezTo>
                <a:cubicBezTo>
                  <a:pt x="9" y="370"/>
                  <a:pt x="9" y="371"/>
                  <a:pt x="9" y="371"/>
                </a:cubicBezTo>
                <a:close/>
                <a:moveTo>
                  <a:pt x="9" y="359"/>
                </a:moveTo>
                <a:cubicBezTo>
                  <a:pt x="8" y="359"/>
                  <a:pt x="9" y="357"/>
                  <a:pt x="10" y="357"/>
                </a:cubicBezTo>
                <a:cubicBezTo>
                  <a:pt x="9" y="358"/>
                  <a:pt x="9" y="358"/>
                  <a:pt x="9" y="359"/>
                </a:cubicBezTo>
                <a:close/>
                <a:moveTo>
                  <a:pt x="10" y="438"/>
                </a:moveTo>
                <a:cubicBezTo>
                  <a:pt x="9" y="439"/>
                  <a:pt x="10" y="436"/>
                  <a:pt x="11" y="436"/>
                </a:cubicBezTo>
                <a:cubicBezTo>
                  <a:pt x="12" y="437"/>
                  <a:pt x="11" y="437"/>
                  <a:pt x="10" y="438"/>
                </a:cubicBezTo>
                <a:close/>
                <a:moveTo>
                  <a:pt x="10" y="424"/>
                </a:moveTo>
                <a:cubicBezTo>
                  <a:pt x="9" y="425"/>
                  <a:pt x="10" y="422"/>
                  <a:pt x="11" y="423"/>
                </a:cubicBezTo>
                <a:cubicBezTo>
                  <a:pt x="12" y="424"/>
                  <a:pt x="11" y="424"/>
                  <a:pt x="10" y="424"/>
                </a:cubicBezTo>
                <a:close/>
                <a:moveTo>
                  <a:pt x="11" y="386"/>
                </a:moveTo>
                <a:cubicBezTo>
                  <a:pt x="10" y="386"/>
                  <a:pt x="10" y="387"/>
                  <a:pt x="10" y="385"/>
                </a:cubicBezTo>
                <a:cubicBezTo>
                  <a:pt x="10" y="383"/>
                  <a:pt x="14" y="374"/>
                  <a:pt x="14" y="374"/>
                </a:cubicBezTo>
                <a:cubicBezTo>
                  <a:pt x="16" y="374"/>
                  <a:pt x="13" y="377"/>
                  <a:pt x="13" y="378"/>
                </a:cubicBezTo>
                <a:cubicBezTo>
                  <a:pt x="12" y="381"/>
                  <a:pt x="14" y="385"/>
                  <a:pt x="11" y="386"/>
                </a:cubicBezTo>
                <a:close/>
                <a:moveTo>
                  <a:pt x="14" y="394"/>
                </a:moveTo>
                <a:cubicBezTo>
                  <a:pt x="13" y="396"/>
                  <a:pt x="14" y="393"/>
                  <a:pt x="14" y="393"/>
                </a:cubicBezTo>
                <a:cubicBezTo>
                  <a:pt x="15" y="393"/>
                  <a:pt x="15" y="394"/>
                  <a:pt x="14" y="394"/>
                </a:cubicBezTo>
                <a:close/>
                <a:moveTo>
                  <a:pt x="15" y="388"/>
                </a:moveTo>
                <a:cubicBezTo>
                  <a:pt x="14" y="388"/>
                  <a:pt x="15" y="387"/>
                  <a:pt x="15" y="387"/>
                </a:cubicBezTo>
                <a:cubicBezTo>
                  <a:pt x="15" y="387"/>
                  <a:pt x="15" y="388"/>
                  <a:pt x="15" y="388"/>
                </a:cubicBezTo>
                <a:close/>
                <a:moveTo>
                  <a:pt x="15" y="300"/>
                </a:moveTo>
                <a:cubicBezTo>
                  <a:pt x="16" y="302"/>
                  <a:pt x="14" y="301"/>
                  <a:pt x="15" y="300"/>
                </a:cubicBezTo>
                <a:close/>
                <a:moveTo>
                  <a:pt x="16" y="366"/>
                </a:moveTo>
                <a:cubicBezTo>
                  <a:pt x="15" y="367"/>
                  <a:pt x="17" y="364"/>
                  <a:pt x="16" y="366"/>
                </a:cubicBezTo>
                <a:close/>
                <a:moveTo>
                  <a:pt x="17" y="380"/>
                </a:moveTo>
                <a:cubicBezTo>
                  <a:pt x="16" y="381"/>
                  <a:pt x="16" y="379"/>
                  <a:pt x="17" y="379"/>
                </a:cubicBezTo>
                <a:cubicBezTo>
                  <a:pt x="17" y="378"/>
                  <a:pt x="17" y="380"/>
                  <a:pt x="17" y="380"/>
                </a:cubicBezTo>
                <a:close/>
                <a:moveTo>
                  <a:pt x="27" y="420"/>
                </a:move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lose/>
                <a:moveTo>
                  <a:pt x="23" y="346"/>
                </a:moveTo>
                <a:cubicBezTo>
                  <a:pt x="23" y="346"/>
                  <a:pt x="23" y="347"/>
                  <a:pt x="23" y="347"/>
                </a:cubicBezTo>
                <a:cubicBezTo>
                  <a:pt x="22" y="347"/>
                  <a:pt x="22" y="346"/>
                  <a:pt x="23" y="346"/>
                </a:cubicBezTo>
                <a:close/>
                <a:moveTo>
                  <a:pt x="19" y="405"/>
                </a:moveTo>
                <a:cubicBezTo>
                  <a:pt x="19" y="405"/>
                  <a:pt x="18" y="404"/>
                  <a:pt x="18" y="404"/>
                </a:cubicBezTo>
                <a:cubicBezTo>
                  <a:pt x="18" y="404"/>
                  <a:pt x="20" y="404"/>
                  <a:pt x="19" y="405"/>
                </a:cubicBezTo>
                <a:close/>
                <a:moveTo>
                  <a:pt x="20" y="406"/>
                </a:moveTo>
                <a:cubicBezTo>
                  <a:pt x="19" y="406"/>
                  <a:pt x="20" y="405"/>
                  <a:pt x="20" y="404"/>
                </a:cubicBezTo>
                <a:cubicBezTo>
                  <a:pt x="21" y="404"/>
                  <a:pt x="20" y="405"/>
                  <a:pt x="20" y="406"/>
                </a:cubicBezTo>
                <a:close/>
                <a:moveTo>
                  <a:pt x="20" y="360"/>
                </a:moveTo>
                <a:cubicBezTo>
                  <a:pt x="19" y="359"/>
                  <a:pt x="21" y="359"/>
                  <a:pt x="20" y="360"/>
                </a:cubicBezTo>
                <a:close/>
                <a:moveTo>
                  <a:pt x="22" y="268"/>
                </a:moveTo>
                <a:cubicBezTo>
                  <a:pt x="23" y="268"/>
                  <a:pt x="22" y="270"/>
                  <a:pt x="22" y="271"/>
                </a:cubicBezTo>
                <a:cubicBezTo>
                  <a:pt x="19" y="273"/>
                  <a:pt x="19" y="267"/>
                  <a:pt x="22" y="268"/>
                </a:cubicBezTo>
                <a:close/>
                <a:moveTo>
                  <a:pt x="21" y="397"/>
                </a:moveTo>
                <a:cubicBezTo>
                  <a:pt x="21" y="396"/>
                  <a:pt x="22" y="397"/>
                  <a:pt x="22" y="398"/>
                </a:cubicBezTo>
                <a:cubicBezTo>
                  <a:pt x="21" y="399"/>
                  <a:pt x="20" y="397"/>
                  <a:pt x="21" y="397"/>
                </a:cubicBezTo>
                <a:close/>
                <a:moveTo>
                  <a:pt x="21" y="415"/>
                </a:moveTo>
                <a:cubicBezTo>
                  <a:pt x="22" y="416"/>
                  <a:pt x="21" y="417"/>
                  <a:pt x="21" y="415"/>
                </a:cubicBezTo>
                <a:close/>
                <a:moveTo>
                  <a:pt x="21" y="413"/>
                </a:moveTo>
                <a:cubicBezTo>
                  <a:pt x="21" y="413"/>
                  <a:pt x="23" y="413"/>
                  <a:pt x="23" y="413"/>
                </a:cubicBezTo>
                <a:cubicBezTo>
                  <a:pt x="23" y="414"/>
                  <a:pt x="20" y="414"/>
                  <a:pt x="21" y="413"/>
                </a:cubicBezTo>
                <a:close/>
                <a:moveTo>
                  <a:pt x="24" y="367"/>
                </a:moveTo>
                <a:cubicBezTo>
                  <a:pt x="25" y="368"/>
                  <a:pt x="23" y="369"/>
                  <a:pt x="24" y="367"/>
                </a:cubicBezTo>
                <a:close/>
                <a:moveTo>
                  <a:pt x="24" y="412"/>
                </a:moveTo>
                <a:cubicBezTo>
                  <a:pt x="24" y="413"/>
                  <a:pt x="24" y="410"/>
                  <a:pt x="24" y="412"/>
                </a:cubicBezTo>
                <a:close/>
                <a:moveTo>
                  <a:pt x="25" y="401"/>
                </a:moveTo>
                <a:cubicBezTo>
                  <a:pt x="24" y="402"/>
                  <a:pt x="24" y="400"/>
                  <a:pt x="24" y="399"/>
                </a:cubicBezTo>
                <a:cubicBezTo>
                  <a:pt x="25" y="399"/>
                  <a:pt x="25" y="401"/>
                  <a:pt x="25" y="401"/>
                </a:cubicBezTo>
                <a:close/>
                <a:moveTo>
                  <a:pt x="27" y="397"/>
                </a:moveTo>
                <a:cubicBezTo>
                  <a:pt x="27" y="398"/>
                  <a:pt x="28" y="396"/>
                  <a:pt x="27" y="397"/>
                </a:cubicBezTo>
                <a:close/>
                <a:moveTo>
                  <a:pt x="25" y="343"/>
                </a:moveTo>
                <a:cubicBezTo>
                  <a:pt x="23" y="342"/>
                  <a:pt x="25" y="340"/>
                  <a:pt x="25" y="338"/>
                </a:cubicBezTo>
                <a:cubicBezTo>
                  <a:pt x="25" y="340"/>
                  <a:pt x="26" y="339"/>
                  <a:pt x="27" y="340"/>
                </a:cubicBezTo>
                <a:cubicBezTo>
                  <a:pt x="29" y="342"/>
                  <a:pt x="26" y="345"/>
                  <a:pt x="25" y="343"/>
                </a:cubicBezTo>
                <a:close/>
                <a:moveTo>
                  <a:pt x="31" y="233"/>
                </a:moveTo>
                <a:cubicBezTo>
                  <a:pt x="30" y="234"/>
                  <a:pt x="30" y="231"/>
                  <a:pt x="30" y="231"/>
                </a:cubicBezTo>
                <a:cubicBezTo>
                  <a:pt x="32" y="231"/>
                  <a:pt x="31" y="233"/>
                  <a:pt x="31" y="233"/>
                </a:cubicBezTo>
                <a:close/>
                <a:moveTo>
                  <a:pt x="33" y="290"/>
                </a:moveTo>
                <a:cubicBezTo>
                  <a:pt x="32" y="291"/>
                  <a:pt x="32" y="288"/>
                  <a:pt x="33" y="289"/>
                </a:cubicBezTo>
                <a:cubicBezTo>
                  <a:pt x="34" y="289"/>
                  <a:pt x="33" y="290"/>
                  <a:pt x="33" y="290"/>
                </a:cubicBezTo>
                <a:close/>
                <a:moveTo>
                  <a:pt x="34" y="385"/>
                </a:moveTo>
                <a:cubicBezTo>
                  <a:pt x="33" y="386"/>
                  <a:pt x="34" y="383"/>
                  <a:pt x="35" y="383"/>
                </a:cubicBezTo>
                <a:cubicBezTo>
                  <a:pt x="35" y="384"/>
                  <a:pt x="34" y="385"/>
                  <a:pt x="34" y="385"/>
                </a:cubicBezTo>
                <a:close/>
                <a:moveTo>
                  <a:pt x="36" y="305"/>
                </a:moveTo>
                <a:cubicBezTo>
                  <a:pt x="35" y="307"/>
                  <a:pt x="37" y="303"/>
                  <a:pt x="36" y="305"/>
                </a:cubicBezTo>
                <a:close/>
                <a:moveTo>
                  <a:pt x="37" y="344"/>
                </a:moveTo>
                <a:cubicBezTo>
                  <a:pt x="37" y="344"/>
                  <a:pt x="38" y="344"/>
                  <a:pt x="38" y="344"/>
                </a:cubicBezTo>
                <a:cubicBezTo>
                  <a:pt x="38" y="345"/>
                  <a:pt x="37" y="345"/>
                  <a:pt x="37" y="344"/>
                </a:cubicBezTo>
                <a:close/>
                <a:moveTo>
                  <a:pt x="29" y="469"/>
                </a:moveTo>
                <a:cubicBezTo>
                  <a:pt x="25" y="471"/>
                  <a:pt x="25" y="463"/>
                  <a:pt x="29" y="464"/>
                </a:cubicBezTo>
                <a:cubicBezTo>
                  <a:pt x="31" y="464"/>
                  <a:pt x="31" y="468"/>
                  <a:pt x="29" y="469"/>
                </a:cubicBezTo>
                <a:close/>
                <a:moveTo>
                  <a:pt x="34" y="484"/>
                </a:moveTo>
                <a:cubicBezTo>
                  <a:pt x="34" y="485"/>
                  <a:pt x="34" y="485"/>
                  <a:pt x="33" y="485"/>
                </a:cubicBezTo>
                <a:cubicBezTo>
                  <a:pt x="32" y="486"/>
                  <a:pt x="33" y="483"/>
                  <a:pt x="34" y="484"/>
                </a:cubicBezTo>
                <a:close/>
                <a:moveTo>
                  <a:pt x="36" y="466"/>
                </a:moveTo>
                <a:cubicBezTo>
                  <a:pt x="34" y="467"/>
                  <a:pt x="34" y="464"/>
                  <a:pt x="35" y="463"/>
                </a:cubicBezTo>
                <a:cubicBezTo>
                  <a:pt x="36" y="463"/>
                  <a:pt x="37" y="465"/>
                  <a:pt x="36" y="466"/>
                </a:cubicBezTo>
                <a:close/>
                <a:moveTo>
                  <a:pt x="38" y="455"/>
                </a:moveTo>
                <a:cubicBezTo>
                  <a:pt x="38" y="455"/>
                  <a:pt x="38" y="456"/>
                  <a:pt x="38" y="456"/>
                </a:cubicBezTo>
                <a:cubicBezTo>
                  <a:pt x="37" y="458"/>
                  <a:pt x="36" y="454"/>
                  <a:pt x="38" y="455"/>
                </a:cubicBezTo>
                <a:close/>
                <a:moveTo>
                  <a:pt x="38" y="461"/>
                </a:moveTo>
                <a:cubicBezTo>
                  <a:pt x="36" y="462"/>
                  <a:pt x="38" y="459"/>
                  <a:pt x="39" y="459"/>
                </a:cubicBezTo>
                <a:cubicBezTo>
                  <a:pt x="39" y="460"/>
                  <a:pt x="38" y="461"/>
                  <a:pt x="38" y="461"/>
                </a:cubicBezTo>
                <a:close/>
                <a:moveTo>
                  <a:pt x="66" y="337"/>
                </a:moveTo>
                <a:cubicBezTo>
                  <a:pt x="66" y="337"/>
                  <a:pt x="66" y="338"/>
                  <a:pt x="66" y="338"/>
                </a:cubicBezTo>
                <a:cubicBezTo>
                  <a:pt x="65" y="339"/>
                  <a:pt x="65" y="336"/>
                  <a:pt x="66" y="337"/>
                </a:cubicBezTo>
                <a:close/>
                <a:moveTo>
                  <a:pt x="66" y="380"/>
                </a:moveTo>
                <a:cubicBezTo>
                  <a:pt x="67" y="380"/>
                  <a:pt x="67" y="382"/>
                  <a:pt x="66" y="382"/>
                </a:cubicBezTo>
                <a:cubicBezTo>
                  <a:pt x="65" y="384"/>
                  <a:pt x="65" y="379"/>
                  <a:pt x="66" y="380"/>
                </a:cubicBezTo>
                <a:close/>
                <a:moveTo>
                  <a:pt x="63" y="330"/>
                </a:moveTo>
                <a:cubicBezTo>
                  <a:pt x="62" y="331"/>
                  <a:pt x="64" y="329"/>
                  <a:pt x="63" y="330"/>
                </a:cubicBezTo>
                <a:close/>
                <a:moveTo>
                  <a:pt x="64" y="346"/>
                </a:moveTo>
                <a:cubicBezTo>
                  <a:pt x="66" y="346"/>
                  <a:pt x="65" y="351"/>
                  <a:pt x="62" y="351"/>
                </a:cubicBezTo>
                <a:cubicBezTo>
                  <a:pt x="62" y="351"/>
                  <a:pt x="62" y="345"/>
                  <a:pt x="64" y="346"/>
                </a:cubicBezTo>
                <a:close/>
                <a:moveTo>
                  <a:pt x="64" y="393"/>
                </a:moveTo>
                <a:cubicBezTo>
                  <a:pt x="64" y="392"/>
                  <a:pt x="65" y="394"/>
                  <a:pt x="64" y="393"/>
                </a:cubicBezTo>
                <a:close/>
                <a:moveTo>
                  <a:pt x="61" y="364"/>
                </a:moveTo>
                <a:cubicBezTo>
                  <a:pt x="61" y="362"/>
                  <a:pt x="62" y="363"/>
                  <a:pt x="61" y="364"/>
                </a:cubicBezTo>
                <a:close/>
                <a:moveTo>
                  <a:pt x="61" y="403"/>
                </a:moveTo>
                <a:cubicBezTo>
                  <a:pt x="61" y="403"/>
                  <a:pt x="61" y="403"/>
                  <a:pt x="62" y="403"/>
                </a:cubicBezTo>
                <a:cubicBezTo>
                  <a:pt x="63" y="402"/>
                  <a:pt x="61" y="403"/>
                  <a:pt x="61" y="403"/>
                </a:cubicBezTo>
                <a:close/>
                <a:moveTo>
                  <a:pt x="61" y="365"/>
                </a:moveTo>
                <a:cubicBezTo>
                  <a:pt x="61" y="366"/>
                  <a:pt x="59" y="365"/>
                  <a:pt x="61" y="365"/>
                </a:cubicBezTo>
                <a:close/>
                <a:moveTo>
                  <a:pt x="58" y="357"/>
                </a:moveTo>
                <a:cubicBezTo>
                  <a:pt x="59" y="357"/>
                  <a:pt x="58" y="359"/>
                  <a:pt x="58" y="359"/>
                </a:cubicBezTo>
                <a:cubicBezTo>
                  <a:pt x="56" y="361"/>
                  <a:pt x="55" y="356"/>
                  <a:pt x="58" y="357"/>
                </a:cubicBezTo>
                <a:close/>
                <a:moveTo>
                  <a:pt x="56" y="405"/>
                </a:moveTo>
                <a:cubicBezTo>
                  <a:pt x="56" y="405"/>
                  <a:pt x="56" y="406"/>
                  <a:pt x="56" y="406"/>
                </a:cubicBezTo>
                <a:cubicBezTo>
                  <a:pt x="55" y="407"/>
                  <a:pt x="55" y="405"/>
                  <a:pt x="56" y="405"/>
                </a:cubicBezTo>
                <a:close/>
                <a:moveTo>
                  <a:pt x="54" y="374"/>
                </a:moveTo>
                <a:cubicBezTo>
                  <a:pt x="55" y="374"/>
                  <a:pt x="55" y="375"/>
                  <a:pt x="54" y="375"/>
                </a:cubicBezTo>
                <a:cubicBezTo>
                  <a:pt x="53" y="376"/>
                  <a:pt x="53" y="374"/>
                  <a:pt x="54" y="374"/>
                </a:cubicBezTo>
                <a:close/>
                <a:moveTo>
                  <a:pt x="49" y="398"/>
                </a:moveTo>
                <a:cubicBezTo>
                  <a:pt x="51" y="396"/>
                  <a:pt x="52" y="393"/>
                  <a:pt x="54" y="390"/>
                </a:cubicBezTo>
                <a:cubicBezTo>
                  <a:pt x="53" y="393"/>
                  <a:pt x="51" y="396"/>
                  <a:pt x="49" y="398"/>
                </a:cubicBezTo>
                <a:close/>
                <a:moveTo>
                  <a:pt x="51" y="408"/>
                </a:moveTo>
                <a:cubicBezTo>
                  <a:pt x="50" y="407"/>
                  <a:pt x="52" y="406"/>
                  <a:pt x="52" y="407"/>
                </a:cubicBezTo>
                <a:cubicBezTo>
                  <a:pt x="54" y="408"/>
                  <a:pt x="52" y="410"/>
                  <a:pt x="51" y="408"/>
                </a:cubicBezTo>
                <a:close/>
                <a:moveTo>
                  <a:pt x="46" y="404"/>
                </a:moveTo>
                <a:cubicBezTo>
                  <a:pt x="46" y="404"/>
                  <a:pt x="47" y="400"/>
                  <a:pt x="48" y="399"/>
                </a:cubicBezTo>
                <a:cubicBezTo>
                  <a:pt x="48" y="400"/>
                  <a:pt x="47" y="404"/>
                  <a:pt x="46" y="404"/>
                </a:cubicBezTo>
                <a:close/>
                <a:moveTo>
                  <a:pt x="47" y="409"/>
                </a:moveTo>
                <a:cubicBezTo>
                  <a:pt x="48" y="408"/>
                  <a:pt x="47" y="410"/>
                  <a:pt x="47" y="409"/>
                </a:cubicBezTo>
                <a:close/>
                <a:moveTo>
                  <a:pt x="48" y="392"/>
                </a:moveTo>
                <a:cubicBezTo>
                  <a:pt x="46" y="393"/>
                  <a:pt x="46" y="388"/>
                  <a:pt x="49" y="389"/>
                </a:cubicBezTo>
                <a:cubicBezTo>
                  <a:pt x="50" y="389"/>
                  <a:pt x="49" y="392"/>
                  <a:pt x="48" y="392"/>
                </a:cubicBezTo>
                <a:close/>
                <a:moveTo>
                  <a:pt x="53" y="323"/>
                </a:moveTo>
                <a:cubicBezTo>
                  <a:pt x="54" y="323"/>
                  <a:pt x="54" y="325"/>
                  <a:pt x="53" y="325"/>
                </a:cubicBezTo>
                <a:cubicBezTo>
                  <a:pt x="52" y="326"/>
                  <a:pt x="52" y="323"/>
                  <a:pt x="53" y="323"/>
                </a:cubicBezTo>
                <a:close/>
                <a:moveTo>
                  <a:pt x="50" y="354"/>
                </a:moveTo>
                <a:cubicBezTo>
                  <a:pt x="53" y="355"/>
                  <a:pt x="51" y="360"/>
                  <a:pt x="50" y="360"/>
                </a:cubicBezTo>
                <a:cubicBezTo>
                  <a:pt x="45" y="362"/>
                  <a:pt x="47" y="352"/>
                  <a:pt x="50" y="354"/>
                </a:cubicBezTo>
                <a:close/>
                <a:moveTo>
                  <a:pt x="47" y="328"/>
                </a:moveTo>
                <a:cubicBezTo>
                  <a:pt x="47" y="328"/>
                  <a:pt x="48" y="328"/>
                  <a:pt x="48" y="327"/>
                </a:cubicBezTo>
                <a:cubicBezTo>
                  <a:pt x="49" y="327"/>
                  <a:pt x="49" y="328"/>
                  <a:pt x="47" y="328"/>
                </a:cubicBezTo>
                <a:close/>
                <a:moveTo>
                  <a:pt x="48" y="267"/>
                </a:moveTo>
                <a:cubicBezTo>
                  <a:pt x="47" y="267"/>
                  <a:pt x="47" y="267"/>
                  <a:pt x="47" y="266"/>
                </a:cubicBezTo>
                <a:cubicBezTo>
                  <a:pt x="47" y="266"/>
                  <a:pt x="49" y="266"/>
                  <a:pt x="48" y="267"/>
                </a:cubicBezTo>
                <a:close/>
                <a:moveTo>
                  <a:pt x="46" y="377"/>
                </a:moveTo>
                <a:cubicBezTo>
                  <a:pt x="45" y="378"/>
                  <a:pt x="45" y="376"/>
                  <a:pt x="46" y="376"/>
                </a:cubicBezTo>
                <a:cubicBezTo>
                  <a:pt x="47" y="376"/>
                  <a:pt x="46" y="377"/>
                  <a:pt x="46" y="377"/>
                </a:cubicBezTo>
                <a:close/>
                <a:moveTo>
                  <a:pt x="45" y="192"/>
                </a:moveTo>
                <a:cubicBezTo>
                  <a:pt x="46" y="192"/>
                  <a:pt x="46" y="193"/>
                  <a:pt x="46" y="193"/>
                </a:cubicBezTo>
                <a:cubicBezTo>
                  <a:pt x="44" y="195"/>
                  <a:pt x="44" y="191"/>
                  <a:pt x="45" y="192"/>
                </a:cubicBezTo>
                <a:close/>
                <a:moveTo>
                  <a:pt x="45" y="207"/>
                </a:moveTo>
                <a:cubicBezTo>
                  <a:pt x="46" y="207"/>
                  <a:pt x="45" y="208"/>
                  <a:pt x="45" y="209"/>
                </a:cubicBezTo>
                <a:cubicBezTo>
                  <a:pt x="44" y="210"/>
                  <a:pt x="44" y="207"/>
                  <a:pt x="45" y="207"/>
                </a:cubicBezTo>
                <a:close/>
                <a:moveTo>
                  <a:pt x="44" y="360"/>
                </a:moveTo>
                <a:cubicBezTo>
                  <a:pt x="45" y="361"/>
                  <a:pt x="44" y="363"/>
                  <a:pt x="44" y="363"/>
                </a:cubicBezTo>
                <a:cubicBezTo>
                  <a:pt x="42" y="364"/>
                  <a:pt x="43" y="360"/>
                  <a:pt x="44" y="360"/>
                </a:cubicBezTo>
                <a:close/>
                <a:moveTo>
                  <a:pt x="43" y="227"/>
                </a:moveTo>
                <a:cubicBezTo>
                  <a:pt x="43" y="227"/>
                  <a:pt x="43" y="228"/>
                  <a:pt x="43" y="228"/>
                </a:cubicBezTo>
                <a:cubicBezTo>
                  <a:pt x="42" y="229"/>
                  <a:pt x="43" y="226"/>
                  <a:pt x="43" y="227"/>
                </a:cubicBezTo>
                <a:close/>
                <a:moveTo>
                  <a:pt x="40" y="322"/>
                </a:moveTo>
                <a:cubicBezTo>
                  <a:pt x="41" y="320"/>
                  <a:pt x="39" y="322"/>
                  <a:pt x="40" y="322"/>
                </a:cubicBezTo>
                <a:close/>
                <a:moveTo>
                  <a:pt x="36" y="429"/>
                </a:moveTo>
                <a:cubicBezTo>
                  <a:pt x="35" y="431"/>
                  <a:pt x="35" y="428"/>
                  <a:pt x="36" y="428"/>
                </a:cubicBezTo>
                <a:cubicBezTo>
                  <a:pt x="36" y="429"/>
                  <a:pt x="36" y="429"/>
                  <a:pt x="36" y="429"/>
                </a:cubicBezTo>
                <a:close/>
                <a:moveTo>
                  <a:pt x="35" y="428"/>
                </a:moveTo>
                <a:cubicBezTo>
                  <a:pt x="34" y="427"/>
                  <a:pt x="36" y="425"/>
                  <a:pt x="36" y="426"/>
                </a:cubicBezTo>
                <a:cubicBezTo>
                  <a:pt x="37" y="428"/>
                  <a:pt x="35" y="429"/>
                  <a:pt x="35" y="428"/>
                </a:cubicBezTo>
                <a:close/>
                <a:moveTo>
                  <a:pt x="38" y="424"/>
                </a:moveTo>
                <a:cubicBezTo>
                  <a:pt x="35" y="427"/>
                  <a:pt x="33" y="418"/>
                  <a:pt x="37" y="417"/>
                </a:cubicBezTo>
                <a:cubicBezTo>
                  <a:pt x="35" y="420"/>
                  <a:pt x="39" y="419"/>
                  <a:pt x="39" y="420"/>
                </a:cubicBezTo>
                <a:cubicBezTo>
                  <a:pt x="39" y="421"/>
                  <a:pt x="39" y="423"/>
                  <a:pt x="38" y="424"/>
                </a:cubicBezTo>
                <a:close/>
                <a:moveTo>
                  <a:pt x="40" y="358"/>
                </a:moveTo>
                <a:cubicBezTo>
                  <a:pt x="38" y="358"/>
                  <a:pt x="41" y="356"/>
                  <a:pt x="40" y="357"/>
                </a:cubicBezTo>
                <a:cubicBezTo>
                  <a:pt x="40" y="357"/>
                  <a:pt x="40" y="358"/>
                  <a:pt x="40" y="358"/>
                </a:cubicBezTo>
                <a:close/>
                <a:moveTo>
                  <a:pt x="41" y="431"/>
                </a:moveTo>
                <a:cubicBezTo>
                  <a:pt x="42" y="430"/>
                  <a:pt x="43" y="432"/>
                  <a:pt x="41" y="431"/>
                </a:cubicBezTo>
                <a:close/>
                <a:moveTo>
                  <a:pt x="42" y="382"/>
                </a:moveTo>
                <a:cubicBezTo>
                  <a:pt x="42" y="380"/>
                  <a:pt x="43" y="381"/>
                  <a:pt x="44" y="380"/>
                </a:cubicBezTo>
                <a:cubicBezTo>
                  <a:pt x="44" y="379"/>
                  <a:pt x="44" y="378"/>
                  <a:pt x="46" y="378"/>
                </a:cubicBezTo>
                <a:cubicBezTo>
                  <a:pt x="50" y="378"/>
                  <a:pt x="48" y="384"/>
                  <a:pt x="45" y="385"/>
                </a:cubicBezTo>
                <a:cubicBezTo>
                  <a:pt x="43" y="385"/>
                  <a:pt x="41" y="385"/>
                  <a:pt x="42" y="382"/>
                </a:cubicBezTo>
                <a:close/>
                <a:moveTo>
                  <a:pt x="44" y="391"/>
                </a:moveTo>
                <a:cubicBezTo>
                  <a:pt x="43" y="392"/>
                  <a:pt x="45" y="389"/>
                  <a:pt x="44" y="391"/>
                </a:cubicBezTo>
                <a:close/>
                <a:moveTo>
                  <a:pt x="42" y="449"/>
                </a:moveTo>
                <a:cubicBezTo>
                  <a:pt x="42" y="450"/>
                  <a:pt x="43" y="447"/>
                  <a:pt x="42" y="449"/>
                </a:cubicBezTo>
                <a:close/>
                <a:moveTo>
                  <a:pt x="44" y="465"/>
                </a:moveTo>
                <a:cubicBezTo>
                  <a:pt x="45" y="464"/>
                  <a:pt x="43" y="466"/>
                  <a:pt x="44" y="465"/>
                </a:cubicBezTo>
                <a:close/>
                <a:moveTo>
                  <a:pt x="45" y="462"/>
                </a:moveTo>
                <a:cubicBezTo>
                  <a:pt x="45" y="462"/>
                  <a:pt x="45" y="462"/>
                  <a:pt x="46" y="462"/>
                </a:cubicBezTo>
                <a:cubicBezTo>
                  <a:pt x="46" y="462"/>
                  <a:pt x="46" y="462"/>
                  <a:pt x="46" y="462"/>
                </a:cubicBezTo>
                <a:cubicBezTo>
                  <a:pt x="46" y="462"/>
                  <a:pt x="45" y="462"/>
                  <a:pt x="45" y="462"/>
                </a:cubicBezTo>
                <a:close/>
                <a:moveTo>
                  <a:pt x="43" y="445"/>
                </a:moveTo>
                <a:cubicBezTo>
                  <a:pt x="43" y="443"/>
                  <a:pt x="45" y="441"/>
                  <a:pt x="47" y="439"/>
                </a:cubicBezTo>
                <a:cubicBezTo>
                  <a:pt x="47" y="442"/>
                  <a:pt x="44" y="443"/>
                  <a:pt x="43" y="445"/>
                </a:cubicBezTo>
                <a:close/>
                <a:moveTo>
                  <a:pt x="46" y="434"/>
                </a:moveTo>
                <a:cubicBezTo>
                  <a:pt x="46" y="434"/>
                  <a:pt x="47" y="433"/>
                  <a:pt x="46" y="434"/>
                </a:cubicBezTo>
                <a:cubicBezTo>
                  <a:pt x="46" y="434"/>
                  <a:pt x="46" y="434"/>
                  <a:pt x="46" y="434"/>
                </a:cubicBezTo>
                <a:close/>
                <a:moveTo>
                  <a:pt x="47" y="432"/>
                </a:moveTo>
                <a:cubicBezTo>
                  <a:pt x="48" y="430"/>
                  <a:pt x="50" y="431"/>
                  <a:pt x="47" y="432"/>
                </a:cubicBezTo>
                <a:close/>
                <a:moveTo>
                  <a:pt x="50" y="418"/>
                </a:moveTo>
                <a:cubicBezTo>
                  <a:pt x="50" y="419"/>
                  <a:pt x="52" y="419"/>
                  <a:pt x="51" y="420"/>
                </a:cubicBezTo>
                <a:cubicBezTo>
                  <a:pt x="52" y="419"/>
                  <a:pt x="48" y="420"/>
                  <a:pt x="49" y="421"/>
                </a:cubicBezTo>
                <a:cubicBezTo>
                  <a:pt x="48" y="420"/>
                  <a:pt x="48" y="419"/>
                  <a:pt x="49" y="418"/>
                </a:cubicBezTo>
                <a:cubicBezTo>
                  <a:pt x="47" y="418"/>
                  <a:pt x="45" y="417"/>
                  <a:pt x="45" y="416"/>
                </a:cubicBezTo>
                <a:cubicBezTo>
                  <a:pt x="44" y="413"/>
                  <a:pt x="47" y="411"/>
                  <a:pt x="49" y="410"/>
                </a:cubicBezTo>
                <a:cubicBezTo>
                  <a:pt x="49" y="410"/>
                  <a:pt x="49" y="409"/>
                  <a:pt x="49" y="409"/>
                </a:cubicBezTo>
                <a:cubicBezTo>
                  <a:pt x="50" y="409"/>
                  <a:pt x="51" y="411"/>
                  <a:pt x="51" y="411"/>
                </a:cubicBezTo>
                <a:cubicBezTo>
                  <a:pt x="53" y="412"/>
                  <a:pt x="52" y="407"/>
                  <a:pt x="54" y="407"/>
                </a:cubicBezTo>
                <a:cubicBezTo>
                  <a:pt x="56" y="408"/>
                  <a:pt x="54" y="410"/>
                  <a:pt x="54" y="411"/>
                </a:cubicBezTo>
                <a:cubicBezTo>
                  <a:pt x="54" y="413"/>
                  <a:pt x="55" y="413"/>
                  <a:pt x="53" y="414"/>
                </a:cubicBezTo>
                <a:cubicBezTo>
                  <a:pt x="52" y="415"/>
                  <a:pt x="51" y="418"/>
                  <a:pt x="50" y="418"/>
                </a:cubicBezTo>
                <a:close/>
                <a:moveTo>
                  <a:pt x="58" y="443"/>
                </a:moveTo>
                <a:cubicBezTo>
                  <a:pt x="57" y="444"/>
                  <a:pt x="57" y="442"/>
                  <a:pt x="58" y="441"/>
                </a:cubicBezTo>
                <a:cubicBezTo>
                  <a:pt x="59" y="441"/>
                  <a:pt x="58" y="442"/>
                  <a:pt x="58" y="443"/>
                </a:cubicBezTo>
                <a:close/>
                <a:moveTo>
                  <a:pt x="59" y="440"/>
                </a:moveTo>
                <a:cubicBezTo>
                  <a:pt x="57" y="441"/>
                  <a:pt x="59" y="437"/>
                  <a:pt x="60" y="439"/>
                </a:cubicBezTo>
                <a:cubicBezTo>
                  <a:pt x="60" y="439"/>
                  <a:pt x="59" y="440"/>
                  <a:pt x="59" y="440"/>
                </a:cubicBezTo>
                <a:close/>
                <a:moveTo>
                  <a:pt x="63" y="454"/>
                </a:moveTo>
                <a:cubicBezTo>
                  <a:pt x="64" y="455"/>
                  <a:pt x="62" y="456"/>
                  <a:pt x="63" y="454"/>
                </a:cubicBezTo>
                <a:close/>
                <a:moveTo>
                  <a:pt x="60" y="436"/>
                </a:moveTo>
                <a:cubicBezTo>
                  <a:pt x="60" y="435"/>
                  <a:pt x="64" y="434"/>
                  <a:pt x="64" y="437"/>
                </a:cubicBezTo>
                <a:cubicBezTo>
                  <a:pt x="64" y="439"/>
                  <a:pt x="58" y="440"/>
                  <a:pt x="60" y="436"/>
                </a:cubicBezTo>
                <a:close/>
                <a:moveTo>
                  <a:pt x="63" y="432"/>
                </a:moveTo>
                <a:cubicBezTo>
                  <a:pt x="62" y="431"/>
                  <a:pt x="64" y="430"/>
                  <a:pt x="63" y="432"/>
                </a:cubicBezTo>
                <a:close/>
                <a:moveTo>
                  <a:pt x="64" y="427"/>
                </a:moveTo>
                <a:cubicBezTo>
                  <a:pt x="64" y="427"/>
                  <a:pt x="64" y="428"/>
                  <a:pt x="64" y="428"/>
                </a:cubicBezTo>
                <a:cubicBezTo>
                  <a:pt x="63" y="429"/>
                  <a:pt x="63" y="426"/>
                  <a:pt x="64" y="427"/>
                </a:cubicBezTo>
                <a:close/>
                <a:moveTo>
                  <a:pt x="64" y="419"/>
                </a:moveTo>
                <a:cubicBezTo>
                  <a:pt x="62" y="420"/>
                  <a:pt x="59" y="423"/>
                  <a:pt x="58" y="424"/>
                </a:cubicBezTo>
                <a:cubicBezTo>
                  <a:pt x="57" y="426"/>
                  <a:pt x="56" y="428"/>
                  <a:pt x="54" y="429"/>
                </a:cubicBezTo>
                <a:cubicBezTo>
                  <a:pt x="57" y="423"/>
                  <a:pt x="63" y="418"/>
                  <a:pt x="66" y="413"/>
                </a:cubicBezTo>
                <a:cubicBezTo>
                  <a:pt x="69" y="409"/>
                  <a:pt x="65" y="417"/>
                  <a:pt x="64" y="419"/>
                </a:cubicBezTo>
                <a:close/>
                <a:moveTo>
                  <a:pt x="66" y="423"/>
                </a:moveTo>
                <a:cubicBezTo>
                  <a:pt x="66" y="423"/>
                  <a:pt x="65" y="423"/>
                  <a:pt x="65" y="423"/>
                </a:cubicBezTo>
                <a:cubicBezTo>
                  <a:pt x="64" y="423"/>
                  <a:pt x="66" y="422"/>
                  <a:pt x="66" y="423"/>
                </a:cubicBezTo>
                <a:close/>
                <a:moveTo>
                  <a:pt x="67" y="443"/>
                </a:moveTo>
                <a:cubicBezTo>
                  <a:pt x="67" y="443"/>
                  <a:pt x="67" y="443"/>
                  <a:pt x="67" y="443"/>
                </a:cubicBezTo>
                <a:cubicBezTo>
                  <a:pt x="67" y="441"/>
                  <a:pt x="69" y="445"/>
                  <a:pt x="67" y="443"/>
                </a:cubicBezTo>
                <a:close/>
                <a:moveTo>
                  <a:pt x="67" y="430"/>
                </a:moveTo>
                <a:cubicBezTo>
                  <a:pt x="67" y="431"/>
                  <a:pt x="66" y="432"/>
                  <a:pt x="66" y="431"/>
                </a:cubicBezTo>
                <a:cubicBezTo>
                  <a:pt x="62" y="428"/>
                  <a:pt x="71" y="428"/>
                  <a:pt x="67" y="430"/>
                </a:cubicBezTo>
                <a:close/>
                <a:moveTo>
                  <a:pt x="68" y="358"/>
                </a:moveTo>
                <a:cubicBezTo>
                  <a:pt x="65" y="360"/>
                  <a:pt x="65" y="354"/>
                  <a:pt x="67" y="355"/>
                </a:cubicBezTo>
                <a:cubicBezTo>
                  <a:pt x="69" y="355"/>
                  <a:pt x="68" y="357"/>
                  <a:pt x="68" y="358"/>
                </a:cubicBezTo>
                <a:close/>
                <a:moveTo>
                  <a:pt x="80" y="396"/>
                </a:moveTo>
                <a:cubicBezTo>
                  <a:pt x="79" y="397"/>
                  <a:pt x="80" y="395"/>
                  <a:pt x="80" y="396"/>
                </a:cubicBezTo>
                <a:close/>
                <a:moveTo>
                  <a:pt x="76" y="428"/>
                </a:moveTo>
                <a:cubicBezTo>
                  <a:pt x="76" y="428"/>
                  <a:pt x="76" y="428"/>
                  <a:pt x="76" y="428"/>
                </a:cubicBezTo>
                <a:cubicBezTo>
                  <a:pt x="77" y="427"/>
                  <a:pt x="76" y="428"/>
                  <a:pt x="76" y="428"/>
                </a:cubicBezTo>
                <a:close/>
                <a:moveTo>
                  <a:pt x="76" y="353"/>
                </a:moveTo>
                <a:cubicBezTo>
                  <a:pt x="76" y="355"/>
                  <a:pt x="75" y="355"/>
                  <a:pt x="75" y="356"/>
                </a:cubicBezTo>
                <a:cubicBezTo>
                  <a:pt x="74" y="355"/>
                  <a:pt x="76" y="354"/>
                  <a:pt x="76" y="353"/>
                </a:cubicBezTo>
                <a:close/>
                <a:moveTo>
                  <a:pt x="75" y="387"/>
                </a:moveTo>
                <a:cubicBezTo>
                  <a:pt x="74" y="387"/>
                  <a:pt x="77" y="386"/>
                  <a:pt x="75" y="387"/>
                </a:cubicBezTo>
                <a:close/>
                <a:moveTo>
                  <a:pt x="73" y="290"/>
                </a:moveTo>
                <a:cubicBezTo>
                  <a:pt x="73" y="291"/>
                  <a:pt x="73" y="292"/>
                  <a:pt x="72" y="293"/>
                </a:cubicBezTo>
                <a:cubicBezTo>
                  <a:pt x="72" y="292"/>
                  <a:pt x="73" y="290"/>
                  <a:pt x="73" y="290"/>
                </a:cubicBezTo>
                <a:close/>
                <a:moveTo>
                  <a:pt x="69" y="327"/>
                </a:moveTo>
                <a:cubicBezTo>
                  <a:pt x="69" y="326"/>
                  <a:pt x="71" y="325"/>
                  <a:pt x="72" y="324"/>
                </a:cubicBezTo>
                <a:cubicBezTo>
                  <a:pt x="72" y="326"/>
                  <a:pt x="70" y="326"/>
                  <a:pt x="69" y="327"/>
                </a:cubicBezTo>
                <a:close/>
                <a:moveTo>
                  <a:pt x="72" y="428"/>
                </a:moveTo>
                <a:cubicBezTo>
                  <a:pt x="70" y="430"/>
                  <a:pt x="71" y="426"/>
                  <a:pt x="72" y="427"/>
                </a:cubicBezTo>
                <a:cubicBezTo>
                  <a:pt x="73" y="427"/>
                  <a:pt x="73" y="428"/>
                  <a:pt x="72" y="428"/>
                </a:cubicBezTo>
                <a:close/>
                <a:moveTo>
                  <a:pt x="72" y="367"/>
                </a:moveTo>
                <a:cubicBezTo>
                  <a:pt x="72" y="367"/>
                  <a:pt x="72" y="368"/>
                  <a:pt x="72" y="368"/>
                </a:cubicBezTo>
                <a:cubicBezTo>
                  <a:pt x="71" y="369"/>
                  <a:pt x="71" y="366"/>
                  <a:pt x="72" y="367"/>
                </a:cubicBezTo>
                <a:close/>
                <a:moveTo>
                  <a:pt x="73" y="356"/>
                </a:moveTo>
                <a:cubicBezTo>
                  <a:pt x="70" y="358"/>
                  <a:pt x="71" y="351"/>
                  <a:pt x="73" y="352"/>
                </a:cubicBezTo>
                <a:cubicBezTo>
                  <a:pt x="75" y="353"/>
                  <a:pt x="73" y="356"/>
                  <a:pt x="73" y="356"/>
                </a:cubicBezTo>
                <a:close/>
                <a:moveTo>
                  <a:pt x="75" y="401"/>
                </a:moveTo>
                <a:cubicBezTo>
                  <a:pt x="73" y="402"/>
                  <a:pt x="73" y="397"/>
                  <a:pt x="75" y="398"/>
                </a:cubicBezTo>
                <a:cubicBezTo>
                  <a:pt x="76" y="399"/>
                  <a:pt x="76" y="400"/>
                  <a:pt x="75" y="401"/>
                </a:cubicBezTo>
                <a:close/>
                <a:moveTo>
                  <a:pt x="76" y="434"/>
                </a:moveTo>
                <a:cubicBezTo>
                  <a:pt x="77" y="432"/>
                  <a:pt x="79" y="430"/>
                  <a:pt x="80" y="429"/>
                </a:cubicBezTo>
                <a:cubicBezTo>
                  <a:pt x="79" y="431"/>
                  <a:pt x="78" y="432"/>
                  <a:pt x="76" y="434"/>
                </a:cubicBezTo>
                <a:close/>
                <a:moveTo>
                  <a:pt x="81" y="418"/>
                </a:moveTo>
                <a:cubicBezTo>
                  <a:pt x="80" y="418"/>
                  <a:pt x="82" y="417"/>
                  <a:pt x="81" y="418"/>
                </a:cubicBezTo>
                <a:close/>
                <a:moveTo>
                  <a:pt x="81" y="339"/>
                </a:moveTo>
                <a:cubicBezTo>
                  <a:pt x="80" y="339"/>
                  <a:pt x="81" y="337"/>
                  <a:pt x="82" y="337"/>
                </a:cubicBezTo>
                <a:cubicBezTo>
                  <a:pt x="82" y="338"/>
                  <a:pt x="81" y="338"/>
                  <a:pt x="81" y="339"/>
                </a:cubicBezTo>
                <a:close/>
                <a:moveTo>
                  <a:pt x="87" y="450"/>
                </a:moveTo>
                <a:cubicBezTo>
                  <a:pt x="87" y="450"/>
                  <a:pt x="88" y="449"/>
                  <a:pt x="89" y="449"/>
                </a:cubicBezTo>
                <a:cubicBezTo>
                  <a:pt x="89" y="449"/>
                  <a:pt x="88" y="450"/>
                  <a:pt x="87" y="450"/>
                </a:cubicBezTo>
                <a:close/>
                <a:moveTo>
                  <a:pt x="90" y="457"/>
                </a:moveTo>
                <a:cubicBezTo>
                  <a:pt x="90" y="457"/>
                  <a:pt x="90" y="457"/>
                  <a:pt x="90" y="456"/>
                </a:cubicBezTo>
                <a:cubicBezTo>
                  <a:pt x="92" y="455"/>
                  <a:pt x="91" y="456"/>
                  <a:pt x="90" y="457"/>
                </a:cubicBezTo>
                <a:close/>
                <a:moveTo>
                  <a:pt x="91" y="435"/>
                </a:moveTo>
                <a:cubicBezTo>
                  <a:pt x="89" y="437"/>
                  <a:pt x="92" y="434"/>
                  <a:pt x="91" y="435"/>
                </a:cubicBezTo>
                <a:close/>
                <a:moveTo>
                  <a:pt x="109" y="452"/>
                </a:moveTo>
                <a:cubicBezTo>
                  <a:pt x="109" y="453"/>
                  <a:pt x="108" y="452"/>
                  <a:pt x="109" y="452"/>
                </a:cubicBezTo>
                <a:close/>
                <a:moveTo>
                  <a:pt x="104" y="235"/>
                </a:moveTo>
                <a:cubicBezTo>
                  <a:pt x="103" y="236"/>
                  <a:pt x="105" y="234"/>
                  <a:pt x="104" y="235"/>
                </a:cubicBezTo>
                <a:close/>
                <a:moveTo>
                  <a:pt x="100" y="336"/>
                </a:moveTo>
                <a:cubicBezTo>
                  <a:pt x="101" y="335"/>
                  <a:pt x="101" y="335"/>
                  <a:pt x="100" y="336"/>
                </a:cubicBezTo>
                <a:close/>
                <a:moveTo>
                  <a:pt x="98" y="332"/>
                </a:moveTo>
                <a:cubicBezTo>
                  <a:pt x="97" y="331"/>
                  <a:pt x="100" y="331"/>
                  <a:pt x="98" y="332"/>
                </a:cubicBezTo>
                <a:close/>
                <a:moveTo>
                  <a:pt x="96" y="215"/>
                </a:moveTo>
                <a:cubicBezTo>
                  <a:pt x="97" y="215"/>
                  <a:pt x="97" y="216"/>
                  <a:pt x="96" y="217"/>
                </a:cubicBezTo>
                <a:cubicBezTo>
                  <a:pt x="95" y="219"/>
                  <a:pt x="95" y="214"/>
                  <a:pt x="96" y="215"/>
                </a:cubicBezTo>
                <a:close/>
                <a:moveTo>
                  <a:pt x="87" y="329"/>
                </a:moveTo>
                <a:cubicBezTo>
                  <a:pt x="87" y="330"/>
                  <a:pt x="86" y="330"/>
                  <a:pt x="86" y="331"/>
                </a:cubicBezTo>
                <a:cubicBezTo>
                  <a:pt x="85" y="331"/>
                  <a:pt x="86" y="329"/>
                  <a:pt x="87" y="329"/>
                </a:cubicBezTo>
                <a:close/>
                <a:moveTo>
                  <a:pt x="85" y="293"/>
                </a:moveTo>
                <a:cubicBezTo>
                  <a:pt x="85" y="293"/>
                  <a:pt x="85" y="294"/>
                  <a:pt x="85" y="294"/>
                </a:cubicBezTo>
                <a:cubicBezTo>
                  <a:pt x="83" y="296"/>
                  <a:pt x="83" y="291"/>
                  <a:pt x="85" y="293"/>
                </a:cubicBezTo>
                <a:close/>
                <a:moveTo>
                  <a:pt x="84" y="332"/>
                </a:moveTo>
                <a:cubicBezTo>
                  <a:pt x="86" y="333"/>
                  <a:pt x="84" y="335"/>
                  <a:pt x="82" y="336"/>
                </a:cubicBezTo>
                <a:cubicBezTo>
                  <a:pt x="83" y="334"/>
                  <a:pt x="85" y="333"/>
                  <a:pt x="84" y="332"/>
                </a:cubicBezTo>
                <a:close/>
                <a:moveTo>
                  <a:pt x="83" y="441"/>
                </a:moveTo>
                <a:cubicBezTo>
                  <a:pt x="82" y="442"/>
                  <a:pt x="84" y="440"/>
                  <a:pt x="83" y="441"/>
                </a:cubicBezTo>
                <a:close/>
                <a:moveTo>
                  <a:pt x="84" y="423"/>
                </a:moveTo>
                <a:cubicBezTo>
                  <a:pt x="83" y="424"/>
                  <a:pt x="84" y="421"/>
                  <a:pt x="85" y="422"/>
                </a:cubicBezTo>
                <a:cubicBezTo>
                  <a:pt x="86" y="422"/>
                  <a:pt x="85" y="423"/>
                  <a:pt x="84" y="423"/>
                </a:cubicBezTo>
                <a:close/>
                <a:moveTo>
                  <a:pt x="88" y="356"/>
                </a:moveTo>
                <a:cubicBezTo>
                  <a:pt x="86" y="358"/>
                  <a:pt x="87" y="353"/>
                  <a:pt x="88" y="354"/>
                </a:cubicBezTo>
                <a:cubicBezTo>
                  <a:pt x="89" y="355"/>
                  <a:pt x="88" y="356"/>
                  <a:pt x="88" y="356"/>
                </a:cubicBezTo>
                <a:close/>
                <a:moveTo>
                  <a:pt x="96" y="325"/>
                </a:moveTo>
                <a:cubicBezTo>
                  <a:pt x="96" y="326"/>
                  <a:pt x="95" y="326"/>
                  <a:pt x="94" y="328"/>
                </a:cubicBezTo>
                <a:cubicBezTo>
                  <a:pt x="92" y="330"/>
                  <a:pt x="89" y="335"/>
                  <a:pt x="87" y="340"/>
                </a:cubicBezTo>
                <a:cubicBezTo>
                  <a:pt x="85" y="344"/>
                  <a:pt x="85" y="347"/>
                  <a:pt x="83" y="350"/>
                </a:cubicBezTo>
                <a:cubicBezTo>
                  <a:pt x="83" y="350"/>
                  <a:pt x="82" y="350"/>
                  <a:pt x="82" y="350"/>
                </a:cubicBezTo>
                <a:cubicBezTo>
                  <a:pt x="81" y="350"/>
                  <a:pt x="84" y="344"/>
                  <a:pt x="85" y="342"/>
                </a:cubicBezTo>
                <a:cubicBezTo>
                  <a:pt x="86" y="339"/>
                  <a:pt x="87" y="337"/>
                  <a:pt x="89" y="334"/>
                </a:cubicBezTo>
                <a:cubicBezTo>
                  <a:pt x="90" y="332"/>
                  <a:pt x="93" y="329"/>
                  <a:pt x="93" y="326"/>
                </a:cubicBezTo>
                <a:cubicBezTo>
                  <a:pt x="93" y="326"/>
                  <a:pt x="92" y="325"/>
                  <a:pt x="92" y="324"/>
                </a:cubicBezTo>
                <a:cubicBezTo>
                  <a:pt x="92" y="320"/>
                  <a:pt x="99" y="320"/>
                  <a:pt x="96" y="325"/>
                </a:cubicBezTo>
                <a:close/>
                <a:moveTo>
                  <a:pt x="96" y="227"/>
                </a:moveTo>
                <a:cubicBezTo>
                  <a:pt x="97" y="227"/>
                  <a:pt x="97" y="228"/>
                  <a:pt x="97" y="229"/>
                </a:cubicBezTo>
                <a:cubicBezTo>
                  <a:pt x="96" y="230"/>
                  <a:pt x="96" y="227"/>
                  <a:pt x="96" y="227"/>
                </a:cubicBezTo>
                <a:close/>
                <a:moveTo>
                  <a:pt x="98" y="402"/>
                </a:moveTo>
                <a:cubicBezTo>
                  <a:pt x="98" y="402"/>
                  <a:pt x="98" y="402"/>
                  <a:pt x="97" y="402"/>
                </a:cubicBezTo>
                <a:cubicBezTo>
                  <a:pt x="95" y="401"/>
                  <a:pt x="100" y="400"/>
                  <a:pt x="98" y="402"/>
                </a:cubicBezTo>
                <a:close/>
                <a:moveTo>
                  <a:pt x="99" y="416"/>
                </a:moveTo>
                <a:cubicBezTo>
                  <a:pt x="101" y="416"/>
                  <a:pt x="100" y="421"/>
                  <a:pt x="99" y="422"/>
                </a:cubicBezTo>
                <a:cubicBezTo>
                  <a:pt x="94" y="424"/>
                  <a:pt x="98" y="416"/>
                  <a:pt x="99" y="416"/>
                </a:cubicBezTo>
                <a:close/>
                <a:moveTo>
                  <a:pt x="101" y="433"/>
                </a:moveTo>
                <a:cubicBezTo>
                  <a:pt x="103" y="434"/>
                  <a:pt x="100" y="438"/>
                  <a:pt x="100" y="439"/>
                </a:cubicBezTo>
                <a:cubicBezTo>
                  <a:pt x="94" y="441"/>
                  <a:pt x="98" y="431"/>
                  <a:pt x="101" y="433"/>
                </a:cubicBezTo>
                <a:close/>
                <a:moveTo>
                  <a:pt x="100" y="444"/>
                </a:moveTo>
                <a:cubicBezTo>
                  <a:pt x="101" y="443"/>
                  <a:pt x="99" y="445"/>
                  <a:pt x="100" y="444"/>
                </a:cubicBezTo>
                <a:close/>
                <a:moveTo>
                  <a:pt x="102" y="444"/>
                </a:moveTo>
                <a:cubicBezTo>
                  <a:pt x="102" y="445"/>
                  <a:pt x="101" y="445"/>
                  <a:pt x="101" y="445"/>
                </a:cubicBezTo>
                <a:cubicBezTo>
                  <a:pt x="99" y="443"/>
                  <a:pt x="104" y="442"/>
                  <a:pt x="102" y="444"/>
                </a:cubicBezTo>
                <a:close/>
                <a:moveTo>
                  <a:pt x="102" y="431"/>
                </a:moveTo>
                <a:cubicBezTo>
                  <a:pt x="100" y="432"/>
                  <a:pt x="100" y="428"/>
                  <a:pt x="102" y="429"/>
                </a:cubicBezTo>
                <a:cubicBezTo>
                  <a:pt x="103" y="429"/>
                  <a:pt x="103" y="430"/>
                  <a:pt x="102" y="431"/>
                </a:cubicBezTo>
                <a:close/>
                <a:moveTo>
                  <a:pt x="103" y="445"/>
                </a:moveTo>
                <a:cubicBezTo>
                  <a:pt x="102" y="447"/>
                  <a:pt x="105" y="444"/>
                  <a:pt x="103" y="445"/>
                </a:cubicBezTo>
                <a:close/>
                <a:moveTo>
                  <a:pt x="104" y="399"/>
                </a:moveTo>
                <a:cubicBezTo>
                  <a:pt x="103" y="399"/>
                  <a:pt x="103" y="397"/>
                  <a:pt x="104" y="398"/>
                </a:cubicBezTo>
                <a:cubicBezTo>
                  <a:pt x="104" y="398"/>
                  <a:pt x="104" y="399"/>
                  <a:pt x="104" y="399"/>
                </a:cubicBezTo>
                <a:close/>
                <a:moveTo>
                  <a:pt x="104" y="288"/>
                </a:moveTo>
                <a:cubicBezTo>
                  <a:pt x="103" y="290"/>
                  <a:pt x="105" y="287"/>
                  <a:pt x="104" y="288"/>
                </a:cubicBezTo>
                <a:close/>
                <a:moveTo>
                  <a:pt x="105" y="307"/>
                </a:moveTo>
                <a:cubicBezTo>
                  <a:pt x="104" y="306"/>
                  <a:pt x="106" y="303"/>
                  <a:pt x="107" y="302"/>
                </a:cubicBezTo>
                <a:cubicBezTo>
                  <a:pt x="107" y="304"/>
                  <a:pt x="106" y="306"/>
                  <a:pt x="105" y="307"/>
                </a:cubicBezTo>
                <a:close/>
                <a:moveTo>
                  <a:pt x="106" y="414"/>
                </a:moveTo>
                <a:cubicBezTo>
                  <a:pt x="106" y="413"/>
                  <a:pt x="108" y="413"/>
                  <a:pt x="106" y="414"/>
                </a:cubicBezTo>
                <a:close/>
                <a:moveTo>
                  <a:pt x="108" y="455"/>
                </a:moveTo>
                <a:cubicBezTo>
                  <a:pt x="107" y="454"/>
                  <a:pt x="109" y="454"/>
                  <a:pt x="108" y="455"/>
                </a:cubicBezTo>
                <a:close/>
                <a:moveTo>
                  <a:pt x="107" y="441"/>
                </a:moveTo>
                <a:cubicBezTo>
                  <a:pt x="106" y="441"/>
                  <a:pt x="108" y="440"/>
                  <a:pt x="108" y="440"/>
                </a:cubicBezTo>
                <a:cubicBezTo>
                  <a:pt x="108" y="440"/>
                  <a:pt x="107" y="440"/>
                  <a:pt x="107" y="441"/>
                </a:cubicBezTo>
                <a:close/>
                <a:moveTo>
                  <a:pt x="108" y="388"/>
                </a:moveTo>
                <a:cubicBezTo>
                  <a:pt x="107" y="390"/>
                  <a:pt x="107" y="386"/>
                  <a:pt x="108" y="387"/>
                </a:cubicBezTo>
                <a:cubicBezTo>
                  <a:pt x="109" y="387"/>
                  <a:pt x="108" y="388"/>
                  <a:pt x="108" y="388"/>
                </a:cubicBezTo>
                <a:close/>
                <a:moveTo>
                  <a:pt x="109" y="420"/>
                </a:moveTo>
                <a:cubicBezTo>
                  <a:pt x="109" y="421"/>
                  <a:pt x="109" y="418"/>
                  <a:pt x="109" y="420"/>
                </a:cubicBezTo>
                <a:close/>
                <a:moveTo>
                  <a:pt x="108" y="301"/>
                </a:moveTo>
                <a:cubicBezTo>
                  <a:pt x="107" y="300"/>
                  <a:pt x="108" y="298"/>
                  <a:pt x="110" y="298"/>
                </a:cubicBezTo>
                <a:cubicBezTo>
                  <a:pt x="110" y="299"/>
                  <a:pt x="108" y="300"/>
                  <a:pt x="108" y="301"/>
                </a:cubicBezTo>
                <a:close/>
                <a:moveTo>
                  <a:pt x="110" y="401"/>
                </a:moveTo>
                <a:cubicBezTo>
                  <a:pt x="110" y="401"/>
                  <a:pt x="110" y="401"/>
                  <a:pt x="110" y="401"/>
                </a:cubicBezTo>
                <a:cubicBezTo>
                  <a:pt x="110" y="401"/>
                  <a:pt x="110" y="400"/>
                  <a:pt x="110" y="401"/>
                </a:cubicBezTo>
                <a:close/>
                <a:moveTo>
                  <a:pt x="69" y="513"/>
                </a:moveTo>
                <a:cubicBezTo>
                  <a:pt x="69" y="513"/>
                  <a:pt x="70" y="512"/>
                  <a:pt x="70" y="512"/>
                </a:cubicBezTo>
                <a:cubicBezTo>
                  <a:pt x="70" y="513"/>
                  <a:pt x="69" y="513"/>
                  <a:pt x="69" y="513"/>
                </a:cubicBezTo>
                <a:close/>
                <a:moveTo>
                  <a:pt x="73" y="498"/>
                </a:moveTo>
                <a:cubicBezTo>
                  <a:pt x="73" y="497"/>
                  <a:pt x="74" y="496"/>
                  <a:pt x="75" y="496"/>
                </a:cubicBezTo>
                <a:cubicBezTo>
                  <a:pt x="75" y="497"/>
                  <a:pt x="74" y="498"/>
                  <a:pt x="73" y="498"/>
                </a:cubicBezTo>
                <a:close/>
                <a:moveTo>
                  <a:pt x="76" y="499"/>
                </a:moveTo>
                <a:cubicBezTo>
                  <a:pt x="76" y="500"/>
                  <a:pt x="77" y="498"/>
                  <a:pt x="76" y="499"/>
                </a:cubicBezTo>
                <a:close/>
                <a:moveTo>
                  <a:pt x="87" y="502"/>
                </a:moveTo>
                <a:cubicBezTo>
                  <a:pt x="86" y="500"/>
                  <a:pt x="89" y="499"/>
                  <a:pt x="87" y="502"/>
                </a:cubicBezTo>
                <a:close/>
                <a:moveTo>
                  <a:pt x="100" y="477"/>
                </a:moveTo>
                <a:cubicBezTo>
                  <a:pt x="101" y="479"/>
                  <a:pt x="100" y="481"/>
                  <a:pt x="100" y="483"/>
                </a:cubicBezTo>
                <a:cubicBezTo>
                  <a:pt x="99" y="481"/>
                  <a:pt x="99" y="479"/>
                  <a:pt x="100" y="477"/>
                </a:cubicBezTo>
                <a:close/>
                <a:moveTo>
                  <a:pt x="100" y="502"/>
                </a:moveTo>
                <a:cubicBezTo>
                  <a:pt x="97" y="499"/>
                  <a:pt x="102" y="497"/>
                  <a:pt x="104" y="496"/>
                </a:cubicBezTo>
                <a:cubicBezTo>
                  <a:pt x="105" y="499"/>
                  <a:pt x="102" y="505"/>
                  <a:pt x="100" y="502"/>
                </a:cubicBezTo>
                <a:close/>
                <a:moveTo>
                  <a:pt x="144" y="546"/>
                </a:moveTo>
                <a:cubicBezTo>
                  <a:pt x="143" y="546"/>
                  <a:pt x="144" y="546"/>
                  <a:pt x="144" y="545"/>
                </a:cubicBezTo>
                <a:cubicBezTo>
                  <a:pt x="143" y="542"/>
                  <a:pt x="147" y="545"/>
                  <a:pt x="144" y="546"/>
                </a:cubicBezTo>
                <a:close/>
                <a:moveTo>
                  <a:pt x="196" y="598"/>
                </a:moveTo>
                <a:cubicBezTo>
                  <a:pt x="196" y="598"/>
                  <a:pt x="198" y="597"/>
                  <a:pt x="198" y="598"/>
                </a:cubicBezTo>
                <a:cubicBezTo>
                  <a:pt x="198" y="599"/>
                  <a:pt x="197" y="599"/>
                  <a:pt x="196" y="598"/>
                </a:cubicBezTo>
                <a:close/>
                <a:moveTo>
                  <a:pt x="199" y="607"/>
                </a:moveTo>
                <a:cubicBezTo>
                  <a:pt x="198" y="607"/>
                  <a:pt x="198" y="607"/>
                  <a:pt x="198" y="607"/>
                </a:cubicBezTo>
                <a:cubicBezTo>
                  <a:pt x="198" y="605"/>
                  <a:pt x="200" y="608"/>
                  <a:pt x="199" y="607"/>
                </a:cubicBezTo>
                <a:close/>
                <a:moveTo>
                  <a:pt x="203" y="609"/>
                </a:moveTo>
                <a:cubicBezTo>
                  <a:pt x="203" y="608"/>
                  <a:pt x="205" y="608"/>
                  <a:pt x="205" y="609"/>
                </a:cubicBezTo>
                <a:cubicBezTo>
                  <a:pt x="205" y="609"/>
                  <a:pt x="203" y="610"/>
                  <a:pt x="203" y="609"/>
                </a:cubicBezTo>
                <a:close/>
                <a:moveTo>
                  <a:pt x="208" y="600"/>
                </a:moveTo>
                <a:cubicBezTo>
                  <a:pt x="207" y="600"/>
                  <a:pt x="209" y="600"/>
                  <a:pt x="209" y="600"/>
                </a:cubicBezTo>
                <a:cubicBezTo>
                  <a:pt x="209" y="601"/>
                  <a:pt x="208" y="601"/>
                  <a:pt x="208" y="600"/>
                </a:cubicBezTo>
                <a:close/>
                <a:moveTo>
                  <a:pt x="226" y="627"/>
                </a:moveTo>
                <a:cubicBezTo>
                  <a:pt x="225" y="627"/>
                  <a:pt x="223" y="627"/>
                  <a:pt x="224" y="625"/>
                </a:cubicBezTo>
                <a:cubicBezTo>
                  <a:pt x="225" y="624"/>
                  <a:pt x="229" y="624"/>
                  <a:pt x="229" y="625"/>
                </a:cubicBezTo>
                <a:cubicBezTo>
                  <a:pt x="229" y="626"/>
                  <a:pt x="229" y="626"/>
                  <a:pt x="228" y="627"/>
                </a:cubicBezTo>
                <a:cubicBezTo>
                  <a:pt x="229" y="627"/>
                  <a:pt x="229" y="627"/>
                  <a:pt x="229" y="627"/>
                </a:cubicBezTo>
                <a:cubicBezTo>
                  <a:pt x="228" y="628"/>
                  <a:pt x="227" y="628"/>
                  <a:pt x="226" y="627"/>
                </a:cubicBezTo>
                <a:close/>
                <a:moveTo>
                  <a:pt x="229" y="628"/>
                </a:moveTo>
                <a:cubicBezTo>
                  <a:pt x="229" y="628"/>
                  <a:pt x="231" y="628"/>
                  <a:pt x="231" y="628"/>
                </a:cubicBezTo>
                <a:cubicBezTo>
                  <a:pt x="231" y="629"/>
                  <a:pt x="229" y="628"/>
                  <a:pt x="229" y="628"/>
                </a:cubicBezTo>
                <a:close/>
                <a:moveTo>
                  <a:pt x="228" y="653"/>
                </a:moveTo>
                <a:cubicBezTo>
                  <a:pt x="228" y="653"/>
                  <a:pt x="228" y="653"/>
                  <a:pt x="228" y="653"/>
                </a:cubicBezTo>
                <a:cubicBezTo>
                  <a:pt x="228" y="653"/>
                  <a:pt x="228" y="652"/>
                  <a:pt x="228" y="653"/>
                </a:cubicBezTo>
                <a:close/>
                <a:moveTo>
                  <a:pt x="213" y="659"/>
                </a:moveTo>
                <a:cubicBezTo>
                  <a:pt x="213" y="659"/>
                  <a:pt x="213" y="659"/>
                  <a:pt x="213" y="659"/>
                </a:cubicBezTo>
                <a:cubicBezTo>
                  <a:pt x="213" y="659"/>
                  <a:pt x="213" y="659"/>
                  <a:pt x="213" y="659"/>
                </a:cubicBezTo>
                <a:close/>
                <a:moveTo>
                  <a:pt x="213" y="659"/>
                </a:moveTo>
                <a:cubicBezTo>
                  <a:pt x="214" y="659"/>
                  <a:pt x="213" y="659"/>
                  <a:pt x="213" y="659"/>
                </a:cubicBezTo>
                <a:close/>
                <a:moveTo>
                  <a:pt x="213" y="657"/>
                </a:moveTo>
                <a:cubicBezTo>
                  <a:pt x="213" y="656"/>
                  <a:pt x="214" y="656"/>
                  <a:pt x="214" y="656"/>
                </a:cubicBezTo>
                <a:cubicBezTo>
                  <a:pt x="215" y="657"/>
                  <a:pt x="214" y="657"/>
                  <a:pt x="213" y="657"/>
                </a:cubicBezTo>
                <a:close/>
                <a:moveTo>
                  <a:pt x="216" y="659"/>
                </a:moveTo>
                <a:cubicBezTo>
                  <a:pt x="216" y="658"/>
                  <a:pt x="216" y="657"/>
                  <a:pt x="217" y="658"/>
                </a:cubicBezTo>
                <a:cubicBezTo>
                  <a:pt x="216" y="658"/>
                  <a:pt x="218" y="660"/>
                  <a:pt x="218" y="660"/>
                </a:cubicBezTo>
                <a:cubicBezTo>
                  <a:pt x="217" y="661"/>
                  <a:pt x="215" y="661"/>
                  <a:pt x="216" y="659"/>
                </a:cubicBezTo>
                <a:close/>
                <a:moveTo>
                  <a:pt x="223" y="655"/>
                </a:moveTo>
                <a:cubicBezTo>
                  <a:pt x="222" y="654"/>
                  <a:pt x="224" y="654"/>
                  <a:pt x="224" y="655"/>
                </a:cubicBezTo>
                <a:cubicBezTo>
                  <a:pt x="224" y="655"/>
                  <a:pt x="223" y="655"/>
                  <a:pt x="223" y="655"/>
                </a:cubicBezTo>
                <a:close/>
                <a:moveTo>
                  <a:pt x="218" y="655"/>
                </a:moveTo>
                <a:cubicBezTo>
                  <a:pt x="217" y="655"/>
                  <a:pt x="214" y="653"/>
                  <a:pt x="215" y="651"/>
                </a:cubicBezTo>
                <a:cubicBezTo>
                  <a:pt x="216" y="650"/>
                  <a:pt x="220" y="648"/>
                  <a:pt x="222" y="648"/>
                </a:cubicBezTo>
                <a:cubicBezTo>
                  <a:pt x="223" y="649"/>
                  <a:pt x="224" y="649"/>
                  <a:pt x="224" y="650"/>
                </a:cubicBezTo>
                <a:cubicBezTo>
                  <a:pt x="224" y="650"/>
                  <a:pt x="226" y="648"/>
                  <a:pt x="225" y="650"/>
                </a:cubicBezTo>
                <a:cubicBezTo>
                  <a:pt x="225" y="650"/>
                  <a:pt x="223" y="651"/>
                  <a:pt x="223" y="652"/>
                </a:cubicBezTo>
                <a:cubicBezTo>
                  <a:pt x="224" y="652"/>
                  <a:pt x="225" y="651"/>
                  <a:pt x="225" y="652"/>
                </a:cubicBezTo>
                <a:cubicBezTo>
                  <a:pt x="224" y="652"/>
                  <a:pt x="221" y="655"/>
                  <a:pt x="218" y="655"/>
                </a:cubicBezTo>
                <a:close/>
                <a:moveTo>
                  <a:pt x="227" y="665"/>
                </a:moveTo>
                <a:cubicBezTo>
                  <a:pt x="223" y="666"/>
                  <a:pt x="226" y="661"/>
                  <a:pt x="228" y="662"/>
                </a:cubicBezTo>
                <a:cubicBezTo>
                  <a:pt x="229" y="664"/>
                  <a:pt x="228" y="664"/>
                  <a:pt x="227" y="665"/>
                </a:cubicBezTo>
                <a:close/>
                <a:moveTo>
                  <a:pt x="228" y="654"/>
                </a:moveTo>
                <a:cubicBezTo>
                  <a:pt x="227" y="653"/>
                  <a:pt x="230" y="655"/>
                  <a:pt x="228" y="654"/>
                </a:cubicBezTo>
                <a:close/>
                <a:moveTo>
                  <a:pt x="229" y="639"/>
                </a:moveTo>
                <a:cubicBezTo>
                  <a:pt x="228" y="638"/>
                  <a:pt x="231" y="638"/>
                  <a:pt x="231" y="639"/>
                </a:cubicBezTo>
                <a:cubicBezTo>
                  <a:pt x="231" y="639"/>
                  <a:pt x="230" y="640"/>
                  <a:pt x="229" y="639"/>
                </a:cubicBezTo>
                <a:close/>
                <a:moveTo>
                  <a:pt x="215" y="675"/>
                </a:moveTo>
                <a:cubicBezTo>
                  <a:pt x="216" y="673"/>
                  <a:pt x="216" y="675"/>
                  <a:pt x="215" y="675"/>
                </a:cubicBezTo>
                <a:close/>
                <a:moveTo>
                  <a:pt x="219" y="676"/>
                </a:moveTo>
                <a:cubicBezTo>
                  <a:pt x="220" y="675"/>
                  <a:pt x="221" y="676"/>
                  <a:pt x="223" y="676"/>
                </a:cubicBezTo>
                <a:cubicBezTo>
                  <a:pt x="221" y="676"/>
                  <a:pt x="220" y="677"/>
                  <a:pt x="219" y="676"/>
                </a:cubicBezTo>
                <a:close/>
                <a:moveTo>
                  <a:pt x="226" y="676"/>
                </a:moveTo>
                <a:cubicBezTo>
                  <a:pt x="226" y="675"/>
                  <a:pt x="228" y="675"/>
                  <a:pt x="228" y="675"/>
                </a:cubicBezTo>
                <a:cubicBezTo>
                  <a:pt x="228" y="676"/>
                  <a:pt x="226" y="676"/>
                  <a:pt x="226" y="676"/>
                </a:cubicBezTo>
                <a:close/>
                <a:moveTo>
                  <a:pt x="229" y="676"/>
                </a:moveTo>
                <a:cubicBezTo>
                  <a:pt x="229" y="675"/>
                  <a:pt x="230" y="676"/>
                  <a:pt x="230" y="676"/>
                </a:cubicBezTo>
                <a:cubicBezTo>
                  <a:pt x="230" y="676"/>
                  <a:pt x="229" y="677"/>
                  <a:pt x="229" y="676"/>
                </a:cubicBezTo>
                <a:close/>
                <a:moveTo>
                  <a:pt x="234" y="679"/>
                </a:moveTo>
                <a:cubicBezTo>
                  <a:pt x="234" y="678"/>
                  <a:pt x="235" y="678"/>
                  <a:pt x="235" y="678"/>
                </a:cubicBezTo>
                <a:cubicBezTo>
                  <a:pt x="236" y="679"/>
                  <a:pt x="234" y="679"/>
                  <a:pt x="234" y="679"/>
                </a:cubicBezTo>
                <a:close/>
                <a:moveTo>
                  <a:pt x="248" y="692"/>
                </a:moveTo>
                <a:cubicBezTo>
                  <a:pt x="248" y="691"/>
                  <a:pt x="250" y="691"/>
                  <a:pt x="250" y="691"/>
                </a:cubicBezTo>
                <a:cubicBezTo>
                  <a:pt x="251" y="692"/>
                  <a:pt x="249" y="692"/>
                  <a:pt x="248" y="692"/>
                </a:cubicBezTo>
                <a:close/>
                <a:moveTo>
                  <a:pt x="349" y="41"/>
                </a:moveTo>
                <a:cubicBezTo>
                  <a:pt x="348" y="41"/>
                  <a:pt x="345" y="42"/>
                  <a:pt x="344" y="41"/>
                </a:cubicBezTo>
                <a:cubicBezTo>
                  <a:pt x="344" y="40"/>
                  <a:pt x="348" y="40"/>
                  <a:pt x="349" y="41"/>
                </a:cubicBezTo>
                <a:close/>
                <a:moveTo>
                  <a:pt x="343" y="7"/>
                </a:moveTo>
                <a:cubicBezTo>
                  <a:pt x="344" y="6"/>
                  <a:pt x="345" y="8"/>
                  <a:pt x="343" y="7"/>
                </a:cubicBezTo>
                <a:close/>
                <a:moveTo>
                  <a:pt x="342" y="38"/>
                </a:moveTo>
                <a:cubicBezTo>
                  <a:pt x="341" y="38"/>
                  <a:pt x="340" y="37"/>
                  <a:pt x="339" y="38"/>
                </a:cubicBezTo>
                <a:cubicBezTo>
                  <a:pt x="339" y="37"/>
                  <a:pt x="341" y="37"/>
                  <a:pt x="342" y="38"/>
                </a:cubicBezTo>
                <a:close/>
                <a:moveTo>
                  <a:pt x="335" y="37"/>
                </a:moveTo>
                <a:cubicBezTo>
                  <a:pt x="336" y="36"/>
                  <a:pt x="337" y="39"/>
                  <a:pt x="335" y="37"/>
                </a:cubicBezTo>
                <a:close/>
                <a:moveTo>
                  <a:pt x="336" y="97"/>
                </a:move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5" y="96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lose/>
                <a:moveTo>
                  <a:pt x="316" y="49"/>
                </a:moveTo>
                <a:cubicBezTo>
                  <a:pt x="316" y="49"/>
                  <a:pt x="313" y="50"/>
                  <a:pt x="313" y="49"/>
                </a:cubicBezTo>
                <a:cubicBezTo>
                  <a:pt x="312" y="49"/>
                  <a:pt x="315" y="48"/>
                  <a:pt x="316" y="49"/>
                </a:cubicBezTo>
                <a:close/>
                <a:moveTo>
                  <a:pt x="321" y="108"/>
                </a:moveTo>
                <a:cubicBezTo>
                  <a:pt x="319" y="109"/>
                  <a:pt x="315" y="112"/>
                  <a:pt x="311" y="111"/>
                </a:cubicBezTo>
                <a:cubicBezTo>
                  <a:pt x="314" y="109"/>
                  <a:pt x="317" y="109"/>
                  <a:pt x="321" y="108"/>
                </a:cubicBezTo>
                <a:close/>
                <a:moveTo>
                  <a:pt x="320" y="636"/>
                </a:moveTo>
                <a:cubicBezTo>
                  <a:pt x="319" y="636"/>
                  <a:pt x="320" y="635"/>
                  <a:pt x="320" y="635"/>
                </a:cubicBezTo>
                <a:cubicBezTo>
                  <a:pt x="321" y="635"/>
                  <a:pt x="320" y="636"/>
                  <a:pt x="320" y="636"/>
                </a:cubicBezTo>
                <a:close/>
                <a:moveTo>
                  <a:pt x="319" y="620"/>
                </a:moveTo>
                <a:cubicBezTo>
                  <a:pt x="319" y="620"/>
                  <a:pt x="318" y="620"/>
                  <a:pt x="317" y="620"/>
                </a:cubicBezTo>
                <a:cubicBezTo>
                  <a:pt x="318" y="620"/>
                  <a:pt x="319" y="619"/>
                  <a:pt x="319" y="620"/>
                </a:cubicBezTo>
                <a:close/>
                <a:moveTo>
                  <a:pt x="318" y="614"/>
                </a:moveTo>
                <a:cubicBezTo>
                  <a:pt x="317" y="613"/>
                  <a:pt x="319" y="615"/>
                  <a:pt x="318" y="614"/>
                </a:cubicBezTo>
                <a:close/>
                <a:moveTo>
                  <a:pt x="313" y="137"/>
                </a:moveTo>
                <a:cubicBezTo>
                  <a:pt x="312" y="140"/>
                  <a:pt x="312" y="135"/>
                  <a:pt x="312" y="137"/>
                </a:cubicBezTo>
                <a:cubicBezTo>
                  <a:pt x="312" y="137"/>
                  <a:pt x="313" y="137"/>
                  <a:pt x="313" y="137"/>
                </a:cubicBezTo>
                <a:close/>
                <a:moveTo>
                  <a:pt x="311" y="41"/>
                </a:moveTo>
                <a:cubicBezTo>
                  <a:pt x="310" y="42"/>
                  <a:pt x="309" y="40"/>
                  <a:pt x="311" y="41"/>
                </a:cubicBezTo>
                <a:close/>
                <a:moveTo>
                  <a:pt x="309" y="527"/>
                </a:moveTo>
                <a:cubicBezTo>
                  <a:pt x="309" y="528"/>
                  <a:pt x="306" y="529"/>
                  <a:pt x="306" y="527"/>
                </a:cubicBezTo>
                <a:cubicBezTo>
                  <a:pt x="306" y="525"/>
                  <a:pt x="309" y="526"/>
                  <a:pt x="309" y="527"/>
                </a:cubicBezTo>
                <a:close/>
                <a:moveTo>
                  <a:pt x="307" y="61"/>
                </a:moveTo>
                <a:cubicBezTo>
                  <a:pt x="306" y="60"/>
                  <a:pt x="308" y="61"/>
                  <a:pt x="307" y="61"/>
                </a:cubicBezTo>
                <a:close/>
                <a:moveTo>
                  <a:pt x="293" y="53"/>
                </a:moveTo>
                <a:cubicBezTo>
                  <a:pt x="298" y="52"/>
                  <a:pt x="304" y="52"/>
                  <a:pt x="309" y="51"/>
                </a:cubicBezTo>
                <a:cubicBezTo>
                  <a:pt x="304" y="53"/>
                  <a:pt x="299" y="53"/>
                  <a:pt x="293" y="53"/>
                </a:cubicBezTo>
                <a:close/>
                <a:moveTo>
                  <a:pt x="282" y="662"/>
                </a:moveTo>
                <a:cubicBezTo>
                  <a:pt x="281" y="662"/>
                  <a:pt x="279" y="663"/>
                  <a:pt x="277" y="663"/>
                </a:cubicBezTo>
                <a:cubicBezTo>
                  <a:pt x="279" y="662"/>
                  <a:pt x="281" y="661"/>
                  <a:pt x="282" y="662"/>
                </a:cubicBezTo>
                <a:close/>
                <a:moveTo>
                  <a:pt x="278" y="582"/>
                </a:moveTo>
                <a:cubicBezTo>
                  <a:pt x="278" y="581"/>
                  <a:pt x="280" y="581"/>
                  <a:pt x="279" y="582"/>
                </a:cubicBezTo>
                <a:cubicBezTo>
                  <a:pt x="279" y="582"/>
                  <a:pt x="279" y="582"/>
                  <a:pt x="278" y="582"/>
                </a:cubicBezTo>
                <a:close/>
                <a:moveTo>
                  <a:pt x="282" y="582"/>
                </a:moveTo>
                <a:cubicBezTo>
                  <a:pt x="282" y="582"/>
                  <a:pt x="280" y="583"/>
                  <a:pt x="280" y="581"/>
                </a:cubicBezTo>
                <a:cubicBezTo>
                  <a:pt x="280" y="580"/>
                  <a:pt x="282" y="581"/>
                  <a:pt x="282" y="582"/>
                </a:cubicBezTo>
                <a:close/>
                <a:moveTo>
                  <a:pt x="281" y="574"/>
                </a:moveTo>
                <a:cubicBezTo>
                  <a:pt x="281" y="575"/>
                  <a:pt x="280" y="575"/>
                  <a:pt x="280" y="574"/>
                </a:cubicBezTo>
                <a:cubicBezTo>
                  <a:pt x="279" y="574"/>
                  <a:pt x="281" y="573"/>
                  <a:pt x="281" y="574"/>
                </a:cubicBezTo>
                <a:close/>
                <a:moveTo>
                  <a:pt x="294" y="551"/>
                </a:moveTo>
                <a:cubicBezTo>
                  <a:pt x="291" y="553"/>
                  <a:pt x="287" y="555"/>
                  <a:pt x="285" y="556"/>
                </a:cubicBezTo>
                <a:cubicBezTo>
                  <a:pt x="285" y="556"/>
                  <a:pt x="283" y="557"/>
                  <a:pt x="284" y="556"/>
                </a:cubicBezTo>
                <a:cubicBezTo>
                  <a:pt x="286" y="553"/>
                  <a:pt x="291" y="553"/>
                  <a:pt x="294" y="551"/>
                </a:cubicBezTo>
                <a:close/>
                <a:moveTo>
                  <a:pt x="286" y="536"/>
                </a:moveTo>
                <a:cubicBezTo>
                  <a:pt x="286" y="535"/>
                  <a:pt x="286" y="536"/>
                  <a:pt x="286" y="536"/>
                </a:cubicBezTo>
                <a:cubicBezTo>
                  <a:pt x="285" y="536"/>
                  <a:pt x="286" y="535"/>
                  <a:pt x="286" y="536"/>
                </a:cubicBezTo>
                <a:close/>
                <a:moveTo>
                  <a:pt x="287" y="536"/>
                </a:moveTo>
                <a:cubicBezTo>
                  <a:pt x="287" y="534"/>
                  <a:pt x="289" y="534"/>
                  <a:pt x="289" y="536"/>
                </a:cubicBezTo>
                <a:cubicBezTo>
                  <a:pt x="289" y="537"/>
                  <a:pt x="287" y="536"/>
                  <a:pt x="287" y="536"/>
                </a:cubicBezTo>
                <a:close/>
                <a:moveTo>
                  <a:pt x="290" y="512"/>
                </a:moveTo>
                <a:cubicBezTo>
                  <a:pt x="291" y="510"/>
                  <a:pt x="293" y="509"/>
                  <a:pt x="294" y="508"/>
                </a:cubicBezTo>
                <a:cubicBezTo>
                  <a:pt x="294" y="509"/>
                  <a:pt x="292" y="510"/>
                  <a:pt x="290" y="512"/>
                </a:cubicBezTo>
                <a:close/>
                <a:moveTo>
                  <a:pt x="290" y="550"/>
                </a:moveTo>
                <a:cubicBezTo>
                  <a:pt x="290" y="549"/>
                  <a:pt x="291" y="548"/>
                  <a:pt x="292" y="549"/>
                </a:cubicBezTo>
                <a:cubicBezTo>
                  <a:pt x="292" y="550"/>
                  <a:pt x="290" y="551"/>
                  <a:pt x="290" y="550"/>
                </a:cubicBezTo>
                <a:close/>
                <a:moveTo>
                  <a:pt x="287" y="638"/>
                </a:moveTo>
                <a:cubicBezTo>
                  <a:pt x="288" y="637"/>
                  <a:pt x="289" y="637"/>
                  <a:pt x="290" y="637"/>
                </a:cubicBezTo>
                <a:cubicBezTo>
                  <a:pt x="289" y="637"/>
                  <a:pt x="288" y="638"/>
                  <a:pt x="287" y="638"/>
                </a:cubicBezTo>
                <a:close/>
                <a:moveTo>
                  <a:pt x="290" y="640"/>
                </a:moveTo>
                <a:cubicBezTo>
                  <a:pt x="289" y="641"/>
                  <a:pt x="288" y="640"/>
                  <a:pt x="287" y="641"/>
                </a:cubicBezTo>
                <a:cubicBezTo>
                  <a:pt x="287" y="640"/>
                  <a:pt x="289" y="639"/>
                  <a:pt x="290" y="640"/>
                </a:cubicBezTo>
                <a:close/>
                <a:moveTo>
                  <a:pt x="292" y="594"/>
                </a:moveTo>
                <a:cubicBezTo>
                  <a:pt x="292" y="595"/>
                  <a:pt x="288" y="596"/>
                  <a:pt x="288" y="593"/>
                </a:cubicBezTo>
                <a:cubicBezTo>
                  <a:pt x="288" y="591"/>
                  <a:pt x="292" y="592"/>
                  <a:pt x="292" y="594"/>
                </a:cubicBezTo>
                <a:close/>
                <a:moveTo>
                  <a:pt x="288" y="573"/>
                </a:moveTo>
                <a:cubicBezTo>
                  <a:pt x="288" y="572"/>
                  <a:pt x="290" y="571"/>
                  <a:pt x="291" y="571"/>
                </a:cubicBezTo>
                <a:cubicBezTo>
                  <a:pt x="290" y="572"/>
                  <a:pt x="289" y="572"/>
                  <a:pt x="288" y="573"/>
                </a:cubicBezTo>
                <a:close/>
                <a:moveTo>
                  <a:pt x="292" y="571"/>
                </a:moveTo>
                <a:cubicBezTo>
                  <a:pt x="292" y="570"/>
                  <a:pt x="293" y="569"/>
                  <a:pt x="294" y="570"/>
                </a:cubicBezTo>
                <a:cubicBezTo>
                  <a:pt x="294" y="571"/>
                  <a:pt x="292" y="571"/>
                  <a:pt x="292" y="571"/>
                </a:cubicBezTo>
                <a:close/>
                <a:moveTo>
                  <a:pt x="293" y="594"/>
                </a:moveTo>
                <a:cubicBezTo>
                  <a:pt x="293" y="596"/>
                  <a:pt x="291" y="595"/>
                  <a:pt x="293" y="594"/>
                </a:cubicBezTo>
                <a:close/>
                <a:moveTo>
                  <a:pt x="291" y="595"/>
                </a:moveTo>
                <a:cubicBezTo>
                  <a:pt x="290" y="597"/>
                  <a:pt x="288" y="596"/>
                  <a:pt x="291" y="595"/>
                </a:cubicBezTo>
                <a:close/>
                <a:moveTo>
                  <a:pt x="290" y="625"/>
                </a:moveTo>
                <a:cubicBezTo>
                  <a:pt x="291" y="626"/>
                  <a:pt x="290" y="625"/>
                  <a:pt x="290" y="625"/>
                </a:cubicBezTo>
                <a:cubicBezTo>
                  <a:pt x="290" y="625"/>
                  <a:pt x="290" y="625"/>
                  <a:pt x="290" y="625"/>
                </a:cubicBezTo>
                <a:close/>
                <a:moveTo>
                  <a:pt x="289" y="602"/>
                </a:moveTo>
                <a:cubicBezTo>
                  <a:pt x="289" y="601"/>
                  <a:pt x="292" y="601"/>
                  <a:pt x="293" y="601"/>
                </a:cubicBezTo>
                <a:cubicBezTo>
                  <a:pt x="292" y="602"/>
                  <a:pt x="290" y="602"/>
                  <a:pt x="289" y="602"/>
                </a:cubicBezTo>
                <a:close/>
                <a:moveTo>
                  <a:pt x="291" y="634"/>
                </a:moveTo>
                <a:cubicBezTo>
                  <a:pt x="292" y="634"/>
                  <a:pt x="293" y="634"/>
                  <a:pt x="292" y="635"/>
                </a:cubicBezTo>
                <a:cubicBezTo>
                  <a:pt x="292" y="636"/>
                  <a:pt x="291" y="635"/>
                  <a:pt x="291" y="634"/>
                </a:cubicBezTo>
                <a:close/>
                <a:moveTo>
                  <a:pt x="295" y="635"/>
                </a:moveTo>
                <a:cubicBezTo>
                  <a:pt x="294" y="636"/>
                  <a:pt x="293" y="637"/>
                  <a:pt x="291" y="636"/>
                </a:cubicBezTo>
                <a:cubicBezTo>
                  <a:pt x="292" y="636"/>
                  <a:pt x="294" y="636"/>
                  <a:pt x="295" y="635"/>
                </a:cubicBezTo>
                <a:close/>
                <a:moveTo>
                  <a:pt x="293" y="583"/>
                </a:moveTo>
                <a:cubicBezTo>
                  <a:pt x="293" y="583"/>
                  <a:pt x="294" y="583"/>
                  <a:pt x="294" y="583"/>
                </a:cubicBezTo>
                <a:cubicBezTo>
                  <a:pt x="295" y="584"/>
                  <a:pt x="293" y="585"/>
                  <a:pt x="293" y="583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538"/>
                </a:moveTo>
                <a:cubicBezTo>
                  <a:pt x="283" y="538"/>
                  <a:pt x="284" y="537"/>
                  <a:pt x="284" y="537"/>
                </a:cubicBezTo>
                <a:cubicBezTo>
                  <a:pt x="285" y="537"/>
                  <a:pt x="284" y="538"/>
                  <a:pt x="284" y="538"/>
                </a:cubicBezTo>
                <a:close/>
                <a:moveTo>
                  <a:pt x="285" y="588"/>
                </a:moveTo>
                <a:cubicBezTo>
                  <a:pt x="284" y="589"/>
                  <a:pt x="283" y="589"/>
                  <a:pt x="282" y="590"/>
                </a:cubicBezTo>
                <a:cubicBezTo>
                  <a:pt x="282" y="590"/>
                  <a:pt x="284" y="588"/>
                  <a:pt x="285" y="588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612"/>
                </a:moveTo>
                <a:cubicBezTo>
                  <a:pt x="281" y="614"/>
                  <a:pt x="281" y="612"/>
                  <a:pt x="284" y="612"/>
                </a:cubicBezTo>
                <a:close/>
                <a:moveTo>
                  <a:pt x="283" y="648"/>
                </a:moveTo>
                <a:cubicBezTo>
                  <a:pt x="284" y="645"/>
                  <a:pt x="286" y="647"/>
                  <a:pt x="283" y="648"/>
                </a:cubicBezTo>
                <a:close/>
                <a:moveTo>
                  <a:pt x="287" y="661"/>
                </a:moveTo>
                <a:cubicBezTo>
                  <a:pt x="287" y="661"/>
                  <a:pt x="285" y="662"/>
                  <a:pt x="284" y="662"/>
                </a:cubicBezTo>
                <a:cubicBezTo>
                  <a:pt x="284" y="661"/>
                  <a:pt x="287" y="660"/>
                  <a:pt x="287" y="661"/>
                </a:cubicBezTo>
                <a:close/>
                <a:moveTo>
                  <a:pt x="288" y="667"/>
                </a:moveTo>
                <a:cubicBezTo>
                  <a:pt x="288" y="668"/>
                  <a:pt x="286" y="668"/>
                  <a:pt x="286" y="667"/>
                </a:cubicBezTo>
                <a:cubicBezTo>
                  <a:pt x="285" y="666"/>
                  <a:pt x="288" y="666"/>
                  <a:pt x="288" y="667"/>
                </a:cubicBezTo>
                <a:close/>
                <a:moveTo>
                  <a:pt x="287" y="650"/>
                </a:moveTo>
                <a:cubicBezTo>
                  <a:pt x="287" y="648"/>
                  <a:pt x="290" y="647"/>
                  <a:pt x="291" y="649"/>
                </a:cubicBezTo>
                <a:cubicBezTo>
                  <a:pt x="295" y="653"/>
                  <a:pt x="286" y="654"/>
                  <a:pt x="287" y="650"/>
                </a:cubicBezTo>
                <a:close/>
                <a:moveTo>
                  <a:pt x="292" y="691"/>
                </a:moveTo>
                <a:cubicBezTo>
                  <a:pt x="292" y="691"/>
                  <a:pt x="292" y="691"/>
                  <a:pt x="292" y="691"/>
                </a:cubicBezTo>
                <a:cubicBezTo>
                  <a:pt x="292" y="689"/>
                  <a:pt x="294" y="692"/>
                  <a:pt x="292" y="691"/>
                </a:cubicBezTo>
                <a:close/>
                <a:moveTo>
                  <a:pt x="292" y="646"/>
                </a:moveTo>
                <a:cubicBezTo>
                  <a:pt x="290" y="644"/>
                  <a:pt x="297" y="643"/>
                  <a:pt x="294" y="646"/>
                </a:cubicBezTo>
                <a:cubicBezTo>
                  <a:pt x="294" y="646"/>
                  <a:pt x="293" y="646"/>
                  <a:pt x="292" y="646"/>
                </a:cubicBezTo>
                <a:close/>
                <a:moveTo>
                  <a:pt x="294" y="600"/>
                </a:moveTo>
                <a:cubicBezTo>
                  <a:pt x="294" y="600"/>
                  <a:pt x="296" y="599"/>
                  <a:pt x="297" y="599"/>
                </a:cubicBezTo>
                <a:cubicBezTo>
                  <a:pt x="296" y="600"/>
                  <a:pt x="295" y="600"/>
                  <a:pt x="294" y="600"/>
                </a:cubicBezTo>
                <a:close/>
                <a:moveTo>
                  <a:pt x="293" y="530"/>
                </a:moveTo>
                <a:cubicBezTo>
                  <a:pt x="294" y="529"/>
                  <a:pt x="296" y="528"/>
                  <a:pt x="297" y="530"/>
                </a:cubicBezTo>
                <a:cubicBezTo>
                  <a:pt x="298" y="532"/>
                  <a:pt x="293" y="534"/>
                  <a:pt x="293" y="530"/>
                </a:cubicBezTo>
                <a:close/>
                <a:moveTo>
                  <a:pt x="303" y="581"/>
                </a:moveTo>
                <a:cubicBezTo>
                  <a:pt x="303" y="584"/>
                  <a:pt x="298" y="584"/>
                  <a:pt x="297" y="581"/>
                </a:cubicBezTo>
                <a:cubicBezTo>
                  <a:pt x="297" y="578"/>
                  <a:pt x="303" y="579"/>
                  <a:pt x="303" y="581"/>
                </a:cubicBezTo>
                <a:close/>
                <a:moveTo>
                  <a:pt x="298" y="504"/>
                </a:moveTo>
                <a:cubicBezTo>
                  <a:pt x="298" y="503"/>
                  <a:pt x="300" y="504"/>
                  <a:pt x="298" y="504"/>
                </a:cubicBezTo>
                <a:close/>
                <a:moveTo>
                  <a:pt x="300" y="102"/>
                </a:moveTo>
                <a:cubicBezTo>
                  <a:pt x="298" y="103"/>
                  <a:pt x="297" y="101"/>
                  <a:pt x="300" y="102"/>
                </a:cubicBezTo>
                <a:close/>
                <a:moveTo>
                  <a:pt x="299" y="578"/>
                </a:moveTo>
                <a:cubicBezTo>
                  <a:pt x="299" y="578"/>
                  <a:pt x="298" y="579"/>
                  <a:pt x="298" y="578"/>
                </a:cubicBezTo>
                <a:cubicBezTo>
                  <a:pt x="297" y="577"/>
                  <a:pt x="300" y="577"/>
                  <a:pt x="299" y="578"/>
                </a:cubicBezTo>
                <a:close/>
                <a:moveTo>
                  <a:pt x="303" y="67"/>
                </a:moveTo>
                <a:cubicBezTo>
                  <a:pt x="302" y="69"/>
                  <a:pt x="302" y="67"/>
                  <a:pt x="303" y="67"/>
                </a:cubicBezTo>
                <a:close/>
                <a:moveTo>
                  <a:pt x="304" y="592"/>
                </a:moveTo>
                <a:cubicBezTo>
                  <a:pt x="304" y="593"/>
                  <a:pt x="301" y="593"/>
                  <a:pt x="300" y="594"/>
                </a:cubicBezTo>
                <a:cubicBezTo>
                  <a:pt x="301" y="593"/>
                  <a:pt x="303" y="592"/>
                  <a:pt x="304" y="592"/>
                </a:cubicBezTo>
                <a:close/>
                <a:moveTo>
                  <a:pt x="304" y="660"/>
                </a:moveTo>
                <a:cubicBezTo>
                  <a:pt x="304" y="661"/>
                  <a:pt x="304" y="662"/>
                  <a:pt x="304" y="662"/>
                </a:cubicBezTo>
                <a:cubicBezTo>
                  <a:pt x="302" y="664"/>
                  <a:pt x="301" y="659"/>
                  <a:pt x="304" y="660"/>
                </a:cubicBezTo>
                <a:close/>
                <a:moveTo>
                  <a:pt x="308" y="41"/>
                </a:moveTo>
                <a:cubicBezTo>
                  <a:pt x="308" y="41"/>
                  <a:pt x="307" y="42"/>
                  <a:pt x="307" y="42"/>
                </a:cubicBezTo>
                <a:cubicBezTo>
                  <a:pt x="306" y="42"/>
                  <a:pt x="307" y="41"/>
                  <a:pt x="308" y="41"/>
                </a:cubicBezTo>
                <a:close/>
                <a:moveTo>
                  <a:pt x="298" y="26"/>
                </a:moveTo>
                <a:cubicBezTo>
                  <a:pt x="300" y="25"/>
                  <a:pt x="300" y="27"/>
                  <a:pt x="298" y="26"/>
                </a:cubicBezTo>
                <a:close/>
                <a:moveTo>
                  <a:pt x="299" y="30"/>
                </a:moveTo>
                <a:cubicBezTo>
                  <a:pt x="297" y="31"/>
                  <a:pt x="295" y="30"/>
                  <a:pt x="293" y="30"/>
                </a:cubicBezTo>
                <a:cubicBezTo>
                  <a:pt x="295" y="29"/>
                  <a:pt x="297" y="29"/>
                  <a:pt x="299" y="30"/>
                </a:cubicBezTo>
                <a:close/>
                <a:moveTo>
                  <a:pt x="291" y="53"/>
                </a:moveTo>
                <a:cubicBezTo>
                  <a:pt x="287" y="54"/>
                  <a:pt x="283" y="55"/>
                  <a:pt x="279" y="55"/>
                </a:cubicBezTo>
                <a:cubicBezTo>
                  <a:pt x="283" y="54"/>
                  <a:pt x="287" y="53"/>
                  <a:pt x="291" y="53"/>
                </a:cubicBezTo>
                <a:close/>
                <a:moveTo>
                  <a:pt x="288" y="513"/>
                </a:moveTo>
                <a:cubicBezTo>
                  <a:pt x="287" y="513"/>
                  <a:pt x="290" y="512"/>
                  <a:pt x="289" y="512"/>
                </a:cubicBezTo>
                <a:cubicBezTo>
                  <a:pt x="290" y="512"/>
                  <a:pt x="289" y="514"/>
                  <a:pt x="288" y="513"/>
                </a:cubicBezTo>
                <a:close/>
                <a:moveTo>
                  <a:pt x="282" y="526"/>
                </a:moveTo>
                <a:cubicBezTo>
                  <a:pt x="282" y="526"/>
                  <a:pt x="281" y="527"/>
                  <a:pt x="280" y="526"/>
                </a:cubicBezTo>
                <a:cubicBezTo>
                  <a:pt x="280" y="526"/>
                  <a:pt x="282" y="525"/>
                  <a:pt x="282" y="526"/>
                </a:cubicBezTo>
                <a:close/>
                <a:moveTo>
                  <a:pt x="286" y="526"/>
                </a:moveTo>
                <a:cubicBezTo>
                  <a:pt x="286" y="526"/>
                  <a:pt x="291" y="524"/>
                  <a:pt x="290" y="526"/>
                </a:cubicBezTo>
                <a:cubicBezTo>
                  <a:pt x="290" y="527"/>
                  <a:pt x="285" y="527"/>
                  <a:pt x="284" y="527"/>
                </a:cubicBezTo>
                <a:cubicBezTo>
                  <a:pt x="281" y="527"/>
                  <a:pt x="278" y="530"/>
                  <a:pt x="275" y="529"/>
                </a:cubicBezTo>
                <a:cubicBezTo>
                  <a:pt x="276" y="527"/>
                  <a:pt x="284" y="527"/>
                  <a:pt x="286" y="526"/>
                </a:cubicBezTo>
                <a:close/>
                <a:moveTo>
                  <a:pt x="277" y="694"/>
                </a:moveTo>
                <a:cubicBezTo>
                  <a:pt x="277" y="695"/>
                  <a:pt x="275" y="695"/>
                  <a:pt x="275" y="694"/>
                </a:cubicBezTo>
                <a:cubicBezTo>
                  <a:pt x="275" y="693"/>
                  <a:pt x="277" y="694"/>
                  <a:pt x="277" y="694"/>
                </a:cubicBezTo>
                <a:close/>
                <a:moveTo>
                  <a:pt x="266" y="653"/>
                </a:moveTo>
                <a:cubicBezTo>
                  <a:pt x="266" y="653"/>
                  <a:pt x="266" y="652"/>
                  <a:pt x="266" y="651"/>
                </a:cubicBezTo>
                <a:cubicBezTo>
                  <a:pt x="267" y="648"/>
                  <a:pt x="270" y="649"/>
                  <a:pt x="271" y="650"/>
                </a:cubicBezTo>
                <a:cubicBezTo>
                  <a:pt x="271" y="650"/>
                  <a:pt x="271" y="650"/>
                  <a:pt x="271" y="650"/>
                </a:cubicBezTo>
                <a:cubicBezTo>
                  <a:pt x="271" y="650"/>
                  <a:pt x="271" y="650"/>
                  <a:pt x="272" y="650"/>
                </a:cubicBezTo>
                <a:cubicBezTo>
                  <a:pt x="275" y="651"/>
                  <a:pt x="270" y="659"/>
                  <a:pt x="266" y="653"/>
                </a:cubicBezTo>
                <a:close/>
                <a:moveTo>
                  <a:pt x="268" y="657"/>
                </a:moveTo>
                <a:cubicBezTo>
                  <a:pt x="267" y="656"/>
                  <a:pt x="269" y="657"/>
                  <a:pt x="268" y="657"/>
                </a:cubicBezTo>
                <a:close/>
                <a:moveTo>
                  <a:pt x="264" y="633"/>
                </a:moveTo>
                <a:cubicBezTo>
                  <a:pt x="263" y="633"/>
                  <a:pt x="264" y="632"/>
                  <a:pt x="265" y="632"/>
                </a:cubicBezTo>
                <a:cubicBezTo>
                  <a:pt x="265" y="633"/>
                  <a:pt x="264" y="632"/>
                  <a:pt x="264" y="633"/>
                </a:cubicBezTo>
                <a:close/>
                <a:moveTo>
                  <a:pt x="263" y="663"/>
                </a:moveTo>
                <a:cubicBezTo>
                  <a:pt x="265" y="662"/>
                  <a:pt x="265" y="664"/>
                  <a:pt x="263" y="663"/>
                </a:cubicBezTo>
                <a:close/>
                <a:moveTo>
                  <a:pt x="265" y="623"/>
                </a:moveTo>
                <a:cubicBezTo>
                  <a:pt x="267" y="623"/>
                  <a:pt x="269" y="624"/>
                  <a:pt x="269" y="627"/>
                </a:cubicBezTo>
                <a:cubicBezTo>
                  <a:pt x="268" y="625"/>
                  <a:pt x="267" y="628"/>
                  <a:pt x="265" y="629"/>
                </a:cubicBezTo>
                <a:cubicBezTo>
                  <a:pt x="258" y="631"/>
                  <a:pt x="258" y="621"/>
                  <a:pt x="265" y="623"/>
                </a:cubicBezTo>
                <a:close/>
                <a:moveTo>
                  <a:pt x="271" y="560"/>
                </a:moveTo>
                <a:cubicBezTo>
                  <a:pt x="272" y="561"/>
                  <a:pt x="269" y="562"/>
                  <a:pt x="269" y="561"/>
                </a:cubicBezTo>
                <a:cubicBezTo>
                  <a:pt x="269" y="560"/>
                  <a:pt x="271" y="559"/>
                  <a:pt x="271" y="560"/>
                </a:cubicBezTo>
                <a:close/>
                <a:moveTo>
                  <a:pt x="271" y="507"/>
                </a:moveTo>
                <a:cubicBezTo>
                  <a:pt x="271" y="505"/>
                  <a:pt x="271" y="509"/>
                  <a:pt x="271" y="507"/>
                </a:cubicBezTo>
                <a:close/>
                <a:moveTo>
                  <a:pt x="273" y="532"/>
                </a:moveTo>
                <a:cubicBezTo>
                  <a:pt x="273" y="532"/>
                  <a:pt x="273" y="533"/>
                  <a:pt x="273" y="533"/>
                </a:cubicBezTo>
                <a:cubicBezTo>
                  <a:pt x="270" y="531"/>
                  <a:pt x="277" y="530"/>
                  <a:pt x="273" y="532"/>
                </a:cubicBezTo>
                <a:close/>
                <a:moveTo>
                  <a:pt x="273" y="556"/>
                </a:moveTo>
                <a:cubicBezTo>
                  <a:pt x="273" y="555"/>
                  <a:pt x="274" y="555"/>
                  <a:pt x="274" y="555"/>
                </a:cubicBezTo>
                <a:cubicBezTo>
                  <a:pt x="277" y="555"/>
                  <a:pt x="274" y="558"/>
                  <a:pt x="273" y="556"/>
                </a:cubicBezTo>
                <a:close/>
                <a:moveTo>
                  <a:pt x="270" y="624"/>
                </a:moveTo>
                <a:cubicBezTo>
                  <a:pt x="270" y="624"/>
                  <a:pt x="269" y="624"/>
                  <a:pt x="269" y="624"/>
                </a:cubicBezTo>
                <a:cubicBezTo>
                  <a:pt x="269" y="623"/>
                  <a:pt x="271" y="623"/>
                  <a:pt x="270" y="624"/>
                </a:cubicBezTo>
                <a:close/>
                <a:moveTo>
                  <a:pt x="266" y="617"/>
                </a:moveTo>
                <a:cubicBezTo>
                  <a:pt x="266" y="615"/>
                  <a:pt x="269" y="616"/>
                  <a:pt x="269" y="617"/>
                </a:cubicBezTo>
                <a:cubicBezTo>
                  <a:pt x="269" y="618"/>
                  <a:pt x="267" y="618"/>
                  <a:pt x="266" y="617"/>
                </a:cubicBezTo>
                <a:close/>
                <a:moveTo>
                  <a:pt x="271" y="647"/>
                </a:moveTo>
                <a:cubicBezTo>
                  <a:pt x="271" y="648"/>
                  <a:pt x="269" y="648"/>
                  <a:pt x="269" y="647"/>
                </a:cubicBezTo>
                <a:cubicBezTo>
                  <a:pt x="269" y="647"/>
                  <a:pt x="270" y="646"/>
                  <a:pt x="271" y="647"/>
                </a:cubicBezTo>
                <a:close/>
                <a:moveTo>
                  <a:pt x="270" y="628"/>
                </a:moveTo>
                <a:cubicBezTo>
                  <a:pt x="270" y="627"/>
                  <a:pt x="273" y="626"/>
                  <a:pt x="273" y="628"/>
                </a:cubicBezTo>
                <a:cubicBezTo>
                  <a:pt x="273" y="628"/>
                  <a:pt x="270" y="630"/>
                  <a:pt x="270" y="628"/>
                </a:cubicBezTo>
                <a:close/>
                <a:moveTo>
                  <a:pt x="273" y="613"/>
                </a:moveTo>
                <a:cubicBezTo>
                  <a:pt x="273" y="614"/>
                  <a:pt x="271" y="614"/>
                  <a:pt x="271" y="614"/>
                </a:cubicBezTo>
                <a:cubicBezTo>
                  <a:pt x="270" y="613"/>
                  <a:pt x="272" y="613"/>
                  <a:pt x="273" y="613"/>
                </a:cubicBezTo>
                <a:close/>
                <a:moveTo>
                  <a:pt x="270" y="571"/>
                </a:moveTo>
                <a:cubicBezTo>
                  <a:pt x="270" y="571"/>
                  <a:pt x="270" y="571"/>
                  <a:pt x="270" y="571"/>
                </a:cubicBezTo>
                <a:cubicBezTo>
                  <a:pt x="270" y="569"/>
                  <a:pt x="272" y="572"/>
                  <a:pt x="270" y="571"/>
                </a:cubicBezTo>
                <a:close/>
                <a:moveTo>
                  <a:pt x="271" y="564"/>
                </a:moveTo>
                <a:cubicBezTo>
                  <a:pt x="269" y="565"/>
                  <a:pt x="268" y="566"/>
                  <a:pt x="267" y="566"/>
                </a:cubicBezTo>
                <a:cubicBezTo>
                  <a:pt x="268" y="565"/>
                  <a:pt x="269" y="564"/>
                  <a:pt x="271" y="564"/>
                </a:cubicBezTo>
                <a:close/>
                <a:moveTo>
                  <a:pt x="271" y="572"/>
                </a:moveTo>
                <a:cubicBezTo>
                  <a:pt x="269" y="573"/>
                  <a:pt x="269" y="574"/>
                  <a:pt x="271" y="574"/>
                </a:cubicBezTo>
                <a:cubicBezTo>
                  <a:pt x="270" y="576"/>
                  <a:pt x="266" y="579"/>
                  <a:pt x="263" y="577"/>
                </a:cubicBezTo>
                <a:cubicBezTo>
                  <a:pt x="258" y="573"/>
                  <a:pt x="266" y="568"/>
                  <a:pt x="271" y="572"/>
                </a:cubicBezTo>
                <a:close/>
                <a:moveTo>
                  <a:pt x="264" y="612"/>
                </a:moveTo>
                <a:cubicBezTo>
                  <a:pt x="265" y="612"/>
                  <a:pt x="263" y="612"/>
                  <a:pt x="263" y="612"/>
                </a:cubicBezTo>
                <a:cubicBezTo>
                  <a:pt x="263" y="611"/>
                  <a:pt x="264" y="611"/>
                  <a:pt x="264" y="612"/>
                </a:cubicBezTo>
                <a:close/>
                <a:moveTo>
                  <a:pt x="266" y="632"/>
                </a:moveTo>
                <a:cubicBezTo>
                  <a:pt x="266" y="632"/>
                  <a:pt x="266" y="632"/>
                  <a:pt x="266" y="632"/>
                </a:cubicBezTo>
                <a:cubicBezTo>
                  <a:pt x="265" y="630"/>
                  <a:pt x="268" y="633"/>
                  <a:pt x="266" y="632"/>
                </a:cubicBezTo>
                <a:close/>
                <a:moveTo>
                  <a:pt x="276" y="663"/>
                </a:moveTo>
                <a:cubicBezTo>
                  <a:pt x="274" y="664"/>
                  <a:pt x="273" y="665"/>
                  <a:pt x="271" y="665"/>
                </a:cubicBezTo>
                <a:cubicBezTo>
                  <a:pt x="272" y="663"/>
                  <a:pt x="274" y="663"/>
                  <a:pt x="276" y="663"/>
                </a:cubicBezTo>
                <a:close/>
                <a:moveTo>
                  <a:pt x="270" y="486"/>
                </a:moveTo>
                <a:cubicBezTo>
                  <a:pt x="270" y="486"/>
                  <a:pt x="270" y="486"/>
                  <a:pt x="270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0" y="485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lose/>
                <a:moveTo>
                  <a:pt x="274" y="496"/>
                </a:moveTo>
                <a:cubicBezTo>
                  <a:pt x="274" y="499"/>
                  <a:pt x="269" y="498"/>
                  <a:pt x="269" y="496"/>
                </a:cubicBezTo>
                <a:cubicBezTo>
                  <a:pt x="269" y="496"/>
                  <a:pt x="274" y="494"/>
                  <a:pt x="274" y="496"/>
                </a:cubicBezTo>
                <a:close/>
                <a:moveTo>
                  <a:pt x="276" y="504"/>
                </a:moveTo>
                <a:cubicBezTo>
                  <a:pt x="274" y="506"/>
                  <a:pt x="271" y="506"/>
                  <a:pt x="269" y="507"/>
                </a:cubicBezTo>
                <a:cubicBezTo>
                  <a:pt x="270" y="506"/>
                  <a:pt x="274" y="504"/>
                  <a:pt x="276" y="504"/>
                </a:cubicBezTo>
                <a:close/>
                <a:moveTo>
                  <a:pt x="268" y="467"/>
                </a:moveTo>
                <a:cubicBezTo>
                  <a:pt x="268" y="468"/>
                  <a:pt x="268" y="468"/>
                  <a:pt x="267" y="468"/>
                </a:cubicBezTo>
                <a:cubicBezTo>
                  <a:pt x="267" y="468"/>
                  <a:pt x="268" y="467"/>
                  <a:pt x="268" y="467"/>
                </a:cubicBezTo>
                <a:close/>
                <a:moveTo>
                  <a:pt x="267" y="506"/>
                </a:moveTo>
                <a:cubicBezTo>
                  <a:pt x="268" y="506"/>
                  <a:pt x="267" y="507"/>
                  <a:pt x="267" y="507"/>
                </a:cubicBezTo>
                <a:cubicBezTo>
                  <a:pt x="266" y="506"/>
                  <a:pt x="267" y="506"/>
                  <a:pt x="267" y="506"/>
                </a:cubicBezTo>
                <a:close/>
                <a:moveTo>
                  <a:pt x="264" y="562"/>
                </a:moveTo>
                <a:cubicBezTo>
                  <a:pt x="265" y="562"/>
                  <a:pt x="262" y="562"/>
                  <a:pt x="262" y="562"/>
                </a:cubicBezTo>
                <a:cubicBezTo>
                  <a:pt x="262" y="562"/>
                  <a:pt x="264" y="561"/>
                  <a:pt x="264" y="562"/>
                </a:cubicBezTo>
                <a:close/>
                <a:moveTo>
                  <a:pt x="262" y="562"/>
                </a:moveTo>
                <a:cubicBezTo>
                  <a:pt x="261" y="563"/>
                  <a:pt x="260" y="561"/>
                  <a:pt x="262" y="562"/>
                </a:cubicBezTo>
                <a:close/>
                <a:moveTo>
                  <a:pt x="260" y="440"/>
                </a:moveTo>
                <a:cubicBezTo>
                  <a:pt x="261" y="440"/>
                  <a:pt x="260" y="441"/>
                  <a:pt x="260" y="441"/>
                </a:cubicBezTo>
                <a:cubicBezTo>
                  <a:pt x="257" y="443"/>
                  <a:pt x="259" y="439"/>
                  <a:pt x="260" y="440"/>
                </a:cubicBezTo>
                <a:close/>
                <a:moveTo>
                  <a:pt x="257" y="484"/>
                </a:moveTo>
                <a:cubicBezTo>
                  <a:pt x="257" y="484"/>
                  <a:pt x="257" y="483"/>
                  <a:pt x="257" y="483"/>
                </a:cubicBezTo>
                <a:cubicBezTo>
                  <a:pt x="257" y="484"/>
                  <a:pt x="257" y="484"/>
                  <a:pt x="257" y="484"/>
                </a:cubicBezTo>
                <a:cubicBezTo>
                  <a:pt x="257" y="484"/>
                  <a:pt x="257" y="484"/>
                  <a:pt x="257" y="484"/>
                </a:cubicBezTo>
                <a:close/>
                <a:moveTo>
                  <a:pt x="256" y="495"/>
                </a:moveTo>
                <a:cubicBezTo>
                  <a:pt x="255" y="496"/>
                  <a:pt x="255" y="496"/>
                  <a:pt x="254" y="495"/>
                </a:cubicBezTo>
                <a:cubicBezTo>
                  <a:pt x="254" y="494"/>
                  <a:pt x="257" y="494"/>
                  <a:pt x="256" y="495"/>
                </a:cubicBezTo>
                <a:close/>
                <a:moveTo>
                  <a:pt x="252" y="519"/>
                </a:moveTo>
                <a:cubicBezTo>
                  <a:pt x="252" y="519"/>
                  <a:pt x="252" y="520"/>
                  <a:pt x="252" y="520"/>
                </a:cubicBezTo>
                <a:cubicBezTo>
                  <a:pt x="251" y="519"/>
                  <a:pt x="252" y="518"/>
                  <a:pt x="252" y="519"/>
                </a:cubicBezTo>
                <a:close/>
                <a:moveTo>
                  <a:pt x="250" y="460"/>
                </a:moveTo>
                <a:cubicBezTo>
                  <a:pt x="251" y="459"/>
                  <a:pt x="251" y="460"/>
                  <a:pt x="251" y="461"/>
                </a:cubicBezTo>
                <a:cubicBezTo>
                  <a:pt x="250" y="462"/>
                  <a:pt x="249" y="460"/>
                  <a:pt x="250" y="460"/>
                </a:cubicBezTo>
                <a:close/>
                <a:moveTo>
                  <a:pt x="253" y="530"/>
                </a:moveTo>
                <a:cubicBezTo>
                  <a:pt x="254" y="528"/>
                  <a:pt x="259" y="522"/>
                  <a:pt x="261" y="522"/>
                </a:cubicBezTo>
                <a:cubicBezTo>
                  <a:pt x="264" y="521"/>
                  <a:pt x="260" y="524"/>
                  <a:pt x="259" y="524"/>
                </a:cubicBezTo>
                <a:cubicBezTo>
                  <a:pt x="257" y="526"/>
                  <a:pt x="255" y="529"/>
                  <a:pt x="253" y="531"/>
                </a:cubicBezTo>
                <a:cubicBezTo>
                  <a:pt x="253" y="531"/>
                  <a:pt x="253" y="531"/>
                  <a:pt x="253" y="531"/>
                </a:cubicBezTo>
                <a:cubicBezTo>
                  <a:pt x="253" y="531"/>
                  <a:pt x="253" y="532"/>
                  <a:pt x="252" y="532"/>
                </a:cubicBezTo>
                <a:cubicBezTo>
                  <a:pt x="252" y="532"/>
                  <a:pt x="252" y="532"/>
                  <a:pt x="252" y="532"/>
                </a:cubicBezTo>
                <a:cubicBezTo>
                  <a:pt x="251" y="533"/>
                  <a:pt x="251" y="533"/>
                  <a:pt x="250" y="534"/>
                </a:cubicBezTo>
                <a:cubicBezTo>
                  <a:pt x="250" y="534"/>
                  <a:pt x="249" y="533"/>
                  <a:pt x="249" y="533"/>
                </a:cubicBezTo>
                <a:cubicBezTo>
                  <a:pt x="249" y="533"/>
                  <a:pt x="251" y="531"/>
                  <a:pt x="253" y="530"/>
                </a:cubicBezTo>
                <a:close/>
                <a:moveTo>
                  <a:pt x="253" y="640"/>
                </a:moveTo>
                <a:cubicBezTo>
                  <a:pt x="253" y="638"/>
                  <a:pt x="257" y="638"/>
                  <a:pt x="258" y="639"/>
                </a:cubicBezTo>
                <a:cubicBezTo>
                  <a:pt x="259" y="641"/>
                  <a:pt x="254" y="642"/>
                  <a:pt x="253" y="640"/>
                </a:cubicBezTo>
                <a:close/>
                <a:moveTo>
                  <a:pt x="255" y="652"/>
                </a:moveTo>
                <a:cubicBezTo>
                  <a:pt x="256" y="653"/>
                  <a:pt x="254" y="653"/>
                  <a:pt x="254" y="652"/>
                </a:cubicBezTo>
                <a:cubicBezTo>
                  <a:pt x="253" y="651"/>
                  <a:pt x="255" y="651"/>
                  <a:pt x="255" y="652"/>
                </a:cubicBezTo>
                <a:close/>
                <a:moveTo>
                  <a:pt x="240" y="645"/>
                </a:moveTo>
                <a:cubicBezTo>
                  <a:pt x="238" y="644"/>
                  <a:pt x="237" y="642"/>
                  <a:pt x="239" y="640"/>
                </a:cubicBezTo>
                <a:cubicBezTo>
                  <a:pt x="240" y="639"/>
                  <a:pt x="242" y="639"/>
                  <a:pt x="244" y="639"/>
                </a:cubicBezTo>
                <a:cubicBezTo>
                  <a:pt x="245" y="639"/>
                  <a:pt x="247" y="639"/>
                  <a:pt x="247" y="640"/>
                </a:cubicBezTo>
                <a:cubicBezTo>
                  <a:pt x="247" y="640"/>
                  <a:pt x="247" y="640"/>
                  <a:pt x="246" y="640"/>
                </a:cubicBezTo>
                <a:cubicBezTo>
                  <a:pt x="246" y="640"/>
                  <a:pt x="247" y="640"/>
                  <a:pt x="247" y="640"/>
                </a:cubicBezTo>
                <a:cubicBezTo>
                  <a:pt x="247" y="640"/>
                  <a:pt x="247" y="641"/>
                  <a:pt x="247" y="641"/>
                </a:cubicBezTo>
                <a:cubicBezTo>
                  <a:pt x="248" y="642"/>
                  <a:pt x="242" y="646"/>
                  <a:pt x="240" y="645"/>
                </a:cubicBezTo>
                <a:close/>
                <a:moveTo>
                  <a:pt x="241" y="660"/>
                </a:moveTo>
                <a:cubicBezTo>
                  <a:pt x="240" y="661"/>
                  <a:pt x="239" y="660"/>
                  <a:pt x="240" y="659"/>
                </a:cubicBezTo>
                <a:cubicBezTo>
                  <a:pt x="240" y="659"/>
                  <a:pt x="242" y="659"/>
                  <a:pt x="241" y="660"/>
                </a:cubicBezTo>
                <a:close/>
                <a:moveTo>
                  <a:pt x="250" y="593"/>
                </a:moveTo>
                <a:cubicBezTo>
                  <a:pt x="247" y="595"/>
                  <a:pt x="244" y="594"/>
                  <a:pt x="240" y="596"/>
                </a:cubicBezTo>
                <a:cubicBezTo>
                  <a:pt x="243" y="594"/>
                  <a:pt x="247" y="594"/>
                  <a:pt x="250" y="593"/>
                </a:cubicBezTo>
                <a:close/>
                <a:moveTo>
                  <a:pt x="245" y="578"/>
                </a:moveTo>
                <a:cubicBezTo>
                  <a:pt x="246" y="579"/>
                  <a:pt x="245" y="579"/>
                  <a:pt x="245" y="579"/>
                </a:cubicBezTo>
                <a:cubicBezTo>
                  <a:pt x="243" y="581"/>
                  <a:pt x="244" y="577"/>
                  <a:pt x="245" y="578"/>
                </a:cubicBezTo>
                <a:close/>
                <a:moveTo>
                  <a:pt x="253" y="551"/>
                </a:moveTo>
                <a:cubicBezTo>
                  <a:pt x="254" y="550"/>
                  <a:pt x="255" y="549"/>
                  <a:pt x="257" y="549"/>
                </a:cubicBezTo>
                <a:cubicBezTo>
                  <a:pt x="256" y="550"/>
                  <a:pt x="254" y="551"/>
                  <a:pt x="253" y="551"/>
                </a:cubicBezTo>
                <a:close/>
                <a:moveTo>
                  <a:pt x="255" y="555"/>
                </a:moveTo>
                <a:cubicBezTo>
                  <a:pt x="253" y="557"/>
                  <a:pt x="254" y="552"/>
                  <a:pt x="256" y="554"/>
                </a:cubicBezTo>
                <a:cubicBezTo>
                  <a:pt x="257" y="554"/>
                  <a:pt x="256" y="555"/>
                  <a:pt x="255" y="555"/>
                </a:cubicBezTo>
                <a:close/>
                <a:moveTo>
                  <a:pt x="258" y="564"/>
                </a:moveTo>
                <a:cubicBezTo>
                  <a:pt x="258" y="566"/>
                  <a:pt x="252" y="567"/>
                  <a:pt x="252" y="564"/>
                </a:cubicBezTo>
                <a:cubicBezTo>
                  <a:pt x="252" y="561"/>
                  <a:pt x="258" y="562"/>
                  <a:pt x="258" y="564"/>
                </a:cubicBezTo>
                <a:close/>
                <a:moveTo>
                  <a:pt x="257" y="589"/>
                </a:moveTo>
                <a:cubicBezTo>
                  <a:pt x="256" y="590"/>
                  <a:pt x="258" y="588"/>
                  <a:pt x="257" y="589"/>
                </a:cubicBezTo>
                <a:close/>
                <a:moveTo>
                  <a:pt x="254" y="619"/>
                </a:moveTo>
                <a:cubicBezTo>
                  <a:pt x="254" y="619"/>
                  <a:pt x="253" y="619"/>
                  <a:pt x="254" y="619"/>
                </a:cubicBezTo>
                <a:close/>
                <a:moveTo>
                  <a:pt x="254" y="612"/>
                </a:moveTo>
                <a:cubicBezTo>
                  <a:pt x="254" y="612"/>
                  <a:pt x="254" y="613"/>
                  <a:pt x="254" y="613"/>
                </a:cubicBezTo>
                <a:cubicBezTo>
                  <a:pt x="253" y="613"/>
                  <a:pt x="254" y="612"/>
                  <a:pt x="254" y="612"/>
                </a:cubicBezTo>
                <a:close/>
                <a:moveTo>
                  <a:pt x="254" y="619"/>
                </a:moveTo>
                <a:cubicBezTo>
                  <a:pt x="257" y="616"/>
                  <a:pt x="255" y="621"/>
                  <a:pt x="254" y="620"/>
                </a:cubicBezTo>
                <a:cubicBezTo>
                  <a:pt x="254" y="620"/>
                  <a:pt x="254" y="619"/>
                  <a:pt x="254" y="619"/>
                </a:cubicBezTo>
                <a:close/>
                <a:moveTo>
                  <a:pt x="253" y="608"/>
                </a:moveTo>
                <a:cubicBezTo>
                  <a:pt x="250" y="609"/>
                  <a:pt x="255" y="604"/>
                  <a:pt x="257" y="605"/>
                </a:cubicBezTo>
                <a:cubicBezTo>
                  <a:pt x="256" y="605"/>
                  <a:pt x="254" y="607"/>
                  <a:pt x="253" y="608"/>
                </a:cubicBezTo>
                <a:close/>
                <a:moveTo>
                  <a:pt x="255" y="600"/>
                </a:moveTo>
                <a:cubicBezTo>
                  <a:pt x="254" y="602"/>
                  <a:pt x="252" y="601"/>
                  <a:pt x="255" y="600"/>
                </a:cubicBezTo>
                <a:close/>
                <a:moveTo>
                  <a:pt x="256" y="599"/>
                </a:moveTo>
                <a:cubicBezTo>
                  <a:pt x="255" y="599"/>
                  <a:pt x="256" y="598"/>
                  <a:pt x="256" y="599"/>
                </a:cubicBezTo>
                <a:cubicBezTo>
                  <a:pt x="256" y="599"/>
                  <a:pt x="256" y="599"/>
                  <a:pt x="256" y="599"/>
                </a:cubicBezTo>
                <a:close/>
                <a:moveTo>
                  <a:pt x="253" y="571"/>
                </a:moveTo>
                <a:cubicBezTo>
                  <a:pt x="253" y="571"/>
                  <a:pt x="252" y="572"/>
                  <a:pt x="252" y="571"/>
                </a:cubicBezTo>
                <a:cubicBezTo>
                  <a:pt x="251" y="570"/>
                  <a:pt x="253" y="570"/>
                  <a:pt x="253" y="571"/>
                </a:cubicBezTo>
                <a:close/>
                <a:moveTo>
                  <a:pt x="251" y="558"/>
                </a:moveTo>
                <a:cubicBezTo>
                  <a:pt x="251" y="557"/>
                  <a:pt x="253" y="556"/>
                  <a:pt x="253" y="557"/>
                </a:cubicBezTo>
                <a:cubicBezTo>
                  <a:pt x="253" y="558"/>
                  <a:pt x="252" y="558"/>
                  <a:pt x="251" y="558"/>
                </a:cubicBezTo>
                <a:close/>
                <a:moveTo>
                  <a:pt x="246" y="555"/>
                </a:moveTo>
                <a:cubicBezTo>
                  <a:pt x="247" y="553"/>
                  <a:pt x="251" y="552"/>
                  <a:pt x="253" y="551"/>
                </a:cubicBezTo>
                <a:cubicBezTo>
                  <a:pt x="251" y="553"/>
                  <a:pt x="248" y="554"/>
                  <a:pt x="246" y="555"/>
                </a:cubicBezTo>
                <a:close/>
                <a:moveTo>
                  <a:pt x="245" y="613"/>
                </a:moveTo>
                <a:cubicBezTo>
                  <a:pt x="244" y="615"/>
                  <a:pt x="242" y="615"/>
                  <a:pt x="240" y="615"/>
                </a:cubicBezTo>
                <a:cubicBezTo>
                  <a:pt x="241" y="614"/>
                  <a:pt x="243" y="613"/>
                  <a:pt x="244" y="613"/>
                </a:cubicBezTo>
                <a:cubicBezTo>
                  <a:pt x="244" y="613"/>
                  <a:pt x="243" y="613"/>
                  <a:pt x="244" y="612"/>
                </a:cubicBezTo>
                <a:cubicBezTo>
                  <a:pt x="244" y="611"/>
                  <a:pt x="247" y="612"/>
                  <a:pt x="247" y="612"/>
                </a:cubicBezTo>
                <a:cubicBezTo>
                  <a:pt x="247" y="613"/>
                  <a:pt x="246" y="613"/>
                  <a:pt x="245" y="613"/>
                </a:cubicBezTo>
                <a:cubicBezTo>
                  <a:pt x="245" y="613"/>
                  <a:pt x="245" y="613"/>
                  <a:pt x="245" y="613"/>
                </a:cubicBezTo>
                <a:close/>
                <a:moveTo>
                  <a:pt x="241" y="634"/>
                </a:moveTo>
                <a:cubicBezTo>
                  <a:pt x="241" y="634"/>
                  <a:pt x="241" y="634"/>
                  <a:pt x="242" y="634"/>
                </a:cubicBezTo>
                <a:cubicBezTo>
                  <a:pt x="242" y="634"/>
                  <a:pt x="242" y="635"/>
                  <a:pt x="241" y="634"/>
                </a:cubicBezTo>
                <a:close/>
                <a:moveTo>
                  <a:pt x="240" y="485"/>
                </a:moveTo>
                <a:cubicBezTo>
                  <a:pt x="240" y="485"/>
                  <a:pt x="241" y="484"/>
                  <a:pt x="241" y="484"/>
                </a:cubicBezTo>
                <a:cubicBezTo>
                  <a:pt x="241" y="485"/>
                  <a:pt x="240" y="485"/>
                  <a:pt x="240" y="485"/>
                </a:cubicBezTo>
                <a:close/>
                <a:moveTo>
                  <a:pt x="240" y="535"/>
                </a:moveTo>
                <a:cubicBezTo>
                  <a:pt x="240" y="535"/>
                  <a:pt x="240" y="535"/>
                  <a:pt x="239" y="535"/>
                </a:cubicBezTo>
                <a:cubicBezTo>
                  <a:pt x="239" y="535"/>
                  <a:pt x="240" y="534"/>
                  <a:pt x="240" y="535"/>
                </a:cubicBezTo>
                <a:close/>
                <a:moveTo>
                  <a:pt x="243" y="647"/>
                </a:moveTo>
                <a:cubicBezTo>
                  <a:pt x="243" y="646"/>
                  <a:pt x="244" y="647"/>
                  <a:pt x="243" y="647"/>
                </a:cubicBezTo>
                <a:close/>
                <a:moveTo>
                  <a:pt x="243" y="664"/>
                </a:moveTo>
                <a:cubicBezTo>
                  <a:pt x="242" y="665"/>
                  <a:pt x="242" y="663"/>
                  <a:pt x="243" y="664"/>
                </a:cubicBezTo>
                <a:close/>
                <a:moveTo>
                  <a:pt x="244" y="665"/>
                </a:moveTo>
                <a:cubicBezTo>
                  <a:pt x="244" y="666"/>
                  <a:pt x="243" y="666"/>
                  <a:pt x="243" y="666"/>
                </a:cubicBezTo>
                <a:cubicBezTo>
                  <a:pt x="242" y="665"/>
                  <a:pt x="244" y="665"/>
                  <a:pt x="244" y="665"/>
                </a:cubicBezTo>
                <a:close/>
                <a:moveTo>
                  <a:pt x="244" y="658"/>
                </a:moveTo>
                <a:cubicBezTo>
                  <a:pt x="244" y="656"/>
                  <a:pt x="249" y="657"/>
                  <a:pt x="247" y="659"/>
                </a:cubicBezTo>
                <a:cubicBezTo>
                  <a:pt x="247" y="660"/>
                  <a:pt x="244" y="659"/>
                  <a:pt x="244" y="658"/>
                </a:cubicBezTo>
                <a:close/>
                <a:moveTo>
                  <a:pt x="248" y="619"/>
                </a:moveTo>
                <a:cubicBezTo>
                  <a:pt x="246" y="620"/>
                  <a:pt x="246" y="618"/>
                  <a:pt x="248" y="619"/>
                </a:cubicBezTo>
                <a:close/>
                <a:moveTo>
                  <a:pt x="249" y="639"/>
                </a:moveTo>
                <a:cubicBezTo>
                  <a:pt x="250" y="640"/>
                  <a:pt x="249" y="640"/>
                  <a:pt x="249" y="640"/>
                </a:cubicBezTo>
                <a:cubicBezTo>
                  <a:pt x="247" y="642"/>
                  <a:pt x="248" y="638"/>
                  <a:pt x="249" y="639"/>
                </a:cubicBezTo>
                <a:close/>
                <a:moveTo>
                  <a:pt x="249" y="606"/>
                </a:moveTo>
                <a:cubicBezTo>
                  <a:pt x="248" y="605"/>
                  <a:pt x="251" y="605"/>
                  <a:pt x="251" y="605"/>
                </a:cubicBezTo>
                <a:cubicBezTo>
                  <a:pt x="251" y="606"/>
                  <a:pt x="249" y="606"/>
                  <a:pt x="249" y="606"/>
                </a:cubicBezTo>
                <a:close/>
                <a:moveTo>
                  <a:pt x="247" y="598"/>
                </a:moveTo>
                <a:cubicBezTo>
                  <a:pt x="247" y="598"/>
                  <a:pt x="248" y="596"/>
                  <a:pt x="248" y="596"/>
                </a:cubicBezTo>
                <a:cubicBezTo>
                  <a:pt x="249" y="595"/>
                  <a:pt x="250" y="594"/>
                  <a:pt x="251" y="596"/>
                </a:cubicBezTo>
                <a:cubicBezTo>
                  <a:pt x="251" y="596"/>
                  <a:pt x="251" y="596"/>
                  <a:pt x="250" y="597"/>
                </a:cubicBezTo>
                <a:cubicBezTo>
                  <a:pt x="251" y="597"/>
                  <a:pt x="253" y="598"/>
                  <a:pt x="253" y="598"/>
                </a:cubicBezTo>
                <a:cubicBezTo>
                  <a:pt x="254" y="602"/>
                  <a:pt x="247" y="599"/>
                  <a:pt x="247" y="598"/>
                </a:cubicBezTo>
                <a:close/>
                <a:moveTo>
                  <a:pt x="253" y="601"/>
                </a:moveTo>
                <a:cubicBezTo>
                  <a:pt x="253" y="602"/>
                  <a:pt x="252" y="602"/>
                  <a:pt x="251" y="602"/>
                </a:cubicBezTo>
                <a:cubicBezTo>
                  <a:pt x="251" y="602"/>
                  <a:pt x="252" y="601"/>
                  <a:pt x="253" y="601"/>
                </a:cubicBezTo>
                <a:close/>
                <a:moveTo>
                  <a:pt x="253" y="609"/>
                </a:moveTo>
                <a:cubicBezTo>
                  <a:pt x="254" y="609"/>
                  <a:pt x="252" y="610"/>
                  <a:pt x="252" y="610"/>
                </a:cubicBezTo>
                <a:cubicBezTo>
                  <a:pt x="251" y="609"/>
                  <a:pt x="253" y="608"/>
                  <a:pt x="253" y="609"/>
                </a:cubicBezTo>
                <a:close/>
                <a:moveTo>
                  <a:pt x="254" y="650"/>
                </a:moveTo>
                <a:cubicBezTo>
                  <a:pt x="253" y="652"/>
                  <a:pt x="252" y="649"/>
                  <a:pt x="254" y="650"/>
                </a:cubicBezTo>
                <a:close/>
                <a:moveTo>
                  <a:pt x="256" y="592"/>
                </a:moveTo>
                <a:cubicBezTo>
                  <a:pt x="255" y="590"/>
                  <a:pt x="259" y="590"/>
                  <a:pt x="260" y="591"/>
                </a:cubicBezTo>
                <a:cubicBezTo>
                  <a:pt x="260" y="592"/>
                  <a:pt x="256" y="594"/>
                  <a:pt x="256" y="592"/>
                </a:cubicBezTo>
                <a:close/>
                <a:moveTo>
                  <a:pt x="249" y="520"/>
                </a:moveTo>
                <a:cubicBezTo>
                  <a:pt x="249" y="520"/>
                  <a:pt x="249" y="521"/>
                  <a:pt x="249" y="521"/>
                </a:cubicBezTo>
                <a:cubicBezTo>
                  <a:pt x="248" y="522"/>
                  <a:pt x="248" y="519"/>
                  <a:pt x="249" y="520"/>
                </a:cubicBezTo>
                <a:close/>
                <a:moveTo>
                  <a:pt x="249" y="536"/>
                </a:moveTo>
                <a:cubicBezTo>
                  <a:pt x="249" y="538"/>
                  <a:pt x="244" y="540"/>
                  <a:pt x="244" y="536"/>
                </a:cubicBezTo>
                <a:cubicBezTo>
                  <a:pt x="244" y="535"/>
                  <a:pt x="249" y="534"/>
                  <a:pt x="249" y="536"/>
                </a:cubicBezTo>
                <a:close/>
                <a:moveTo>
                  <a:pt x="244" y="450"/>
                </a:moveTo>
                <a:cubicBezTo>
                  <a:pt x="244" y="450"/>
                  <a:pt x="244" y="450"/>
                  <a:pt x="244" y="450"/>
                </a:cubicBezTo>
                <a:cubicBezTo>
                  <a:pt x="243" y="450"/>
                  <a:pt x="244" y="449"/>
                  <a:pt x="244" y="450"/>
                </a:cubicBezTo>
                <a:close/>
                <a:moveTo>
                  <a:pt x="243" y="420"/>
                </a:moveTo>
                <a:cubicBezTo>
                  <a:pt x="243" y="420"/>
                  <a:pt x="243" y="420"/>
                  <a:pt x="243" y="420"/>
                </a:cubicBezTo>
                <a:cubicBezTo>
                  <a:pt x="244" y="420"/>
                  <a:pt x="244" y="420"/>
                  <a:pt x="243" y="420"/>
                </a:cubicBezTo>
                <a:close/>
                <a:moveTo>
                  <a:pt x="241" y="504"/>
                </a:moveTo>
                <a:cubicBezTo>
                  <a:pt x="240" y="502"/>
                  <a:pt x="243" y="504"/>
                  <a:pt x="241" y="504"/>
                </a:cubicBezTo>
                <a:close/>
                <a:moveTo>
                  <a:pt x="235" y="479"/>
                </a:moveTo>
                <a:cubicBezTo>
                  <a:pt x="236" y="477"/>
                  <a:pt x="240" y="471"/>
                  <a:pt x="242" y="470"/>
                </a:cubicBezTo>
                <a:cubicBezTo>
                  <a:pt x="240" y="473"/>
                  <a:pt x="238" y="476"/>
                  <a:pt x="235" y="479"/>
                </a:cubicBezTo>
                <a:close/>
                <a:moveTo>
                  <a:pt x="236" y="507"/>
                </a:moveTo>
                <a:cubicBezTo>
                  <a:pt x="236" y="508"/>
                  <a:pt x="235" y="508"/>
                  <a:pt x="235" y="507"/>
                </a:cubicBezTo>
                <a:cubicBezTo>
                  <a:pt x="235" y="506"/>
                  <a:pt x="236" y="507"/>
                  <a:pt x="236" y="507"/>
                </a:cubicBezTo>
                <a:close/>
                <a:moveTo>
                  <a:pt x="242" y="337"/>
                </a:moveTo>
                <a:cubicBezTo>
                  <a:pt x="240" y="339"/>
                  <a:pt x="238" y="341"/>
                  <a:pt x="235" y="343"/>
                </a:cubicBezTo>
                <a:cubicBezTo>
                  <a:pt x="237" y="341"/>
                  <a:pt x="240" y="338"/>
                  <a:pt x="242" y="337"/>
                </a:cubicBezTo>
                <a:close/>
                <a:moveTo>
                  <a:pt x="235" y="428"/>
                </a:moveTo>
                <a:cubicBezTo>
                  <a:pt x="235" y="427"/>
                  <a:pt x="234" y="429"/>
                  <a:pt x="235" y="428"/>
                </a:cubicBezTo>
                <a:close/>
                <a:moveTo>
                  <a:pt x="236" y="488"/>
                </a:moveTo>
                <a:cubicBezTo>
                  <a:pt x="233" y="491"/>
                  <a:pt x="233" y="494"/>
                  <a:pt x="230" y="496"/>
                </a:cubicBezTo>
                <a:cubicBezTo>
                  <a:pt x="231" y="494"/>
                  <a:pt x="233" y="489"/>
                  <a:pt x="236" y="488"/>
                </a:cubicBezTo>
                <a:close/>
                <a:moveTo>
                  <a:pt x="235" y="529"/>
                </a:moveTo>
                <a:cubicBezTo>
                  <a:pt x="235" y="529"/>
                  <a:pt x="234" y="529"/>
                  <a:pt x="234" y="529"/>
                </a:cubicBezTo>
                <a:cubicBezTo>
                  <a:pt x="234" y="528"/>
                  <a:pt x="235" y="529"/>
                  <a:pt x="235" y="529"/>
                </a:cubicBezTo>
                <a:close/>
                <a:moveTo>
                  <a:pt x="232" y="503"/>
                </a:moveTo>
                <a:cubicBezTo>
                  <a:pt x="232" y="504"/>
                  <a:pt x="231" y="504"/>
                  <a:pt x="231" y="504"/>
                </a:cubicBezTo>
                <a:cubicBezTo>
                  <a:pt x="231" y="503"/>
                  <a:pt x="232" y="502"/>
                  <a:pt x="232" y="503"/>
                </a:cubicBezTo>
                <a:close/>
                <a:moveTo>
                  <a:pt x="233" y="322"/>
                </a:moveTo>
                <a:cubicBezTo>
                  <a:pt x="234" y="320"/>
                  <a:pt x="232" y="323"/>
                  <a:pt x="233" y="322"/>
                </a:cubicBezTo>
                <a:close/>
                <a:moveTo>
                  <a:pt x="233" y="463"/>
                </a:moveTo>
                <a:cubicBezTo>
                  <a:pt x="232" y="465"/>
                  <a:pt x="234" y="462"/>
                  <a:pt x="233" y="463"/>
                </a:cubicBezTo>
                <a:close/>
                <a:moveTo>
                  <a:pt x="232" y="465"/>
                </a:moveTo>
                <a:cubicBezTo>
                  <a:pt x="233" y="467"/>
                  <a:pt x="229" y="469"/>
                  <a:pt x="228" y="466"/>
                </a:cubicBezTo>
                <a:cubicBezTo>
                  <a:pt x="228" y="464"/>
                  <a:pt x="231" y="463"/>
                  <a:pt x="232" y="465"/>
                </a:cubicBezTo>
                <a:close/>
                <a:moveTo>
                  <a:pt x="231" y="364"/>
                </a:moveTo>
                <a:cubicBezTo>
                  <a:pt x="232" y="365"/>
                  <a:pt x="230" y="367"/>
                  <a:pt x="230" y="367"/>
                </a:cubicBezTo>
                <a:cubicBezTo>
                  <a:pt x="226" y="369"/>
                  <a:pt x="229" y="363"/>
                  <a:pt x="231" y="364"/>
                </a:cubicBezTo>
                <a:close/>
                <a:moveTo>
                  <a:pt x="227" y="421"/>
                </a:moveTo>
                <a:cubicBezTo>
                  <a:pt x="228" y="421"/>
                  <a:pt x="227" y="422"/>
                  <a:pt x="227" y="422"/>
                </a:cubicBezTo>
                <a:cubicBezTo>
                  <a:pt x="225" y="423"/>
                  <a:pt x="226" y="420"/>
                  <a:pt x="227" y="421"/>
                </a:cubicBezTo>
                <a:close/>
                <a:moveTo>
                  <a:pt x="227" y="484"/>
                </a:moveTo>
                <a:cubicBezTo>
                  <a:pt x="225" y="484"/>
                  <a:pt x="228" y="482"/>
                  <a:pt x="227" y="483"/>
                </a:cubicBezTo>
                <a:cubicBezTo>
                  <a:pt x="227" y="483"/>
                  <a:pt x="227" y="484"/>
                  <a:pt x="227" y="484"/>
                </a:cubicBezTo>
                <a:close/>
                <a:moveTo>
                  <a:pt x="227" y="436"/>
                </a:moveTo>
                <a:cubicBezTo>
                  <a:pt x="226" y="435"/>
                  <a:pt x="228" y="435"/>
                  <a:pt x="227" y="436"/>
                </a:cubicBezTo>
                <a:close/>
                <a:moveTo>
                  <a:pt x="227" y="526"/>
                </a:moveTo>
                <a:cubicBezTo>
                  <a:pt x="226" y="527"/>
                  <a:pt x="225" y="526"/>
                  <a:pt x="227" y="526"/>
                </a:cubicBezTo>
                <a:close/>
                <a:moveTo>
                  <a:pt x="227" y="527"/>
                </a:moveTo>
                <a:cubicBezTo>
                  <a:pt x="228" y="528"/>
                  <a:pt x="226" y="529"/>
                  <a:pt x="226" y="529"/>
                </a:cubicBezTo>
                <a:cubicBezTo>
                  <a:pt x="225" y="529"/>
                  <a:pt x="227" y="527"/>
                  <a:pt x="227" y="527"/>
                </a:cubicBezTo>
                <a:close/>
                <a:moveTo>
                  <a:pt x="225" y="375"/>
                </a:moveTo>
                <a:cubicBezTo>
                  <a:pt x="227" y="376"/>
                  <a:pt x="225" y="376"/>
                  <a:pt x="225" y="375"/>
                </a:cubicBezTo>
                <a:close/>
                <a:moveTo>
                  <a:pt x="224" y="359"/>
                </a:moveTo>
                <a:cubicBezTo>
                  <a:pt x="224" y="360"/>
                  <a:pt x="223" y="360"/>
                  <a:pt x="223" y="361"/>
                </a:cubicBezTo>
                <a:cubicBezTo>
                  <a:pt x="222" y="360"/>
                  <a:pt x="224" y="360"/>
                  <a:pt x="224" y="359"/>
                </a:cubicBezTo>
                <a:close/>
                <a:moveTo>
                  <a:pt x="222" y="500"/>
                </a:moveTo>
                <a:cubicBezTo>
                  <a:pt x="222" y="499"/>
                  <a:pt x="223" y="499"/>
                  <a:pt x="224" y="499"/>
                </a:cubicBezTo>
                <a:cubicBezTo>
                  <a:pt x="224" y="500"/>
                  <a:pt x="222" y="501"/>
                  <a:pt x="222" y="500"/>
                </a:cubicBezTo>
                <a:close/>
                <a:moveTo>
                  <a:pt x="222" y="564"/>
                </a:moveTo>
                <a:cubicBezTo>
                  <a:pt x="222" y="565"/>
                  <a:pt x="219" y="565"/>
                  <a:pt x="219" y="564"/>
                </a:cubicBezTo>
                <a:cubicBezTo>
                  <a:pt x="219" y="562"/>
                  <a:pt x="222" y="563"/>
                  <a:pt x="222" y="564"/>
                </a:cubicBezTo>
                <a:close/>
                <a:moveTo>
                  <a:pt x="224" y="489"/>
                </a:moveTo>
                <a:cubicBezTo>
                  <a:pt x="224" y="489"/>
                  <a:pt x="223" y="490"/>
                  <a:pt x="223" y="490"/>
                </a:cubicBezTo>
                <a:cubicBezTo>
                  <a:pt x="222" y="489"/>
                  <a:pt x="225" y="488"/>
                  <a:pt x="224" y="489"/>
                </a:cubicBezTo>
                <a:close/>
                <a:moveTo>
                  <a:pt x="224" y="467"/>
                </a:moveTo>
                <a:cubicBezTo>
                  <a:pt x="224" y="470"/>
                  <a:pt x="222" y="469"/>
                  <a:pt x="224" y="467"/>
                </a:cubicBezTo>
                <a:close/>
                <a:moveTo>
                  <a:pt x="223" y="272"/>
                </a:moveTo>
                <a:cubicBezTo>
                  <a:pt x="223" y="273"/>
                  <a:pt x="222" y="274"/>
                  <a:pt x="221" y="275"/>
                </a:cubicBezTo>
                <a:cubicBezTo>
                  <a:pt x="221" y="273"/>
                  <a:pt x="222" y="273"/>
                  <a:pt x="223" y="272"/>
                </a:cubicBezTo>
                <a:close/>
                <a:moveTo>
                  <a:pt x="222" y="308"/>
                </a:moveTo>
                <a:cubicBezTo>
                  <a:pt x="222" y="310"/>
                  <a:pt x="220" y="312"/>
                  <a:pt x="218" y="313"/>
                </a:cubicBezTo>
                <a:cubicBezTo>
                  <a:pt x="220" y="312"/>
                  <a:pt x="220" y="310"/>
                  <a:pt x="222" y="308"/>
                </a:cubicBezTo>
                <a:close/>
                <a:moveTo>
                  <a:pt x="218" y="378"/>
                </a:moveTo>
                <a:cubicBezTo>
                  <a:pt x="218" y="376"/>
                  <a:pt x="220" y="378"/>
                  <a:pt x="218" y="378"/>
                </a:cubicBezTo>
                <a:close/>
                <a:moveTo>
                  <a:pt x="218" y="467"/>
                </a:moveTo>
                <a:cubicBezTo>
                  <a:pt x="218" y="467"/>
                  <a:pt x="217" y="467"/>
                  <a:pt x="217" y="466"/>
                </a:cubicBezTo>
                <a:cubicBezTo>
                  <a:pt x="217" y="466"/>
                  <a:pt x="218" y="466"/>
                  <a:pt x="218" y="467"/>
                </a:cubicBezTo>
                <a:close/>
                <a:moveTo>
                  <a:pt x="217" y="315"/>
                </a:move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lose/>
                <a:moveTo>
                  <a:pt x="218" y="382"/>
                </a:moveTo>
                <a:cubicBezTo>
                  <a:pt x="217" y="382"/>
                  <a:pt x="217" y="382"/>
                  <a:pt x="217" y="382"/>
                </a:cubicBezTo>
                <a:cubicBezTo>
                  <a:pt x="216" y="381"/>
                  <a:pt x="219" y="380"/>
                  <a:pt x="218" y="382"/>
                </a:cubicBezTo>
                <a:close/>
                <a:moveTo>
                  <a:pt x="212" y="322"/>
                </a:moveTo>
                <a:cubicBezTo>
                  <a:pt x="212" y="321"/>
                  <a:pt x="215" y="318"/>
                  <a:pt x="216" y="316"/>
                </a:cubicBezTo>
                <a:cubicBezTo>
                  <a:pt x="216" y="319"/>
                  <a:pt x="210" y="325"/>
                  <a:pt x="212" y="322"/>
                </a:cubicBezTo>
                <a:close/>
                <a:moveTo>
                  <a:pt x="215" y="450"/>
                </a:moveTo>
                <a:cubicBezTo>
                  <a:pt x="215" y="450"/>
                  <a:pt x="215" y="450"/>
                  <a:pt x="215" y="450"/>
                </a:cubicBezTo>
                <a:cubicBezTo>
                  <a:pt x="215" y="450"/>
                  <a:pt x="215" y="450"/>
                  <a:pt x="215" y="450"/>
                </a:cubicBezTo>
                <a:close/>
                <a:moveTo>
                  <a:pt x="214" y="449"/>
                </a:moveTo>
                <a:cubicBezTo>
                  <a:pt x="214" y="449"/>
                  <a:pt x="214" y="448"/>
                  <a:pt x="214" y="448"/>
                </a:cubicBezTo>
                <a:cubicBezTo>
                  <a:pt x="214" y="446"/>
                  <a:pt x="216" y="448"/>
                  <a:pt x="214" y="449"/>
                </a:cubicBezTo>
                <a:close/>
                <a:moveTo>
                  <a:pt x="214" y="524"/>
                </a:moveTo>
                <a:cubicBezTo>
                  <a:pt x="213" y="523"/>
                  <a:pt x="214" y="523"/>
                  <a:pt x="215" y="522"/>
                </a:cubicBezTo>
                <a:cubicBezTo>
                  <a:pt x="215" y="523"/>
                  <a:pt x="214" y="523"/>
                  <a:pt x="214" y="524"/>
                </a:cubicBezTo>
                <a:close/>
                <a:moveTo>
                  <a:pt x="212" y="508"/>
                </a:moveTo>
                <a:cubicBezTo>
                  <a:pt x="210" y="509"/>
                  <a:pt x="214" y="507"/>
                  <a:pt x="212" y="508"/>
                </a:cubicBezTo>
                <a:close/>
                <a:moveTo>
                  <a:pt x="202" y="518"/>
                </a:moveTo>
                <a:cubicBezTo>
                  <a:pt x="210" y="516"/>
                  <a:pt x="209" y="525"/>
                  <a:pt x="203" y="526"/>
                </a:cubicBezTo>
                <a:cubicBezTo>
                  <a:pt x="198" y="527"/>
                  <a:pt x="197" y="520"/>
                  <a:pt x="202" y="518"/>
                </a:cubicBezTo>
                <a:close/>
                <a:moveTo>
                  <a:pt x="201" y="548"/>
                </a:moveTo>
                <a:cubicBezTo>
                  <a:pt x="201" y="548"/>
                  <a:pt x="201" y="548"/>
                  <a:pt x="201" y="548"/>
                </a:cubicBezTo>
                <a:cubicBezTo>
                  <a:pt x="201" y="546"/>
                  <a:pt x="203" y="550"/>
                  <a:pt x="201" y="548"/>
                </a:cubicBezTo>
                <a:close/>
                <a:moveTo>
                  <a:pt x="199" y="549"/>
                </a:moveTo>
                <a:cubicBezTo>
                  <a:pt x="199" y="551"/>
                  <a:pt x="197" y="549"/>
                  <a:pt x="199" y="549"/>
                </a:cubicBezTo>
                <a:close/>
                <a:moveTo>
                  <a:pt x="200" y="494"/>
                </a:moveTo>
                <a:cubicBezTo>
                  <a:pt x="199" y="495"/>
                  <a:pt x="198" y="496"/>
                  <a:pt x="196" y="496"/>
                </a:cubicBezTo>
                <a:cubicBezTo>
                  <a:pt x="197" y="495"/>
                  <a:pt x="199" y="495"/>
                  <a:pt x="200" y="494"/>
                </a:cubicBezTo>
                <a:close/>
                <a:moveTo>
                  <a:pt x="202" y="420"/>
                </a:moveTo>
                <a:cubicBezTo>
                  <a:pt x="201" y="421"/>
                  <a:pt x="201" y="421"/>
                  <a:pt x="200" y="421"/>
                </a:cubicBezTo>
                <a:cubicBezTo>
                  <a:pt x="199" y="420"/>
                  <a:pt x="203" y="418"/>
                  <a:pt x="202" y="420"/>
                </a:cubicBezTo>
                <a:close/>
                <a:moveTo>
                  <a:pt x="203" y="493"/>
                </a:moveTo>
                <a:cubicBezTo>
                  <a:pt x="204" y="493"/>
                  <a:pt x="204" y="493"/>
                  <a:pt x="204" y="493"/>
                </a:cubicBezTo>
                <a:cubicBezTo>
                  <a:pt x="204" y="493"/>
                  <a:pt x="200" y="494"/>
                  <a:pt x="203" y="493"/>
                </a:cubicBezTo>
                <a:close/>
                <a:moveTo>
                  <a:pt x="206" y="456"/>
                </a:moveTo>
                <a:cubicBezTo>
                  <a:pt x="206" y="456"/>
                  <a:pt x="205" y="456"/>
                  <a:pt x="205" y="456"/>
                </a:cubicBezTo>
                <a:cubicBezTo>
                  <a:pt x="204" y="456"/>
                  <a:pt x="206" y="455"/>
                  <a:pt x="206" y="456"/>
                </a:cubicBezTo>
                <a:close/>
                <a:moveTo>
                  <a:pt x="206" y="475"/>
                </a:moveTo>
                <a:cubicBezTo>
                  <a:pt x="206" y="473"/>
                  <a:pt x="210" y="475"/>
                  <a:pt x="210" y="477"/>
                </a:cubicBezTo>
                <a:cubicBezTo>
                  <a:pt x="209" y="479"/>
                  <a:pt x="204" y="479"/>
                  <a:pt x="206" y="475"/>
                </a:cubicBezTo>
                <a:close/>
                <a:moveTo>
                  <a:pt x="208" y="439"/>
                </a:moveTo>
                <a:cubicBezTo>
                  <a:pt x="208" y="440"/>
                  <a:pt x="207" y="440"/>
                  <a:pt x="207" y="440"/>
                </a:cubicBezTo>
                <a:cubicBezTo>
                  <a:pt x="207" y="439"/>
                  <a:pt x="208" y="439"/>
                  <a:pt x="208" y="439"/>
                </a:cubicBezTo>
                <a:close/>
                <a:moveTo>
                  <a:pt x="208" y="405"/>
                </a:moveTo>
                <a:cubicBezTo>
                  <a:pt x="207" y="406"/>
                  <a:pt x="208" y="404"/>
                  <a:pt x="208" y="405"/>
                </a:cubicBezTo>
                <a:close/>
                <a:moveTo>
                  <a:pt x="209" y="467"/>
                </a:moveTo>
                <a:cubicBezTo>
                  <a:pt x="209" y="467"/>
                  <a:pt x="209" y="468"/>
                  <a:pt x="209" y="468"/>
                </a:cubicBezTo>
                <a:cubicBezTo>
                  <a:pt x="208" y="467"/>
                  <a:pt x="210" y="466"/>
                  <a:pt x="209" y="467"/>
                </a:cubicBezTo>
                <a:close/>
                <a:moveTo>
                  <a:pt x="210" y="509"/>
                </a:moveTo>
                <a:cubicBezTo>
                  <a:pt x="208" y="511"/>
                  <a:pt x="211" y="508"/>
                  <a:pt x="210" y="509"/>
                </a:cubicBezTo>
                <a:close/>
                <a:moveTo>
                  <a:pt x="210" y="444"/>
                </a:moveTo>
                <a:cubicBezTo>
                  <a:pt x="207" y="445"/>
                  <a:pt x="209" y="441"/>
                  <a:pt x="210" y="443"/>
                </a:cubicBezTo>
                <a:cubicBezTo>
                  <a:pt x="211" y="443"/>
                  <a:pt x="210" y="443"/>
                  <a:pt x="210" y="444"/>
                </a:cubicBezTo>
                <a:close/>
                <a:moveTo>
                  <a:pt x="210" y="185"/>
                </a:moveTo>
                <a:cubicBezTo>
                  <a:pt x="210" y="185"/>
                  <a:pt x="210" y="185"/>
                  <a:pt x="210" y="185"/>
                </a:cubicBezTo>
                <a:cubicBezTo>
                  <a:pt x="209" y="185"/>
                  <a:pt x="211" y="184"/>
                  <a:pt x="210" y="185"/>
                </a:cubicBezTo>
                <a:close/>
                <a:moveTo>
                  <a:pt x="210" y="203"/>
                </a:moveTo>
                <a:cubicBezTo>
                  <a:pt x="211" y="203"/>
                  <a:pt x="209" y="205"/>
                  <a:pt x="209" y="205"/>
                </a:cubicBezTo>
                <a:cubicBezTo>
                  <a:pt x="209" y="204"/>
                  <a:pt x="209" y="204"/>
                  <a:pt x="210" y="203"/>
                </a:cubicBezTo>
                <a:close/>
                <a:moveTo>
                  <a:pt x="210" y="371"/>
                </a:moveTo>
                <a:cubicBezTo>
                  <a:pt x="209" y="372"/>
                  <a:pt x="209" y="372"/>
                  <a:pt x="208" y="372"/>
                </a:cubicBezTo>
                <a:cubicBezTo>
                  <a:pt x="208" y="372"/>
                  <a:pt x="208" y="371"/>
                  <a:pt x="210" y="371"/>
                </a:cubicBezTo>
                <a:close/>
                <a:moveTo>
                  <a:pt x="208" y="181"/>
                </a:moveTo>
                <a:cubicBezTo>
                  <a:pt x="209" y="181"/>
                  <a:pt x="207" y="184"/>
                  <a:pt x="207" y="184"/>
                </a:cubicBezTo>
                <a:cubicBezTo>
                  <a:pt x="204" y="186"/>
                  <a:pt x="206" y="180"/>
                  <a:pt x="208" y="181"/>
                </a:cubicBezTo>
                <a:close/>
                <a:moveTo>
                  <a:pt x="207" y="374"/>
                </a:moveTo>
                <a:cubicBezTo>
                  <a:pt x="206" y="373"/>
                  <a:pt x="208" y="373"/>
                  <a:pt x="207" y="374"/>
                </a:cubicBezTo>
                <a:close/>
                <a:moveTo>
                  <a:pt x="207" y="387"/>
                </a:moveTo>
                <a:cubicBezTo>
                  <a:pt x="206" y="387"/>
                  <a:pt x="206" y="388"/>
                  <a:pt x="206" y="387"/>
                </a:cubicBezTo>
                <a:cubicBezTo>
                  <a:pt x="205" y="386"/>
                  <a:pt x="209" y="385"/>
                  <a:pt x="207" y="387"/>
                </a:cubicBezTo>
                <a:close/>
                <a:moveTo>
                  <a:pt x="204" y="211"/>
                </a:moveTo>
                <a:cubicBezTo>
                  <a:pt x="204" y="213"/>
                  <a:pt x="202" y="214"/>
                  <a:pt x="201" y="216"/>
                </a:cubicBezTo>
                <a:cubicBezTo>
                  <a:pt x="201" y="214"/>
                  <a:pt x="203" y="213"/>
                  <a:pt x="204" y="211"/>
                </a:cubicBezTo>
                <a:close/>
                <a:moveTo>
                  <a:pt x="202" y="326"/>
                </a:moveTo>
                <a:cubicBezTo>
                  <a:pt x="202" y="327"/>
                  <a:pt x="202" y="328"/>
                  <a:pt x="201" y="328"/>
                </a:cubicBezTo>
                <a:cubicBezTo>
                  <a:pt x="201" y="327"/>
                  <a:pt x="202" y="327"/>
                  <a:pt x="202" y="326"/>
                </a:cubicBezTo>
                <a:close/>
                <a:moveTo>
                  <a:pt x="205" y="387"/>
                </a:moveTo>
                <a:cubicBezTo>
                  <a:pt x="205" y="388"/>
                  <a:pt x="203" y="389"/>
                  <a:pt x="201" y="390"/>
                </a:cubicBezTo>
                <a:cubicBezTo>
                  <a:pt x="202" y="388"/>
                  <a:pt x="204" y="388"/>
                  <a:pt x="205" y="387"/>
                </a:cubicBezTo>
                <a:close/>
                <a:moveTo>
                  <a:pt x="196" y="218"/>
                </a:moveTo>
                <a:cubicBezTo>
                  <a:pt x="198" y="219"/>
                  <a:pt x="196" y="220"/>
                  <a:pt x="196" y="218"/>
                </a:cubicBezTo>
                <a:close/>
                <a:moveTo>
                  <a:pt x="196" y="249"/>
                </a:moveTo>
                <a:cubicBezTo>
                  <a:pt x="195" y="251"/>
                  <a:pt x="197" y="248"/>
                  <a:pt x="196" y="249"/>
                </a:cubicBezTo>
                <a:close/>
                <a:moveTo>
                  <a:pt x="198" y="349"/>
                </a:moveTo>
                <a:cubicBezTo>
                  <a:pt x="198" y="350"/>
                  <a:pt x="196" y="351"/>
                  <a:pt x="196" y="352"/>
                </a:cubicBezTo>
                <a:cubicBezTo>
                  <a:pt x="195" y="351"/>
                  <a:pt x="197" y="350"/>
                  <a:pt x="198" y="349"/>
                </a:cubicBezTo>
                <a:close/>
                <a:moveTo>
                  <a:pt x="196" y="296"/>
                </a:moveTo>
                <a:cubicBezTo>
                  <a:pt x="196" y="296"/>
                  <a:pt x="195" y="298"/>
                  <a:pt x="195" y="298"/>
                </a:cubicBezTo>
                <a:cubicBezTo>
                  <a:pt x="193" y="300"/>
                  <a:pt x="194" y="295"/>
                  <a:pt x="196" y="296"/>
                </a:cubicBezTo>
                <a:close/>
                <a:moveTo>
                  <a:pt x="194" y="353"/>
                </a:moveTo>
                <a:cubicBezTo>
                  <a:pt x="195" y="354"/>
                  <a:pt x="193" y="354"/>
                  <a:pt x="194" y="353"/>
                </a:cubicBezTo>
                <a:close/>
                <a:moveTo>
                  <a:pt x="192" y="213"/>
                </a:moveTo>
                <a:cubicBezTo>
                  <a:pt x="192" y="212"/>
                  <a:pt x="194" y="211"/>
                  <a:pt x="192" y="213"/>
                </a:cubicBezTo>
                <a:close/>
                <a:moveTo>
                  <a:pt x="193" y="252"/>
                </a:moveTo>
                <a:cubicBezTo>
                  <a:pt x="194" y="253"/>
                  <a:pt x="193" y="254"/>
                  <a:pt x="192" y="254"/>
                </a:cubicBezTo>
                <a:cubicBezTo>
                  <a:pt x="192" y="253"/>
                  <a:pt x="193" y="253"/>
                  <a:pt x="193" y="252"/>
                </a:cubicBezTo>
                <a:close/>
                <a:moveTo>
                  <a:pt x="193" y="354"/>
                </a:moveTo>
                <a:cubicBezTo>
                  <a:pt x="193" y="355"/>
                  <a:pt x="193" y="356"/>
                  <a:pt x="192" y="356"/>
                </a:cubicBezTo>
                <a:cubicBezTo>
                  <a:pt x="192" y="355"/>
                  <a:pt x="193" y="355"/>
                  <a:pt x="193" y="354"/>
                </a:cubicBezTo>
                <a:close/>
                <a:moveTo>
                  <a:pt x="192" y="305"/>
                </a:moveTo>
                <a:cubicBezTo>
                  <a:pt x="190" y="307"/>
                  <a:pt x="193" y="304"/>
                  <a:pt x="192" y="305"/>
                </a:cubicBezTo>
                <a:close/>
                <a:moveTo>
                  <a:pt x="188" y="397"/>
                </a:moveTo>
                <a:cubicBezTo>
                  <a:pt x="187" y="398"/>
                  <a:pt x="185" y="400"/>
                  <a:pt x="183" y="401"/>
                </a:cubicBezTo>
                <a:cubicBezTo>
                  <a:pt x="184" y="399"/>
                  <a:pt x="186" y="398"/>
                  <a:pt x="188" y="397"/>
                </a:cubicBezTo>
                <a:close/>
                <a:moveTo>
                  <a:pt x="184" y="384"/>
                </a:moveTo>
                <a:cubicBezTo>
                  <a:pt x="185" y="384"/>
                  <a:pt x="185" y="383"/>
                  <a:pt x="186" y="383"/>
                </a:cubicBezTo>
                <a:cubicBezTo>
                  <a:pt x="185" y="384"/>
                  <a:pt x="185" y="384"/>
                  <a:pt x="184" y="384"/>
                </a:cubicBezTo>
                <a:close/>
                <a:moveTo>
                  <a:pt x="184" y="243"/>
                </a:moveTo>
                <a:cubicBezTo>
                  <a:pt x="185" y="242"/>
                  <a:pt x="183" y="244"/>
                  <a:pt x="184" y="243"/>
                </a:cubicBezTo>
                <a:close/>
                <a:moveTo>
                  <a:pt x="182" y="186"/>
                </a:moveTo>
                <a:cubicBezTo>
                  <a:pt x="182" y="185"/>
                  <a:pt x="181" y="187"/>
                  <a:pt x="182" y="186"/>
                </a:cubicBezTo>
                <a:close/>
                <a:moveTo>
                  <a:pt x="184" y="243"/>
                </a:moveTo>
                <a:cubicBezTo>
                  <a:pt x="185" y="244"/>
                  <a:pt x="183" y="249"/>
                  <a:pt x="182" y="249"/>
                </a:cubicBezTo>
                <a:cubicBezTo>
                  <a:pt x="180" y="249"/>
                  <a:pt x="182" y="243"/>
                  <a:pt x="184" y="243"/>
                </a:cubicBezTo>
                <a:close/>
                <a:moveTo>
                  <a:pt x="177" y="208"/>
                </a:moveTo>
                <a:cubicBezTo>
                  <a:pt x="178" y="209"/>
                  <a:pt x="177" y="209"/>
                  <a:pt x="177" y="210"/>
                </a:cubicBezTo>
                <a:cubicBezTo>
                  <a:pt x="176" y="210"/>
                  <a:pt x="177" y="209"/>
                  <a:pt x="177" y="208"/>
                </a:cubicBezTo>
                <a:close/>
                <a:moveTo>
                  <a:pt x="182" y="322"/>
                </a:moveTo>
                <a:cubicBezTo>
                  <a:pt x="179" y="324"/>
                  <a:pt x="177" y="329"/>
                  <a:pt x="175" y="329"/>
                </a:cubicBezTo>
                <a:cubicBezTo>
                  <a:pt x="175" y="329"/>
                  <a:pt x="179" y="322"/>
                  <a:pt x="182" y="322"/>
                </a:cubicBezTo>
                <a:close/>
                <a:moveTo>
                  <a:pt x="180" y="403"/>
                </a:moveTo>
                <a:cubicBezTo>
                  <a:pt x="179" y="404"/>
                  <a:pt x="178" y="406"/>
                  <a:pt x="176" y="406"/>
                </a:cubicBezTo>
                <a:cubicBezTo>
                  <a:pt x="177" y="405"/>
                  <a:pt x="179" y="404"/>
                  <a:pt x="180" y="403"/>
                </a:cubicBezTo>
                <a:close/>
                <a:moveTo>
                  <a:pt x="178" y="383"/>
                </a:move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2"/>
                  <a:pt x="178" y="382"/>
                </a:cubicBezTo>
                <a:cubicBezTo>
                  <a:pt x="178" y="382"/>
                  <a:pt x="178" y="382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lose/>
                <a:moveTo>
                  <a:pt x="181" y="393"/>
                </a:moveTo>
                <a:cubicBezTo>
                  <a:pt x="181" y="393"/>
                  <a:pt x="180" y="395"/>
                  <a:pt x="180" y="395"/>
                </a:cubicBezTo>
                <a:cubicBezTo>
                  <a:pt x="178" y="397"/>
                  <a:pt x="179" y="392"/>
                  <a:pt x="181" y="393"/>
                </a:cubicBezTo>
                <a:close/>
                <a:moveTo>
                  <a:pt x="179" y="358"/>
                </a:moveTo>
                <a:cubicBezTo>
                  <a:pt x="179" y="358"/>
                  <a:pt x="180" y="359"/>
                  <a:pt x="180" y="359"/>
                </a:cubicBezTo>
                <a:cubicBezTo>
                  <a:pt x="180" y="360"/>
                  <a:pt x="178" y="359"/>
                  <a:pt x="179" y="358"/>
                </a:cubicBezTo>
                <a:close/>
                <a:moveTo>
                  <a:pt x="182" y="418"/>
                </a:moveTo>
                <a:cubicBezTo>
                  <a:pt x="183" y="416"/>
                  <a:pt x="187" y="412"/>
                  <a:pt x="190" y="410"/>
                </a:cubicBezTo>
                <a:cubicBezTo>
                  <a:pt x="190" y="410"/>
                  <a:pt x="190" y="408"/>
                  <a:pt x="191" y="409"/>
                </a:cubicBezTo>
                <a:cubicBezTo>
                  <a:pt x="192" y="410"/>
                  <a:pt x="189" y="414"/>
                  <a:pt x="189" y="414"/>
                </a:cubicBezTo>
                <a:cubicBezTo>
                  <a:pt x="188" y="415"/>
                  <a:pt x="186" y="415"/>
                  <a:pt x="184" y="417"/>
                </a:cubicBezTo>
                <a:cubicBezTo>
                  <a:pt x="180" y="419"/>
                  <a:pt x="178" y="424"/>
                  <a:pt x="174" y="426"/>
                </a:cubicBezTo>
                <a:cubicBezTo>
                  <a:pt x="174" y="422"/>
                  <a:pt x="180" y="421"/>
                  <a:pt x="182" y="418"/>
                </a:cubicBezTo>
                <a:close/>
                <a:moveTo>
                  <a:pt x="193" y="479"/>
                </a:moveTo>
                <a:cubicBezTo>
                  <a:pt x="192" y="481"/>
                  <a:pt x="192" y="479"/>
                  <a:pt x="193" y="479"/>
                </a:cubicBezTo>
                <a:close/>
                <a:moveTo>
                  <a:pt x="193" y="432"/>
                </a:moveTo>
                <a:cubicBezTo>
                  <a:pt x="194" y="432"/>
                  <a:pt x="193" y="433"/>
                  <a:pt x="193" y="432"/>
                </a:cubicBezTo>
                <a:cubicBezTo>
                  <a:pt x="192" y="432"/>
                  <a:pt x="193" y="432"/>
                  <a:pt x="193" y="432"/>
                </a:cubicBezTo>
                <a:close/>
                <a:moveTo>
                  <a:pt x="191" y="460"/>
                </a:moveTo>
                <a:cubicBezTo>
                  <a:pt x="192" y="458"/>
                  <a:pt x="193" y="460"/>
                  <a:pt x="191" y="460"/>
                </a:cubicBezTo>
                <a:close/>
                <a:moveTo>
                  <a:pt x="193" y="489"/>
                </a:moveTo>
                <a:cubicBezTo>
                  <a:pt x="193" y="490"/>
                  <a:pt x="192" y="491"/>
                  <a:pt x="191" y="491"/>
                </a:cubicBezTo>
                <a:cubicBezTo>
                  <a:pt x="189" y="492"/>
                  <a:pt x="191" y="487"/>
                  <a:pt x="193" y="489"/>
                </a:cubicBezTo>
                <a:close/>
                <a:moveTo>
                  <a:pt x="190" y="440"/>
                </a:moveTo>
                <a:cubicBezTo>
                  <a:pt x="189" y="439"/>
                  <a:pt x="191" y="438"/>
                  <a:pt x="191" y="439"/>
                </a:cubicBezTo>
                <a:cubicBezTo>
                  <a:pt x="191" y="439"/>
                  <a:pt x="190" y="440"/>
                  <a:pt x="190" y="440"/>
                </a:cubicBezTo>
                <a:close/>
                <a:moveTo>
                  <a:pt x="189" y="511"/>
                </a:moveTo>
                <a:cubicBezTo>
                  <a:pt x="189" y="511"/>
                  <a:pt x="189" y="512"/>
                  <a:pt x="188" y="511"/>
                </a:cubicBezTo>
                <a:cubicBezTo>
                  <a:pt x="188" y="511"/>
                  <a:pt x="189" y="510"/>
                  <a:pt x="189" y="511"/>
                </a:cubicBezTo>
                <a:close/>
                <a:moveTo>
                  <a:pt x="186" y="470"/>
                </a:moveTo>
                <a:cubicBezTo>
                  <a:pt x="185" y="469"/>
                  <a:pt x="188" y="469"/>
                  <a:pt x="188" y="470"/>
                </a:cubicBezTo>
                <a:cubicBezTo>
                  <a:pt x="189" y="471"/>
                  <a:pt x="186" y="472"/>
                  <a:pt x="186" y="470"/>
                </a:cubicBezTo>
                <a:close/>
                <a:moveTo>
                  <a:pt x="184" y="470"/>
                </a:moveTo>
                <a:cubicBezTo>
                  <a:pt x="185" y="471"/>
                  <a:pt x="184" y="472"/>
                  <a:pt x="183" y="472"/>
                </a:cubicBezTo>
                <a:cubicBezTo>
                  <a:pt x="180" y="474"/>
                  <a:pt x="182" y="469"/>
                  <a:pt x="184" y="470"/>
                </a:cubicBezTo>
                <a:close/>
                <a:moveTo>
                  <a:pt x="183" y="435"/>
                </a:moveTo>
                <a:cubicBezTo>
                  <a:pt x="183" y="434"/>
                  <a:pt x="182" y="436"/>
                  <a:pt x="183" y="435"/>
                </a:cubicBezTo>
                <a:close/>
                <a:moveTo>
                  <a:pt x="180" y="443"/>
                </a:moveTo>
                <a:cubicBezTo>
                  <a:pt x="180" y="443"/>
                  <a:pt x="179" y="443"/>
                  <a:pt x="179" y="443"/>
                </a:cubicBezTo>
                <a:cubicBezTo>
                  <a:pt x="178" y="445"/>
                  <a:pt x="180" y="440"/>
                  <a:pt x="180" y="443"/>
                </a:cubicBezTo>
                <a:close/>
                <a:moveTo>
                  <a:pt x="174" y="445"/>
                </a:moveTo>
                <a:cubicBezTo>
                  <a:pt x="173" y="446"/>
                  <a:pt x="174" y="444"/>
                  <a:pt x="174" y="445"/>
                </a:cubicBezTo>
                <a:close/>
                <a:moveTo>
                  <a:pt x="173" y="182"/>
                </a:moveTo>
                <a:cubicBezTo>
                  <a:pt x="172" y="182"/>
                  <a:pt x="174" y="180"/>
                  <a:pt x="173" y="182"/>
                </a:cubicBezTo>
                <a:close/>
                <a:moveTo>
                  <a:pt x="173" y="438"/>
                </a:moveTo>
                <a:cubicBezTo>
                  <a:pt x="174" y="437"/>
                  <a:pt x="172" y="440"/>
                  <a:pt x="173" y="438"/>
                </a:cubicBezTo>
                <a:close/>
                <a:moveTo>
                  <a:pt x="173" y="477"/>
                </a:moveTo>
                <a:cubicBezTo>
                  <a:pt x="172" y="478"/>
                  <a:pt x="172" y="478"/>
                  <a:pt x="170" y="478"/>
                </a:cubicBezTo>
                <a:cubicBezTo>
                  <a:pt x="171" y="478"/>
                  <a:pt x="171" y="477"/>
                  <a:pt x="173" y="477"/>
                </a:cubicBezTo>
                <a:close/>
                <a:moveTo>
                  <a:pt x="173" y="314"/>
                </a:move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lose/>
                <a:moveTo>
                  <a:pt x="171" y="307"/>
                </a:moveTo>
                <a:cubicBezTo>
                  <a:pt x="171" y="308"/>
                  <a:pt x="171" y="309"/>
                  <a:pt x="169" y="310"/>
                </a:cubicBezTo>
                <a:cubicBezTo>
                  <a:pt x="168" y="310"/>
                  <a:pt x="167" y="310"/>
                  <a:pt x="166" y="309"/>
                </a:cubicBezTo>
                <a:cubicBezTo>
                  <a:pt x="164" y="305"/>
                  <a:pt x="171" y="303"/>
                  <a:pt x="171" y="307"/>
                </a:cubicBezTo>
                <a:close/>
                <a:moveTo>
                  <a:pt x="168" y="501"/>
                </a:moveTo>
                <a:cubicBezTo>
                  <a:pt x="168" y="501"/>
                  <a:pt x="168" y="501"/>
                  <a:pt x="169" y="501"/>
                </a:cubicBezTo>
                <a:cubicBezTo>
                  <a:pt x="169" y="501"/>
                  <a:pt x="168" y="502"/>
                  <a:pt x="168" y="501"/>
                </a:cubicBezTo>
                <a:close/>
                <a:moveTo>
                  <a:pt x="166" y="342"/>
                </a:moveTo>
                <a:cubicBezTo>
                  <a:pt x="166" y="342"/>
                  <a:pt x="166" y="342"/>
                  <a:pt x="166" y="342"/>
                </a:cubicBezTo>
                <a:cubicBezTo>
                  <a:pt x="166" y="342"/>
                  <a:pt x="166" y="343"/>
                  <a:pt x="165" y="343"/>
                </a:cubicBezTo>
                <a:cubicBezTo>
                  <a:pt x="165" y="343"/>
                  <a:pt x="165" y="343"/>
                  <a:pt x="165" y="343"/>
                </a:cubicBezTo>
                <a:cubicBezTo>
                  <a:pt x="165" y="343"/>
                  <a:pt x="166" y="342"/>
                  <a:pt x="166" y="342"/>
                </a:cubicBezTo>
                <a:close/>
                <a:moveTo>
                  <a:pt x="165" y="307"/>
                </a:moveTo>
                <a:cubicBezTo>
                  <a:pt x="163" y="308"/>
                  <a:pt x="167" y="306"/>
                  <a:pt x="165" y="307"/>
                </a:cubicBezTo>
                <a:close/>
                <a:moveTo>
                  <a:pt x="164" y="344"/>
                </a:moveTo>
                <a:cubicBezTo>
                  <a:pt x="163" y="344"/>
                  <a:pt x="166" y="342"/>
                  <a:pt x="164" y="344"/>
                </a:cubicBezTo>
                <a:close/>
                <a:moveTo>
                  <a:pt x="165" y="345"/>
                </a:moveTo>
                <a:cubicBezTo>
                  <a:pt x="164" y="346"/>
                  <a:pt x="164" y="347"/>
                  <a:pt x="162" y="347"/>
                </a:cubicBezTo>
                <a:cubicBezTo>
                  <a:pt x="163" y="347"/>
                  <a:pt x="163" y="346"/>
                  <a:pt x="165" y="345"/>
                </a:cubicBezTo>
                <a:close/>
                <a:moveTo>
                  <a:pt x="161" y="347"/>
                </a:moveTo>
                <a:cubicBezTo>
                  <a:pt x="160" y="348"/>
                  <a:pt x="162" y="346"/>
                  <a:pt x="161" y="347"/>
                </a:cubicBezTo>
                <a:close/>
                <a:moveTo>
                  <a:pt x="160" y="350"/>
                </a:moveTo>
                <a:cubicBezTo>
                  <a:pt x="161" y="348"/>
                  <a:pt x="162" y="349"/>
                  <a:pt x="160" y="350"/>
                </a:cubicBezTo>
                <a:close/>
                <a:moveTo>
                  <a:pt x="168" y="370"/>
                </a:moveTo>
                <a:cubicBezTo>
                  <a:pt x="165" y="373"/>
                  <a:pt x="163" y="376"/>
                  <a:pt x="158" y="378"/>
                </a:cubicBezTo>
                <a:cubicBezTo>
                  <a:pt x="161" y="375"/>
                  <a:pt x="164" y="372"/>
                  <a:pt x="168" y="370"/>
                </a:cubicBezTo>
                <a:close/>
                <a:moveTo>
                  <a:pt x="167" y="392"/>
                </a:moveTo>
                <a:cubicBezTo>
                  <a:pt x="166" y="393"/>
                  <a:pt x="168" y="390"/>
                  <a:pt x="167" y="391"/>
                </a:cubicBezTo>
                <a:cubicBezTo>
                  <a:pt x="167" y="391"/>
                  <a:pt x="167" y="392"/>
                  <a:pt x="167" y="392"/>
                </a:cubicBezTo>
                <a:close/>
                <a:moveTo>
                  <a:pt x="168" y="424"/>
                </a:moveTo>
                <a:cubicBezTo>
                  <a:pt x="168" y="424"/>
                  <a:pt x="167" y="424"/>
                  <a:pt x="167" y="424"/>
                </a:cubicBezTo>
                <a:cubicBezTo>
                  <a:pt x="166" y="423"/>
                  <a:pt x="168" y="423"/>
                  <a:pt x="168" y="424"/>
                </a:cubicBezTo>
                <a:close/>
                <a:moveTo>
                  <a:pt x="161" y="457"/>
                </a:moveTo>
                <a:cubicBezTo>
                  <a:pt x="161" y="458"/>
                  <a:pt x="158" y="461"/>
                  <a:pt x="157" y="460"/>
                </a:cubicBezTo>
                <a:cubicBezTo>
                  <a:pt x="156" y="458"/>
                  <a:pt x="159" y="456"/>
                  <a:pt x="161" y="457"/>
                </a:cubicBezTo>
                <a:close/>
                <a:moveTo>
                  <a:pt x="157" y="477"/>
                </a:move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lose/>
                <a:moveTo>
                  <a:pt x="161" y="502"/>
                </a:moveTo>
                <a:cubicBezTo>
                  <a:pt x="161" y="503"/>
                  <a:pt x="159" y="504"/>
                  <a:pt x="159" y="503"/>
                </a:cubicBezTo>
                <a:cubicBezTo>
                  <a:pt x="159" y="502"/>
                  <a:pt x="160" y="501"/>
                  <a:pt x="161" y="502"/>
                </a:cubicBezTo>
                <a:close/>
                <a:moveTo>
                  <a:pt x="159" y="482"/>
                </a:moveTo>
                <a:cubicBezTo>
                  <a:pt x="158" y="483"/>
                  <a:pt x="160" y="481"/>
                  <a:pt x="159" y="482"/>
                </a:cubicBezTo>
                <a:close/>
                <a:moveTo>
                  <a:pt x="162" y="484"/>
                </a:moveTo>
                <a:cubicBezTo>
                  <a:pt x="163" y="484"/>
                  <a:pt x="162" y="485"/>
                  <a:pt x="161" y="485"/>
                </a:cubicBezTo>
                <a:cubicBezTo>
                  <a:pt x="160" y="486"/>
                  <a:pt x="161" y="483"/>
                  <a:pt x="162" y="484"/>
                </a:cubicBezTo>
                <a:close/>
                <a:moveTo>
                  <a:pt x="161" y="428"/>
                </a:moveTo>
                <a:cubicBezTo>
                  <a:pt x="162" y="429"/>
                  <a:pt x="160" y="432"/>
                  <a:pt x="160" y="432"/>
                </a:cubicBezTo>
                <a:cubicBezTo>
                  <a:pt x="155" y="435"/>
                  <a:pt x="158" y="426"/>
                  <a:pt x="161" y="428"/>
                </a:cubicBezTo>
                <a:close/>
                <a:moveTo>
                  <a:pt x="164" y="506"/>
                </a:moveTo>
                <a:cubicBezTo>
                  <a:pt x="165" y="507"/>
                  <a:pt x="160" y="510"/>
                  <a:pt x="159" y="510"/>
                </a:cubicBezTo>
                <a:cubicBezTo>
                  <a:pt x="154" y="511"/>
                  <a:pt x="163" y="505"/>
                  <a:pt x="164" y="506"/>
                </a:cubicBezTo>
                <a:close/>
                <a:moveTo>
                  <a:pt x="163" y="443"/>
                </a:moveTo>
                <a:cubicBezTo>
                  <a:pt x="163" y="443"/>
                  <a:pt x="163" y="444"/>
                  <a:pt x="162" y="444"/>
                </a:cubicBezTo>
                <a:cubicBezTo>
                  <a:pt x="162" y="443"/>
                  <a:pt x="163" y="443"/>
                  <a:pt x="163" y="443"/>
                </a:cubicBezTo>
                <a:close/>
                <a:moveTo>
                  <a:pt x="159" y="351"/>
                </a:moveTo>
                <a:cubicBezTo>
                  <a:pt x="159" y="351"/>
                  <a:pt x="159" y="350"/>
                  <a:pt x="160" y="350"/>
                </a:cubicBezTo>
                <a:cubicBezTo>
                  <a:pt x="160" y="350"/>
                  <a:pt x="160" y="351"/>
                  <a:pt x="159" y="351"/>
                </a:cubicBezTo>
                <a:close/>
                <a:moveTo>
                  <a:pt x="160" y="259"/>
                </a:moveTo>
                <a:cubicBezTo>
                  <a:pt x="160" y="259"/>
                  <a:pt x="160" y="260"/>
                  <a:pt x="160" y="260"/>
                </a:cubicBezTo>
                <a:cubicBezTo>
                  <a:pt x="159" y="261"/>
                  <a:pt x="158" y="258"/>
                  <a:pt x="160" y="259"/>
                </a:cubicBezTo>
                <a:close/>
                <a:moveTo>
                  <a:pt x="160" y="349"/>
                </a:moveTo>
                <a:cubicBezTo>
                  <a:pt x="159" y="350"/>
                  <a:pt x="159" y="350"/>
                  <a:pt x="158" y="351"/>
                </a:cubicBezTo>
                <a:cubicBezTo>
                  <a:pt x="158" y="350"/>
                  <a:pt x="159" y="349"/>
                  <a:pt x="160" y="349"/>
                </a:cubicBezTo>
                <a:close/>
                <a:moveTo>
                  <a:pt x="159" y="352"/>
                </a:moveTo>
                <a:cubicBezTo>
                  <a:pt x="158" y="352"/>
                  <a:pt x="158" y="353"/>
                  <a:pt x="157" y="353"/>
                </a:cubicBezTo>
                <a:cubicBezTo>
                  <a:pt x="157" y="352"/>
                  <a:pt x="158" y="352"/>
                  <a:pt x="159" y="352"/>
                </a:cubicBezTo>
                <a:close/>
                <a:moveTo>
                  <a:pt x="156" y="354"/>
                </a:moveTo>
                <a:cubicBezTo>
                  <a:pt x="155" y="355"/>
                  <a:pt x="158" y="353"/>
                  <a:pt x="156" y="354"/>
                </a:cubicBezTo>
                <a:close/>
                <a:moveTo>
                  <a:pt x="157" y="415"/>
                </a:moveTo>
                <a:cubicBezTo>
                  <a:pt x="158" y="416"/>
                  <a:pt x="157" y="417"/>
                  <a:pt x="156" y="417"/>
                </a:cubicBezTo>
                <a:cubicBezTo>
                  <a:pt x="156" y="416"/>
                  <a:pt x="157" y="416"/>
                  <a:pt x="157" y="415"/>
                </a:cubicBezTo>
                <a:close/>
                <a:moveTo>
                  <a:pt x="133" y="461"/>
                </a:moveTo>
                <a:cubicBezTo>
                  <a:pt x="137" y="457"/>
                  <a:pt x="142" y="453"/>
                  <a:pt x="148" y="450"/>
                </a:cubicBezTo>
                <a:cubicBezTo>
                  <a:pt x="143" y="454"/>
                  <a:pt x="138" y="457"/>
                  <a:pt x="133" y="461"/>
                </a:cubicBezTo>
                <a:close/>
                <a:moveTo>
                  <a:pt x="138" y="463"/>
                </a:moveTo>
                <a:cubicBezTo>
                  <a:pt x="138" y="464"/>
                  <a:pt x="137" y="464"/>
                  <a:pt x="137" y="463"/>
                </a:cubicBezTo>
                <a:cubicBezTo>
                  <a:pt x="136" y="462"/>
                  <a:pt x="138" y="463"/>
                  <a:pt x="138" y="463"/>
                </a:cubicBezTo>
                <a:close/>
                <a:moveTo>
                  <a:pt x="147" y="446"/>
                </a:moveTo>
                <a:cubicBezTo>
                  <a:pt x="146" y="446"/>
                  <a:pt x="145" y="447"/>
                  <a:pt x="145" y="447"/>
                </a:cubicBezTo>
                <a:cubicBezTo>
                  <a:pt x="144" y="446"/>
                  <a:pt x="152" y="439"/>
                  <a:pt x="153" y="440"/>
                </a:cubicBezTo>
                <a:cubicBezTo>
                  <a:pt x="154" y="440"/>
                  <a:pt x="147" y="446"/>
                  <a:pt x="147" y="446"/>
                </a:cubicBezTo>
                <a:close/>
                <a:moveTo>
                  <a:pt x="148" y="401"/>
                </a:moveTo>
                <a:cubicBezTo>
                  <a:pt x="151" y="399"/>
                  <a:pt x="146" y="402"/>
                  <a:pt x="148" y="401"/>
                </a:cubicBezTo>
                <a:close/>
                <a:moveTo>
                  <a:pt x="150" y="439"/>
                </a:moveTo>
                <a:cubicBezTo>
                  <a:pt x="150" y="440"/>
                  <a:pt x="149" y="440"/>
                  <a:pt x="148" y="440"/>
                </a:cubicBezTo>
                <a:cubicBezTo>
                  <a:pt x="148" y="439"/>
                  <a:pt x="149" y="439"/>
                  <a:pt x="150" y="439"/>
                </a:cubicBezTo>
                <a:close/>
                <a:moveTo>
                  <a:pt x="151" y="379"/>
                </a:moveTo>
                <a:cubicBezTo>
                  <a:pt x="150" y="380"/>
                  <a:pt x="151" y="378"/>
                  <a:pt x="151" y="379"/>
                </a:cubicBezTo>
                <a:close/>
                <a:moveTo>
                  <a:pt x="153" y="447"/>
                </a:moveTo>
                <a:cubicBezTo>
                  <a:pt x="153" y="449"/>
                  <a:pt x="150" y="449"/>
                  <a:pt x="149" y="450"/>
                </a:cubicBezTo>
                <a:cubicBezTo>
                  <a:pt x="149" y="449"/>
                  <a:pt x="152" y="448"/>
                  <a:pt x="153" y="447"/>
                </a:cubicBezTo>
                <a:close/>
                <a:moveTo>
                  <a:pt x="156" y="472"/>
                </a:moveTo>
                <a:cubicBezTo>
                  <a:pt x="155" y="473"/>
                  <a:pt x="152" y="475"/>
                  <a:pt x="151" y="475"/>
                </a:cubicBezTo>
                <a:cubicBezTo>
                  <a:pt x="151" y="475"/>
                  <a:pt x="154" y="471"/>
                  <a:pt x="156" y="472"/>
                </a:cubicBezTo>
                <a:close/>
                <a:moveTo>
                  <a:pt x="156" y="435"/>
                </a:moveTo>
                <a:cubicBezTo>
                  <a:pt x="156" y="435"/>
                  <a:pt x="156" y="435"/>
                  <a:pt x="157" y="435"/>
                </a:cubicBezTo>
                <a:cubicBezTo>
                  <a:pt x="156" y="435"/>
                  <a:pt x="156" y="435"/>
                  <a:pt x="156" y="435"/>
                </a:cubicBezTo>
                <a:cubicBezTo>
                  <a:pt x="156" y="435"/>
                  <a:pt x="156" y="435"/>
                  <a:pt x="156" y="435"/>
                </a:cubicBezTo>
                <a:close/>
                <a:moveTo>
                  <a:pt x="155" y="447"/>
                </a:moveTo>
                <a:cubicBezTo>
                  <a:pt x="155" y="447"/>
                  <a:pt x="154" y="448"/>
                  <a:pt x="154" y="447"/>
                </a:cubicBezTo>
                <a:cubicBezTo>
                  <a:pt x="153" y="446"/>
                  <a:pt x="156" y="445"/>
                  <a:pt x="155" y="447"/>
                </a:cubicBezTo>
                <a:close/>
                <a:moveTo>
                  <a:pt x="155" y="434"/>
                </a:moveTo>
                <a:cubicBezTo>
                  <a:pt x="155" y="434"/>
                  <a:pt x="154" y="435"/>
                  <a:pt x="154" y="435"/>
                </a:cubicBezTo>
                <a:cubicBezTo>
                  <a:pt x="152" y="437"/>
                  <a:pt x="153" y="432"/>
                  <a:pt x="155" y="434"/>
                </a:cubicBezTo>
                <a:close/>
                <a:moveTo>
                  <a:pt x="152" y="391"/>
                </a:moveTo>
                <a:cubicBezTo>
                  <a:pt x="153" y="391"/>
                  <a:pt x="152" y="392"/>
                  <a:pt x="152" y="392"/>
                </a:cubicBezTo>
                <a:cubicBezTo>
                  <a:pt x="151" y="393"/>
                  <a:pt x="151" y="390"/>
                  <a:pt x="152" y="391"/>
                </a:cubicBezTo>
                <a:close/>
                <a:moveTo>
                  <a:pt x="151" y="438"/>
                </a:moveTo>
                <a:cubicBezTo>
                  <a:pt x="152" y="436"/>
                  <a:pt x="154" y="438"/>
                  <a:pt x="151" y="438"/>
                </a:cubicBezTo>
                <a:close/>
                <a:moveTo>
                  <a:pt x="151" y="253"/>
                </a:moveTo>
                <a:cubicBezTo>
                  <a:pt x="151" y="253"/>
                  <a:pt x="151" y="254"/>
                  <a:pt x="150" y="254"/>
                </a:cubicBezTo>
                <a:cubicBezTo>
                  <a:pt x="150" y="253"/>
                  <a:pt x="151" y="252"/>
                  <a:pt x="151" y="253"/>
                </a:cubicBezTo>
                <a:close/>
                <a:moveTo>
                  <a:pt x="150" y="436"/>
                </a:moveTo>
                <a:cubicBezTo>
                  <a:pt x="151" y="436"/>
                  <a:pt x="150" y="437"/>
                  <a:pt x="150" y="437"/>
                </a:cubicBezTo>
                <a:cubicBezTo>
                  <a:pt x="149" y="439"/>
                  <a:pt x="149" y="435"/>
                  <a:pt x="150" y="436"/>
                </a:cubicBezTo>
                <a:close/>
                <a:moveTo>
                  <a:pt x="149" y="322"/>
                </a:moveTo>
                <a:cubicBezTo>
                  <a:pt x="149" y="323"/>
                  <a:pt x="148" y="322"/>
                  <a:pt x="149" y="322"/>
                </a:cubicBezTo>
                <a:close/>
                <a:moveTo>
                  <a:pt x="149" y="365"/>
                </a:moveTo>
                <a:cubicBezTo>
                  <a:pt x="149" y="366"/>
                  <a:pt x="147" y="366"/>
                  <a:pt x="148" y="365"/>
                </a:cubicBezTo>
                <a:cubicBezTo>
                  <a:pt x="148" y="365"/>
                  <a:pt x="149" y="365"/>
                  <a:pt x="149" y="365"/>
                </a:cubicBezTo>
                <a:close/>
                <a:moveTo>
                  <a:pt x="147" y="197"/>
                </a:moveTo>
                <a:cubicBezTo>
                  <a:pt x="146" y="198"/>
                  <a:pt x="146" y="198"/>
                  <a:pt x="145" y="197"/>
                </a:cubicBezTo>
                <a:cubicBezTo>
                  <a:pt x="142" y="194"/>
                  <a:pt x="150" y="194"/>
                  <a:pt x="147" y="197"/>
                </a:cubicBezTo>
                <a:close/>
                <a:moveTo>
                  <a:pt x="145" y="359"/>
                </a:moveTo>
                <a:cubicBezTo>
                  <a:pt x="147" y="359"/>
                  <a:pt x="145" y="362"/>
                  <a:pt x="145" y="362"/>
                </a:cubicBezTo>
                <a:cubicBezTo>
                  <a:pt x="143" y="363"/>
                  <a:pt x="143" y="358"/>
                  <a:pt x="145" y="359"/>
                </a:cubicBezTo>
                <a:close/>
                <a:moveTo>
                  <a:pt x="145" y="402"/>
                </a:moveTo>
                <a:cubicBezTo>
                  <a:pt x="145" y="404"/>
                  <a:pt x="144" y="404"/>
                  <a:pt x="143" y="405"/>
                </a:cubicBezTo>
                <a:cubicBezTo>
                  <a:pt x="143" y="404"/>
                  <a:pt x="144" y="403"/>
                  <a:pt x="145" y="402"/>
                </a:cubicBezTo>
                <a:close/>
                <a:moveTo>
                  <a:pt x="132" y="456"/>
                </a:moveTo>
                <a:cubicBezTo>
                  <a:pt x="134" y="453"/>
                  <a:pt x="139" y="450"/>
                  <a:pt x="143" y="448"/>
                </a:cubicBezTo>
                <a:cubicBezTo>
                  <a:pt x="139" y="451"/>
                  <a:pt x="137" y="455"/>
                  <a:pt x="132" y="456"/>
                </a:cubicBezTo>
                <a:close/>
                <a:moveTo>
                  <a:pt x="131" y="395"/>
                </a:moveTo>
                <a:cubicBezTo>
                  <a:pt x="132" y="394"/>
                  <a:pt x="132" y="393"/>
                  <a:pt x="134" y="393"/>
                </a:cubicBezTo>
                <a:cubicBezTo>
                  <a:pt x="134" y="393"/>
                  <a:pt x="132" y="395"/>
                  <a:pt x="131" y="395"/>
                </a:cubicBezTo>
                <a:close/>
                <a:moveTo>
                  <a:pt x="134" y="448"/>
                </a:moveTo>
                <a:cubicBezTo>
                  <a:pt x="134" y="448"/>
                  <a:pt x="133" y="449"/>
                  <a:pt x="133" y="448"/>
                </a:cubicBezTo>
                <a:cubicBezTo>
                  <a:pt x="132" y="447"/>
                  <a:pt x="135" y="447"/>
                  <a:pt x="134" y="448"/>
                </a:cubicBezTo>
                <a:close/>
                <a:moveTo>
                  <a:pt x="132" y="422"/>
                </a:moveTo>
                <a:cubicBezTo>
                  <a:pt x="131" y="421"/>
                  <a:pt x="131" y="420"/>
                  <a:pt x="132" y="420"/>
                </a:cubicBezTo>
                <a:cubicBezTo>
                  <a:pt x="133" y="420"/>
                  <a:pt x="134" y="421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5" y="424"/>
                  <a:pt x="130" y="426"/>
                  <a:pt x="130" y="423"/>
                </a:cubicBezTo>
                <a:cubicBezTo>
                  <a:pt x="130" y="422"/>
                  <a:pt x="131" y="422"/>
                  <a:pt x="132" y="422"/>
                </a:cubicBezTo>
                <a:close/>
                <a:moveTo>
                  <a:pt x="138" y="416"/>
                </a:moveTo>
                <a:cubicBezTo>
                  <a:pt x="137" y="417"/>
                  <a:pt x="139" y="415"/>
                  <a:pt x="138" y="416"/>
                </a:cubicBezTo>
                <a:close/>
                <a:moveTo>
                  <a:pt x="139" y="433"/>
                </a:moveTo>
                <a:cubicBezTo>
                  <a:pt x="139" y="432"/>
                  <a:pt x="139" y="432"/>
                  <a:pt x="139" y="432"/>
                </a:cubicBezTo>
                <a:cubicBezTo>
                  <a:pt x="139" y="430"/>
                  <a:pt x="141" y="433"/>
                  <a:pt x="139" y="433"/>
                </a:cubicBezTo>
                <a:close/>
                <a:moveTo>
                  <a:pt x="140" y="443"/>
                </a:moveTo>
                <a:cubicBezTo>
                  <a:pt x="140" y="443"/>
                  <a:pt x="141" y="443"/>
                  <a:pt x="141" y="444"/>
                </a:cubicBezTo>
                <a:cubicBezTo>
                  <a:pt x="141" y="444"/>
                  <a:pt x="140" y="444"/>
                  <a:pt x="140" y="443"/>
                </a:cubicBezTo>
                <a:close/>
                <a:moveTo>
                  <a:pt x="142" y="387"/>
                </a:moveTo>
                <a:cubicBezTo>
                  <a:pt x="141" y="387"/>
                  <a:pt x="144" y="386"/>
                  <a:pt x="142" y="387"/>
                </a:cubicBezTo>
                <a:close/>
                <a:moveTo>
                  <a:pt x="142" y="436"/>
                </a:moveTo>
                <a:cubicBezTo>
                  <a:pt x="143" y="436"/>
                  <a:pt x="142" y="439"/>
                  <a:pt x="141" y="437"/>
                </a:cubicBezTo>
                <a:cubicBezTo>
                  <a:pt x="141" y="436"/>
                  <a:pt x="142" y="436"/>
                  <a:pt x="142" y="436"/>
                </a:cubicBezTo>
                <a:close/>
                <a:moveTo>
                  <a:pt x="142" y="387"/>
                </a:moveTo>
                <a:cubicBezTo>
                  <a:pt x="141" y="389"/>
                  <a:pt x="139" y="391"/>
                  <a:pt x="137" y="392"/>
                </a:cubicBezTo>
                <a:cubicBezTo>
                  <a:pt x="137" y="392"/>
                  <a:pt x="139" y="388"/>
                  <a:pt x="142" y="387"/>
                </a:cubicBezTo>
                <a:close/>
                <a:moveTo>
                  <a:pt x="136" y="246"/>
                </a:moveTo>
                <a:cubicBezTo>
                  <a:pt x="135" y="246"/>
                  <a:pt x="137" y="245"/>
                  <a:pt x="136" y="246"/>
                </a:cubicBezTo>
                <a:close/>
                <a:moveTo>
                  <a:pt x="134" y="301"/>
                </a:moveTo>
                <a:cubicBezTo>
                  <a:pt x="134" y="298"/>
                  <a:pt x="136" y="300"/>
                  <a:pt x="134" y="301"/>
                </a:cubicBezTo>
                <a:close/>
                <a:moveTo>
                  <a:pt x="135" y="342"/>
                </a:moveTo>
                <a:cubicBezTo>
                  <a:pt x="135" y="343"/>
                  <a:pt x="134" y="344"/>
                  <a:pt x="134" y="345"/>
                </a:cubicBezTo>
                <a:cubicBezTo>
                  <a:pt x="133" y="344"/>
                  <a:pt x="134" y="342"/>
                  <a:pt x="135" y="342"/>
                </a:cubicBezTo>
                <a:close/>
                <a:moveTo>
                  <a:pt x="129" y="351"/>
                </a:moveTo>
                <a:cubicBezTo>
                  <a:pt x="129" y="350"/>
                  <a:pt x="132" y="348"/>
                  <a:pt x="132" y="346"/>
                </a:cubicBezTo>
                <a:cubicBezTo>
                  <a:pt x="133" y="347"/>
                  <a:pt x="130" y="349"/>
                  <a:pt x="129" y="351"/>
                </a:cubicBezTo>
                <a:close/>
                <a:moveTo>
                  <a:pt x="132" y="280"/>
                </a:moveTo>
                <a:cubicBezTo>
                  <a:pt x="132" y="282"/>
                  <a:pt x="130" y="281"/>
                  <a:pt x="132" y="280"/>
                </a:cubicBezTo>
                <a:close/>
                <a:moveTo>
                  <a:pt x="129" y="305"/>
                </a:moveTo>
                <a:cubicBezTo>
                  <a:pt x="131" y="306"/>
                  <a:pt x="130" y="307"/>
                  <a:pt x="129" y="307"/>
                </a:cubicBezTo>
                <a:cubicBezTo>
                  <a:pt x="127" y="309"/>
                  <a:pt x="128" y="305"/>
                  <a:pt x="129" y="305"/>
                </a:cubicBezTo>
                <a:close/>
                <a:moveTo>
                  <a:pt x="118" y="327"/>
                </a:moveTo>
                <a:cubicBezTo>
                  <a:pt x="118" y="327"/>
                  <a:pt x="117" y="327"/>
                  <a:pt x="117" y="326"/>
                </a:cubicBezTo>
                <a:cubicBezTo>
                  <a:pt x="117" y="326"/>
                  <a:pt x="119" y="326"/>
                  <a:pt x="118" y="327"/>
                </a:cubicBezTo>
                <a:close/>
                <a:moveTo>
                  <a:pt x="118" y="336"/>
                </a:moveTo>
                <a:cubicBezTo>
                  <a:pt x="118" y="336"/>
                  <a:pt x="118" y="337"/>
                  <a:pt x="117" y="336"/>
                </a:cubicBezTo>
                <a:cubicBezTo>
                  <a:pt x="117" y="336"/>
                  <a:pt x="119" y="334"/>
                  <a:pt x="118" y="336"/>
                </a:cubicBezTo>
                <a:close/>
                <a:moveTo>
                  <a:pt x="115" y="336"/>
                </a:moveTo>
                <a:cubicBezTo>
                  <a:pt x="116" y="335"/>
                  <a:pt x="114" y="337"/>
                  <a:pt x="115" y="336"/>
                </a:cubicBezTo>
                <a:close/>
                <a:moveTo>
                  <a:pt x="115" y="386"/>
                </a:moveTo>
                <a:cubicBezTo>
                  <a:pt x="116" y="387"/>
                  <a:pt x="115" y="387"/>
                  <a:pt x="114" y="387"/>
                </a:cubicBezTo>
                <a:cubicBezTo>
                  <a:pt x="114" y="388"/>
                  <a:pt x="115" y="386"/>
                  <a:pt x="115" y="386"/>
                </a:cubicBezTo>
                <a:close/>
                <a:moveTo>
                  <a:pt x="114" y="388"/>
                </a:moveTo>
                <a:cubicBezTo>
                  <a:pt x="114" y="389"/>
                  <a:pt x="113" y="389"/>
                  <a:pt x="113" y="390"/>
                </a:cubicBezTo>
                <a:cubicBezTo>
                  <a:pt x="112" y="390"/>
                  <a:pt x="113" y="388"/>
                  <a:pt x="114" y="388"/>
                </a:cubicBezTo>
                <a:close/>
                <a:moveTo>
                  <a:pt x="111" y="394"/>
                </a:moveTo>
                <a:cubicBezTo>
                  <a:pt x="110" y="393"/>
                  <a:pt x="112" y="392"/>
                  <a:pt x="112" y="391"/>
                </a:cubicBezTo>
                <a:cubicBezTo>
                  <a:pt x="113" y="392"/>
                  <a:pt x="111" y="393"/>
                  <a:pt x="111" y="394"/>
                </a:cubicBezTo>
                <a:close/>
                <a:moveTo>
                  <a:pt x="112" y="243"/>
                </a:moveTo>
                <a:cubicBezTo>
                  <a:pt x="111" y="245"/>
                  <a:pt x="111" y="241"/>
                  <a:pt x="112" y="242"/>
                </a:cubicBezTo>
                <a:cubicBezTo>
                  <a:pt x="113" y="242"/>
                  <a:pt x="112" y="243"/>
                  <a:pt x="112" y="243"/>
                </a:cubicBezTo>
                <a:close/>
                <a:moveTo>
                  <a:pt x="115" y="433"/>
                </a:moveTo>
                <a:cubicBezTo>
                  <a:pt x="111" y="434"/>
                  <a:pt x="116" y="429"/>
                  <a:pt x="116" y="432"/>
                </a:cubicBezTo>
                <a:cubicBezTo>
                  <a:pt x="116" y="432"/>
                  <a:pt x="115" y="433"/>
                  <a:pt x="115" y="433"/>
                </a:cubicBezTo>
                <a:close/>
                <a:moveTo>
                  <a:pt x="116" y="435"/>
                </a:moveTo>
                <a:cubicBezTo>
                  <a:pt x="115" y="436"/>
                  <a:pt x="117" y="434"/>
                  <a:pt x="116" y="435"/>
                </a:cubicBezTo>
                <a:close/>
                <a:moveTo>
                  <a:pt x="113" y="417"/>
                </a:moveTo>
                <a:cubicBezTo>
                  <a:pt x="115" y="413"/>
                  <a:pt x="118" y="409"/>
                  <a:pt x="121" y="406"/>
                </a:cubicBezTo>
                <a:cubicBezTo>
                  <a:pt x="119" y="410"/>
                  <a:pt x="117" y="414"/>
                  <a:pt x="113" y="417"/>
                </a:cubicBezTo>
                <a:close/>
                <a:moveTo>
                  <a:pt x="121" y="276"/>
                </a:moveTo>
                <a:cubicBezTo>
                  <a:pt x="121" y="276"/>
                  <a:pt x="121" y="277"/>
                  <a:pt x="121" y="277"/>
                </a:cubicBezTo>
                <a:cubicBezTo>
                  <a:pt x="120" y="276"/>
                  <a:pt x="122" y="275"/>
                  <a:pt x="121" y="276"/>
                </a:cubicBezTo>
                <a:close/>
                <a:moveTo>
                  <a:pt x="122" y="193"/>
                </a:moveTo>
                <a:cubicBezTo>
                  <a:pt x="123" y="193"/>
                  <a:pt x="123" y="195"/>
                  <a:pt x="122" y="195"/>
                </a:cubicBezTo>
                <a:cubicBezTo>
                  <a:pt x="121" y="197"/>
                  <a:pt x="121" y="192"/>
                  <a:pt x="122" y="193"/>
                </a:cubicBezTo>
                <a:close/>
                <a:moveTo>
                  <a:pt x="122" y="472"/>
                </a:moveTo>
                <a:cubicBezTo>
                  <a:pt x="122" y="473"/>
                  <a:pt x="121" y="474"/>
                  <a:pt x="120" y="475"/>
                </a:cubicBezTo>
                <a:cubicBezTo>
                  <a:pt x="120" y="474"/>
                  <a:pt x="121" y="472"/>
                  <a:pt x="122" y="472"/>
                </a:cubicBezTo>
                <a:close/>
                <a:moveTo>
                  <a:pt x="120" y="461"/>
                </a:moveTo>
                <a:cubicBezTo>
                  <a:pt x="121" y="463"/>
                  <a:pt x="118" y="467"/>
                  <a:pt x="116" y="466"/>
                </a:cubicBezTo>
                <a:cubicBezTo>
                  <a:pt x="115" y="464"/>
                  <a:pt x="119" y="462"/>
                  <a:pt x="120" y="461"/>
                </a:cubicBezTo>
                <a:close/>
                <a:moveTo>
                  <a:pt x="111" y="479"/>
                </a:moveTo>
                <a:cubicBezTo>
                  <a:pt x="110" y="481"/>
                  <a:pt x="109" y="480"/>
                  <a:pt x="111" y="479"/>
                </a:cubicBezTo>
                <a:close/>
                <a:moveTo>
                  <a:pt x="110" y="496"/>
                </a:moveTo>
                <a:cubicBezTo>
                  <a:pt x="111" y="495"/>
                  <a:pt x="109" y="497"/>
                  <a:pt x="110" y="496"/>
                </a:cubicBezTo>
                <a:close/>
                <a:moveTo>
                  <a:pt x="107" y="477"/>
                </a:moveTo>
                <a:cubicBezTo>
                  <a:pt x="107" y="476"/>
                  <a:pt x="106" y="478"/>
                  <a:pt x="107" y="477"/>
                </a:cubicBezTo>
                <a:close/>
                <a:moveTo>
                  <a:pt x="109" y="509"/>
                </a:moveTo>
                <a:cubicBezTo>
                  <a:pt x="108" y="510"/>
                  <a:pt x="107" y="509"/>
                  <a:pt x="106" y="508"/>
                </a:cubicBezTo>
                <a:cubicBezTo>
                  <a:pt x="104" y="505"/>
                  <a:pt x="110" y="501"/>
                  <a:pt x="111" y="503"/>
                </a:cubicBezTo>
                <a:cubicBezTo>
                  <a:pt x="114" y="504"/>
                  <a:pt x="111" y="509"/>
                  <a:pt x="109" y="509"/>
                </a:cubicBezTo>
                <a:close/>
                <a:moveTo>
                  <a:pt x="115" y="501"/>
                </a:moveTo>
                <a:cubicBezTo>
                  <a:pt x="115" y="499"/>
                  <a:pt x="117" y="501"/>
                  <a:pt x="115" y="501"/>
                </a:cubicBezTo>
                <a:close/>
                <a:moveTo>
                  <a:pt x="115" y="498"/>
                </a:moveTo>
                <a:cubicBezTo>
                  <a:pt x="115" y="498"/>
                  <a:pt x="115" y="498"/>
                  <a:pt x="115" y="498"/>
                </a:cubicBezTo>
                <a:cubicBezTo>
                  <a:pt x="115" y="499"/>
                  <a:pt x="115" y="499"/>
                  <a:pt x="115" y="499"/>
                </a:cubicBezTo>
                <a:cubicBezTo>
                  <a:pt x="114" y="500"/>
                  <a:pt x="114" y="500"/>
                  <a:pt x="114" y="501"/>
                </a:cubicBezTo>
                <a:cubicBezTo>
                  <a:pt x="114" y="501"/>
                  <a:pt x="114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1"/>
                  <a:pt x="113" y="501"/>
                </a:cubicBezTo>
                <a:cubicBezTo>
                  <a:pt x="114" y="499"/>
                  <a:pt x="115" y="496"/>
                  <a:pt x="116" y="494"/>
                </a:cubicBezTo>
                <a:cubicBezTo>
                  <a:pt x="116" y="495"/>
                  <a:pt x="116" y="497"/>
                  <a:pt x="115" y="498"/>
                </a:cubicBezTo>
                <a:close/>
                <a:moveTo>
                  <a:pt x="115" y="482"/>
                </a:moveTo>
                <a:cubicBezTo>
                  <a:pt x="116" y="481"/>
                  <a:pt x="118" y="481"/>
                  <a:pt x="120" y="480"/>
                </a:cubicBezTo>
                <a:cubicBezTo>
                  <a:pt x="119" y="482"/>
                  <a:pt x="117" y="482"/>
                  <a:pt x="115" y="482"/>
                </a:cubicBezTo>
                <a:close/>
                <a:moveTo>
                  <a:pt x="121" y="500"/>
                </a:moveTo>
                <a:cubicBezTo>
                  <a:pt x="122" y="501"/>
                  <a:pt x="121" y="503"/>
                  <a:pt x="119" y="503"/>
                </a:cubicBezTo>
                <a:cubicBezTo>
                  <a:pt x="117" y="502"/>
                  <a:pt x="119" y="499"/>
                  <a:pt x="121" y="500"/>
                </a:cubicBezTo>
                <a:cubicBezTo>
                  <a:pt x="119" y="498"/>
                  <a:pt x="121" y="493"/>
                  <a:pt x="124" y="494"/>
                </a:cubicBezTo>
                <a:cubicBezTo>
                  <a:pt x="128" y="495"/>
                  <a:pt x="124" y="503"/>
                  <a:pt x="121" y="500"/>
                </a:cubicBezTo>
                <a:close/>
                <a:moveTo>
                  <a:pt x="123" y="425"/>
                </a:moveTo>
                <a:cubicBezTo>
                  <a:pt x="123" y="425"/>
                  <a:pt x="123" y="424"/>
                  <a:pt x="124" y="424"/>
                </a:cubicBezTo>
                <a:cubicBezTo>
                  <a:pt x="124" y="424"/>
                  <a:pt x="123" y="425"/>
                  <a:pt x="123" y="425"/>
                </a:cubicBezTo>
                <a:close/>
                <a:moveTo>
                  <a:pt x="123" y="474"/>
                </a:moveTo>
                <a:cubicBezTo>
                  <a:pt x="123" y="472"/>
                  <a:pt x="125" y="474"/>
                  <a:pt x="123" y="474"/>
                </a:cubicBezTo>
                <a:close/>
                <a:moveTo>
                  <a:pt x="123" y="471"/>
                </a:moveTo>
                <a:cubicBezTo>
                  <a:pt x="125" y="469"/>
                  <a:pt x="122" y="472"/>
                  <a:pt x="123" y="471"/>
                </a:cubicBezTo>
                <a:close/>
                <a:moveTo>
                  <a:pt x="126" y="472"/>
                </a:moveTo>
                <a:cubicBezTo>
                  <a:pt x="126" y="472"/>
                  <a:pt x="126" y="472"/>
                  <a:pt x="126" y="472"/>
                </a:cubicBezTo>
                <a:cubicBezTo>
                  <a:pt x="125" y="472"/>
                  <a:pt x="125" y="473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lose/>
                <a:moveTo>
                  <a:pt x="127" y="431"/>
                </a:moveTo>
                <a:cubicBezTo>
                  <a:pt x="127" y="431"/>
                  <a:pt x="128" y="431"/>
                  <a:pt x="127" y="432"/>
                </a:cubicBezTo>
                <a:cubicBezTo>
                  <a:pt x="127" y="433"/>
                  <a:pt x="126" y="431"/>
                  <a:pt x="127" y="431"/>
                </a:cubicBezTo>
                <a:close/>
                <a:moveTo>
                  <a:pt x="127" y="501"/>
                </a:moveTo>
                <a:cubicBezTo>
                  <a:pt x="127" y="500"/>
                  <a:pt x="127" y="500"/>
                  <a:pt x="127" y="500"/>
                </a:cubicBezTo>
                <a:cubicBezTo>
                  <a:pt x="127" y="498"/>
                  <a:pt x="129" y="501"/>
                  <a:pt x="127" y="501"/>
                </a:cubicBezTo>
                <a:close/>
                <a:moveTo>
                  <a:pt x="128" y="501"/>
                </a:moveTo>
                <a:cubicBezTo>
                  <a:pt x="127" y="502"/>
                  <a:pt x="128" y="499"/>
                  <a:pt x="129" y="500"/>
                </a:cubicBezTo>
                <a:cubicBezTo>
                  <a:pt x="130" y="501"/>
                  <a:pt x="129" y="501"/>
                  <a:pt x="128" y="501"/>
                </a:cubicBezTo>
                <a:close/>
                <a:moveTo>
                  <a:pt x="128" y="456"/>
                </a:moveTo>
                <a:cubicBezTo>
                  <a:pt x="129" y="455"/>
                  <a:pt x="127" y="457"/>
                  <a:pt x="128" y="456"/>
                </a:cubicBezTo>
                <a:close/>
                <a:moveTo>
                  <a:pt x="125" y="401"/>
                </a:moveTo>
                <a:cubicBezTo>
                  <a:pt x="125" y="401"/>
                  <a:pt x="122" y="406"/>
                  <a:pt x="123" y="403"/>
                </a:cubicBezTo>
                <a:cubicBezTo>
                  <a:pt x="123" y="401"/>
                  <a:pt x="128" y="398"/>
                  <a:pt x="130" y="396"/>
                </a:cubicBezTo>
                <a:cubicBezTo>
                  <a:pt x="129" y="398"/>
                  <a:pt x="127" y="399"/>
                  <a:pt x="125" y="401"/>
                </a:cubicBezTo>
                <a:close/>
                <a:moveTo>
                  <a:pt x="131" y="424"/>
                </a:moveTo>
                <a:cubicBezTo>
                  <a:pt x="131" y="424"/>
                  <a:pt x="131" y="425"/>
                  <a:pt x="130" y="426"/>
                </a:cubicBezTo>
                <a:cubicBezTo>
                  <a:pt x="130" y="426"/>
                  <a:pt x="130" y="424"/>
                  <a:pt x="131" y="424"/>
                </a:cubicBezTo>
                <a:close/>
                <a:moveTo>
                  <a:pt x="131" y="503"/>
                </a:moveTo>
                <a:cubicBezTo>
                  <a:pt x="129" y="502"/>
                  <a:pt x="134" y="500"/>
                  <a:pt x="132" y="503"/>
                </a:cubicBezTo>
                <a:cubicBezTo>
                  <a:pt x="132" y="503"/>
                  <a:pt x="131" y="504"/>
                  <a:pt x="131" y="503"/>
                </a:cubicBezTo>
                <a:close/>
                <a:moveTo>
                  <a:pt x="132" y="505"/>
                </a:moveTo>
                <a:cubicBezTo>
                  <a:pt x="132" y="506"/>
                  <a:pt x="133" y="504"/>
                  <a:pt x="132" y="505"/>
                </a:cubicBezTo>
                <a:close/>
                <a:moveTo>
                  <a:pt x="132" y="478"/>
                </a:moveTo>
                <a:cubicBezTo>
                  <a:pt x="130" y="480"/>
                  <a:pt x="130" y="474"/>
                  <a:pt x="132" y="475"/>
                </a:cubicBezTo>
                <a:cubicBezTo>
                  <a:pt x="134" y="476"/>
                  <a:pt x="133" y="478"/>
                  <a:pt x="132" y="478"/>
                </a:cubicBezTo>
                <a:close/>
                <a:moveTo>
                  <a:pt x="138" y="496"/>
                </a:moveTo>
                <a:cubicBezTo>
                  <a:pt x="136" y="498"/>
                  <a:pt x="135" y="493"/>
                  <a:pt x="137" y="494"/>
                </a:cubicBezTo>
                <a:cubicBezTo>
                  <a:pt x="138" y="494"/>
                  <a:pt x="138" y="496"/>
                  <a:pt x="138" y="496"/>
                </a:cubicBezTo>
                <a:close/>
                <a:moveTo>
                  <a:pt x="140" y="501"/>
                </a:moveTo>
                <a:cubicBezTo>
                  <a:pt x="141" y="500"/>
                  <a:pt x="141" y="502"/>
                  <a:pt x="140" y="501"/>
                </a:cubicBezTo>
                <a:close/>
                <a:moveTo>
                  <a:pt x="139" y="469"/>
                </a:moveTo>
                <a:cubicBezTo>
                  <a:pt x="138" y="471"/>
                  <a:pt x="136" y="474"/>
                  <a:pt x="135" y="475"/>
                </a:cubicBezTo>
                <a:cubicBezTo>
                  <a:pt x="130" y="476"/>
                  <a:pt x="139" y="468"/>
                  <a:pt x="141" y="467"/>
                </a:cubicBezTo>
                <a:cubicBezTo>
                  <a:pt x="138" y="469"/>
                  <a:pt x="141" y="465"/>
                  <a:pt x="142" y="466"/>
                </a:cubicBezTo>
                <a:cubicBezTo>
                  <a:pt x="143" y="467"/>
                  <a:pt x="140" y="469"/>
                  <a:pt x="139" y="469"/>
                </a:cubicBezTo>
                <a:close/>
                <a:moveTo>
                  <a:pt x="143" y="510"/>
                </a:moveTo>
                <a:cubicBezTo>
                  <a:pt x="142" y="510"/>
                  <a:pt x="142" y="511"/>
                  <a:pt x="142" y="511"/>
                </a:cubicBezTo>
                <a:cubicBezTo>
                  <a:pt x="143" y="510"/>
                  <a:pt x="143" y="509"/>
                  <a:pt x="143" y="510"/>
                </a:cubicBezTo>
                <a:close/>
                <a:moveTo>
                  <a:pt x="143" y="484"/>
                </a:moveTo>
                <a:cubicBezTo>
                  <a:pt x="143" y="484"/>
                  <a:pt x="144" y="483"/>
                  <a:pt x="144" y="483"/>
                </a:cubicBezTo>
                <a:cubicBezTo>
                  <a:pt x="144" y="483"/>
                  <a:pt x="144" y="484"/>
                  <a:pt x="143" y="484"/>
                </a:cubicBezTo>
                <a:close/>
                <a:moveTo>
                  <a:pt x="144" y="494"/>
                </a:moveTo>
                <a:cubicBezTo>
                  <a:pt x="144" y="493"/>
                  <a:pt x="147" y="493"/>
                  <a:pt x="147" y="494"/>
                </a:cubicBezTo>
                <a:cubicBezTo>
                  <a:pt x="147" y="495"/>
                  <a:pt x="144" y="497"/>
                  <a:pt x="144" y="494"/>
                </a:cubicBezTo>
                <a:close/>
                <a:moveTo>
                  <a:pt x="145" y="517"/>
                </a:moveTo>
                <a:cubicBezTo>
                  <a:pt x="144" y="515"/>
                  <a:pt x="148" y="516"/>
                  <a:pt x="148" y="517"/>
                </a:cubicBezTo>
                <a:cubicBezTo>
                  <a:pt x="147" y="518"/>
                  <a:pt x="145" y="519"/>
                  <a:pt x="145" y="517"/>
                </a:cubicBezTo>
                <a:close/>
                <a:moveTo>
                  <a:pt x="142" y="481"/>
                </a:moveTo>
                <a:cubicBezTo>
                  <a:pt x="144" y="479"/>
                  <a:pt x="146" y="477"/>
                  <a:pt x="149" y="476"/>
                </a:cubicBezTo>
                <a:cubicBezTo>
                  <a:pt x="147" y="478"/>
                  <a:pt x="145" y="480"/>
                  <a:pt x="142" y="481"/>
                </a:cubicBezTo>
                <a:close/>
                <a:moveTo>
                  <a:pt x="149" y="515"/>
                </a:moveTo>
                <a:cubicBezTo>
                  <a:pt x="149" y="515"/>
                  <a:pt x="147" y="515"/>
                  <a:pt x="148" y="514"/>
                </a:cubicBezTo>
                <a:cubicBezTo>
                  <a:pt x="148" y="514"/>
                  <a:pt x="150" y="515"/>
                  <a:pt x="149" y="515"/>
                </a:cubicBezTo>
                <a:close/>
                <a:moveTo>
                  <a:pt x="150" y="472"/>
                </a:moveTo>
                <a:cubicBezTo>
                  <a:pt x="149" y="472"/>
                  <a:pt x="150" y="470"/>
                  <a:pt x="150" y="470"/>
                </a:cubicBezTo>
                <a:cubicBezTo>
                  <a:pt x="151" y="471"/>
                  <a:pt x="149" y="472"/>
                  <a:pt x="150" y="472"/>
                </a:cubicBezTo>
                <a:close/>
                <a:moveTo>
                  <a:pt x="150" y="468"/>
                </a:moveTo>
                <a:cubicBezTo>
                  <a:pt x="150" y="468"/>
                  <a:pt x="150" y="468"/>
                  <a:pt x="151" y="468"/>
                </a:cubicBezTo>
                <a:cubicBezTo>
                  <a:pt x="151" y="468"/>
                  <a:pt x="151" y="467"/>
                  <a:pt x="151" y="467"/>
                </a:cubicBezTo>
                <a:cubicBezTo>
                  <a:pt x="151" y="467"/>
                  <a:pt x="151" y="467"/>
                  <a:pt x="151" y="467"/>
                </a:cubicBezTo>
                <a:cubicBezTo>
                  <a:pt x="151" y="468"/>
                  <a:pt x="151" y="468"/>
                  <a:pt x="151" y="468"/>
                </a:cubicBezTo>
                <a:cubicBezTo>
                  <a:pt x="150" y="468"/>
                  <a:pt x="150" y="468"/>
                  <a:pt x="150" y="468"/>
                </a:cubicBezTo>
                <a:close/>
                <a:moveTo>
                  <a:pt x="152" y="551"/>
                </a:moveTo>
                <a:cubicBezTo>
                  <a:pt x="151" y="551"/>
                  <a:pt x="151" y="551"/>
                  <a:pt x="151" y="551"/>
                </a:cubicBezTo>
                <a:cubicBezTo>
                  <a:pt x="150" y="550"/>
                  <a:pt x="153" y="549"/>
                  <a:pt x="152" y="551"/>
                </a:cubicBezTo>
                <a:close/>
                <a:moveTo>
                  <a:pt x="152" y="540"/>
                </a:moveTo>
                <a:cubicBezTo>
                  <a:pt x="150" y="541"/>
                  <a:pt x="150" y="536"/>
                  <a:pt x="153" y="537"/>
                </a:cubicBezTo>
                <a:cubicBezTo>
                  <a:pt x="154" y="537"/>
                  <a:pt x="153" y="539"/>
                  <a:pt x="152" y="540"/>
                </a:cubicBezTo>
                <a:close/>
                <a:moveTo>
                  <a:pt x="154" y="484"/>
                </a:moveTo>
                <a:cubicBezTo>
                  <a:pt x="153" y="483"/>
                  <a:pt x="155" y="483"/>
                  <a:pt x="155" y="484"/>
                </a:cubicBezTo>
                <a:cubicBezTo>
                  <a:pt x="155" y="484"/>
                  <a:pt x="154" y="485"/>
                  <a:pt x="154" y="484"/>
                </a:cubicBezTo>
                <a:close/>
                <a:moveTo>
                  <a:pt x="158" y="546"/>
                </a:moveTo>
                <a:cubicBezTo>
                  <a:pt x="158" y="546"/>
                  <a:pt x="158" y="547"/>
                  <a:pt x="158" y="547"/>
                </a:cubicBezTo>
                <a:cubicBezTo>
                  <a:pt x="158" y="547"/>
                  <a:pt x="158" y="547"/>
                  <a:pt x="158" y="547"/>
                </a:cubicBezTo>
                <a:cubicBezTo>
                  <a:pt x="157" y="547"/>
                  <a:pt x="155" y="548"/>
                  <a:pt x="154" y="548"/>
                </a:cubicBezTo>
                <a:cubicBezTo>
                  <a:pt x="155" y="546"/>
                  <a:pt x="158" y="546"/>
                  <a:pt x="160" y="545"/>
                </a:cubicBezTo>
                <a:cubicBezTo>
                  <a:pt x="160" y="545"/>
                  <a:pt x="159" y="546"/>
                  <a:pt x="158" y="546"/>
                </a:cubicBezTo>
                <a:close/>
                <a:moveTo>
                  <a:pt x="155" y="544"/>
                </a:moveTo>
                <a:cubicBezTo>
                  <a:pt x="155" y="544"/>
                  <a:pt x="156" y="543"/>
                  <a:pt x="156" y="544"/>
                </a:cubicBezTo>
                <a:cubicBezTo>
                  <a:pt x="156" y="544"/>
                  <a:pt x="155" y="546"/>
                  <a:pt x="155" y="544"/>
                </a:cubicBezTo>
                <a:close/>
                <a:moveTo>
                  <a:pt x="160" y="521"/>
                </a:moveTo>
                <a:cubicBezTo>
                  <a:pt x="151" y="525"/>
                  <a:pt x="154" y="511"/>
                  <a:pt x="161" y="512"/>
                </a:cubicBezTo>
                <a:cubicBezTo>
                  <a:pt x="165" y="513"/>
                  <a:pt x="162" y="520"/>
                  <a:pt x="160" y="521"/>
                </a:cubicBezTo>
                <a:close/>
                <a:moveTo>
                  <a:pt x="162" y="544"/>
                </a:moveTo>
                <a:cubicBezTo>
                  <a:pt x="162" y="545"/>
                  <a:pt x="161" y="545"/>
                  <a:pt x="161" y="545"/>
                </a:cubicBezTo>
                <a:cubicBezTo>
                  <a:pt x="160" y="544"/>
                  <a:pt x="165" y="543"/>
                  <a:pt x="162" y="544"/>
                </a:cubicBezTo>
                <a:close/>
                <a:moveTo>
                  <a:pt x="168" y="525"/>
                </a:moveTo>
                <a:cubicBezTo>
                  <a:pt x="168" y="525"/>
                  <a:pt x="169" y="525"/>
                  <a:pt x="169" y="525"/>
                </a:cubicBezTo>
                <a:cubicBezTo>
                  <a:pt x="169" y="526"/>
                  <a:pt x="168" y="526"/>
                  <a:pt x="168" y="525"/>
                </a:cubicBezTo>
                <a:close/>
                <a:moveTo>
                  <a:pt x="170" y="537"/>
                </a:moveTo>
                <a:cubicBezTo>
                  <a:pt x="168" y="538"/>
                  <a:pt x="168" y="535"/>
                  <a:pt x="170" y="535"/>
                </a:cubicBezTo>
                <a:cubicBezTo>
                  <a:pt x="171" y="536"/>
                  <a:pt x="170" y="536"/>
                  <a:pt x="170" y="537"/>
                </a:cubicBezTo>
                <a:close/>
                <a:moveTo>
                  <a:pt x="172" y="521"/>
                </a:moveTo>
                <a:cubicBezTo>
                  <a:pt x="170" y="522"/>
                  <a:pt x="165" y="524"/>
                  <a:pt x="161" y="525"/>
                </a:cubicBezTo>
                <a:cubicBezTo>
                  <a:pt x="164" y="523"/>
                  <a:pt x="170" y="520"/>
                  <a:pt x="173" y="519"/>
                </a:cubicBezTo>
                <a:cubicBezTo>
                  <a:pt x="172" y="519"/>
                  <a:pt x="175" y="519"/>
                  <a:pt x="175" y="519"/>
                </a:cubicBezTo>
                <a:cubicBezTo>
                  <a:pt x="175" y="520"/>
                  <a:pt x="173" y="520"/>
                  <a:pt x="172" y="521"/>
                </a:cubicBezTo>
                <a:close/>
                <a:moveTo>
                  <a:pt x="176" y="546"/>
                </a:moveTo>
                <a:cubicBezTo>
                  <a:pt x="175" y="547"/>
                  <a:pt x="175" y="547"/>
                  <a:pt x="175" y="546"/>
                </a:cubicBezTo>
                <a:cubicBezTo>
                  <a:pt x="174" y="545"/>
                  <a:pt x="177" y="545"/>
                  <a:pt x="176" y="546"/>
                </a:cubicBezTo>
                <a:close/>
                <a:moveTo>
                  <a:pt x="174" y="497"/>
                </a:moveTo>
                <a:cubicBezTo>
                  <a:pt x="174" y="496"/>
                  <a:pt x="176" y="497"/>
                  <a:pt x="176" y="497"/>
                </a:cubicBezTo>
                <a:cubicBezTo>
                  <a:pt x="176" y="498"/>
                  <a:pt x="174" y="499"/>
                  <a:pt x="174" y="497"/>
                </a:cubicBezTo>
                <a:close/>
                <a:moveTo>
                  <a:pt x="176" y="431"/>
                </a:moveTo>
                <a:cubicBezTo>
                  <a:pt x="176" y="431"/>
                  <a:pt x="176" y="431"/>
                  <a:pt x="176" y="431"/>
                </a:cubicBezTo>
                <a:cubicBezTo>
                  <a:pt x="175" y="433"/>
                  <a:pt x="176" y="429"/>
                  <a:pt x="176" y="431"/>
                </a:cubicBezTo>
                <a:close/>
                <a:moveTo>
                  <a:pt x="176" y="487"/>
                </a:moveTo>
                <a:cubicBezTo>
                  <a:pt x="176" y="485"/>
                  <a:pt x="181" y="484"/>
                  <a:pt x="181" y="486"/>
                </a:cubicBezTo>
                <a:cubicBezTo>
                  <a:pt x="182" y="489"/>
                  <a:pt x="176" y="491"/>
                  <a:pt x="176" y="487"/>
                </a:cubicBezTo>
                <a:close/>
                <a:moveTo>
                  <a:pt x="180" y="543"/>
                </a:moveTo>
                <a:cubicBezTo>
                  <a:pt x="180" y="543"/>
                  <a:pt x="181" y="542"/>
                  <a:pt x="182" y="543"/>
                </a:cubicBezTo>
                <a:cubicBezTo>
                  <a:pt x="182" y="544"/>
                  <a:pt x="180" y="544"/>
                  <a:pt x="180" y="543"/>
                </a:cubicBezTo>
                <a:close/>
                <a:moveTo>
                  <a:pt x="182" y="538"/>
                </a:moveTo>
                <a:cubicBezTo>
                  <a:pt x="181" y="539"/>
                  <a:pt x="182" y="536"/>
                  <a:pt x="183" y="537"/>
                </a:cubicBezTo>
                <a:cubicBezTo>
                  <a:pt x="183" y="537"/>
                  <a:pt x="183" y="538"/>
                  <a:pt x="182" y="538"/>
                </a:cubicBezTo>
                <a:close/>
                <a:moveTo>
                  <a:pt x="183" y="485"/>
                </a:moveTo>
                <a:cubicBezTo>
                  <a:pt x="183" y="484"/>
                  <a:pt x="181" y="483"/>
                  <a:pt x="181" y="482"/>
                </a:cubicBezTo>
                <a:cubicBezTo>
                  <a:pt x="182" y="480"/>
                  <a:pt x="183" y="482"/>
                  <a:pt x="184" y="481"/>
                </a:cubicBezTo>
                <a:cubicBezTo>
                  <a:pt x="186" y="479"/>
                  <a:pt x="186" y="475"/>
                  <a:pt x="189" y="472"/>
                </a:cubicBezTo>
                <a:cubicBezTo>
                  <a:pt x="188" y="476"/>
                  <a:pt x="185" y="481"/>
                  <a:pt x="183" y="485"/>
                </a:cubicBezTo>
                <a:close/>
                <a:moveTo>
                  <a:pt x="186" y="544"/>
                </a:moveTo>
                <a:cubicBezTo>
                  <a:pt x="184" y="546"/>
                  <a:pt x="184" y="543"/>
                  <a:pt x="186" y="544"/>
                </a:cubicBezTo>
                <a:close/>
                <a:moveTo>
                  <a:pt x="185" y="507"/>
                </a:moveTo>
                <a:cubicBezTo>
                  <a:pt x="183" y="504"/>
                  <a:pt x="190" y="504"/>
                  <a:pt x="187" y="507"/>
                </a:cubicBezTo>
                <a:cubicBezTo>
                  <a:pt x="187" y="507"/>
                  <a:pt x="186" y="507"/>
                  <a:pt x="185" y="507"/>
                </a:cubicBezTo>
                <a:close/>
                <a:moveTo>
                  <a:pt x="189" y="542"/>
                </a:moveTo>
                <a:cubicBezTo>
                  <a:pt x="189" y="542"/>
                  <a:pt x="190" y="541"/>
                  <a:pt x="190" y="541"/>
                </a:cubicBezTo>
                <a:cubicBezTo>
                  <a:pt x="191" y="541"/>
                  <a:pt x="190" y="541"/>
                  <a:pt x="189" y="542"/>
                </a:cubicBezTo>
                <a:close/>
                <a:moveTo>
                  <a:pt x="193" y="537"/>
                </a:moveTo>
                <a:cubicBezTo>
                  <a:pt x="193" y="537"/>
                  <a:pt x="193" y="538"/>
                  <a:pt x="193" y="538"/>
                </a:cubicBezTo>
                <a:cubicBezTo>
                  <a:pt x="191" y="539"/>
                  <a:pt x="193" y="535"/>
                  <a:pt x="193" y="537"/>
                </a:cubicBezTo>
                <a:close/>
                <a:moveTo>
                  <a:pt x="188" y="542"/>
                </a:moveTo>
                <a:cubicBezTo>
                  <a:pt x="188" y="540"/>
                  <a:pt x="191" y="536"/>
                  <a:pt x="193" y="535"/>
                </a:cubicBezTo>
                <a:cubicBezTo>
                  <a:pt x="191" y="537"/>
                  <a:pt x="190" y="540"/>
                  <a:pt x="188" y="542"/>
                </a:cubicBezTo>
                <a:close/>
                <a:moveTo>
                  <a:pt x="190" y="499"/>
                </a:moveTo>
                <a:cubicBezTo>
                  <a:pt x="191" y="498"/>
                  <a:pt x="192" y="497"/>
                  <a:pt x="194" y="497"/>
                </a:cubicBezTo>
                <a:cubicBezTo>
                  <a:pt x="193" y="498"/>
                  <a:pt x="192" y="499"/>
                  <a:pt x="190" y="499"/>
                </a:cubicBezTo>
                <a:close/>
                <a:moveTo>
                  <a:pt x="194" y="533"/>
                </a:moveTo>
                <a:cubicBezTo>
                  <a:pt x="193" y="533"/>
                  <a:pt x="195" y="531"/>
                  <a:pt x="195" y="531"/>
                </a:cubicBezTo>
                <a:cubicBezTo>
                  <a:pt x="196" y="531"/>
                  <a:pt x="194" y="533"/>
                  <a:pt x="194" y="533"/>
                </a:cubicBezTo>
                <a:close/>
                <a:moveTo>
                  <a:pt x="194" y="497"/>
                </a:moveTo>
                <a:cubicBezTo>
                  <a:pt x="194" y="497"/>
                  <a:pt x="194" y="497"/>
                  <a:pt x="194" y="497"/>
                </a:cubicBezTo>
                <a:close/>
                <a:moveTo>
                  <a:pt x="195" y="497"/>
                </a:move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7"/>
                </a:cubicBezTo>
                <a:close/>
                <a:moveTo>
                  <a:pt x="189" y="398"/>
                </a:moveTo>
                <a:cubicBezTo>
                  <a:pt x="192" y="394"/>
                  <a:pt x="196" y="392"/>
                  <a:pt x="201" y="389"/>
                </a:cubicBezTo>
                <a:cubicBezTo>
                  <a:pt x="198" y="392"/>
                  <a:pt x="192" y="395"/>
                  <a:pt x="189" y="398"/>
                </a:cubicBezTo>
                <a:close/>
                <a:moveTo>
                  <a:pt x="196" y="530"/>
                </a:moveTo>
                <a:cubicBezTo>
                  <a:pt x="196" y="531"/>
                  <a:pt x="195" y="529"/>
                  <a:pt x="196" y="530"/>
                </a:cubicBezTo>
                <a:close/>
                <a:moveTo>
                  <a:pt x="198" y="514"/>
                </a:moveTo>
                <a:cubicBezTo>
                  <a:pt x="198" y="514"/>
                  <a:pt x="198" y="515"/>
                  <a:pt x="197" y="515"/>
                </a:cubicBezTo>
                <a:cubicBezTo>
                  <a:pt x="196" y="516"/>
                  <a:pt x="197" y="513"/>
                  <a:pt x="198" y="514"/>
                </a:cubicBezTo>
                <a:close/>
                <a:moveTo>
                  <a:pt x="198" y="558"/>
                </a:moveTo>
                <a:cubicBezTo>
                  <a:pt x="198" y="556"/>
                  <a:pt x="204" y="555"/>
                  <a:pt x="204" y="558"/>
                </a:cubicBezTo>
                <a:cubicBezTo>
                  <a:pt x="205" y="561"/>
                  <a:pt x="197" y="562"/>
                  <a:pt x="198" y="558"/>
                </a:cubicBezTo>
                <a:close/>
                <a:moveTo>
                  <a:pt x="204" y="554"/>
                </a:moveTo>
                <a:cubicBezTo>
                  <a:pt x="205" y="554"/>
                  <a:pt x="206" y="553"/>
                  <a:pt x="207" y="553"/>
                </a:cubicBezTo>
                <a:cubicBezTo>
                  <a:pt x="207" y="554"/>
                  <a:pt x="204" y="555"/>
                  <a:pt x="204" y="554"/>
                </a:cubicBezTo>
                <a:close/>
                <a:moveTo>
                  <a:pt x="203" y="542"/>
                </a:moveTo>
                <a:cubicBezTo>
                  <a:pt x="200" y="539"/>
                  <a:pt x="203" y="534"/>
                  <a:pt x="205" y="533"/>
                </a:cubicBezTo>
                <a:cubicBezTo>
                  <a:pt x="207" y="532"/>
                  <a:pt x="210" y="533"/>
                  <a:pt x="211" y="532"/>
                </a:cubicBezTo>
                <a:cubicBezTo>
                  <a:pt x="215" y="532"/>
                  <a:pt x="213" y="532"/>
                  <a:pt x="215" y="534"/>
                </a:cubicBezTo>
                <a:cubicBezTo>
                  <a:pt x="217" y="537"/>
                  <a:pt x="216" y="541"/>
                  <a:pt x="213" y="540"/>
                </a:cubicBezTo>
                <a:cubicBezTo>
                  <a:pt x="214" y="535"/>
                  <a:pt x="211" y="542"/>
                  <a:pt x="210" y="543"/>
                </a:cubicBezTo>
                <a:cubicBezTo>
                  <a:pt x="209" y="543"/>
                  <a:pt x="204" y="543"/>
                  <a:pt x="203" y="542"/>
                </a:cubicBezTo>
                <a:close/>
                <a:moveTo>
                  <a:pt x="213" y="545"/>
                </a:moveTo>
                <a:cubicBezTo>
                  <a:pt x="213" y="544"/>
                  <a:pt x="216" y="545"/>
                  <a:pt x="215" y="546"/>
                </a:cubicBezTo>
                <a:cubicBezTo>
                  <a:pt x="215" y="546"/>
                  <a:pt x="214" y="546"/>
                  <a:pt x="213" y="545"/>
                </a:cubicBezTo>
                <a:close/>
                <a:moveTo>
                  <a:pt x="215" y="609"/>
                </a:moveTo>
                <a:cubicBezTo>
                  <a:pt x="215" y="609"/>
                  <a:pt x="215" y="609"/>
                  <a:pt x="215" y="609"/>
                </a:cubicBezTo>
                <a:cubicBezTo>
                  <a:pt x="214" y="607"/>
                  <a:pt x="217" y="611"/>
                  <a:pt x="215" y="609"/>
                </a:cubicBezTo>
                <a:close/>
                <a:moveTo>
                  <a:pt x="214" y="557"/>
                </a:moveTo>
                <a:cubicBezTo>
                  <a:pt x="214" y="556"/>
                  <a:pt x="216" y="555"/>
                  <a:pt x="217" y="556"/>
                </a:cubicBezTo>
                <a:cubicBezTo>
                  <a:pt x="217" y="558"/>
                  <a:pt x="214" y="557"/>
                  <a:pt x="214" y="557"/>
                </a:cubicBezTo>
                <a:close/>
                <a:moveTo>
                  <a:pt x="209" y="544"/>
                </a:moveTo>
                <a:cubicBezTo>
                  <a:pt x="210" y="544"/>
                  <a:pt x="217" y="540"/>
                  <a:pt x="217" y="542"/>
                </a:cubicBezTo>
                <a:cubicBezTo>
                  <a:pt x="217" y="543"/>
                  <a:pt x="211" y="545"/>
                  <a:pt x="209" y="544"/>
                </a:cubicBezTo>
                <a:close/>
                <a:moveTo>
                  <a:pt x="216" y="527"/>
                </a:moveTo>
                <a:cubicBezTo>
                  <a:pt x="216" y="526"/>
                  <a:pt x="216" y="526"/>
                  <a:pt x="216" y="526"/>
                </a:cubicBezTo>
                <a:cubicBezTo>
                  <a:pt x="217" y="525"/>
                  <a:pt x="217" y="527"/>
                  <a:pt x="216" y="527"/>
                </a:cubicBezTo>
                <a:close/>
                <a:moveTo>
                  <a:pt x="217" y="615"/>
                </a:moveTo>
                <a:cubicBezTo>
                  <a:pt x="216" y="614"/>
                  <a:pt x="218" y="613"/>
                  <a:pt x="218" y="614"/>
                </a:cubicBezTo>
                <a:cubicBezTo>
                  <a:pt x="218" y="614"/>
                  <a:pt x="217" y="614"/>
                  <a:pt x="217" y="615"/>
                </a:cubicBezTo>
                <a:close/>
                <a:moveTo>
                  <a:pt x="219" y="542"/>
                </a:moveTo>
                <a:cubicBezTo>
                  <a:pt x="216" y="544"/>
                  <a:pt x="217" y="538"/>
                  <a:pt x="219" y="539"/>
                </a:cubicBezTo>
                <a:cubicBezTo>
                  <a:pt x="221" y="540"/>
                  <a:pt x="219" y="542"/>
                  <a:pt x="219" y="542"/>
                </a:cubicBezTo>
                <a:close/>
                <a:moveTo>
                  <a:pt x="219" y="567"/>
                </a:moveTo>
                <a:cubicBezTo>
                  <a:pt x="219" y="566"/>
                  <a:pt x="220" y="566"/>
                  <a:pt x="221" y="566"/>
                </a:cubicBezTo>
                <a:cubicBezTo>
                  <a:pt x="220" y="567"/>
                  <a:pt x="220" y="567"/>
                  <a:pt x="219" y="567"/>
                </a:cubicBezTo>
                <a:close/>
                <a:moveTo>
                  <a:pt x="222" y="589"/>
                </a:moveTo>
                <a:cubicBezTo>
                  <a:pt x="222" y="589"/>
                  <a:pt x="221" y="589"/>
                  <a:pt x="220" y="589"/>
                </a:cubicBezTo>
                <a:cubicBezTo>
                  <a:pt x="220" y="589"/>
                  <a:pt x="222" y="588"/>
                  <a:pt x="222" y="589"/>
                </a:cubicBezTo>
                <a:close/>
                <a:moveTo>
                  <a:pt x="221" y="615"/>
                </a:moveTo>
                <a:cubicBezTo>
                  <a:pt x="221" y="614"/>
                  <a:pt x="222" y="614"/>
                  <a:pt x="223" y="614"/>
                </a:cubicBezTo>
                <a:cubicBezTo>
                  <a:pt x="222" y="615"/>
                  <a:pt x="221" y="614"/>
                  <a:pt x="221" y="615"/>
                </a:cubicBezTo>
                <a:close/>
                <a:moveTo>
                  <a:pt x="223" y="565"/>
                </a:moveTo>
                <a:cubicBezTo>
                  <a:pt x="223" y="565"/>
                  <a:pt x="223" y="565"/>
                  <a:pt x="223" y="566"/>
                </a:cubicBezTo>
                <a:cubicBezTo>
                  <a:pt x="223" y="566"/>
                  <a:pt x="223" y="566"/>
                  <a:pt x="223" y="566"/>
                </a:cubicBezTo>
                <a:cubicBezTo>
                  <a:pt x="223" y="567"/>
                  <a:pt x="223" y="566"/>
                  <a:pt x="223" y="566"/>
                </a:cubicBezTo>
                <a:cubicBezTo>
                  <a:pt x="223" y="565"/>
                  <a:pt x="223" y="565"/>
                  <a:pt x="223" y="565"/>
                </a:cubicBezTo>
                <a:close/>
                <a:moveTo>
                  <a:pt x="223" y="571"/>
                </a:moveTo>
                <a:cubicBezTo>
                  <a:pt x="223" y="569"/>
                  <a:pt x="227" y="570"/>
                  <a:pt x="226" y="571"/>
                </a:cubicBezTo>
                <a:cubicBezTo>
                  <a:pt x="226" y="572"/>
                  <a:pt x="223" y="572"/>
                  <a:pt x="223" y="571"/>
                </a:cubicBezTo>
                <a:close/>
                <a:moveTo>
                  <a:pt x="226" y="582"/>
                </a:moveTo>
                <a:cubicBezTo>
                  <a:pt x="226" y="581"/>
                  <a:pt x="226" y="583"/>
                  <a:pt x="226" y="582"/>
                </a:cubicBezTo>
                <a:close/>
                <a:moveTo>
                  <a:pt x="227" y="608"/>
                </a:moveTo>
                <a:cubicBezTo>
                  <a:pt x="227" y="608"/>
                  <a:pt x="225" y="608"/>
                  <a:pt x="224" y="607"/>
                </a:cubicBezTo>
                <a:cubicBezTo>
                  <a:pt x="224" y="606"/>
                  <a:pt x="228" y="607"/>
                  <a:pt x="227" y="608"/>
                </a:cubicBezTo>
                <a:close/>
                <a:moveTo>
                  <a:pt x="226" y="578"/>
                </a:moveTo>
                <a:cubicBezTo>
                  <a:pt x="226" y="578"/>
                  <a:pt x="227" y="577"/>
                  <a:pt x="227" y="578"/>
                </a:cubicBezTo>
                <a:cubicBezTo>
                  <a:pt x="227" y="578"/>
                  <a:pt x="226" y="578"/>
                  <a:pt x="226" y="578"/>
                </a:cubicBezTo>
                <a:close/>
                <a:moveTo>
                  <a:pt x="236" y="538"/>
                </a:moveTo>
                <a:cubicBezTo>
                  <a:pt x="237" y="537"/>
                  <a:pt x="238" y="536"/>
                  <a:pt x="239" y="537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40" y="538"/>
                  <a:pt x="239" y="539"/>
                  <a:pt x="239" y="539"/>
                </a:cubicBezTo>
                <a:cubicBezTo>
                  <a:pt x="238" y="540"/>
                  <a:pt x="237" y="539"/>
                  <a:pt x="237" y="539"/>
                </a:cubicBezTo>
                <a:cubicBezTo>
                  <a:pt x="236" y="539"/>
                  <a:pt x="236" y="538"/>
                  <a:pt x="235" y="539"/>
                </a:cubicBezTo>
                <a:cubicBezTo>
                  <a:pt x="234" y="539"/>
                  <a:pt x="228" y="544"/>
                  <a:pt x="227" y="543"/>
                </a:cubicBezTo>
                <a:cubicBezTo>
                  <a:pt x="226" y="541"/>
                  <a:pt x="235" y="538"/>
                  <a:pt x="236" y="538"/>
                </a:cubicBezTo>
                <a:close/>
                <a:moveTo>
                  <a:pt x="235" y="592"/>
                </a:moveTo>
                <a:cubicBezTo>
                  <a:pt x="235" y="592"/>
                  <a:pt x="234" y="593"/>
                  <a:pt x="234" y="592"/>
                </a:cubicBezTo>
                <a:cubicBezTo>
                  <a:pt x="233" y="592"/>
                  <a:pt x="235" y="591"/>
                  <a:pt x="235" y="592"/>
                </a:cubicBezTo>
                <a:close/>
                <a:moveTo>
                  <a:pt x="233" y="585"/>
                </a:moveTo>
                <a:cubicBezTo>
                  <a:pt x="233" y="585"/>
                  <a:pt x="234" y="583"/>
                  <a:pt x="235" y="584"/>
                </a:cubicBezTo>
                <a:cubicBezTo>
                  <a:pt x="235" y="585"/>
                  <a:pt x="233" y="586"/>
                  <a:pt x="233" y="585"/>
                </a:cubicBezTo>
                <a:close/>
                <a:moveTo>
                  <a:pt x="228" y="573"/>
                </a:moveTo>
                <a:cubicBezTo>
                  <a:pt x="228" y="571"/>
                  <a:pt x="230" y="572"/>
                  <a:pt x="228" y="573"/>
                </a:cubicBezTo>
                <a:close/>
                <a:moveTo>
                  <a:pt x="229" y="580"/>
                </a:moveTo>
                <a:cubicBezTo>
                  <a:pt x="229" y="581"/>
                  <a:pt x="228" y="581"/>
                  <a:pt x="228" y="581"/>
                </a:cubicBezTo>
                <a:cubicBezTo>
                  <a:pt x="227" y="579"/>
                  <a:pt x="230" y="579"/>
                  <a:pt x="229" y="580"/>
                </a:cubicBezTo>
                <a:close/>
                <a:moveTo>
                  <a:pt x="231" y="599"/>
                </a:moveTo>
                <a:cubicBezTo>
                  <a:pt x="231" y="599"/>
                  <a:pt x="233" y="598"/>
                  <a:pt x="233" y="599"/>
                </a:cubicBezTo>
                <a:cubicBezTo>
                  <a:pt x="233" y="600"/>
                  <a:pt x="231" y="601"/>
                  <a:pt x="231" y="599"/>
                </a:cubicBezTo>
                <a:close/>
                <a:moveTo>
                  <a:pt x="236" y="624"/>
                </a:moveTo>
                <a:cubicBezTo>
                  <a:pt x="236" y="624"/>
                  <a:pt x="237" y="623"/>
                  <a:pt x="237" y="623"/>
                </a:cubicBezTo>
                <a:cubicBezTo>
                  <a:pt x="237" y="623"/>
                  <a:pt x="237" y="624"/>
                  <a:pt x="236" y="624"/>
                </a:cubicBezTo>
                <a:close/>
                <a:moveTo>
                  <a:pt x="232" y="618"/>
                </a:moveTo>
                <a:cubicBezTo>
                  <a:pt x="233" y="616"/>
                  <a:pt x="237" y="616"/>
                  <a:pt x="239" y="615"/>
                </a:cubicBezTo>
                <a:cubicBezTo>
                  <a:pt x="237" y="617"/>
                  <a:pt x="234" y="617"/>
                  <a:pt x="232" y="618"/>
                </a:cubicBezTo>
                <a:close/>
                <a:moveTo>
                  <a:pt x="238" y="665"/>
                </a:moveTo>
                <a:cubicBezTo>
                  <a:pt x="238" y="664"/>
                  <a:pt x="239" y="665"/>
                  <a:pt x="240" y="665"/>
                </a:cubicBezTo>
                <a:cubicBezTo>
                  <a:pt x="240" y="666"/>
                  <a:pt x="239" y="665"/>
                  <a:pt x="238" y="665"/>
                </a:cubicBezTo>
                <a:close/>
                <a:moveTo>
                  <a:pt x="240" y="664"/>
                </a:moveTo>
                <a:cubicBezTo>
                  <a:pt x="240" y="664"/>
                  <a:pt x="239" y="663"/>
                  <a:pt x="239" y="663"/>
                </a:cubicBezTo>
                <a:cubicBezTo>
                  <a:pt x="239" y="662"/>
                  <a:pt x="241" y="663"/>
                  <a:pt x="240" y="664"/>
                </a:cubicBezTo>
                <a:close/>
                <a:moveTo>
                  <a:pt x="251" y="679"/>
                </a:moveTo>
                <a:cubicBezTo>
                  <a:pt x="249" y="681"/>
                  <a:pt x="247" y="678"/>
                  <a:pt x="244" y="678"/>
                </a:cubicBezTo>
                <a:cubicBezTo>
                  <a:pt x="242" y="678"/>
                  <a:pt x="238" y="679"/>
                  <a:pt x="237" y="677"/>
                </a:cubicBezTo>
                <a:cubicBezTo>
                  <a:pt x="237" y="676"/>
                  <a:pt x="243" y="677"/>
                  <a:pt x="243" y="677"/>
                </a:cubicBezTo>
                <a:cubicBezTo>
                  <a:pt x="243" y="676"/>
                  <a:pt x="241" y="672"/>
                  <a:pt x="241" y="672"/>
                </a:cubicBezTo>
                <a:cubicBezTo>
                  <a:pt x="240" y="664"/>
                  <a:pt x="252" y="669"/>
                  <a:pt x="255" y="671"/>
                </a:cubicBezTo>
                <a:cubicBezTo>
                  <a:pt x="259" y="674"/>
                  <a:pt x="250" y="671"/>
                  <a:pt x="253" y="676"/>
                </a:cubicBezTo>
                <a:cubicBezTo>
                  <a:pt x="250" y="674"/>
                  <a:pt x="251" y="679"/>
                  <a:pt x="251" y="679"/>
                </a:cubicBezTo>
                <a:close/>
                <a:moveTo>
                  <a:pt x="254" y="687"/>
                </a:moveTo>
                <a:cubicBezTo>
                  <a:pt x="254" y="686"/>
                  <a:pt x="254" y="685"/>
                  <a:pt x="255" y="686"/>
                </a:cubicBezTo>
                <a:cubicBezTo>
                  <a:pt x="257" y="686"/>
                  <a:pt x="254" y="689"/>
                  <a:pt x="254" y="687"/>
                </a:cubicBezTo>
                <a:close/>
                <a:moveTo>
                  <a:pt x="254" y="690"/>
                </a:moveTo>
                <a:cubicBezTo>
                  <a:pt x="255" y="689"/>
                  <a:pt x="256" y="689"/>
                  <a:pt x="258" y="689"/>
                </a:cubicBezTo>
                <a:cubicBezTo>
                  <a:pt x="257" y="690"/>
                  <a:pt x="255" y="690"/>
                  <a:pt x="254" y="690"/>
                </a:cubicBezTo>
                <a:close/>
                <a:moveTo>
                  <a:pt x="257" y="690"/>
                </a:moveTo>
                <a:cubicBezTo>
                  <a:pt x="257" y="689"/>
                  <a:pt x="258" y="689"/>
                  <a:pt x="258" y="690"/>
                </a:cubicBezTo>
                <a:cubicBezTo>
                  <a:pt x="258" y="689"/>
                  <a:pt x="258" y="691"/>
                  <a:pt x="257" y="690"/>
                </a:cubicBezTo>
                <a:close/>
                <a:moveTo>
                  <a:pt x="259" y="689"/>
                </a:moveTo>
                <a:cubicBezTo>
                  <a:pt x="258" y="689"/>
                  <a:pt x="261" y="689"/>
                  <a:pt x="259" y="689"/>
                </a:cubicBezTo>
                <a:close/>
                <a:moveTo>
                  <a:pt x="260" y="660"/>
                </a:moveTo>
                <a:cubicBezTo>
                  <a:pt x="259" y="660"/>
                  <a:pt x="259" y="659"/>
                  <a:pt x="260" y="660"/>
                </a:cubicBezTo>
                <a:close/>
                <a:moveTo>
                  <a:pt x="261" y="631"/>
                </a:moveTo>
                <a:cubicBezTo>
                  <a:pt x="260" y="631"/>
                  <a:pt x="261" y="630"/>
                  <a:pt x="261" y="630"/>
                </a:cubicBezTo>
                <a:cubicBezTo>
                  <a:pt x="262" y="630"/>
                  <a:pt x="261" y="631"/>
                  <a:pt x="261" y="631"/>
                </a:cubicBezTo>
                <a:close/>
                <a:moveTo>
                  <a:pt x="263" y="682"/>
                </a:moveTo>
                <a:cubicBezTo>
                  <a:pt x="263" y="681"/>
                  <a:pt x="265" y="681"/>
                  <a:pt x="265" y="682"/>
                </a:cubicBezTo>
                <a:cubicBezTo>
                  <a:pt x="266" y="682"/>
                  <a:pt x="263" y="683"/>
                  <a:pt x="263" y="682"/>
                </a:cubicBezTo>
                <a:close/>
                <a:moveTo>
                  <a:pt x="264" y="690"/>
                </a:moveTo>
                <a:cubicBezTo>
                  <a:pt x="263" y="689"/>
                  <a:pt x="265" y="690"/>
                  <a:pt x="265" y="690"/>
                </a:cubicBezTo>
                <a:cubicBezTo>
                  <a:pt x="265" y="691"/>
                  <a:pt x="264" y="691"/>
                  <a:pt x="264" y="690"/>
                </a:cubicBezTo>
                <a:close/>
                <a:moveTo>
                  <a:pt x="265" y="694"/>
                </a:moveTo>
                <a:cubicBezTo>
                  <a:pt x="266" y="694"/>
                  <a:pt x="266" y="694"/>
                  <a:pt x="267" y="694"/>
                </a:cubicBezTo>
                <a:cubicBezTo>
                  <a:pt x="266" y="695"/>
                  <a:pt x="266" y="695"/>
                  <a:pt x="265" y="694"/>
                </a:cubicBezTo>
                <a:close/>
                <a:moveTo>
                  <a:pt x="263" y="667"/>
                </a:moveTo>
                <a:cubicBezTo>
                  <a:pt x="264" y="666"/>
                  <a:pt x="273" y="668"/>
                  <a:pt x="273" y="668"/>
                </a:cubicBezTo>
                <a:cubicBezTo>
                  <a:pt x="272" y="669"/>
                  <a:pt x="265" y="667"/>
                  <a:pt x="263" y="667"/>
                </a:cubicBezTo>
                <a:close/>
                <a:moveTo>
                  <a:pt x="270" y="681"/>
                </a:moveTo>
                <a:cubicBezTo>
                  <a:pt x="269" y="683"/>
                  <a:pt x="268" y="680"/>
                  <a:pt x="270" y="681"/>
                </a:cubicBezTo>
                <a:close/>
                <a:moveTo>
                  <a:pt x="268" y="696"/>
                </a:moveTo>
                <a:cubicBezTo>
                  <a:pt x="268" y="695"/>
                  <a:pt x="269" y="695"/>
                  <a:pt x="269" y="695"/>
                </a:cubicBezTo>
                <a:cubicBezTo>
                  <a:pt x="270" y="695"/>
                  <a:pt x="269" y="696"/>
                  <a:pt x="268" y="696"/>
                </a:cubicBezTo>
                <a:close/>
                <a:moveTo>
                  <a:pt x="269" y="689"/>
                </a:moveTo>
                <a:cubicBezTo>
                  <a:pt x="268" y="688"/>
                  <a:pt x="270" y="688"/>
                  <a:pt x="270" y="688"/>
                </a:cubicBezTo>
                <a:cubicBezTo>
                  <a:pt x="270" y="689"/>
                  <a:pt x="269" y="689"/>
                  <a:pt x="269" y="689"/>
                </a:cubicBezTo>
                <a:close/>
                <a:moveTo>
                  <a:pt x="269" y="673"/>
                </a:moveTo>
                <a:cubicBezTo>
                  <a:pt x="269" y="671"/>
                  <a:pt x="274" y="673"/>
                  <a:pt x="273" y="674"/>
                </a:cubicBezTo>
                <a:cubicBezTo>
                  <a:pt x="273" y="676"/>
                  <a:pt x="268" y="676"/>
                  <a:pt x="269" y="673"/>
                </a:cubicBezTo>
                <a:close/>
                <a:moveTo>
                  <a:pt x="272" y="683"/>
                </a:moveTo>
                <a:cubicBezTo>
                  <a:pt x="271" y="681"/>
                  <a:pt x="276" y="682"/>
                  <a:pt x="276" y="683"/>
                </a:cubicBezTo>
                <a:cubicBezTo>
                  <a:pt x="277" y="685"/>
                  <a:pt x="272" y="686"/>
                  <a:pt x="272" y="683"/>
                </a:cubicBezTo>
                <a:close/>
                <a:moveTo>
                  <a:pt x="275" y="696"/>
                </a:moveTo>
                <a:cubicBezTo>
                  <a:pt x="275" y="696"/>
                  <a:pt x="274" y="696"/>
                  <a:pt x="274" y="696"/>
                </a:cubicBezTo>
                <a:cubicBezTo>
                  <a:pt x="274" y="694"/>
                  <a:pt x="277" y="698"/>
                  <a:pt x="275" y="696"/>
                </a:cubicBezTo>
                <a:close/>
                <a:moveTo>
                  <a:pt x="274" y="701"/>
                </a:moveTo>
                <a:cubicBezTo>
                  <a:pt x="274" y="699"/>
                  <a:pt x="277" y="699"/>
                  <a:pt x="277" y="700"/>
                </a:cubicBezTo>
                <a:cubicBezTo>
                  <a:pt x="278" y="701"/>
                  <a:pt x="274" y="701"/>
                  <a:pt x="274" y="701"/>
                </a:cubicBezTo>
                <a:close/>
                <a:moveTo>
                  <a:pt x="282" y="681"/>
                </a:moveTo>
                <a:cubicBezTo>
                  <a:pt x="284" y="680"/>
                  <a:pt x="289" y="680"/>
                  <a:pt x="291" y="681"/>
                </a:cubicBezTo>
                <a:cubicBezTo>
                  <a:pt x="292" y="682"/>
                  <a:pt x="291" y="684"/>
                  <a:pt x="290" y="683"/>
                </a:cubicBezTo>
                <a:cubicBezTo>
                  <a:pt x="289" y="683"/>
                  <a:pt x="289" y="682"/>
                  <a:pt x="289" y="682"/>
                </a:cubicBezTo>
                <a:cubicBezTo>
                  <a:pt x="288" y="681"/>
                  <a:pt x="287" y="683"/>
                  <a:pt x="287" y="683"/>
                </a:cubicBezTo>
                <a:cubicBezTo>
                  <a:pt x="287" y="684"/>
                  <a:pt x="288" y="684"/>
                  <a:pt x="288" y="685"/>
                </a:cubicBezTo>
                <a:cubicBezTo>
                  <a:pt x="289" y="684"/>
                  <a:pt x="289" y="685"/>
                  <a:pt x="288" y="685"/>
                </a:cubicBezTo>
                <a:cubicBezTo>
                  <a:pt x="287" y="686"/>
                  <a:pt x="286" y="685"/>
                  <a:pt x="286" y="685"/>
                </a:cubicBezTo>
                <a:cubicBezTo>
                  <a:pt x="285" y="685"/>
                  <a:pt x="284" y="686"/>
                  <a:pt x="283" y="685"/>
                </a:cubicBezTo>
                <a:cubicBezTo>
                  <a:pt x="282" y="685"/>
                  <a:pt x="278" y="682"/>
                  <a:pt x="282" y="681"/>
                </a:cubicBezTo>
                <a:close/>
                <a:moveTo>
                  <a:pt x="291" y="693"/>
                </a:moveTo>
                <a:cubicBezTo>
                  <a:pt x="290" y="694"/>
                  <a:pt x="288" y="696"/>
                  <a:pt x="287" y="694"/>
                </a:cubicBezTo>
                <a:cubicBezTo>
                  <a:pt x="285" y="693"/>
                  <a:pt x="290" y="692"/>
                  <a:pt x="291" y="693"/>
                </a:cubicBezTo>
                <a:close/>
                <a:moveTo>
                  <a:pt x="289" y="706"/>
                </a:moveTo>
                <a:cubicBezTo>
                  <a:pt x="290" y="707"/>
                  <a:pt x="288" y="706"/>
                  <a:pt x="289" y="706"/>
                </a:cubicBezTo>
                <a:close/>
                <a:moveTo>
                  <a:pt x="292" y="708"/>
                </a:moveTo>
                <a:cubicBezTo>
                  <a:pt x="291" y="707"/>
                  <a:pt x="292" y="708"/>
                  <a:pt x="293" y="708"/>
                </a:cubicBezTo>
                <a:cubicBezTo>
                  <a:pt x="293" y="708"/>
                  <a:pt x="292" y="708"/>
                  <a:pt x="292" y="708"/>
                </a:cubicBezTo>
                <a:close/>
                <a:moveTo>
                  <a:pt x="304" y="701"/>
                </a:moveTo>
                <a:cubicBezTo>
                  <a:pt x="299" y="701"/>
                  <a:pt x="295" y="701"/>
                  <a:pt x="290" y="702"/>
                </a:cubicBezTo>
                <a:cubicBezTo>
                  <a:pt x="289" y="702"/>
                  <a:pt x="282" y="702"/>
                  <a:pt x="282" y="700"/>
                </a:cubicBezTo>
                <a:cubicBezTo>
                  <a:pt x="281" y="699"/>
                  <a:pt x="290" y="699"/>
                  <a:pt x="292" y="700"/>
                </a:cubicBezTo>
                <a:cubicBezTo>
                  <a:pt x="296" y="700"/>
                  <a:pt x="299" y="700"/>
                  <a:pt x="301" y="699"/>
                </a:cubicBezTo>
                <a:cubicBezTo>
                  <a:pt x="299" y="699"/>
                  <a:pt x="297" y="697"/>
                  <a:pt x="297" y="695"/>
                </a:cubicBezTo>
                <a:cubicBezTo>
                  <a:pt x="299" y="690"/>
                  <a:pt x="306" y="693"/>
                  <a:pt x="309" y="695"/>
                </a:cubicBezTo>
                <a:cubicBezTo>
                  <a:pt x="309" y="695"/>
                  <a:pt x="309" y="696"/>
                  <a:pt x="310" y="696"/>
                </a:cubicBezTo>
                <a:cubicBezTo>
                  <a:pt x="310" y="697"/>
                  <a:pt x="307" y="699"/>
                  <a:pt x="305" y="699"/>
                </a:cubicBezTo>
                <a:cubicBezTo>
                  <a:pt x="306" y="699"/>
                  <a:pt x="307" y="699"/>
                  <a:pt x="309" y="700"/>
                </a:cubicBezTo>
                <a:cubicBezTo>
                  <a:pt x="313" y="700"/>
                  <a:pt x="305" y="701"/>
                  <a:pt x="304" y="701"/>
                </a:cubicBezTo>
                <a:close/>
                <a:moveTo>
                  <a:pt x="308" y="684"/>
                </a:moveTo>
                <a:cubicBezTo>
                  <a:pt x="309" y="683"/>
                  <a:pt x="312" y="683"/>
                  <a:pt x="314" y="683"/>
                </a:cubicBezTo>
                <a:cubicBezTo>
                  <a:pt x="312" y="684"/>
                  <a:pt x="310" y="684"/>
                  <a:pt x="308" y="684"/>
                </a:cubicBezTo>
                <a:close/>
                <a:moveTo>
                  <a:pt x="313" y="612"/>
                </a:moveTo>
                <a:cubicBezTo>
                  <a:pt x="314" y="612"/>
                  <a:pt x="309" y="616"/>
                  <a:pt x="308" y="614"/>
                </a:cubicBezTo>
                <a:cubicBezTo>
                  <a:pt x="307" y="612"/>
                  <a:pt x="313" y="611"/>
                  <a:pt x="313" y="612"/>
                </a:cubicBezTo>
                <a:close/>
                <a:moveTo>
                  <a:pt x="313" y="683"/>
                </a:moveTo>
                <a:cubicBezTo>
                  <a:pt x="312" y="682"/>
                  <a:pt x="314" y="681"/>
                  <a:pt x="314" y="682"/>
                </a:cubicBezTo>
                <a:cubicBezTo>
                  <a:pt x="314" y="682"/>
                  <a:pt x="313" y="683"/>
                  <a:pt x="313" y="683"/>
                </a:cubicBezTo>
                <a:close/>
                <a:moveTo>
                  <a:pt x="313" y="589"/>
                </a:moveTo>
                <a:cubicBezTo>
                  <a:pt x="311" y="590"/>
                  <a:pt x="308" y="592"/>
                  <a:pt x="307" y="592"/>
                </a:cubicBezTo>
                <a:cubicBezTo>
                  <a:pt x="304" y="593"/>
                  <a:pt x="309" y="590"/>
                  <a:pt x="309" y="590"/>
                </a:cubicBezTo>
                <a:cubicBezTo>
                  <a:pt x="310" y="590"/>
                  <a:pt x="312" y="589"/>
                  <a:pt x="313" y="589"/>
                </a:cubicBezTo>
                <a:cubicBezTo>
                  <a:pt x="314" y="589"/>
                  <a:pt x="314" y="589"/>
                  <a:pt x="315" y="589"/>
                </a:cubicBezTo>
                <a:cubicBezTo>
                  <a:pt x="314" y="589"/>
                  <a:pt x="314" y="589"/>
                  <a:pt x="313" y="589"/>
                </a:cubicBezTo>
                <a:close/>
                <a:moveTo>
                  <a:pt x="315" y="519"/>
                </a:moveTo>
                <a:cubicBezTo>
                  <a:pt x="315" y="517"/>
                  <a:pt x="318" y="518"/>
                  <a:pt x="315" y="519"/>
                </a:cubicBezTo>
                <a:close/>
                <a:moveTo>
                  <a:pt x="317" y="683"/>
                </a:moveTo>
                <a:cubicBezTo>
                  <a:pt x="315" y="684"/>
                  <a:pt x="315" y="682"/>
                  <a:pt x="317" y="683"/>
                </a:cubicBezTo>
                <a:close/>
                <a:moveTo>
                  <a:pt x="317" y="683"/>
                </a:moveTo>
                <a:cubicBezTo>
                  <a:pt x="318" y="682"/>
                  <a:pt x="319" y="682"/>
                  <a:pt x="321" y="682"/>
                </a:cubicBezTo>
                <a:cubicBezTo>
                  <a:pt x="321" y="683"/>
                  <a:pt x="318" y="683"/>
                  <a:pt x="317" y="683"/>
                </a:cubicBezTo>
                <a:close/>
                <a:moveTo>
                  <a:pt x="333" y="104"/>
                </a:moveTo>
                <a:cubicBezTo>
                  <a:pt x="333" y="104"/>
                  <a:pt x="336" y="103"/>
                  <a:pt x="334" y="104"/>
                </a:cubicBezTo>
                <a:cubicBezTo>
                  <a:pt x="331" y="106"/>
                  <a:pt x="326" y="107"/>
                  <a:pt x="322" y="108"/>
                </a:cubicBezTo>
                <a:cubicBezTo>
                  <a:pt x="325" y="106"/>
                  <a:pt x="329" y="104"/>
                  <a:pt x="333" y="104"/>
                </a:cubicBezTo>
                <a:close/>
                <a:moveTo>
                  <a:pt x="323" y="170"/>
                </a:moveTo>
                <a:cubicBezTo>
                  <a:pt x="324" y="170"/>
                  <a:pt x="324" y="170"/>
                  <a:pt x="325" y="170"/>
                </a:cubicBezTo>
                <a:cubicBezTo>
                  <a:pt x="325" y="171"/>
                  <a:pt x="324" y="171"/>
                  <a:pt x="323" y="170"/>
                </a:cubicBezTo>
                <a:close/>
                <a:moveTo>
                  <a:pt x="322" y="617"/>
                </a:moveTo>
                <a:cubicBezTo>
                  <a:pt x="323" y="616"/>
                  <a:pt x="324" y="618"/>
                  <a:pt x="322" y="617"/>
                </a:cubicBezTo>
                <a:close/>
                <a:moveTo>
                  <a:pt x="322" y="627"/>
                </a:moveTo>
                <a:cubicBezTo>
                  <a:pt x="323" y="627"/>
                  <a:pt x="327" y="626"/>
                  <a:pt x="327" y="627"/>
                </a:cubicBezTo>
                <a:cubicBezTo>
                  <a:pt x="326" y="626"/>
                  <a:pt x="324" y="628"/>
                  <a:pt x="322" y="627"/>
                </a:cubicBezTo>
                <a:close/>
                <a:moveTo>
                  <a:pt x="327" y="574"/>
                </a:moveTo>
                <a:cubicBezTo>
                  <a:pt x="327" y="572"/>
                  <a:pt x="330" y="573"/>
                  <a:pt x="329" y="574"/>
                </a:cubicBezTo>
                <a:cubicBezTo>
                  <a:pt x="329" y="575"/>
                  <a:pt x="328" y="574"/>
                  <a:pt x="327" y="574"/>
                </a:cubicBezTo>
                <a:close/>
                <a:moveTo>
                  <a:pt x="329" y="627"/>
                </a:moveTo>
                <a:cubicBezTo>
                  <a:pt x="329" y="626"/>
                  <a:pt x="331" y="626"/>
                  <a:pt x="331" y="626"/>
                </a:cubicBezTo>
                <a:cubicBezTo>
                  <a:pt x="331" y="626"/>
                  <a:pt x="330" y="627"/>
                  <a:pt x="329" y="627"/>
                </a:cubicBezTo>
                <a:close/>
                <a:moveTo>
                  <a:pt x="329" y="589"/>
                </a:moveTo>
                <a:cubicBezTo>
                  <a:pt x="328" y="587"/>
                  <a:pt x="332" y="588"/>
                  <a:pt x="332" y="589"/>
                </a:cubicBezTo>
                <a:cubicBezTo>
                  <a:pt x="332" y="590"/>
                  <a:pt x="329" y="590"/>
                  <a:pt x="329" y="589"/>
                </a:cubicBezTo>
                <a:close/>
                <a:moveTo>
                  <a:pt x="328" y="583"/>
                </a:moveTo>
                <a:cubicBezTo>
                  <a:pt x="329" y="579"/>
                  <a:pt x="336" y="581"/>
                  <a:pt x="336" y="583"/>
                </a:cubicBezTo>
                <a:cubicBezTo>
                  <a:pt x="335" y="586"/>
                  <a:pt x="328" y="587"/>
                  <a:pt x="328" y="583"/>
                </a:cubicBezTo>
                <a:close/>
                <a:moveTo>
                  <a:pt x="335" y="131"/>
                </a:moveTo>
                <a:cubicBezTo>
                  <a:pt x="334" y="130"/>
                  <a:pt x="336" y="131"/>
                  <a:pt x="335" y="131"/>
                </a:cubicBezTo>
                <a:close/>
                <a:moveTo>
                  <a:pt x="336" y="659"/>
                </a:moveTo>
                <a:cubicBezTo>
                  <a:pt x="337" y="661"/>
                  <a:pt x="335" y="659"/>
                  <a:pt x="336" y="659"/>
                </a:cubicBezTo>
                <a:close/>
                <a:moveTo>
                  <a:pt x="336" y="131"/>
                </a:moveTo>
                <a:cubicBezTo>
                  <a:pt x="336" y="130"/>
                  <a:pt x="338" y="130"/>
                  <a:pt x="338" y="130"/>
                </a:cubicBezTo>
                <a:cubicBezTo>
                  <a:pt x="338" y="131"/>
                  <a:pt x="337" y="130"/>
                  <a:pt x="336" y="131"/>
                </a:cubicBezTo>
                <a:close/>
                <a:moveTo>
                  <a:pt x="337" y="711"/>
                </a:moveTo>
                <a:cubicBezTo>
                  <a:pt x="336" y="711"/>
                  <a:pt x="337" y="710"/>
                  <a:pt x="337" y="710"/>
                </a:cubicBezTo>
                <a:cubicBezTo>
                  <a:pt x="338" y="711"/>
                  <a:pt x="338" y="712"/>
                  <a:pt x="337" y="711"/>
                </a:cubicBezTo>
                <a:close/>
                <a:moveTo>
                  <a:pt x="337" y="685"/>
                </a:moveTo>
                <a:cubicBezTo>
                  <a:pt x="337" y="684"/>
                  <a:pt x="339" y="684"/>
                  <a:pt x="339" y="685"/>
                </a:cubicBezTo>
                <a:cubicBezTo>
                  <a:pt x="340" y="685"/>
                  <a:pt x="338" y="686"/>
                  <a:pt x="337" y="685"/>
                </a:cubicBezTo>
                <a:close/>
                <a:moveTo>
                  <a:pt x="338" y="705"/>
                </a:moveTo>
                <a:cubicBezTo>
                  <a:pt x="338" y="704"/>
                  <a:pt x="340" y="704"/>
                  <a:pt x="340" y="705"/>
                </a:cubicBezTo>
                <a:cubicBezTo>
                  <a:pt x="340" y="705"/>
                  <a:pt x="339" y="706"/>
                  <a:pt x="338" y="705"/>
                </a:cubicBezTo>
                <a:close/>
                <a:moveTo>
                  <a:pt x="338" y="680"/>
                </a:moveTo>
                <a:cubicBezTo>
                  <a:pt x="338" y="680"/>
                  <a:pt x="341" y="680"/>
                  <a:pt x="341" y="680"/>
                </a:cubicBezTo>
                <a:cubicBezTo>
                  <a:pt x="341" y="681"/>
                  <a:pt x="337" y="682"/>
                  <a:pt x="338" y="680"/>
                </a:cubicBezTo>
                <a:close/>
                <a:moveTo>
                  <a:pt x="342" y="110"/>
                </a:moveTo>
                <a:cubicBezTo>
                  <a:pt x="341" y="111"/>
                  <a:pt x="341" y="109"/>
                  <a:pt x="342" y="110"/>
                </a:cubicBezTo>
                <a:close/>
                <a:moveTo>
                  <a:pt x="328" y="108"/>
                </a:moveTo>
                <a:cubicBezTo>
                  <a:pt x="326" y="108"/>
                  <a:pt x="329" y="107"/>
                  <a:pt x="331" y="106"/>
                </a:cubicBezTo>
                <a:cubicBezTo>
                  <a:pt x="334" y="106"/>
                  <a:pt x="339" y="104"/>
                  <a:pt x="342" y="104"/>
                </a:cubicBezTo>
                <a:cubicBezTo>
                  <a:pt x="343" y="104"/>
                  <a:pt x="344" y="105"/>
                  <a:pt x="344" y="105"/>
                </a:cubicBezTo>
                <a:cubicBezTo>
                  <a:pt x="344" y="105"/>
                  <a:pt x="330" y="108"/>
                  <a:pt x="328" y="108"/>
                </a:cubicBezTo>
                <a:close/>
                <a:moveTo>
                  <a:pt x="345" y="576"/>
                </a:moveTo>
                <a:cubicBezTo>
                  <a:pt x="345" y="576"/>
                  <a:pt x="345" y="576"/>
                  <a:pt x="345" y="576"/>
                </a:cubicBezTo>
                <a:cubicBezTo>
                  <a:pt x="346" y="576"/>
                  <a:pt x="346" y="576"/>
                  <a:pt x="346" y="576"/>
                </a:cubicBezTo>
                <a:cubicBezTo>
                  <a:pt x="346" y="576"/>
                  <a:pt x="345" y="576"/>
                  <a:pt x="345" y="576"/>
                </a:cubicBezTo>
                <a:close/>
                <a:moveTo>
                  <a:pt x="346" y="704"/>
                </a:moveTo>
                <a:cubicBezTo>
                  <a:pt x="346" y="703"/>
                  <a:pt x="347" y="703"/>
                  <a:pt x="347" y="703"/>
                </a:cubicBezTo>
                <a:cubicBezTo>
                  <a:pt x="348" y="704"/>
                  <a:pt x="346" y="704"/>
                  <a:pt x="346" y="704"/>
                </a:cubicBezTo>
                <a:close/>
                <a:moveTo>
                  <a:pt x="344" y="537"/>
                </a:moveTo>
                <a:cubicBezTo>
                  <a:pt x="345" y="535"/>
                  <a:pt x="348" y="535"/>
                  <a:pt x="349" y="534"/>
                </a:cubicBezTo>
                <a:cubicBezTo>
                  <a:pt x="348" y="535"/>
                  <a:pt x="345" y="536"/>
                  <a:pt x="344" y="537"/>
                </a:cubicBezTo>
                <a:close/>
                <a:moveTo>
                  <a:pt x="348" y="89"/>
                </a:moveTo>
                <a:cubicBezTo>
                  <a:pt x="347" y="90"/>
                  <a:pt x="346" y="89"/>
                  <a:pt x="348" y="89"/>
                </a:cubicBezTo>
                <a:close/>
                <a:moveTo>
                  <a:pt x="347" y="71"/>
                </a:moveTo>
                <a:cubicBezTo>
                  <a:pt x="347" y="72"/>
                  <a:pt x="348" y="72"/>
                  <a:pt x="347" y="72"/>
                </a:cubicBezTo>
                <a:cubicBezTo>
                  <a:pt x="347" y="72"/>
                  <a:pt x="347" y="72"/>
                  <a:pt x="347" y="71"/>
                </a:cubicBezTo>
                <a:close/>
                <a:moveTo>
                  <a:pt x="345" y="44"/>
                </a:moveTo>
                <a:cubicBezTo>
                  <a:pt x="346" y="42"/>
                  <a:pt x="350" y="42"/>
                  <a:pt x="350" y="45"/>
                </a:cubicBezTo>
                <a:cubicBezTo>
                  <a:pt x="349" y="47"/>
                  <a:pt x="345" y="46"/>
                  <a:pt x="345" y="44"/>
                </a:cubicBezTo>
                <a:close/>
                <a:moveTo>
                  <a:pt x="350" y="626"/>
                </a:moveTo>
                <a:cubicBezTo>
                  <a:pt x="350" y="627"/>
                  <a:pt x="349" y="625"/>
                  <a:pt x="350" y="626"/>
                </a:cubicBezTo>
                <a:close/>
                <a:moveTo>
                  <a:pt x="350" y="205"/>
                </a:moveTo>
                <a:cubicBezTo>
                  <a:pt x="349" y="205"/>
                  <a:pt x="350" y="203"/>
                  <a:pt x="350" y="204"/>
                </a:cubicBezTo>
                <a:cubicBezTo>
                  <a:pt x="351" y="204"/>
                  <a:pt x="351" y="205"/>
                  <a:pt x="350" y="205"/>
                </a:cubicBezTo>
                <a:close/>
                <a:moveTo>
                  <a:pt x="538" y="122"/>
                </a:moveTo>
                <a:cubicBezTo>
                  <a:pt x="538" y="121"/>
                  <a:pt x="540" y="121"/>
                  <a:pt x="540" y="122"/>
                </a:cubicBezTo>
                <a:cubicBezTo>
                  <a:pt x="542" y="121"/>
                  <a:pt x="543" y="121"/>
                  <a:pt x="543" y="123"/>
                </a:cubicBezTo>
                <a:cubicBezTo>
                  <a:pt x="543" y="124"/>
                  <a:pt x="539" y="125"/>
                  <a:pt x="538" y="124"/>
                </a:cubicBezTo>
                <a:cubicBezTo>
                  <a:pt x="538" y="123"/>
                  <a:pt x="538" y="123"/>
                  <a:pt x="538" y="122"/>
                </a:cubicBezTo>
                <a:cubicBezTo>
                  <a:pt x="538" y="122"/>
                  <a:pt x="538" y="122"/>
                  <a:pt x="538" y="122"/>
                </a:cubicBezTo>
                <a:close/>
                <a:moveTo>
                  <a:pt x="538" y="121"/>
                </a:moveTo>
                <a:cubicBezTo>
                  <a:pt x="538" y="121"/>
                  <a:pt x="536" y="122"/>
                  <a:pt x="536" y="121"/>
                </a:cubicBezTo>
                <a:cubicBezTo>
                  <a:pt x="536" y="121"/>
                  <a:pt x="537" y="121"/>
                  <a:pt x="538" y="121"/>
                </a:cubicBezTo>
                <a:close/>
                <a:moveTo>
                  <a:pt x="531" y="126"/>
                </a:moveTo>
                <a:cubicBezTo>
                  <a:pt x="531" y="126"/>
                  <a:pt x="531" y="127"/>
                  <a:pt x="530" y="127"/>
                </a:cubicBezTo>
                <a:cubicBezTo>
                  <a:pt x="530" y="127"/>
                  <a:pt x="531" y="126"/>
                  <a:pt x="531" y="126"/>
                </a:cubicBezTo>
                <a:close/>
                <a:moveTo>
                  <a:pt x="531" y="154"/>
                </a:moveTo>
                <a:cubicBezTo>
                  <a:pt x="529" y="157"/>
                  <a:pt x="525" y="158"/>
                  <a:pt x="522" y="159"/>
                </a:cubicBezTo>
                <a:cubicBezTo>
                  <a:pt x="524" y="156"/>
                  <a:pt x="528" y="156"/>
                  <a:pt x="531" y="154"/>
                </a:cubicBezTo>
                <a:close/>
                <a:moveTo>
                  <a:pt x="525" y="201"/>
                </a:moveTo>
                <a:cubicBezTo>
                  <a:pt x="524" y="202"/>
                  <a:pt x="523" y="203"/>
                  <a:pt x="521" y="203"/>
                </a:cubicBezTo>
                <a:cubicBezTo>
                  <a:pt x="522" y="202"/>
                  <a:pt x="523" y="201"/>
                  <a:pt x="525" y="201"/>
                </a:cubicBezTo>
                <a:close/>
                <a:moveTo>
                  <a:pt x="521" y="198"/>
                </a:moveTo>
                <a:cubicBezTo>
                  <a:pt x="521" y="198"/>
                  <a:pt x="521" y="197"/>
                  <a:pt x="522" y="197"/>
                </a:cubicBezTo>
                <a:cubicBezTo>
                  <a:pt x="524" y="195"/>
                  <a:pt x="523" y="200"/>
                  <a:pt x="521" y="198"/>
                </a:cubicBezTo>
                <a:close/>
                <a:moveTo>
                  <a:pt x="524" y="195"/>
                </a:moveTo>
                <a:cubicBezTo>
                  <a:pt x="524" y="194"/>
                  <a:pt x="525" y="194"/>
                  <a:pt x="525" y="194"/>
                </a:cubicBezTo>
                <a:cubicBezTo>
                  <a:pt x="526" y="195"/>
                  <a:pt x="524" y="195"/>
                  <a:pt x="524" y="195"/>
                </a:cubicBezTo>
                <a:close/>
                <a:moveTo>
                  <a:pt x="531" y="196"/>
                </a:moveTo>
                <a:cubicBezTo>
                  <a:pt x="530" y="198"/>
                  <a:pt x="527" y="199"/>
                  <a:pt x="525" y="201"/>
                </a:cubicBezTo>
                <a:cubicBezTo>
                  <a:pt x="526" y="199"/>
                  <a:pt x="529" y="197"/>
                  <a:pt x="531" y="196"/>
                </a:cubicBezTo>
                <a:close/>
                <a:moveTo>
                  <a:pt x="529" y="172"/>
                </a:moveTo>
                <a:cubicBezTo>
                  <a:pt x="531" y="170"/>
                  <a:pt x="530" y="174"/>
                  <a:pt x="528" y="173"/>
                </a:cubicBezTo>
                <a:cubicBezTo>
                  <a:pt x="528" y="173"/>
                  <a:pt x="529" y="172"/>
                  <a:pt x="529" y="172"/>
                </a:cubicBezTo>
                <a:close/>
                <a:moveTo>
                  <a:pt x="522" y="181"/>
                </a:moveTo>
                <a:cubicBezTo>
                  <a:pt x="521" y="181"/>
                  <a:pt x="523" y="180"/>
                  <a:pt x="523" y="181"/>
                </a:cubicBezTo>
                <a:cubicBezTo>
                  <a:pt x="524" y="181"/>
                  <a:pt x="522" y="182"/>
                  <a:pt x="522" y="181"/>
                </a:cubicBezTo>
                <a:close/>
                <a:moveTo>
                  <a:pt x="529" y="135"/>
                </a:moveTo>
                <a:cubicBezTo>
                  <a:pt x="528" y="136"/>
                  <a:pt x="526" y="138"/>
                  <a:pt x="524" y="138"/>
                </a:cubicBezTo>
                <a:cubicBezTo>
                  <a:pt x="525" y="138"/>
                  <a:pt x="526" y="138"/>
                  <a:pt x="525" y="139"/>
                </a:cubicBezTo>
                <a:cubicBezTo>
                  <a:pt x="525" y="140"/>
                  <a:pt x="522" y="140"/>
                  <a:pt x="522" y="139"/>
                </a:cubicBezTo>
                <a:cubicBezTo>
                  <a:pt x="522" y="139"/>
                  <a:pt x="523" y="138"/>
                  <a:pt x="524" y="138"/>
                </a:cubicBezTo>
                <a:cubicBezTo>
                  <a:pt x="524" y="138"/>
                  <a:pt x="524" y="138"/>
                  <a:pt x="524" y="138"/>
                </a:cubicBezTo>
                <a:cubicBezTo>
                  <a:pt x="525" y="136"/>
                  <a:pt x="527" y="136"/>
                  <a:pt x="529" y="135"/>
                </a:cubicBezTo>
                <a:close/>
                <a:moveTo>
                  <a:pt x="525" y="117"/>
                </a:moveTo>
                <a:cubicBezTo>
                  <a:pt x="525" y="117"/>
                  <a:pt x="525" y="117"/>
                  <a:pt x="524" y="117"/>
                </a:cubicBezTo>
                <a:cubicBezTo>
                  <a:pt x="524" y="117"/>
                  <a:pt x="524" y="116"/>
                  <a:pt x="525" y="117"/>
                </a:cubicBezTo>
                <a:close/>
                <a:moveTo>
                  <a:pt x="524" y="86"/>
                </a:moveTo>
                <a:cubicBezTo>
                  <a:pt x="523" y="86"/>
                  <a:pt x="522" y="86"/>
                  <a:pt x="521" y="86"/>
                </a:cubicBezTo>
                <a:cubicBezTo>
                  <a:pt x="522" y="85"/>
                  <a:pt x="523" y="85"/>
                  <a:pt x="524" y="86"/>
                </a:cubicBezTo>
                <a:close/>
                <a:moveTo>
                  <a:pt x="521" y="87"/>
                </a:moveTo>
                <a:cubicBezTo>
                  <a:pt x="521" y="87"/>
                  <a:pt x="523" y="88"/>
                  <a:pt x="523" y="88"/>
                </a:cubicBezTo>
                <a:cubicBezTo>
                  <a:pt x="523" y="88"/>
                  <a:pt x="520" y="88"/>
                  <a:pt x="521" y="87"/>
                </a:cubicBezTo>
                <a:close/>
                <a:moveTo>
                  <a:pt x="523" y="92"/>
                </a:moveTo>
                <a:cubicBezTo>
                  <a:pt x="523" y="92"/>
                  <a:pt x="521" y="92"/>
                  <a:pt x="521" y="91"/>
                </a:cubicBezTo>
                <a:cubicBezTo>
                  <a:pt x="522" y="90"/>
                  <a:pt x="523" y="91"/>
                  <a:pt x="523" y="92"/>
                </a:cubicBezTo>
                <a:close/>
                <a:moveTo>
                  <a:pt x="521" y="105"/>
                </a:moveTo>
                <a:cubicBezTo>
                  <a:pt x="521" y="106"/>
                  <a:pt x="520" y="104"/>
                  <a:pt x="521" y="105"/>
                </a:cubicBezTo>
                <a:close/>
                <a:moveTo>
                  <a:pt x="525" y="106"/>
                </a:moveTo>
                <a:cubicBezTo>
                  <a:pt x="527" y="106"/>
                  <a:pt x="528" y="108"/>
                  <a:pt x="526" y="111"/>
                </a:cubicBezTo>
                <a:cubicBezTo>
                  <a:pt x="525" y="112"/>
                  <a:pt x="523" y="112"/>
                  <a:pt x="522" y="112"/>
                </a:cubicBezTo>
                <a:cubicBezTo>
                  <a:pt x="520" y="112"/>
                  <a:pt x="518" y="112"/>
                  <a:pt x="518" y="112"/>
                </a:cubicBezTo>
                <a:cubicBezTo>
                  <a:pt x="518" y="112"/>
                  <a:pt x="519" y="112"/>
                  <a:pt x="519" y="112"/>
                </a:cubicBezTo>
                <a:cubicBezTo>
                  <a:pt x="519" y="112"/>
                  <a:pt x="518" y="112"/>
                  <a:pt x="518" y="112"/>
                </a:cubicBezTo>
                <a:cubicBezTo>
                  <a:pt x="518" y="112"/>
                  <a:pt x="518" y="111"/>
                  <a:pt x="518" y="111"/>
                </a:cubicBezTo>
                <a:cubicBezTo>
                  <a:pt x="517" y="110"/>
                  <a:pt x="522" y="106"/>
                  <a:pt x="525" y="106"/>
                </a:cubicBezTo>
                <a:close/>
                <a:moveTo>
                  <a:pt x="520" y="133"/>
                </a:moveTo>
                <a:cubicBezTo>
                  <a:pt x="522" y="131"/>
                  <a:pt x="522" y="133"/>
                  <a:pt x="520" y="133"/>
                </a:cubicBezTo>
                <a:close/>
                <a:moveTo>
                  <a:pt x="519" y="147"/>
                </a:moveTo>
                <a:cubicBezTo>
                  <a:pt x="519" y="146"/>
                  <a:pt x="521" y="145"/>
                  <a:pt x="521" y="146"/>
                </a:cubicBezTo>
                <a:cubicBezTo>
                  <a:pt x="522" y="147"/>
                  <a:pt x="520" y="147"/>
                  <a:pt x="519" y="147"/>
                </a:cubicBezTo>
                <a:close/>
                <a:moveTo>
                  <a:pt x="513" y="162"/>
                </a:moveTo>
                <a:cubicBezTo>
                  <a:pt x="512" y="161"/>
                  <a:pt x="516" y="159"/>
                  <a:pt x="516" y="161"/>
                </a:cubicBezTo>
                <a:cubicBezTo>
                  <a:pt x="517" y="162"/>
                  <a:pt x="513" y="163"/>
                  <a:pt x="513" y="162"/>
                </a:cubicBezTo>
                <a:close/>
                <a:moveTo>
                  <a:pt x="516" y="163"/>
                </a:moveTo>
                <a:cubicBezTo>
                  <a:pt x="516" y="164"/>
                  <a:pt x="515" y="165"/>
                  <a:pt x="516" y="164"/>
                </a:cubicBezTo>
                <a:cubicBezTo>
                  <a:pt x="516" y="164"/>
                  <a:pt x="516" y="164"/>
                  <a:pt x="516" y="163"/>
                </a:cubicBezTo>
                <a:close/>
                <a:moveTo>
                  <a:pt x="514" y="191"/>
                </a:moveTo>
                <a:cubicBezTo>
                  <a:pt x="515" y="190"/>
                  <a:pt x="516" y="192"/>
                  <a:pt x="514" y="191"/>
                </a:cubicBezTo>
                <a:close/>
                <a:moveTo>
                  <a:pt x="512" y="192"/>
                </a:moveTo>
                <a:cubicBezTo>
                  <a:pt x="512" y="191"/>
                  <a:pt x="514" y="191"/>
                  <a:pt x="514" y="191"/>
                </a:cubicBezTo>
                <a:cubicBezTo>
                  <a:pt x="514" y="192"/>
                  <a:pt x="512" y="192"/>
                  <a:pt x="512" y="192"/>
                </a:cubicBezTo>
                <a:close/>
                <a:moveTo>
                  <a:pt x="514" y="247"/>
                </a:moveTo>
                <a:cubicBezTo>
                  <a:pt x="514" y="248"/>
                  <a:pt x="513" y="245"/>
                  <a:pt x="514" y="247"/>
                </a:cubicBezTo>
                <a:close/>
                <a:moveTo>
                  <a:pt x="504" y="183"/>
                </a:moveTo>
                <a:cubicBezTo>
                  <a:pt x="506" y="182"/>
                  <a:pt x="506" y="181"/>
                  <a:pt x="504" y="181"/>
                </a:cubicBezTo>
                <a:cubicBezTo>
                  <a:pt x="505" y="178"/>
                  <a:pt x="508" y="175"/>
                  <a:pt x="511" y="176"/>
                </a:cubicBezTo>
                <a:cubicBezTo>
                  <a:pt x="517" y="179"/>
                  <a:pt x="509" y="186"/>
                  <a:pt x="504" y="183"/>
                </a:cubicBezTo>
                <a:close/>
                <a:moveTo>
                  <a:pt x="505" y="184"/>
                </a:moveTo>
                <a:cubicBezTo>
                  <a:pt x="505" y="184"/>
                  <a:pt x="505" y="184"/>
                  <a:pt x="505" y="184"/>
                </a:cubicBezTo>
                <a:cubicBezTo>
                  <a:pt x="506" y="186"/>
                  <a:pt x="503" y="183"/>
                  <a:pt x="505" y="184"/>
                </a:cubicBezTo>
                <a:close/>
                <a:moveTo>
                  <a:pt x="494" y="127"/>
                </a:moveTo>
                <a:cubicBezTo>
                  <a:pt x="494" y="127"/>
                  <a:pt x="497" y="125"/>
                  <a:pt x="498" y="127"/>
                </a:cubicBezTo>
                <a:cubicBezTo>
                  <a:pt x="498" y="128"/>
                  <a:pt x="494" y="129"/>
                  <a:pt x="494" y="127"/>
                </a:cubicBezTo>
                <a:close/>
                <a:moveTo>
                  <a:pt x="496" y="219"/>
                </a:moveTo>
                <a:cubicBezTo>
                  <a:pt x="495" y="219"/>
                  <a:pt x="496" y="218"/>
                  <a:pt x="496" y="218"/>
                </a:cubicBezTo>
                <a:cubicBezTo>
                  <a:pt x="497" y="218"/>
                  <a:pt x="496" y="219"/>
                  <a:pt x="496" y="219"/>
                </a:cubicBezTo>
                <a:close/>
                <a:moveTo>
                  <a:pt x="493" y="182"/>
                </a:moveTo>
                <a:cubicBezTo>
                  <a:pt x="493" y="181"/>
                  <a:pt x="495" y="181"/>
                  <a:pt x="495" y="181"/>
                </a:cubicBezTo>
                <a:cubicBezTo>
                  <a:pt x="496" y="182"/>
                  <a:pt x="494" y="183"/>
                  <a:pt x="493" y="182"/>
                </a:cubicBezTo>
                <a:close/>
                <a:moveTo>
                  <a:pt x="494" y="221"/>
                </a:moveTo>
                <a:cubicBezTo>
                  <a:pt x="494" y="221"/>
                  <a:pt x="495" y="220"/>
                  <a:pt x="495" y="220"/>
                </a:cubicBezTo>
                <a:cubicBezTo>
                  <a:pt x="495" y="220"/>
                  <a:pt x="494" y="222"/>
                  <a:pt x="494" y="221"/>
                </a:cubicBezTo>
                <a:close/>
                <a:moveTo>
                  <a:pt x="484" y="206"/>
                </a:moveTo>
                <a:cubicBezTo>
                  <a:pt x="487" y="204"/>
                  <a:pt x="490" y="201"/>
                  <a:pt x="492" y="200"/>
                </a:cubicBezTo>
                <a:cubicBezTo>
                  <a:pt x="492" y="200"/>
                  <a:pt x="494" y="199"/>
                  <a:pt x="493" y="200"/>
                </a:cubicBezTo>
                <a:cubicBezTo>
                  <a:pt x="492" y="203"/>
                  <a:pt x="487" y="205"/>
                  <a:pt x="484" y="206"/>
                </a:cubicBezTo>
                <a:close/>
                <a:moveTo>
                  <a:pt x="491" y="221"/>
                </a:moveTo>
                <a:cubicBezTo>
                  <a:pt x="491" y="220"/>
                  <a:pt x="493" y="220"/>
                  <a:pt x="493" y="221"/>
                </a:cubicBezTo>
                <a:cubicBezTo>
                  <a:pt x="493" y="222"/>
                  <a:pt x="491" y="222"/>
                  <a:pt x="491" y="221"/>
                </a:cubicBezTo>
                <a:close/>
                <a:moveTo>
                  <a:pt x="480" y="95"/>
                </a:moveTo>
                <a:cubicBezTo>
                  <a:pt x="482" y="94"/>
                  <a:pt x="483" y="93"/>
                  <a:pt x="485" y="93"/>
                </a:cubicBezTo>
                <a:cubicBezTo>
                  <a:pt x="483" y="94"/>
                  <a:pt x="482" y="95"/>
                  <a:pt x="480" y="95"/>
                </a:cubicBezTo>
                <a:close/>
                <a:moveTo>
                  <a:pt x="481" y="162"/>
                </a:moveTo>
                <a:cubicBezTo>
                  <a:pt x="481" y="160"/>
                  <a:pt x="484" y="161"/>
                  <a:pt x="481" y="162"/>
                </a:cubicBezTo>
                <a:close/>
                <a:moveTo>
                  <a:pt x="482" y="109"/>
                </a:moveTo>
                <a:cubicBezTo>
                  <a:pt x="481" y="112"/>
                  <a:pt x="478" y="110"/>
                  <a:pt x="482" y="109"/>
                </a:cubicBezTo>
                <a:close/>
                <a:moveTo>
                  <a:pt x="496" y="72"/>
                </a:moveTo>
                <a:cubicBezTo>
                  <a:pt x="496" y="73"/>
                  <a:pt x="495" y="73"/>
                  <a:pt x="494" y="73"/>
                </a:cubicBezTo>
                <a:cubicBezTo>
                  <a:pt x="494" y="73"/>
                  <a:pt x="496" y="71"/>
                  <a:pt x="496" y="72"/>
                </a:cubicBezTo>
                <a:close/>
                <a:moveTo>
                  <a:pt x="494" y="43"/>
                </a:moveTo>
                <a:cubicBezTo>
                  <a:pt x="494" y="43"/>
                  <a:pt x="496" y="43"/>
                  <a:pt x="496" y="43"/>
                </a:cubicBezTo>
                <a:cubicBezTo>
                  <a:pt x="497" y="45"/>
                  <a:pt x="494" y="44"/>
                  <a:pt x="494" y="43"/>
                </a:cubicBezTo>
                <a:close/>
                <a:moveTo>
                  <a:pt x="493" y="64"/>
                </a:moveTo>
                <a:cubicBezTo>
                  <a:pt x="493" y="64"/>
                  <a:pt x="494" y="64"/>
                  <a:pt x="495" y="65"/>
                </a:cubicBezTo>
                <a:cubicBezTo>
                  <a:pt x="495" y="66"/>
                  <a:pt x="493" y="65"/>
                  <a:pt x="493" y="64"/>
                </a:cubicBezTo>
                <a:close/>
                <a:moveTo>
                  <a:pt x="499" y="87"/>
                </a:moveTo>
                <a:cubicBezTo>
                  <a:pt x="498" y="89"/>
                  <a:pt x="488" y="88"/>
                  <a:pt x="488" y="87"/>
                </a:cubicBezTo>
                <a:cubicBezTo>
                  <a:pt x="489" y="86"/>
                  <a:pt x="496" y="88"/>
                  <a:pt x="499" y="87"/>
                </a:cubicBezTo>
                <a:close/>
                <a:moveTo>
                  <a:pt x="493" y="105"/>
                </a:moveTo>
                <a:cubicBezTo>
                  <a:pt x="493" y="105"/>
                  <a:pt x="493" y="105"/>
                  <a:pt x="493" y="105"/>
                </a:cubicBezTo>
                <a:cubicBezTo>
                  <a:pt x="493" y="105"/>
                  <a:pt x="493" y="105"/>
                  <a:pt x="492" y="105"/>
                </a:cubicBezTo>
                <a:cubicBezTo>
                  <a:pt x="489" y="105"/>
                  <a:pt x="493" y="97"/>
                  <a:pt x="497" y="101"/>
                </a:cubicBezTo>
                <a:cubicBezTo>
                  <a:pt x="498" y="102"/>
                  <a:pt x="498" y="102"/>
                  <a:pt x="498" y="103"/>
                </a:cubicBezTo>
                <a:cubicBezTo>
                  <a:pt x="498" y="106"/>
                  <a:pt x="494" y="107"/>
                  <a:pt x="493" y="105"/>
                </a:cubicBezTo>
                <a:close/>
                <a:moveTo>
                  <a:pt x="495" y="108"/>
                </a:moveTo>
                <a:cubicBezTo>
                  <a:pt x="495" y="108"/>
                  <a:pt x="494" y="109"/>
                  <a:pt x="494" y="108"/>
                </a:cubicBezTo>
                <a:cubicBezTo>
                  <a:pt x="493" y="108"/>
                  <a:pt x="495" y="107"/>
                  <a:pt x="495" y="108"/>
                </a:cubicBezTo>
                <a:close/>
                <a:moveTo>
                  <a:pt x="494" y="174"/>
                </a:moveTo>
                <a:cubicBezTo>
                  <a:pt x="494" y="175"/>
                  <a:pt x="492" y="176"/>
                  <a:pt x="492" y="175"/>
                </a:cubicBezTo>
                <a:cubicBezTo>
                  <a:pt x="492" y="174"/>
                  <a:pt x="494" y="173"/>
                  <a:pt x="494" y="174"/>
                </a:cubicBezTo>
                <a:close/>
                <a:moveTo>
                  <a:pt x="495" y="98"/>
                </a:moveTo>
                <a:cubicBezTo>
                  <a:pt x="496" y="99"/>
                  <a:pt x="494" y="98"/>
                  <a:pt x="495" y="98"/>
                </a:cubicBezTo>
                <a:close/>
                <a:moveTo>
                  <a:pt x="499" y="91"/>
                </a:moveTo>
                <a:cubicBezTo>
                  <a:pt x="498" y="92"/>
                  <a:pt x="497" y="91"/>
                  <a:pt x="499" y="91"/>
                </a:cubicBezTo>
                <a:close/>
                <a:moveTo>
                  <a:pt x="491" y="166"/>
                </a:moveTo>
                <a:cubicBezTo>
                  <a:pt x="491" y="167"/>
                  <a:pt x="489" y="169"/>
                  <a:pt x="488" y="169"/>
                </a:cubicBezTo>
                <a:cubicBezTo>
                  <a:pt x="488" y="167"/>
                  <a:pt x="490" y="167"/>
                  <a:pt x="491" y="166"/>
                </a:cubicBezTo>
                <a:close/>
                <a:moveTo>
                  <a:pt x="485" y="144"/>
                </a:moveTo>
                <a:cubicBezTo>
                  <a:pt x="488" y="143"/>
                  <a:pt x="489" y="145"/>
                  <a:pt x="485" y="144"/>
                </a:cubicBezTo>
                <a:close/>
                <a:moveTo>
                  <a:pt x="486" y="93"/>
                </a:moveTo>
                <a:cubicBezTo>
                  <a:pt x="488" y="92"/>
                  <a:pt x="489" y="91"/>
                  <a:pt x="491" y="90"/>
                </a:cubicBezTo>
                <a:cubicBezTo>
                  <a:pt x="490" y="92"/>
                  <a:pt x="488" y="92"/>
                  <a:pt x="486" y="93"/>
                </a:cubicBezTo>
                <a:close/>
                <a:moveTo>
                  <a:pt x="491" y="61"/>
                </a:moveTo>
                <a:cubicBezTo>
                  <a:pt x="491" y="60"/>
                  <a:pt x="492" y="60"/>
                  <a:pt x="493" y="61"/>
                </a:cubicBezTo>
                <a:cubicBezTo>
                  <a:pt x="492" y="61"/>
                  <a:pt x="492" y="61"/>
                  <a:pt x="491" y="61"/>
                </a:cubicBezTo>
                <a:close/>
                <a:moveTo>
                  <a:pt x="490" y="74"/>
                </a:moveTo>
                <a:cubicBezTo>
                  <a:pt x="491" y="73"/>
                  <a:pt x="491" y="75"/>
                  <a:pt x="490" y="74"/>
                </a:cubicBezTo>
                <a:close/>
                <a:moveTo>
                  <a:pt x="489" y="67"/>
                </a:moveTo>
                <a:cubicBezTo>
                  <a:pt x="488" y="66"/>
                  <a:pt x="490" y="66"/>
                  <a:pt x="490" y="66"/>
                </a:cubicBezTo>
                <a:cubicBezTo>
                  <a:pt x="491" y="67"/>
                  <a:pt x="489" y="68"/>
                  <a:pt x="489" y="67"/>
                </a:cubicBezTo>
                <a:close/>
                <a:moveTo>
                  <a:pt x="488" y="60"/>
                </a:moveTo>
                <a:cubicBezTo>
                  <a:pt x="488" y="60"/>
                  <a:pt x="489" y="60"/>
                  <a:pt x="489" y="60"/>
                </a:cubicBezTo>
                <a:cubicBezTo>
                  <a:pt x="489" y="60"/>
                  <a:pt x="489" y="61"/>
                  <a:pt x="488" y="60"/>
                </a:cubicBezTo>
                <a:close/>
                <a:moveTo>
                  <a:pt x="492" y="82"/>
                </a:moveTo>
                <a:cubicBezTo>
                  <a:pt x="492" y="84"/>
                  <a:pt x="487" y="83"/>
                  <a:pt x="487" y="81"/>
                </a:cubicBezTo>
                <a:cubicBezTo>
                  <a:pt x="487" y="79"/>
                  <a:pt x="492" y="79"/>
                  <a:pt x="492" y="82"/>
                </a:cubicBezTo>
                <a:close/>
                <a:moveTo>
                  <a:pt x="483" y="73"/>
                </a:moveTo>
                <a:cubicBezTo>
                  <a:pt x="482" y="71"/>
                  <a:pt x="487" y="70"/>
                  <a:pt x="487" y="72"/>
                </a:cubicBezTo>
                <a:cubicBezTo>
                  <a:pt x="488" y="75"/>
                  <a:pt x="483" y="74"/>
                  <a:pt x="483" y="73"/>
                </a:cubicBezTo>
                <a:close/>
                <a:moveTo>
                  <a:pt x="483" y="60"/>
                </a:moveTo>
                <a:cubicBezTo>
                  <a:pt x="483" y="60"/>
                  <a:pt x="483" y="60"/>
                  <a:pt x="483" y="60"/>
                </a:cubicBezTo>
                <a:cubicBezTo>
                  <a:pt x="484" y="62"/>
                  <a:pt x="481" y="59"/>
                  <a:pt x="483" y="60"/>
                </a:cubicBezTo>
                <a:close/>
                <a:moveTo>
                  <a:pt x="482" y="62"/>
                </a:moveTo>
                <a:cubicBezTo>
                  <a:pt x="483" y="63"/>
                  <a:pt x="481" y="63"/>
                  <a:pt x="481" y="62"/>
                </a:cubicBezTo>
                <a:cubicBezTo>
                  <a:pt x="481" y="62"/>
                  <a:pt x="482" y="62"/>
                  <a:pt x="482" y="62"/>
                </a:cubicBezTo>
                <a:close/>
                <a:moveTo>
                  <a:pt x="487" y="184"/>
                </a:moveTo>
                <a:cubicBezTo>
                  <a:pt x="487" y="185"/>
                  <a:pt x="485" y="186"/>
                  <a:pt x="484" y="186"/>
                </a:cubicBezTo>
                <a:cubicBezTo>
                  <a:pt x="485" y="185"/>
                  <a:pt x="486" y="185"/>
                  <a:pt x="487" y="184"/>
                </a:cubicBezTo>
                <a:close/>
                <a:moveTo>
                  <a:pt x="495" y="174"/>
                </a:moveTo>
                <a:cubicBezTo>
                  <a:pt x="495" y="174"/>
                  <a:pt x="495" y="174"/>
                  <a:pt x="495" y="174"/>
                </a:cubicBezTo>
                <a:cubicBezTo>
                  <a:pt x="495" y="175"/>
                  <a:pt x="494" y="175"/>
                  <a:pt x="495" y="174"/>
                </a:cubicBezTo>
                <a:close/>
                <a:moveTo>
                  <a:pt x="498" y="141"/>
                </a:moveTo>
                <a:cubicBezTo>
                  <a:pt x="499" y="142"/>
                  <a:pt x="497" y="143"/>
                  <a:pt x="497" y="142"/>
                </a:cubicBezTo>
                <a:cubicBezTo>
                  <a:pt x="496" y="141"/>
                  <a:pt x="498" y="141"/>
                  <a:pt x="498" y="141"/>
                </a:cubicBezTo>
                <a:close/>
                <a:moveTo>
                  <a:pt x="497" y="131"/>
                </a:moveTo>
                <a:cubicBezTo>
                  <a:pt x="497" y="131"/>
                  <a:pt x="498" y="131"/>
                  <a:pt x="498" y="131"/>
                </a:cubicBezTo>
                <a:cubicBezTo>
                  <a:pt x="499" y="132"/>
                  <a:pt x="497" y="132"/>
                  <a:pt x="497" y="131"/>
                </a:cubicBezTo>
                <a:close/>
                <a:moveTo>
                  <a:pt x="498" y="128"/>
                </a:moveTo>
                <a:cubicBezTo>
                  <a:pt x="499" y="129"/>
                  <a:pt x="500" y="126"/>
                  <a:pt x="501" y="126"/>
                </a:cubicBezTo>
                <a:cubicBezTo>
                  <a:pt x="508" y="122"/>
                  <a:pt x="510" y="132"/>
                  <a:pt x="502" y="132"/>
                </a:cubicBezTo>
                <a:cubicBezTo>
                  <a:pt x="501" y="132"/>
                  <a:pt x="498" y="131"/>
                  <a:pt x="498" y="128"/>
                </a:cubicBezTo>
                <a:close/>
                <a:moveTo>
                  <a:pt x="502" y="94"/>
                </a:moveTo>
                <a:cubicBezTo>
                  <a:pt x="503" y="93"/>
                  <a:pt x="504" y="95"/>
                  <a:pt x="502" y="94"/>
                </a:cubicBezTo>
                <a:close/>
                <a:moveTo>
                  <a:pt x="505" y="67"/>
                </a:moveTo>
                <a:cubicBezTo>
                  <a:pt x="505" y="67"/>
                  <a:pt x="505" y="68"/>
                  <a:pt x="504" y="68"/>
                </a:cubicBezTo>
                <a:cubicBezTo>
                  <a:pt x="502" y="68"/>
                  <a:pt x="504" y="64"/>
                  <a:pt x="505" y="67"/>
                </a:cubicBezTo>
                <a:close/>
                <a:moveTo>
                  <a:pt x="503" y="121"/>
                </a:moveTo>
                <a:cubicBezTo>
                  <a:pt x="504" y="121"/>
                  <a:pt x="502" y="123"/>
                  <a:pt x="501" y="122"/>
                </a:cubicBezTo>
                <a:cubicBezTo>
                  <a:pt x="502" y="122"/>
                  <a:pt x="502" y="122"/>
                  <a:pt x="503" y="121"/>
                </a:cubicBezTo>
                <a:close/>
                <a:moveTo>
                  <a:pt x="506" y="123"/>
                </a:moveTo>
                <a:cubicBezTo>
                  <a:pt x="507" y="123"/>
                  <a:pt x="505" y="124"/>
                  <a:pt x="505" y="124"/>
                </a:cubicBezTo>
                <a:cubicBezTo>
                  <a:pt x="505" y="123"/>
                  <a:pt x="505" y="122"/>
                  <a:pt x="506" y="123"/>
                </a:cubicBezTo>
                <a:close/>
                <a:moveTo>
                  <a:pt x="506" y="142"/>
                </a:moveTo>
                <a:cubicBezTo>
                  <a:pt x="507" y="142"/>
                  <a:pt x="505" y="143"/>
                  <a:pt x="505" y="142"/>
                </a:cubicBezTo>
                <a:cubicBezTo>
                  <a:pt x="505" y="142"/>
                  <a:pt x="506" y="142"/>
                  <a:pt x="506" y="142"/>
                </a:cubicBezTo>
                <a:close/>
                <a:moveTo>
                  <a:pt x="502" y="137"/>
                </a:moveTo>
                <a:cubicBezTo>
                  <a:pt x="503" y="139"/>
                  <a:pt x="499" y="139"/>
                  <a:pt x="499" y="138"/>
                </a:cubicBezTo>
                <a:cubicBezTo>
                  <a:pt x="499" y="136"/>
                  <a:pt x="502" y="136"/>
                  <a:pt x="502" y="137"/>
                </a:cubicBezTo>
                <a:close/>
                <a:moveTo>
                  <a:pt x="504" y="199"/>
                </a:moveTo>
                <a:cubicBezTo>
                  <a:pt x="504" y="199"/>
                  <a:pt x="503" y="200"/>
                  <a:pt x="503" y="200"/>
                </a:cubicBezTo>
                <a:cubicBezTo>
                  <a:pt x="501" y="200"/>
                  <a:pt x="503" y="197"/>
                  <a:pt x="504" y="199"/>
                </a:cubicBezTo>
                <a:close/>
                <a:moveTo>
                  <a:pt x="512" y="113"/>
                </a:moveTo>
                <a:cubicBezTo>
                  <a:pt x="512" y="114"/>
                  <a:pt x="509" y="116"/>
                  <a:pt x="507" y="114"/>
                </a:cubicBezTo>
                <a:cubicBezTo>
                  <a:pt x="506" y="113"/>
                  <a:pt x="511" y="111"/>
                  <a:pt x="512" y="113"/>
                </a:cubicBezTo>
                <a:close/>
                <a:moveTo>
                  <a:pt x="508" y="101"/>
                </a:moveTo>
                <a:cubicBezTo>
                  <a:pt x="508" y="100"/>
                  <a:pt x="509" y="100"/>
                  <a:pt x="510" y="101"/>
                </a:cubicBezTo>
                <a:cubicBezTo>
                  <a:pt x="511" y="102"/>
                  <a:pt x="508" y="102"/>
                  <a:pt x="508" y="101"/>
                </a:cubicBezTo>
                <a:close/>
                <a:moveTo>
                  <a:pt x="510" y="102"/>
                </a:moveTo>
                <a:cubicBezTo>
                  <a:pt x="511" y="101"/>
                  <a:pt x="512" y="103"/>
                  <a:pt x="510" y="102"/>
                </a:cubicBezTo>
                <a:close/>
                <a:moveTo>
                  <a:pt x="514" y="132"/>
                </a:moveTo>
                <a:cubicBezTo>
                  <a:pt x="514" y="132"/>
                  <a:pt x="514" y="133"/>
                  <a:pt x="514" y="134"/>
                </a:cubicBezTo>
                <a:cubicBezTo>
                  <a:pt x="512" y="137"/>
                  <a:pt x="512" y="131"/>
                  <a:pt x="514" y="132"/>
                </a:cubicBezTo>
                <a:close/>
                <a:moveTo>
                  <a:pt x="515" y="154"/>
                </a:moveTo>
                <a:cubicBezTo>
                  <a:pt x="515" y="154"/>
                  <a:pt x="515" y="153"/>
                  <a:pt x="515" y="153"/>
                </a:cubicBezTo>
                <a:cubicBezTo>
                  <a:pt x="516" y="154"/>
                  <a:pt x="515" y="155"/>
                  <a:pt x="515" y="154"/>
                </a:cubicBezTo>
                <a:close/>
                <a:moveTo>
                  <a:pt x="516" y="153"/>
                </a:moveTo>
                <a:cubicBezTo>
                  <a:pt x="516" y="151"/>
                  <a:pt x="519" y="152"/>
                  <a:pt x="516" y="153"/>
                </a:cubicBezTo>
                <a:close/>
                <a:moveTo>
                  <a:pt x="513" y="148"/>
                </a:moveTo>
                <a:cubicBezTo>
                  <a:pt x="514" y="147"/>
                  <a:pt x="516" y="145"/>
                  <a:pt x="517" y="145"/>
                </a:cubicBezTo>
                <a:cubicBezTo>
                  <a:pt x="520" y="143"/>
                  <a:pt x="516" y="149"/>
                  <a:pt x="513" y="148"/>
                </a:cubicBezTo>
                <a:close/>
                <a:moveTo>
                  <a:pt x="515" y="134"/>
                </a:moveTo>
                <a:cubicBezTo>
                  <a:pt x="514" y="133"/>
                  <a:pt x="515" y="133"/>
                  <a:pt x="515" y="134"/>
                </a:cubicBezTo>
                <a:close/>
                <a:moveTo>
                  <a:pt x="518" y="86"/>
                </a:moveTo>
                <a:cubicBezTo>
                  <a:pt x="517" y="86"/>
                  <a:pt x="519" y="86"/>
                  <a:pt x="519" y="86"/>
                </a:cubicBezTo>
                <a:cubicBezTo>
                  <a:pt x="520" y="86"/>
                  <a:pt x="518" y="87"/>
                  <a:pt x="518" y="86"/>
                </a:cubicBezTo>
                <a:close/>
                <a:moveTo>
                  <a:pt x="518" y="88"/>
                </a:moveTo>
                <a:cubicBezTo>
                  <a:pt x="519" y="87"/>
                  <a:pt x="520" y="88"/>
                  <a:pt x="518" y="88"/>
                </a:cubicBezTo>
                <a:close/>
                <a:moveTo>
                  <a:pt x="519" y="94"/>
                </a:moveTo>
                <a:cubicBezTo>
                  <a:pt x="519" y="96"/>
                  <a:pt x="514" y="96"/>
                  <a:pt x="515" y="93"/>
                </a:cubicBezTo>
                <a:cubicBezTo>
                  <a:pt x="515" y="92"/>
                  <a:pt x="519" y="92"/>
                  <a:pt x="519" y="94"/>
                </a:cubicBezTo>
                <a:close/>
                <a:moveTo>
                  <a:pt x="516" y="113"/>
                </a:moveTo>
                <a:cubicBezTo>
                  <a:pt x="516" y="112"/>
                  <a:pt x="516" y="112"/>
                  <a:pt x="516" y="112"/>
                </a:cubicBezTo>
                <a:cubicBezTo>
                  <a:pt x="518" y="110"/>
                  <a:pt x="517" y="114"/>
                  <a:pt x="516" y="113"/>
                </a:cubicBezTo>
                <a:close/>
                <a:moveTo>
                  <a:pt x="518" y="143"/>
                </a:moveTo>
                <a:cubicBezTo>
                  <a:pt x="518" y="143"/>
                  <a:pt x="516" y="144"/>
                  <a:pt x="516" y="144"/>
                </a:cubicBezTo>
                <a:cubicBezTo>
                  <a:pt x="516" y="143"/>
                  <a:pt x="517" y="142"/>
                  <a:pt x="518" y="143"/>
                </a:cubicBezTo>
                <a:close/>
                <a:moveTo>
                  <a:pt x="515" y="139"/>
                </a:moveTo>
                <a:cubicBezTo>
                  <a:pt x="516" y="140"/>
                  <a:pt x="515" y="140"/>
                  <a:pt x="515" y="140"/>
                </a:cubicBezTo>
                <a:cubicBezTo>
                  <a:pt x="515" y="140"/>
                  <a:pt x="515" y="139"/>
                  <a:pt x="515" y="139"/>
                </a:cubicBezTo>
                <a:close/>
                <a:moveTo>
                  <a:pt x="519" y="150"/>
                </a:moveTo>
                <a:cubicBezTo>
                  <a:pt x="520" y="150"/>
                  <a:pt x="518" y="151"/>
                  <a:pt x="518" y="151"/>
                </a:cubicBezTo>
                <a:cubicBezTo>
                  <a:pt x="517" y="150"/>
                  <a:pt x="519" y="150"/>
                  <a:pt x="519" y="150"/>
                </a:cubicBezTo>
                <a:close/>
                <a:moveTo>
                  <a:pt x="525" y="72"/>
                </a:moveTo>
                <a:cubicBezTo>
                  <a:pt x="525" y="72"/>
                  <a:pt x="525" y="72"/>
                  <a:pt x="524" y="72"/>
                </a:cubicBezTo>
                <a:cubicBezTo>
                  <a:pt x="524" y="72"/>
                  <a:pt x="525" y="71"/>
                  <a:pt x="525" y="72"/>
                </a:cubicBezTo>
                <a:close/>
                <a:moveTo>
                  <a:pt x="509" y="73"/>
                </a:moveTo>
                <a:cubicBezTo>
                  <a:pt x="510" y="72"/>
                  <a:pt x="513" y="74"/>
                  <a:pt x="516" y="74"/>
                </a:cubicBezTo>
                <a:cubicBezTo>
                  <a:pt x="517" y="73"/>
                  <a:pt x="522" y="72"/>
                  <a:pt x="523" y="73"/>
                </a:cubicBezTo>
                <a:cubicBezTo>
                  <a:pt x="523" y="75"/>
                  <a:pt x="517" y="75"/>
                  <a:pt x="517" y="75"/>
                </a:cubicBezTo>
                <a:cubicBezTo>
                  <a:pt x="517" y="76"/>
                  <a:pt x="520" y="79"/>
                  <a:pt x="520" y="79"/>
                </a:cubicBezTo>
                <a:cubicBezTo>
                  <a:pt x="522" y="87"/>
                  <a:pt x="509" y="84"/>
                  <a:pt x="506" y="82"/>
                </a:cubicBezTo>
                <a:cubicBezTo>
                  <a:pt x="501" y="80"/>
                  <a:pt x="510" y="81"/>
                  <a:pt x="507" y="77"/>
                </a:cubicBezTo>
                <a:cubicBezTo>
                  <a:pt x="511" y="79"/>
                  <a:pt x="508" y="74"/>
                  <a:pt x="509" y="73"/>
                </a:cubicBezTo>
                <a:close/>
                <a:moveTo>
                  <a:pt x="509" y="61"/>
                </a:moveTo>
                <a:cubicBezTo>
                  <a:pt x="510" y="61"/>
                  <a:pt x="508" y="62"/>
                  <a:pt x="507" y="61"/>
                </a:cubicBezTo>
                <a:cubicBezTo>
                  <a:pt x="507" y="61"/>
                  <a:pt x="509" y="60"/>
                  <a:pt x="509" y="61"/>
                </a:cubicBezTo>
                <a:close/>
                <a:moveTo>
                  <a:pt x="511" y="36"/>
                </a:moveTo>
                <a:cubicBezTo>
                  <a:pt x="511" y="37"/>
                  <a:pt x="509" y="37"/>
                  <a:pt x="509" y="36"/>
                </a:cubicBezTo>
                <a:cubicBezTo>
                  <a:pt x="509" y="35"/>
                  <a:pt x="510" y="35"/>
                  <a:pt x="511" y="36"/>
                </a:cubicBezTo>
                <a:close/>
                <a:moveTo>
                  <a:pt x="509" y="38"/>
                </a:moveTo>
                <a:cubicBezTo>
                  <a:pt x="509" y="40"/>
                  <a:pt x="506" y="39"/>
                  <a:pt x="506" y="38"/>
                </a:cubicBezTo>
                <a:cubicBezTo>
                  <a:pt x="506" y="37"/>
                  <a:pt x="509" y="36"/>
                  <a:pt x="509" y="38"/>
                </a:cubicBezTo>
                <a:close/>
                <a:moveTo>
                  <a:pt x="509" y="50"/>
                </a:moveTo>
                <a:cubicBezTo>
                  <a:pt x="504" y="53"/>
                  <a:pt x="503" y="50"/>
                  <a:pt x="509" y="50"/>
                </a:cubicBezTo>
                <a:close/>
                <a:moveTo>
                  <a:pt x="506" y="53"/>
                </a:moveTo>
                <a:cubicBezTo>
                  <a:pt x="505" y="54"/>
                  <a:pt x="504" y="53"/>
                  <a:pt x="504" y="53"/>
                </a:cubicBezTo>
                <a:cubicBezTo>
                  <a:pt x="504" y="53"/>
                  <a:pt x="506" y="53"/>
                  <a:pt x="506" y="53"/>
                </a:cubicBezTo>
                <a:close/>
                <a:moveTo>
                  <a:pt x="504" y="64"/>
                </a:moveTo>
                <a:cubicBezTo>
                  <a:pt x="503" y="65"/>
                  <a:pt x="502" y="65"/>
                  <a:pt x="501" y="65"/>
                </a:cubicBezTo>
                <a:cubicBezTo>
                  <a:pt x="501" y="64"/>
                  <a:pt x="503" y="63"/>
                  <a:pt x="504" y="64"/>
                </a:cubicBezTo>
                <a:close/>
                <a:moveTo>
                  <a:pt x="501" y="64"/>
                </a:moveTo>
                <a:cubicBezTo>
                  <a:pt x="501" y="64"/>
                  <a:pt x="500" y="65"/>
                  <a:pt x="500" y="64"/>
                </a:cubicBezTo>
                <a:cubicBezTo>
                  <a:pt x="500" y="64"/>
                  <a:pt x="501" y="63"/>
                  <a:pt x="501" y="64"/>
                </a:cubicBezTo>
                <a:close/>
                <a:moveTo>
                  <a:pt x="501" y="123"/>
                </a:moveTo>
                <a:cubicBezTo>
                  <a:pt x="501" y="123"/>
                  <a:pt x="501" y="123"/>
                  <a:pt x="501" y="123"/>
                </a:cubicBezTo>
                <a:cubicBezTo>
                  <a:pt x="502" y="125"/>
                  <a:pt x="499" y="121"/>
                  <a:pt x="501" y="123"/>
                </a:cubicBezTo>
                <a:close/>
                <a:moveTo>
                  <a:pt x="499" y="65"/>
                </a:moveTo>
                <a:cubicBezTo>
                  <a:pt x="501" y="65"/>
                  <a:pt x="497" y="65"/>
                  <a:pt x="499" y="65"/>
                </a:cubicBezTo>
                <a:close/>
                <a:moveTo>
                  <a:pt x="498" y="38"/>
                </a:moveTo>
                <a:cubicBezTo>
                  <a:pt x="498" y="38"/>
                  <a:pt x="497" y="39"/>
                  <a:pt x="497" y="38"/>
                </a:cubicBezTo>
                <a:cubicBezTo>
                  <a:pt x="497" y="38"/>
                  <a:pt x="497" y="37"/>
                  <a:pt x="498" y="38"/>
                </a:cubicBezTo>
                <a:close/>
                <a:moveTo>
                  <a:pt x="497" y="31"/>
                </a:moveTo>
                <a:cubicBezTo>
                  <a:pt x="497" y="32"/>
                  <a:pt x="495" y="32"/>
                  <a:pt x="495" y="31"/>
                </a:cubicBezTo>
                <a:cubicBezTo>
                  <a:pt x="495" y="31"/>
                  <a:pt x="496" y="31"/>
                  <a:pt x="497" y="31"/>
                </a:cubicBezTo>
                <a:close/>
                <a:moveTo>
                  <a:pt x="496" y="40"/>
                </a:moveTo>
                <a:cubicBezTo>
                  <a:pt x="496" y="41"/>
                  <a:pt x="493" y="42"/>
                  <a:pt x="493" y="41"/>
                </a:cubicBezTo>
                <a:cubicBezTo>
                  <a:pt x="492" y="40"/>
                  <a:pt x="495" y="39"/>
                  <a:pt x="496" y="40"/>
                </a:cubicBezTo>
                <a:close/>
                <a:moveTo>
                  <a:pt x="492" y="44"/>
                </a:moveTo>
                <a:cubicBezTo>
                  <a:pt x="493" y="43"/>
                  <a:pt x="494" y="45"/>
                  <a:pt x="492" y="44"/>
                </a:cubicBezTo>
                <a:close/>
                <a:moveTo>
                  <a:pt x="488" y="29"/>
                </a:moveTo>
                <a:cubicBezTo>
                  <a:pt x="489" y="30"/>
                  <a:pt x="486" y="30"/>
                  <a:pt x="486" y="29"/>
                </a:cubicBezTo>
                <a:cubicBezTo>
                  <a:pt x="486" y="28"/>
                  <a:pt x="488" y="28"/>
                  <a:pt x="488" y="29"/>
                </a:cubicBezTo>
                <a:close/>
                <a:moveTo>
                  <a:pt x="487" y="31"/>
                </a:moveTo>
                <a:cubicBezTo>
                  <a:pt x="487" y="31"/>
                  <a:pt x="488" y="31"/>
                  <a:pt x="488" y="31"/>
                </a:cubicBezTo>
                <a:cubicBezTo>
                  <a:pt x="489" y="32"/>
                  <a:pt x="487" y="32"/>
                  <a:pt x="487" y="31"/>
                </a:cubicBezTo>
                <a:close/>
                <a:moveTo>
                  <a:pt x="488" y="40"/>
                </a:moveTo>
                <a:cubicBezTo>
                  <a:pt x="488" y="41"/>
                  <a:pt x="487" y="41"/>
                  <a:pt x="486" y="41"/>
                </a:cubicBezTo>
                <a:cubicBezTo>
                  <a:pt x="486" y="40"/>
                  <a:pt x="487" y="40"/>
                  <a:pt x="488" y="40"/>
                </a:cubicBezTo>
                <a:close/>
                <a:moveTo>
                  <a:pt x="484" y="41"/>
                </a:moveTo>
                <a:cubicBezTo>
                  <a:pt x="485" y="42"/>
                  <a:pt x="483" y="42"/>
                  <a:pt x="483" y="42"/>
                </a:cubicBezTo>
                <a:cubicBezTo>
                  <a:pt x="483" y="41"/>
                  <a:pt x="484" y="41"/>
                  <a:pt x="484" y="41"/>
                </a:cubicBezTo>
                <a:close/>
                <a:moveTo>
                  <a:pt x="483" y="38"/>
                </a:moveTo>
                <a:cubicBezTo>
                  <a:pt x="482" y="37"/>
                  <a:pt x="484" y="38"/>
                  <a:pt x="483" y="38"/>
                </a:cubicBezTo>
                <a:close/>
                <a:moveTo>
                  <a:pt x="483" y="51"/>
                </a:moveTo>
                <a:cubicBezTo>
                  <a:pt x="485" y="47"/>
                  <a:pt x="492" y="43"/>
                  <a:pt x="496" y="48"/>
                </a:cubicBezTo>
                <a:cubicBezTo>
                  <a:pt x="496" y="49"/>
                  <a:pt x="494" y="53"/>
                  <a:pt x="493" y="53"/>
                </a:cubicBezTo>
                <a:cubicBezTo>
                  <a:pt x="493" y="53"/>
                  <a:pt x="491" y="53"/>
                  <a:pt x="490" y="53"/>
                </a:cubicBezTo>
                <a:cubicBezTo>
                  <a:pt x="490" y="53"/>
                  <a:pt x="490" y="54"/>
                  <a:pt x="489" y="54"/>
                </a:cubicBezTo>
                <a:cubicBezTo>
                  <a:pt x="488" y="54"/>
                  <a:pt x="485" y="54"/>
                  <a:pt x="483" y="54"/>
                </a:cubicBezTo>
                <a:cubicBezTo>
                  <a:pt x="483" y="54"/>
                  <a:pt x="483" y="54"/>
                  <a:pt x="482" y="54"/>
                </a:cubicBezTo>
                <a:cubicBezTo>
                  <a:pt x="482" y="53"/>
                  <a:pt x="483" y="52"/>
                  <a:pt x="483" y="51"/>
                </a:cubicBezTo>
                <a:close/>
                <a:moveTo>
                  <a:pt x="482" y="56"/>
                </a:moveTo>
                <a:cubicBezTo>
                  <a:pt x="483" y="57"/>
                  <a:pt x="480" y="57"/>
                  <a:pt x="480" y="57"/>
                </a:cubicBezTo>
                <a:cubicBezTo>
                  <a:pt x="479" y="55"/>
                  <a:pt x="482" y="55"/>
                  <a:pt x="482" y="56"/>
                </a:cubicBezTo>
                <a:close/>
                <a:moveTo>
                  <a:pt x="479" y="43"/>
                </a:moveTo>
                <a:cubicBezTo>
                  <a:pt x="479" y="45"/>
                  <a:pt x="475" y="45"/>
                  <a:pt x="474" y="44"/>
                </a:cubicBezTo>
                <a:cubicBezTo>
                  <a:pt x="474" y="43"/>
                  <a:pt x="478" y="42"/>
                  <a:pt x="479" y="43"/>
                </a:cubicBezTo>
                <a:close/>
                <a:moveTo>
                  <a:pt x="473" y="28"/>
                </a:moveTo>
                <a:cubicBezTo>
                  <a:pt x="472" y="28"/>
                  <a:pt x="474" y="28"/>
                  <a:pt x="473" y="28"/>
                </a:cubicBezTo>
                <a:close/>
                <a:moveTo>
                  <a:pt x="471" y="33"/>
                </a:moveTo>
                <a:cubicBezTo>
                  <a:pt x="471" y="34"/>
                  <a:pt x="470" y="34"/>
                  <a:pt x="469" y="34"/>
                </a:cubicBezTo>
                <a:cubicBezTo>
                  <a:pt x="469" y="33"/>
                  <a:pt x="471" y="32"/>
                  <a:pt x="471" y="33"/>
                </a:cubicBezTo>
                <a:close/>
                <a:moveTo>
                  <a:pt x="467" y="32"/>
                </a:moveTo>
                <a:cubicBezTo>
                  <a:pt x="469" y="31"/>
                  <a:pt x="470" y="33"/>
                  <a:pt x="467" y="32"/>
                </a:cubicBezTo>
                <a:close/>
                <a:moveTo>
                  <a:pt x="467" y="46"/>
                </a:moveTo>
                <a:cubicBezTo>
                  <a:pt x="468" y="44"/>
                  <a:pt x="469" y="47"/>
                  <a:pt x="467" y="46"/>
                </a:cubicBezTo>
                <a:close/>
                <a:moveTo>
                  <a:pt x="467" y="52"/>
                </a:moveTo>
                <a:cubicBezTo>
                  <a:pt x="466" y="52"/>
                  <a:pt x="468" y="53"/>
                  <a:pt x="467" y="52"/>
                </a:cubicBezTo>
                <a:close/>
                <a:moveTo>
                  <a:pt x="467" y="30"/>
                </a:moveTo>
                <a:cubicBezTo>
                  <a:pt x="467" y="30"/>
                  <a:pt x="468" y="31"/>
                  <a:pt x="467" y="31"/>
                </a:cubicBezTo>
                <a:cubicBezTo>
                  <a:pt x="465" y="31"/>
                  <a:pt x="467" y="28"/>
                  <a:pt x="467" y="30"/>
                </a:cubicBezTo>
                <a:close/>
                <a:moveTo>
                  <a:pt x="468" y="38"/>
                </a:moveTo>
                <a:cubicBezTo>
                  <a:pt x="468" y="39"/>
                  <a:pt x="466" y="40"/>
                  <a:pt x="465" y="39"/>
                </a:cubicBezTo>
                <a:cubicBezTo>
                  <a:pt x="465" y="38"/>
                  <a:pt x="467" y="37"/>
                  <a:pt x="468" y="38"/>
                </a:cubicBezTo>
                <a:close/>
                <a:moveTo>
                  <a:pt x="464" y="49"/>
                </a:moveTo>
                <a:cubicBezTo>
                  <a:pt x="463" y="50"/>
                  <a:pt x="462" y="48"/>
                  <a:pt x="462" y="49"/>
                </a:cubicBezTo>
                <a:cubicBezTo>
                  <a:pt x="460" y="46"/>
                  <a:pt x="468" y="49"/>
                  <a:pt x="464" y="49"/>
                </a:cubicBezTo>
                <a:close/>
                <a:moveTo>
                  <a:pt x="463" y="51"/>
                </a:moveTo>
                <a:cubicBezTo>
                  <a:pt x="463" y="51"/>
                  <a:pt x="464" y="51"/>
                  <a:pt x="464" y="51"/>
                </a:cubicBezTo>
                <a:cubicBezTo>
                  <a:pt x="465" y="52"/>
                  <a:pt x="464" y="51"/>
                  <a:pt x="463" y="51"/>
                </a:cubicBezTo>
                <a:close/>
                <a:moveTo>
                  <a:pt x="447" y="79"/>
                </a:moveTo>
                <a:cubicBezTo>
                  <a:pt x="448" y="79"/>
                  <a:pt x="446" y="80"/>
                  <a:pt x="446" y="80"/>
                </a:cubicBezTo>
                <a:cubicBezTo>
                  <a:pt x="446" y="79"/>
                  <a:pt x="446" y="79"/>
                  <a:pt x="447" y="79"/>
                </a:cubicBezTo>
                <a:close/>
                <a:moveTo>
                  <a:pt x="446" y="189"/>
                </a:moveTo>
                <a:cubicBezTo>
                  <a:pt x="446" y="188"/>
                  <a:pt x="448" y="188"/>
                  <a:pt x="448" y="189"/>
                </a:cubicBezTo>
                <a:cubicBezTo>
                  <a:pt x="448" y="190"/>
                  <a:pt x="446" y="190"/>
                  <a:pt x="446" y="189"/>
                </a:cubicBezTo>
                <a:close/>
                <a:moveTo>
                  <a:pt x="449" y="610"/>
                </a:moveTo>
                <a:cubicBezTo>
                  <a:pt x="448" y="610"/>
                  <a:pt x="447" y="610"/>
                  <a:pt x="446" y="610"/>
                </a:cubicBezTo>
                <a:cubicBezTo>
                  <a:pt x="447" y="609"/>
                  <a:pt x="448" y="609"/>
                  <a:pt x="449" y="610"/>
                </a:cubicBezTo>
                <a:close/>
                <a:moveTo>
                  <a:pt x="447" y="145"/>
                </a:moveTo>
                <a:cubicBezTo>
                  <a:pt x="446" y="146"/>
                  <a:pt x="445" y="145"/>
                  <a:pt x="447" y="145"/>
                </a:cubicBezTo>
                <a:close/>
                <a:moveTo>
                  <a:pt x="447" y="126"/>
                </a:moveTo>
                <a:cubicBezTo>
                  <a:pt x="447" y="126"/>
                  <a:pt x="446" y="127"/>
                  <a:pt x="446" y="127"/>
                </a:cubicBezTo>
                <a:cubicBezTo>
                  <a:pt x="446" y="127"/>
                  <a:pt x="446" y="126"/>
                  <a:pt x="447" y="126"/>
                </a:cubicBezTo>
                <a:close/>
                <a:moveTo>
                  <a:pt x="446" y="180"/>
                </a:moveTo>
                <a:cubicBezTo>
                  <a:pt x="446" y="184"/>
                  <a:pt x="439" y="183"/>
                  <a:pt x="438" y="180"/>
                </a:cubicBezTo>
                <a:cubicBezTo>
                  <a:pt x="438" y="178"/>
                  <a:pt x="446" y="176"/>
                  <a:pt x="446" y="180"/>
                </a:cubicBezTo>
                <a:close/>
                <a:moveTo>
                  <a:pt x="441" y="175"/>
                </a:moveTo>
                <a:cubicBezTo>
                  <a:pt x="441" y="173"/>
                  <a:pt x="444" y="173"/>
                  <a:pt x="444" y="174"/>
                </a:cubicBezTo>
                <a:cubicBezTo>
                  <a:pt x="445" y="176"/>
                  <a:pt x="442" y="176"/>
                  <a:pt x="441" y="175"/>
                </a:cubicBezTo>
                <a:close/>
                <a:moveTo>
                  <a:pt x="446" y="135"/>
                </a:moveTo>
                <a:cubicBezTo>
                  <a:pt x="444" y="136"/>
                  <a:pt x="441" y="137"/>
                  <a:pt x="440" y="136"/>
                </a:cubicBezTo>
                <a:cubicBezTo>
                  <a:pt x="442" y="136"/>
                  <a:pt x="444" y="134"/>
                  <a:pt x="446" y="135"/>
                </a:cubicBezTo>
                <a:close/>
                <a:moveTo>
                  <a:pt x="443" y="79"/>
                </a:moveTo>
                <a:cubicBezTo>
                  <a:pt x="444" y="78"/>
                  <a:pt x="445" y="80"/>
                  <a:pt x="443" y="79"/>
                </a:cubicBezTo>
                <a:close/>
                <a:moveTo>
                  <a:pt x="443" y="79"/>
                </a:moveTo>
                <a:cubicBezTo>
                  <a:pt x="442" y="80"/>
                  <a:pt x="440" y="81"/>
                  <a:pt x="439" y="81"/>
                </a:cubicBezTo>
                <a:cubicBezTo>
                  <a:pt x="439" y="79"/>
                  <a:pt x="441" y="80"/>
                  <a:pt x="443" y="79"/>
                </a:cubicBezTo>
                <a:close/>
                <a:moveTo>
                  <a:pt x="438" y="137"/>
                </a:moveTo>
                <a:cubicBezTo>
                  <a:pt x="439" y="137"/>
                  <a:pt x="437" y="138"/>
                  <a:pt x="437" y="138"/>
                </a:cubicBezTo>
                <a:cubicBezTo>
                  <a:pt x="437" y="138"/>
                  <a:pt x="438" y="137"/>
                  <a:pt x="438" y="137"/>
                </a:cubicBezTo>
                <a:close/>
                <a:moveTo>
                  <a:pt x="437" y="228"/>
                </a:moveTo>
                <a:cubicBezTo>
                  <a:pt x="436" y="229"/>
                  <a:pt x="433" y="230"/>
                  <a:pt x="432" y="232"/>
                </a:cubicBezTo>
                <a:cubicBezTo>
                  <a:pt x="433" y="230"/>
                  <a:pt x="435" y="229"/>
                  <a:pt x="437" y="228"/>
                </a:cubicBezTo>
                <a:close/>
                <a:moveTo>
                  <a:pt x="431" y="647"/>
                </a:moveTo>
                <a:cubicBezTo>
                  <a:pt x="432" y="648"/>
                  <a:pt x="430" y="646"/>
                  <a:pt x="431" y="647"/>
                </a:cubicBezTo>
                <a:close/>
                <a:moveTo>
                  <a:pt x="430" y="190"/>
                </a:move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lose/>
                <a:moveTo>
                  <a:pt x="430" y="233"/>
                </a:moveTo>
                <a:cubicBezTo>
                  <a:pt x="428" y="236"/>
                  <a:pt x="427" y="233"/>
                  <a:pt x="430" y="233"/>
                </a:cubicBezTo>
                <a:close/>
                <a:moveTo>
                  <a:pt x="430" y="647"/>
                </a:moveTo>
                <a:cubicBezTo>
                  <a:pt x="430" y="648"/>
                  <a:pt x="428" y="648"/>
                  <a:pt x="428" y="648"/>
                </a:cubicBezTo>
                <a:cubicBezTo>
                  <a:pt x="428" y="647"/>
                  <a:pt x="429" y="647"/>
                  <a:pt x="430" y="647"/>
                </a:cubicBezTo>
                <a:close/>
                <a:moveTo>
                  <a:pt x="427" y="105"/>
                </a:moveTo>
                <a:cubicBezTo>
                  <a:pt x="426" y="104"/>
                  <a:pt x="428" y="106"/>
                  <a:pt x="427" y="105"/>
                </a:cubicBezTo>
                <a:close/>
                <a:moveTo>
                  <a:pt x="426" y="572"/>
                </a:moveTo>
                <a:cubicBezTo>
                  <a:pt x="427" y="571"/>
                  <a:pt x="427" y="574"/>
                  <a:pt x="426" y="573"/>
                </a:cubicBezTo>
                <a:cubicBezTo>
                  <a:pt x="426" y="573"/>
                  <a:pt x="426" y="572"/>
                  <a:pt x="426" y="572"/>
                </a:cubicBezTo>
                <a:close/>
                <a:moveTo>
                  <a:pt x="424" y="210"/>
                </a:moveTo>
                <a:cubicBezTo>
                  <a:pt x="425" y="209"/>
                  <a:pt x="426" y="211"/>
                  <a:pt x="424" y="210"/>
                </a:cubicBezTo>
                <a:close/>
                <a:moveTo>
                  <a:pt x="422" y="80"/>
                </a:moveTo>
                <a:cubicBezTo>
                  <a:pt x="423" y="81"/>
                  <a:pt x="421" y="81"/>
                  <a:pt x="420" y="81"/>
                </a:cubicBezTo>
                <a:cubicBezTo>
                  <a:pt x="420" y="80"/>
                  <a:pt x="422" y="80"/>
                  <a:pt x="422" y="80"/>
                </a:cubicBezTo>
                <a:close/>
                <a:moveTo>
                  <a:pt x="423" y="85"/>
                </a:moveTo>
                <a:cubicBezTo>
                  <a:pt x="423" y="85"/>
                  <a:pt x="420" y="86"/>
                  <a:pt x="420" y="85"/>
                </a:cubicBezTo>
                <a:cubicBezTo>
                  <a:pt x="419" y="85"/>
                  <a:pt x="424" y="83"/>
                  <a:pt x="423" y="85"/>
                </a:cubicBezTo>
                <a:close/>
                <a:moveTo>
                  <a:pt x="421" y="667"/>
                </a:moveTo>
                <a:cubicBezTo>
                  <a:pt x="423" y="666"/>
                  <a:pt x="422" y="668"/>
                  <a:pt x="421" y="667"/>
                </a:cubicBezTo>
                <a:close/>
                <a:moveTo>
                  <a:pt x="419" y="54"/>
                </a:moveTo>
                <a:cubicBezTo>
                  <a:pt x="420" y="54"/>
                  <a:pt x="419" y="55"/>
                  <a:pt x="419" y="55"/>
                </a:cubicBezTo>
                <a:cubicBezTo>
                  <a:pt x="418" y="55"/>
                  <a:pt x="418" y="54"/>
                  <a:pt x="419" y="54"/>
                </a:cubicBezTo>
                <a:close/>
                <a:moveTo>
                  <a:pt x="419" y="61"/>
                </a:moveTo>
                <a:cubicBezTo>
                  <a:pt x="419" y="61"/>
                  <a:pt x="417" y="61"/>
                  <a:pt x="417" y="60"/>
                </a:cubicBezTo>
                <a:cubicBezTo>
                  <a:pt x="417" y="60"/>
                  <a:pt x="418" y="60"/>
                  <a:pt x="419" y="61"/>
                </a:cubicBezTo>
                <a:close/>
                <a:moveTo>
                  <a:pt x="411" y="63"/>
                </a:moveTo>
                <a:cubicBezTo>
                  <a:pt x="411" y="63"/>
                  <a:pt x="410" y="64"/>
                  <a:pt x="410" y="63"/>
                </a:cubicBezTo>
                <a:cubicBezTo>
                  <a:pt x="409" y="63"/>
                  <a:pt x="411" y="62"/>
                  <a:pt x="411" y="63"/>
                </a:cubicBezTo>
                <a:close/>
                <a:moveTo>
                  <a:pt x="408" y="93"/>
                </a:moveTo>
                <a:cubicBezTo>
                  <a:pt x="408" y="94"/>
                  <a:pt x="407" y="94"/>
                  <a:pt x="407" y="94"/>
                </a:cubicBezTo>
                <a:cubicBezTo>
                  <a:pt x="406" y="93"/>
                  <a:pt x="408" y="93"/>
                  <a:pt x="408" y="93"/>
                </a:cubicBezTo>
                <a:close/>
                <a:moveTo>
                  <a:pt x="406" y="125"/>
                </a:moveTo>
                <a:cubicBezTo>
                  <a:pt x="406" y="126"/>
                  <a:pt x="404" y="125"/>
                  <a:pt x="406" y="125"/>
                </a:cubicBezTo>
                <a:close/>
                <a:moveTo>
                  <a:pt x="405" y="97"/>
                </a:moveTo>
                <a:cubicBezTo>
                  <a:pt x="404" y="97"/>
                  <a:pt x="404" y="97"/>
                  <a:pt x="404" y="96"/>
                </a:cubicBezTo>
                <a:cubicBezTo>
                  <a:pt x="403" y="95"/>
                  <a:pt x="406" y="97"/>
                  <a:pt x="405" y="97"/>
                </a:cubicBezTo>
                <a:close/>
                <a:moveTo>
                  <a:pt x="408" y="154"/>
                </a:moveTo>
                <a:cubicBezTo>
                  <a:pt x="406" y="156"/>
                  <a:pt x="402" y="158"/>
                  <a:pt x="399" y="158"/>
                </a:cubicBezTo>
                <a:cubicBezTo>
                  <a:pt x="402" y="157"/>
                  <a:pt x="405" y="156"/>
                  <a:pt x="408" y="154"/>
                </a:cubicBezTo>
                <a:close/>
                <a:moveTo>
                  <a:pt x="399" y="122"/>
                </a:moveTo>
                <a:cubicBezTo>
                  <a:pt x="399" y="122"/>
                  <a:pt x="400" y="121"/>
                  <a:pt x="400" y="122"/>
                </a:cubicBezTo>
                <a:cubicBezTo>
                  <a:pt x="400" y="122"/>
                  <a:pt x="400" y="123"/>
                  <a:pt x="399" y="122"/>
                </a:cubicBezTo>
                <a:close/>
                <a:moveTo>
                  <a:pt x="401" y="71"/>
                </a:moveTo>
                <a:cubicBezTo>
                  <a:pt x="402" y="72"/>
                  <a:pt x="400" y="73"/>
                  <a:pt x="399" y="72"/>
                </a:cubicBezTo>
                <a:cubicBezTo>
                  <a:pt x="399" y="71"/>
                  <a:pt x="401" y="70"/>
                  <a:pt x="401" y="71"/>
                </a:cubicBezTo>
                <a:close/>
                <a:moveTo>
                  <a:pt x="399" y="97"/>
                </a:moveTo>
                <a:cubicBezTo>
                  <a:pt x="399" y="97"/>
                  <a:pt x="398" y="98"/>
                  <a:pt x="397" y="97"/>
                </a:cubicBezTo>
                <a:cubicBezTo>
                  <a:pt x="398" y="97"/>
                  <a:pt x="398" y="97"/>
                  <a:pt x="399" y="97"/>
                </a:cubicBezTo>
                <a:close/>
                <a:moveTo>
                  <a:pt x="398" y="160"/>
                </a:moveTo>
                <a:cubicBezTo>
                  <a:pt x="398" y="160"/>
                  <a:pt x="398" y="159"/>
                  <a:pt x="399" y="159"/>
                </a:cubicBezTo>
                <a:cubicBezTo>
                  <a:pt x="399" y="159"/>
                  <a:pt x="398" y="160"/>
                  <a:pt x="398" y="160"/>
                </a:cubicBezTo>
                <a:close/>
                <a:moveTo>
                  <a:pt x="398" y="169"/>
                </a:moveTo>
                <a:cubicBezTo>
                  <a:pt x="399" y="170"/>
                  <a:pt x="397" y="171"/>
                  <a:pt x="397" y="170"/>
                </a:cubicBezTo>
                <a:cubicBezTo>
                  <a:pt x="397" y="169"/>
                  <a:pt x="398" y="169"/>
                  <a:pt x="398" y="169"/>
                </a:cubicBezTo>
                <a:close/>
                <a:moveTo>
                  <a:pt x="397" y="159"/>
                </a:moveTo>
                <a:cubicBezTo>
                  <a:pt x="397" y="160"/>
                  <a:pt x="395" y="162"/>
                  <a:pt x="395" y="161"/>
                </a:cubicBezTo>
                <a:cubicBezTo>
                  <a:pt x="395" y="160"/>
                  <a:pt x="397" y="160"/>
                  <a:pt x="397" y="159"/>
                </a:cubicBezTo>
                <a:close/>
                <a:moveTo>
                  <a:pt x="395" y="78"/>
                </a:moveTo>
                <a:cubicBezTo>
                  <a:pt x="395" y="78"/>
                  <a:pt x="394" y="78"/>
                  <a:pt x="394" y="78"/>
                </a:cubicBezTo>
                <a:cubicBezTo>
                  <a:pt x="393" y="78"/>
                  <a:pt x="395" y="78"/>
                  <a:pt x="395" y="78"/>
                </a:cubicBezTo>
                <a:close/>
                <a:moveTo>
                  <a:pt x="392" y="104"/>
                </a:moveTo>
                <a:cubicBezTo>
                  <a:pt x="393" y="106"/>
                  <a:pt x="390" y="105"/>
                  <a:pt x="390" y="104"/>
                </a:cubicBezTo>
                <a:cubicBezTo>
                  <a:pt x="390" y="102"/>
                  <a:pt x="392" y="103"/>
                  <a:pt x="392" y="104"/>
                </a:cubicBezTo>
                <a:close/>
                <a:moveTo>
                  <a:pt x="388" y="79"/>
                </a:moveTo>
                <a:cubicBezTo>
                  <a:pt x="387" y="80"/>
                  <a:pt x="386" y="79"/>
                  <a:pt x="385" y="80"/>
                </a:cubicBezTo>
                <a:cubicBezTo>
                  <a:pt x="385" y="79"/>
                  <a:pt x="387" y="79"/>
                  <a:pt x="388" y="79"/>
                </a:cubicBezTo>
                <a:close/>
                <a:moveTo>
                  <a:pt x="385" y="112"/>
                </a:moveTo>
                <a:cubicBezTo>
                  <a:pt x="385" y="112"/>
                  <a:pt x="387" y="111"/>
                  <a:pt x="387" y="112"/>
                </a:cubicBezTo>
                <a:cubicBezTo>
                  <a:pt x="388" y="114"/>
                  <a:pt x="384" y="114"/>
                  <a:pt x="385" y="112"/>
                </a:cubicBezTo>
                <a:close/>
                <a:moveTo>
                  <a:pt x="382" y="113"/>
                </a:moveTo>
                <a:cubicBezTo>
                  <a:pt x="384" y="111"/>
                  <a:pt x="385" y="114"/>
                  <a:pt x="382" y="113"/>
                </a:cubicBezTo>
                <a:close/>
                <a:moveTo>
                  <a:pt x="379" y="110"/>
                </a:moveTo>
                <a:cubicBezTo>
                  <a:pt x="380" y="111"/>
                  <a:pt x="376" y="111"/>
                  <a:pt x="376" y="110"/>
                </a:cubicBezTo>
                <a:cubicBezTo>
                  <a:pt x="375" y="109"/>
                  <a:pt x="378" y="108"/>
                  <a:pt x="379" y="110"/>
                </a:cubicBezTo>
                <a:close/>
                <a:moveTo>
                  <a:pt x="379" y="80"/>
                </a:moveTo>
                <a:cubicBezTo>
                  <a:pt x="379" y="80"/>
                  <a:pt x="377" y="81"/>
                  <a:pt x="377" y="81"/>
                </a:cubicBezTo>
                <a:cubicBezTo>
                  <a:pt x="377" y="80"/>
                  <a:pt x="378" y="80"/>
                  <a:pt x="379" y="80"/>
                </a:cubicBezTo>
                <a:close/>
                <a:moveTo>
                  <a:pt x="376" y="81"/>
                </a:moveTo>
                <a:cubicBezTo>
                  <a:pt x="375" y="81"/>
                  <a:pt x="374" y="81"/>
                  <a:pt x="374" y="81"/>
                </a:cubicBezTo>
                <a:cubicBezTo>
                  <a:pt x="373" y="81"/>
                  <a:pt x="375" y="81"/>
                  <a:pt x="376" y="81"/>
                </a:cubicBezTo>
                <a:close/>
                <a:moveTo>
                  <a:pt x="372" y="76"/>
                </a:moveTo>
                <a:cubicBezTo>
                  <a:pt x="372" y="76"/>
                  <a:pt x="372" y="76"/>
                  <a:pt x="372" y="76"/>
                </a:cubicBezTo>
                <a:cubicBezTo>
                  <a:pt x="372" y="76"/>
                  <a:pt x="371" y="76"/>
                  <a:pt x="371" y="76"/>
                </a:cubicBezTo>
                <a:cubicBezTo>
                  <a:pt x="371" y="76"/>
                  <a:pt x="371" y="76"/>
                  <a:pt x="372" y="76"/>
                </a:cubicBezTo>
                <a:close/>
                <a:moveTo>
                  <a:pt x="363" y="95"/>
                </a:moveTo>
                <a:cubicBezTo>
                  <a:pt x="362" y="96"/>
                  <a:pt x="361" y="94"/>
                  <a:pt x="363" y="95"/>
                </a:cubicBezTo>
                <a:close/>
                <a:moveTo>
                  <a:pt x="362" y="110"/>
                </a:moveTo>
                <a:cubicBezTo>
                  <a:pt x="362" y="112"/>
                  <a:pt x="358" y="112"/>
                  <a:pt x="357" y="111"/>
                </a:cubicBezTo>
                <a:cubicBezTo>
                  <a:pt x="357" y="111"/>
                  <a:pt x="357" y="111"/>
                  <a:pt x="356" y="110"/>
                </a:cubicBezTo>
                <a:cubicBezTo>
                  <a:pt x="357" y="111"/>
                  <a:pt x="355" y="112"/>
                  <a:pt x="355" y="111"/>
                </a:cubicBezTo>
                <a:cubicBezTo>
                  <a:pt x="354" y="110"/>
                  <a:pt x="363" y="106"/>
                  <a:pt x="362" y="110"/>
                </a:cubicBezTo>
                <a:close/>
                <a:moveTo>
                  <a:pt x="357" y="127"/>
                </a:moveTo>
                <a:cubicBezTo>
                  <a:pt x="362" y="124"/>
                  <a:pt x="368" y="124"/>
                  <a:pt x="374" y="121"/>
                </a:cubicBezTo>
                <a:cubicBezTo>
                  <a:pt x="379" y="119"/>
                  <a:pt x="384" y="116"/>
                  <a:pt x="389" y="116"/>
                </a:cubicBezTo>
                <a:cubicBezTo>
                  <a:pt x="389" y="116"/>
                  <a:pt x="390" y="117"/>
                  <a:pt x="390" y="117"/>
                </a:cubicBezTo>
                <a:cubicBezTo>
                  <a:pt x="390" y="118"/>
                  <a:pt x="381" y="121"/>
                  <a:pt x="378" y="122"/>
                </a:cubicBezTo>
                <a:cubicBezTo>
                  <a:pt x="373" y="123"/>
                  <a:pt x="369" y="124"/>
                  <a:pt x="364" y="125"/>
                </a:cubicBezTo>
                <a:cubicBezTo>
                  <a:pt x="363" y="126"/>
                  <a:pt x="357" y="129"/>
                  <a:pt x="355" y="129"/>
                </a:cubicBezTo>
                <a:cubicBezTo>
                  <a:pt x="352" y="129"/>
                  <a:pt x="356" y="127"/>
                  <a:pt x="357" y="127"/>
                </a:cubicBezTo>
                <a:close/>
                <a:moveTo>
                  <a:pt x="357" y="587"/>
                </a:moveTo>
                <a:cubicBezTo>
                  <a:pt x="365" y="583"/>
                  <a:pt x="375" y="580"/>
                  <a:pt x="384" y="576"/>
                </a:cubicBezTo>
                <a:cubicBezTo>
                  <a:pt x="385" y="576"/>
                  <a:pt x="387" y="575"/>
                  <a:pt x="387" y="576"/>
                </a:cubicBezTo>
                <a:cubicBezTo>
                  <a:pt x="388" y="577"/>
                  <a:pt x="384" y="578"/>
                  <a:pt x="386" y="577"/>
                </a:cubicBezTo>
                <a:cubicBezTo>
                  <a:pt x="377" y="581"/>
                  <a:pt x="366" y="585"/>
                  <a:pt x="357" y="587"/>
                </a:cubicBezTo>
                <a:close/>
                <a:moveTo>
                  <a:pt x="376" y="609"/>
                </a:moveTo>
                <a:cubicBezTo>
                  <a:pt x="376" y="610"/>
                  <a:pt x="374" y="610"/>
                  <a:pt x="374" y="610"/>
                </a:cubicBezTo>
                <a:cubicBezTo>
                  <a:pt x="373" y="609"/>
                  <a:pt x="376" y="608"/>
                  <a:pt x="376" y="609"/>
                </a:cubicBezTo>
                <a:close/>
                <a:moveTo>
                  <a:pt x="374" y="600"/>
                </a:moveTo>
                <a:cubicBezTo>
                  <a:pt x="373" y="599"/>
                  <a:pt x="375" y="599"/>
                  <a:pt x="375" y="600"/>
                </a:cubicBezTo>
                <a:cubicBezTo>
                  <a:pt x="375" y="601"/>
                  <a:pt x="374" y="600"/>
                  <a:pt x="374" y="600"/>
                </a:cubicBezTo>
                <a:close/>
                <a:moveTo>
                  <a:pt x="372" y="610"/>
                </a:moveTo>
                <a:cubicBezTo>
                  <a:pt x="371" y="610"/>
                  <a:pt x="373" y="609"/>
                  <a:pt x="373" y="610"/>
                </a:cubicBezTo>
                <a:cubicBezTo>
                  <a:pt x="373" y="610"/>
                  <a:pt x="373" y="611"/>
                  <a:pt x="372" y="610"/>
                </a:cubicBezTo>
                <a:close/>
                <a:moveTo>
                  <a:pt x="364" y="137"/>
                </a:moveTo>
                <a:cubicBezTo>
                  <a:pt x="364" y="138"/>
                  <a:pt x="364" y="137"/>
                  <a:pt x="363" y="138"/>
                </a:cubicBezTo>
                <a:cubicBezTo>
                  <a:pt x="363" y="137"/>
                  <a:pt x="364" y="137"/>
                  <a:pt x="364" y="137"/>
                </a:cubicBezTo>
                <a:close/>
                <a:moveTo>
                  <a:pt x="376" y="167"/>
                </a:moveTo>
                <a:cubicBezTo>
                  <a:pt x="377" y="168"/>
                  <a:pt x="373" y="170"/>
                  <a:pt x="371" y="170"/>
                </a:cubicBezTo>
                <a:cubicBezTo>
                  <a:pt x="371" y="170"/>
                  <a:pt x="368" y="169"/>
                  <a:pt x="367" y="169"/>
                </a:cubicBezTo>
                <a:cubicBezTo>
                  <a:pt x="367" y="168"/>
                  <a:pt x="371" y="165"/>
                  <a:pt x="373" y="168"/>
                </a:cubicBezTo>
                <a:cubicBezTo>
                  <a:pt x="373" y="168"/>
                  <a:pt x="373" y="169"/>
                  <a:pt x="373" y="169"/>
                </a:cubicBezTo>
                <a:cubicBezTo>
                  <a:pt x="374" y="169"/>
                  <a:pt x="375" y="168"/>
                  <a:pt x="376" y="167"/>
                </a:cubicBezTo>
                <a:close/>
                <a:moveTo>
                  <a:pt x="369" y="576"/>
                </a:moveTo>
                <a:cubicBezTo>
                  <a:pt x="369" y="574"/>
                  <a:pt x="371" y="574"/>
                  <a:pt x="369" y="576"/>
                </a:cubicBezTo>
                <a:close/>
                <a:moveTo>
                  <a:pt x="368" y="211"/>
                </a:moveTo>
                <a:cubicBezTo>
                  <a:pt x="367" y="211"/>
                  <a:pt x="368" y="209"/>
                  <a:pt x="369" y="210"/>
                </a:cubicBezTo>
                <a:cubicBezTo>
                  <a:pt x="369" y="210"/>
                  <a:pt x="368" y="211"/>
                  <a:pt x="368" y="211"/>
                </a:cubicBezTo>
                <a:close/>
                <a:moveTo>
                  <a:pt x="368" y="576"/>
                </a:moveTo>
                <a:cubicBezTo>
                  <a:pt x="370" y="575"/>
                  <a:pt x="366" y="578"/>
                  <a:pt x="368" y="576"/>
                </a:cubicBezTo>
                <a:close/>
                <a:moveTo>
                  <a:pt x="379" y="184"/>
                </a:moveTo>
                <a:cubicBezTo>
                  <a:pt x="379" y="183"/>
                  <a:pt x="380" y="182"/>
                  <a:pt x="380" y="183"/>
                </a:cubicBezTo>
                <a:cubicBezTo>
                  <a:pt x="380" y="184"/>
                  <a:pt x="379" y="184"/>
                  <a:pt x="379" y="184"/>
                </a:cubicBezTo>
                <a:close/>
                <a:moveTo>
                  <a:pt x="356" y="609"/>
                </a:moveTo>
                <a:cubicBezTo>
                  <a:pt x="355" y="611"/>
                  <a:pt x="353" y="609"/>
                  <a:pt x="356" y="609"/>
                </a:cubicBezTo>
                <a:close/>
                <a:moveTo>
                  <a:pt x="354" y="556"/>
                </a:moveTo>
                <a:cubicBezTo>
                  <a:pt x="353" y="557"/>
                  <a:pt x="352" y="555"/>
                  <a:pt x="354" y="556"/>
                </a:cubicBezTo>
                <a:close/>
                <a:moveTo>
                  <a:pt x="352" y="532"/>
                </a:moveTo>
                <a:cubicBezTo>
                  <a:pt x="354" y="530"/>
                  <a:pt x="354" y="533"/>
                  <a:pt x="352" y="532"/>
                </a:cubicBezTo>
                <a:close/>
                <a:moveTo>
                  <a:pt x="354" y="674"/>
                </a:moveTo>
                <a:cubicBezTo>
                  <a:pt x="354" y="673"/>
                  <a:pt x="355" y="673"/>
                  <a:pt x="355" y="673"/>
                </a:cubicBezTo>
                <a:cubicBezTo>
                  <a:pt x="355" y="674"/>
                  <a:pt x="354" y="674"/>
                  <a:pt x="354" y="674"/>
                </a:cubicBezTo>
                <a:close/>
                <a:moveTo>
                  <a:pt x="357" y="697"/>
                </a:moveTo>
                <a:cubicBezTo>
                  <a:pt x="357" y="696"/>
                  <a:pt x="359" y="695"/>
                  <a:pt x="359" y="696"/>
                </a:cubicBezTo>
                <a:cubicBezTo>
                  <a:pt x="359" y="697"/>
                  <a:pt x="357" y="698"/>
                  <a:pt x="357" y="697"/>
                </a:cubicBezTo>
                <a:close/>
                <a:moveTo>
                  <a:pt x="357" y="671"/>
                </a:moveTo>
                <a:cubicBezTo>
                  <a:pt x="358" y="671"/>
                  <a:pt x="358" y="671"/>
                  <a:pt x="358" y="672"/>
                </a:cubicBezTo>
                <a:cubicBezTo>
                  <a:pt x="358" y="673"/>
                  <a:pt x="356" y="671"/>
                  <a:pt x="357" y="671"/>
                </a:cubicBezTo>
                <a:close/>
                <a:moveTo>
                  <a:pt x="360" y="643"/>
                </a:moveTo>
                <a:cubicBezTo>
                  <a:pt x="360" y="642"/>
                  <a:pt x="362" y="643"/>
                  <a:pt x="360" y="643"/>
                </a:cubicBezTo>
                <a:close/>
                <a:moveTo>
                  <a:pt x="360" y="630"/>
                </a:moveTo>
                <a:cubicBezTo>
                  <a:pt x="358" y="633"/>
                  <a:pt x="350" y="631"/>
                  <a:pt x="351" y="627"/>
                </a:cubicBezTo>
                <a:cubicBezTo>
                  <a:pt x="352" y="621"/>
                  <a:pt x="365" y="624"/>
                  <a:pt x="360" y="630"/>
                </a:cubicBezTo>
                <a:close/>
                <a:moveTo>
                  <a:pt x="371" y="611"/>
                </a:moveTo>
                <a:cubicBezTo>
                  <a:pt x="368" y="612"/>
                  <a:pt x="365" y="612"/>
                  <a:pt x="362" y="613"/>
                </a:cubicBezTo>
                <a:cubicBezTo>
                  <a:pt x="364" y="612"/>
                  <a:pt x="368" y="611"/>
                  <a:pt x="371" y="611"/>
                </a:cubicBezTo>
                <a:close/>
                <a:moveTo>
                  <a:pt x="363" y="671"/>
                </a:moveTo>
                <a:cubicBezTo>
                  <a:pt x="363" y="671"/>
                  <a:pt x="364" y="671"/>
                  <a:pt x="365" y="671"/>
                </a:cubicBezTo>
                <a:cubicBezTo>
                  <a:pt x="364" y="672"/>
                  <a:pt x="363" y="672"/>
                  <a:pt x="363" y="671"/>
                </a:cubicBezTo>
                <a:close/>
                <a:moveTo>
                  <a:pt x="364" y="691"/>
                </a:moveTo>
                <a:cubicBezTo>
                  <a:pt x="364" y="690"/>
                  <a:pt x="365" y="691"/>
                  <a:pt x="365" y="691"/>
                </a:cubicBezTo>
                <a:cubicBezTo>
                  <a:pt x="366" y="691"/>
                  <a:pt x="364" y="691"/>
                  <a:pt x="364" y="691"/>
                </a:cubicBezTo>
                <a:close/>
                <a:moveTo>
                  <a:pt x="365" y="647"/>
                </a:moveTo>
                <a:cubicBezTo>
                  <a:pt x="365" y="646"/>
                  <a:pt x="366" y="646"/>
                  <a:pt x="366" y="646"/>
                </a:cubicBezTo>
                <a:cubicBezTo>
                  <a:pt x="367" y="647"/>
                  <a:pt x="365" y="647"/>
                  <a:pt x="365" y="647"/>
                </a:cubicBezTo>
                <a:close/>
                <a:moveTo>
                  <a:pt x="370" y="666"/>
                </a:moveTo>
                <a:cubicBezTo>
                  <a:pt x="370" y="664"/>
                  <a:pt x="373" y="665"/>
                  <a:pt x="372" y="666"/>
                </a:cubicBezTo>
                <a:cubicBezTo>
                  <a:pt x="372" y="667"/>
                  <a:pt x="370" y="667"/>
                  <a:pt x="370" y="666"/>
                </a:cubicBezTo>
                <a:close/>
                <a:moveTo>
                  <a:pt x="371" y="691"/>
                </a:moveTo>
                <a:cubicBezTo>
                  <a:pt x="372" y="690"/>
                  <a:pt x="373" y="691"/>
                  <a:pt x="374" y="691"/>
                </a:cubicBezTo>
                <a:cubicBezTo>
                  <a:pt x="374" y="692"/>
                  <a:pt x="372" y="691"/>
                  <a:pt x="371" y="691"/>
                </a:cubicBezTo>
                <a:close/>
                <a:moveTo>
                  <a:pt x="379" y="659"/>
                </a:moveTo>
                <a:cubicBezTo>
                  <a:pt x="379" y="658"/>
                  <a:pt x="377" y="660"/>
                  <a:pt x="377" y="658"/>
                </a:cubicBezTo>
                <a:cubicBezTo>
                  <a:pt x="376" y="657"/>
                  <a:pt x="380" y="657"/>
                  <a:pt x="379" y="659"/>
                </a:cubicBezTo>
                <a:close/>
                <a:moveTo>
                  <a:pt x="381" y="691"/>
                </a:moveTo>
                <a:cubicBezTo>
                  <a:pt x="380" y="691"/>
                  <a:pt x="382" y="690"/>
                  <a:pt x="383" y="691"/>
                </a:cubicBezTo>
                <a:cubicBezTo>
                  <a:pt x="382" y="691"/>
                  <a:pt x="381" y="691"/>
                  <a:pt x="381" y="691"/>
                </a:cubicBezTo>
                <a:close/>
                <a:moveTo>
                  <a:pt x="382" y="658"/>
                </a:moveTo>
                <a:cubicBezTo>
                  <a:pt x="380" y="659"/>
                  <a:pt x="379" y="657"/>
                  <a:pt x="382" y="658"/>
                </a:cubicBezTo>
                <a:close/>
                <a:moveTo>
                  <a:pt x="383" y="691"/>
                </a:moveTo>
                <a:cubicBezTo>
                  <a:pt x="384" y="691"/>
                  <a:pt x="385" y="691"/>
                  <a:pt x="386" y="691"/>
                </a:cubicBezTo>
                <a:cubicBezTo>
                  <a:pt x="386" y="691"/>
                  <a:pt x="384" y="691"/>
                  <a:pt x="383" y="691"/>
                </a:cubicBezTo>
                <a:close/>
                <a:moveTo>
                  <a:pt x="387" y="696"/>
                </a:move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lose/>
                <a:moveTo>
                  <a:pt x="384" y="662"/>
                </a:moveTo>
                <a:cubicBezTo>
                  <a:pt x="384" y="660"/>
                  <a:pt x="388" y="661"/>
                  <a:pt x="388" y="662"/>
                </a:cubicBezTo>
                <a:cubicBezTo>
                  <a:pt x="388" y="663"/>
                  <a:pt x="385" y="664"/>
                  <a:pt x="384" y="662"/>
                </a:cubicBezTo>
                <a:close/>
                <a:moveTo>
                  <a:pt x="398" y="679"/>
                </a:moveTo>
                <a:cubicBezTo>
                  <a:pt x="400" y="678"/>
                  <a:pt x="400" y="680"/>
                  <a:pt x="398" y="679"/>
                </a:cubicBezTo>
                <a:close/>
                <a:moveTo>
                  <a:pt x="401" y="664"/>
                </a:moveTo>
                <a:cubicBezTo>
                  <a:pt x="402" y="662"/>
                  <a:pt x="405" y="663"/>
                  <a:pt x="406" y="663"/>
                </a:cubicBezTo>
                <a:cubicBezTo>
                  <a:pt x="406" y="663"/>
                  <a:pt x="407" y="664"/>
                  <a:pt x="407" y="664"/>
                </a:cubicBezTo>
                <a:cubicBezTo>
                  <a:pt x="406" y="664"/>
                  <a:pt x="408" y="663"/>
                  <a:pt x="409" y="664"/>
                </a:cubicBezTo>
                <a:cubicBezTo>
                  <a:pt x="409" y="665"/>
                  <a:pt x="400" y="667"/>
                  <a:pt x="401" y="664"/>
                </a:cubicBezTo>
                <a:close/>
                <a:moveTo>
                  <a:pt x="411" y="704"/>
                </a:moveTo>
                <a:cubicBezTo>
                  <a:pt x="410" y="704"/>
                  <a:pt x="411" y="704"/>
                  <a:pt x="411" y="704"/>
                </a:cubicBezTo>
                <a:cubicBezTo>
                  <a:pt x="411" y="704"/>
                  <a:pt x="411" y="704"/>
                  <a:pt x="411" y="704"/>
                </a:cubicBezTo>
                <a:close/>
                <a:moveTo>
                  <a:pt x="409" y="648"/>
                </a:moveTo>
                <a:cubicBezTo>
                  <a:pt x="403" y="650"/>
                  <a:pt x="397" y="649"/>
                  <a:pt x="391" y="651"/>
                </a:cubicBezTo>
                <a:cubicBezTo>
                  <a:pt x="386" y="652"/>
                  <a:pt x="381" y="655"/>
                  <a:pt x="376" y="654"/>
                </a:cubicBezTo>
                <a:cubicBezTo>
                  <a:pt x="375" y="654"/>
                  <a:pt x="375" y="653"/>
                  <a:pt x="375" y="653"/>
                </a:cubicBezTo>
                <a:cubicBezTo>
                  <a:pt x="374" y="652"/>
                  <a:pt x="384" y="650"/>
                  <a:pt x="387" y="650"/>
                </a:cubicBezTo>
                <a:cubicBezTo>
                  <a:pt x="393" y="649"/>
                  <a:pt x="396" y="649"/>
                  <a:pt x="401" y="648"/>
                </a:cubicBezTo>
                <a:cubicBezTo>
                  <a:pt x="403" y="648"/>
                  <a:pt x="408" y="646"/>
                  <a:pt x="410" y="646"/>
                </a:cubicBezTo>
                <a:cubicBezTo>
                  <a:pt x="413" y="647"/>
                  <a:pt x="409" y="648"/>
                  <a:pt x="409" y="648"/>
                </a:cubicBezTo>
                <a:close/>
                <a:moveTo>
                  <a:pt x="394" y="589"/>
                </a:moveTo>
                <a:cubicBezTo>
                  <a:pt x="394" y="588"/>
                  <a:pt x="395" y="588"/>
                  <a:pt x="395" y="589"/>
                </a:cubicBezTo>
                <a:cubicBezTo>
                  <a:pt x="395" y="589"/>
                  <a:pt x="394" y="590"/>
                  <a:pt x="394" y="589"/>
                </a:cubicBezTo>
                <a:close/>
                <a:moveTo>
                  <a:pt x="398" y="605"/>
                </a:moveTo>
                <a:cubicBezTo>
                  <a:pt x="398" y="605"/>
                  <a:pt x="399" y="604"/>
                  <a:pt x="399" y="604"/>
                </a:cubicBezTo>
                <a:cubicBezTo>
                  <a:pt x="398" y="604"/>
                  <a:pt x="396" y="605"/>
                  <a:pt x="395" y="605"/>
                </a:cubicBezTo>
                <a:cubicBezTo>
                  <a:pt x="395" y="605"/>
                  <a:pt x="399" y="603"/>
                  <a:pt x="400" y="603"/>
                </a:cubicBezTo>
                <a:cubicBezTo>
                  <a:pt x="401" y="603"/>
                  <a:pt x="404" y="605"/>
                  <a:pt x="404" y="605"/>
                </a:cubicBezTo>
                <a:cubicBezTo>
                  <a:pt x="404" y="606"/>
                  <a:pt x="400" y="608"/>
                  <a:pt x="398" y="605"/>
                </a:cubicBezTo>
                <a:close/>
                <a:moveTo>
                  <a:pt x="403" y="636"/>
                </a:moveTo>
                <a:cubicBezTo>
                  <a:pt x="403" y="636"/>
                  <a:pt x="404" y="637"/>
                  <a:pt x="404" y="636"/>
                </a:cubicBezTo>
                <a:cubicBezTo>
                  <a:pt x="404" y="637"/>
                  <a:pt x="403" y="637"/>
                  <a:pt x="403" y="636"/>
                </a:cubicBezTo>
                <a:close/>
                <a:moveTo>
                  <a:pt x="406" y="193"/>
                </a:moveTo>
                <a:cubicBezTo>
                  <a:pt x="406" y="195"/>
                  <a:pt x="404" y="195"/>
                  <a:pt x="406" y="193"/>
                </a:cubicBezTo>
                <a:close/>
                <a:moveTo>
                  <a:pt x="407" y="192"/>
                </a:moveTo>
                <a:cubicBezTo>
                  <a:pt x="406" y="194"/>
                  <a:pt x="409" y="190"/>
                  <a:pt x="407" y="192"/>
                </a:cubicBezTo>
                <a:close/>
                <a:moveTo>
                  <a:pt x="410" y="563"/>
                </a:moveTo>
                <a:cubicBezTo>
                  <a:pt x="410" y="564"/>
                  <a:pt x="410" y="565"/>
                  <a:pt x="409" y="564"/>
                </a:cubicBezTo>
                <a:cubicBezTo>
                  <a:pt x="408" y="564"/>
                  <a:pt x="409" y="563"/>
                  <a:pt x="410" y="563"/>
                </a:cubicBezTo>
                <a:close/>
                <a:moveTo>
                  <a:pt x="412" y="687"/>
                </a:moveTo>
                <a:cubicBezTo>
                  <a:pt x="414" y="686"/>
                  <a:pt x="414" y="687"/>
                  <a:pt x="412" y="687"/>
                </a:cubicBezTo>
                <a:close/>
                <a:moveTo>
                  <a:pt x="391" y="194"/>
                </a:moveTo>
                <a:cubicBezTo>
                  <a:pt x="391" y="194"/>
                  <a:pt x="389" y="196"/>
                  <a:pt x="388" y="195"/>
                </a:cubicBezTo>
                <a:cubicBezTo>
                  <a:pt x="388" y="194"/>
                  <a:pt x="391" y="193"/>
                  <a:pt x="390" y="194"/>
                </a:cubicBezTo>
                <a:cubicBezTo>
                  <a:pt x="398" y="189"/>
                  <a:pt x="408" y="183"/>
                  <a:pt x="417" y="179"/>
                </a:cubicBezTo>
                <a:cubicBezTo>
                  <a:pt x="409" y="185"/>
                  <a:pt x="400" y="189"/>
                  <a:pt x="391" y="194"/>
                </a:cubicBezTo>
                <a:close/>
                <a:moveTo>
                  <a:pt x="414" y="158"/>
                </a:moveTo>
                <a:cubicBezTo>
                  <a:pt x="415" y="156"/>
                  <a:pt x="417" y="157"/>
                  <a:pt x="414" y="158"/>
                </a:cubicBezTo>
                <a:close/>
                <a:moveTo>
                  <a:pt x="407" y="137"/>
                </a:moveTo>
                <a:cubicBezTo>
                  <a:pt x="409" y="134"/>
                  <a:pt x="417" y="135"/>
                  <a:pt x="417" y="139"/>
                </a:cubicBezTo>
                <a:cubicBezTo>
                  <a:pt x="417" y="145"/>
                  <a:pt x="403" y="144"/>
                  <a:pt x="407" y="137"/>
                </a:cubicBezTo>
                <a:close/>
                <a:moveTo>
                  <a:pt x="418" y="140"/>
                </a:moveTo>
                <a:cubicBezTo>
                  <a:pt x="418" y="139"/>
                  <a:pt x="419" y="142"/>
                  <a:pt x="418" y="140"/>
                </a:cubicBezTo>
                <a:close/>
                <a:moveTo>
                  <a:pt x="420" y="672"/>
                </a:moveTo>
                <a:cubicBezTo>
                  <a:pt x="419" y="672"/>
                  <a:pt x="418" y="672"/>
                  <a:pt x="418" y="672"/>
                </a:cubicBezTo>
                <a:cubicBezTo>
                  <a:pt x="418" y="671"/>
                  <a:pt x="432" y="670"/>
                  <a:pt x="435" y="670"/>
                </a:cubicBezTo>
                <a:cubicBezTo>
                  <a:pt x="437" y="671"/>
                  <a:pt x="433" y="672"/>
                  <a:pt x="432" y="672"/>
                </a:cubicBezTo>
                <a:cubicBezTo>
                  <a:pt x="428" y="672"/>
                  <a:pt x="423" y="673"/>
                  <a:pt x="420" y="672"/>
                </a:cubicBezTo>
                <a:close/>
                <a:moveTo>
                  <a:pt x="425" y="681"/>
                </a:moveTo>
                <a:cubicBezTo>
                  <a:pt x="425" y="681"/>
                  <a:pt x="425" y="680"/>
                  <a:pt x="425" y="680"/>
                </a:cubicBezTo>
                <a:cubicBezTo>
                  <a:pt x="425" y="680"/>
                  <a:pt x="425" y="680"/>
                  <a:pt x="425" y="681"/>
                </a:cubicBezTo>
                <a:cubicBezTo>
                  <a:pt x="425" y="681"/>
                  <a:pt x="425" y="681"/>
                  <a:pt x="425" y="681"/>
                </a:cubicBezTo>
                <a:cubicBezTo>
                  <a:pt x="426" y="681"/>
                  <a:pt x="426" y="681"/>
                  <a:pt x="425" y="681"/>
                </a:cubicBezTo>
                <a:close/>
                <a:moveTo>
                  <a:pt x="429" y="674"/>
                </a:moveTo>
                <a:cubicBezTo>
                  <a:pt x="429" y="674"/>
                  <a:pt x="426" y="674"/>
                  <a:pt x="428" y="673"/>
                </a:cubicBezTo>
                <a:cubicBezTo>
                  <a:pt x="431" y="672"/>
                  <a:pt x="437" y="672"/>
                  <a:pt x="441" y="672"/>
                </a:cubicBezTo>
                <a:cubicBezTo>
                  <a:pt x="438" y="673"/>
                  <a:pt x="433" y="674"/>
                  <a:pt x="429" y="674"/>
                </a:cubicBezTo>
                <a:close/>
                <a:moveTo>
                  <a:pt x="442" y="672"/>
                </a:moveTo>
                <a:cubicBezTo>
                  <a:pt x="444" y="671"/>
                  <a:pt x="448" y="669"/>
                  <a:pt x="452" y="670"/>
                </a:cubicBezTo>
                <a:cubicBezTo>
                  <a:pt x="449" y="671"/>
                  <a:pt x="445" y="671"/>
                  <a:pt x="442" y="672"/>
                </a:cubicBezTo>
                <a:close/>
                <a:moveTo>
                  <a:pt x="449" y="142"/>
                </a:moveTo>
                <a:cubicBezTo>
                  <a:pt x="450" y="141"/>
                  <a:pt x="450" y="141"/>
                  <a:pt x="451" y="142"/>
                </a:cubicBezTo>
                <a:cubicBezTo>
                  <a:pt x="451" y="142"/>
                  <a:pt x="450" y="142"/>
                  <a:pt x="449" y="142"/>
                </a:cubicBezTo>
                <a:close/>
                <a:moveTo>
                  <a:pt x="451" y="148"/>
                </a:moveTo>
                <a:cubicBezTo>
                  <a:pt x="452" y="149"/>
                  <a:pt x="450" y="147"/>
                  <a:pt x="451" y="148"/>
                </a:cubicBezTo>
                <a:close/>
                <a:moveTo>
                  <a:pt x="446" y="79"/>
                </a:moveTo>
                <a:cubicBezTo>
                  <a:pt x="448" y="77"/>
                  <a:pt x="450" y="78"/>
                  <a:pt x="452" y="77"/>
                </a:cubicBezTo>
                <a:cubicBezTo>
                  <a:pt x="451" y="78"/>
                  <a:pt x="448" y="79"/>
                  <a:pt x="446" y="79"/>
                </a:cubicBezTo>
                <a:close/>
                <a:moveTo>
                  <a:pt x="454" y="644"/>
                </a:moveTo>
                <a:cubicBezTo>
                  <a:pt x="454" y="644"/>
                  <a:pt x="454" y="644"/>
                  <a:pt x="454" y="644"/>
                </a:cubicBezTo>
                <a:cubicBezTo>
                  <a:pt x="455" y="642"/>
                  <a:pt x="455" y="647"/>
                  <a:pt x="454" y="644"/>
                </a:cubicBezTo>
                <a:close/>
                <a:moveTo>
                  <a:pt x="449" y="66"/>
                </a:moveTo>
                <a:cubicBezTo>
                  <a:pt x="449" y="66"/>
                  <a:pt x="448" y="65"/>
                  <a:pt x="448" y="65"/>
                </a:cubicBezTo>
                <a:cubicBezTo>
                  <a:pt x="448" y="64"/>
                  <a:pt x="451" y="62"/>
                  <a:pt x="453" y="61"/>
                </a:cubicBezTo>
                <a:cubicBezTo>
                  <a:pt x="451" y="61"/>
                  <a:pt x="450" y="62"/>
                  <a:pt x="448" y="62"/>
                </a:cubicBezTo>
                <a:cubicBezTo>
                  <a:pt x="444" y="62"/>
                  <a:pt x="452" y="60"/>
                  <a:pt x="453" y="60"/>
                </a:cubicBezTo>
                <a:cubicBezTo>
                  <a:pt x="458" y="59"/>
                  <a:pt x="462" y="58"/>
                  <a:pt x="466" y="57"/>
                </a:cubicBezTo>
                <a:cubicBezTo>
                  <a:pt x="468" y="57"/>
                  <a:pt x="475" y="56"/>
                  <a:pt x="475" y="57"/>
                </a:cubicBezTo>
                <a:cubicBezTo>
                  <a:pt x="476" y="58"/>
                  <a:pt x="468" y="59"/>
                  <a:pt x="465" y="59"/>
                </a:cubicBezTo>
                <a:cubicBezTo>
                  <a:pt x="461" y="60"/>
                  <a:pt x="459" y="60"/>
                  <a:pt x="456" y="61"/>
                </a:cubicBezTo>
                <a:cubicBezTo>
                  <a:pt x="458" y="61"/>
                  <a:pt x="461" y="62"/>
                  <a:pt x="460" y="64"/>
                </a:cubicBezTo>
                <a:cubicBezTo>
                  <a:pt x="460" y="69"/>
                  <a:pt x="453" y="68"/>
                  <a:pt x="449" y="66"/>
                </a:cubicBezTo>
                <a:close/>
                <a:moveTo>
                  <a:pt x="467" y="66"/>
                </a:moveTo>
                <a:cubicBezTo>
                  <a:pt x="468" y="65"/>
                  <a:pt x="470" y="62"/>
                  <a:pt x="471" y="63"/>
                </a:cubicBezTo>
                <a:cubicBezTo>
                  <a:pt x="473" y="65"/>
                  <a:pt x="469" y="66"/>
                  <a:pt x="467" y="66"/>
                </a:cubicBezTo>
                <a:close/>
                <a:moveTo>
                  <a:pt x="459" y="100"/>
                </a:moveTo>
                <a:cubicBezTo>
                  <a:pt x="458" y="100"/>
                  <a:pt x="458" y="99"/>
                  <a:pt x="459" y="98"/>
                </a:cubicBezTo>
                <a:cubicBezTo>
                  <a:pt x="461" y="96"/>
                  <a:pt x="462" y="100"/>
                  <a:pt x="459" y="100"/>
                </a:cubicBezTo>
                <a:close/>
                <a:moveTo>
                  <a:pt x="456" y="149"/>
                </a:moveTo>
                <a:cubicBezTo>
                  <a:pt x="456" y="149"/>
                  <a:pt x="460" y="145"/>
                  <a:pt x="461" y="146"/>
                </a:cubicBezTo>
                <a:cubicBezTo>
                  <a:pt x="463" y="148"/>
                  <a:pt x="457" y="150"/>
                  <a:pt x="456" y="149"/>
                </a:cubicBezTo>
                <a:close/>
                <a:moveTo>
                  <a:pt x="462" y="681"/>
                </a:moveTo>
                <a:cubicBezTo>
                  <a:pt x="464" y="680"/>
                  <a:pt x="464" y="682"/>
                  <a:pt x="462" y="681"/>
                </a:cubicBezTo>
                <a:close/>
                <a:moveTo>
                  <a:pt x="464" y="170"/>
                </a:moveTo>
                <a:cubicBezTo>
                  <a:pt x="463" y="171"/>
                  <a:pt x="461" y="171"/>
                  <a:pt x="460" y="171"/>
                </a:cubicBezTo>
                <a:cubicBezTo>
                  <a:pt x="459" y="172"/>
                  <a:pt x="459" y="172"/>
                  <a:pt x="458" y="172"/>
                </a:cubicBezTo>
                <a:cubicBezTo>
                  <a:pt x="459" y="172"/>
                  <a:pt x="459" y="172"/>
                  <a:pt x="460" y="171"/>
                </a:cubicBezTo>
                <a:cubicBezTo>
                  <a:pt x="462" y="170"/>
                  <a:pt x="464" y="168"/>
                  <a:pt x="465" y="168"/>
                </a:cubicBezTo>
                <a:cubicBezTo>
                  <a:pt x="468" y="167"/>
                  <a:pt x="464" y="170"/>
                  <a:pt x="464" y="170"/>
                </a:cubicBezTo>
                <a:close/>
                <a:moveTo>
                  <a:pt x="466" y="68"/>
                </a:moveTo>
                <a:cubicBezTo>
                  <a:pt x="466" y="68"/>
                  <a:pt x="466" y="68"/>
                  <a:pt x="466" y="68"/>
                </a:cubicBezTo>
                <a:cubicBezTo>
                  <a:pt x="467" y="70"/>
                  <a:pt x="464" y="67"/>
                  <a:pt x="466" y="68"/>
                </a:cubicBezTo>
                <a:close/>
                <a:moveTo>
                  <a:pt x="468" y="241"/>
                </a:moveTo>
                <a:cubicBezTo>
                  <a:pt x="468" y="243"/>
                  <a:pt x="465" y="242"/>
                  <a:pt x="468" y="241"/>
                </a:cubicBezTo>
                <a:close/>
                <a:moveTo>
                  <a:pt x="470" y="75"/>
                </a:moveTo>
                <a:cubicBezTo>
                  <a:pt x="470" y="75"/>
                  <a:pt x="470" y="76"/>
                  <a:pt x="470" y="77"/>
                </a:cubicBezTo>
                <a:cubicBezTo>
                  <a:pt x="471" y="77"/>
                  <a:pt x="472" y="75"/>
                  <a:pt x="472" y="75"/>
                </a:cubicBezTo>
                <a:cubicBezTo>
                  <a:pt x="472" y="74"/>
                  <a:pt x="471" y="74"/>
                  <a:pt x="471" y="73"/>
                </a:cubicBezTo>
                <a:cubicBezTo>
                  <a:pt x="471" y="74"/>
                  <a:pt x="470" y="73"/>
                  <a:pt x="471" y="73"/>
                </a:cubicBezTo>
                <a:cubicBezTo>
                  <a:pt x="472" y="72"/>
                  <a:pt x="473" y="73"/>
                  <a:pt x="473" y="73"/>
                </a:cubicBezTo>
                <a:cubicBezTo>
                  <a:pt x="474" y="72"/>
                  <a:pt x="475" y="72"/>
                  <a:pt x="476" y="72"/>
                </a:cubicBezTo>
                <a:cubicBezTo>
                  <a:pt x="477" y="72"/>
                  <a:pt x="481" y="75"/>
                  <a:pt x="478" y="76"/>
                </a:cubicBezTo>
                <a:cubicBezTo>
                  <a:pt x="476" y="77"/>
                  <a:pt x="471" y="78"/>
                  <a:pt x="469" y="77"/>
                </a:cubicBezTo>
                <a:cubicBezTo>
                  <a:pt x="468" y="77"/>
                  <a:pt x="468" y="74"/>
                  <a:pt x="470" y="75"/>
                </a:cubicBezTo>
                <a:close/>
                <a:moveTo>
                  <a:pt x="478" y="117"/>
                </a:moveTo>
                <a:cubicBezTo>
                  <a:pt x="479" y="118"/>
                  <a:pt x="477" y="118"/>
                  <a:pt x="476" y="118"/>
                </a:cubicBezTo>
                <a:cubicBezTo>
                  <a:pt x="476" y="117"/>
                  <a:pt x="478" y="117"/>
                  <a:pt x="478" y="117"/>
                </a:cubicBezTo>
                <a:close/>
                <a:moveTo>
                  <a:pt x="478" y="100"/>
                </a:move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lose/>
                <a:moveTo>
                  <a:pt x="478" y="100"/>
                </a:moveTo>
                <a:cubicBezTo>
                  <a:pt x="479" y="100"/>
                  <a:pt x="478" y="100"/>
                  <a:pt x="478" y="100"/>
                </a:cubicBezTo>
                <a:close/>
                <a:moveTo>
                  <a:pt x="476" y="97"/>
                </a:moveTo>
                <a:cubicBezTo>
                  <a:pt x="475" y="96"/>
                  <a:pt x="478" y="96"/>
                  <a:pt x="478" y="96"/>
                </a:cubicBezTo>
                <a:cubicBezTo>
                  <a:pt x="479" y="96"/>
                  <a:pt x="476" y="97"/>
                  <a:pt x="476" y="97"/>
                </a:cubicBezTo>
                <a:close/>
                <a:moveTo>
                  <a:pt x="474" y="91"/>
                </a:moveTo>
                <a:cubicBezTo>
                  <a:pt x="474" y="90"/>
                  <a:pt x="475" y="90"/>
                  <a:pt x="476" y="90"/>
                </a:cubicBezTo>
                <a:cubicBezTo>
                  <a:pt x="477" y="92"/>
                  <a:pt x="474" y="92"/>
                  <a:pt x="474" y="91"/>
                </a:cubicBezTo>
                <a:close/>
                <a:moveTo>
                  <a:pt x="477" y="107"/>
                </a:moveTo>
                <a:cubicBezTo>
                  <a:pt x="477" y="109"/>
                  <a:pt x="474" y="111"/>
                  <a:pt x="473" y="109"/>
                </a:cubicBezTo>
                <a:cubicBezTo>
                  <a:pt x="469" y="106"/>
                  <a:pt x="477" y="104"/>
                  <a:pt x="477" y="107"/>
                </a:cubicBezTo>
                <a:close/>
                <a:moveTo>
                  <a:pt x="472" y="112"/>
                </a:moveTo>
                <a:cubicBezTo>
                  <a:pt x="475" y="114"/>
                  <a:pt x="468" y="116"/>
                  <a:pt x="470" y="113"/>
                </a:cubicBezTo>
                <a:cubicBezTo>
                  <a:pt x="471" y="112"/>
                  <a:pt x="472" y="112"/>
                  <a:pt x="472" y="112"/>
                </a:cubicBezTo>
                <a:close/>
                <a:moveTo>
                  <a:pt x="475" y="122"/>
                </a:moveTo>
                <a:cubicBezTo>
                  <a:pt x="474" y="122"/>
                  <a:pt x="473" y="123"/>
                  <a:pt x="472" y="123"/>
                </a:cubicBezTo>
                <a:cubicBezTo>
                  <a:pt x="472" y="123"/>
                  <a:pt x="473" y="121"/>
                  <a:pt x="475" y="122"/>
                </a:cubicBezTo>
                <a:close/>
                <a:moveTo>
                  <a:pt x="474" y="123"/>
                </a:moveTo>
                <a:cubicBezTo>
                  <a:pt x="474" y="123"/>
                  <a:pt x="475" y="123"/>
                  <a:pt x="475" y="124"/>
                </a:cubicBezTo>
                <a:cubicBezTo>
                  <a:pt x="475" y="124"/>
                  <a:pt x="474" y="124"/>
                  <a:pt x="474" y="123"/>
                </a:cubicBezTo>
                <a:close/>
                <a:moveTo>
                  <a:pt x="477" y="158"/>
                </a:moveTo>
                <a:cubicBezTo>
                  <a:pt x="477" y="158"/>
                  <a:pt x="476" y="159"/>
                  <a:pt x="475" y="159"/>
                </a:cubicBezTo>
                <a:cubicBezTo>
                  <a:pt x="475" y="159"/>
                  <a:pt x="476" y="158"/>
                  <a:pt x="477" y="158"/>
                </a:cubicBezTo>
                <a:close/>
                <a:moveTo>
                  <a:pt x="476" y="121"/>
                </a:moveTo>
                <a:cubicBezTo>
                  <a:pt x="477" y="121"/>
                  <a:pt x="478" y="119"/>
                  <a:pt x="479" y="120"/>
                </a:cubicBezTo>
                <a:cubicBezTo>
                  <a:pt x="478" y="121"/>
                  <a:pt x="477" y="121"/>
                  <a:pt x="476" y="121"/>
                </a:cubicBezTo>
                <a:close/>
                <a:moveTo>
                  <a:pt x="472" y="165"/>
                </a:moveTo>
                <a:cubicBezTo>
                  <a:pt x="472" y="166"/>
                  <a:pt x="470" y="167"/>
                  <a:pt x="469" y="168"/>
                </a:cubicBezTo>
                <a:cubicBezTo>
                  <a:pt x="469" y="166"/>
                  <a:pt x="471" y="166"/>
                  <a:pt x="472" y="165"/>
                </a:cubicBezTo>
                <a:close/>
                <a:moveTo>
                  <a:pt x="471" y="178"/>
                </a:moveTo>
                <a:cubicBezTo>
                  <a:pt x="471" y="175"/>
                  <a:pt x="476" y="174"/>
                  <a:pt x="477" y="177"/>
                </a:cubicBezTo>
                <a:cubicBezTo>
                  <a:pt x="477" y="181"/>
                  <a:pt x="471" y="180"/>
                  <a:pt x="471" y="178"/>
                </a:cubicBezTo>
                <a:close/>
                <a:moveTo>
                  <a:pt x="472" y="233"/>
                </a:moveTo>
                <a:cubicBezTo>
                  <a:pt x="472" y="232"/>
                  <a:pt x="475" y="230"/>
                  <a:pt x="475" y="232"/>
                </a:cubicBezTo>
                <a:cubicBezTo>
                  <a:pt x="476" y="234"/>
                  <a:pt x="473" y="234"/>
                  <a:pt x="472" y="233"/>
                </a:cubicBezTo>
                <a:close/>
                <a:moveTo>
                  <a:pt x="475" y="180"/>
                </a:moveTo>
                <a:cubicBezTo>
                  <a:pt x="475" y="180"/>
                  <a:pt x="476" y="179"/>
                  <a:pt x="477" y="180"/>
                </a:cubicBezTo>
                <a:cubicBezTo>
                  <a:pt x="478" y="181"/>
                  <a:pt x="475" y="181"/>
                  <a:pt x="475" y="180"/>
                </a:cubicBezTo>
                <a:close/>
                <a:moveTo>
                  <a:pt x="482" y="155"/>
                </a:moveTo>
                <a:cubicBezTo>
                  <a:pt x="482" y="156"/>
                  <a:pt x="480" y="157"/>
                  <a:pt x="479" y="157"/>
                </a:cubicBezTo>
                <a:cubicBezTo>
                  <a:pt x="479" y="156"/>
                  <a:pt x="481" y="156"/>
                  <a:pt x="482" y="155"/>
                </a:cubicBezTo>
                <a:close/>
                <a:moveTo>
                  <a:pt x="479" y="164"/>
                </a:moveTo>
                <a:cubicBezTo>
                  <a:pt x="479" y="162"/>
                  <a:pt x="481" y="163"/>
                  <a:pt x="479" y="164"/>
                </a:cubicBezTo>
                <a:close/>
                <a:moveTo>
                  <a:pt x="479" y="175"/>
                </a:moveTo>
                <a:cubicBezTo>
                  <a:pt x="478" y="174"/>
                  <a:pt x="480" y="173"/>
                  <a:pt x="480" y="174"/>
                </a:cubicBezTo>
                <a:cubicBezTo>
                  <a:pt x="480" y="175"/>
                  <a:pt x="480" y="175"/>
                  <a:pt x="479" y="175"/>
                </a:cubicBezTo>
                <a:close/>
                <a:moveTo>
                  <a:pt x="480" y="164"/>
                </a:moveTo>
                <a:cubicBezTo>
                  <a:pt x="480" y="163"/>
                  <a:pt x="484" y="161"/>
                  <a:pt x="484" y="164"/>
                </a:cubicBezTo>
                <a:cubicBezTo>
                  <a:pt x="484" y="166"/>
                  <a:pt x="480" y="166"/>
                  <a:pt x="480" y="164"/>
                </a:cubicBezTo>
                <a:close/>
                <a:moveTo>
                  <a:pt x="482" y="188"/>
                </a:moveTo>
                <a:cubicBezTo>
                  <a:pt x="482" y="187"/>
                  <a:pt x="483" y="187"/>
                  <a:pt x="484" y="187"/>
                </a:cubicBezTo>
                <a:cubicBezTo>
                  <a:pt x="484" y="187"/>
                  <a:pt x="482" y="189"/>
                  <a:pt x="482" y="188"/>
                </a:cubicBezTo>
                <a:close/>
                <a:moveTo>
                  <a:pt x="487" y="253"/>
                </a:moveTo>
                <a:cubicBezTo>
                  <a:pt x="487" y="255"/>
                  <a:pt x="485" y="254"/>
                  <a:pt x="487" y="253"/>
                </a:cubicBezTo>
                <a:close/>
                <a:moveTo>
                  <a:pt x="484" y="228"/>
                </a:moveTo>
                <a:cubicBezTo>
                  <a:pt x="482" y="226"/>
                  <a:pt x="488" y="223"/>
                  <a:pt x="488" y="227"/>
                </a:cubicBezTo>
                <a:cubicBezTo>
                  <a:pt x="488" y="228"/>
                  <a:pt x="485" y="230"/>
                  <a:pt x="484" y="228"/>
                </a:cubicBezTo>
                <a:close/>
                <a:moveTo>
                  <a:pt x="486" y="208"/>
                </a:moveTo>
                <a:cubicBezTo>
                  <a:pt x="486" y="207"/>
                  <a:pt x="488" y="206"/>
                  <a:pt x="488" y="207"/>
                </a:cubicBezTo>
                <a:cubicBezTo>
                  <a:pt x="488" y="208"/>
                  <a:pt x="487" y="209"/>
                  <a:pt x="486" y="208"/>
                </a:cubicBezTo>
                <a:close/>
                <a:moveTo>
                  <a:pt x="490" y="250"/>
                </a:moveTo>
                <a:cubicBezTo>
                  <a:pt x="490" y="248"/>
                  <a:pt x="492" y="246"/>
                  <a:pt x="493" y="245"/>
                </a:cubicBezTo>
                <a:cubicBezTo>
                  <a:pt x="493" y="246"/>
                  <a:pt x="491" y="248"/>
                  <a:pt x="490" y="250"/>
                </a:cubicBezTo>
                <a:close/>
                <a:moveTo>
                  <a:pt x="494" y="245"/>
                </a:moveTo>
                <a:cubicBezTo>
                  <a:pt x="494" y="244"/>
                  <a:pt x="495" y="243"/>
                  <a:pt x="495" y="243"/>
                </a:cubicBezTo>
                <a:cubicBezTo>
                  <a:pt x="496" y="243"/>
                  <a:pt x="494" y="245"/>
                  <a:pt x="494" y="245"/>
                </a:cubicBezTo>
                <a:close/>
                <a:moveTo>
                  <a:pt x="499" y="230"/>
                </a:moveTo>
                <a:cubicBezTo>
                  <a:pt x="499" y="229"/>
                  <a:pt x="501" y="229"/>
                  <a:pt x="501" y="229"/>
                </a:cubicBezTo>
                <a:cubicBezTo>
                  <a:pt x="502" y="229"/>
                  <a:pt x="500" y="230"/>
                  <a:pt x="499" y="230"/>
                </a:cubicBezTo>
                <a:close/>
                <a:moveTo>
                  <a:pt x="496" y="230"/>
                </a:moveTo>
                <a:cubicBezTo>
                  <a:pt x="496" y="230"/>
                  <a:pt x="491" y="233"/>
                  <a:pt x="492" y="231"/>
                </a:cubicBezTo>
                <a:cubicBezTo>
                  <a:pt x="492" y="230"/>
                  <a:pt x="497" y="229"/>
                  <a:pt x="497" y="229"/>
                </a:cubicBezTo>
                <a:cubicBezTo>
                  <a:pt x="500" y="228"/>
                  <a:pt x="503" y="225"/>
                  <a:pt x="506" y="225"/>
                </a:cubicBezTo>
                <a:cubicBezTo>
                  <a:pt x="505" y="228"/>
                  <a:pt x="498" y="229"/>
                  <a:pt x="496" y="230"/>
                </a:cubicBezTo>
                <a:close/>
                <a:moveTo>
                  <a:pt x="505" y="195"/>
                </a:moveTo>
                <a:cubicBezTo>
                  <a:pt x="505" y="194"/>
                  <a:pt x="507" y="192"/>
                  <a:pt x="508" y="193"/>
                </a:cubicBezTo>
                <a:cubicBezTo>
                  <a:pt x="508" y="194"/>
                  <a:pt x="506" y="196"/>
                  <a:pt x="505" y="195"/>
                </a:cubicBezTo>
                <a:close/>
                <a:moveTo>
                  <a:pt x="507" y="222"/>
                </a:moveTo>
                <a:cubicBezTo>
                  <a:pt x="507" y="222"/>
                  <a:pt x="508" y="222"/>
                  <a:pt x="508" y="222"/>
                </a:cubicBezTo>
                <a:cubicBezTo>
                  <a:pt x="510" y="223"/>
                  <a:pt x="504" y="225"/>
                  <a:pt x="507" y="222"/>
                </a:cubicBezTo>
                <a:close/>
                <a:moveTo>
                  <a:pt x="506" y="190"/>
                </a:moveTo>
                <a:cubicBezTo>
                  <a:pt x="506" y="189"/>
                  <a:pt x="507" y="188"/>
                  <a:pt x="509" y="188"/>
                </a:cubicBezTo>
                <a:cubicBezTo>
                  <a:pt x="508" y="189"/>
                  <a:pt x="507" y="190"/>
                  <a:pt x="506" y="190"/>
                </a:cubicBezTo>
                <a:close/>
                <a:moveTo>
                  <a:pt x="516" y="247"/>
                </a:moveTo>
                <a:cubicBezTo>
                  <a:pt x="514" y="248"/>
                  <a:pt x="511" y="250"/>
                  <a:pt x="509" y="250"/>
                </a:cubicBezTo>
                <a:cubicBezTo>
                  <a:pt x="510" y="249"/>
                  <a:pt x="514" y="248"/>
                  <a:pt x="516" y="247"/>
                </a:cubicBezTo>
                <a:close/>
                <a:moveTo>
                  <a:pt x="512" y="258"/>
                </a:moveTo>
                <a:cubicBezTo>
                  <a:pt x="512" y="255"/>
                  <a:pt x="516" y="256"/>
                  <a:pt x="516" y="257"/>
                </a:cubicBezTo>
                <a:cubicBezTo>
                  <a:pt x="517" y="258"/>
                  <a:pt x="512" y="260"/>
                  <a:pt x="512" y="258"/>
                </a:cubicBezTo>
                <a:close/>
                <a:moveTo>
                  <a:pt x="517" y="268"/>
                </a:moveTo>
                <a:cubicBezTo>
                  <a:pt x="516" y="269"/>
                  <a:pt x="517" y="268"/>
                  <a:pt x="517" y="268"/>
                </a:cubicBezTo>
                <a:cubicBezTo>
                  <a:pt x="517" y="268"/>
                  <a:pt x="517" y="268"/>
                  <a:pt x="517" y="268"/>
                </a:cubicBezTo>
                <a:close/>
                <a:moveTo>
                  <a:pt x="517" y="247"/>
                </a:moveTo>
                <a:cubicBezTo>
                  <a:pt x="517" y="247"/>
                  <a:pt x="517" y="247"/>
                  <a:pt x="517" y="247"/>
                </a:cubicBezTo>
                <a:cubicBezTo>
                  <a:pt x="518" y="247"/>
                  <a:pt x="517" y="247"/>
                  <a:pt x="517" y="247"/>
                </a:cubicBezTo>
                <a:close/>
                <a:moveTo>
                  <a:pt x="518" y="154"/>
                </a:moveTo>
                <a:cubicBezTo>
                  <a:pt x="517" y="151"/>
                  <a:pt x="524" y="153"/>
                  <a:pt x="524" y="154"/>
                </a:cubicBezTo>
                <a:cubicBezTo>
                  <a:pt x="524" y="154"/>
                  <a:pt x="523" y="155"/>
                  <a:pt x="523" y="155"/>
                </a:cubicBezTo>
                <a:cubicBezTo>
                  <a:pt x="523" y="156"/>
                  <a:pt x="522" y="158"/>
                  <a:pt x="521" y="156"/>
                </a:cubicBezTo>
                <a:cubicBezTo>
                  <a:pt x="521" y="156"/>
                  <a:pt x="521" y="155"/>
                  <a:pt x="521" y="155"/>
                </a:cubicBezTo>
                <a:cubicBezTo>
                  <a:pt x="520" y="155"/>
                  <a:pt x="518" y="155"/>
                  <a:pt x="518" y="154"/>
                </a:cubicBezTo>
                <a:close/>
                <a:moveTo>
                  <a:pt x="518" y="188"/>
                </a:moveTo>
                <a:cubicBezTo>
                  <a:pt x="518" y="186"/>
                  <a:pt x="524" y="185"/>
                  <a:pt x="524" y="188"/>
                </a:cubicBezTo>
                <a:cubicBezTo>
                  <a:pt x="524" y="190"/>
                  <a:pt x="519" y="190"/>
                  <a:pt x="518" y="188"/>
                </a:cubicBezTo>
                <a:close/>
                <a:moveTo>
                  <a:pt x="522" y="286"/>
                </a:moveTo>
                <a:cubicBezTo>
                  <a:pt x="522" y="285"/>
                  <a:pt x="522" y="285"/>
                  <a:pt x="522" y="285"/>
                </a:cubicBezTo>
                <a:cubicBezTo>
                  <a:pt x="523" y="285"/>
                  <a:pt x="522" y="286"/>
                  <a:pt x="522" y="286"/>
                </a:cubicBezTo>
                <a:close/>
                <a:moveTo>
                  <a:pt x="521" y="231"/>
                </a:moveTo>
                <a:cubicBezTo>
                  <a:pt x="518" y="232"/>
                  <a:pt x="522" y="229"/>
                  <a:pt x="523" y="228"/>
                </a:cubicBezTo>
                <a:cubicBezTo>
                  <a:pt x="524" y="226"/>
                  <a:pt x="526" y="223"/>
                  <a:pt x="528" y="220"/>
                </a:cubicBezTo>
                <a:cubicBezTo>
                  <a:pt x="528" y="221"/>
                  <a:pt x="527" y="221"/>
                  <a:pt x="527" y="220"/>
                </a:cubicBezTo>
                <a:cubicBezTo>
                  <a:pt x="527" y="220"/>
                  <a:pt x="528" y="220"/>
                  <a:pt x="528" y="220"/>
                </a:cubicBezTo>
                <a:cubicBezTo>
                  <a:pt x="528" y="220"/>
                  <a:pt x="528" y="220"/>
                  <a:pt x="528" y="220"/>
                </a:cubicBezTo>
                <a:cubicBezTo>
                  <a:pt x="529" y="219"/>
                  <a:pt x="529" y="218"/>
                  <a:pt x="530" y="218"/>
                </a:cubicBezTo>
                <a:cubicBezTo>
                  <a:pt x="530" y="218"/>
                  <a:pt x="531" y="218"/>
                  <a:pt x="531" y="218"/>
                </a:cubicBezTo>
                <a:cubicBezTo>
                  <a:pt x="531" y="218"/>
                  <a:pt x="529" y="220"/>
                  <a:pt x="528" y="222"/>
                </a:cubicBezTo>
                <a:cubicBezTo>
                  <a:pt x="527" y="223"/>
                  <a:pt x="523" y="230"/>
                  <a:pt x="521" y="231"/>
                </a:cubicBezTo>
                <a:close/>
                <a:moveTo>
                  <a:pt x="530" y="232"/>
                </a:moveTo>
                <a:cubicBezTo>
                  <a:pt x="530" y="232"/>
                  <a:pt x="530" y="232"/>
                  <a:pt x="531" y="232"/>
                </a:cubicBezTo>
                <a:cubicBezTo>
                  <a:pt x="531" y="232"/>
                  <a:pt x="530" y="233"/>
                  <a:pt x="530" y="232"/>
                </a:cubicBezTo>
                <a:close/>
                <a:moveTo>
                  <a:pt x="530" y="268"/>
                </a:move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lose/>
                <a:moveTo>
                  <a:pt x="530" y="256"/>
                </a:moveTo>
                <a:cubicBezTo>
                  <a:pt x="530" y="256"/>
                  <a:pt x="531" y="255"/>
                  <a:pt x="531" y="256"/>
                </a:cubicBezTo>
                <a:cubicBezTo>
                  <a:pt x="532" y="258"/>
                  <a:pt x="529" y="258"/>
                  <a:pt x="530" y="256"/>
                </a:cubicBezTo>
                <a:close/>
                <a:moveTo>
                  <a:pt x="533" y="312"/>
                </a:moveTo>
                <a:cubicBezTo>
                  <a:pt x="533" y="311"/>
                  <a:pt x="533" y="310"/>
                  <a:pt x="534" y="310"/>
                </a:cubicBezTo>
                <a:cubicBezTo>
                  <a:pt x="536" y="308"/>
                  <a:pt x="535" y="313"/>
                  <a:pt x="533" y="312"/>
                </a:cubicBezTo>
                <a:close/>
                <a:moveTo>
                  <a:pt x="533" y="230"/>
                </a:moveTo>
                <a:cubicBezTo>
                  <a:pt x="534" y="229"/>
                  <a:pt x="535" y="232"/>
                  <a:pt x="533" y="231"/>
                </a:cubicBezTo>
                <a:cubicBezTo>
                  <a:pt x="533" y="231"/>
                  <a:pt x="533" y="230"/>
                  <a:pt x="533" y="230"/>
                </a:cubicBezTo>
                <a:close/>
                <a:moveTo>
                  <a:pt x="531" y="215"/>
                </a:moveTo>
                <a:cubicBezTo>
                  <a:pt x="530" y="213"/>
                  <a:pt x="535" y="211"/>
                  <a:pt x="535" y="214"/>
                </a:cubicBezTo>
                <a:cubicBezTo>
                  <a:pt x="535" y="215"/>
                  <a:pt x="531" y="217"/>
                  <a:pt x="531" y="215"/>
                </a:cubicBezTo>
                <a:close/>
                <a:moveTo>
                  <a:pt x="530" y="135"/>
                </a:moveTo>
                <a:cubicBezTo>
                  <a:pt x="532" y="134"/>
                  <a:pt x="534" y="133"/>
                  <a:pt x="536" y="131"/>
                </a:cubicBezTo>
                <a:cubicBezTo>
                  <a:pt x="535" y="134"/>
                  <a:pt x="532" y="134"/>
                  <a:pt x="530" y="135"/>
                </a:cubicBezTo>
                <a:close/>
                <a:moveTo>
                  <a:pt x="598" y="198"/>
                </a:moveTo>
                <a:cubicBezTo>
                  <a:pt x="598" y="198"/>
                  <a:pt x="597" y="199"/>
                  <a:pt x="597" y="199"/>
                </a:cubicBezTo>
                <a:cubicBezTo>
                  <a:pt x="596" y="198"/>
                  <a:pt x="598" y="198"/>
                  <a:pt x="598" y="198"/>
                </a:cubicBezTo>
                <a:close/>
                <a:moveTo>
                  <a:pt x="596" y="204"/>
                </a:moveTo>
                <a:cubicBezTo>
                  <a:pt x="598" y="202"/>
                  <a:pt x="597" y="205"/>
                  <a:pt x="596" y="205"/>
                </a:cubicBezTo>
                <a:cubicBezTo>
                  <a:pt x="596" y="204"/>
                  <a:pt x="596" y="204"/>
                  <a:pt x="596" y="204"/>
                </a:cubicBezTo>
                <a:close/>
                <a:moveTo>
                  <a:pt x="596" y="235"/>
                </a:moveTo>
                <a:cubicBezTo>
                  <a:pt x="597" y="235"/>
                  <a:pt x="598" y="234"/>
                  <a:pt x="598" y="235"/>
                </a:cubicBezTo>
                <a:cubicBezTo>
                  <a:pt x="601" y="237"/>
                  <a:pt x="594" y="238"/>
                  <a:pt x="596" y="235"/>
                </a:cubicBezTo>
                <a:close/>
                <a:moveTo>
                  <a:pt x="599" y="282"/>
                </a:moveTo>
                <a:cubicBezTo>
                  <a:pt x="598" y="284"/>
                  <a:pt x="597" y="283"/>
                  <a:pt x="599" y="282"/>
                </a:cubicBezTo>
                <a:close/>
                <a:moveTo>
                  <a:pt x="594" y="323"/>
                </a:moveTo>
                <a:cubicBezTo>
                  <a:pt x="594" y="322"/>
                  <a:pt x="595" y="322"/>
                  <a:pt x="595" y="322"/>
                </a:cubicBezTo>
                <a:cubicBezTo>
                  <a:pt x="597" y="323"/>
                  <a:pt x="593" y="325"/>
                  <a:pt x="594" y="323"/>
                </a:cubicBezTo>
                <a:close/>
                <a:moveTo>
                  <a:pt x="596" y="370"/>
                </a:moveTo>
                <a:cubicBezTo>
                  <a:pt x="597" y="370"/>
                  <a:pt x="594" y="371"/>
                  <a:pt x="596" y="370"/>
                </a:cubicBezTo>
                <a:close/>
                <a:moveTo>
                  <a:pt x="594" y="263"/>
                </a:moveTo>
                <a:cubicBezTo>
                  <a:pt x="595" y="262"/>
                  <a:pt x="596" y="264"/>
                  <a:pt x="594" y="263"/>
                </a:cubicBezTo>
                <a:close/>
                <a:moveTo>
                  <a:pt x="594" y="231"/>
                </a:moveTo>
                <a:cubicBezTo>
                  <a:pt x="595" y="231"/>
                  <a:pt x="594" y="232"/>
                  <a:pt x="594" y="231"/>
                </a:cubicBezTo>
                <a:cubicBezTo>
                  <a:pt x="594" y="231"/>
                  <a:pt x="594" y="231"/>
                  <a:pt x="594" y="231"/>
                </a:cubicBezTo>
                <a:close/>
                <a:moveTo>
                  <a:pt x="592" y="198"/>
                </a:moveTo>
                <a:cubicBezTo>
                  <a:pt x="594" y="196"/>
                  <a:pt x="594" y="199"/>
                  <a:pt x="592" y="198"/>
                </a:cubicBezTo>
                <a:close/>
                <a:moveTo>
                  <a:pt x="594" y="244"/>
                </a:moveTo>
                <a:cubicBezTo>
                  <a:pt x="594" y="245"/>
                  <a:pt x="593" y="245"/>
                  <a:pt x="591" y="246"/>
                </a:cubicBezTo>
                <a:cubicBezTo>
                  <a:pt x="592" y="245"/>
                  <a:pt x="593" y="244"/>
                  <a:pt x="594" y="244"/>
                </a:cubicBezTo>
                <a:close/>
                <a:moveTo>
                  <a:pt x="589" y="200"/>
                </a:moveTo>
                <a:cubicBezTo>
                  <a:pt x="590" y="201"/>
                  <a:pt x="588" y="202"/>
                  <a:pt x="588" y="202"/>
                </a:cubicBezTo>
                <a:cubicBezTo>
                  <a:pt x="588" y="201"/>
                  <a:pt x="589" y="201"/>
                  <a:pt x="589" y="200"/>
                </a:cubicBezTo>
                <a:close/>
                <a:moveTo>
                  <a:pt x="591" y="200"/>
                </a:moveTo>
                <a:cubicBezTo>
                  <a:pt x="590" y="203"/>
                  <a:pt x="589" y="206"/>
                  <a:pt x="586" y="208"/>
                </a:cubicBezTo>
                <a:cubicBezTo>
                  <a:pt x="588" y="206"/>
                  <a:pt x="589" y="203"/>
                  <a:pt x="591" y="200"/>
                </a:cubicBezTo>
                <a:close/>
                <a:moveTo>
                  <a:pt x="590" y="339"/>
                </a:moveTo>
                <a:cubicBezTo>
                  <a:pt x="591" y="338"/>
                  <a:pt x="590" y="340"/>
                  <a:pt x="590" y="339"/>
                </a:cubicBezTo>
                <a:close/>
                <a:moveTo>
                  <a:pt x="590" y="246"/>
                </a:moveTo>
                <a:cubicBezTo>
                  <a:pt x="591" y="246"/>
                  <a:pt x="591" y="246"/>
                  <a:pt x="590" y="246"/>
                </a:cubicBezTo>
                <a:close/>
                <a:moveTo>
                  <a:pt x="590" y="246"/>
                </a:moveTo>
                <a:cubicBezTo>
                  <a:pt x="590" y="246"/>
                  <a:pt x="590" y="247"/>
                  <a:pt x="590" y="247"/>
                </a:cubicBezTo>
                <a:cubicBezTo>
                  <a:pt x="590" y="247"/>
                  <a:pt x="590" y="247"/>
                  <a:pt x="590" y="247"/>
                </a:cubicBezTo>
                <a:cubicBezTo>
                  <a:pt x="590" y="247"/>
                  <a:pt x="590" y="247"/>
                  <a:pt x="590" y="246"/>
                </a:cubicBezTo>
                <a:close/>
                <a:moveTo>
                  <a:pt x="587" y="206"/>
                </a:moveTo>
                <a:cubicBezTo>
                  <a:pt x="587" y="206"/>
                  <a:pt x="586" y="205"/>
                  <a:pt x="586" y="205"/>
                </a:cubicBezTo>
                <a:cubicBezTo>
                  <a:pt x="587" y="204"/>
                  <a:pt x="587" y="208"/>
                  <a:pt x="587" y="206"/>
                </a:cubicBezTo>
                <a:close/>
                <a:moveTo>
                  <a:pt x="586" y="210"/>
                </a:moveTo>
                <a:cubicBezTo>
                  <a:pt x="587" y="211"/>
                  <a:pt x="585" y="212"/>
                  <a:pt x="585" y="213"/>
                </a:cubicBezTo>
                <a:cubicBezTo>
                  <a:pt x="584" y="212"/>
                  <a:pt x="586" y="210"/>
                  <a:pt x="586" y="210"/>
                </a:cubicBezTo>
                <a:close/>
                <a:moveTo>
                  <a:pt x="585" y="229"/>
                </a:moveTo>
                <a:cubicBezTo>
                  <a:pt x="586" y="228"/>
                  <a:pt x="585" y="230"/>
                  <a:pt x="584" y="230"/>
                </a:cubicBezTo>
                <a:cubicBezTo>
                  <a:pt x="584" y="230"/>
                  <a:pt x="585" y="229"/>
                  <a:pt x="585" y="229"/>
                </a:cubicBezTo>
                <a:close/>
                <a:moveTo>
                  <a:pt x="584" y="214"/>
                </a:moveTo>
                <a:cubicBezTo>
                  <a:pt x="584" y="212"/>
                  <a:pt x="585" y="214"/>
                  <a:pt x="584" y="214"/>
                </a:cubicBezTo>
                <a:close/>
                <a:moveTo>
                  <a:pt x="583" y="250"/>
                </a:moveTo>
                <a:cubicBezTo>
                  <a:pt x="583" y="250"/>
                  <a:pt x="583" y="251"/>
                  <a:pt x="582" y="251"/>
                </a:cubicBezTo>
                <a:cubicBezTo>
                  <a:pt x="582" y="251"/>
                  <a:pt x="581" y="251"/>
                  <a:pt x="581" y="251"/>
                </a:cubicBezTo>
                <a:cubicBezTo>
                  <a:pt x="582" y="251"/>
                  <a:pt x="583" y="251"/>
                  <a:pt x="583" y="250"/>
                </a:cubicBezTo>
                <a:close/>
                <a:moveTo>
                  <a:pt x="579" y="195"/>
                </a:moveTo>
                <a:cubicBezTo>
                  <a:pt x="578" y="194"/>
                  <a:pt x="581" y="195"/>
                  <a:pt x="579" y="195"/>
                </a:cubicBezTo>
                <a:close/>
                <a:moveTo>
                  <a:pt x="578" y="186"/>
                </a:moveTo>
                <a:cubicBezTo>
                  <a:pt x="578" y="188"/>
                  <a:pt x="573" y="190"/>
                  <a:pt x="572" y="187"/>
                </a:cubicBezTo>
                <a:cubicBezTo>
                  <a:pt x="571" y="184"/>
                  <a:pt x="579" y="182"/>
                  <a:pt x="578" y="186"/>
                </a:cubicBezTo>
                <a:close/>
                <a:moveTo>
                  <a:pt x="576" y="196"/>
                </a:moveTo>
                <a:cubicBezTo>
                  <a:pt x="576" y="196"/>
                  <a:pt x="576" y="196"/>
                  <a:pt x="576" y="196"/>
                </a:cubicBezTo>
                <a:cubicBezTo>
                  <a:pt x="577" y="198"/>
                  <a:pt x="574" y="195"/>
                  <a:pt x="576" y="196"/>
                </a:cubicBezTo>
                <a:close/>
                <a:moveTo>
                  <a:pt x="573" y="191"/>
                </a:moveTo>
                <a:cubicBezTo>
                  <a:pt x="572" y="191"/>
                  <a:pt x="571" y="192"/>
                  <a:pt x="570" y="192"/>
                </a:cubicBezTo>
                <a:cubicBezTo>
                  <a:pt x="570" y="191"/>
                  <a:pt x="573" y="190"/>
                  <a:pt x="573" y="191"/>
                </a:cubicBezTo>
                <a:close/>
                <a:moveTo>
                  <a:pt x="565" y="201"/>
                </a:moveTo>
                <a:cubicBezTo>
                  <a:pt x="565" y="202"/>
                  <a:pt x="563" y="202"/>
                  <a:pt x="563" y="201"/>
                </a:cubicBezTo>
                <a:cubicBezTo>
                  <a:pt x="563" y="200"/>
                  <a:pt x="564" y="200"/>
                  <a:pt x="565" y="201"/>
                </a:cubicBezTo>
                <a:close/>
                <a:moveTo>
                  <a:pt x="569" y="202"/>
                </a:moveTo>
                <a:cubicBezTo>
                  <a:pt x="568" y="201"/>
                  <a:pt x="562" y="207"/>
                  <a:pt x="562" y="205"/>
                </a:cubicBezTo>
                <a:cubicBezTo>
                  <a:pt x="562" y="204"/>
                  <a:pt x="567" y="200"/>
                  <a:pt x="569" y="202"/>
                </a:cubicBezTo>
                <a:close/>
                <a:moveTo>
                  <a:pt x="563" y="247"/>
                </a:moveTo>
                <a:cubicBezTo>
                  <a:pt x="563" y="247"/>
                  <a:pt x="561" y="248"/>
                  <a:pt x="561" y="248"/>
                </a:cubicBezTo>
                <a:cubicBezTo>
                  <a:pt x="560" y="247"/>
                  <a:pt x="562" y="245"/>
                  <a:pt x="563" y="247"/>
                </a:cubicBezTo>
                <a:close/>
                <a:moveTo>
                  <a:pt x="562" y="189"/>
                </a:moveTo>
                <a:cubicBezTo>
                  <a:pt x="563" y="190"/>
                  <a:pt x="560" y="191"/>
                  <a:pt x="560" y="190"/>
                </a:cubicBezTo>
                <a:cubicBezTo>
                  <a:pt x="560" y="189"/>
                  <a:pt x="562" y="189"/>
                  <a:pt x="562" y="189"/>
                </a:cubicBezTo>
                <a:close/>
                <a:moveTo>
                  <a:pt x="560" y="205"/>
                </a:moveTo>
                <a:cubicBezTo>
                  <a:pt x="563" y="203"/>
                  <a:pt x="562" y="209"/>
                  <a:pt x="560" y="207"/>
                </a:cubicBezTo>
                <a:cubicBezTo>
                  <a:pt x="558" y="207"/>
                  <a:pt x="560" y="205"/>
                  <a:pt x="560" y="205"/>
                </a:cubicBezTo>
                <a:close/>
                <a:moveTo>
                  <a:pt x="560" y="264"/>
                </a:moveTo>
                <a:cubicBezTo>
                  <a:pt x="562" y="263"/>
                  <a:pt x="559" y="266"/>
                  <a:pt x="560" y="264"/>
                </a:cubicBezTo>
                <a:cubicBezTo>
                  <a:pt x="560" y="264"/>
                  <a:pt x="560" y="264"/>
                  <a:pt x="560" y="264"/>
                </a:cubicBezTo>
                <a:close/>
                <a:moveTo>
                  <a:pt x="556" y="180"/>
                </a:moveTo>
                <a:cubicBezTo>
                  <a:pt x="557" y="181"/>
                  <a:pt x="555" y="182"/>
                  <a:pt x="555" y="181"/>
                </a:cubicBezTo>
                <a:cubicBezTo>
                  <a:pt x="555" y="181"/>
                  <a:pt x="556" y="181"/>
                  <a:pt x="556" y="180"/>
                </a:cubicBezTo>
                <a:close/>
                <a:moveTo>
                  <a:pt x="554" y="138"/>
                </a:moveTo>
                <a:cubicBezTo>
                  <a:pt x="554" y="138"/>
                  <a:pt x="555" y="138"/>
                  <a:pt x="555" y="138"/>
                </a:cubicBezTo>
                <a:cubicBezTo>
                  <a:pt x="555" y="140"/>
                  <a:pt x="552" y="136"/>
                  <a:pt x="554" y="138"/>
                </a:cubicBezTo>
                <a:close/>
                <a:moveTo>
                  <a:pt x="555" y="219"/>
                </a:moveTo>
                <a:cubicBezTo>
                  <a:pt x="555" y="219"/>
                  <a:pt x="554" y="221"/>
                  <a:pt x="553" y="221"/>
                </a:cubicBezTo>
                <a:cubicBezTo>
                  <a:pt x="553" y="220"/>
                  <a:pt x="554" y="218"/>
                  <a:pt x="555" y="219"/>
                </a:cubicBezTo>
                <a:close/>
                <a:moveTo>
                  <a:pt x="553" y="245"/>
                </a:moveTo>
                <a:cubicBezTo>
                  <a:pt x="554" y="245"/>
                  <a:pt x="552" y="246"/>
                  <a:pt x="552" y="245"/>
                </a:cubicBezTo>
                <a:cubicBezTo>
                  <a:pt x="552" y="244"/>
                  <a:pt x="553" y="244"/>
                  <a:pt x="553" y="245"/>
                </a:cubicBezTo>
                <a:close/>
                <a:moveTo>
                  <a:pt x="552" y="182"/>
                </a:move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lose/>
                <a:moveTo>
                  <a:pt x="552" y="133"/>
                </a:moveTo>
                <a:cubicBezTo>
                  <a:pt x="552" y="133"/>
                  <a:pt x="551" y="135"/>
                  <a:pt x="551" y="134"/>
                </a:cubicBezTo>
                <a:cubicBezTo>
                  <a:pt x="550" y="133"/>
                  <a:pt x="552" y="133"/>
                  <a:pt x="552" y="133"/>
                </a:cubicBezTo>
                <a:close/>
                <a:moveTo>
                  <a:pt x="552" y="158"/>
                </a:moveTo>
                <a:cubicBezTo>
                  <a:pt x="552" y="159"/>
                  <a:pt x="550" y="160"/>
                  <a:pt x="550" y="159"/>
                </a:cubicBezTo>
                <a:cubicBezTo>
                  <a:pt x="550" y="158"/>
                  <a:pt x="551" y="158"/>
                  <a:pt x="552" y="158"/>
                </a:cubicBezTo>
                <a:close/>
                <a:moveTo>
                  <a:pt x="552" y="177"/>
                </a:moveTo>
                <a:cubicBezTo>
                  <a:pt x="552" y="179"/>
                  <a:pt x="548" y="179"/>
                  <a:pt x="548" y="177"/>
                </a:cubicBezTo>
                <a:cubicBezTo>
                  <a:pt x="548" y="176"/>
                  <a:pt x="551" y="175"/>
                  <a:pt x="552" y="177"/>
                </a:cubicBezTo>
                <a:close/>
                <a:moveTo>
                  <a:pt x="547" y="170"/>
                </a:moveTo>
                <a:cubicBezTo>
                  <a:pt x="548" y="170"/>
                  <a:pt x="547" y="171"/>
                  <a:pt x="546" y="171"/>
                </a:cubicBezTo>
                <a:cubicBezTo>
                  <a:pt x="546" y="170"/>
                  <a:pt x="547" y="170"/>
                  <a:pt x="547" y="170"/>
                </a:cubicBezTo>
                <a:close/>
                <a:moveTo>
                  <a:pt x="547" y="166"/>
                </a:moveTo>
                <a:cubicBezTo>
                  <a:pt x="548" y="167"/>
                  <a:pt x="547" y="165"/>
                  <a:pt x="547" y="166"/>
                </a:cubicBezTo>
                <a:close/>
                <a:moveTo>
                  <a:pt x="548" y="133"/>
                </a:moveTo>
                <a:cubicBezTo>
                  <a:pt x="548" y="134"/>
                  <a:pt x="547" y="134"/>
                  <a:pt x="546" y="134"/>
                </a:cubicBezTo>
                <a:cubicBezTo>
                  <a:pt x="546" y="133"/>
                  <a:pt x="547" y="134"/>
                  <a:pt x="548" y="133"/>
                </a:cubicBezTo>
                <a:close/>
                <a:moveTo>
                  <a:pt x="547" y="176"/>
                </a:moveTo>
                <a:cubicBezTo>
                  <a:pt x="547" y="177"/>
                  <a:pt x="545" y="176"/>
                  <a:pt x="547" y="176"/>
                </a:cubicBezTo>
                <a:close/>
                <a:moveTo>
                  <a:pt x="546" y="168"/>
                </a:moveTo>
                <a:cubicBezTo>
                  <a:pt x="546" y="169"/>
                  <a:pt x="544" y="170"/>
                  <a:pt x="544" y="168"/>
                </a:cubicBezTo>
                <a:cubicBezTo>
                  <a:pt x="545" y="168"/>
                  <a:pt x="545" y="168"/>
                  <a:pt x="546" y="168"/>
                </a:cubicBezTo>
                <a:close/>
                <a:moveTo>
                  <a:pt x="545" y="141"/>
                </a:moveTo>
                <a:cubicBezTo>
                  <a:pt x="546" y="143"/>
                  <a:pt x="542" y="142"/>
                  <a:pt x="542" y="141"/>
                </a:cubicBezTo>
                <a:cubicBezTo>
                  <a:pt x="543" y="140"/>
                  <a:pt x="545" y="140"/>
                  <a:pt x="545" y="141"/>
                </a:cubicBezTo>
                <a:close/>
                <a:moveTo>
                  <a:pt x="540" y="150"/>
                </a:moveTo>
                <a:cubicBezTo>
                  <a:pt x="540" y="150"/>
                  <a:pt x="538" y="151"/>
                  <a:pt x="537" y="150"/>
                </a:cubicBezTo>
                <a:cubicBezTo>
                  <a:pt x="537" y="149"/>
                  <a:pt x="539" y="148"/>
                  <a:pt x="540" y="150"/>
                </a:cubicBezTo>
                <a:close/>
                <a:moveTo>
                  <a:pt x="537" y="158"/>
                </a:moveTo>
                <a:cubicBezTo>
                  <a:pt x="537" y="158"/>
                  <a:pt x="538" y="157"/>
                  <a:pt x="538" y="157"/>
                </a:cubicBezTo>
                <a:cubicBezTo>
                  <a:pt x="539" y="157"/>
                  <a:pt x="537" y="159"/>
                  <a:pt x="537" y="158"/>
                </a:cubicBezTo>
                <a:close/>
                <a:moveTo>
                  <a:pt x="538" y="165"/>
                </a:moveTo>
                <a:cubicBezTo>
                  <a:pt x="538" y="165"/>
                  <a:pt x="540" y="163"/>
                  <a:pt x="540" y="165"/>
                </a:cubicBezTo>
                <a:cubicBezTo>
                  <a:pt x="540" y="164"/>
                  <a:pt x="539" y="166"/>
                  <a:pt x="538" y="165"/>
                </a:cubicBezTo>
                <a:close/>
                <a:moveTo>
                  <a:pt x="540" y="214"/>
                </a:moveTo>
                <a:cubicBezTo>
                  <a:pt x="541" y="215"/>
                  <a:pt x="540" y="215"/>
                  <a:pt x="540" y="215"/>
                </a:cubicBezTo>
                <a:cubicBezTo>
                  <a:pt x="539" y="214"/>
                  <a:pt x="540" y="214"/>
                  <a:pt x="540" y="214"/>
                </a:cubicBezTo>
                <a:close/>
                <a:moveTo>
                  <a:pt x="541" y="291"/>
                </a:moveTo>
                <a:cubicBezTo>
                  <a:pt x="540" y="291"/>
                  <a:pt x="539" y="291"/>
                  <a:pt x="540" y="290"/>
                </a:cubicBezTo>
                <a:cubicBezTo>
                  <a:pt x="540" y="289"/>
                  <a:pt x="541" y="290"/>
                  <a:pt x="541" y="291"/>
                </a:cubicBezTo>
                <a:close/>
                <a:moveTo>
                  <a:pt x="541" y="212"/>
                </a:moveTo>
                <a:cubicBezTo>
                  <a:pt x="541" y="212"/>
                  <a:pt x="541" y="212"/>
                  <a:pt x="541" y="212"/>
                </a:cubicBezTo>
                <a:cubicBezTo>
                  <a:pt x="541" y="212"/>
                  <a:pt x="541" y="212"/>
                  <a:pt x="541" y="212"/>
                </a:cubicBezTo>
                <a:cubicBezTo>
                  <a:pt x="540" y="212"/>
                  <a:pt x="540" y="211"/>
                  <a:pt x="541" y="210"/>
                </a:cubicBezTo>
                <a:cubicBezTo>
                  <a:pt x="542" y="209"/>
                  <a:pt x="542" y="210"/>
                  <a:pt x="542" y="211"/>
                </a:cubicBezTo>
                <a:cubicBezTo>
                  <a:pt x="543" y="211"/>
                  <a:pt x="544" y="211"/>
                  <a:pt x="544" y="210"/>
                </a:cubicBezTo>
                <a:cubicBezTo>
                  <a:pt x="545" y="210"/>
                  <a:pt x="550" y="204"/>
                  <a:pt x="551" y="205"/>
                </a:cubicBezTo>
                <a:cubicBezTo>
                  <a:pt x="553" y="207"/>
                  <a:pt x="544" y="211"/>
                  <a:pt x="543" y="212"/>
                </a:cubicBezTo>
                <a:cubicBezTo>
                  <a:pt x="542" y="212"/>
                  <a:pt x="542" y="214"/>
                  <a:pt x="541" y="212"/>
                </a:cubicBezTo>
                <a:close/>
                <a:moveTo>
                  <a:pt x="549" y="242"/>
                </a:moveTo>
                <a:cubicBezTo>
                  <a:pt x="549" y="242"/>
                  <a:pt x="547" y="242"/>
                  <a:pt x="547" y="241"/>
                </a:cubicBezTo>
                <a:cubicBezTo>
                  <a:pt x="547" y="241"/>
                  <a:pt x="549" y="240"/>
                  <a:pt x="549" y="242"/>
                </a:cubicBezTo>
                <a:close/>
                <a:moveTo>
                  <a:pt x="543" y="245"/>
                </a:moveTo>
                <a:cubicBezTo>
                  <a:pt x="544" y="247"/>
                  <a:pt x="541" y="246"/>
                  <a:pt x="543" y="245"/>
                </a:cubicBezTo>
                <a:close/>
                <a:moveTo>
                  <a:pt x="547" y="220"/>
                </a:moveTo>
                <a:cubicBezTo>
                  <a:pt x="546" y="220"/>
                  <a:pt x="546" y="220"/>
                  <a:pt x="546" y="220"/>
                </a:cubicBezTo>
                <a:cubicBezTo>
                  <a:pt x="545" y="220"/>
                  <a:pt x="547" y="219"/>
                  <a:pt x="547" y="220"/>
                </a:cubicBezTo>
                <a:close/>
                <a:moveTo>
                  <a:pt x="546" y="265"/>
                </a:moveTo>
                <a:cubicBezTo>
                  <a:pt x="546" y="265"/>
                  <a:pt x="547" y="264"/>
                  <a:pt x="547" y="264"/>
                </a:cubicBezTo>
                <a:cubicBezTo>
                  <a:pt x="547" y="265"/>
                  <a:pt x="546" y="266"/>
                  <a:pt x="546" y="265"/>
                </a:cubicBezTo>
                <a:close/>
                <a:moveTo>
                  <a:pt x="548" y="300"/>
                </a:moveTo>
                <a:cubicBezTo>
                  <a:pt x="548" y="299"/>
                  <a:pt x="548" y="299"/>
                  <a:pt x="548" y="299"/>
                </a:cubicBezTo>
                <a:cubicBezTo>
                  <a:pt x="549" y="299"/>
                  <a:pt x="548" y="301"/>
                  <a:pt x="548" y="300"/>
                </a:cubicBezTo>
                <a:close/>
                <a:moveTo>
                  <a:pt x="547" y="280"/>
                </a:moveTo>
                <a:cubicBezTo>
                  <a:pt x="549" y="276"/>
                  <a:pt x="551" y="272"/>
                  <a:pt x="552" y="269"/>
                </a:cubicBezTo>
                <a:cubicBezTo>
                  <a:pt x="552" y="271"/>
                  <a:pt x="549" y="278"/>
                  <a:pt x="547" y="280"/>
                </a:cubicBezTo>
                <a:close/>
                <a:moveTo>
                  <a:pt x="553" y="329"/>
                </a:moveTo>
                <a:cubicBezTo>
                  <a:pt x="553" y="329"/>
                  <a:pt x="553" y="329"/>
                  <a:pt x="553" y="329"/>
                </a:cubicBezTo>
                <a:cubicBezTo>
                  <a:pt x="553" y="329"/>
                  <a:pt x="553" y="329"/>
                  <a:pt x="553" y="329"/>
                </a:cubicBezTo>
                <a:close/>
                <a:moveTo>
                  <a:pt x="551" y="261"/>
                </a:moveTo>
                <a:cubicBezTo>
                  <a:pt x="553" y="257"/>
                  <a:pt x="553" y="254"/>
                  <a:pt x="555" y="252"/>
                </a:cubicBezTo>
                <a:cubicBezTo>
                  <a:pt x="554" y="254"/>
                  <a:pt x="553" y="259"/>
                  <a:pt x="551" y="261"/>
                </a:cubicBezTo>
                <a:close/>
                <a:moveTo>
                  <a:pt x="554" y="222"/>
                </a:moveTo>
                <a:cubicBezTo>
                  <a:pt x="555" y="221"/>
                  <a:pt x="556" y="222"/>
                  <a:pt x="554" y="222"/>
                </a:cubicBezTo>
                <a:close/>
                <a:moveTo>
                  <a:pt x="554" y="184"/>
                </a:moveTo>
                <a:cubicBezTo>
                  <a:pt x="554" y="183"/>
                  <a:pt x="556" y="182"/>
                  <a:pt x="556" y="183"/>
                </a:cubicBezTo>
                <a:cubicBezTo>
                  <a:pt x="556" y="185"/>
                  <a:pt x="554" y="185"/>
                  <a:pt x="554" y="184"/>
                </a:cubicBezTo>
                <a:close/>
                <a:moveTo>
                  <a:pt x="557" y="285"/>
                </a:moveTo>
                <a:cubicBezTo>
                  <a:pt x="557" y="283"/>
                  <a:pt x="556" y="286"/>
                  <a:pt x="557" y="285"/>
                </a:cubicBezTo>
                <a:close/>
                <a:moveTo>
                  <a:pt x="560" y="320"/>
                </a:moveTo>
                <a:cubicBezTo>
                  <a:pt x="560" y="321"/>
                  <a:pt x="561" y="319"/>
                  <a:pt x="560" y="320"/>
                </a:cubicBezTo>
                <a:close/>
                <a:moveTo>
                  <a:pt x="557" y="283"/>
                </a:moveTo>
                <a:cubicBezTo>
                  <a:pt x="556" y="281"/>
                  <a:pt x="561" y="279"/>
                  <a:pt x="561" y="281"/>
                </a:cubicBezTo>
                <a:cubicBezTo>
                  <a:pt x="562" y="283"/>
                  <a:pt x="558" y="284"/>
                  <a:pt x="557" y="283"/>
                </a:cubicBezTo>
                <a:close/>
                <a:moveTo>
                  <a:pt x="562" y="258"/>
                </a:moveTo>
                <a:cubicBezTo>
                  <a:pt x="562" y="258"/>
                  <a:pt x="563" y="257"/>
                  <a:pt x="563" y="257"/>
                </a:cubicBezTo>
                <a:cubicBezTo>
                  <a:pt x="564" y="258"/>
                  <a:pt x="561" y="259"/>
                  <a:pt x="562" y="258"/>
                </a:cubicBezTo>
                <a:close/>
                <a:moveTo>
                  <a:pt x="565" y="221"/>
                </a:moveTo>
                <a:cubicBezTo>
                  <a:pt x="564" y="221"/>
                  <a:pt x="564" y="219"/>
                  <a:pt x="565" y="220"/>
                </a:cubicBezTo>
                <a:cubicBezTo>
                  <a:pt x="565" y="220"/>
                  <a:pt x="565" y="221"/>
                  <a:pt x="565" y="221"/>
                </a:cubicBezTo>
                <a:close/>
                <a:moveTo>
                  <a:pt x="566" y="206"/>
                </a:moveTo>
                <a:cubicBezTo>
                  <a:pt x="565" y="211"/>
                  <a:pt x="567" y="204"/>
                  <a:pt x="568" y="203"/>
                </a:cubicBezTo>
                <a:cubicBezTo>
                  <a:pt x="569" y="202"/>
                  <a:pt x="574" y="202"/>
                  <a:pt x="576" y="203"/>
                </a:cubicBezTo>
                <a:cubicBezTo>
                  <a:pt x="579" y="205"/>
                  <a:pt x="577" y="210"/>
                  <a:pt x="574" y="212"/>
                </a:cubicBezTo>
                <a:cubicBezTo>
                  <a:pt x="573" y="213"/>
                  <a:pt x="570" y="213"/>
                  <a:pt x="569" y="213"/>
                </a:cubicBezTo>
                <a:cubicBezTo>
                  <a:pt x="566" y="214"/>
                  <a:pt x="567" y="214"/>
                  <a:pt x="565" y="212"/>
                </a:cubicBezTo>
                <a:cubicBezTo>
                  <a:pt x="562" y="210"/>
                  <a:pt x="562" y="205"/>
                  <a:pt x="566" y="206"/>
                </a:cubicBezTo>
                <a:close/>
                <a:moveTo>
                  <a:pt x="573" y="236"/>
                </a:moveTo>
                <a:cubicBezTo>
                  <a:pt x="575" y="234"/>
                  <a:pt x="572" y="237"/>
                  <a:pt x="573" y="236"/>
                </a:cubicBezTo>
                <a:close/>
                <a:moveTo>
                  <a:pt x="571" y="238"/>
                </a:moveTo>
                <a:cubicBezTo>
                  <a:pt x="573" y="236"/>
                  <a:pt x="569" y="239"/>
                  <a:pt x="571" y="238"/>
                </a:cubicBezTo>
                <a:close/>
                <a:moveTo>
                  <a:pt x="569" y="326"/>
                </a:moveTo>
                <a:cubicBezTo>
                  <a:pt x="568" y="326"/>
                  <a:pt x="569" y="325"/>
                  <a:pt x="569" y="325"/>
                </a:cubicBezTo>
                <a:cubicBezTo>
                  <a:pt x="570" y="324"/>
                  <a:pt x="570" y="327"/>
                  <a:pt x="569" y="326"/>
                </a:cubicBezTo>
                <a:close/>
                <a:moveTo>
                  <a:pt x="567" y="224"/>
                </a:moveTo>
                <a:cubicBezTo>
                  <a:pt x="566" y="223"/>
                  <a:pt x="567" y="222"/>
                  <a:pt x="567" y="222"/>
                </a:cubicBezTo>
                <a:cubicBezTo>
                  <a:pt x="568" y="222"/>
                  <a:pt x="567" y="223"/>
                  <a:pt x="567" y="224"/>
                </a:cubicBezTo>
                <a:close/>
                <a:moveTo>
                  <a:pt x="567" y="311"/>
                </a:moveTo>
                <a:cubicBezTo>
                  <a:pt x="568" y="312"/>
                  <a:pt x="566" y="312"/>
                  <a:pt x="567" y="311"/>
                </a:cubicBezTo>
                <a:close/>
                <a:moveTo>
                  <a:pt x="565" y="280"/>
                </a:moveTo>
                <a:cubicBezTo>
                  <a:pt x="565" y="277"/>
                  <a:pt x="567" y="277"/>
                  <a:pt x="565" y="280"/>
                </a:cubicBezTo>
                <a:close/>
                <a:moveTo>
                  <a:pt x="566" y="411"/>
                </a:moveTo>
                <a:cubicBezTo>
                  <a:pt x="568" y="409"/>
                  <a:pt x="569" y="406"/>
                  <a:pt x="572" y="405"/>
                </a:cubicBezTo>
                <a:cubicBezTo>
                  <a:pt x="570" y="407"/>
                  <a:pt x="568" y="410"/>
                  <a:pt x="566" y="411"/>
                </a:cubicBezTo>
                <a:close/>
                <a:moveTo>
                  <a:pt x="571" y="279"/>
                </a:moveTo>
                <a:cubicBezTo>
                  <a:pt x="571" y="279"/>
                  <a:pt x="573" y="279"/>
                  <a:pt x="572" y="279"/>
                </a:cubicBezTo>
                <a:cubicBezTo>
                  <a:pt x="572" y="280"/>
                  <a:pt x="571" y="280"/>
                  <a:pt x="571" y="279"/>
                </a:cubicBezTo>
                <a:close/>
                <a:moveTo>
                  <a:pt x="573" y="383"/>
                </a:moveTo>
                <a:cubicBezTo>
                  <a:pt x="571" y="382"/>
                  <a:pt x="573" y="380"/>
                  <a:pt x="574" y="379"/>
                </a:cubicBezTo>
                <a:cubicBezTo>
                  <a:pt x="577" y="377"/>
                  <a:pt x="575" y="384"/>
                  <a:pt x="573" y="383"/>
                </a:cubicBezTo>
                <a:close/>
                <a:moveTo>
                  <a:pt x="578" y="218"/>
                </a:moveTo>
                <a:cubicBezTo>
                  <a:pt x="583" y="216"/>
                  <a:pt x="584" y="224"/>
                  <a:pt x="580" y="226"/>
                </a:cubicBezTo>
                <a:cubicBezTo>
                  <a:pt x="573" y="230"/>
                  <a:pt x="572" y="220"/>
                  <a:pt x="578" y="218"/>
                </a:cubicBezTo>
                <a:close/>
                <a:moveTo>
                  <a:pt x="577" y="295"/>
                </a:moveTo>
                <a:cubicBezTo>
                  <a:pt x="577" y="295"/>
                  <a:pt x="577" y="295"/>
                  <a:pt x="577" y="296"/>
                </a:cubicBezTo>
                <a:cubicBezTo>
                  <a:pt x="576" y="296"/>
                  <a:pt x="577" y="295"/>
                  <a:pt x="577" y="295"/>
                </a:cubicBezTo>
                <a:close/>
                <a:moveTo>
                  <a:pt x="577" y="425"/>
                </a:moveTo>
                <a:cubicBezTo>
                  <a:pt x="576" y="426"/>
                  <a:pt x="578" y="423"/>
                  <a:pt x="577" y="425"/>
                </a:cubicBezTo>
                <a:close/>
                <a:moveTo>
                  <a:pt x="577" y="371"/>
                </a:moveTo>
                <a:cubicBezTo>
                  <a:pt x="576" y="370"/>
                  <a:pt x="578" y="370"/>
                  <a:pt x="577" y="371"/>
                </a:cubicBezTo>
                <a:close/>
                <a:moveTo>
                  <a:pt x="577" y="297"/>
                </a:moveTo>
                <a:cubicBezTo>
                  <a:pt x="578" y="296"/>
                  <a:pt x="578" y="297"/>
                  <a:pt x="578" y="297"/>
                </a:cubicBezTo>
                <a:cubicBezTo>
                  <a:pt x="579" y="299"/>
                  <a:pt x="576" y="297"/>
                  <a:pt x="577" y="297"/>
                </a:cubicBezTo>
                <a:close/>
                <a:moveTo>
                  <a:pt x="580" y="277"/>
                </a:moveTo>
                <a:cubicBezTo>
                  <a:pt x="580" y="277"/>
                  <a:pt x="580" y="277"/>
                  <a:pt x="580" y="277"/>
                </a:cubicBezTo>
                <a:cubicBezTo>
                  <a:pt x="581" y="277"/>
                  <a:pt x="579" y="278"/>
                  <a:pt x="580" y="277"/>
                </a:cubicBezTo>
                <a:close/>
                <a:moveTo>
                  <a:pt x="580" y="387"/>
                </a:moveTo>
                <a:cubicBezTo>
                  <a:pt x="580" y="386"/>
                  <a:pt x="582" y="385"/>
                  <a:pt x="582" y="384"/>
                </a:cubicBezTo>
                <a:cubicBezTo>
                  <a:pt x="583" y="385"/>
                  <a:pt x="581" y="386"/>
                  <a:pt x="580" y="387"/>
                </a:cubicBezTo>
                <a:close/>
                <a:moveTo>
                  <a:pt x="578" y="268"/>
                </a:moveTo>
                <a:cubicBezTo>
                  <a:pt x="578" y="266"/>
                  <a:pt x="584" y="266"/>
                  <a:pt x="582" y="269"/>
                </a:cubicBezTo>
                <a:cubicBezTo>
                  <a:pt x="582" y="271"/>
                  <a:pt x="578" y="270"/>
                  <a:pt x="578" y="268"/>
                </a:cubicBezTo>
                <a:close/>
                <a:moveTo>
                  <a:pt x="582" y="302"/>
                </a:moveTo>
                <a:cubicBezTo>
                  <a:pt x="582" y="302"/>
                  <a:pt x="582" y="301"/>
                  <a:pt x="583" y="301"/>
                </a:cubicBezTo>
                <a:cubicBezTo>
                  <a:pt x="585" y="299"/>
                  <a:pt x="584" y="304"/>
                  <a:pt x="582" y="302"/>
                </a:cubicBezTo>
                <a:close/>
                <a:moveTo>
                  <a:pt x="584" y="367"/>
                </a:moveTo>
                <a:cubicBezTo>
                  <a:pt x="584" y="369"/>
                  <a:pt x="582" y="368"/>
                  <a:pt x="584" y="367"/>
                </a:cubicBezTo>
                <a:close/>
                <a:moveTo>
                  <a:pt x="584" y="364"/>
                </a:moveTo>
                <a:cubicBezTo>
                  <a:pt x="584" y="363"/>
                  <a:pt x="584" y="363"/>
                  <a:pt x="585" y="363"/>
                </a:cubicBezTo>
                <a:cubicBezTo>
                  <a:pt x="586" y="363"/>
                  <a:pt x="583" y="365"/>
                  <a:pt x="584" y="364"/>
                </a:cubicBezTo>
                <a:close/>
                <a:moveTo>
                  <a:pt x="585" y="305"/>
                </a:moveTo>
                <a:cubicBezTo>
                  <a:pt x="585" y="305"/>
                  <a:pt x="586" y="304"/>
                  <a:pt x="586" y="305"/>
                </a:cubicBezTo>
                <a:cubicBezTo>
                  <a:pt x="587" y="305"/>
                  <a:pt x="585" y="306"/>
                  <a:pt x="585" y="305"/>
                </a:cubicBezTo>
                <a:close/>
                <a:moveTo>
                  <a:pt x="585" y="289"/>
                </a:moveTo>
                <a:cubicBezTo>
                  <a:pt x="585" y="288"/>
                  <a:pt x="586" y="288"/>
                  <a:pt x="586" y="288"/>
                </a:cubicBezTo>
                <a:cubicBezTo>
                  <a:pt x="586" y="288"/>
                  <a:pt x="585" y="289"/>
                  <a:pt x="585" y="289"/>
                </a:cubicBezTo>
                <a:close/>
                <a:moveTo>
                  <a:pt x="585" y="250"/>
                </a:moveTo>
                <a:cubicBezTo>
                  <a:pt x="586" y="249"/>
                  <a:pt x="587" y="248"/>
                  <a:pt x="589" y="247"/>
                </a:cubicBezTo>
                <a:cubicBezTo>
                  <a:pt x="588" y="248"/>
                  <a:pt x="586" y="249"/>
                  <a:pt x="585" y="250"/>
                </a:cubicBezTo>
                <a:close/>
                <a:moveTo>
                  <a:pt x="590" y="437"/>
                </a:moveTo>
                <a:cubicBezTo>
                  <a:pt x="589" y="435"/>
                  <a:pt x="591" y="433"/>
                  <a:pt x="593" y="431"/>
                </a:cubicBezTo>
                <a:cubicBezTo>
                  <a:pt x="592" y="433"/>
                  <a:pt x="591" y="435"/>
                  <a:pt x="590" y="437"/>
                </a:cubicBezTo>
                <a:close/>
                <a:moveTo>
                  <a:pt x="594" y="251"/>
                </a:moveTo>
                <a:cubicBezTo>
                  <a:pt x="596" y="250"/>
                  <a:pt x="595" y="255"/>
                  <a:pt x="593" y="253"/>
                </a:cubicBezTo>
                <a:cubicBezTo>
                  <a:pt x="593" y="253"/>
                  <a:pt x="593" y="252"/>
                  <a:pt x="594" y="251"/>
                </a:cubicBezTo>
                <a:close/>
                <a:moveTo>
                  <a:pt x="594" y="357"/>
                </a:moveTo>
                <a:cubicBezTo>
                  <a:pt x="594" y="357"/>
                  <a:pt x="594" y="356"/>
                  <a:pt x="595" y="356"/>
                </a:cubicBezTo>
                <a:cubicBezTo>
                  <a:pt x="596" y="357"/>
                  <a:pt x="592" y="359"/>
                  <a:pt x="594" y="357"/>
                </a:cubicBezTo>
                <a:close/>
                <a:moveTo>
                  <a:pt x="595" y="371"/>
                </a:moveTo>
                <a:cubicBezTo>
                  <a:pt x="595" y="372"/>
                  <a:pt x="594" y="373"/>
                  <a:pt x="593" y="373"/>
                </a:cubicBezTo>
                <a:cubicBezTo>
                  <a:pt x="593" y="372"/>
                  <a:pt x="594" y="371"/>
                  <a:pt x="595" y="371"/>
                </a:cubicBezTo>
                <a:close/>
                <a:moveTo>
                  <a:pt x="593" y="429"/>
                </a:move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lose/>
                <a:moveTo>
                  <a:pt x="594" y="472"/>
                </a:moveTo>
                <a:cubicBezTo>
                  <a:pt x="594" y="472"/>
                  <a:pt x="595" y="470"/>
                  <a:pt x="595" y="470"/>
                </a:cubicBezTo>
                <a:cubicBezTo>
                  <a:pt x="596" y="471"/>
                  <a:pt x="594" y="472"/>
                  <a:pt x="594" y="472"/>
                </a:cubicBezTo>
                <a:close/>
                <a:moveTo>
                  <a:pt x="598" y="422"/>
                </a:moveTo>
                <a:cubicBezTo>
                  <a:pt x="598" y="423"/>
                  <a:pt x="596" y="426"/>
                  <a:pt x="594" y="428"/>
                </a:cubicBezTo>
                <a:cubicBezTo>
                  <a:pt x="594" y="425"/>
                  <a:pt x="599" y="418"/>
                  <a:pt x="598" y="422"/>
                </a:cubicBezTo>
                <a:close/>
                <a:moveTo>
                  <a:pt x="595" y="356"/>
                </a:moveTo>
                <a:cubicBezTo>
                  <a:pt x="596" y="355"/>
                  <a:pt x="597" y="354"/>
                  <a:pt x="599" y="353"/>
                </a:cubicBezTo>
                <a:cubicBezTo>
                  <a:pt x="598" y="355"/>
                  <a:pt x="597" y="355"/>
                  <a:pt x="595" y="356"/>
                </a:cubicBezTo>
                <a:close/>
                <a:moveTo>
                  <a:pt x="686" y="310"/>
                </a:moveTo>
                <a:cubicBezTo>
                  <a:pt x="686" y="309"/>
                  <a:pt x="686" y="312"/>
                  <a:pt x="686" y="310"/>
                </a:cubicBezTo>
                <a:close/>
                <a:moveTo>
                  <a:pt x="679" y="298"/>
                </a:moveTo>
                <a:cubicBezTo>
                  <a:pt x="682" y="297"/>
                  <a:pt x="678" y="302"/>
                  <a:pt x="678" y="299"/>
                </a:cubicBezTo>
                <a:cubicBezTo>
                  <a:pt x="678" y="299"/>
                  <a:pt x="678" y="298"/>
                  <a:pt x="679" y="298"/>
                </a:cubicBezTo>
                <a:close/>
                <a:moveTo>
                  <a:pt x="676" y="297"/>
                </a:moveTo>
                <a:cubicBezTo>
                  <a:pt x="677" y="295"/>
                  <a:pt x="676" y="298"/>
                  <a:pt x="676" y="297"/>
                </a:cubicBezTo>
                <a:close/>
                <a:moveTo>
                  <a:pt x="671" y="307"/>
                </a:moveTo>
                <a:cubicBezTo>
                  <a:pt x="671" y="307"/>
                  <a:pt x="672" y="308"/>
                  <a:pt x="671" y="308"/>
                </a:cubicBezTo>
                <a:cubicBezTo>
                  <a:pt x="670" y="309"/>
                  <a:pt x="671" y="307"/>
                  <a:pt x="671" y="307"/>
                </a:cubicBezTo>
                <a:close/>
                <a:moveTo>
                  <a:pt x="672" y="331"/>
                </a:moveTo>
                <a:cubicBezTo>
                  <a:pt x="672" y="331"/>
                  <a:pt x="675" y="326"/>
                  <a:pt x="675" y="328"/>
                </a:cubicBezTo>
                <a:cubicBezTo>
                  <a:pt x="675" y="331"/>
                  <a:pt x="670" y="334"/>
                  <a:pt x="668" y="337"/>
                </a:cubicBezTo>
                <a:cubicBezTo>
                  <a:pt x="669" y="335"/>
                  <a:pt x="671" y="333"/>
                  <a:pt x="672" y="331"/>
                </a:cubicBezTo>
                <a:close/>
                <a:moveTo>
                  <a:pt x="669" y="271"/>
                </a:moveTo>
                <a:cubicBezTo>
                  <a:pt x="668" y="270"/>
                  <a:pt x="671" y="264"/>
                  <a:pt x="672" y="266"/>
                </a:cubicBezTo>
                <a:cubicBezTo>
                  <a:pt x="674" y="267"/>
                  <a:pt x="670" y="270"/>
                  <a:pt x="669" y="271"/>
                </a:cubicBezTo>
                <a:close/>
                <a:moveTo>
                  <a:pt x="674" y="235"/>
                </a:moveTo>
                <a:cubicBezTo>
                  <a:pt x="673" y="236"/>
                  <a:pt x="675" y="233"/>
                  <a:pt x="674" y="235"/>
                </a:cubicBezTo>
                <a:close/>
                <a:moveTo>
                  <a:pt x="676" y="252"/>
                </a:moveTo>
                <a:cubicBezTo>
                  <a:pt x="676" y="250"/>
                  <a:pt x="677" y="251"/>
                  <a:pt x="676" y="252"/>
                </a:cubicBezTo>
                <a:close/>
                <a:moveTo>
                  <a:pt x="673" y="222"/>
                </a:moveTo>
                <a:cubicBezTo>
                  <a:pt x="674" y="221"/>
                  <a:pt x="676" y="222"/>
                  <a:pt x="676" y="222"/>
                </a:cubicBezTo>
                <a:cubicBezTo>
                  <a:pt x="678" y="225"/>
                  <a:pt x="674" y="230"/>
                  <a:pt x="672" y="229"/>
                </a:cubicBezTo>
                <a:cubicBezTo>
                  <a:pt x="669" y="227"/>
                  <a:pt x="671" y="223"/>
                  <a:pt x="673" y="222"/>
                </a:cubicBezTo>
                <a:close/>
                <a:moveTo>
                  <a:pt x="669" y="233"/>
                </a:moveTo>
                <a:cubicBezTo>
                  <a:pt x="669" y="232"/>
                  <a:pt x="670" y="231"/>
                  <a:pt x="670" y="230"/>
                </a:cubicBezTo>
                <a:cubicBezTo>
                  <a:pt x="669" y="230"/>
                  <a:pt x="669" y="230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1" y="229"/>
                </a:cubicBezTo>
                <a:cubicBezTo>
                  <a:pt x="670" y="230"/>
                  <a:pt x="670" y="230"/>
                  <a:pt x="670" y="230"/>
                </a:cubicBezTo>
                <a:cubicBezTo>
                  <a:pt x="670" y="233"/>
                  <a:pt x="669" y="236"/>
                  <a:pt x="668" y="238"/>
                </a:cubicBezTo>
                <a:cubicBezTo>
                  <a:pt x="668" y="237"/>
                  <a:pt x="668" y="235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lose/>
                <a:moveTo>
                  <a:pt x="668" y="231"/>
                </a:moveTo>
                <a:cubicBezTo>
                  <a:pt x="668" y="233"/>
                  <a:pt x="666" y="231"/>
                  <a:pt x="668" y="231"/>
                </a:cubicBezTo>
                <a:close/>
                <a:moveTo>
                  <a:pt x="671" y="249"/>
                </a:moveTo>
                <a:cubicBezTo>
                  <a:pt x="670" y="250"/>
                  <a:pt x="668" y="251"/>
                  <a:pt x="666" y="252"/>
                </a:cubicBezTo>
                <a:cubicBezTo>
                  <a:pt x="667" y="250"/>
                  <a:pt x="669" y="250"/>
                  <a:pt x="671" y="249"/>
                </a:cubicBezTo>
                <a:close/>
                <a:moveTo>
                  <a:pt x="667" y="257"/>
                </a:moveTo>
                <a:cubicBezTo>
                  <a:pt x="667" y="258"/>
                  <a:pt x="666" y="260"/>
                  <a:pt x="665" y="261"/>
                </a:cubicBezTo>
                <a:cubicBezTo>
                  <a:pt x="665" y="259"/>
                  <a:pt x="667" y="259"/>
                  <a:pt x="667" y="257"/>
                </a:cubicBezTo>
                <a:close/>
                <a:moveTo>
                  <a:pt x="666" y="302"/>
                </a:moveTo>
                <a:cubicBezTo>
                  <a:pt x="666" y="302"/>
                  <a:pt x="666" y="302"/>
                  <a:pt x="666" y="301"/>
                </a:cubicBezTo>
                <a:cubicBezTo>
                  <a:pt x="666" y="300"/>
                  <a:pt x="667" y="302"/>
                  <a:pt x="666" y="302"/>
                </a:cubicBezTo>
                <a:close/>
                <a:moveTo>
                  <a:pt x="657" y="233"/>
                </a:moveTo>
                <a:cubicBezTo>
                  <a:pt x="657" y="233"/>
                  <a:pt x="657" y="233"/>
                  <a:pt x="657" y="233"/>
                </a:cubicBezTo>
                <a:cubicBezTo>
                  <a:pt x="657" y="235"/>
                  <a:pt x="655" y="233"/>
                  <a:pt x="657" y="233"/>
                </a:cubicBezTo>
                <a:close/>
                <a:moveTo>
                  <a:pt x="655" y="232"/>
                </a:moveTo>
                <a:cubicBezTo>
                  <a:pt x="656" y="232"/>
                  <a:pt x="656" y="234"/>
                  <a:pt x="655" y="234"/>
                </a:cubicBezTo>
                <a:cubicBezTo>
                  <a:pt x="654" y="233"/>
                  <a:pt x="655" y="232"/>
                  <a:pt x="655" y="232"/>
                </a:cubicBezTo>
                <a:close/>
                <a:moveTo>
                  <a:pt x="655" y="256"/>
                </a:moveTo>
                <a:cubicBezTo>
                  <a:pt x="657" y="254"/>
                  <a:pt x="657" y="259"/>
                  <a:pt x="655" y="259"/>
                </a:cubicBezTo>
                <a:cubicBezTo>
                  <a:pt x="654" y="258"/>
                  <a:pt x="654" y="256"/>
                  <a:pt x="655" y="256"/>
                </a:cubicBezTo>
                <a:close/>
                <a:moveTo>
                  <a:pt x="651" y="231"/>
                </a:moveTo>
                <a:cubicBezTo>
                  <a:pt x="651" y="231"/>
                  <a:pt x="652" y="230"/>
                  <a:pt x="653" y="231"/>
                </a:cubicBezTo>
                <a:cubicBezTo>
                  <a:pt x="654" y="232"/>
                  <a:pt x="650" y="234"/>
                  <a:pt x="651" y="231"/>
                </a:cubicBezTo>
                <a:close/>
                <a:moveTo>
                  <a:pt x="651" y="229"/>
                </a:moveTo>
                <a:cubicBezTo>
                  <a:pt x="651" y="228"/>
                  <a:pt x="650" y="231"/>
                  <a:pt x="651" y="229"/>
                </a:cubicBezTo>
                <a:close/>
                <a:moveTo>
                  <a:pt x="647" y="239"/>
                </a:moveTo>
                <a:cubicBezTo>
                  <a:pt x="648" y="237"/>
                  <a:pt x="650" y="241"/>
                  <a:pt x="647" y="241"/>
                </a:cubicBezTo>
                <a:cubicBezTo>
                  <a:pt x="647" y="240"/>
                  <a:pt x="646" y="239"/>
                  <a:pt x="647" y="239"/>
                </a:cubicBezTo>
                <a:close/>
                <a:moveTo>
                  <a:pt x="649" y="265"/>
                </a:moveTo>
                <a:cubicBezTo>
                  <a:pt x="650" y="264"/>
                  <a:pt x="651" y="260"/>
                  <a:pt x="653" y="260"/>
                </a:cubicBezTo>
                <a:cubicBezTo>
                  <a:pt x="657" y="258"/>
                  <a:pt x="649" y="267"/>
                  <a:pt x="648" y="268"/>
                </a:cubicBezTo>
                <a:cubicBezTo>
                  <a:pt x="650" y="266"/>
                  <a:pt x="648" y="270"/>
                  <a:pt x="647" y="269"/>
                </a:cubicBezTo>
                <a:cubicBezTo>
                  <a:pt x="646" y="269"/>
                  <a:pt x="648" y="266"/>
                  <a:pt x="649" y="265"/>
                </a:cubicBezTo>
                <a:close/>
                <a:moveTo>
                  <a:pt x="652" y="271"/>
                </a:moveTo>
                <a:cubicBezTo>
                  <a:pt x="653" y="272"/>
                  <a:pt x="651" y="272"/>
                  <a:pt x="651" y="272"/>
                </a:cubicBezTo>
                <a:cubicBezTo>
                  <a:pt x="651" y="271"/>
                  <a:pt x="652" y="270"/>
                  <a:pt x="652" y="271"/>
                </a:cubicBezTo>
                <a:close/>
                <a:moveTo>
                  <a:pt x="657" y="273"/>
                </a:moveTo>
                <a:cubicBezTo>
                  <a:pt x="653" y="278"/>
                  <a:pt x="649" y="282"/>
                  <a:pt x="643" y="286"/>
                </a:cubicBezTo>
                <a:cubicBezTo>
                  <a:pt x="648" y="281"/>
                  <a:pt x="652" y="277"/>
                  <a:pt x="657" y="273"/>
                </a:cubicBezTo>
                <a:close/>
                <a:moveTo>
                  <a:pt x="645" y="387"/>
                </a:moveTo>
                <a:cubicBezTo>
                  <a:pt x="645" y="389"/>
                  <a:pt x="643" y="388"/>
                  <a:pt x="645" y="387"/>
                </a:cubicBezTo>
                <a:close/>
                <a:moveTo>
                  <a:pt x="645" y="390"/>
                </a:moveTo>
                <a:cubicBezTo>
                  <a:pt x="645" y="388"/>
                  <a:pt x="644" y="391"/>
                  <a:pt x="645" y="390"/>
                </a:cubicBezTo>
                <a:close/>
                <a:moveTo>
                  <a:pt x="641" y="392"/>
                </a:moveTo>
                <a:cubicBezTo>
                  <a:pt x="642" y="391"/>
                  <a:pt x="642" y="390"/>
                  <a:pt x="643" y="389"/>
                </a:cubicBezTo>
                <a:cubicBezTo>
                  <a:pt x="643" y="390"/>
                  <a:pt x="643" y="391"/>
                  <a:pt x="641" y="392"/>
                </a:cubicBezTo>
                <a:close/>
                <a:moveTo>
                  <a:pt x="642" y="393"/>
                </a:moveTo>
                <a:cubicBezTo>
                  <a:pt x="643" y="393"/>
                  <a:pt x="640" y="395"/>
                  <a:pt x="642" y="393"/>
                </a:cubicBezTo>
                <a:close/>
                <a:moveTo>
                  <a:pt x="643" y="300"/>
                </a:moveTo>
                <a:cubicBezTo>
                  <a:pt x="642" y="300"/>
                  <a:pt x="643" y="299"/>
                  <a:pt x="643" y="299"/>
                </a:cubicBezTo>
                <a:cubicBezTo>
                  <a:pt x="644" y="297"/>
                  <a:pt x="644" y="301"/>
                  <a:pt x="643" y="300"/>
                </a:cubicBezTo>
                <a:close/>
                <a:moveTo>
                  <a:pt x="642" y="297"/>
                </a:moveTo>
                <a:cubicBezTo>
                  <a:pt x="642" y="296"/>
                  <a:pt x="643" y="296"/>
                  <a:pt x="644" y="295"/>
                </a:cubicBezTo>
                <a:cubicBezTo>
                  <a:pt x="644" y="296"/>
                  <a:pt x="643" y="297"/>
                  <a:pt x="642" y="297"/>
                </a:cubicBezTo>
                <a:close/>
                <a:moveTo>
                  <a:pt x="639" y="297"/>
                </a:moveTo>
                <a:cubicBezTo>
                  <a:pt x="638" y="296"/>
                  <a:pt x="644" y="290"/>
                  <a:pt x="645" y="290"/>
                </a:cubicBezTo>
                <a:cubicBezTo>
                  <a:pt x="645" y="289"/>
                  <a:pt x="646" y="289"/>
                  <a:pt x="647" y="289"/>
                </a:cubicBezTo>
                <a:cubicBezTo>
                  <a:pt x="647" y="289"/>
                  <a:pt x="640" y="298"/>
                  <a:pt x="639" y="297"/>
                </a:cubicBezTo>
                <a:close/>
                <a:moveTo>
                  <a:pt x="642" y="298"/>
                </a:moveTo>
                <a:cubicBezTo>
                  <a:pt x="641" y="300"/>
                  <a:pt x="639" y="299"/>
                  <a:pt x="642" y="298"/>
                </a:cubicBezTo>
                <a:close/>
                <a:moveTo>
                  <a:pt x="639" y="303"/>
                </a:moveTo>
                <a:cubicBezTo>
                  <a:pt x="639" y="303"/>
                  <a:pt x="639" y="302"/>
                  <a:pt x="639" y="302"/>
                </a:cubicBezTo>
                <a:cubicBezTo>
                  <a:pt x="641" y="300"/>
                  <a:pt x="640" y="304"/>
                  <a:pt x="639" y="303"/>
                </a:cubicBezTo>
                <a:close/>
                <a:moveTo>
                  <a:pt x="640" y="320"/>
                </a:moveTo>
                <a:cubicBezTo>
                  <a:pt x="640" y="320"/>
                  <a:pt x="639" y="321"/>
                  <a:pt x="639" y="321"/>
                </a:cubicBezTo>
                <a:cubicBezTo>
                  <a:pt x="638" y="321"/>
                  <a:pt x="639" y="320"/>
                  <a:pt x="640" y="320"/>
                </a:cubicBezTo>
                <a:close/>
                <a:moveTo>
                  <a:pt x="638" y="266"/>
                </a:moveTo>
                <a:cubicBezTo>
                  <a:pt x="637" y="266"/>
                  <a:pt x="639" y="265"/>
                  <a:pt x="638" y="264"/>
                </a:cubicBezTo>
                <a:cubicBezTo>
                  <a:pt x="639" y="264"/>
                  <a:pt x="638" y="266"/>
                  <a:pt x="638" y="266"/>
                </a:cubicBezTo>
                <a:close/>
                <a:moveTo>
                  <a:pt x="638" y="268"/>
                </a:moveTo>
                <a:cubicBezTo>
                  <a:pt x="638" y="268"/>
                  <a:pt x="638" y="269"/>
                  <a:pt x="638" y="269"/>
                </a:cubicBezTo>
                <a:cubicBezTo>
                  <a:pt x="638" y="269"/>
                  <a:pt x="638" y="269"/>
                  <a:pt x="638" y="269"/>
                </a:cubicBezTo>
                <a:cubicBezTo>
                  <a:pt x="638" y="269"/>
                  <a:pt x="638" y="269"/>
                  <a:pt x="638" y="268"/>
                </a:cubicBezTo>
                <a:close/>
                <a:moveTo>
                  <a:pt x="642" y="286"/>
                </a:moveTo>
                <a:cubicBezTo>
                  <a:pt x="642" y="287"/>
                  <a:pt x="639" y="289"/>
                  <a:pt x="638" y="290"/>
                </a:cubicBezTo>
                <a:cubicBezTo>
                  <a:pt x="638" y="288"/>
                  <a:pt x="641" y="288"/>
                  <a:pt x="642" y="286"/>
                </a:cubicBezTo>
                <a:close/>
                <a:moveTo>
                  <a:pt x="644" y="234"/>
                </a:moveTo>
                <a:cubicBezTo>
                  <a:pt x="643" y="235"/>
                  <a:pt x="643" y="234"/>
                  <a:pt x="644" y="234"/>
                </a:cubicBezTo>
                <a:close/>
                <a:moveTo>
                  <a:pt x="643" y="251"/>
                </a:moveTo>
                <a:cubicBezTo>
                  <a:pt x="643" y="252"/>
                  <a:pt x="642" y="253"/>
                  <a:pt x="642" y="253"/>
                </a:cubicBezTo>
                <a:cubicBezTo>
                  <a:pt x="642" y="253"/>
                  <a:pt x="642" y="251"/>
                  <a:pt x="643" y="251"/>
                </a:cubicBezTo>
                <a:close/>
                <a:moveTo>
                  <a:pt x="645" y="254"/>
                </a:moveTo>
                <a:cubicBezTo>
                  <a:pt x="643" y="257"/>
                  <a:pt x="641" y="258"/>
                  <a:pt x="638" y="260"/>
                </a:cubicBezTo>
                <a:cubicBezTo>
                  <a:pt x="640" y="258"/>
                  <a:pt x="642" y="256"/>
                  <a:pt x="645" y="254"/>
                </a:cubicBezTo>
                <a:close/>
                <a:moveTo>
                  <a:pt x="640" y="225"/>
                </a:moveTo>
                <a:cubicBezTo>
                  <a:pt x="640" y="225"/>
                  <a:pt x="640" y="225"/>
                  <a:pt x="640" y="225"/>
                </a:cubicBezTo>
                <a:cubicBezTo>
                  <a:pt x="640" y="225"/>
                  <a:pt x="640" y="225"/>
                  <a:pt x="640" y="226"/>
                </a:cubicBezTo>
                <a:cubicBezTo>
                  <a:pt x="640" y="226"/>
                  <a:pt x="640" y="226"/>
                  <a:pt x="640" y="225"/>
                </a:cubicBezTo>
                <a:close/>
                <a:moveTo>
                  <a:pt x="640" y="241"/>
                </a:moveTo>
                <a:cubicBezTo>
                  <a:pt x="641" y="243"/>
                  <a:pt x="638" y="244"/>
                  <a:pt x="638" y="242"/>
                </a:cubicBezTo>
                <a:cubicBezTo>
                  <a:pt x="637" y="241"/>
                  <a:pt x="640" y="239"/>
                  <a:pt x="640" y="241"/>
                </a:cubicBezTo>
                <a:close/>
                <a:moveTo>
                  <a:pt x="638" y="290"/>
                </a:moveTo>
                <a:cubicBezTo>
                  <a:pt x="639" y="291"/>
                  <a:pt x="635" y="292"/>
                  <a:pt x="636" y="290"/>
                </a:cubicBezTo>
                <a:cubicBezTo>
                  <a:pt x="637" y="289"/>
                  <a:pt x="637" y="289"/>
                  <a:pt x="638" y="290"/>
                </a:cubicBezTo>
                <a:close/>
                <a:moveTo>
                  <a:pt x="637" y="302"/>
                </a:move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lose/>
                <a:moveTo>
                  <a:pt x="632" y="265"/>
                </a:moveTo>
                <a:cubicBezTo>
                  <a:pt x="633" y="264"/>
                  <a:pt x="635" y="262"/>
                  <a:pt x="636" y="262"/>
                </a:cubicBezTo>
                <a:cubicBezTo>
                  <a:pt x="636" y="262"/>
                  <a:pt x="634" y="265"/>
                  <a:pt x="632" y="265"/>
                </a:cubicBezTo>
                <a:close/>
                <a:moveTo>
                  <a:pt x="637" y="219"/>
                </a:moveTo>
                <a:cubicBezTo>
                  <a:pt x="637" y="221"/>
                  <a:pt x="634" y="221"/>
                  <a:pt x="634" y="219"/>
                </a:cubicBezTo>
                <a:cubicBezTo>
                  <a:pt x="634" y="218"/>
                  <a:pt x="636" y="217"/>
                  <a:pt x="637" y="219"/>
                </a:cubicBezTo>
                <a:close/>
                <a:moveTo>
                  <a:pt x="633" y="221"/>
                </a:moveTo>
                <a:cubicBezTo>
                  <a:pt x="633" y="221"/>
                  <a:pt x="635" y="221"/>
                  <a:pt x="634" y="222"/>
                </a:cubicBezTo>
                <a:cubicBezTo>
                  <a:pt x="634" y="222"/>
                  <a:pt x="632" y="222"/>
                  <a:pt x="633" y="221"/>
                </a:cubicBezTo>
                <a:close/>
                <a:moveTo>
                  <a:pt x="633" y="253"/>
                </a:moveTo>
                <a:cubicBezTo>
                  <a:pt x="633" y="254"/>
                  <a:pt x="632" y="254"/>
                  <a:pt x="631" y="254"/>
                </a:cubicBezTo>
                <a:cubicBezTo>
                  <a:pt x="631" y="253"/>
                  <a:pt x="632" y="252"/>
                  <a:pt x="633" y="253"/>
                </a:cubicBezTo>
                <a:close/>
                <a:moveTo>
                  <a:pt x="630" y="260"/>
                </a:moveTo>
                <a:cubicBezTo>
                  <a:pt x="630" y="260"/>
                  <a:pt x="630" y="260"/>
                  <a:pt x="630" y="261"/>
                </a:cubicBezTo>
                <a:cubicBezTo>
                  <a:pt x="630" y="261"/>
                  <a:pt x="630" y="261"/>
                  <a:pt x="630" y="261"/>
                </a:cubicBezTo>
                <a:cubicBezTo>
                  <a:pt x="630" y="261"/>
                  <a:pt x="630" y="260"/>
                  <a:pt x="630" y="260"/>
                </a:cubicBezTo>
                <a:close/>
                <a:moveTo>
                  <a:pt x="632" y="277"/>
                </a:moveTo>
                <a:cubicBezTo>
                  <a:pt x="634" y="279"/>
                  <a:pt x="631" y="281"/>
                  <a:pt x="629" y="281"/>
                </a:cubicBezTo>
                <a:cubicBezTo>
                  <a:pt x="629" y="280"/>
                  <a:pt x="631" y="277"/>
                  <a:pt x="632" y="277"/>
                </a:cubicBezTo>
                <a:close/>
                <a:moveTo>
                  <a:pt x="632" y="347"/>
                </a:moveTo>
                <a:cubicBezTo>
                  <a:pt x="632" y="347"/>
                  <a:pt x="632" y="346"/>
                  <a:pt x="632" y="346"/>
                </a:cubicBezTo>
                <a:cubicBezTo>
                  <a:pt x="633" y="344"/>
                  <a:pt x="632" y="348"/>
                  <a:pt x="632" y="347"/>
                </a:cubicBezTo>
                <a:close/>
                <a:moveTo>
                  <a:pt x="630" y="294"/>
                </a:moveTo>
                <a:cubicBezTo>
                  <a:pt x="630" y="295"/>
                  <a:pt x="629" y="295"/>
                  <a:pt x="629" y="295"/>
                </a:cubicBezTo>
                <a:cubicBezTo>
                  <a:pt x="629" y="295"/>
                  <a:pt x="629" y="294"/>
                  <a:pt x="630" y="294"/>
                </a:cubicBezTo>
                <a:close/>
                <a:moveTo>
                  <a:pt x="627" y="314"/>
                </a:moveTo>
                <a:cubicBezTo>
                  <a:pt x="627" y="314"/>
                  <a:pt x="628" y="314"/>
                  <a:pt x="628" y="314"/>
                </a:cubicBezTo>
                <a:cubicBezTo>
                  <a:pt x="629" y="315"/>
                  <a:pt x="627" y="315"/>
                  <a:pt x="627" y="314"/>
                </a:cubicBezTo>
                <a:close/>
                <a:moveTo>
                  <a:pt x="628" y="256"/>
                </a:moveTo>
                <a:cubicBezTo>
                  <a:pt x="628" y="254"/>
                  <a:pt x="627" y="257"/>
                  <a:pt x="628" y="256"/>
                </a:cubicBezTo>
                <a:close/>
                <a:moveTo>
                  <a:pt x="626" y="201"/>
                </a:moveTo>
                <a:cubicBezTo>
                  <a:pt x="624" y="200"/>
                  <a:pt x="625" y="198"/>
                  <a:pt x="626" y="198"/>
                </a:cubicBezTo>
                <a:cubicBezTo>
                  <a:pt x="629" y="196"/>
                  <a:pt x="628" y="201"/>
                  <a:pt x="626" y="201"/>
                </a:cubicBezTo>
                <a:close/>
                <a:moveTo>
                  <a:pt x="625" y="187"/>
                </a:moveTo>
                <a:cubicBezTo>
                  <a:pt x="625" y="186"/>
                  <a:pt x="626" y="186"/>
                  <a:pt x="626" y="186"/>
                </a:cubicBezTo>
                <a:cubicBezTo>
                  <a:pt x="627" y="187"/>
                  <a:pt x="624" y="188"/>
                  <a:pt x="625" y="187"/>
                </a:cubicBezTo>
                <a:close/>
                <a:moveTo>
                  <a:pt x="622" y="226"/>
                </a:moveTo>
                <a:cubicBezTo>
                  <a:pt x="617" y="226"/>
                  <a:pt x="619" y="218"/>
                  <a:pt x="621" y="217"/>
                </a:cubicBezTo>
                <a:cubicBezTo>
                  <a:pt x="629" y="212"/>
                  <a:pt x="628" y="227"/>
                  <a:pt x="622" y="226"/>
                </a:cubicBezTo>
                <a:close/>
                <a:moveTo>
                  <a:pt x="619" y="233"/>
                </a:moveTo>
                <a:cubicBezTo>
                  <a:pt x="618" y="232"/>
                  <a:pt x="623" y="228"/>
                  <a:pt x="624" y="228"/>
                </a:cubicBezTo>
                <a:cubicBezTo>
                  <a:pt x="628" y="226"/>
                  <a:pt x="620" y="234"/>
                  <a:pt x="619" y="233"/>
                </a:cubicBezTo>
                <a:close/>
                <a:moveTo>
                  <a:pt x="625" y="235"/>
                </a:moveTo>
                <a:cubicBezTo>
                  <a:pt x="625" y="236"/>
                  <a:pt x="623" y="237"/>
                  <a:pt x="623" y="236"/>
                </a:cubicBezTo>
                <a:cubicBezTo>
                  <a:pt x="622" y="235"/>
                  <a:pt x="624" y="234"/>
                  <a:pt x="625" y="235"/>
                </a:cubicBezTo>
                <a:close/>
                <a:moveTo>
                  <a:pt x="622" y="357"/>
                </a:move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lose/>
                <a:moveTo>
                  <a:pt x="608" y="328"/>
                </a:moveTo>
                <a:cubicBezTo>
                  <a:pt x="608" y="327"/>
                  <a:pt x="611" y="326"/>
                  <a:pt x="612" y="324"/>
                </a:cubicBezTo>
                <a:cubicBezTo>
                  <a:pt x="615" y="321"/>
                  <a:pt x="617" y="315"/>
                  <a:pt x="621" y="313"/>
                </a:cubicBezTo>
                <a:cubicBezTo>
                  <a:pt x="621" y="317"/>
                  <a:pt x="615" y="319"/>
                  <a:pt x="614" y="322"/>
                </a:cubicBezTo>
                <a:cubicBezTo>
                  <a:pt x="613" y="324"/>
                  <a:pt x="610" y="329"/>
                  <a:pt x="607" y="331"/>
                </a:cubicBezTo>
                <a:cubicBezTo>
                  <a:pt x="607" y="331"/>
                  <a:pt x="607" y="333"/>
                  <a:pt x="606" y="332"/>
                </a:cubicBezTo>
                <a:cubicBezTo>
                  <a:pt x="605" y="331"/>
                  <a:pt x="608" y="328"/>
                  <a:pt x="608" y="328"/>
                </a:cubicBezTo>
                <a:close/>
                <a:moveTo>
                  <a:pt x="605" y="271"/>
                </a:moveTo>
                <a:cubicBezTo>
                  <a:pt x="604" y="270"/>
                  <a:pt x="605" y="269"/>
                  <a:pt x="605" y="269"/>
                </a:cubicBezTo>
                <a:cubicBezTo>
                  <a:pt x="608" y="267"/>
                  <a:pt x="606" y="272"/>
                  <a:pt x="605" y="271"/>
                </a:cubicBezTo>
                <a:close/>
                <a:moveTo>
                  <a:pt x="609" y="243"/>
                </a:moveTo>
                <a:cubicBezTo>
                  <a:pt x="608" y="242"/>
                  <a:pt x="610" y="241"/>
                  <a:pt x="611" y="243"/>
                </a:cubicBezTo>
                <a:cubicBezTo>
                  <a:pt x="611" y="244"/>
                  <a:pt x="609" y="244"/>
                  <a:pt x="609" y="243"/>
                </a:cubicBezTo>
                <a:close/>
                <a:moveTo>
                  <a:pt x="611" y="305"/>
                </a:moveTo>
                <a:cubicBezTo>
                  <a:pt x="610" y="306"/>
                  <a:pt x="611" y="304"/>
                  <a:pt x="611" y="305"/>
                </a:cubicBezTo>
                <a:close/>
                <a:moveTo>
                  <a:pt x="613" y="298"/>
                </a:moveTo>
                <a:cubicBezTo>
                  <a:pt x="613" y="298"/>
                  <a:pt x="613" y="298"/>
                  <a:pt x="613" y="298"/>
                </a:cubicBezTo>
                <a:cubicBezTo>
                  <a:pt x="614" y="295"/>
                  <a:pt x="613" y="300"/>
                  <a:pt x="613" y="298"/>
                </a:cubicBezTo>
                <a:close/>
                <a:moveTo>
                  <a:pt x="617" y="261"/>
                </a:moveTo>
                <a:cubicBezTo>
                  <a:pt x="617" y="262"/>
                  <a:pt x="616" y="262"/>
                  <a:pt x="615" y="263"/>
                </a:cubicBezTo>
                <a:cubicBezTo>
                  <a:pt x="615" y="262"/>
                  <a:pt x="616" y="261"/>
                  <a:pt x="617" y="261"/>
                </a:cubicBezTo>
                <a:close/>
                <a:moveTo>
                  <a:pt x="616" y="238"/>
                </a:moveTo>
                <a:cubicBezTo>
                  <a:pt x="616" y="238"/>
                  <a:pt x="616" y="239"/>
                  <a:pt x="615" y="239"/>
                </a:cubicBezTo>
                <a:cubicBezTo>
                  <a:pt x="615" y="238"/>
                  <a:pt x="615" y="238"/>
                  <a:pt x="616" y="238"/>
                </a:cubicBezTo>
                <a:close/>
                <a:moveTo>
                  <a:pt x="618" y="309"/>
                </a:moveTo>
                <a:cubicBezTo>
                  <a:pt x="618" y="309"/>
                  <a:pt x="618" y="308"/>
                  <a:pt x="618" y="308"/>
                </a:cubicBezTo>
                <a:cubicBezTo>
                  <a:pt x="619" y="306"/>
                  <a:pt x="618" y="311"/>
                  <a:pt x="618" y="309"/>
                </a:cubicBezTo>
                <a:close/>
                <a:moveTo>
                  <a:pt x="618" y="295"/>
                </a:moveTo>
                <a:cubicBezTo>
                  <a:pt x="619" y="293"/>
                  <a:pt x="618" y="296"/>
                  <a:pt x="618" y="295"/>
                </a:cubicBezTo>
                <a:close/>
                <a:moveTo>
                  <a:pt x="620" y="301"/>
                </a:moveTo>
                <a:cubicBezTo>
                  <a:pt x="619" y="302"/>
                  <a:pt x="621" y="300"/>
                  <a:pt x="620" y="301"/>
                </a:cubicBezTo>
                <a:close/>
                <a:moveTo>
                  <a:pt x="621" y="333"/>
                </a:moveTo>
                <a:cubicBezTo>
                  <a:pt x="620" y="335"/>
                  <a:pt x="619" y="336"/>
                  <a:pt x="618" y="337"/>
                </a:cubicBezTo>
                <a:cubicBezTo>
                  <a:pt x="619" y="336"/>
                  <a:pt x="620" y="334"/>
                  <a:pt x="621" y="333"/>
                </a:cubicBezTo>
                <a:close/>
                <a:moveTo>
                  <a:pt x="622" y="194"/>
                </a:moveTo>
                <a:cubicBezTo>
                  <a:pt x="621" y="194"/>
                  <a:pt x="622" y="192"/>
                  <a:pt x="623" y="193"/>
                </a:cubicBezTo>
                <a:cubicBezTo>
                  <a:pt x="623" y="194"/>
                  <a:pt x="622" y="195"/>
                  <a:pt x="622" y="194"/>
                </a:cubicBezTo>
                <a:close/>
                <a:moveTo>
                  <a:pt x="619" y="192"/>
                </a:moveTo>
                <a:cubicBezTo>
                  <a:pt x="619" y="192"/>
                  <a:pt x="619" y="192"/>
                  <a:pt x="620" y="191"/>
                </a:cubicBezTo>
                <a:cubicBezTo>
                  <a:pt x="620" y="192"/>
                  <a:pt x="620" y="192"/>
                  <a:pt x="620" y="192"/>
                </a:cubicBezTo>
                <a:cubicBezTo>
                  <a:pt x="621" y="191"/>
                  <a:pt x="622" y="190"/>
                  <a:pt x="623" y="190"/>
                </a:cubicBezTo>
                <a:cubicBezTo>
                  <a:pt x="622" y="192"/>
                  <a:pt x="620" y="193"/>
                  <a:pt x="617" y="194"/>
                </a:cubicBezTo>
                <a:cubicBezTo>
                  <a:pt x="618" y="193"/>
                  <a:pt x="618" y="193"/>
                  <a:pt x="619" y="192"/>
                </a:cubicBezTo>
                <a:close/>
                <a:moveTo>
                  <a:pt x="615" y="194"/>
                </a:moveTo>
                <a:cubicBezTo>
                  <a:pt x="616" y="194"/>
                  <a:pt x="617" y="193"/>
                  <a:pt x="617" y="194"/>
                </a:cubicBezTo>
                <a:cubicBezTo>
                  <a:pt x="618" y="195"/>
                  <a:pt x="613" y="196"/>
                  <a:pt x="615" y="194"/>
                </a:cubicBezTo>
                <a:close/>
                <a:moveTo>
                  <a:pt x="612" y="214"/>
                </a:moveTo>
                <a:cubicBezTo>
                  <a:pt x="613" y="215"/>
                  <a:pt x="612" y="215"/>
                  <a:pt x="611" y="214"/>
                </a:cubicBezTo>
                <a:cubicBezTo>
                  <a:pt x="611" y="214"/>
                  <a:pt x="612" y="213"/>
                  <a:pt x="612" y="214"/>
                </a:cubicBezTo>
                <a:close/>
                <a:moveTo>
                  <a:pt x="609" y="203"/>
                </a:moveTo>
                <a:cubicBezTo>
                  <a:pt x="611" y="201"/>
                  <a:pt x="611" y="205"/>
                  <a:pt x="609" y="205"/>
                </a:cubicBezTo>
                <a:cubicBezTo>
                  <a:pt x="609" y="204"/>
                  <a:pt x="609" y="204"/>
                  <a:pt x="609" y="203"/>
                </a:cubicBezTo>
                <a:close/>
                <a:moveTo>
                  <a:pt x="609" y="219"/>
                </a:moveTo>
                <a:cubicBezTo>
                  <a:pt x="612" y="218"/>
                  <a:pt x="616" y="215"/>
                  <a:pt x="620" y="214"/>
                </a:cubicBezTo>
                <a:cubicBezTo>
                  <a:pt x="617" y="216"/>
                  <a:pt x="611" y="220"/>
                  <a:pt x="608" y="221"/>
                </a:cubicBezTo>
                <a:cubicBezTo>
                  <a:pt x="609" y="221"/>
                  <a:pt x="607" y="222"/>
                  <a:pt x="607" y="221"/>
                </a:cubicBezTo>
                <a:cubicBezTo>
                  <a:pt x="606" y="220"/>
                  <a:pt x="609" y="220"/>
                  <a:pt x="609" y="219"/>
                </a:cubicBezTo>
                <a:close/>
                <a:moveTo>
                  <a:pt x="610" y="253"/>
                </a:moveTo>
                <a:cubicBezTo>
                  <a:pt x="610" y="255"/>
                  <a:pt x="605" y="256"/>
                  <a:pt x="605" y="255"/>
                </a:cubicBezTo>
                <a:cubicBezTo>
                  <a:pt x="604" y="252"/>
                  <a:pt x="610" y="249"/>
                  <a:pt x="610" y="253"/>
                </a:cubicBezTo>
                <a:close/>
                <a:moveTo>
                  <a:pt x="602" y="194"/>
                </a:moveTo>
                <a:cubicBezTo>
                  <a:pt x="602" y="194"/>
                  <a:pt x="603" y="194"/>
                  <a:pt x="603" y="194"/>
                </a:cubicBezTo>
                <a:cubicBezTo>
                  <a:pt x="604" y="196"/>
                  <a:pt x="601" y="196"/>
                  <a:pt x="602" y="194"/>
                </a:cubicBezTo>
                <a:close/>
                <a:moveTo>
                  <a:pt x="604" y="256"/>
                </a:moveTo>
                <a:cubicBezTo>
                  <a:pt x="604" y="257"/>
                  <a:pt x="606" y="258"/>
                  <a:pt x="606" y="259"/>
                </a:cubicBezTo>
                <a:cubicBezTo>
                  <a:pt x="605" y="261"/>
                  <a:pt x="604" y="259"/>
                  <a:pt x="603" y="260"/>
                </a:cubicBezTo>
                <a:cubicBezTo>
                  <a:pt x="601" y="262"/>
                  <a:pt x="602" y="267"/>
                  <a:pt x="600" y="270"/>
                </a:cubicBezTo>
                <a:cubicBezTo>
                  <a:pt x="600" y="265"/>
                  <a:pt x="602" y="261"/>
                  <a:pt x="604" y="256"/>
                </a:cubicBezTo>
                <a:close/>
                <a:moveTo>
                  <a:pt x="600" y="272"/>
                </a:moveTo>
                <a:cubicBezTo>
                  <a:pt x="600" y="271"/>
                  <a:pt x="602" y="269"/>
                  <a:pt x="603" y="271"/>
                </a:cubicBezTo>
                <a:cubicBezTo>
                  <a:pt x="603" y="273"/>
                  <a:pt x="601" y="273"/>
                  <a:pt x="600" y="272"/>
                </a:cubicBezTo>
                <a:close/>
                <a:moveTo>
                  <a:pt x="601" y="310"/>
                </a:moveTo>
                <a:cubicBezTo>
                  <a:pt x="600" y="310"/>
                  <a:pt x="601" y="310"/>
                  <a:pt x="601" y="310"/>
                </a:cubicBezTo>
                <a:cubicBezTo>
                  <a:pt x="602" y="310"/>
                  <a:pt x="601" y="310"/>
                  <a:pt x="601" y="310"/>
                </a:cubicBezTo>
                <a:close/>
                <a:moveTo>
                  <a:pt x="602" y="303"/>
                </a:moveTo>
                <a:cubicBezTo>
                  <a:pt x="602" y="302"/>
                  <a:pt x="603" y="302"/>
                  <a:pt x="603" y="302"/>
                </a:cubicBezTo>
                <a:cubicBezTo>
                  <a:pt x="604" y="302"/>
                  <a:pt x="602" y="304"/>
                  <a:pt x="602" y="303"/>
                </a:cubicBezTo>
                <a:close/>
                <a:moveTo>
                  <a:pt x="607" y="416"/>
                </a:moveTo>
                <a:cubicBezTo>
                  <a:pt x="607" y="415"/>
                  <a:pt x="607" y="415"/>
                  <a:pt x="608" y="414"/>
                </a:cubicBezTo>
                <a:cubicBezTo>
                  <a:pt x="607" y="415"/>
                  <a:pt x="607" y="416"/>
                  <a:pt x="607" y="416"/>
                </a:cubicBezTo>
                <a:close/>
                <a:moveTo>
                  <a:pt x="608" y="393"/>
                </a:moveTo>
                <a:cubicBezTo>
                  <a:pt x="608" y="392"/>
                  <a:pt x="609" y="391"/>
                  <a:pt x="610" y="390"/>
                </a:cubicBezTo>
                <a:cubicBezTo>
                  <a:pt x="610" y="390"/>
                  <a:pt x="609" y="392"/>
                  <a:pt x="608" y="393"/>
                </a:cubicBezTo>
                <a:close/>
                <a:moveTo>
                  <a:pt x="600" y="353"/>
                </a:moveTo>
                <a:cubicBezTo>
                  <a:pt x="601" y="350"/>
                  <a:pt x="607" y="346"/>
                  <a:pt x="610" y="343"/>
                </a:cubicBezTo>
                <a:cubicBezTo>
                  <a:pt x="608" y="347"/>
                  <a:pt x="603" y="350"/>
                  <a:pt x="600" y="353"/>
                </a:cubicBezTo>
                <a:close/>
                <a:moveTo>
                  <a:pt x="611" y="388"/>
                </a:moveTo>
                <a:cubicBezTo>
                  <a:pt x="610" y="388"/>
                  <a:pt x="612" y="387"/>
                  <a:pt x="611" y="388"/>
                </a:cubicBezTo>
                <a:close/>
                <a:moveTo>
                  <a:pt x="612" y="387"/>
                </a:moveTo>
                <a:cubicBezTo>
                  <a:pt x="612" y="386"/>
                  <a:pt x="612" y="386"/>
                  <a:pt x="613" y="385"/>
                </a:cubicBezTo>
                <a:cubicBezTo>
                  <a:pt x="613" y="386"/>
                  <a:pt x="612" y="387"/>
                  <a:pt x="612" y="387"/>
                </a:cubicBezTo>
                <a:close/>
                <a:moveTo>
                  <a:pt x="611" y="344"/>
                </a:moveTo>
                <a:cubicBezTo>
                  <a:pt x="612" y="342"/>
                  <a:pt x="613" y="341"/>
                  <a:pt x="616" y="339"/>
                </a:cubicBezTo>
                <a:cubicBezTo>
                  <a:pt x="614" y="341"/>
                  <a:pt x="613" y="343"/>
                  <a:pt x="611" y="344"/>
                </a:cubicBezTo>
                <a:close/>
                <a:moveTo>
                  <a:pt x="615" y="357"/>
                </a:moveTo>
                <a:cubicBezTo>
                  <a:pt x="615" y="357"/>
                  <a:pt x="616" y="356"/>
                  <a:pt x="617" y="356"/>
                </a:cubicBezTo>
                <a:cubicBezTo>
                  <a:pt x="616" y="357"/>
                  <a:pt x="615" y="357"/>
                  <a:pt x="615" y="357"/>
                </a:cubicBezTo>
                <a:close/>
                <a:moveTo>
                  <a:pt x="617" y="539"/>
                </a:moveTo>
                <a:cubicBezTo>
                  <a:pt x="616" y="539"/>
                  <a:pt x="617" y="537"/>
                  <a:pt x="618" y="537"/>
                </a:cubicBezTo>
                <a:cubicBezTo>
                  <a:pt x="618" y="538"/>
                  <a:pt x="617" y="539"/>
                  <a:pt x="617" y="539"/>
                </a:cubicBezTo>
                <a:close/>
                <a:moveTo>
                  <a:pt x="618" y="445"/>
                </a:moveTo>
                <a:cubicBezTo>
                  <a:pt x="617" y="445"/>
                  <a:pt x="618" y="443"/>
                  <a:pt x="618" y="443"/>
                </a:cubicBezTo>
                <a:cubicBezTo>
                  <a:pt x="620" y="441"/>
                  <a:pt x="619" y="446"/>
                  <a:pt x="618" y="445"/>
                </a:cubicBezTo>
                <a:close/>
                <a:moveTo>
                  <a:pt x="619" y="557"/>
                </a:moveTo>
                <a:cubicBezTo>
                  <a:pt x="619" y="557"/>
                  <a:pt x="619" y="556"/>
                  <a:pt x="619" y="557"/>
                </a:cubicBezTo>
                <a:cubicBezTo>
                  <a:pt x="620" y="557"/>
                  <a:pt x="619" y="558"/>
                  <a:pt x="619" y="557"/>
                </a:cubicBezTo>
                <a:close/>
                <a:moveTo>
                  <a:pt x="619" y="347"/>
                </a:moveTo>
                <a:cubicBezTo>
                  <a:pt x="618" y="347"/>
                  <a:pt x="619" y="345"/>
                  <a:pt x="619" y="345"/>
                </a:cubicBezTo>
                <a:cubicBezTo>
                  <a:pt x="621" y="342"/>
                  <a:pt x="620" y="348"/>
                  <a:pt x="619" y="347"/>
                </a:cubicBezTo>
                <a:close/>
                <a:moveTo>
                  <a:pt x="620" y="435"/>
                </a:moveTo>
                <a:cubicBezTo>
                  <a:pt x="621" y="434"/>
                  <a:pt x="619" y="437"/>
                  <a:pt x="620" y="435"/>
                </a:cubicBezTo>
                <a:close/>
                <a:moveTo>
                  <a:pt x="623" y="526"/>
                </a:moveTo>
                <a:cubicBezTo>
                  <a:pt x="624" y="527"/>
                  <a:pt x="622" y="529"/>
                  <a:pt x="621" y="530"/>
                </a:cubicBezTo>
                <a:cubicBezTo>
                  <a:pt x="621" y="529"/>
                  <a:pt x="623" y="527"/>
                  <a:pt x="623" y="526"/>
                </a:cubicBezTo>
                <a:close/>
                <a:moveTo>
                  <a:pt x="622" y="561"/>
                </a:moveTo>
                <a:cubicBezTo>
                  <a:pt x="621" y="560"/>
                  <a:pt x="622" y="558"/>
                  <a:pt x="622" y="558"/>
                </a:cubicBezTo>
                <a:cubicBezTo>
                  <a:pt x="625" y="555"/>
                  <a:pt x="624" y="562"/>
                  <a:pt x="622" y="561"/>
                </a:cubicBezTo>
                <a:close/>
                <a:moveTo>
                  <a:pt x="624" y="492"/>
                </a:moveTo>
                <a:cubicBezTo>
                  <a:pt x="624" y="490"/>
                  <a:pt x="623" y="493"/>
                  <a:pt x="624" y="492"/>
                </a:cubicBezTo>
                <a:close/>
                <a:moveTo>
                  <a:pt x="625" y="381"/>
                </a:moveTo>
                <a:cubicBezTo>
                  <a:pt x="625" y="381"/>
                  <a:pt x="624" y="381"/>
                  <a:pt x="624" y="381"/>
                </a:cubicBezTo>
                <a:cubicBezTo>
                  <a:pt x="625" y="379"/>
                  <a:pt x="626" y="381"/>
                  <a:pt x="625" y="381"/>
                </a:cubicBezTo>
                <a:close/>
                <a:moveTo>
                  <a:pt x="624" y="254"/>
                </a:moveTo>
                <a:cubicBezTo>
                  <a:pt x="624" y="254"/>
                  <a:pt x="625" y="253"/>
                  <a:pt x="625" y="253"/>
                </a:cubicBezTo>
                <a:cubicBezTo>
                  <a:pt x="626" y="252"/>
                  <a:pt x="625" y="255"/>
                  <a:pt x="624" y="254"/>
                </a:cubicBezTo>
                <a:close/>
                <a:moveTo>
                  <a:pt x="626" y="488"/>
                </a:moveTo>
                <a:cubicBezTo>
                  <a:pt x="626" y="488"/>
                  <a:pt x="627" y="486"/>
                  <a:pt x="627" y="486"/>
                </a:cubicBezTo>
                <a:cubicBezTo>
                  <a:pt x="627" y="487"/>
                  <a:pt x="626" y="487"/>
                  <a:pt x="626" y="488"/>
                </a:cubicBezTo>
                <a:close/>
                <a:moveTo>
                  <a:pt x="628" y="522"/>
                </a:moveTo>
                <a:cubicBezTo>
                  <a:pt x="626" y="521"/>
                  <a:pt x="628" y="521"/>
                  <a:pt x="628" y="522"/>
                </a:cubicBezTo>
                <a:close/>
                <a:moveTo>
                  <a:pt x="633" y="526"/>
                </a:moveTo>
                <a:cubicBezTo>
                  <a:pt x="634" y="528"/>
                  <a:pt x="631" y="529"/>
                  <a:pt x="633" y="526"/>
                </a:cubicBezTo>
                <a:close/>
                <a:moveTo>
                  <a:pt x="628" y="417"/>
                </a:moveTo>
                <a:cubicBezTo>
                  <a:pt x="630" y="415"/>
                  <a:pt x="631" y="410"/>
                  <a:pt x="634" y="409"/>
                </a:cubicBezTo>
                <a:cubicBezTo>
                  <a:pt x="633" y="409"/>
                  <a:pt x="631" y="417"/>
                  <a:pt x="628" y="417"/>
                </a:cubicBezTo>
                <a:close/>
                <a:moveTo>
                  <a:pt x="633" y="310"/>
                </a:moveTo>
                <a:cubicBezTo>
                  <a:pt x="632" y="309"/>
                  <a:pt x="634" y="305"/>
                  <a:pt x="634" y="305"/>
                </a:cubicBezTo>
                <a:cubicBezTo>
                  <a:pt x="638" y="302"/>
                  <a:pt x="636" y="311"/>
                  <a:pt x="633" y="310"/>
                </a:cubicBezTo>
                <a:close/>
                <a:moveTo>
                  <a:pt x="637" y="496"/>
                </a:moveTo>
                <a:cubicBezTo>
                  <a:pt x="636" y="497"/>
                  <a:pt x="637" y="495"/>
                  <a:pt x="637" y="496"/>
                </a:cubicBezTo>
                <a:close/>
                <a:moveTo>
                  <a:pt x="637" y="495"/>
                </a:moveTo>
                <a:cubicBezTo>
                  <a:pt x="635" y="495"/>
                  <a:pt x="637" y="490"/>
                  <a:pt x="638" y="490"/>
                </a:cubicBezTo>
                <a:cubicBezTo>
                  <a:pt x="640" y="489"/>
                  <a:pt x="639" y="496"/>
                  <a:pt x="637" y="495"/>
                </a:cubicBezTo>
                <a:close/>
                <a:moveTo>
                  <a:pt x="638" y="424"/>
                </a:move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lose/>
                <a:moveTo>
                  <a:pt x="634" y="368"/>
                </a:moveTo>
                <a:cubicBezTo>
                  <a:pt x="637" y="365"/>
                  <a:pt x="639" y="361"/>
                  <a:pt x="643" y="358"/>
                </a:cubicBezTo>
                <a:cubicBezTo>
                  <a:pt x="641" y="362"/>
                  <a:pt x="638" y="365"/>
                  <a:pt x="634" y="368"/>
                </a:cubicBezTo>
                <a:close/>
                <a:moveTo>
                  <a:pt x="641" y="395"/>
                </a:moveTo>
                <a:cubicBezTo>
                  <a:pt x="641" y="395"/>
                  <a:pt x="641" y="395"/>
                  <a:pt x="641" y="395"/>
                </a:cubicBezTo>
                <a:cubicBezTo>
                  <a:pt x="641" y="395"/>
                  <a:pt x="641" y="394"/>
                  <a:pt x="641" y="395"/>
                </a:cubicBezTo>
                <a:close/>
                <a:moveTo>
                  <a:pt x="640" y="430"/>
                </a:moveTo>
                <a:cubicBezTo>
                  <a:pt x="640" y="430"/>
                  <a:pt x="640" y="428"/>
                  <a:pt x="642" y="428"/>
                </a:cubicBezTo>
                <a:cubicBezTo>
                  <a:pt x="643" y="427"/>
                  <a:pt x="644" y="427"/>
                  <a:pt x="645" y="428"/>
                </a:cubicBezTo>
                <a:cubicBezTo>
                  <a:pt x="648" y="432"/>
                  <a:pt x="641" y="434"/>
                  <a:pt x="640" y="430"/>
                </a:cubicBezTo>
                <a:close/>
                <a:moveTo>
                  <a:pt x="645" y="387"/>
                </a:moveTo>
                <a:cubicBezTo>
                  <a:pt x="645" y="386"/>
                  <a:pt x="645" y="385"/>
                  <a:pt x="646" y="385"/>
                </a:cubicBezTo>
                <a:cubicBezTo>
                  <a:pt x="646" y="386"/>
                  <a:pt x="646" y="386"/>
                  <a:pt x="645" y="387"/>
                </a:cubicBezTo>
                <a:close/>
                <a:moveTo>
                  <a:pt x="647" y="552"/>
                </a:moveTo>
                <a:cubicBezTo>
                  <a:pt x="646" y="553"/>
                  <a:pt x="648" y="551"/>
                  <a:pt x="647" y="552"/>
                </a:cubicBezTo>
                <a:close/>
                <a:moveTo>
                  <a:pt x="647" y="429"/>
                </a:moveTo>
                <a:cubicBezTo>
                  <a:pt x="648" y="428"/>
                  <a:pt x="645" y="431"/>
                  <a:pt x="647" y="429"/>
                </a:cubicBezTo>
                <a:close/>
                <a:moveTo>
                  <a:pt x="646" y="388"/>
                </a:moveTo>
                <a:cubicBezTo>
                  <a:pt x="646" y="387"/>
                  <a:pt x="647" y="386"/>
                  <a:pt x="647" y="385"/>
                </a:cubicBezTo>
                <a:cubicBezTo>
                  <a:pt x="647" y="386"/>
                  <a:pt x="647" y="387"/>
                  <a:pt x="646" y="388"/>
                </a:cubicBezTo>
                <a:close/>
                <a:moveTo>
                  <a:pt x="646" y="385"/>
                </a:moveTo>
                <a:cubicBezTo>
                  <a:pt x="647" y="384"/>
                  <a:pt x="647" y="383"/>
                  <a:pt x="648" y="383"/>
                </a:cubicBezTo>
                <a:cubicBezTo>
                  <a:pt x="648" y="384"/>
                  <a:pt x="647" y="384"/>
                  <a:pt x="646" y="385"/>
                </a:cubicBezTo>
                <a:close/>
                <a:moveTo>
                  <a:pt x="647" y="345"/>
                </a:moveTo>
                <a:cubicBezTo>
                  <a:pt x="646" y="345"/>
                  <a:pt x="647" y="344"/>
                  <a:pt x="647" y="344"/>
                </a:cubicBezTo>
                <a:cubicBezTo>
                  <a:pt x="648" y="342"/>
                  <a:pt x="648" y="345"/>
                  <a:pt x="647" y="345"/>
                </a:cubicBezTo>
                <a:close/>
                <a:moveTo>
                  <a:pt x="648" y="529"/>
                </a:moveTo>
                <a:cubicBezTo>
                  <a:pt x="647" y="529"/>
                  <a:pt x="648" y="528"/>
                  <a:pt x="648" y="528"/>
                </a:cubicBezTo>
                <a:cubicBezTo>
                  <a:pt x="649" y="528"/>
                  <a:pt x="648" y="529"/>
                  <a:pt x="648" y="529"/>
                </a:cubicBezTo>
                <a:close/>
                <a:moveTo>
                  <a:pt x="648" y="382"/>
                </a:moveTo>
                <a:cubicBezTo>
                  <a:pt x="649" y="381"/>
                  <a:pt x="647" y="383"/>
                  <a:pt x="648" y="382"/>
                </a:cubicBezTo>
                <a:close/>
                <a:moveTo>
                  <a:pt x="650" y="335"/>
                </a:moveTo>
                <a:cubicBezTo>
                  <a:pt x="647" y="337"/>
                  <a:pt x="652" y="333"/>
                  <a:pt x="650" y="335"/>
                </a:cubicBezTo>
                <a:close/>
                <a:moveTo>
                  <a:pt x="651" y="357"/>
                </a:moveTo>
                <a:cubicBezTo>
                  <a:pt x="651" y="355"/>
                  <a:pt x="650" y="358"/>
                  <a:pt x="651" y="357"/>
                </a:cubicBezTo>
                <a:close/>
                <a:moveTo>
                  <a:pt x="651" y="299"/>
                </a:moveTo>
                <a:cubicBezTo>
                  <a:pt x="649" y="299"/>
                  <a:pt x="651" y="296"/>
                  <a:pt x="652" y="298"/>
                </a:cubicBezTo>
                <a:cubicBezTo>
                  <a:pt x="652" y="298"/>
                  <a:pt x="651" y="299"/>
                  <a:pt x="651" y="299"/>
                </a:cubicBezTo>
                <a:close/>
                <a:moveTo>
                  <a:pt x="651" y="291"/>
                </a:moveTo>
                <a:cubicBezTo>
                  <a:pt x="651" y="291"/>
                  <a:pt x="652" y="291"/>
                  <a:pt x="652" y="291"/>
                </a:cubicBezTo>
                <a:cubicBezTo>
                  <a:pt x="652" y="292"/>
                  <a:pt x="651" y="291"/>
                  <a:pt x="651" y="291"/>
                </a:cubicBezTo>
                <a:close/>
                <a:moveTo>
                  <a:pt x="652" y="333"/>
                </a:moveTo>
                <a:cubicBezTo>
                  <a:pt x="652" y="331"/>
                  <a:pt x="654" y="331"/>
                  <a:pt x="654" y="330"/>
                </a:cubicBezTo>
                <a:cubicBezTo>
                  <a:pt x="654" y="331"/>
                  <a:pt x="653" y="332"/>
                  <a:pt x="652" y="333"/>
                </a:cubicBezTo>
                <a:close/>
                <a:moveTo>
                  <a:pt x="654" y="302"/>
                </a:moveTo>
                <a:cubicBezTo>
                  <a:pt x="655" y="302"/>
                  <a:pt x="654" y="302"/>
                  <a:pt x="654" y="302"/>
                </a:cubicBezTo>
                <a:cubicBezTo>
                  <a:pt x="655" y="304"/>
                  <a:pt x="652" y="302"/>
                  <a:pt x="654" y="302"/>
                </a:cubicBezTo>
                <a:close/>
                <a:moveTo>
                  <a:pt x="654" y="370"/>
                </a:moveTo>
                <a:cubicBezTo>
                  <a:pt x="654" y="369"/>
                  <a:pt x="656" y="369"/>
                  <a:pt x="655" y="370"/>
                </a:cubicBezTo>
                <a:cubicBezTo>
                  <a:pt x="655" y="370"/>
                  <a:pt x="654" y="370"/>
                  <a:pt x="654" y="370"/>
                </a:cubicBezTo>
                <a:close/>
                <a:moveTo>
                  <a:pt x="648" y="287"/>
                </a:moveTo>
                <a:cubicBezTo>
                  <a:pt x="651" y="284"/>
                  <a:pt x="653" y="280"/>
                  <a:pt x="658" y="277"/>
                </a:cubicBezTo>
                <a:cubicBezTo>
                  <a:pt x="657" y="281"/>
                  <a:pt x="652" y="285"/>
                  <a:pt x="648" y="287"/>
                </a:cubicBezTo>
                <a:close/>
                <a:moveTo>
                  <a:pt x="657" y="286"/>
                </a:moveTo>
                <a:cubicBezTo>
                  <a:pt x="657" y="285"/>
                  <a:pt x="658" y="285"/>
                  <a:pt x="658" y="285"/>
                </a:cubicBezTo>
                <a:cubicBezTo>
                  <a:pt x="659" y="286"/>
                  <a:pt x="656" y="287"/>
                  <a:pt x="657" y="286"/>
                </a:cubicBezTo>
                <a:close/>
                <a:moveTo>
                  <a:pt x="658" y="318"/>
                </a:moveTo>
                <a:cubicBezTo>
                  <a:pt x="659" y="317"/>
                  <a:pt x="657" y="319"/>
                  <a:pt x="658" y="318"/>
                </a:cubicBezTo>
                <a:close/>
                <a:moveTo>
                  <a:pt x="658" y="348"/>
                </a:moveTo>
                <a:cubicBezTo>
                  <a:pt x="659" y="347"/>
                  <a:pt x="656" y="349"/>
                  <a:pt x="658" y="348"/>
                </a:cubicBezTo>
                <a:close/>
                <a:moveTo>
                  <a:pt x="658" y="477"/>
                </a:moveTo>
                <a:cubicBezTo>
                  <a:pt x="658" y="476"/>
                  <a:pt x="658" y="476"/>
                  <a:pt x="658" y="476"/>
                </a:cubicBezTo>
                <a:cubicBezTo>
                  <a:pt x="659" y="474"/>
                  <a:pt x="660" y="477"/>
                  <a:pt x="658" y="477"/>
                </a:cubicBezTo>
                <a:close/>
                <a:moveTo>
                  <a:pt x="658" y="376"/>
                </a:moveTo>
                <a:cubicBezTo>
                  <a:pt x="657" y="375"/>
                  <a:pt x="658" y="373"/>
                  <a:pt x="658" y="373"/>
                </a:cubicBezTo>
                <a:cubicBezTo>
                  <a:pt x="661" y="371"/>
                  <a:pt x="661" y="376"/>
                  <a:pt x="658" y="376"/>
                </a:cubicBezTo>
                <a:close/>
                <a:moveTo>
                  <a:pt x="660" y="413"/>
                </a:moveTo>
                <a:cubicBezTo>
                  <a:pt x="660" y="412"/>
                  <a:pt x="661" y="412"/>
                  <a:pt x="660" y="413"/>
                </a:cubicBezTo>
                <a:close/>
                <a:moveTo>
                  <a:pt x="658" y="347"/>
                </a:moveTo>
                <a:cubicBezTo>
                  <a:pt x="659" y="345"/>
                  <a:pt x="660" y="343"/>
                  <a:pt x="662" y="342"/>
                </a:cubicBezTo>
                <a:cubicBezTo>
                  <a:pt x="662" y="342"/>
                  <a:pt x="660" y="346"/>
                  <a:pt x="658" y="347"/>
                </a:cubicBezTo>
                <a:close/>
                <a:moveTo>
                  <a:pt x="663" y="312"/>
                </a:moveTo>
                <a:cubicBezTo>
                  <a:pt x="663" y="312"/>
                  <a:pt x="664" y="313"/>
                  <a:pt x="663" y="313"/>
                </a:cubicBezTo>
                <a:cubicBezTo>
                  <a:pt x="662" y="314"/>
                  <a:pt x="661" y="312"/>
                  <a:pt x="662" y="312"/>
                </a:cubicBezTo>
                <a:cubicBezTo>
                  <a:pt x="662" y="312"/>
                  <a:pt x="662" y="312"/>
                  <a:pt x="662" y="312"/>
                </a:cubicBezTo>
                <a:cubicBezTo>
                  <a:pt x="662" y="311"/>
                  <a:pt x="662" y="311"/>
                  <a:pt x="661" y="311"/>
                </a:cubicBezTo>
                <a:cubicBezTo>
                  <a:pt x="660" y="310"/>
                  <a:pt x="664" y="308"/>
                  <a:pt x="664" y="310"/>
                </a:cubicBezTo>
                <a:cubicBezTo>
                  <a:pt x="664" y="311"/>
                  <a:pt x="664" y="311"/>
                  <a:pt x="663" y="312"/>
                </a:cubicBezTo>
                <a:close/>
                <a:moveTo>
                  <a:pt x="662" y="277"/>
                </a:moveTo>
                <a:cubicBezTo>
                  <a:pt x="661" y="279"/>
                  <a:pt x="662" y="276"/>
                  <a:pt x="662" y="277"/>
                </a:cubicBezTo>
                <a:close/>
                <a:moveTo>
                  <a:pt x="662" y="261"/>
                </a:moveTo>
                <a:cubicBezTo>
                  <a:pt x="662" y="261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ubicBezTo>
                  <a:pt x="662" y="260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lose/>
                <a:moveTo>
                  <a:pt x="664" y="309"/>
                </a:moveTo>
                <a:cubicBezTo>
                  <a:pt x="663" y="309"/>
                  <a:pt x="663" y="308"/>
                  <a:pt x="664" y="308"/>
                </a:cubicBezTo>
                <a:cubicBezTo>
                  <a:pt x="664" y="307"/>
                  <a:pt x="665" y="309"/>
                  <a:pt x="664" y="309"/>
                </a:cubicBezTo>
                <a:close/>
                <a:moveTo>
                  <a:pt x="664" y="258"/>
                </a:moveTo>
                <a:cubicBezTo>
                  <a:pt x="664" y="260"/>
                  <a:pt x="662" y="259"/>
                  <a:pt x="664" y="258"/>
                </a:cubicBezTo>
                <a:close/>
                <a:moveTo>
                  <a:pt x="665" y="262"/>
                </a:moveTo>
                <a:cubicBezTo>
                  <a:pt x="663" y="263"/>
                  <a:pt x="666" y="260"/>
                  <a:pt x="665" y="262"/>
                </a:cubicBezTo>
                <a:close/>
                <a:moveTo>
                  <a:pt x="663" y="233"/>
                </a:moveTo>
                <a:cubicBezTo>
                  <a:pt x="665" y="234"/>
                  <a:pt x="663" y="240"/>
                  <a:pt x="660" y="239"/>
                </a:cubicBezTo>
                <a:cubicBezTo>
                  <a:pt x="657" y="239"/>
                  <a:pt x="659" y="230"/>
                  <a:pt x="663" y="233"/>
                </a:cubicBezTo>
                <a:cubicBezTo>
                  <a:pt x="662" y="232"/>
                  <a:pt x="662" y="229"/>
                  <a:pt x="664" y="230"/>
                </a:cubicBezTo>
                <a:cubicBezTo>
                  <a:pt x="666" y="230"/>
                  <a:pt x="665" y="234"/>
                  <a:pt x="663" y="233"/>
                </a:cubicBezTo>
                <a:close/>
                <a:moveTo>
                  <a:pt x="665" y="341"/>
                </a:moveTo>
                <a:cubicBezTo>
                  <a:pt x="665" y="340"/>
                  <a:pt x="667" y="338"/>
                  <a:pt x="668" y="337"/>
                </a:cubicBezTo>
                <a:cubicBezTo>
                  <a:pt x="667" y="339"/>
                  <a:pt x="667" y="340"/>
                  <a:pt x="665" y="341"/>
                </a:cubicBezTo>
                <a:close/>
                <a:moveTo>
                  <a:pt x="668" y="481"/>
                </a:moveTo>
                <a:cubicBezTo>
                  <a:pt x="668" y="481"/>
                  <a:pt x="668" y="480"/>
                  <a:pt x="668" y="481"/>
                </a:cubicBezTo>
                <a:cubicBezTo>
                  <a:pt x="669" y="481"/>
                  <a:pt x="668" y="482"/>
                  <a:pt x="668" y="481"/>
                </a:cubicBezTo>
                <a:close/>
                <a:moveTo>
                  <a:pt x="671" y="391"/>
                </a:moveTo>
                <a:cubicBezTo>
                  <a:pt x="671" y="390"/>
                  <a:pt x="672" y="389"/>
                  <a:pt x="672" y="388"/>
                </a:cubicBezTo>
                <a:cubicBezTo>
                  <a:pt x="673" y="389"/>
                  <a:pt x="672" y="391"/>
                  <a:pt x="671" y="391"/>
                </a:cubicBezTo>
                <a:close/>
                <a:moveTo>
                  <a:pt x="673" y="387"/>
                </a:moveTo>
                <a:cubicBezTo>
                  <a:pt x="673" y="385"/>
                  <a:pt x="675" y="383"/>
                  <a:pt x="675" y="381"/>
                </a:cubicBezTo>
                <a:cubicBezTo>
                  <a:pt x="676" y="383"/>
                  <a:pt x="674" y="385"/>
                  <a:pt x="673" y="387"/>
                </a:cubicBezTo>
                <a:close/>
                <a:moveTo>
                  <a:pt x="683" y="314"/>
                </a:moveTo>
                <a:cubicBezTo>
                  <a:pt x="681" y="318"/>
                  <a:pt x="678" y="322"/>
                  <a:pt x="676" y="326"/>
                </a:cubicBezTo>
                <a:cubicBezTo>
                  <a:pt x="678" y="322"/>
                  <a:pt x="679" y="317"/>
                  <a:pt x="683" y="314"/>
                </a:cubicBezTo>
                <a:close/>
                <a:moveTo>
                  <a:pt x="678" y="432"/>
                </a:moveTo>
                <a:cubicBezTo>
                  <a:pt x="678" y="434"/>
                  <a:pt x="676" y="433"/>
                  <a:pt x="678" y="432"/>
                </a:cubicBezTo>
                <a:close/>
                <a:moveTo>
                  <a:pt x="682" y="426"/>
                </a:moveTo>
                <a:cubicBezTo>
                  <a:pt x="681" y="426"/>
                  <a:pt x="681" y="425"/>
                  <a:pt x="682" y="424"/>
                </a:cubicBezTo>
                <a:cubicBezTo>
                  <a:pt x="683" y="423"/>
                  <a:pt x="684" y="427"/>
                  <a:pt x="682" y="426"/>
                </a:cubicBezTo>
                <a:close/>
                <a:moveTo>
                  <a:pt x="683" y="451"/>
                </a:moveTo>
                <a:cubicBezTo>
                  <a:pt x="683" y="450"/>
                  <a:pt x="685" y="451"/>
                  <a:pt x="683" y="451"/>
                </a:cubicBezTo>
                <a:close/>
                <a:moveTo>
                  <a:pt x="683" y="486"/>
                </a:moveTo>
                <a:cubicBezTo>
                  <a:pt x="684" y="486"/>
                  <a:pt x="682" y="487"/>
                  <a:pt x="683" y="486"/>
                </a:cubicBezTo>
                <a:close/>
                <a:moveTo>
                  <a:pt x="685" y="289"/>
                </a:moveTo>
                <a:cubicBezTo>
                  <a:pt x="686" y="289"/>
                  <a:pt x="684" y="290"/>
                  <a:pt x="684" y="290"/>
                </a:cubicBezTo>
                <a:cubicBezTo>
                  <a:pt x="684" y="290"/>
                  <a:pt x="685" y="290"/>
                  <a:pt x="685" y="289"/>
                </a:cubicBezTo>
                <a:close/>
                <a:moveTo>
                  <a:pt x="685" y="345"/>
                </a:moveTo>
                <a:cubicBezTo>
                  <a:pt x="684" y="344"/>
                  <a:pt x="685" y="344"/>
                  <a:pt x="685" y="343"/>
                </a:cubicBezTo>
                <a:cubicBezTo>
                  <a:pt x="686" y="343"/>
                  <a:pt x="685" y="345"/>
                  <a:pt x="685" y="345"/>
                </a:cubicBezTo>
                <a:close/>
                <a:moveTo>
                  <a:pt x="686" y="342"/>
                </a:moveTo>
                <a:cubicBezTo>
                  <a:pt x="685" y="341"/>
                  <a:pt x="686" y="341"/>
                  <a:pt x="686" y="340"/>
                </a:cubicBezTo>
                <a:cubicBezTo>
                  <a:pt x="687" y="340"/>
                  <a:pt x="686" y="342"/>
                  <a:pt x="686" y="342"/>
                </a:cubicBezTo>
                <a:close/>
                <a:moveTo>
                  <a:pt x="687" y="340"/>
                </a:moveTo>
                <a:cubicBezTo>
                  <a:pt x="686" y="339"/>
                  <a:pt x="687" y="337"/>
                  <a:pt x="688" y="336"/>
                </a:cubicBezTo>
                <a:cubicBezTo>
                  <a:pt x="688" y="337"/>
                  <a:pt x="687" y="339"/>
                  <a:pt x="687" y="340"/>
                </a:cubicBezTo>
                <a:close/>
                <a:moveTo>
                  <a:pt x="688" y="329"/>
                </a:moveTo>
                <a:cubicBezTo>
                  <a:pt x="688" y="329"/>
                  <a:pt x="688" y="329"/>
                  <a:pt x="688" y="329"/>
                </a:cubicBezTo>
                <a:cubicBezTo>
                  <a:pt x="688" y="329"/>
                  <a:pt x="687" y="330"/>
                  <a:pt x="688" y="329"/>
                </a:cubicBezTo>
                <a:close/>
                <a:moveTo>
                  <a:pt x="688" y="284"/>
                </a:moveTo>
                <a:cubicBezTo>
                  <a:pt x="689" y="283"/>
                  <a:pt x="686" y="286"/>
                  <a:pt x="688" y="284"/>
                </a:cubicBezTo>
                <a:close/>
                <a:moveTo>
                  <a:pt x="693" y="290"/>
                </a:moveTo>
                <a:cubicBezTo>
                  <a:pt x="697" y="288"/>
                  <a:pt x="695" y="297"/>
                  <a:pt x="692" y="296"/>
                </a:cubicBezTo>
                <a:cubicBezTo>
                  <a:pt x="690" y="295"/>
                  <a:pt x="692" y="291"/>
                  <a:pt x="693" y="290"/>
                </a:cubicBezTo>
                <a:close/>
                <a:moveTo>
                  <a:pt x="691" y="285"/>
                </a:moveTo>
                <a:cubicBezTo>
                  <a:pt x="691" y="286"/>
                  <a:pt x="692" y="284"/>
                  <a:pt x="691" y="285"/>
                </a:cubicBezTo>
                <a:close/>
                <a:moveTo>
                  <a:pt x="689" y="285"/>
                </a:moveTo>
                <a:cubicBezTo>
                  <a:pt x="690" y="285"/>
                  <a:pt x="690" y="284"/>
                  <a:pt x="691" y="284"/>
                </a:cubicBezTo>
                <a:cubicBezTo>
                  <a:pt x="693" y="285"/>
                  <a:pt x="688" y="288"/>
                  <a:pt x="689" y="285"/>
                </a:cubicBezTo>
                <a:close/>
                <a:moveTo>
                  <a:pt x="689" y="316"/>
                </a:moveTo>
                <a:cubicBezTo>
                  <a:pt x="690" y="317"/>
                  <a:pt x="688" y="316"/>
                  <a:pt x="689" y="316"/>
                </a:cubicBezTo>
                <a:close/>
                <a:moveTo>
                  <a:pt x="689" y="395"/>
                </a:moveTo>
                <a:cubicBezTo>
                  <a:pt x="689" y="395"/>
                  <a:pt x="689" y="394"/>
                  <a:pt x="689" y="394"/>
                </a:cubicBezTo>
                <a:cubicBezTo>
                  <a:pt x="690" y="394"/>
                  <a:pt x="688" y="397"/>
                  <a:pt x="689" y="395"/>
                </a:cubicBezTo>
                <a:close/>
                <a:moveTo>
                  <a:pt x="690" y="404"/>
                </a:moveTo>
                <a:cubicBezTo>
                  <a:pt x="690" y="403"/>
                  <a:pt x="691" y="404"/>
                  <a:pt x="691" y="404"/>
                </a:cubicBezTo>
                <a:cubicBezTo>
                  <a:pt x="691" y="405"/>
                  <a:pt x="689" y="405"/>
                  <a:pt x="690" y="404"/>
                </a:cubicBezTo>
                <a:close/>
                <a:moveTo>
                  <a:pt x="691" y="343"/>
                </a:moveTo>
                <a:cubicBezTo>
                  <a:pt x="691" y="342"/>
                  <a:pt x="691" y="341"/>
                  <a:pt x="691" y="341"/>
                </a:cubicBezTo>
                <a:cubicBezTo>
                  <a:pt x="692" y="340"/>
                  <a:pt x="692" y="343"/>
                  <a:pt x="691" y="343"/>
                </a:cubicBezTo>
                <a:close/>
                <a:moveTo>
                  <a:pt x="692" y="394"/>
                </a:moveTo>
                <a:cubicBezTo>
                  <a:pt x="691" y="395"/>
                  <a:pt x="693" y="393"/>
                  <a:pt x="692" y="394"/>
                </a:cubicBezTo>
                <a:close/>
                <a:moveTo>
                  <a:pt x="692" y="300"/>
                </a:moveTo>
                <a:cubicBezTo>
                  <a:pt x="690" y="300"/>
                  <a:pt x="691" y="299"/>
                  <a:pt x="692" y="298"/>
                </a:cubicBezTo>
                <a:cubicBezTo>
                  <a:pt x="693" y="297"/>
                  <a:pt x="693" y="300"/>
                  <a:pt x="692" y="300"/>
                </a:cubicBezTo>
                <a:close/>
                <a:moveTo>
                  <a:pt x="694" y="330"/>
                </a:moveTo>
                <a:cubicBezTo>
                  <a:pt x="695" y="329"/>
                  <a:pt x="695" y="332"/>
                  <a:pt x="694" y="331"/>
                </a:cubicBezTo>
                <a:cubicBezTo>
                  <a:pt x="693" y="331"/>
                  <a:pt x="694" y="330"/>
                  <a:pt x="694" y="330"/>
                </a:cubicBezTo>
                <a:close/>
                <a:moveTo>
                  <a:pt x="694" y="454"/>
                </a:moveTo>
                <a:cubicBezTo>
                  <a:pt x="694" y="454"/>
                  <a:pt x="694" y="454"/>
                  <a:pt x="695" y="454"/>
                </a:cubicBezTo>
                <a:cubicBezTo>
                  <a:pt x="696" y="454"/>
                  <a:pt x="693" y="455"/>
                  <a:pt x="694" y="454"/>
                </a:cubicBezTo>
                <a:close/>
                <a:moveTo>
                  <a:pt x="696" y="312"/>
                </a:moveTo>
                <a:cubicBezTo>
                  <a:pt x="694" y="313"/>
                  <a:pt x="694" y="308"/>
                  <a:pt x="695" y="307"/>
                </a:cubicBezTo>
                <a:cubicBezTo>
                  <a:pt x="700" y="304"/>
                  <a:pt x="697" y="312"/>
                  <a:pt x="696" y="312"/>
                </a:cubicBezTo>
                <a:close/>
                <a:moveTo>
                  <a:pt x="699" y="327"/>
                </a:moveTo>
                <a:cubicBezTo>
                  <a:pt x="699" y="327"/>
                  <a:pt x="700" y="326"/>
                  <a:pt x="700" y="326"/>
                </a:cubicBezTo>
                <a:cubicBezTo>
                  <a:pt x="702" y="327"/>
                  <a:pt x="698" y="329"/>
                  <a:pt x="699" y="327"/>
                </a:cubicBezTo>
                <a:close/>
                <a:moveTo>
                  <a:pt x="702" y="431"/>
                </a:moveTo>
                <a:cubicBezTo>
                  <a:pt x="702" y="430"/>
                  <a:pt x="704" y="429"/>
                  <a:pt x="704" y="428"/>
                </a:cubicBezTo>
                <a:cubicBezTo>
                  <a:pt x="704" y="429"/>
                  <a:pt x="704" y="431"/>
                  <a:pt x="702" y="431"/>
                </a:cubicBezTo>
                <a:close/>
                <a:moveTo>
                  <a:pt x="704" y="427"/>
                </a:moveTo>
                <a:cubicBezTo>
                  <a:pt x="705" y="425"/>
                  <a:pt x="705" y="423"/>
                  <a:pt x="706" y="421"/>
                </a:cubicBezTo>
                <a:cubicBezTo>
                  <a:pt x="707" y="422"/>
                  <a:pt x="705" y="426"/>
                  <a:pt x="704" y="427"/>
                </a:cubicBezTo>
                <a:close/>
                <a:moveTo>
                  <a:pt x="706" y="392"/>
                </a:moveTo>
                <a:cubicBezTo>
                  <a:pt x="706" y="393"/>
                  <a:pt x="706" y="393"/>
                  <a:pt x="706" y="392"/>
                </a:cubicBezTo>
                <a:close/>
                <a:moveTo>
                  <a:pt x="709" y="396"/>
                </a:moveTo>
                <a:cubicBezTo>
                  <a:pt x="710" y="397"/>
                  <a:pt x="708" y="397"/>
                  <a:pt x="709" y="396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SUPPLY CHAIN</a:t>
            </a:r>
            <a:endParaRPr lang="en-ID" dirty="0">
              <a:solidFill>
                <a:schemeClr val="bg1"/>
              </a:solidFill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="" xmlns:a16="http://schemas.microsoft.com/office/drawing/2014/main" id="{ABF50F04-EE27-4CA5-A297-3C71C86E4627}"/>
              </a:ext>
            </a:extLst>
          </p:cNvPr>
          <p:cNvSpPr/>
          <p:nvPr/>
        </p:nvSpPr>
        <p:spPr>
          <a:xfrm>
            <a:off x="3911600" y="1604169"/>
            <a:ext cx="4368800" cy="4368800"/>
          </a:xfrm>
          <a:prstGeom prst="ellipse">
            <a:avLst/>
          </a:prstGeom>
          <a:noFill/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7" name="Oval 6">
            <a:extLst>
              <a:ext uri="{FF2B5EF4-FFF2-40B4-BE49-F238E27FC236}">
                <a16:creationId xmlns="" xmlns:a16="http://schemas.microsoft.com/office/drawing/2014/main" id="{00D64DB2-A579-4A03-B1F6-19E5E4E7A3B3}"/>
              </a:ext>
            </a:extLst>
          </p:cNvPr>
          <p:cNvSpPr/>
          <p:nvPr/>
        </p:nvSpPr>
        <p:spPr>
          <a:xfrm>
            <a:off x="7004873" y="1717791"/>
            <a:ext cx="449602" cy="449602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5" name="Oval 84">
            <a:extLst>
              <a:ext uri="{FF2B5EF4-FFF2-40B4-BE49-F238E27FC236}">
                <a16:creationId xmlns="" xmlns:a16="http://schemas.microsoft.com/office/drawing/2014/main" id="{A2BD3949-3F4C-4FA5-A81A-CD0FF5E81A40}"/>
              </a:ext>
            </a:extLst>
          </p:cNvPr>
          <p:cNvSpPr/>
          <p:nvPr/>
        </p:nvSpPr>
        <p:spPr>
          <a:xfrm>
            <a:off x="7004873" y="5409745"/>
            <a:ext cx="449602" cy="449602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1" name="Oval 90">
            <a:extLst>
              <a:ext uri="{FF2B5EF4-FFF2-40B4-BE49-F238E27FC236}">
                <a16:creationId xmlns="" xmlns:a16="http://schemas.microsoft.com/office/drawing/2014/main" id="{E2697DCB-2215-45AC-B7BA-2C300D395F0A}"/>
              </a:ext>
            </a:extLst>
          </p:cNvPr>
          <p:cNvSpPr/>
          <p:nvPr/>
        </p:nvSpPr>
        <p:spPr>
          <a:xfrm>
            <a:off x="4737526" y="1717791"/>
            <a:ext cx="449602" cy="449602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84" name="Oval 83">
            <a:extLst>
              <a:ext uri="{FF2B5EF4-FFF2-40B4-BE49-F238E27FC236}">
                <a16:creationId xmlns="" xmlns:a16="http://schemas.microsoft.com/office/drawing/2014/main" id="{DBCA9EDB-AAE7-446E-9852-7A88A6CA93DD}"/>
              </a:ext>
            </a:extLst>
          </p:cNvPr>
          <p:cNvSpPr/>
          <p:nvPr/>
        </p:nvSpPr>
        <p:spPr>
          <a:xfrm>
            <a:off x="8050242" y="3563768"/>
            <a:ext cx="449602" cy="449602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4" name="Oval 93">
            <a:extLst>
              <a:ext uri="{FF2B5EF4-FFF2-40B4-BE49-F238E27FC236}">
                <a16:creationId xmlns="" xmlns:a16="http://schemas.microsoft.com/office/drawing/2014/main" id="{599B8617-FB8D-4E9A-A734-74F26E54DEFB}"/>
              </a:ext>
            </a:extLst>
          </p:cNvPr>
          <p:cNvSpPr/>
          <p:nvPr/>
        </p:nvSpPr>
        <p:spPr>
          <a:xfrm>
            <a:off x="3692157" y="3563768"/>
            <a:ext cx="449602" cy="449602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5" name="Oval 94">
            <a:extLst>
              <a:ext uri="{FF2B5EF4-FFF2-40B4-BE49-F238E27FC236}">
                <a16:creationId xmlns="" xmlns:a16="http://schemas.microsoft.com/office/drawing/2014/main" id="{B401180B-27B1-4FD1-BFA2-C8AE37B28E2D}"/>
              </a:ext>
            </a:extLst>
          </p:cNvPr>
          <p:cNvSpPr/>
          <p:nvPr/>
        </p:nvSpPr>
        <p:spPr>
          <a:xfrm>
            <a:off x="4737526" y="5409745"/>
            <a:ext cx="449602" cy="449602"/>
          </a:xfrm>
          <a:prstGeom prst="ellipse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14" name="Group 13">
            <a:extLst>
              <a:ext uri="{FF2B5EF4-FFF2-40B4-BE49-F238E27FC236}">
                <a16:creationId xmlns="" xmlns:a16="http://schemas.microsoft.com/office/drawing/2014/main" id="{C7C167ED-559B-4744-B4AC-0016FE0F8BCC}"/>
              </a:ext>
            </a:extLst>
          </p:cNvPr>
          <p:cNvGrpSpPr/>
          <p:nvPr/>
        </p:nvGrpSpPr>
        <p:grpSpPr>
          <a:xfrm>
            <a:off x="7798860" y="1581635"/>
            <a:ext cx="4013405" cy="4413868"/>
            <a:chOff x="7843633" y="1581635"/>
            <a:chExt cx="4013405" cy="4413868"/>
          </a:xfrm>
        </p:grpSpPr>
        <p:sp>
          <p:nvSpPr>
            <p:cNvPr id="102" name="Rectangle 101">
              <a:extLst>
                <a:ext uri="{FF2B5EF4-FFF2-40B4-BE49-F238E27FC236}">
                  <a16:creationId xmlns="" xmlns:a16="http://schemas.microsoft.com/office/drawing/2014/main" id="{BDA22988-A8F4-48AA-B1CA-CB0B9BD21E37}"/>
                </a:ext>
              </a:extLst>
            </p:cNvPr>
            <p:cNvSpPr/>
            <p:nvPr/>
          </p:nvSpPr>
          <p:spPr>
            <a:xfrm>
              <a:off x="7843633" y="1581635"/>
              <a:ext cx="3883569" cy="71558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n-ID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LANNING</a:t>
              </a:r>
            </a:p>
            <a:p>
              <a:pPr>
                <a:spcBef>
                  <a:spcPts val="300"/>
                </a:spcBef>
              </a:pP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olor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sit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ectetur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ipiscing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it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  <a:endPara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Cambria" panose="02040503050406030204" pitchFamily="18" charset="0"/>
              </a:endParaRPr>
            </a:p>
          </p:txBody>
        </p:sp>
        <p:sp>
          <p:nvSpPr>
            <p:cNvPr id="105" name="Rectangle 104">
              <a:extLst>
                <a:ext uri="{FF2B5EF4-FFF2-40B4-BE49-F238E27FC236}">
                  <a16:creationId xmlns="" xmlns:a16="http://schemas.microsoft.com/office/drawing/2014/main" id="{0258FD3D-530D-4CE0-8817-EA17D73F9E0F}"/>
                </a:ext>
              </a:extLst>
            </p:cNvPr>
            <p:cNvSpPr/>
            <p:nvPr/>
          </p:nvSpPr>
          <p:spPr>
            <a:xfrm>
              <a:off x="7843633" y="5279922"/>
              <a:ext cx="3883569" cy="71558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n-ID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PROCUREMENT</a:t>
              </a:r>
            </a:p>
            <a:p>
              <a:pPr>
                <a:spcBef>
                  <a:spcPts val="300"/>
                </a:spcBef>
              </a:pP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olor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sit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ectetur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ipiscing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it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  <a:endPara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Cambria" panose="02040503050406030204" pitchFamily="18" charset="0"/>
              </a:endParaRPr>
            </a:p>
          </p:txBody>
        </p:sp>
        <p:sp>
          <p:nvSpPr>
            <p:cNvPr id="116" name="Rectangle 115">
              <a:extLst>
                <a:ext uri="{FF2B5EF4-FFF2-40B4-BE49-F238E27FC236}">
                  <a16:creationId xmlns="" xmlns:a16="http://schemas.microsoft.com/office/drawing/2014/main" id="{E825B8C6-436F-4653-8914-75F977192667}"/>
                </a:ext>
              </a:extLst>
            </p:cNvPr>
            <p:cNvSpPr/>
            <p:nvPr/>
          </p:nvSpPr>
          <p:spPr>
            <a:xfrm>
              <a:off x="8610600" y="3430779"/>
              <a:ext cx="3246438" cy="71558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n-ID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MARKETING</a:t>
              </a:r>
            </a:p>
            <a:p>
              <a:pPr>
                <a:spcBef>
                  <a:spcPts val="300"/>
                </a:spcBef>
              </a:pP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olor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sit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ectetur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ipiscing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it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  <a:endPara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Cambria" panose="02040503050406030204" pitchFamily="18" charset="0"/>
              </a:endParaRPr>
            </a:p>
          </p:txBody>
        </p:sp>
      </p:grpSp>
      <p:grpSp>
        <p:nvGrpSpPr>
          <p:cNvPr id="117" name="Group 116">
            <a:extLst>
              <a:ext uri="{FF2B5EF4-FFF2-40B4-BE49-F238E27FC236}">
                <a16:creationId xmlns="" xmlns:a16="http://schemas.microsoft.com/office/drawing/2014/main" id="{E7DCB169-30A7-4429-84C9-6CBAF7F46526}"/>
              </a:ext>
            </a:extLst>
          </p:cNvPr>
          <p:cNvGrpSpPr/>
          <p:nvPr/>
        </p:nvGrpSpPr>
        <p:grpSpPr>
          <a:xfrm flipH="1">
            <a:off x="379735" y="1581635"/>
            <a:ext cx="4013405" cy="4413868"/>
            <a:chOff x="7843633" y="1581635"/>
            <a:chExt cx="4013405" cy="4413868"/>
          </a:xfrm>
        </p:grpSpPr>
        <p:sp>
          <p:nvSpPr>
            <p:cNvPr id="118" name="Rectangle 117">
              <a:extLst>
                <a:ext uri="{FF2B5EF4-FFF2-40B4-BE49-F238E27FC236}">
                  <a16:creationId xmlns="" xmlns:a16="http://schemas.microsoft.com/office/drawing/2014/main" id="{C96FCED3-E37B-4510-9E6C-5C7BF6BDA8F1}"/>
                </a:ext>
              </a:extLst>
            </p:cNvPr>
            <p:cNvSpPr/>
            <p:nvPr/>
          </p:nvSpPr>
          <p:spPr>
            <a:xfrm>
              <a:off x="7843633" y="1581635"/>
              <a:ext cx="3883569" cy="71558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>
                <a:spcBef>
                  <a:spcPts val="300"/>
                </a:spcBef>
              </a:pPr>
              <a:r>
                <a:rPr lang="en-ID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NALYSIS</a:t>
              </a:r>
            </a:p>
            <a:p>
              <a:pPr algn="r">
                <a:spcBef>
                  <a:spcPts val="300"/>
                </a:spcBef>
              </a:pP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olor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sit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ectetur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ipiscing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it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  <a:endPara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Cambria" panose="02040503050406030204" pitchFamily="18" charset="0"/>
              </a:endParaRPr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="" xmlns:a16="http://schemas.microsoft.com/office/drawing/2014/main" id="{06E7D970-479F-4ACD-BDF2-A79C72CAF409}"/>
                </a:ext>
              </a:extLst>
            </p:cNvPr>
            <p:cNvSpPr/>
            <p:nvPr/>
          </p:nvSpPr>
          <p:spPr>
            <a:xfrm>
              <a:off x="7843633" y="5279922"/>
              <a:ext cx="3883569" cy="71558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>
                <a:spcBef>
                  <a:spcPts val="300"/>
                </a:spcBef>
              </a:pPr>
              <a:r>
                <a:rPr lang="en-ID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GISTICS</a:t>
              </a:r>
            </a:p>
            <a:p>
              <a:pPr algn="r">
                <a:spcBef>
                  <a:spcPts val="300"/>
                </a:spcBef>
              </a:pP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olor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sit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ectetur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ipiscing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it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  <a:endPara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Cambria" panose="02040503050406030204" pitchFamily="18" charset="0"/>
              </a:endParaRPr>
            </a:p>
          </p:txBody>
        </p:sp>
        <p:sp>
          <p:nvSpPr>
            <p:cNvPr id="124" name="Rectangle 123">
              <a:extLst>
                <a:ext uri="{FF2B5EF4-FFF2-40B4-BE49-F238E27FC236}">
                  <a16:creationId xmlns="" xmlns:a16="http://schemas.microsoft.com/office/drawing/2014/main" id="{38612CC8-3E6D-4DE5-88FB-230C2962951D}"/>
                </a:ext>
              </a:extLst>
            </p:cNvPr>
            <p:cNvSpPr/>
            <p:nvPr/>
          </p:nvSpPr>
          <p:spPr>
            <a:xfrm>
              <a:off x="8610600" y="3430779"/>
              <a:ext cx="3246438" cy="71558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r">
                <a:spcBef>
                  <a:spcPts val="300"/>
                </a:spcBef>
              </a:pPr>
              <a:r>
                <a:rPr lang="en-ID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UCCESSFUL OPERATION</a:t>
              </a:r>
            </a:p>
            <a:p>
              <a:pPr algn="r">
                <a:spcBef>
                  <a:spcPts val="300"/>
                </a:spcBef>
              </a:pP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Lorem ipsum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dolor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sit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met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,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onsectetur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dipiscing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</a:t>
              </a:r>
              <a:r>
                <a:rPr lang="en-ID" sz="1400" dirty="0" err="1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elit</a:t>
              </a:r>
              <a:r>
                <a:rPr lang="en-ID" sz="14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. </a:t>
              </a:r>
              <a:endPara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Cambria" panose="02040503050406030204" pitchFamily="18" charset="0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22822151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8505CDED-13AE-40F0-87D6-E4A6DDAE0C42}"/>
              </a:ext>
            </a:extLst>
          </p:cNvPr>
          <p:cNvSpPr txBox="1"/>
          <p:nvPr/>
        </p:nvSpPr>
        <p:spPr>
          <a:xfrm>
            <a:off x="391886" y="138113"/>
            <a:ext cx="11408228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>
                <a:solidFill>
                  <a:schemeClr val="tx2"/>
                </a:solidFill>
                <a:latin typeface="+mj-lt"/>
              </a:rPr>
              <a:t>SUPPLY CHAIN</a:t>
            </a:r>
            <a:endParaRPr lang="en-ID" sz="4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650DC6E6-7E8C-4810-BA99-8139F7C1E125}"/>
              </a:ext>
            </a:extLst>
          </p:cNvPr>
          <p:cNvSpPr/>
          <p:nvPr/>
        </p:nvSpPr>
        <p:spPr>
          <a:xfrm>
            <a:off x="334962" y="815221"/>
            <a:ext cx="1152207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lo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l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D372E057-0BFB-4CB4-8BB3-967DEB9AF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BA98C-1060-4864-8096-9350DC016A42}" type="datetime1">
              <a:rPr lang="en-ID" smtClean="0"/>
              <a:pPr/>
              <a:t>6/27/2020</a:t>
            </a:fld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24DC781-AC70-4CCD-8B70-39BA47EBA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89122-6C24-49FD-BEBC-7A811562A5F5}" type="slidenum">
              <a:rPr lang="en-ID" smtClean="0"/>
              <a:pPr/>
              <a:t>7</a:t>
            </a:fld>
            <a:endParaRPr lang="en-ID"/>
          </a:p>
        </p:txBody>
      </p:sp>
      <p:sp>
        <p:nvSpPr>
          <p:cNvPr id="23" name="Freeform 97">
            <a:extLst>
              <a:ext uri="{FF2B5EF4-FFF2-40B4-BE49-F238E27FC236}">
                <a16:creationId xmlns="" xmlns:a16="http://schemas.microsoft.com/office/drawing/2014/main" id="{670BE476-52D8-4F7E-9B90-02AA6F3EB4D2}"/>
              </a:ext>
            </a:extLst>
          </p:cNvPr>
          <p:cNvSpPr>
            <a:spLocks noEditPoints="1"/>
          </p:cNvSpPr>
          <p:nvPr/>
        </p:nvSpPr>
        <p:spPr bwMode="auto">
          <a:xfrm>
            <a:off x="640410" y="1408942"/>
            <a:ext cx="2119312" cy="2119312"/>
          </a:xfrm>
          <a:custGeom>
            <a:avLst/>
            <a:gdLst>
              <a:gd name="T0" fmla="*/ 677 w 714"/>
              <a:gd name="T1" fmla="*/ 212 h 715"/>
              <a:gd name="T2" fmla="*/ 626 w 714"/>
              <a:gd name="T3" fmla="*/ 179 h 715"/>
              <a:gd name="T4" fmla="*/ 573 w 714"/>
              <a:gd name="T5" fmla="*/ 139 h 715"/>
              <a:gd name="T6" fmla="*/ 553 w 714"/>
              <a:gd name="T7" fmla="*/ 94 h 715"/>
              <a:gd name="T8" fmla="*/ 516 w 714"/>
              <a:gd name="T9" fmla="*/ 53 h 715"/>
              <a:gd name="T10" fmla="*/ 421 w 714"/>
              <a:gd name="T11" fmla="*/ 60 h 715"/>
              <a:gd name="T12" fmla="*/ 429 w 714"/>
              <a:gd name="T13" fmla="*/ 26 h 715"/>
              <a:gd name="T14" fmla="*/ 22 w 714"/>
              <a:gd name="T15" fmla="*/ 436 h 715"/>
              <a:gd name="T16" fmla="*/ 39 w 714"/>
              <a:gd name="T17" fmla="*/ 451 h 715"/>
              <a:gd name="T18" fmla="*/ 60 w 714"/>
              <a:gd name="T19" fmla="*/ 465 h 715"/>
              <a:gd name="T20" fmla="*/ 108 w 714"/>
              <a:gd name="T21" fmla="*/ 446 h 715"/>
              <a:gd name="T22" fmla="*/ 102 w 714"/>
              <a:gd name="T23" fmla="*/ 508 h 715"/>
              <a:gd name="T24" fmla="*/ 146 w 714"/>
              <a:gd name="T25" fmla="*/ 552 h 715"/>
              <a:gd name="T26" fmla="*/ 190 w 714"/>
              <a:gd name="T27" fmla="*/ 596 h 715"/>
              <a:gd name="T28" fmla="*/ 214 w 714"/>
              <a:gd name="T29" fmla="*/ 647 h 715"/>
              <a:gd name="T30" fmla="*/ 296 w 714"/>
              <a:gd name="T31" fmla="*/ 709 h 715"/>
              <a:gd name="T32" fmla="*/ 684 w 714"/>
              <a:gd name="T33" fmla="*/ 227 h 715"/>
              <a:gd name="T34" fmla="*/ 434 w 714"/>
              <a:gd name="T35" fmla="*/ 24 h 715"/>
              <a:gd name="T36" fmla="*/ 9 w 714"/>
              <a:gd name="T37" fmla="*/ 371 h 715"/>
              <a:gd name="T38" fmla="*/ 37 w 714"/>
              <a:gd name="T39" fmla="*/ 344 h 715"/>
              <a:gd name="T40" fmla="*/ 45 w 714"/>
              <a:gd name="T41" fmla="*/ 192 h 715"/>
              <a:gd name="T42" fmla="*/ 64 w 714"/>
              <a:gd name="T43" fmla="*/ 419 h 715"/>
              <a:gd name="T44" fmla="*/ 84 w 714"/>
              <a:gd name="T45" fmla="*/ 332 h 715"/>
              <a:gd name="T46" fmla="*/ 87 w 714"/>
              <a:gd name="T47" fmla="*/ 502 h 715"/>
              <a:gd name="T48" fmla="*/ 234 w 714"/>
              <a:gd name="T49" fmla="*/ 679 h 715"/>
              <a:gd name="T50" fmla="*/ 287 w 714"/>
              <a:gd name="T51" fmla="*/ 641 h 715"/>
              <a:gd name="T52" fmla="*/ 303 w 714"/>
              <a:gd name="T53" fmla="*/ 67 h 715"/>
              <a:gd name="T54" fmla="*/ 270 w 714"/>
              <a:gd name="T55" fmla="*/ 571 h 715"/>
              <a:gd name="T56" fmla="*/ 246 w 714"/>
              <a:gd name="T57" fmla="*/ 640 h 715"/>
              <a:gd name="T58" fmla="*/ 249 w 714"/>
              <a:gd name="T59" fmla="*/ 640 h 715"/>
              <a:gd name="T60" fmla="*/ 227 w 714"/>
              <a:gd name="T61" fmla="*/ 527 h 715"/>
              <a:gd name="T62" fmla="*/ 209 w 714"/>
              <a:gd name="T63" fmla="*/ 468 h 715"/>
              <a:gd name="T64" fmla="*/ 178 w 714"/>
              <a:gd name="T65" fmla="*/ 383 h 715"/>
              <a:gd name="T66" fmla="*/ 165 w 714"/>
              <a:gd name="T67" fmla="*/ 345 h 715"/>
              <a:gd name="T68" fmla="*/ 156 w 714"/>
              <a:gd name="T69" fmla="*/ 435 h 715"/>
              <a:gd name="T70" fmla="*/ 132 w 714"/>
              <a:gd name="T71" fmla="*/ 280 h 715"/>
              <a:gd name="T72" fmla="*/ 123 w 714"/>
              <a:gd name="T73" fmla="*/ 474 h 715"/>
              <a:gd name="T74" fmla="*/ 154 w 714"/>
              <a:gd name="T75" fmla="*/ 484 h 715"/>
              <a:gd name="T76" fmla="*/ 189 w 714"/>
              <a:gd name="T77" fmla="*/ 398 h 715"/>
              <a:gd name="T78" fmla="*/ 235 w 714"/>
              <a:gd name="T79" fmla="*/ 592 h 715"/>
              <a:gd name="T80" fmla="*/ 277 w 714"/>
              <a:gd name="T81" fmla="*/ 700 h 715"/>
              <a:gd name="T82" fmla="*/ 335 w 714"/>
              <a:gd name="T83" fmla="*/ 131 h 715"/>
              <a:gd name="T84" fmla="*/ 522 w 714"/>
              <a:gd name="T85" fmla="*/ 181 h 715"/>
              <a:gd name="T86" fmla="*/ 480 w 714"/>
              <a:gd name="T87" fmla="*/ 95 h 715"/>
              <a:gd name="T88" fmla="*/ 502 w 714"/>
              <a:gd name="T89" fmla="*/ 132 h 715"/>
              <a:gd name="T90" fmla="*/ 509 w 714"/>
              <a:gd name="T91" fmla="*/ 36 h 715"/>
              <a:gd name="T92" fmla="*/ 462 w 714"/>
              <a:gd name="T93" fmla="*/ 49 h 715"/>
              <a:gd name="T94" fmla="*/ 406 w 714"/>
              <a:gd name="T95" fmla="*/ 125 h 715"/>
              <a:gd name="T96" fmla="*/ 372 w 714"/>
              <a:gd name="T97" fmla="*/ 610 h 715"/>
              <a:gd name="T98" fmla="*/ 398 w 714"/>
              <a:gd name="T99" fmla="*/ 679 h 715"/>
              <a:gd name="T100" fmla="*/ 454 w 714"/>
              <a:gd name="T101" fmla="*/ 644 h 715"/>
              <a:gd name="T102" fmla="*/ 469 w 714"/>
              <a:gd name="T103" fmla="*/ 168 h 715"/>
              <a:gd name="T104" fmla="*/ 522 w 714"/>
              <a:gd name="T105" fmla="*/ 285 h 715"/>
              <a:gd name="T106" fmla="*/ 585 w 714"/>
              <a:gd name="T107" fmla="*/ 213 h 715"/>
              <a:gd name="T108" fmla="*/ 544 w 714"/>
              <a:gd name="T109" fmla="*/ 168 h 715"/>
              <a:gd name="T110" fmla="*/ 573 w 714"/>
              <a:gd name="T111" fmla="*/ 236 h 715"/>
              <a:gd name="T112" fmla="*/ 595 w 714"/>
              <a:gd name="T113" fmla="*/ 470 h 715"/>
              <a:gd name="T114" fmla="*/ 651 w 714"/>
              <a:gd name="T115" fmla="*/ 272 h 715"/>
              <a:gd name="T116" fmla="*/ 630 w 714"/>
              <a:gd name="T117" fmla="*/ 261 h 715"/>
              <a:gd name="T118" fmla="*/ 615 w 714"/>
              <a:gd name="T119" fmla="*/ 194 h 715"/>
              <a:gd name="T120" fmla="*/ 625 w 714"/>
              <a:gd name="T121" fmla="*/ 381 h 715"/>
              <a:gd name="T122" fmla="*/ 658 w 714"/>
              <a:gd name="T123" fmla="*/ 277 h 715"/>
              <a:gd name="T124" fmla="*/ 686 w 714"/>
              <a:gd name="T125" fmla="*/ 342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14" h="715">
                <a:moveTo>
                  <a:pt x="710" y="304"/>
                </a:moveTo>
                <a:cubicBezTo>
                  <a:pt x="710" y="305"/>
                  <a:pt x="710" y="305"/>
                  <a:pt x="709" y="305"/>
                </a:cubicBezTo>
                <a:cubicBezTo>
                  <a:pt x="709" y="304"/>
                  <a:pt x="710" y="303"/>
                  <a:pt x="710" y="303"/>
                </a:cubicBezTo>
                <a:cubicBezTo>
                  <a:pt x="710" y="303"/>
                  <a:pt x="710" y="303"/>
                  <a:pt x="710" y="303"/>
                </a:cubicBezTo>
                <a:cubicBezTo>
                  <a:pt x="709" y="297"/>
                  <a:pt x="708" y="292"/>
                  <a:pt x="707" y="286"/>
                </a:cubicBezTo>
                <a:cubicBezTo>
                  <a:pt x="707" y="287"/>
                  <a:pt x="707" y="288"/>
                  <a:pt x="706" y="290"/>
                </a:cubicBezTo>
                <a:cubicBezTo>
                  <a:pt x="706" y="289"/>
                  <a:pt x="707" y="289"/>
                  <a:pt x="707" y="289"/>
                </a:cubicBezTo>
                <a:cubicBezTo>
                  <a:pt x="707" y="290"/>
                  <a:pt x="706" y="290"/>
                  <a:pt x="706" y="290"/>
                </a:cubicBezTo>
                <a:cubicBezTo>
                  <a:pt x="706" y="292"/>
                  <a:pt x="706" y="294"/>
                  <a:pt x="705" y="295"/>
                </a:cubicBezTo>
                <a:cubicBezTo>
                  <a:pt x="703" y="298"/>
                  <a:pt x="703" y="301"/>
                  <a:pt x="703" y="301"/>
                </a:cubicBezTo>
                <a:cubicBezTo>
                  <a:pt x="702" y="302"/>
                  <a:pt x="700" y="300"/>
                  <a:pt x="699" y="300"/>
                </a:cubicBezTo>
                <a:cubicBezTo>
                  <a:pt x="697" y="301"/>
                  <a:pt x="697" y="303"/>
                  <a:pt x="696" y="300"/>
                </a:cubicBezTo>
                <a:cubicBezTo>
                  <a:pt x="696" y="299"/>
                  <a:pt x="696" y="301"/>
                  <a:pt x="695" y="298"/>
                </a:cubicBezTo>
                <a:cubicBezTo>
                  <a:pt x="695" y="297"/>
                  <a:pt x="697" y="291"/>
                  <a:pt x="700" y="292"/>
                </a:cubicBezTo>
                <a:cubicBezTo>
                  <a:pt x="701" y="293"/>
                  <a:pt x="702" y="295"/>
                  <a:pt x="703" y="292"/>
                </a:cubicBezTo>
                <a:cubicBezTo>
                  <a:pt x="703" y="291"/>
                  <a:pt x="703" y="290"/>
                  <a:pt x="703" y="289"/>
                </a:cubicBezTo>
                <a:cubicBezTo>
                  <a:pt x="703" y="287"/>
                  <a:pt x="705" y="284"/>
                  <a:pt x="706" y="282"/>
                </a:cubicBezTo>
                <a:cubicBezTo>
                  <a:pt x="705" y="276"/>
                  <a:pt x="704" y="270"/>
                  <a:pt x="702" y="264"/>
                </a:cubicBezTo>
                <a:cubicBezTo>
                  <a:pt x="701" y="268"/>
                  <a:pt x="695" y="273"/>
                  <a:pt x="691" y="270"/>
                </a:cubicBezTo>
                <a:cubicBezTo>
                  <a:pt x="691" y="271"/>
                  <a:pt x="691" y="270"/>
                  <a:pt x="690" y="270"/>
                </a:cubicBezTo>
                <a:cubicBezTo>
                  <a:pt x="690" y="270"/>
                  <a:pt x="690" y="270"/>
                  <a:pt x="690" y="270"/>
                </a:cubicBezTo>
                <a:cubicBezTo>
                  <a:pt x="690" y="271"/>
                  <a:pt x="690" y="270"/>
                  <a:pt x="690" y="270"/>
                </a:cubicBezTo>
                <a:cubicBezTo>
                  <a:pt x="690" y="270"/>
                  <a:pt x="690" y="270"/>
                  <a:pt x="690" y="269"/>
                </a:cubicBezTo>
                <a:cubicBezTo>
                  <a:pt x="689" y="270"/>
                  <a:pt x="688" y="271"/>
                  <a:pt x="688" y="271"/>
                </a:cubicBezTo>
                <a:cubicBezTo>
                  <a:pt x="686" y="270"/>
                  <a:pt x="686" y="273"/>
                  <a:pt x="685" y="274"/>
                </a:cubicBezTo>
                <a:cubicBezTo>
                  <a:pt x="684" y="274"/>
                  <a:pt x="682" y="273"/>
                  <a:pt x="682" y="275"/>
                </a:cubicBezTo>
                <a:cubicBezTo>
                  <a:pt x="681" y="270"/>
                  <a:pt x="674" y="279"/>
                  <a:pt x="674" y="281"/>
                </a:cubicBezTo>
                <a:cubicBezTo>
                  <a:pt x="675" y="280"/>
                  <a:pt x="681" y="280"/>
                  <a:pt x="680" y="280"/>
                </a:cubicBezTo>
                <a:cubicBezTo>
                  <a:pt x="680" y="280"/>
                  <a:pt x="681" y="280"/>
                  <a:pt x="681" y="280"/>
                </a:cubicBezTo>
                <a:cubicBezTo>
                  <a:pt x="681" y="280"/>
                  <a:pt x="681" y="280"/>
                  <a:pt x="681" y="280"/>
                </a:cubicBezTo>
                <a:cubicBezTo>
                  <a:pt x="681" y="279"/>
                  <a:pt x="682" y="278"/>
                  <a:pt x="682" y="279"/>
                </a:cubicBezTo>
                <a:cubicBezTo>
                  <a:pt x="684" y="280"/>
                  <a:pt x="681" y="280"/>
                  <a:pt x="681" y="281"/>
                </a:cubicBezTo>
                <a:cubicBezTo>
                  <a:pt x="681" y="282"/>
                  <a:pt x="681" y="282"/>
                  <a:pt x="681" y="282"/>
                </a:cubicBezTo>
                <a:cubicBezTo>
                  <a:pt x="682" y="282"/>
                  <a:pt x="683" y="282"/>
                  <a:pt x="683" y="284"/>
                </a:cubicBezTo>
                <a:cubicBezTo>
                  <a:pt x="683" y="284"/>
                  <a:pt x="683" y="284"/>
                  <a:pt x="683" y="284"/>
                </a:cubicBezTo>
                <a:cubicBezTo>
                  <a:pt x="683" y="284"/>
                  <a:pt x="684" y="285"/>
                  <a:pt x="684" y="286"/>
                </a:cubicBezTo>
                <a:cubicBezTo>
                  <a:pt x="684" y="286"/>
                  <a:pt x="681" y="289"/>
                  <a:pt x="681" y="290"/>
                </a:cubicBezTo>
                <a:cubicBezTo>
                  <a:pt x="680" y="290"/>
                  <a:pt x="679" y="295"/>
                  <a:pt x="678" y="295"/>
                </a:cubicBezTo>
                <a:cubicBezTo>
                  <a:pt x="676" y="295"/>
                  <a:pt x="679" y="293"/>
                  <a:pt x="677" y="292"/>
                </a:cubicBezTo>
                <a:cubicBezTo>
                  <a:pt x="677" y="291"/>
                  <a:pt x="675" y="293"/>
                  <a:pt x="674" y="293"/>
                </a:cubicBezTo>
                <a:cubicBezTo>
                  <a:pt x="673" y="292"/>
                  <a:pt x="674" y="291"/>
                  <a:pt x="673" y="290"/>
                </a:cubicBezTo>
                <a:cubicBezTo>
                  <a:pt x="673" y="290"/>
                  <a:pt x="671" y="292"/>
                  <a:pt x="670" y="290"/>
                </a:cubicBezTo>
                <a:cubicBezTo>
                  <a:pt x="669" y="288"/>
                  <a:pt x="672" y="289"/>
                  <a:pt x="672" y="288"/>
                </a:cubicBezTo>
                <a:cubicBezTo>
                  <a:pt x="672" y="287"/>
                  <a:pt x="671" y="287"/>
                  <a:pt x="671" y="287"/>
                </a:cubicBezTo>
                <a:cubicBezTo>
                  <a:pt x="671" y="286"/>
                  <a:pt x="672" y="285"/>
                  <a:pt x="672" y="283"/>
                </a:cubicBezTo>
                <a:cubicBezTo>
                  <a:pt x="672" y="283"/>
                  <a:pt x="672" y="282"/>
                  <a:pt x="672" y="282"/>
                </a:cubicBezTo>
                <a:cubicBezTo>
                  <a:pt x="673" y="279"/>
                  <a:pt x="678" y="276"/>
                  <a:pt x="677" y="271"/>
                </a:cubicBezTo>
                <a:cubicBezTo>
                  <a:pt x="676" y="270"/>
                  <a:pt x="675" y="271"/>
                  <a:pt x="674" y="272"/>
                </a:cubicBezTo>
                <a:cubicBezTo>
                  <a:pt x="675" y="269"/>
                  <a:pt x="676" y="260"/>
                  <a:pt x="681" y="259"/>
                </a:cubicBezTo>
                <a:cubicBezTo>
                  <a:pt x="681" y="259"/>
                  <a:pt x="684" y="259"/>
                  <a:pt x="685" y="259"/>
                </a:cubicBezTo>
                <a:cubicBezTo>
                  <a:pt x="685" y="259"/>
                  <a:pt x="686" y="260"/>
                  <a:pt x="687" y="261"/>
                </a:cubicBezTo>
                <a:cubicBezTo>
                  <a:pt x="687" y="261"/>
                  <a:pt x="687" y="261"/>
                  <a:pt x="688" y="261"/>
                </a:cubicBezTo>
                <a:cubicBezTo>
                  <a:pt x="688" y="261"/>
                  <a:pt x="688" y="261"/>
                  <a:pt x="688" y="261"/>
                </a:cubicBezTo>
                <a:cubicBezTo>
                  <a:pt x="688" y="262"/>
                  <a:pt x="688" y="262"/>
                  <a:pt x="689" y="262"/>
                </a:cubicBezTo>
                <a:cubicBezTo>
                  <a:pt x="690" y="261"/>
                  <a:pt x="691" y="259"/>
                  <a:pt x="692" y="258"/>
                </a:cubicBezTo>
                <a:cubicBezTo>
                  <a:pt x="691" y="257"/>
                  <a:pt x="690" y="258"/>
                  <a:pt x="689" y="259"/>
                </a:cubicBezTo>
                <a:cubicBezTo>
                  <a:pt x="689" y="258"/>
                  <a:pt x="689" y="258"/>
                  <a:pt x="689" y="258"/>
                </a:cubicBezTo>
                <a:cubicBezTo>
                  <a:pt x="688" y="258"/>
                  <a:pt x="687" y="258"/>
                  <a:pt x="687" y="257"/>
                </a:cubicBezTo>
                <a:cubicBezTo>
                  <a:pt x="686" y="256"/>
                  <a:pt x="688" y="256"/>
                  <a:pt x="688" y="256"/>
                </a:cubicBezTo>
                <a:cubicBezTo>
                  <a:pt x="689" y="254"/>
                  <a:pt x="687" y="255"/>
                  <a:pt x="688" y="253"/>
                </a:cubicBezTo>
                <a:cubicBezTo>
                  <a:pt x="689" y="252"/>
                  <a:pt x="692" y="252"/>
                  <a:pt x="692" y="251"/>
                </a:cubicBezTo>
                <a:cubicBezTo>
                  <a:pt x="692" y="251"/>
                  <a:pt x="692" y="250"/>
                  <a:pt x="692" y="250"/>
                </a:cubicBezTo>
                <a:cubicBezTo>
                  <a:pt x="692" y="250"/>
                  <a:pt x="691" y="249"/>
                  <a:pt x="691" y="249"/>
                </a:cubicBezTo>
                <a:cubicBezTo>
                  <a:pt x="691" y="249"/>
                  <a:pt x="692" y="247"/>
                  <a:pt x="691" y="246"/>
                </a:cubicBezTo>
                <a:cubicBezTo>
                  <a:pt x="690" y="245"/>
                  <a:pt x="690" y="246"/>
                  <a:pt x="690" y="246"/>
                </a:cubicBezTo>
                <a:cubicBezTo>
                  <a:pt x="689" y="246"/>
                  <a:pt x="688" y="242"/>
                  <a:pt x="688" y="242"/>
                </a:cubicBezTo>
                <a:cubicBezTo>
                  <a:pt x="689" y="240"/>
                  <a:pt x="691" y="242"/>
                  <a:pt x="693" y="241"/>
                </a:cubicBezTo>
                <a:cubicBezTo>
                  <a:pt x="692" y="241"/>
                  <a:pt x="693" y="239"/>
                  <a:pt x="694" y="239"/>
                </a:cubicBezTo>
                <a:cubicBezTo>
                  <a:pt x="693" y="235"/>
                  <a:pt x="691" y="231"/>
                  <a:pt x="690" y="227"/>
                </a:cubicBezTo>
                <a:cubicBezTo>
                  <a:pt x="690" y="227"/>
                  <a:pt x="689" y="227"/>
                  <a:pt x="689" y="227"/>
                </a:cubicBezTo>
                <a:cubicBezTo>
                  <a:pt x="688" y="227"/>
                  <a:pt x="689" y="225"/>
                  <a:pt x="688" y="224"/>
                </a:cubicBezTo>
                <a:cubicBezTo>
                  <a:pt x="688" y="223"/>
                  <a:pt x="688" y="223"/>
                  <a:pt x="688" y="223"/>
                </a:cubicBezTo>
                <a:cubicBezTo>
                  <a:pt x="688" y="222"/>
                  <a:pt x="688" y="222"/>
                  <a:pt x="688" y="221"/>
                </a:cubicBezTo>
                <a:cubicBezTo>
                  <a:pt x="685" y="222"/>
                  <a:pt x="682" y="222"/>
                  <a:pt x="681" y="222"/>
                </a:cubicBezTo>
                <a:cubicBezTo>
                  <a:pt x="679" y="222"/>
                  <a:pt x="680" y="219"/>
                  <a:pt x="678" y="220"/>
                </a:cubicBezTo>
                <a:cubicBezTo>
                  <a:pt x="680" y="218"/>
                  <a:pt x="676" y="218"/>
                  <a:pt x="676" y="216"/>
                </a:cubicBezTo>
                <a:cubicBezTo>
                  <a:pt x="675" y="215"/>
                  <a:pt x="677" y="215"/>
                  <a:pt x="677" y="215"/>
                </a:cubicBezTo>
                <a:cubicBezTo>
                  <a:pt x="678" y="214"/>
                  <a:pt x="676" y="213"/>
                  <a:pt x="677" y="212"/>
                </a:cubicBezTo>
                <a:cubicBezTo>
                  <a:pt x="677" y="212"/>
                  <a:pt x="677" y="212"/>
                  <a:pt x="677" y="212"/>
                </a:cubicBezTo>
                <a:cubicBezTo>
                  <a:pt x="676" y="212"/>
                  <a:pt x="675" y="210"/>
                  <a:pt x="675" y="209"/>
                </a:cubicBezTo>
                <a:cubicBezTo>
                  <a:pt x="674" y="209"/>
                  <a:pt x="674" y="209"/>
                  <a:pt x="673" y="209"/>
                </a:cubicBezTo>
                <a:cubicBezTo>
                  <a:pt x="674" y="210"/>
                  <a:pt x="674" y="210"/>
                  <a:pt x="674" y="211"/>
                </a:cubicBezTo>
                <a:cubicBezTo>
                  <a:pt x="674" y="212"/>
                  <a:pt x="674" y="212"/>
                  <a:pt x="673" y="213"/>
                </a:cubicBezTo>
                <a:cubicBezTo>
                  <a:pt x="673" y="214"/>
                  <a:pt x="673" y="214"/>
                  <a:pt x="673" y="215"/>
                </a:cubicBezTo>
                <a:cubicBezTo>
                  <a:pt x="673" y="215"/>
                  <a:pt x="673" y="215"/>
                  <a:pt x="673" y="215"/>
                </a:cubicBezTo>
                <a:cubicBezTo>
                  <a:pt x="673" y="215"/>
                  <a:pt x="672" y="216"/>
                  <a:pt x="672" y="216"/>
                </a:cubicBezTo>
                <a:cubicBezTo>
                  <a:pt x="671" y="217"/>
                  <a:pt x="669" y="218"/>
                  <a:pt x="669" y="220"/>
                </a:cubicBezTo>
                <a:cubicBezTo>
                  <a:pt x="670" y="217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7" y="219"/>
                </a:cubicBezTo>
                <a:cubicBezTo>
                  <a:pt x="668" y="220"/>
                  <a:pt x="668" y="224"/>
                  <a:pt x="667" y="225"/>
                </a:cubicBezTo>
                <a:cubicBezTo>
                  <a:pt x="667" y="225"/>
                  <a:pt x="667" y="224"/>
                  <a:pt x="666" y="224"/>
                </a:cubicBezTo>
                <a:cubicBezTo>
                  <a:pt x="665" y="225"/>
                  <a:pt x="663" y="228"/>
                  <a:pt x="660" y="228"/>
                </a:cubicBezTo>
                <a:cubicBezTo>
                  <a:pt x="661" y="226"/>
                  <a:pt x="663" y="226"/>
                  <a:pt x="663" y="225"/>
                </a:cubicBezTo>
                <a:cubicBezTo>
                  <a:pt x="663" y="224"/>
                  <a:pt x="662" y="225"/>
                  <a:pt x="661" y="224"/>
                </a:cubicBezTo>
                <a:cubicBezTo>
                  <a:pt x="660" y="223"/>
                  <a:pt x="662" y="219"/>
                  <a:pt x="665" y="218"/>
                </a:cubicBezTo>
                <a:cubicBezTo>
                  <a:pt x="665" y="217"/>
                  <a:pt x="665" y="216"/>
                  <a:pt x="665" y="216"/>
                </a:cubicBezTo>
                <a:cubicBezTo>
                  <a:pt x="665" y="215"/>
                  <a:pt x="664" y="215"/>
                  <a:pt x="664" y="215"/>
                </a:cubicBezTo>
                <a:cubicBezTo>
                  <a:pt x="663" y="217"/>
                  <a:pt x="661" y="218"/>
                  <a:pt x="660" y="220"/>
                </a:cubicBezTo>
                <a:cubicBezTo>
                  <a:pt x="660" y="221"/>
                  <a:pt x="661" y="222"/>
                  <a:pt x="660" y="223"/>
                </a:cubicBezTo>
                <a:cubicBezTo>
                  <a:pt x="660" y="223"/>
                  <a:pt x="659" y="224"/>
                  <a:pt x="659" y="225"/>
                </a:cubicBezTo>
                <a:cubicBezTo>
                  <a:pt x="659" y="226"/>
                  <a:pt x="661" y="225"/>
                  <a:pt x="660" y="226"/>
                </a:cubicBezTo>
                <a:cubicBezTo>
                  <a:pt x="660" y="227"/>
                  <a:pt x="659" y="228"/>
                  <a:pt x="659" y="227"/>
                </a:cubicBezTo>
                <a:cubicBezTo>
                  <a:pt x="658" y="227"/>
                  <a:pt x="658" y="225"/>
                  <a:pt x="657" y="224"/>
                </a:cubicBezTo>
                <a:cubicBezTo>
                  <a:pt x="657" y="223"/>
                  <a:pt x="656" y="224"/>
                  <a:pt x="655" y="223"/>
                </a:cubicBezTo>
                <a:cubicBezTo>
                  <a:pt x="653" y="223"/>
                  <a:pt x="653" y="221"/>
                  <a:pt x="650" y="224"/>
                </a:cubicBezTo>
                <a:cubicBezTo>
                  <a:pt x="653" y="220"/>
                  <a:pt x="649" y="222"/>
                  <a:pt x="648" y="221"/>
                </a:cubicBezTo>
                <a:cubicBezTo>
                  <a:pt x="648" y="222"/>
                  <a:pt x="647" y="215"/>
                  <a:pt x="647" y="215"/>
                </a:cubicBezTo>
                <a:cubicBezTo>
                  <a:pt x="647" y="214"/>
                  <a:pt x="648" y="211"/>
                  <a:pt x="648" y="209"/>
                </a:cubicBezTo>
                <a:cubicBezTo>
                  <a:pt x="648" y="210"/>
                  <a:pt x="648" y="210"/>
                  <a:pt x="647" y="210"/>
                </a:cubicBezTo>
                <a:cubicBezTo>
                  <a:pt x="647" y="210"/>
                  <a:pt x="647" y="209"/>
                  <a:pt x="648" y="208"/>
                </a:cubicBezTo>
                <a:cubicBezTo>
                  <a:pt x="648" y="208"/>
                  <a:pt x="648" y="208"/>
                  <a:pt x="648" y="208"/>
                </a:cubicBezTo>
                <a:cubicBezTo>
                  <a:pt x="647" y="208"/>
                  <a:pt x="647" y="209"/>
                  <a:pt x="647" y="209"/>
                </a:cubicBezTo>
                <a:cubicBezTo>
                  <a:pt x="647" y="209"/>
                  <a:pt x="647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4" y="211"/>
                  <a:pt x="639" y="212"/>
                  <a:pt x="635" y="212"/>
                </a:cubicBezTo>
                <a:cubicBezTo>
                  <a:pt x="635" y="213"/>
                  <a:pt x="635" y="214"/>
                  <a:pt x="635" y="214"/>
                </a:cubicBezTo>
                <a:cubicBezTo>
                  <a:pt x="634" y="214"/>
                  <a:pt x="634" y="213"/>
                  <a:pt x="634" y="212"/>
                </a:cubicBezTo>
                <a:cubicBezTo>
                  <a:pt x="633" y="212"/>
                  <a:pt x="633" y="212"/>
                  <a:pt x="633" y="212"/>
                </a:cubicBezTo>
                <a:cubicBezTo>
                  <a:pt x="633" y="211"/>
                  <a:pt x="633" y="210"/>
                  <a:pt x="635" y="210"/>
                </a:cubicBezTo>
                <a:cubicBezTo>
                  <a:pt x="634" y="210"/>
                  <a:pt x="634" y="209"/>
                  <a:pt x="634" y="209"/>
                </a:cubicBezTo>
                <a:cubicBezTo>
                  <a:pt x="633" y="208"/>
                  <a:pt x="634" y="207"/>
                  <a:pt x="635" y="206"/>
                </a:cubicBezTo>
                <a:cubicBezTo>
                  <a:pt x="634" y="205"/>
                  <a:pt x="634" y="204"/>
                  <a:pt x="635" y="203"/>
                </a:cubicBezTo>
                <a:cubicBezTo>
                  <a:pt x="636" y="203"/>
                  <a:pt x="636" y="203"/>
                  <a:pt x="637" y="203"/>
                </a:cubicBezTo>
                <a:cubicBezTo>
                  <a:pt x="637" y="202"/>
                  <a:pt x="636" y="202"/>
                  <a:pt x="635" y="203"/>
                </a:cubicBezTo>
                <a:cubicBezTo>
                  <a:pt x="634" y="203"/>
                  <a:pt x="632" y="206"/>
                  <a:pt x="632" y="206"/>
                </a:cubicBezTo>
                <a:cubicBezTo>
                  <a:pt x="632" y="207"/>
                  <a:pt x="632" y="207"/>
                  <a:pt x="633" y="207"/>
                </a:cubicBezTo>
                <a:cubicBezTo>
                  <a:pt x="629" y="209"/>
                  <a:pt x="629" y="201"/>
                  <a:pt x="631" y="201"/>
                </a:cubicBezTo>
                <a:cubicBezTo>
                  <a:pt x="631" y="201"/>
                  <a:pt x="632" y="203"/>
                  <a:pt x="632" y="203"/>
                </a:cubicBezTo>
                <a:cubicBezTo>
                  <a:pt x="633" y="203"/>
                  <a:pt x="636" y="199"/>
                  <a:pt x="638" y="198"/>
                </a:cubicBezTo>
                <a:cubicBezTo>
                  <a:pt x="638" y="198"/>
                  <a:pt x="638" y="197"/>
                  <a:pt x="639" y="197"/>
                </a:cubicBezTo>
                <a:cubicBezTo>
                  <a:pt x="639" y="196"/>
                  <a:pt x="637" y="195"/>
                  <a:pt x="637" y="194"/>
                </a:cubicBezTo>
                <a:cubicBezTo>
                  <a:pt x="637" y="193"/>
                  <a:pt x="639" y="193"/>
                  <a:pt x="639" y="193"/>
                </a:cubicBezTo>
                <a:cubicBezTo>
                  <a:pt x="639" y="192"/>
                  <a:pt x="640" y="189"/>
                  <a:pt x="639" y="189"/>
                </a:cubicBezTo>
                <a:cubicBezTo>
                  <a:pt x="639" y="188"/>
                  <a:pt x="637" y="189"/>
                  <a:pt x="638" y="190"/>
                </a:cubicBezTo>
                <a:cubicBezTo>
                  <a:pt x="638" y="190"/>
                  <a:pt x="636" y="188"/>
                  <a:pt x="637" y="187"/>
                </a:cubicBezTo>
                <a:cubicBezTo>
                  <a:pt x="637" y="187"/>
                  <a:pt x="637" y="187"/>
                  <a:pt x="637" y="187"/>
                </a:cubicBezTo>
                <a:cubicBezTo>
                  <a:pt x="637" y="186"/>
                  <a:pt x="637" y="186"/>
                  <a:pt x="636" y="186"/>
                </a:cubicBezTo>
                <a:cubicBezTo>
                  <a:pt x="636" y="187"/>
                  <a:pt x="636" y="188"/>
                  <a:pt x="636" y="188"/>
                </a:cubicBezTo>
                <a:cubicBezTo>
                  <a:pt x="636" y="188"/>
                  <a:pt x="636" y="188"/>
                  <a:pt x="637" y="188"/>
                </a:cubicBezTo>
                <a:cubicBezTo>
                  <a:pt x="637" y="189"/>
                  <a:pt x="637" y="189"/>
                  <a:pt x="636" y="189"/>
                </a:cubicBezTo>
                <a:cubicBezTo>
                  <a:pt x="637" y="190"/>
                  <a:pt x="636" y="191"/>
                  <a:pt x="635" y="190"/>
                </a:cubicBezTo>
                <a:cubicBezTo>
                  <a:pt x="635" y="190"/>
                  <a:pt x="635" y="190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4" y="190"/>
                  <a:pt x="633" y="190"/>
                  <a:pt x="632" y="189"/>
                </a:cubicBezTo>
                <a:cubicBezTo>
                  <a:pt x="631" y="188"/>
                  <a:pt x="631" y="186"/>
                  <a:pt x="632" y="185"/>
                </a:cubicBezTo>
                <a:cubicBezTo>
                  <a:pt x="632" y="185"/>
                  <a:pt x="632" y="185"/>
                  <a:pt x="631" y="185"/>
                </a:cubicBezTo>
                <a:cubicBezTo>
                  <a:pt x="630" y="186"/>
                  <a:pt x="632" y="185"/>
                  <a:pt x="631" y="184"/>
                </a:cubicBezTo>
                <a:cubicBezTo>
                  <a:pt x="630" y="184"/>
                  <a:pt x="630" y="185"/>
                  <a:pt x="630" y="185"/>
                </a:cubicBezTo>
                <a:cubicBezTo>
                  <a:pt x="629" y="185"/>
                  <a:pt x="630" y="185"/>
                  <a:pt x="630" y="185"/>
                </a:cubicBezTo>
                <a:cubicBezTo>
                  <a:pt x="629" y="185"/>
                  <a:pt x="629" y="186"/>
                  <a:pt x="628" y="185"/>
                </a:cubicBezTo>
                <a:cubicBezTo>
                  <a:pt x="625" y="185"/>
                  <a:pt x="628" y="181"/>
                  <a:pt x="626" y="179"/>
                </a:cubicBezTo>
                <a:cubicBezTo>
                  <a:pt x="625" y="180"/>
                  <a:pt x="624" y="180"/>
                  <a:pt x="624" y="180"/>
                </a:cubicBezTo>
                <a:cubicBezTo>
                  <a:pt x="623" y="181"/>
                  <a:pt x="623" y="182"/>
                  <a:pt x="623" y="183"/>
                </a:cubicBezTo>
                <a:cubicBezTo>
                  <a:pt x="624" y="184"/>
                  <a:pt x="625" y="185"/>
                  <a:pt x="624" y="186"/>
                </a:cubicBezTo>
                <a:cubicBezTo>
                  <a:pt x="624" y="191"/>
                  <a:pt x="618" y="190"/>
                  <a:pt x="617" y="188"/>
                </a:cubicBezTo>
                <a:cubicBezTo>
                  <a:pt x="616" y="188"/>
                  <a:pt x="615" y="188"/>
                  <a:pt x="615" y="189"/>
                </a:cubicBezTo>
                <a:cubicBezTo>
                  <a:pt x="615" y="189"/>
                  <a:pt x="616" y="188"/>
                  <a:pt x="615" y="188"/>
                </a:cubicBezTo>
                <a:cubicBezTo>
                  <a:pt x="614" y="189"/>
                  <a:pt x="612" y="190"/>
                  <a:pt x="610" y="190"/>
                </a:cubicBezTo>
                <a:cubicBezTo>
                  <a:pt x="609" y="191"/>
                  <a:pt x="607" y="191"/>
                  <a:pt x="607" y="191"/>
                </a:cubicBezTo>
                <a:cubicBezTo>
                  <a:pt x="607" y="190"/>
                  <a:pt x="608" y="190"/>
                  <a:pt x="609" y="189"/>
                </a:cubicBezTo>
                <a:cubicBezTo>
                  <a:pt x="609" y="189"/>
                  <a:pt x="608" y="189"/>
                  <a:pt x="608" y="189"/>
                </a:cubicBezTo>
                <a:cubicBezTo>
                  <a:pt x="608" y="188"/>
                  <a:pt x="607" y="187"/>
                  <a:pt x="607" y="186"/>
                </a:cubicBezTo>
                <a:cubicBezTo>
                  <a:pt x="606" y="186"/>
                  <a:pt x="604" y="186"/>
                  <a:pt x="605" y="183"/>
                </a:cubicBezTo>
                <a:cubicBezTo>
                  <a:pt x="606" y="181"/>
                  <a:pt x="605" y="180"/>
                  <a:pt x="605" y="179"/>
                </a:cubicBezTo>
                <a:cubicBezTo>
                  <a:pt x="605" y="179"/>
                  <a:pt x="606" y="178"/>
                  <a:pt x="605" y="177"/>
                </a:cubicBezTo>
                <a:cubicBezTo>
                  <a:pt x="604" y="179"/>
                  <a:pt x="603" y="181"/>
                  <a:pt x="601" y="183"/>
                </a:cubicBezTo>
                <a:cubicBezTo>
                  <a:pt x="604" y="184"/>
                  <a:pt x="606" y="186"/>
                  <a:pt x="602" y="189"/>
                </a:cubicBezTo>
                <a:cubicBezTo>
                  <a:pt x="602" y="189"/>
                  <a:pt x="601" y="189"/>
                  <a:pt x="600" y="190"/>
                </a:cubicBezTo>
                <a:cubicBezTo>
                  <a:pt x="602" y="190"/>
                  <a:pt x="602" y="194"/>
                  <a:pt x="599" y="193"/>
                </a:cubicBezTo>
                <a:cubicBezTo>
                  <a:pt x="598" y="192"/>
                  <a:pt x="599" y="191"/>
                  <a:pt x="599" y="191"/>
                </a:cubicBezTo>
                <a:cubicBezTo>
                  <a:pt x="600" y="190"/>
                  <a:pt x="600" y="190"/>
                  <a:pt x="600" y="190"/>
                </a:cubicBezTo>
                <a:cubicBezTo>
                  <a:pt x="598" y="190"/>
                  <a:pt x="596" y="191"/>
                  <a:pt x="595" y="192"/>
                </a:cubicBezTo>
                <a:cubicBezTo>
                  <a:pt x="593" y="194"/>
                  <a:pt x="594" y="195"/>
                  <a:pt x="592" y="194"/>
                </a:cubicBezTo>
                <a:cubicBezTo>
                  <a:pt x="592" y="193"/>
                  <a:pt x="591" y="192"/>
                  <a:pt x="590" y="193"/>
                </a:cubicBezTo>
                <a:cubicBezTo>
                  <a:pt x="590" y="193"/>
                  <a:pt x="587" y="198"/>
                  <a:pt x="587" y="195"/>
                </a:cubicBezTo>
                <a:cubicBezTo>
                  <a:pt x="587" y="194"/>
                  <a:pt x="588" y="194"/>
                  <a:pt x="588" y="194"/>
                </a:cubicBezTo>
                <a:cubicBezTo>
                  <a:pt x="587" y="193"/>
                  <a:pt x="584" y="194"/>
                  <a:pt x="583" y="193"/>
                </a:cubicBezTo>
                <a:cubicBezTo>
                  <a:pt x="583" y="192"/>
                  <a:pt x="587" y="190"/>
                  <a:pt x="584" y="189"/>
                </a:cubicBezTo>
                <a:cubicBezTo>
                  <a:pt x="583" y="188"/>
                  <a:pt x="583" y="188"/>
                  <a:pt x="583" y="188"/>
                </a:cubicBezTo>
                <a:cubicBezTo>
                  <a:pt x="583" y="188"/>
                  <a:pt x="583" y="188"/>
                  <a:pt x="583" y="187"/>
                </a:cubicBezTo>
                <a:cubicBezTo>
                  <a:pt x="584" y="186"/>
                  <a:pt x="584" y="185"/>
                  <a:pt x="583" y="185"/>
                </a:cubicBezTo>
                <a:cubicBezTo>
                  <a:pt x="582" y="186"/>
                  <a:pt x="581" y="186"/>
                  <a:pt x="580" y="185"/>
                </a:cubicBezTo>
                <a:cubicBezTo>
                  <a:pt x="580" y="184"/>
                  <a:pt x="581" y="184"/>
                  <a:pt x="581" y="183"/>
                </a:cubicBezTo>
                <a:cubicBezTo>
                  <a:pt x="582" y="183"/>
                  <a:pt x="582" y="183"/>
                  <a:pt x="582" y="183"/>
                </a:cubicBezTo>
                <a:cubicBezTo>
                  <a:pt x="581" y="182"/>
                  <a:pt x="580" y="182"/>
                  <a:pt x="579" y="182"/>
                </a:cubicBezTo>
                <a:cubicBezTo>
                  <a:pt x="578" y="181"/>
                  <a:pt x="580" y="179"/>
                  <a:pt x="580" y="178"/>
                </a:cubicBezTo>
                <a:cubicBezTo>
                  <a:pt x="578" y="176"/>
                  <a:pt x="577" y="179"/>
                  <a:pt x="574" y="179"/>
                </a:cubicBezTo>
                <a:cubicBezTo>
                  <a:pt x="574" y="179"/>
                  <a:pt x="572" y="177"/>
                  <a:pt x="570" y="179"/>
                </a:cubicBezTo>
                <a:cubicBezTo>
                  <a:pt x="569" y="180"/>
                  <a:pt x="571" y="182"/>
                  <a:pt x="568" y="184"/>
                </a:cubicBezTo>
                <a:cubicBezTo>
                  <a:pt x="567" y="184"/>
                  <a:pt x="562" y="186"/>
                  <a:pt x="562" y="185"/>
                </a:cubicBezTo>
                <a:cubicBezTo>
                  <a:pt x="561" y="184"/>
                  <a:pt x="563" y="184"/>
                  <a:pt x="563" y="184"/>
                </a:cubicBezTo>
                <a:cubicBezTo>
                  <a:pt x="564" y="182"/>
                  <a:pt x="562" y="180"/>
                  <a:pt x="562" y="181"/>
                </a:cubicBezTo>
                <a:cubicBezTo>
                  <a:pt x="563" y="179"/>
                  <a:pt x="565" y="179"/>
                  <a:pt x="565" y="178"/>
                </a:cubicBezTo>
                <a:cubicBezTo>
                  <a:pt x="565" y="178"/>
                  <a:pt x="565" y="178"/>
                  <a:pt x="564" y="178"/>
                </a:cubicBezTo>
                <a:cubicBezTo>
                  <a:pt x="564" y="177"/>
                  <a:pt x="565" y="177"/>
                  <a:pt x="565" y="177"/>
                </a:cubicBezTo>
                <a:cubicBezTo>
                  <a:pt x="565" y="176"/>
                  <a:pt x="564" y="174"/>
                  <a:pt x="565" y="173"/>
                </a:cubicBezTo>
                <a:cubicBezTo>
                  <a:pt x="565" y="173"/>
                  <a:pt x="565" y="173"/>
                  <a:pt x="565" y="173"/>
                </a:cubicBezTo>
                <a:cubicBezTo>
                  <a:pt x="565" y="173"/>
                  <a:pt x="565" y="172"/>
                  <a:pt x="565" y="172"/>
                </a:cubicBezTo>
                <a:cubicBezTo>
                  <a:pt x="564" y="172"/>
                  <a:pt x="564" y="171"/>
                  <a:pt x="566" y="170"/>
                </a:cubicBezTo>
                <a:cubicBezTo>
                  <a:pt x="566" y="170"/>
                  <a:pt x="566" y="170"/>
                  <a:pt x="566" y="170"/>
                </a:cubicBezTo>
                <a:cubicBezTo>
                  <a:pt x="566" y="170"/>
                  <a:pt x="565" y="170"/>
                  <a:pt x="565" y="170"/>
                </a:cubicBezTo>
                <a:cubicBezTo>
                  <a:pt x="564" y="170"/>
                  <a:pt x="563" y="170"/>
                  <a:pt x="563" y="169"/>
                </a:cubicBezTo>
                <a:cubicBezTo>
                  <a:pt x="562" y="169"/>
                  <a:pt x="562" y="169"/>
                  <a:pt x="562" y="169"/>
                </a:cubicBezTo>
                <a:cubicBezTo>
                  <a:pt x="562" y="169"/>
                  <a:pt x="562" y="168"/>
                  <a:pt x="563" y="167"/>
                </a:cubicBezTo>
                <a:cubicBezTo>
                  <a:pt x="563" y="167"/>
                  <a:pt x="563" y="166"/>
                  <a:pt x="562" y="166"/>
                </a:cubicBezTo>
                <a:cubicBezTo>
                  <a:pt x="563" y="165"/>
                  <a:pt x="566" y="165"/>
                  <a:pt x="568" y="164"/>
                </a:cubicBezTo>
                <a:cubicBezTo>
                  <a:pt x="567" y="165"/>
                  <a:pt x="568" y="167"/>
                  <a:pt x="569" y="165"/>
                </a:cubicBezTo>
                <a:cubicBezTo>
                  <a:pt x="571" y="164"/>
                  <a:pt x="569" y="164"/>
                  <a:pt x="569" y="164"/>
                </a:cubicBezTo>
                <a:cubicBezTo>
                  <a:pt x="569" y="164"/>
                  <a:pt x="570" y="163"/>
                  <a:pt x="569" y="162"/>
                </a:cubicBezTo>
                <a:cubicBezTo>
                  <a:pt x="569" y="162"/>
                  <a:pt x="569" y="162"/>
                  <a:pt x="569" y="162"/>
                </a:cubicBezTo>
                <a:cubicBezTo>
                  <a:pt x="567" y="163"/>
                  <a:pt x="565" y="164"/>
                  <a:pt x="563" y="163"/>
                </a:cubicBezTo>
                <a:cubicBezTo>
                  <a:pt x="563" y="163"/>
                  <a:pt x="563" y="163"/>
                  <a:pt x="563" y="164"/>
                </a:cubicBezTo>
                <a:cubicBezTo>
                  <a:pt x="563" y="164"/>
                  <a:pt x="564" y="164"/>
                  <a:pt x="564" y="164"/>
                </a:cubicBezTo>
                <a:cubicBezTo>
                  <a:pt x="563" y="165"/>
                  <a:pt x="563" y="164"/>
                  <a:pt x="563" y="163"/>
                </a:cubicBezTo>
                <a:cubicBezTo>
                  <a:pt x="562" y="163"/>
                  <a:pt x="562" y="162"/>
                  <a:pt x="562" y="161"/>
                </a:cubicBezTo>
                <a:cubicBezTo>
                  <a:pt x="562" y="160"/>
                  <a:pt x="564" y="158"/>
                  <a:pt x="567" y="158"/>
                </a:cubicBezTo>
                <a:cubicBezTo>
                  <a:pt x="566" y="157"/>
                  <a:pt x="565" y="156"/>
                  <a:pt x="566" y="155"/>
                </a:cubicBezTo>
                <a:cubicBezTo>
                  <a:pt x="566" y="153"/>
                  <a:pt x="570" y="153"/>
                  <a:pt x="569" y="152"/>
                </a:cubicBezTo>
                <a:cubicBezTo>
                  <a:pt x="570" y="152"/>
                  <a:pt x="572" y="151"/>
                  <a:pt x="574" y="151"/>
                </a:cubicBezTo>
                <a:cubicBezTo>
                  <a:pt x="576" y="153"/>
                  <a:pt x="575" y="153"/>
                  <a:pt x="579" y="152"/>
                </a:cubicBezTo>
                <a:cubicBezTo>
                  <a:pt x="579" y="152"/>
                  <a:pt x="580" y="151"/>
                  <a:pt x="581" y="151"/>
                </a:cubicBezTo>
                <a:cubicBezTo>
                  <a:pt x="584" y="150"/>
                  <a:pt x="583" y="150"/>
                  <a:pt x="582" y="148"/>
                </a:cubicBezTo>
                <a:cubicBezTo>
                  <a:pt x="584" y="150"/>
                  <a:pt x="583" y="148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0" y="147"/>
                  <a:pt x="580" y="147"/>
                </a:cubicBezTo>
                <a:cubicBezTo>
                  <a:pt x="580" y="147"/>
                  <a:pt x="579" y="149"/>
                  <a:pt x="578" y="148"/>
                </a:cubicBezTo>
                <a:cubicBezTo>
                  <a:pt x="577" y="147"/>
                  <a:pt x="581" y="144"/>
                  <a:pt x="577" y="144"/>
                </a:cubicBezTo>
                <a:cubicBezTo>
                  <a:pt x="583" y="142"/>
                  <a:pt x="575" y="140"/>
                  <a:pt x="573" y="139"/>
                </a:cubicBezTo>
                <a:cubicBezTo>
                  <a:pt x="572" y="138"/>
                  <a:pt x="571" y="137"/>
                  <a:pt x="570" y="135"/>
                </a:cubicBezTo>
                <a:cubicBezTo>
                  <a:pt x="570" y="135"/>
                  <a:pt x="569" y="134"/>
                  <a:pt x="569" y="134"/>
                </a:cubicBezTo>
                <a:cubicBezTo>
                  <a:pt x="569" y="134"/>
                  <a:pt x="569" y="134"/>
                  <a:pt x="569" y="133"/>
                </a:cubicBezTo>
                <a:cubicBezTo>
                  <a:pt x="569" y="133"/>
                  <a:pt x="568" y="132"/>
                  <a:pt x="568" y="132"/>
                </a:cubicBezTo>
                <a:cubicBezTo>
                  <a:pt x="567" y="132"/>
                  <a:pt x="567" y="132"/>
                  <a:pt x="567" y="132"/>
                </a:cubicBezTo>
                <a:cubicBezTo>
                  <a:pt x="567" y="132"/>
                  <a:pt x="566" y="133"/>
                  <a:pt x="566" y="133"/>
                </a:cubicBezTo>
                <a:cubicBezTo>
                  <a:pt x="566" y="134"/>
                  <a:pt x="564" y="135"/>
                  <a:pt x="563" y="135"/>
                </a:cubicBezTo>
                <a:cubicBezTo>
                  <a:pt x="562" y="135"/>
                  <a:pt x="561" y="134"/>
                  <a:pt x="561" y="133"/>
                </a:cubicBezTo>
                <a:cubicBezTo>
                  <a:pt x="560" y="134"/>
                  <a:pt x="559" y="134"/>
                  <a:pt x="558" y="134"/>
                </a:cubicBezTo>
                <a:cubicBezTo>
                  <a:pt x="557" y="134"/>
                  <a:pt x="559" y="133"/>
                  <a:pt x="560" y="133"/>
                </a:cubicBezTo>
                <a:cubicBezTo>
                  <a:pt x="560" y="132"/>
                  <a:pt x="560" y="131"/>
                  <a:pt x="561" y="131"/>
                </a:cubicBezTo>
                <a:cubicBezTo>
                  <a:pt x="560" y="131"/>
                  <a:pt x="558" y="131"/>
                  <a:pt x="557" y="131"/>
                </a:cubicBezTo>
                <a:cubicBezTo>
                  <a:pt x="557" y="131"/>
                  <a:pt x="557" y="131"/>
                  <a:pt x="557" y="131"/>
                </a:cubicBezTo>
                <a:cubicBezTo>
                  <a:pt x="558" y="131"/>
                  <a:pt x="559" y="131"/>
                  <a:pt x="559" y="132"/>
                </a:cubicBezTo>
                <a:cubicBezTo>
                  <a:pt x="558" y="132"/>
                  <a:pt x="557" y="132"/>
                  <a:pt x="556" y="132"/>
                </a:cubicBezTo>
                <a:cubicBezTo>
                  <a:pt x="555" y="132"/>
                  <a:pt x="555" y="132"/>
                  <a:pt x="555" y="133"/>
                </a:cubicBezTo>
                <a:cubicBezTo>
                  <a:pt x="556" y="133"/>
                  <a:pt x="555" y="135"/>
                  <a:pt x="554" y="134"/>
                </a:cubicBezTo>
                <a:cubicBezTo>
                  <a:pt x="553" y="135"/>
                  <a:pt x="552" y="135"/>
                  <a:pt x="552" y="135"/>
                </a:cubicBezTo>
                <a:cubicBezTo>
                  <a:pt x="552" y="134"/>
                  <a:pt x="552" y="134"/>
                  <a:pt x="553" y="133"/>
                </a:cubicBezTo>
                <a:cubicBezTo>
                  <a:pt x="552" y="133"/>
                  <a:pt x="551" y="131"/>
                  <a:pt x="553" y="132"/>
                </a:cubicBezTo>
                <a:cubicBezTo>
                  <a:pt x="553" y="132"/>
                  <a:pt x="553" y="132"/>
                  <a:pt x="553" y="132"/>
                </a:cubicBezTo>
                <a:cubicBezTo>
                  <a:pt x="553" y="133"/>
                  <a:pt x="553" y="133"/>
                  <a:pt x="553" y="133"/>
                </a:cubicBezTo>
                <a:cubicBezTo>
                  <a:pt x="554" y="133"/>
                  <a:pt x="554" y="132"/>
                  <a:pt x="554" y="132"/>
                </a:cubicBezTo>
                <a:cubicBezTo>
                  <a:pt x="553" y="132"/>
                  <a:pt x="552" y="131"/>
                  <a:pt x="552" y="131"/>
                </a:cubicBezTo>
                <a:cubicBezTo>
                  <a:pt x="552" y="131"/>
                  <a:pt x="553" y="131"/>
                  <a:pt x="555" y="131"/>
                </a:cubicBezTo>
                <a:cubicBezTo>
                  <a:pt x="554" y="130"/>
                  <a:pt x="554" y="130"/>
                  <a:pt x="554" y="130"/>
                </a:cubicBezTo>
                <a:cubicBezTo>
                  <a:pt x="553" y="130"/>
                  <a:pt x="552" y="131"/>
                  <a:pt x="552" y="131"/>
                </a:cubicBezTo>
                <a:cubicBezTo>
                  <a:pt x="551" y="130"/>
                  <a:pt x="550" y="127"/>
                  <a:pt x="548" y="129"/>
                </a:cubicBezTo>
                <a:cubicBezTo>
                  <a:pt x="548" y="130"/>
                  <a:pt x="549" y="131"/>
                  <a:pt x="549" y="130"/>
                </a:cubicBezTo>
                <a:cubicBezTo>
                  <a:pt x="549" y="131"/>
                  <a:pt x="549" y="131"/>
                  <a:pt x="549" y="131"/>
                </a:cubicBezTo>
                <a:cubicBezTo>
                  <a:pt x="549" y="131"/>
                  <a:pt x="549" y="131"/>
                  <a:pt x="550" y="131"/>
                </a:cubicBezTo>
                <a:cubicBezTo>
                  <a:pt x="551" y="131"/>
                  <a:pt x="549" y="133"/>
                  <a:pt x="549" y="132"/>
                </a:cubicBezTo>
                <a:cubicBezTo>
                  <a:pt x="549" y="132"/>
                  <a:pt x="549" y="132"/>
                  <a:pt x="549" y="132"/>
                </a:cubicBezTo>
                <a:cubicBezTo>
                  <a:pt x="548" y="133"/>
                  <a:pt x="544" y="131"/>
                  <a:pt x="543" y="131"/>
                </a:cubicBezTo>
                <a:cubicBezTo>
                  <a:pt x="545" y="130"/>
                  <a:pt x="543" y="130"/>
                  <a:pt x="542" y="129"/>
                </a:cubicBezTo>
                <a:cubicBezTo>
                  <a:pt x="540" y="130"/>
                  <a:pt x="539" y="131"/>
                  <a:pt x="537" y="132"/>
                </a:cubicBezTo>
                <a:cubicBezTo>
                  <a:pt x="538" y="130"/>
                  <a:pt x="540" y="129"/>
                  <a:pt x="542" y="129"/>
                </a:cubicBezTo>
                <a:cubicBezTo>
                  <a:pt x="541" y="128"/>
                  <a:pt x="541" y="127"/>
                  <a:pt x="541" y="127"/>
                </a:cubicBezTo>
                <a:cubicBezTo>
                  <a:pt x="542" y="125"/>
                  <a:pt x="546" y="126"/>
                  <a:pt x="546" y="124"/>
                </a:cubicBezTo>
                <a:cubicBezTo>
                  <a:pt x="547" y="123"/>
                  <a:pt x="545" y="124"/>
                  <a:pt x="545" y="124"/>
                </a:cubicBezTo>
                <a:cubicBezTo>
                  <a:pt x="546" y="122"/>
                  <a:pt x="547" y="121"/>
                  <a:pt x="545" y="120"/>
                </a:cubicBezTo>
                <a:cubicBezTo>
                  <a:pt x="545" y="120"/>
                  <a:pt x="540" y="120"/>
                  <a:pt x="538" y="120"/>
                </a:cubicBezTo>
                <a:cubicBezTo>
                  <a:pt x="536" y="120"/>
                  <a:pt x="534" y="121"/>
                  <a:pt x="531" y="119"/>
                </a:cubicBezTo>
                <a:cubicBezTo>
                  <a:pt x="534" y="119"/>
                  <a:pt x="535" y="117"/>
                  <a:pt x="537" y="117"/>
                </a:cubicBezTo>
                <a:cubicBezTo>
                  <a:pt x="537" y="117"/>
                  <a:pt x="537" y="116"/>
                  <a:pt x="537" y="116"/>
                </a:cubicBezTo>
                <a:cubicBezTo>
                  <a:pt x="537" y="116"/>
                  <a:pt x="537" y="117"/>
                  <a:pt x="537" y="117"/>
                </a:cubicBezTo>
                <a:cubicBezTo>
                  <a:pt x="538" y="116"/>
                  <a:pt x="538" y="116"/>
                  <a:pt x="539" y="116"/>
                </a:cubicBezTo>
                <a:cubicBezTo>
                  <a:pt x="542" y="115"/>
                  <a:pt x="545" y="118"/>
                  <a:pt x="548" y="117"/>
                </a:cubicBezTo>
                <a:cubicBezTo>
                  <a:pt x="548" y="117"/>
                  <a:pt x="551" y="114"/>
                  <a:pt x="552" y="114"/>
                </a:cubicBezTo>
                <a:cubicBezTo>
                  <a:pt x="553" y="114"/>
                  <a:pt x="554" y="115"/>
                  <a:pt x="554" y="114"/>
                </a:cubicBezTo>
                <a:cubicBezTo>
                  <a:pt x="553" y="114"/>
                  <a:pt x="553" y="113"/>
                  <a:pt x="553" y="113"/>
                </a:cubicBezTo>
                <a:cubicBezTo>
                  <a:pt x="553" y="113"/>
                  <a:pt x="552" y="113"/>
                  <a:pt x="552" y="113"/>
                </a:cubicBezTo>
                <a:cubicBezTo>
                  <a:pt x="552" y="114"/>
                  <a:pt x="551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8" y="114"/>
                  <a:pt x="547" y="114"/>
                  <a:pt x="547" y="114"/>
                </a:cubicBezTo>
                <a:cubicBezTo>
                  <a:pt x="547" y="114"/>
                  <a:pt x="547" y="113"/>
                  <a:pt x="547" y="113"/>
                </a:cubicBezTo>
                <a:cubicBezTo>
                  <a:pt x="547" y="112"/>
                  <a:pt x="548" y="111"/>
                  <a:pt x="549" y="110"/>
                </a:cubicBezTo>
                <a:cubicBezTo>
                  <a:pt x="550" y="110"/>
                  <a:pt x="552" y="111"/>
                  <a:pt x="552" y="112"/>
                </a:cubicBezTo>
                <a:cubicBezTo>
                  <a:pt x="552" y="112"/>
                  <a:pt x="552" y="112"/>
                  <a:pt x="553" y="112"/>
                </a:cubicBezTo>
                <a:cubicBezTo>
                  <a:pt x="552" y="111"/>
                  <a:pt x="554" y="110"/>
                  <a:pt x="555" y="111"/>
                </a:cubicBezTo>
                <a:cubicBezTo>
                  <a:pt x="555" y="110"/>
                  <a:pt x="555" y="110"/>
                  <a:pt x="554" y="109"/>
                </a:cubicBezTo>
                <a:cubicBezTo>
                  <a:pt x="554" y="110"/>
                  <a:pt x="554" y="110"/>
                  <a:pt x="554" y="110"/>
                </a:cubicBezTo>
                <a:cubicBezTo>
                  <a:pt x="554" y="110"/>
                  <a:pt x="554" y="109"/>
                  <a:pt x="554" y="109"/>
                </a:cubicBezTo>
                <a:cubicBezTo>
                  <a:pt x="553" y="108"/>
                  <a:pt x="550" y="108"/>
                  <a:pt x="549" y="107"/>
                </a:cubicBezTo>
                <a:cubicBezTo>
                  <a:pt x="550" y="106"/>
                  <a:pt x="551" y="106"/>
                  <a:pt x="550" y="105"/>
                </a:cubicBezTo>
                <a:cubicBezTo>
                  <a:pt x="549" y="106"/>
                  <a:pt x="546" y="106"/>
                  <a:pt x="548" y="104"/>
                </a:cubicBezTo>
                <a:cubicBezTo>
                  <a:pt x="548" y="104"/>
                  <a:pt x="548" y="104"/>
                  <a:pt x="548" y="104"/>
                </a:cubicBezTo>
                <a:cubicBezTo>
                  <a:pt x="548" y="104"/>
                  <a:pt x="547" y="103"/>
                  <a:pt x="547" y="103"/>
                </a:cubicBezTo>
                <a:cubicBezTo>
                  <a:pt x="545" y="104"/>
                  <a:pt x="543" y="105"/>
                  <a:pt x="541" y="106"/>
                </a:cubicBezTo>
                <a:cubicBezTo>
                  <a:pt x="537" y="107"/>
                  <a:pt x="541" y="104"/>
                  <a:pt x="543" y="103"/>
                </a:cubicBezTo>
                <a:cubicBezTo>
                  <a:pt x="544" y="103"/>
                  <a:pt x="546" y="102"/>
                  <a:pt x="548" y="101"/>
                </a:cubicBezTo>
                <a:cubicBezTo>
                  <a:pt x="548" y="101"/>
                  <a:pt x="548" y="101"/>
                  <a:pt x="548" y="100"/>
                </a:cubicBezTo>
                <a:cubicBezTo>
                  <a:pt x="549" y="100"/>
                  <a:pt x="549" y="100"/>
                  <a:pt x="550" y="100"/>
                </a:cubicBezTo>
                <a:cubicBezTo>
                  <a:pt x="552" y="99"/>
                  <a:pt x="553" y="99"/>
                  <a:pt x="554" y="98"/>
                </a:cubicBezTo>
                <a:cubicBezTo>
                  <a:pt x="555" y="97"/>
                  <a:pt x="555" y="95"/>
                  <a:pt x="555" y="94"/>
                </a:cubicBezTo>
                <a:cubicBezTo>
                  <a:pt x="554" y="95"/>
                  <a:pt x="554" y="94"/>
                  <a:pt x="553" y="94"/>
                </a:cubicBezTo>
                <a:cubicBezTo>
                  <a:pt x="553" y="94"/>
                  <a:pt x="553" y="94"/>
                  <a:pt x="553" y="94"/>
                </a:cubicBezTo>
                <a:cubicBezTo>
                  <a:pt x="553" y="94"/>
                  <a:pt x="553" y="94"/>
                  <a:pt x="552" y="94"/>
                </a:cubicBezTo>
                <a:cubicBezTo>
                  <a:pt x="552" y="94"/>
                  <a:pt x="550" y="93"/>
                  <a:pt x="550" y="93"/>
                </a:cubicBezTo>
                <a:cubicBezTo>
                  <a:pt x="550" y="93"/>
                  <a:pt x="550" y="93"/>
                  <a:pt x="550" y="92"/>
                </a:cubicBezTo>
                <a:cubicBezTo>
                  <a:pt x="549" y="91"/>
                  <a:pt x="551" y="90"/>
                  <a:pt x="552" y="90"/>
                </a:cubicBezTo>
                <a:cubicBezTo>
                  <a:pt x="552" y="89"/>
                  <a:pt x="552" y="89"/>
                  <a:pt x="553" y="88"/>
                </a:cubicBezTo>
                <a:cubicBezTo>
                  <a:pt x="553" y="88"/>
                  <a:pt x="553" y="88"/>
                  <a:pt x="553" y="88"/>
                </a:cubicBezTo>
                <a:cubicBezTo>
                  <a:pt x="552" y="87"/>
                  <a:pt x="550" y="87"/>
                  <a:pt x="549" y="87"/>
                </a:cubicBezTo>
                <a:cubicBezTo>
                  <a:pt x="548" y="87"/>
                  <a:pt x="546" y="87"/>
                  <a:pt x="546" y="86"/>
                </a:cubicBezTo>
                <a:cubicBezTo>
                  <a:pt x="545" y="86"/>
                  <a:pt x="544" y="85"/>
                  <a:pt x="544" y="84"/>
                </a:cubicBezTo>
                <a:cubicBezTo>
                  <a:pt x="543" y="85"/>
                  <a:pt x="542" y="85"/>
                  <a:pt x="542" y="84"/>
                </a:cubicBezTo>
                <a:cubicBezTo>
                  <a:pt x="541" y="84"/>
                  <a:pt x="540" y="82"/>
                  <a:pt x="542" y="81"/>
                </a:cubicBezTo>
                <a:cubicBezTo>
                  <a:pt x="542" y="81"/>
                  <a:pt x="542" y="81"/>
                  <a:pt x="542" y="81"/>
                </a:cubicBezTo>
                <a:cubicBezTo>
                  <a:pt x="541" y="80"/>
                  <a:pt x="542" y="80"/>
                  <a:pt x="542" y="79"/>
                </a:cubicBezTo>
                <a:cubicBezTo>
                  <a:pt x="541" y="80"/>
                  <a:pt x="540" y="80"/>
                  <a:pt x="539" y="80"/>
                </a:cubicBezTo>
                <a:cubicBezTo>
                  <a:pt x="539" y="80"/>
                  <a:pt x="538" y="81"/>
                  <a:pt x="539" y="82"/>
                </a:cubicBezTo>
                <a:cubicBezTo>
                  <a:pt x="538" y="82"/>
                  <a:pt x="536" y="83"/>
                  <a:pt x="535" y="84"/>
                </a:cubicBezTo>
                <a:cubicBezTo>
                  <a:pt x="534" y="85"/>
                  <a:pt x="533" y="85"/>
                  <a:pt x="532" y="86"/>
                </a:cubicBezTo>
                <a:cubicBezTo>
                  <a:pt x="532" y="86"/>
                  <a:pt x="532" y="87"/>
                  <a:pt x="532" y="87"/>
                </a:cubicBezTo>
                <a:cubicBezTo>
                  <a:pt x="531" y="87"/>
                  <a:pt x="530" y="86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8" y="87"/>
                </a:cubicBezTo>
                <a:cubicBezTo>
                  <a:pt x="527" y="87"/>
                  <a:pt x="527" y="88"/>
                  <a:pt x="526" y="88"/>
                </a:cubicBezTo>
                <a:cubicBezTo>
                  <a:pt x="526" y="88"/>
                  <a:pt x="526" y="87"/>
                  <a:pt x="526" y="87"/>
                </a:cubicBezTo>
                <a:cubicBezTo>
                  <a:pt x="525" y="85"/>
                  <a:pt x="521" y="83"/>
                  <a:pt x="520" y="81"/>
                </a:cubicBezTo>
                <a:cubicBezTo>
                  <a:pt x="520" y="79"/>
                  <a:pt x="524" y="78"/>
                  <a:pt x="525" y="76"/>
                </a:cubicBezTo>
                <a:cubicBezTo>
                  <a:pt x="526" y="76"/>
                  <a:pt x="524" y="74"/>
                  <a:pt x="525" y="74"/>
                </a:cubicBezTo>
                <a:cubicBezTo>
                  <a:pt x="526" y="73"/>
                  <a:pt x="526" y="75"/>
                  <a:pt x="527" y="75"/>
                </a:cubicBezTo>
                <a:cubicBezTo>
                  <a:pt x="528" y="76"/>
                  <a:pt x="533" y="76"/>
                  <a:pt x="535" y="76"/>
                </a:cubicBezTo>
                <a:cubicBezTo>
                  <a:pt x="536" y="76"/>
                  <a:pt x="537" y="76"/>
                  <a:pt x="538" y="77"/>
                </a:cubicBezTo>
                <a:cubicBezTo>
                  <a:pt x="539" y="75"/>
                  <a:pt x="543" y="75"/>
                  <a:pt x="543" y="74"/>
                </a:cubicBezTo>
                <a:cubicBezTo>
                  <a:pt x="544" y="74"/>
                  <a:pt x="542" y="74"/>
                  <a:pt x="542" y="73"/>
                </a:cubicBezTo>
                <a:cubicBezTo>
                  <a:pt x="543" y="73"/>
                  <a:pt x="544" y="73"/>
                  <a:pt x="545" y="74"/>
                </a:cubicBezTo>
                <a:cubicBezTo>
                  <a:pt x="547" y="73"/>
                  <a:pt x="550" y="72"/>
                  <a:pt x="553" y="72"/>
                </a:cubicBezTo>
                <a:cubicBezTo>
                  <a:pt x="552" y="71"/>
                  <a:pt x="552" y="70"/>
                  <a:pt x="551" y="70"/>
                </a:cubicBezTo>
                <a:cubicBezTo>
                  <a:pt x="551" y="70"/>
                  <a:pt x="550" y="71"/>
                  <a:pt x="550" y="71"/>
                </a:cubicBezTo>
                <a:cubicBezTo>
                  <a:pt x="550" y="71"/>
                  <a:pt x="547" y="70"/>
                  <a:pt x="545" y="69"/>
                </a:cubicBezTo>
                <a:cubicBezTo>
                  <a:pt x="544" y="69"/>
                  <a:pt x="543" y="69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2" y="67"/>
                  <a:pt x="543" y="66"/>
                  <a:pt x="542" y="66"/>
                </a:cubicBezTo>
                <a:cubicBezTo>
                  <a:pt x="540" y="64"/>
                  <a:pt x="537" y="66"/>
                  <a:pt x="535" y="66"/>
                </a:cubicBezTo>
                <a:cubicBezTo>
                  <a:pt x="535" y="66"/>
                  <a:pt x="534" y="65"/>
                  <a:pt x="534" y="65"/>
                </a:cubicBezTo>
                <a:cubicBezTo>
                  <a:pt x="534" y="65"/>
                  <a:pt x="534" y="65"/>
                  <a:pt x="534" y="65"/>
                </a:cubicBezTo>
                <a:cubicBezTo>
                  <a:pt x="534" y="67"/>
                  <a:pt x="529" y="69"/>
                  <a:pt x="528" y="68"/>
                </a:cubicBezTo>
                <a:cubicBezTo>
                  <a:pt x="527" y="66"/>
                  <a:pt x="528" y="64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2"/>
                  <a:pt x="529" y="62"/>
                </a:cubicBezTo>
                <a:cubicBezTo>
                  <a:pt x="529" y="62"/>
                  <a:pt x="529" y="62"/>
                  <a:pt x="529" y="62"/>
                </a:cubicBezTo>
                <a:cubicBezTo>
                  <a:pt x="528" y="62"/>
                  <a:pt x="527" y="63"/>
                  <a:pt x="526" y="63"/>
                </a:cubicBezTo>
                <a:cubicBezTo>
                  <a:pt x="526" y="63"/>
                  <a:pt x="526" y="63"/>
                  <a:pt x="526" y="63"/>
                </a:cubicBezTo>
                <a:cubicBezTo>
                  <a:pt x="526" y="64"/>
                  <a:pt x="526" y="64"/>
                  <a:pt x="526" y="65"/>
                </a:cubicBezTo>
                <a:cubicBezTo>
                  <a:pt x="525" y="66"/>
                  <a:pt x="522" y="66"/>
                  <a:pt x="520" y="68"/>
                </a:cubicBezTo>
                <a:cubicBezTo>
                  <a:pt x="519" y="69"/>
                  <a:pt x="517" y="72"/>
                  <a:pt x="515" y="72"/>
                </a:cubicBezTo>
                <a:cubicBezTo>
                  <a:pt x="514" y="71"/>
                  <a:pt x="514" y="70"/>
                  <a:pt x="513" y="70"/>
                </a:cubicBezTo>
                <a:cubicBezTo>
                  <a:pt x="513" y="69"/>
                  <a:pt x="513" y="70"/>
                  <a:pt x="512" y="70"/>
                </a:cubicBezTo>
                <a:cubicBezTo>
                  <a:pt x="511" y="71"/>
                  <a:pt x="510" y="70"/>
                  <a:pt x="510" y="69"/>
                </a:cubicBezTo>
                <a:cubicBezTo>
                  <a:pt x="509" y="69"/>
                  <a:pt x="508" y="69"/>
                  <a:pt x="508" y="68"/>
                </a:cubicBezTo>
                <a:cubicBezTo>
                  <a:pt x="508" y="68"/>
                  <a:pt x="509" y="67"/>
                  <a:pt x="510" y="66"/>
                </a:cubicBezTo>
                <a:cubicBezTo>
                  <a:pt x="510" y="65"/>
                  <a:pt x="511" y="65"/>
                  <a:pt x="512" y="66"/>
                </a:cubicBezTo>
                <a:cubicBezTo>
                  <a:pt x="513" y="67"/>
                  <a:pt x="513" y="66"/>
                  <a:pt x="513" y="65"/>
                </a:cubicBezTo>
                <a:cubicBezTo>
                  <a:pt x="512" y="64"/>
                  <a:pt x="511" y="64"/>
                  <a:pt x="511" y="63"/>
                </a:cubicBezTo>
                <a:cubicBezTo>
                  <a:pt x="511" y="63"/>
                  <a:pt x="511" y="62"/>
                  <a:pt x="513" y="61"/>
                </a:cubicBezTo>
                <a:cubicBezTo>
                  <a:pt x="511" y="61"/>
                  <a:pt x="510" y="60"/>
                  <a:pt x="509" y="59"/>
                </a:cubicBezTo>
                <a:cubicBezTo>
                  <a:pt x="509" y="59"/>
                  <a:pt x="510" y="56"/>
                  <a:pt x="511" y="55"/>
                </a:cubicBezTo>
                <a:cubicBezTo>
                  <a:pt x="512" y="54"/>
                  <a:pt x="515" y="54"/>
                  <a:pt x="515" y="53"/>
                </a:cubicBezTo>
                <a:cubicBezTo>
                  <a:pt x="515" y="53"/>
                  <a:pt x="514" y="53"/>
                  <a:pt x="514" y="53"/>
                </a:cubicBezTo>
                <a:cubicBezTo>
                  <a:pt x="514" y="53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2" y="54"/>
                  <a:pt x="511" y="55"/>
                  <a:pt x="510" y="54"/>
                </a:cubicBezTo>
                <a:cubicBezTo>
                  <a:pt x="510" y="54"/>
                  <a:pt x="510" y="53"/>
                  <a:pt x="510" y="53"/>
                </a:cubicBezTo>
                <a:cubicBezTo>
                  <a:pt x="510" y="53"/>
                  <a:pt x="510" y="53"/>
                  <a:pt x="510" y="53"/>
                </a:cubicBezTo>
                <a:cubicBezTo>
                  <a:pt x="510" y="53"/>
                  <a:pt x="510" y="52"/>
                  <a:pt x="510" y="52"/>
                </a:cubicBezTo>
                <a:cubicBezTo>
                  <a:pt x="510" y="52"/>
                  <a:pt x="510" y="52"/>
                  <a:pt x="510" y="52"/>
                </a:cubicBezTo>
                <a:cubicBezTo>
                  <a:pt x="511" y="51"/>
                  <a:pt x="513" y="51"/>
                  <a:pt x="513" y="52"/>
                </a:cubicBezTo>
                <a:cubicBezTo>
                  <a:pt x="515" y="52"/>
                  <a:pt x="517" y="52"/>
                  <a:pt x="516" y="53"/>
                </a:cubicBezTo>
                <a:cubicBezTo>
                  <a:pt x="516" y="53"/>
                  <a:pt x="515" y="54"/>
                  <a:pt x="515" y="54"/>
                </a:cubicBezTo>
                <a:cubicBezTo>
                  <a:pt x="516" y="54"/>
                  <a:pt x="517" y="54"/>
                  <a:pt x="517" y="54"/>
                </a:cubicBezTo>
                <a:cubicBezTo>
                  <a:pt x="518" y="54"/>
                  <a:pt x="519" y="55"/>
                  <a:pt x="520" y="55"/>
                </a:cubicBezTo>
                <a:cubicBezTo>
                  <a:pt x="521" y="55"/>
                  <a:pt x="522" y="55"/>
                  <a:pt x="522" y="56"/>
                </a:cubicBezTo>
                <a:cubicBezTo>
                  <a:pt x="522" y="57"/>
                  <a:pt x="522" y="57"/>
                  <a:pt x="521" y="57"/>
                </a:cubicBezTo>
                <a:cubicBezTo>
                  <a:pt x="521" y="57"/>
                  <a:pt x="521" y="58"/>
                  <a:pt x="521" y="58"/>
                </a:cubicBezTo>
                <a:cubicBezTo>
                  <a:pt x="522" y="57"/>
                  <a:pt x="523" y="57"/>
                  <a:pt x="525" y="58"/>
                </a:cubicBezTo>
                <a:cubicBezTo>
                  <a:pt x="525" y="59"/>
                  <a:pt x="524" y="59"/>
                  <a:pt x="524" y="59"/>
                </a:cubicBezTo>
                <a:cubicBezTo>
                  <a:pt x="525" y="59"/>
                  <a:pt x="526" y="58"/>
                  <a:pt x="528" y="58"/>
                </a:cubicBezTo>
                <a:cubicBezTo>
                  <a:pt x="528" y="58"/>
                  <a:pt x="528" y="57"/>
                  <a:pt x="528" y="57"/>
                </a:cubicBezTo>
                <a:cubicBezTo>
                  <a:pt x="528" y="57"/>
                  <a:pt x="527" y="57"/>
                  <a:pt x="527" y="56"/>
                </a:cubicBezTo>
                <a:cubicBezTo>
                  <a:pt x="527" y="54"/>
                  <a:pt x="532" y="55"/>
                  <a:pt x="530" y="57"/>
                </a:cubicBezTo>
                <a:cubicBezTo>
                  <a:pt x="530" y="57"/>
                  <a:pt x="530" y="57"/>
                  <a:pt x="530" y="57"/>
                </a:cubicBezTo>
                <a:cubicBezTo>
                  <a:pt x="531" y="56"/>
                  <a:pt x="533" y="55"/>
                  <a:pt x="533" y="55"/>
                </a:cubicBezTo>
                <a:cubicBezTo>
                  <a:pt x="532" y="54"/>
                  <a:pt x="530" y="55"/>
                  <a:pt x="529" y="54"/>
                </a:cubicBezTo>
                <a:cubicBezTo>
                  <a:pt x="529" y="53"/>
                  <a:pt x="532" y="51"/>
                  <a:pt x="532" y="51"/>
                </a:cubicBezTo>
                <a:cubicBezTo>
                  <a:pt x="532" y="51"/>
                  <a:pt x="532" y="50"/>
                  <a:pt x="532" y="50"/>
                </a:cubicBezTo>
                <a:cubicBezTo>
                  <a:pt x="530" y="52"/>
                  <a:pt x="527" y="52"/>
                  <a:pt x="525" y="52"/>
                </a:cubicBezTo>
                <a:cubicBezTo>
                  <a:pt x="523" y="51"/>
                  <a:pt x="522" y="48"/>
                  <a:pt x="521" y="48"/>
                </a:cubicBezTo>
                <a:cubicBezTo>
                  <a:pt x="520" y="48"/>
                  <a:pt x="518" y="48"/>
                  <a:pt x="516" y="49"/>
                </a:cubicBezTo>
                <a:cubicBezTo>
                  <a:pt x="517" y="48"/>
                  <a:pt x="518" y="48"/>
                  <a:pt x="519" y="47"/>
                </a:cubicBezTo>
                <a:cubicBezTo>
                  <a:pt x="519" y="47"/>
                  <a:pt x="520" y="47"/>
                  <a:pt x="520" y="47"/>
                </a:cubicBezTo>
                <a:cubicBezTo>
                  <a:pt x="521" y="46"/>
                  <a:pt x="521" y="46"/>
                  <a:pt x="521" y="45"/>
                </a:cubicBezTo>
                <a:cubicBezTo>
                  <a:pt x="520" y="45"/>
                  <a:pt x="520" y="45"/>
                  <a:pt x="519" y="45"/>
                </a:cubicBezTo>
                <a:cubicBezTo>
                  <a:pt x="519" y="44"/>
                  <a:pt x="520" y="44"/>
                  <a:pt x="521" y="44"/>
                </a:cubicBezTo>
                <a:cubicBezTo>
                  <a:pt x="521" y="44"/>
                  <a:pt x="521" y="44"/>
                  <a:pt x="521" y="44"/>
                </a:cubicBezTo>
                <a:cubicBezTo>
                  <a:pt x="521" y="43"/>
                  <a:pt x="521" y="41"/>
                  <a:pt x="521" y="40"/>
                </a:cubicBezTo>
                <a:cubicBezTo>
                  <a:pt x="521" y="40"/>
                  <a:pt x="520" y="40"/>
                  <a:pt x="520" y="40"/>
                </a:cubicBezTo>
                <a:cubicBezTo>
                  <a:pt x="520" y="40"/>
                  <a:pt x="520" y="40"/>
                  <a:pt x="520" y="40"/>
                </a:cubicBezTo>
                <a:cubicBezTo>
                  <a:pt x="520" y="40"/>
                  <a:pt x="520" y="40"/>
                  <a:pt x="520" y="39"/>
                </a:cubicBezTo>
                <a:cubicBezTo>
                  <a:pt x="520" y="39"/>
                  <a:pt x="520" y="39"/>
                  <a:pt x="520" y="39"/>
                </a:cubicBezTo>
                <a:cubicBezTo>
                  <a:pt x="510" y="34"/>
                  <a:pt x="501" y="30"/>
                  <a:pt x="491" y="26"/>
                </a:cubicBezTo>
                <a:cubicBezTo>
                  <a:pt x="491" y="26"/>
                  <a:pt x="489" y="27"/>
                  <a:pt x="489" y="27"/>
                </a:cubicBezTo>
                <a:cubicBezTo>
                  <a:pt x="489" y="26"/>
                  <a:pt x="489" y="26"/>
                  <a:pt x="490" y="26"/>
                </a:cubicBezTo>
                <a:cubicBezTo>
                  <a:pt x="487" y="24"/>
                  <a:pt x="483" y="23"/>
                  <a:pt x="480" y="22"/>
                </a:cubicBezTo>
                <a:cubicBezTo>
                  <a:pt x="480" y="22"/>
                  <a:pt x="480" y="22"/>
                  <a:pt x="480" y="22"/>
                </a:cubicBezTo>
                <a:cubicBezTo>
                  <a:pt x="478" y="22"/>
                  <a:pt x="476" y="25"/>
                  <a:pt x="474" y="25"/>
                </a:cubicBezTo>
                <a:cubicBezTo>
                  <a:pt x="472" y="25"/>
                  <a:pt x="473" y="25"/>
                  <a:pt x="471" y="25"/>
                </a:cubicBezTo>
                <a:cubicBezTo>
                  <a:pt x="471" y="25"/>
                  <a:pt x="469" y="26"/>
                  <a:pt x="468" y="27"/>
                </a:cubicBezTo>
                <a:cubicBezTo>
                  <a:pt x="467" y="27"/>
                  <a:pt x="464" y="29"/>
                  <a:pt x="464" y="29"/>
                </a:cubicBezTo>
                <a:cubicBezTo>
                  <a:pt x="462" y="30"/>
                  <a:pt x="464" y="30"/>
                  <a:pt x="462" y="30"/>
                </a:cubicBezTo>
                <a:cubicBezTo>
                  <a:pt x="461" y="30"/>
                  <a:pt x="461" y="30"/>
                  <a:pt x="460" y="30"/>
                </a:cubicBezTo>
                <a:cubicBezTo>
                  <a:pt x="461" y="30"/>
                  <a:pt x="461" y="30"/>
                  <a:pt x="461" y="30"/>
                </a:cubicBezTo>
                <a:cubicBezTo>
                  <a:pt x="462" y="31"/>
                  <a:pt x="459" y="32"/>
                  <a:pt x="459" y="31"/>
                </a:cubicBezTo>
                <a:cubicBezTo>
                  <a:pt x="459" y="31"/>
                  <a:pt x="458" y="32"/>
                  <a:pt x="458" y="32"/>
                </a:cubicBezTo>
                <a:cubicBezTo>
                  <a:pt x="458" y="32"/>
                  <a:pt x="458" y="33"/>
                  <a:pt x="458" y="33"/>
                </a:cubicBezTo>
                <a:cubicBezTo>
                  <a:pt x="461" y="34"/>
                  <a:pt x="463" y="32"/>
                  <a:pt x="461" y="36"/>
                </a:cubicBezTo>
                <a:cubicBezTo>
                  <a:pt x="461" y="37"/>
                  <a:pt x="462" y="37"/>
                  <a:pt x="461" y="37"/>
                </a:cubicBezTo>
                <a:cubicBezTo>
                  <a:pt x="460" y="39"/>
                  <a:pt x="459" y="37"/>
                  <a:pt x="459" y="36"/>
                </a:cubicBezTo>
                <a:cubicBezTo>
                  <a:pt x="458" y="37"/>
                  <a:pt x="458" y="38"/>
                  <a:pt x="460" y="39"/>
                </a:cubicBezTo>
                <a:cubicBezTo>
                  <a:pt x="460" y="39"/>
                  <a:pt x="457" y="39"/>
                  <a:pt x="456" y="39"/>
                </a:cubicBezTo>
                <a:cubicBezTo>
                  <a:pt x="456" y="39"/>
                  <a:pt x="454" y="36"/>
                  <a:pt x="453" y="35"/>
                </a:cubicBezTo>
                <a:cubicBezTo>
                  <a:pt x="452" y="35"/>
                  <a:pt x="451" y="36"/>
                  <a:pt x="451" y="36"/>
                </a:cubicBezTo>
                <a:cubicBezTo>
                  <a:pt x="449" y="37"/>
                  <a:pt x="446" y="38"/>
                  <a:pt x="444" y="39"/>
                </a:cubicBezTo>
                <a:cubicBezTo>
                  <a:pt x="443" y="40"/>
                  <a:pt x="443" y="40"/>
                  <a:pt x="442" y="40"/>
                </a:cubicBezTo>
                <a:cubicBezTo>
                  <a:pt x="441" y="40"/>
                  <a:pt x="440" y="41"/>
                  <a:pt x="439" y="41"/>
                </a:cubicBezTo>
                <a:cubicBezTo>
                  <a:pt x="437" y="42"/>
                  <a:pt x="435" y="43"/>
                  <a:pt x="432" y="44"/>
                </a:cubicBezTo>
                <a:cubicBezTo>
                  <a:pt x="433" y="44"/>
                  <a:pt x="433" y="44"/>
                  <a:pt x="433" y="44"/>
                </a:cubicBezTo>
                <a:cubicBezTo>
                  <a:pt x="433" y="44"/>
                  <a:pt x="433" y="44"/>
                  <a:pt x="432" y="44"/>
                </a:cubicBezTo>
                <a:cubicBezTo>
                  <a:pt x="432" y="44"/>
                  <a:pt x="431" y="44"/>
                  <a:pt x="431" y="44"/>
                </a:cubicBezTo>
                <a:cubicBezTo>
                  <a:pt x="430" y="44"/>
                  <a:pt x="427" y="45"/>
                  <a:pt x="427" y="46"/>
                </a:cubicBezTo>
                <a:cubicBezTo>
                  <a:pt x="427" y="46"/>
                  <a:pt x="433" y="44"/>
                  <a:pt x="432" y="48"/>
                </a:cubicBezTo>
                <a:cubicBezTo>
                  <a:pt x="432" y="49"/>
                  <a:pt x="431" y="49"/>
                  <a:pt x="431" y="49"/>
                </a:cubicBezTo>
                <a:cubicBezTo>
                  <a:pt x="435" y="49"/>
                  <a:pt x="440" y="49"/>
                  <a:pt x="444" y="50"/>
                </a:cubicBezTo>
                <a:cubicBezTo>
                  <a:pt x="444" y="47"/>
                  <a:pt x="436" y="48"/>
                  <a:pt x="436" y="45"/>
                </a:cubicBezTo>
                <a:cubicBezTo>
                  <a:pt x="436" y="42"/>
                  <a:pt x="442" y="45"/>
                  <a:pt x="444" y="43"/>
                </a:cubicBezTo>
                <a:cubicBezTo>
                  <a:pt x="445" y="43"/>
                  <a:pt x="444" y="42"/>
                  <a:pt x="445" y="42"/>
                </a:cubicBezTo>
                <a:cubicBezTo>
                  <a:pt x="446" y="42"/>
                  <a:pt x="449" y="43"/>
                  <a:pt x="448" y="41"/>
                </a:cubicBezTo>
                <a:cubicBezTo>
                  <a:pt x="448" y="38"/>
                  <a:pt x="459" y="43"/>
                  <a:pt x="460" y="46"/>
                </a:cubicBezTo>
                <a:cubicBezTo>
                  <a:pt x="460" y="48"/>
                  <a:pt x="459" y="52"/>
                  <a:pt x="458" y="52"/>
                </a:cubicBezTo>
                <a:cubicBezTo>
                  <a:pt x="458" y="53"/>
                  <a:pt x="452" y="54"/>
                  <a:pt x="452" y="54"/>
                </a:cubicBezTo>
                <a:cubicBezTo>
                  <a:pt x="451" y="53"/>
                  <a:pt x="449" y="53"/>
                  <a:pt x="448" y="53"/>
                </a:cubicBezTo>
                <a:cubicBezTo>
                  <a:pt x="449" y="53"/>
                  <a:pt x="449" y="53"/>
                  <a:pt x="449" y="54"/>
                </a:cubicBezTo>
                <a:cubicBezTo>
                  <a:pt x="450" y="55"/>
                  <a:pt x="450" y="57"/>
                  <a:pt x="450" y="58"/>
                </a:cubicBezTo>
                <a:cubicBezTo>
                  <a:pt x="447" y="62"/>
                  <a:pt x="436" y="61"/>
                  <a:pt x="432" y="59"/>
                </a:cubicBezTo>
                <a:cubicBezTo>
                  <a:pt x="432" y="60"/>
                  <a:pt x="432" y="61"/>
                  <a:pt x="432" y="62"/>
                </a:cubicBezTo>
                <a:cubicBezTo>
                  <a:pt x="431" y="65"/>
                  <a:pt x="423" y="63"/>
                  <a:pt x="423" y="60"/>
                </a:cubicBezTo>
                <a:cubicBezTo>
                  <a:pt x="423" y="61"/>
                  <a:pt x="421" y="60"/>
                  <a:pt x="421" y="60"/>
                </a:cubicBezTo>
                <a:cubicBezTo>
                  <a:pt x="421" y="59"/>
                  <a:pt x="423" y="59"/>
                  <a:pt x="423" y="60"/>
                </a:cubicBezTo>
                <a:cubicBezTo>
                  <a:pt x="424" y="58"/>
                  <a:pt x="427" y="58"/>
                  <a:pt x="429" y="58"/>
                </a:cubicBezTo>
                <a:cubicBezTo>
                  <a:pt x="430" y="58"/>
                  <a:pt x="431" y="57"/>
                  <a:pt x="432" y="55"/>
                </a:cubicBezTo>
                <a:cubicBezTo>
                  <a:pt x="432" y="55"/>
                  <a:pt x="432" y="53"/>
                  <a:pt x="432" y="54"/>
                </a:cubicBezTo>
                <a:cubicBezTo>
                  <a:pt x="432" y="53"/>
                  <a:pt x="434" y="52"/>
                  <a:pt x="435" y="52"/>
                </a:cubicBezTo>
                <a:cubicBezTo>
                  <a:pt x="435" y="50"/>
                  <a:pt x="431" y="50"/>
                  <a:pt x="429" y="50"/>
                </a:cubicBezTo>
                <a:cubicBezTo>
                  <a:pt x="427" y="50"/>
                  <a:pt x="423" y="49"/>
                  <a:pt x="422" y="48"/>
                </a:cubicBezTo>
                <a:cubicBezTo>
                  <a:pt x="422" y="48"/>
                  <a:pt x="422" y="47"/>
                  <a:pt x="422" y="47"/>
                </a:cubicBezTo>
                <a:cubicBezTo>
                  <a:pt x="422" y="47"/>
                  <a:pt x="421" y="47"/>
                  <a:pt x="421" y="48"/>
                </a:cubicBezTo>
                <a:cubicBezTo>
                  <a:pt x="420" y="48"/>
                  <a:pt x="419" y="49"/>
                  <a:pt x="417" y="50"/>
                </a:cubicBezTo>
                <a:cubicBezTo>
                  <a:pt x="417" y="50"/>
                  <a:pt x="416" y="50"/>
                  <a:pt x="416" y="51"/>
                </a:cubicBezTo>
                <a:cubicBezTo>
                  <a:pt x="418" y="53"/>
                  <a:pt x="416" y="54"/>
                  <a:pt x="414" y="54"/>
                </a:cubicBezTo>
                <a:cubicBezTo>
                  <a:pt x="413" y="54"/>
                  <a:pt x="412" y="54"/>
                  <a:pt x="412" y="54"/>
                </a:cubicBezTo>
                <a:cubicBezTo>
                  <a:pt x="412" y="54"/>
                  <a:pt x="412" y="54"/>
                  <a:pt x="412" y="53"/>
                </a:cubicBezTo>
                <a:cubicBezTo>
                  <a:pt x="411" y="53"/>
                  <a:pt x="411" y="53"/>
                  <a:pt x="411" y="53"/>
                </a:cubicBezTo>
                <a:cubicBezTo>
                  <a:pt x="410" y="53"/>
                  <a:pt x="410" y="53"/>
                  <a:pt x="410" y="53"/>
                </a:cubicBezTo>
                <a:cubicBezTo>
                  <a:pt x="409" y="53"/>
                  <a:pt x="409" y="54"/>
                  <a:pt x="409" y="54"/>
                </a:cubicBezTo>
                <a:cubicBezTo>
                  <a:pt x="408" y="55"/>
                  <a:pt x="407" y="54"/>
                  <a:pt x="407" y="55"/>
                </a:cubicBezTo>
                <a:cubicBezTo>
                  <a:pt x="406" y="55"/>
                  <a:pt x="405" y="56"/>
                  <a:pt x="404" y="57"/>
                </a:cubicBezTo>
                <a:cubicBezTo>
                  <a:pt x="404" y="57"/>
                  <a:pt x="404" y="58"/>
                  <a:pt x="402" y="58"/>
                </a:cubicBezTo>
                <a:cubicBezTo>
                  <a:pt x="401" y="59"/>
                  <a:pt x="401" y="59"/>
                  <a:pt x="400" y="60"/>
                </a:cubicBezTo>
                <a:cubicBezTo>
                  <a:pt x="396" y="62"/>
                  <a:pt x="392" y="63"/>
                  <a:pt x="388" y="64"/>
                </a:cubicBezTo>
                <a:cubicBezTo>
                  <a:pt x="387" y="65"/>
                  <a:pt x="387" y="65"/>
                  <a:pt x="387" y="65"/>
                </a:cubicBezTo>
                <a:cubicBezTo>
                  <a:pt x="387" y="65"/>
                  <a:pt x="388" y="65"/>
                  <a:pt x="388" y="65"/>
                </a:cubicBezTo>
                <a:cubicBezTo>
                  <a:pt x="389" y="65"/>
                  <a:pt x="391" y="66"/>
                  <a:pt x="392" y="67"/>
                </a:cubicBezTo>
                <a:cubicBezTo>
                  <a:pt x="392" y="67"/>
                  <a:pt x="393" y="68"/>
                  <a:pt x="392" y="68"/>
                </a:cubicBezTo>
                <a:cubicBezTo>
                  <a:pt x="393" y="69"/>
                  <a:pt x="394" y="70"/>
                  <a:pt x="393" y="71"/>
                </a:cubicBezTo>
                <a:cubicBezTo>
                  <a:pt x="393" y="78"/>
                  <a:pt x="380" y="78"/>
                  <a:pt x="374" y="76"/>
                </a:cubicBezTo>
                <a:cubicBezTo>
                  <a:pt x="373" y="75"/>
                  <a:pt x="371" y="73"/>
                  <a:pt x="370" y="72"/>
                </a:cubicBezTo>
                <a:cubicBezTo>
                  <a:pt x="368" y="73"/>
                  <a:pt x="366" y="74"/>
                  <a:pt x="366" y="73"/>
                </a:cubicBezTo>
                <a:cubicBezTo>
                  <a:pt x="365" y="72"/>
                  <a:pt x="367" y="71"/>
                  <a:pt x="369" y="70"/>
                </a:cubicBezTo>
                <a:cubicBezTo>
                  <a:pt x="369" y="70"/>
                  <a:pt x="369" y="70"/>
                  <a:pt x="369" y="70"/>
                </a:cubicBezTo>
                <a:cubicBezTo>
                  <a:pt x="368" y="69"/>
                  <a:pt x="366" y="69"/>
                  <a:pt x="366" y="69"/>
                </a:cubicBezTo>
                <a:cubicBezTo>
                  <a:pt x="366" y="67"/>
                  <a:pt x="370" y="65"/>
                  <a:pt x="374" y="64"/>
                </a:cubicBezTo>
                <a:cubicBezTo>
                  <a:pt x="369" y="65"/>
                  <a:pt x="362" y="65"/>
                  <a:pt x="358" y="66"/>
                </a:cubicBezTo>
                <a:cubicBezTo>
                  <a:pt x="358" y="66"/>
                  <a:pt x="351" y="68"/>
                  <a:pt x="351" y="67"/>
                </a:cubicBezTo>
                <a:cubicBezTo>
                  <a:pt x="350" y="66"/>
                  <a:pt x="356" y="66"/>
                  <a:pt x="357" y="65"/>
                </a:cubicBezTo>
                <a:cubicBezTo>
                  <a:pt x="363" y="65"/>
                  <a:pt x="372" y="62"/>
                  <a:pt x="379" y="62"/>
                </a:cubicBezTo>
                <a:cubicBezTo>
                  <a:pt x="379" y="62"/>
                  <a:pt x="379" y="62"/>
                  <a:pt x="379" y="62"/>
                </a:cubicBezTo>
                <a:cubicBezTo>
                  <a:pt x="379" y="62"/>
                  <a:pt x="380" y="62"/>
                  <a:pt x="379" y="62"/>
                </a:cubicBezTo>
                <a:cubicBezTo>
                  <a:pt x="379" y="63"/>
                  <a:pt x="379" y="63"/>
                  <a:pt x="378" y="63"/>
                </a:cubicBezTo>
                <a:cubicBezTo>
                  <a:pt x="379" y="63"/>
                  <a:pt x="381" y="63"/>
                  <a:pt x="382" y="63"/>
                </a:cubicBezTo>
                <a:cubicBezTo>
                  <a:pt x="382" y="62"/>
                  <a:pt x="383" y="61"/>
                  <a:pt x="383" y="61"/>
                </a:cubicBezTo>
                <a:cubicBezTo>
                  <a:pt x="384" y="61"/>
                  <a:pt x="384" y="62"/>
                  <a:pt x="384" y="62"/>
                </a:cubicBezTo>
                <a:cubicBezTo>
                  <a:pt x="385" y="61"/>
                  <a:pt x="385" y="60"/>
                  <a:pt x="386" y="60"/>
                </a:cubicBezTo>
                <a:cubicBezTo>
                  <a:pt x="387" y="59"/>
                  <a:pt x="389" y="59"/>
                  <a:pt x="390" y="59"/>
                </a:cubicBezTo>
                <a:cubicBezTo>
                  <a:pt x="392" y="58"/>
                  <a:pt x="393" y="57"/>
                  <a:pt x="395" y="56"/>
                </a:cubicBezTo>
                <a:cubicBezTo>
                  <a:pt x="396" y="56"/>
                  <a:pt x="396" y="56"/>
                  <a:pt x="396" y="56"/>
                </a:cubicBezTo>
                <a:cubicBezTo>
                  <a:pt x="398" y="55"/>
                  <a:pt x="399" y="53"/>
                  <a:pt x="400" y="52"/>
                </a:cubicBezTo>
                <a:cubicBezTo>
                  <a:pt x="401" y="52"/>
                  <a:pt x="402" y="53"/>
                  <a:pt x="402" y="52"/>
                </a:cubicBezTo>
                <a:cubicBezTo>
                  <a:pt x="404" y="52"/>
                  <a:pt x="405" y="51"/>
                  <a:pt x="407" y="50"/>
                </a:cubicBezTo>
                <a:cubicBezTo>
                  <a:pt x="409" y="50"/>
                  <a:pt x="411" y="48"/>
                  <a:pt x="411" y="48"/>
                </a:cubicBezTo>
                <a:cubicBezTo>
                  <a:pt x="412" y="48"/>
                  <a:pt x="412" y="49"/>
                  <a:pt x="412" y="49"/>
                </a:cubicBezTo>
                <a:cubicBezTo>
                  <a:pt x="413" y="48"/>
                  <a:pt x="413" y="48"/>
                  <a:pt x="413" y="47"/>
                </a:cubicBezTo>
                <a:cubicBezTo>
                  <a:pt x="414" y="47"/>
                  <a:pt x="414" y="48"/>
                  <a:pt x="415" y="48"/>
                </a:cubicBezTo>
                <a:cubicBezTo>
                  <a:pt x="415" y="47"/>
                  <a:pt x="415" y="47"/>
                  <a:pt x="416" y="46"/>
                </a:cubicBezTo>
                <a:cubicBezTo>
                  <a:pt x="416" y="46"/>
                  <a:pt x="416" y="47"/>
                  <a:pt x="417" y="47"/>
                </a:cubicBezTo>
                <a:cubicBezTo>
                  <a:pt x="417" y="47"/>
                  <a:pt x="417" y="46"/>
                  <a:pt x="418" y="45"/>
                </a:cubicBezTo>
                <a:cubicBezTo>
                  <a:pt x="419" y="45"/>
                  <a:pt x="419" y="46"/>
                  <a:pt x="420" y="45"/>
                </a:cubicBezTo>
                <a:cubicBezTo>
                  <a:pt x="420" y="45"/>
                  <a:pt x="420" y="44"/>
                  <a:pt x="421" y="44"/>
                </a:cubicBezTo>
                <a:cubicBezTo>
                  <a:pt x="422" y="43"/>
                  <a:pt x="424" y="43"/>
                  <a:pt x="425" y="42"/>
                </a:cubicBezTo>
                <a:cubicBezTo>
                  <a:pt x="427" y="40"/>
                  <a:pt x="432" y="39"/>
                  <a:pt x="435" y="36"/>
                </a:cubicBezTo>
                <a:cubicBezTo>
                  <a:pt x="438" y="35"/>
                  <a:pt x="441" y="33"/>
                  <a:pt x="444" y="32"/>
                </a:cubicBezTo>
                <a:cubicBezTo>
                  <a:pt x="444" y="32"/>
                  <a:pt x="443" y="32"/>
                  <a:pt x="443" y="32"/>
                </a:cubicBezTo>
                <a:cubicBezTo>
                  <a:pt x="440" y="31"/>
                  <a:pt x="439" y="28"/>
                  <a:pt x="438" y="28"/>
                </a:cubicBezTo>
                <a:cubicBezTo>
                  <a:pt x="437" y="28"/>
                  <a:pt x="437" y="28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5" y="30"/>
                  <a:pt x="434" y="30"/>
                  <a:pt x="433" y="31"/>
                </a:cubicBezTo>
                <a:cubicBezTo>
                  <a:pt x="432" y="31"/>
                  <a:pt x="431" y="31"/>
                  <a:pt x="431" y="30"/>
                </a:cubicBezTo>
                <a:cubicBezTo>
                  <a:pt x="431" y="30"/>
                  <a:pt x="431" y="30"/>
                  <a:pt x="431" y="30"/>
                </a:cubicBezTo>
                <a:cubicBezTo>
                  <a:pt x="430" y="30"/>
                  <a:pt x="430" y="31"/>
                  <a:pt x="429" y="31"/>
                </a:cubicBezTo>
                <a:cubicBezTo>
                  <a:pt x="428" y="32"/>
                  <a:pt x="425" y="32"/>
                  <a:pt x="424" y="31"/>
                </a:cubicBezTo>
                <a:cubicBezTo>
                  <a:pt x="424" y="31"/>
                  <a:pt x="425" y="30"/>
                  <a:pt x="426" y="30"/>
                </a:cubicBezTo>
                <a:cubicBezTo>
                  <a:pt x="426" y="30"/>
                  <a:pt x="425" y="29"/>
                  <a:pt x="425" y="29"/>
                </a:cubicBezTo>
                <a:cubicBezTo>
                  <a:pt x="424" y="30"/>
                  <a:pt x="423" y="30"/>
                  <a:pt x="423" y="30"/>
                </a:cubicBezTo>
                <a:cubicBezTo>
                  <a:pt x="418" y="29"/>
                  <a:pt x="416" y="25"/>
                  <a:pt x="419" y="23"/>
                </a:cubicBezTo>
                <a:cubicBezTo>
                  <a:pt x="421" y="21"/>
                  <a:pt x="429" y="22"/>
                  <a:pt x="429" y="26"/>
                </a:cubicBezTo>
                <a:cubicBezTo>
                  <a:pt x="429" y="29"/>
                  <a:pt x="428" y="27"/>
                  <a:pt x="431" y="27"/>
                </a:cubicBezTo>
                <a:cubicBezTo>
                  <a:pt x="434" y="26"/>
                  <a:pt x="435" y="27"/>
                  <a:pt x="436" y="25"/>
                </a:cubicBezTo>
                <a:cubicBezTo>
                  <a:pt x="439" y="21"/>
                  <a:pt x="442" y="21"/>
                  <a:pt x="446" y="22"/>
                </a:cubicBezTo>
                <a:cubicBezTo>
                  <a:pt x="446" y="21"/>
                  <a:pt x="448" y="21"/>
                  <a:pt x="449" y="22"/>
                </a:cubicBezTo>
                <a:cubicBezTo>
                  <a:pt x="450" y="22"/>
                  <a:pt x="450" y="21"/>
                  <a:pt x="451" y="21"/>
                </a:cubicBezTo>
                <a:cubicBezTo>
                  <a:pt x="452" y="22"/>
                  <a:pt x="451" y="23"/>
                  <a:pt x="450" y="24"/>
                </a:cubicBezTo>
                <a:cubicBezTo>
                  <a:pt x="451" y="25"/>
                  <a:pt x="452" y="26"/>
                  <a:pt x="452" y="28"/>
                </a:cubicBezTo>
                <a:cubicBezTo>
                  <a:pt x="451" y="28"/>
                  <a:pt x="451" y="29"/>
                  <a:pt x="451" y="30"/>
                </a:cubicBezTo>
                <a:cubicBezTo>
                  <a:pt x="451" y="29"/>
                  <a:pt x="451" y="29"/>
                  <a:pt x="452" y="29"/>
                </a:cubicBezTo>
                <a:cubicBezTo>
                  <a:pt x="453" y="29"/>
                  <a:pt x="455" y="29"/>
                  <a:pt x="457" y="29"/>
                </a:cubicBezTo>
                <a:cubicBezTo>
                  <a:pt x="458" y="28"/>
                  <a:pt x="458" y="27"/>
                  <a:pt x="460" y="27"/>
                </a:cubicBezTo>
                <a:cubicBezTo>
                  <a:pt x="461" y="26"/>
                  <a:pt x="463" y="26"/>
                  <a:pt x="465" y="26"/>
                </a:cubicBezTo>
                <a:cubicBezTo>
                  <a:pt x="463" y="25"/>
                  <a:pt x="462" y="25"/>
                  <a:pt x="460" y="25"/>
                </a:cubicBezTo>
                <a:cubicBezTo>
                  <a:pt x="462" y="25"/>
                  <a:pt x="462" y="23"/>
                  <a:pt x="461" y="23"/>
                </a:cubicBezTo>
                <a:cubicBezTo>
                  <a:pt x="461" y="23"/>
                  <a:pt x="462" y="21"/>
                  <a:pt x="463" y="20"/>
                </a:cubicBezTo>
                <a:cubicBezTo>
                  <a:pt x="464" y="20"/>
                  <a:pt x="465" y="20"/>
                  <a:pt x="466" y="20"/>
                </a:cubicBezTo>
                <a:cubicBezTo>
                  <a:pt x="466" y="20"/>
                  <a:pt x="467" y="20"/>
                  <a:pt x="468" y="20"/>
                </a:cubicBezTo>
                <a:cubicBezTo>
                  <a:pt x="468" y="21"/>
                  <a:pt x="467" y="21"/>
                  <a:pt x="466" y="21"/>
                </a:cubicBezTo>
                <a:cubicBezTo>
                  <a:pt x="468" y="22"/>
                  <a:pt x="468" y="23"/>
                  <a:pt x="468" y="24"/>
                </a:cubicBezTo>
                <a:cubicBezTo>
                  <a:pt x="469" y="23"/>
                  <a:pt x="470" y="23"/>
                  <a:pt x="471" y="22"/>
                </a:cubicBezTo>
                <a:cubicBezTo>
                  <a:pt x="471" y="22"/>
                  <a:pt x="470" y="22"/>
                  <a:pt x="470" y="21"/>
                </a:cubicBezTo>
                <a:cubicBezTo>
                  <a:pt x="469" y="20"/>
                  <a:pt x="471" y="19"/>
                  <a:pt x="473" y="19"/>
                </a:cubicBezTo>
                <a:cubicBezTo>
                  <a:pt x="473" y="19"/>
                  <a:pt x="473" y="19"/>
                  <a:pt x="473" y="19"/>
                </a:cubicBezTo>
                <a:cubicBezTo>
                  <a:pt x="456" y="13"/>
                  <a:pt x="438" y="9"/>
                  <a:pt x="419" y="5"/>
                </a:cubicBezTo>
                <a:cubicBezTo>
                  <a:pt x="427" y="10"/>
                  <a:pt x="416" y="16"/>
                  <a:pt x="410" y="12"/>
                </a:cubicBezTo>
                <a:cubicBezTo>
                  <a:pt x="408" y="10"/>
                  <a:pt x="409" y="9"/>
                  <a:pt x="407" y="7"/>
                </a:cubicBezTo>
                <a:cubicBezTo>
                  <a:pt x="408" y="6"/>
                  <a:pt x="410" y="5"/>
                  <a:pt x="412" y="4"/>
                </a:cubicBezTo>
                <a:cubicBezTo>
                  <a:pt x="408" y="4"/>
                  <a:pt x="405" y="3"/>
                  <a:pt x="401" y="3"/>
                </a:cubicBezTo>
                <a:cubicBezTo>
                  <a:pt x="401" y="3"/>
                  <a:pt x="401" y="3"/>
                  <a:pt x="401" y="3"/>
                </a:cubicBezTo>
                <a:cubicBezTo>
                  <a:pt x="398" y="2"/>
                  <a:pt x="396" y="2"/>
                  <a:pt x="393" y="2"/>
                </a:cubicBezTo>
                <a:cubicBezTo>
                  <a:pt x="392" y="6"/>
                  <a:pt x="385" y="4"/>
                  <a:pt x="382" y="1"/>
                </a:cubicBezTo>
                <a:cubicBezTo>
                  <a:pt x="374" y="0"/>
                  <a:pt x="366" y="0"/>
                  <a:pt x="357" y="0"/>
                </a:cubicBezTo>
                <a:cubicBezTo>
                  <a:pt x="343" y="0"/>
                  <a:pt x="328" y="1"/>
                  <a:pt x="314" y="3"/>
                </a:cubicBezTo>
                <a:cubicBezTo>
                  <a:pt x="314" y="3"/>
                  <a:pt x="314" y="3"/>
                  <a:pt x="315" y="3"/>
                </a:cubicBezTo>
                <a:cubicBezTo>
                  <a:pt x="315" y="3"/>
                  <a:pt x="315" y="3"/>
                  <a:pt x="315" y="3"/>
                </a:cubicBezTo>
                <a:cubicBezTo>
                  <a:pt x="315" y="4"/>
                  <a:pt x="314" y="3"/>
                  <a:pt x="314" y="3"/>
                </a:cubicBezTo>
                <a:cubicBezTo>
                  <a:pt x="138" y="24"/>
                  <a:pt x="1" y="173"/>
                  <a:pt x="0" y="354"/>
                </a:cubicBezTo>
                <a:cubicBezTo>
                  <a:pt x="0" y="354"/>
                  <a:pt x="0" y="353"/>
                  <a:pt x="1" y="353"/>
                </a:cubicBezTo>
                <a:cubicBezTo>
                  <a:pt x="1" y="353"/>
                  <a:pt x="2" y="356"/>
                  <a:pt x="1" y="356"/>
                </a:cubicBezTo>
                <a:cubicBezTo>
                  <a:pt x="0" y="357"/>
                  <a:pt x="0" y="356"/>
                  <a:pt x="0" y="356"/>
                </a:cubicBezTo>
                <a:cubicBezTo>
                  <a:pt x="0" y="356"/>
                  <a:pt x="0" y="357"/>
                  <a:pt x="0" y="357"/>
                </a:cubicBezTo>
                <a:cubicBezTo>
                  <a:pt x="0" y="375"/>
                  <a:pt x="1" y="392"/>
                  <a:pt x="4" y="409"/>
                </a:cubicBezTo>
                <a:cubicBezTo>
                  <a:pt x="4" y="409"/>
                  <a:pt x="4" y="409"/>
                  <a:pt x="4" y="409"/>
                </a:cubicBezTo>
                <a:cubicBezTo>
                  <a:pt x="5" y="409"/>
                  <a:pt x="5" y="412"/>
                  <a:pt x="5" y="412"/>
                </a:cubicBezTo>
                <a:cubicBezTo>
                  <a:pt x="4" y="413"/>
                  <a:pt x="4" y="413"/>
                  <a:pt x="4" y="413"/>
                </a:cubicBezTo>
                <a:cubicBezTo>
                  <a:pt x="5" y="418"/>
                  <a:pt x="6" y="424"/>
                  <a:pt x="7" y="429"/>
                </a:cubicBezTo>
                <a:cubicBezTo>
                  <a:pt x="8" y="429"/>
                  <a:pt x="8" y="429"/>
                  <a:pt x="8" y="429"/>
                </a:cubicBezTo>
                <a:cubicBezTo>
                  <a:pt x="9" y="430"/>
                  <a:pt x="8" y="430"/>
                  <a:pt x="7" y="431"/>
                </a:cubicBezTo>
                <a:cubicBezTo>
                  <a:pt x="8" y="433"/>
                  <a:pt x="8" y="435"/>
                  <a:pt x="9" y="438"/>
                </a:cubicBezTo>
                <a:cubicBezTo>
                  <a:pt x="9" y="438"/>
                  <a:pt x="9" y="438"/>
                  <a:pt x="9" y="438"/>
                </a:cubicBezTo>
                <a:cubicBezTo>
                  <a:pt x="9" y="440"/>
                  <a:pt x="10" y="441"/>
                  <a:pt x="10" y="443"/>
                </a:cubicBezTo>
                <a:cubicBezTo>
                  <a:pt x="10" y="443"/>
                  <a:pt x="10" y="443"/>
                  <a:pt x="10" y="442"/>
                </a:cubicBezTo>
                <a:cubicBezTo>
                  <a:pt x="10" y="442"/>
                  <a:pt x="10" y="442"/>
                  <a:pt x="10" y="441"/>
                </a:cubicBezTo>
                <a:cubicBezTo>
                  <a:pt x="10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2" y="441"/>
                  <a:pt x="13" y="440"/>
                  <a:pt x="14" y="440"/>
                </a:cubicBezTo>
                <a:cubicBezTo>
                  <a:pt x="14" y="439"/>
                  <a:pt x="15" y="438"/>
                  <a:pt x="16" y="439"/>
                </a:cubicBezTo>
                <a:cubicBezTo>
                  <a:pt x="17" y="439"/>
                  <a:pt x="17" y="439"/>
                  <a:pt x="18" y="440"/>
                </a:cubicBezTo>
                <a:cubicBezTo>
                  <a:pt x="20" y="443"/>
                  <a:pt x="19" y="438"/>
                  <a:pt x="18" y="438"/>
                </a:cubicBezTo>
                <a:cubicBezTo>
                  <a:pt x="18" y="438"/>
                  <a:pt x="18" y="438"/>
                  <a:pt x="17" y="437"/>
                </a:cubicBezTo>
                <a:cubicBezTo>
                  <a:pt x="17" y="437"/>
                  <a:pt x="17" y="437"/>
                  <a:pt x="17" y="436"/>
                </a:cubicBezTo>
                <a:cubicBezTo>
                  <a:pt x="17" y="435"/>
                  <a:pt x="17" y="432"/>
                  <a:pt x="17" y="431"/>
                </a:cubicBezTo>
                <a:cubicBezTo>
                  <a:pt x="17" y="433"/>
                  <a:pt x="18" y="434"/>
                  <a:pt x="19" y="435"/>
                </a:cubicBezTo>
                <a:cubicBezTo>
                  <a:pt x="19" y="435"/>
                  <a:pt x="19" y="435"/>
                  <a:pt x="19" y="435"/>
                </a:cubicBezTo>
                <a:cubicBezTo>
                  <a:pt x="20" y="435"/>
                  <a:pt x="19" y="436"/>
                  <a:pt x="19" y="436"/>
                </a:cubicBezTo>
                <a:cubicBezTo>
                  <a:pt x="19" y="437"/>
                  <a:pt x="19" y="437"/>
                  <a:pt x="19" y="438"/>
                </a:cubicBezTo>
                <a:cubicBezTo>
                  <a:pt x="20" y="437"/>
                  <a:pt x="19" y="435"/>
                  <a:pt x="21" y="434"/>
                </a:cubicBezTo>
                <a:cubicBezTo>
                  <a:pt x="20" y="436"/>
                  <a:pt x="20" y="437"/>
                  <a:pt x="21" y="438"/>
                </a:cubicBezTo>
                <a:cubicBezTo>
                  <a:pt x="21" y="438"/>
                  <a:pt x="22" y="438"/>
                  <a:pt x="22" y="438"/>
                </a:cubicBezTo>
                <a:cubicBezTo>
                  <a:pt x="22" y="438"/>
                  <a:pt x="22" y="438"/>
                  <a:pt x="22" y="438"/>
                </a:cubicBezTo>
                <a:cubicBezTo>
                  <a:pt x="23" y="438"/>
                  <a:pt x="23" y="438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3" y="435"/>
                  <a:pt x="23" y="434"/>
                  <a:pt x="23" y="434"/>
                </a:cubicBezTo>
                <a:cubicBezTo>
                  <a:pt x="23" y="433"/>
                  <a:pt x="22" y="433"/>
                  <a:pt x="21" y="434"/>
                </a:cubicBezTo>
                <a:cubicBezTo>
                  <a:pt x="20" y="434"/>
                  <a:pt x="20" y="435"/>
                  <a:pt x="19" y="434"/>
                </a:cubicBezTo>
                <a:cubicBezTo>
                  <a:pt x="19" y="434"/>
                  <a:pt x="19" y="434"/>
                  <a:pt x="19" y="433"/>
                </a:cubicBezTo>
                <a:cubicBezTo>
                  <a:pt x="19" y="433"/>
                  <a:pt x="19" y="433"/>
                  <a:pt x="19" y="433"/>
                </a:cubicBezTo>
                <a:cubicBezTo>
                  <a:pt x="18" y="433"/>
                  <a:pt x="19" y="431"/>
                  <a:pt x="18" y="429"/>
                </a:cubicBezTo>
                <a:cubicBezTo>
                  <a:pt x="17" y="430"/>
                  <a:pt x="16" y="429"/>
                  <a:pt x="16" y="426"/>
                </a:cubicBezTo>
                <a:cubicBezTo>
                  <a:pt x="16" y="426"/>
                  <a:pt x="16" y="426"/>
                  <a:pt x="16" y="426"/>
                </a:cubicBezTo>
                <a:cubicBezTo>
                  <a:pt x="16" y="427"/>
                  <a:pt x="14" y="432"/>
                  <a:pt x="15" y="433"/>
                </a:cubicBezTo>
                <a:cubicBezTo>
                  <a:pt x="15" y="433"/>
                  <a:pt x="16" y="437"/>
                  <a:pt x="14" y="435"/>
                </a:cubicBezTo>
                <a:cubicBezTo>
                  <a:pt x="12" y="434"/>
                  <a:pt x="15" y="429"/>
                  <a:pt x="15" y="426"/>
                </a:cubicBezTo>
                <a:cubicBezTo>
                  <a:pt x="14" y="426"/>
                  <a:pt x="14" y="426"/>
                  <a:pt x="14" y="425"/>
                </a:cubicBezTo>
                <a:cubicBezTo>
                  <a:pt x="13" y="424"/>
                  <a:pt x="14" y="424"/>
                  <a:pt x="14" y="423"/>
                </a:cubicBezTo>
                <a:cubicBezTo>
                  <a:pt x="14" y="423"/>
                  <a:pt x="14" y="422"/>
                  <a:pt x="15" y="422"/>
                </a:cubicBezTo>
                <a:cubicBezTo>
                  <a:pt x="14" y="421"/>
                  <a:pt x="13" y="422"/>
                  <a:pt x="12" y="421"/>
                </a:cubicBezTo>
                <a:cubicBezTo>
                  <a:pt x="13" y="421"/>
                  <a:pt x="11" y="419"/>
                  <a:pt x="11" y="420"/>
                </a:cubicBezTo>
                <a:cubicBezTo>
                  <a:pt x="11" y="417"/>
                  <a:pt x="14" y="417"/>
                  <a:pt x="15" y="419"/>
                </a:cubicBezTo>
                <a:cubicBezTo>
                  <a:pt x="14" y="418"/>
                  <a:pt x="16" y="419"/>
                  <a:pt x="17" y="418"/>
                </a:cubicBezTo>
                <a:cubicBezTo>
                  <a:pt x="16" y="418"/>
                  <a:pt x="17" y="413"/>
                  <a:pt x="19" y="413"/>
                </a:cubicBezTo>
                <a:cubicBezTo>
                  <a:pt x="19" y="413"/>
                  <a:pt x="18" y="416"/>
                  <a:pt x="19" y="417"/>
                </a:cubicBezTo>
                <a:cubicBezTo>
                  <a:pt x="19" y="417"/>
                  <a:pt x="19" y="417"/>
                  <a:pt x="19" y="417"/>
                </a:cubicBezTo>
                <a:cubicBezTo>
                  <a:pt x="19" y="417"/>
                  <a:pt x="19" y="416"/>
                  <a:pt x="20" y="417"/>
                </a:cubicBezTo>
                <a:cubicBezTo>
                  <a:pt x="20" y="417"/>
                  <a:pt x="21" y="418"/>
                  <a:pt x="20" y="419"/>
                </a:cubicBezTo>
                <a:cubicBezTo>
                  <a:pt x="20" y="419"/>
                  <a:pt x="20" y="419"/>
                  <a:pt x="20" y="419"/>
                </a:cubicBezTo>
                <a:cubicBezTo>
                  <a:pt x="21" y="419"/>
                  <a:pt x="20" y="420"/>
                  <a:pt x="19" y="420"/>
                </a:cubicBezTo>
                <a:cubicBezTo>
                  <a:pt x="17" y="421"/>
                  <a:pt x="19" y="421"/>
                  <a:pt x="20" y="422"/>
                </a:cubicBezTo>
                <a:cubicBezTo>
                  <a:pt x="20" y="422"/>
                  <a:pt x="20" y="422"/>
                  <a:pt x="21" y="422"/>
                </a:cubicBezTo>
                <a:cubicBezTo>
                  <a:pt x="21" y="422"/>
                  <a:pt x="21" y="422"/>
                  <a:pt x="21" y="422"/>
                </a:cubicBezTo>
                <a:cubicBezTo>
                  <a:pt x="22" y="423"/>
                  <a:pt x="22" y="423"/>
                  <a:pt x="22" y="424"/>
                </a:cubicBezTo>
                <a:cubicBezTo>
                  <a:pt x="22" y="424"/>
                  <a:pt x="23" y="423"/>
                  <a:pt x="24" y="423"/>
                </a:cubicBezTo>
                <a:cubicBezTo>
                  <a:pt x="25" y="423"/>
                  <a:pt x="24" y="425"/>
                  <a:pt x="26" y="425"/>
                </a:cubicBezTo>
                <a:cubicBezTo>
                  <a:pt x="26" y="425"/>
                  <a:pt x="26" y="425"/>
                  <a:pt x="26" y="425"/>
                </a:cubicBezTo>
                <a:cubicBezTo>
                  <a:pt x="27" y="422"/>
                  <a:pt x="30" y="417"/>
                  <a:pt x="26" y="418"/>
                </a:cubicBezTo>
                <a:cubicBezTo>
                  <a:pt x="29" y="416"/>
                  <a:pt x="25" y="414"/>
                  <a:pt x="24" y="414"/>
                </a:cubicBezTo>
                <a:cubicBezTo>
                  <a:pt x="23" y="412"/>
                  <a:pt x="25" y="415"/>
                  <a:pt x="25" y="414"/>
                </a:cubicBezTo>
                <a:cubicBezTo>
                  <a:pt x="27" y="413"/>
                  <a:pt x="24" y="411"/>
                  <a:pt x="24" y="408"/>
                </a:cubicBezTo>
                <a:cubicBezTo>
                  <a:pt x="24" y="408"/>
                  <a:pt x="26" y="406"/>
                  <a:pt x="26" y="406"/>
                </a:cubicBezTo>
                <a:cubicBezTo>
                  <a:pt x="27" y="404"/>
                  <a:pt x="24" y="405"/>
                  <a:pt x="27" y="404"/>
                </a:cubicBezTo>
                <a:cubicBezTo>
                  <a:pt x="29" y="404"/>
                  <a:pt x="29" y="400"/>
                  <a:pt x="30" y="399"/>
                </a:cubicBezTo>
                <a:cubicBezTo>
                  <a:pt x="30" y="399"/>
                  <a:pt x="34" y="398"/>
                  <a:pt x="34" y="396"/>
                </a:cubicBezTo>
                <a:cubicBezTo>
                  <a:pt x="30" y="400"/>
                  <a:pt x="28" y="395"/>
                  <a:pt x="29" y="394"/>
                </a:cubicBezTo>
                <a:cubicBezTo>
                  <a:pt x="29" y="394"/>
                  <a:pt x="28" y="391"/>
                  <a:pt x="31" y="391"/>
                </a:cubicBezTo>
                <a:cubicBezTo>
                  <a:pt x="33" y="390"/>
                  <a:pt x="32" y="391"/>
                  <a:pt x="34" y="389"/>
                </a:cubicBezTo>
                <a:cubicBezTo>
                  <a:pt x="35" y="388"/>
                  <a:pt x="34" y="396"/>
                  <a:pt x="35" y="396"/>
                </a:cubicBezTo>
                <a:cubicBezTo>
                  <a:pt x="36" y="398"/>
                  <a:pt x="36" y="395"/>
                  <a:pt x="37" y="398"/>
                </a:cubicBezTo>
                <a:cubicBezTo>
                  <a:pt x="38" y="404"/>
                  <a:pt x="42" y="414"/>
                  <a:pt x="34" y="417"/>
                </a:cubicBezTo>
                <a:cubicBezTo>
                  <a:pt x="32" y="418"/>
                  <a:pt x="31" y="417"/>
                  <a:pt x="30" y="418"/>
                </a:cubicBezTo>
                <a:cubicBezTo>
                  <a:pt x="28" y="420"/>
                  <a:pt x="28" y="422"/>
                  <a:pt x="27" y="425"/>
                </a:cubicBezTo>
                <a:cubicBezTo>
                  <a:pt x="27" y="425"/>
                  <a:pt x="27" y="425"/>
                  <a:pt x="27" y="425"/>
                </a:cubicBezTo>
                <a:cubicBezTo>
                  <a:pt x="28" y="425"/>
                  <a:pt x="27" y="426"/>
                  <a:pt x="28" y="427"/>
                </a:cubicBezTo>
                <a:cubicBezTo>
                  <a:pt x="28" y="427"/>
                  <a:pt x="29" y="427"/>
                  <a:pt x="30" y="427"/>
                </a:cubicBezTo>
                <a:cubicBezTo>
                  <a:pt x="30" y="426"/>
                  <a:pt x="30" y="426"/>
                  <a:pt x="31" y="426"/>
                </a:cubicBezTo>
                <a:cubicBezTo>
                  <a:pt x="31" y="426"/>
                  <a:pt x="31" y="426"/>
                  <a:pt x="31" y="427"/>
                </a:cubicBezTo>
                <a:cubicBezTo>
                  <a:pt x="31" y="427"/>
                  <a:pt x="32" y="427"/>
                  <a:pt x="32" y="427"/>
                </a:cubicBezTo>
                <a:cubicBezTo>
                  <a:pt x="32" y="428"/>
                  <a:pt x="31" y="430"/>
                  <a:pt x="33" y="429"/>
                </a:cubicBezTo>
                <a:cubicBezTo>
                  <a:pt x="33" y="430"/>
                  <a:pt x="33" y="432"/>
                  <a:pt x="33" y="433"/>
                </a:cubicBezTo>
                <a:cubicBezTo>
                  <a:pt x="33" y="433"/>
                  <a:pt x="33" y="433"/>
                  <a:pt x="33" y="433"/>
                </a:cubicBezTo>
                <a:cubicBezTo>
                  <a:pt x="34" y="433"/>
                  <a:pt x="36" y="432"/>
                  <a:pt x="35" y="432"/>
                </a:cubicBezTo>
                <a:cubicBezTo>
                  <a:pt x="36" y="432"/>
                  <a:pt x="35" y="435"/>
                  <a:pt x="34" y="436"/>
                </a:cubicBezTo>
                <a:cubicBezTo>
                  <a:pt x="34" y="437"/>
                  <a:pt x="34" y="437"/>
                  <a:pt x="35" y="437"/>
                </a:cubicBezTo>
                <a:cubicBezTo>
                  <a:pt x="34" y="437"/>
                  <a:pt x="38" y="431"/>
                  <a:pt x="39" y="435"/>
                </a:cubicBezTo>
                <a:cubicBezTo>
                  <a:pt x="39" y="434"/>
                  <a:pt x="39" y="434"/>
                  <a:pt x="39" y="434"/>
                </a:cubicBezTo>
                <a:cubicBezTo>
                  <a:pt x="39" y="434"/>
                  <a:pt x="41" y="432"/>
                  <a:pt x="41" y="432"/>
                </a:cubicBezTo>
                <a:cubicBezTo>
                  <a:pt x="43" y="433"/>
                  <a:pt x="41" y="437"/>
                  <a:pt x="40" y="439"/>
                </a:cubicBezTo>
                <a:cubicBezTo>
                  <a:pt x="42" y="439"/>
                  <a:pt x="43" y="440"/>
                  <a:pt x="42" y="441"/>
                </a:cubicBezTo>
                <a:cubicBezTo>
                  <a:pt x="42" y="441"/>
                  <a:pt x="42" y="442"/>
                  <a:pt x="42" y="442"/>
                </a:cubicBezTo>
                <a:cubicBezTo>
                  <a:pt x="42" y="442"/>
                  <a:pt x="42" y="443"/>
                  <a:pt x="41" y="443"/>
                </a:cubicBezTo>
                <a:cubicBezTo>
                  <a:pt x="41" y="443"/>
                  <a:pt x="40" y="444"/>
                  <a:pt x="40" y="444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5"/>
                  <a:pt x="39" y="447"/>
                  <a:pt x="38" y="448"/>
                </a:cubicBezTo>
                <a:cubicBezTo>
                  <a:pt x="38" y="449"/>
                  <a:pt x="38" y="449"/>
                  <a:pt x="38" y="450"/>
                </a:cubicBezTo>
                <a:cubicBezTo>
                  <a:pt x="38" y="450"/>
                  <a:pt x="38" y="450"/>
                  <a:pt x="39" y="450"/>
                </a:cubicBezTo>
                <a:cubicBezTo>
                  <a:pt x="39" y="449"/>
                  <a:pt x="40" y="448"/>
                  <a:pt x="41" y="447"/>
                </a:cubicBezTo>
                <a:cubicBezTo>
                  <a:pt x="41" y="448"/>
                  <a:pt x="40" y="450"/>
                  <a:pt x="39" y="451"/>
                </a:cubicBezTo>
                <a:cubicBezTo>
                  <a:pt x="39" y="451"/>
                  <a:pt x="39" y="451"/>
                  <a:pt x="39" y="451"/>
                </a:cubicBezTo>
                <a:cubicBezTo>
                  <a:pt x="39" y="451"/>
                  <a:pt x="40" y="451"/>
                  <a:pt x="40" y="451"/>
                </a:cubicBezTo>
                <a:cubicBezTo>
                  <a:pt x="40" y="451"/>
                  <a:pt x="39" y="452"/>
                  <a:pt x="39" y="451"/>
                </a:cubicBezTo>
                <a:cubicBezTo>
                  <a:pt x="38" y="453"/>
                  <a:pt x="35" y="455"/>
                  <a:pt x="35" y="457"/>
                </a:cubicBezTo>
                <a:cubicBezTo>
                  <a:pt x="35" y="456"/>
                  <a:pt x="35" y="456"/>
                  <a:pt x="35" y="456"/>
                </a:cubicBezTo>
                <a:cubicBezTo>
                  <a:pt x="36" y="456"/>
                  <a:pt x="36" y="458"/>
                  <a:pt x="36" y="459"/>
                </a:cubicBezTo>
                <a:cubicBezTo>
                  <a:pt x="36" y="459"/>
                  <a:pt x="37" y="459"/>
                  <a:pt x="37" y="460"/>
                </a:cubicBezTo>
                <a:cubicBezTo>
                  <a:pt x="37" y="461"/>
                  <a:pt x="35" y="463"/>
                  <a:pt x="34" y="463"/>
                </a:cubicBezTo>
                <a:cubicBezTo>
                  <a:pt x="34" y="463"/>
                  <a:pt x="34" y="462"/>
                  <a:pt x="34" y="462"/>
                </a:cubicBezTo>
                <a:cubicBezTo>
                  <a:pt x="34" y="462"/>
                  <a:pt x="34" y="462"/>
                  <a:pt x="34" y="462"/>
                </a:cubicBezTo>
                <a:cubicBezTo>
                  <a:pt x="34" y="462"/>
                  <a:pt x="33" y="463"/>
                  <a:pt x="33" y="463"/>
                </a:cubicBezTo>
                <a:cubicBezTo>
                  <a:pt x="31" y="462"/>
                  <a:pt x="33" y="461"/>
                  <a:pt x="34" y="461"/>
                </a:cubicBezTo>
                <a:cubicBezTo>
                  <a:pt x="34" y="461"/>
                  <a:pt x="34" y="460"/>
                  <a:pt x="33" y="460"/>
                </a:cubicBezTo>
                <a:cubicBezTo>
                  <a:pt x="33" y="460"/>
                  <a:pt x="33" y="460"/>
                  <a:pt x="33" y="461"/>
                </a:cubicBezTo>
                <a:cubicBezTo>
                  <a:pt x="32" y="462"/>
                  <a:pt x="31" y="461"/>
                  <a:pt x="32" y="460"/>
                </a:cubicBezTo>
                <a:cubicBezTo>
                  <a:pt x="29" y="460"/>
                  <a:pt x="23" y="461"/>
                  <a:pt x="24" y="461"/>
                </a:cubicBezTo>
                <a:cubicBezTo>
                  <a:pt x="23" y="461"/>
                  <a:pt x="21" y="469"/>
                  <a:pt x="21" y="464"/>
                </a:cubicBezTo>
                <a:cubicBezTo>
                  <a:pt x="21" y="464"/>
                  <a:pt x="21" y="465"/>
                  <a:pt x="20" y="465"/>
                </a:cubicBezTo>
                <a:cubicBezTo>
                  <a:pt x="20" y="465"/>
                  <a:pt x="20" y="465"/>
                  <a:pt x="20" y="465"/>
                </a:cubicBezTo>
                <a:cubicBezTo>
                  <a:pt x="20" y="465"/>
                  <a:pt x="20" y="466"/>
                  <a:pt x="19" y="465"/>
                </a:cubicBezTo>
                <a:cubicBezTo>
                  <a:pt x="19" y="465"/>
                  <a:pt x="19" y="466"/>
                  <a:pt x="19" y="466"/>
                </a:cubicBezTo>
                <a:cubicBezTo>
                  <a:pt x="19" y="467"/>
                  <a:pt x="18" y="465"/>
                  <a:pt x="18" y="465"/>
                </a:cubicBezTo>
                <a:cubicBezTo>
                  <a:pt x="17" y="464"/>
                  <a:pt x="17" y="464"/>
                  <a:pt x="16" y="464"/>
                </a:cubicBezTo>
                <a:cubicBezTo>
                  <a:pt x="16" y="464"/>
                  <a:pt x="16" y="463"/>
                  <a:pt x="16" y="463"/>
                </a:cubicBezTo>
                <a:cubicBezTo>
                  <a:pt x="17" y="466"/>
                  <a:pt x="17" y="468"/>
                  <a:pt x="18" y="470"/>
                </a:cubicBezTo>
                <a:cubicBezTo>
                  <a:pt x="18" y="471"/>
                  <a:pt x="19" y="471"/>
                  <a:pt x="18" y="471"/>
                </a:cubicBezTo>
                <a:cubicBezTo>
                  <a:pt x="18" y="472"/>
                  <a:pt x="19" y="472"/>
                  <a:pt x="19" y="472"/>
                </a:cubicBezTo>
                <a:cubicBezTo>
                  <a:pt x="19" y="472"/>
                  <a:pt x="19" y="472"/>
                  <a:pt x="19" y="471"/>
                </a:cubicBezTo>
                <a:cubicBezTo>
                  <a:pt x="20" y="470"/>
                  <a:pt x="21" y="470"/>
                  <a:pt x="22" y="469"/>
                </a:cubicBezTo>
                <a:cubicBezTo>
                  <a:pt x="21" y="468"/>
                  <a:pt x="22" y="466"/>
                  <a:pt x="23" y="467"/>
                </a:cubicBezTo>
                <a:cubicBezTo>
                  <a:pt x="24" y="467"/>
                  <a:pt x="24" y="468"/>
                  <a:pt x="23" y="469"/>
                </a:cubicBezTo>
                <a:cubicBezTo>
                  <a:pt x="23" y="469"/>
                  <a:pt x="23" y="469"/>
                  <a:pt x="24" y="469"/>
                </a:cubicBezTo>
                <a:cubicBezTo>
                  <a:pt x="24" y="469"/>
                  <a:pt x="24" y="469"/>
                  <a:pt x="24" y="469"/>
                </a:cubicBezTo>
                <a:cubicBezTo>
                  <a:pt x="26" y="468"/>
                  <a:pt x="28" y="469"/>
                  <a:pt x="29" y="470"/>
                </a:cubicBezTo>
                <a:cubicBezTo>
                  <a:pt x="29" y="470"/>
                  <a:pt x="30" y="470"/>
                  <a:pt x="30" y="470"/>
                </a:cubicBezTo>
                <a:cubicBezTo>
                  <a:pt x="30" y="470"/>
                  <a:pt x="30" y="470"/>
                  <a:pt x="30" y="470"/>
                </a:cubicBezTo>
                <a:cubicBezTo>
                  <a:pt x="30" y="470"/>
                  <a:pt x="31" y="471"/>
                  <a:pt x="30" y="471"/>
                </a:cubicBezTo>
                <a:cubicBezTo>
                  <a:pt x="32" y="472"/>
                  <a:pt x="33" y="475"/>
                  <a:pt x="33" y="477"/>
                </a:cubicBezTo>
                <a:cubicBezTo>
                  <a:pt x="33" y="477"/>
                  <a:pt x="32" y="480"/>
                  <a:pt x="31" y="480"/>
                </a:cubicBezTo>
                <a:cubicBezTo>
                  <a:pt x="31" y="480"/>
                  <a:pt x="30" y="479"/>
                  <a:pt x="30" y="480"/>
                </a:cubicBezTo>
                <a:cubicBezTo>
                  <a:pt x="30" y="480"/>
                  <a:pt x="30" y="480"/>
                  <a:pt x="30" y="480"/>
                </a:cubicBezTo>
                <a:cubicBezTo>
                  <a:pt x="29" y="480"/>
                  <a:pt x="29" y="481"/>
                  <a:pt x="29" y="481"/>
                </a:cubicBezTo>
                <a:cubicBezTo>
                  <a:pt x="29" y="481"/>
                  <a:pt x="30" y="481"/>
                  <a:pt x="30" y="482"/>
                </a:cubicBezTo>
                <a:cubicBezTo>
                  <a:pt x="30" y="482"/>
                  <a:pt x="29" y="483"/>
                  <a:pt x="28" y="482"/>
                </a:cubicBezTo>
                <a:cubicBezTo>
                  <a:pt x="28" y="482"/>
                  <a:pt x="28" y="482"/>
                  <a:pt x="28" y="482"/>
                </a:cubicBezTo>
                <a:cubicBezTo>
                  <a:pt x="28" y="483"/>
                  <a:pt x="28" y="484"/>
                  <a:pt x="28" y="485"/>
                </a:cubicBezTo>
                <a:cubicBezTo>
                  <a:pt x="29" y="485"/>
                  <a:pt x="31" y="483"/>
                  <a:pt x="32" y="485"/>
                </a:cubicBezTo>
                <a:cubicBezTo>
                  <a:pt x="29" y="485"/>
                  <a:pt x="31" y="486"/>
                  <a:pt x="31" y="489"/>
                </a:cubicBezTo>
                <a:cubicBezTo>
                  <a:pt x="31" y="493"/>
                  <a:pt x="30" y="491"/>
                  <a:pt x="32" y="488"/>
                </a:cubicBezTo>
                <a:cubicBezTo>
                  <a:pt x="33" y="487"/>
                  <a:pt x="33" y="489"/>
                  <a:pt x="35" y="487"/>
                </a:cubicBezTo>
                <a:cubicBezTo>
                  <a:pt x="35" y="486"/>
                  <a:pt x="35" y="484"/>
                  <a:pt x="35" y="482"/>
                </a:cubicBezTo>
                <a:cubicBezTo>
                  <a:pt x="35" y="482"/>
                  <a:pt x="35" y="482"/>
                  <a:pt x="35" y="482"/>
                </a:cubicBezTo>
                <a:cubicBezTo>
                  <a:pt x="35" y="481"/>
                  <a:pt x="35" y="481"/>
                  <a:pt x="35" y="480"/>
                </a:cubicBezTo>
                <a:cubicBezTo>
                  <a:pt x="35" y="482"/>
                  <a:pt x="31" y="480"/>
                  <a:pt x="33" y="479"/>
                </a:cubicBezTo>
                <a:cubicBezTo>
                  <a:pt x="33" y="479"/>
                  <a:pt x="33" y="479"/>
                  <a:pt x="34" y="478"/>
                </a:cubicBezTo>
                <a:cubicBezTo>
                  <a:pt x="34" y="477"/>
                  <a:pt x="35" y="474"/>
                  <a:pt x="36" y="473"/>
                </a:cubicBezTo>
                <a:cubicBezTo>
                  <a:pt x="36" y="470"/>
                  <a:pt x="37" y="470"/>
                  <a:pt x="36" y="473"/>
                </a:cubicBezTo>
                <a:cubicBezTo>
                  <a:pt x="36" y="475"/>
                  <a:pt x="36" y="477"/>
                  <a:pt x="35" y="478"/>
                </a:cubicBezTo>
                <a:cubicBezTo>
                  <a:pt x="37" y="477"/>
                  <a:pt x="35" y="476"/>
                  <a:pt x="36" y="475"/>
                </a:cubicBezTo>
                <a:cubicBezTo>
                  <a:pt x="36" y="474"/>
                  <a:pt x="38" y="473"/>
                  <a:pt x="39" y="472"/>
                </a:cubicBezTo>
                <a:cubicBezTo>
                  <a:pt x="39" y="472"/>
                  <a:pt x="39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39" y="469"/>
                  <a:pt x="43" y="469"/>
                  <a:pt x="42" y="470"/>
                </a:cubicBezTo>
                <a:cubicBezTo>
                  <a:pt x="43" y="470"/>
                  <a:pt x="43" y="470"/>
                  <a:pt x="43" y="470"/>
                </a:cubicBezTo>
                <a:cubicBezTo>
                  <a:pt x="43" y="470"/>
                  <a:pt x="44" y="470"/>
                  <a:pt x="44" y="471"/>
                </a:cubicBezTo>
                <a:cubicBezTo>
                  <a:pt x="44" y="471"/>
                  <a:pt x="44" y="471"/>
                  <a:pt x="44" y="471"/>
                </a:cubicBezTo>
                <a:cubicBezTo>
                  <a:pt x="44" y="471"/>
                  <a:pt x="45" y="473"/>
                  <a:pt x="46" y="474"/>
                </a:cubicBezTo>
                <a:cubicBezTo>
                  <a:pt x="46" y="474"/>
                  <a:pt x="47" y="474"/>
                  <a:pt x="47" y="474"/>
                </a:cubicBezTo>
                <a:cubicBezTo>
                  <a:pt x="47" y="474"/>
                  <a:pt x="47" y="475"/>
                  <a:pt x="47" y="475"/>
                </a:cubicBezTo>
                <a:cubicBezTo>
                  <a:pt x="47" y="475"/>
                  <a:pt x="48" y="475"/>
                  <a:pt x="48" y="474"/>
                </a:cubicBezTo>
                <a:cubicBezTo>
                  <a:pt x="48" y="474"/>
                  <a:pt x="48" y="473"/>
                  <a:pt x="48" y="473"/>
                </a:cubicBezTo>
                <a:cubicBezTo>
                  <a:pt x="49" y="473"/>
                  <a:pt x="56" y="472"/>
                  <a:pt x="53" y="470"/>
                </a:cubicBezTo>
                <a:cubicBezTo>
                  <a:pt x="52" y="470"/>
                  <a:pt x="52" y="471"/>
                  <a:pt x="52" y="471"/>
                </a:cubicBezTo>
                <a:cubicBezTo>
                  <a:pt x="52" y="471"/>
                  <a:pt x="52" y="470"/>
                  <a:pt x="51" y="470"/>
                </a:cubicBezTo>
                <a:cubicBezTo>
                  <a:pt x="50" y="470"/>
                  <a:pt x="49" y="472"/>
                  <a:pt x="48" y="472"/>
                </a:cubicBezTo>
                <a:cubicBezTo>
                  <a:pt x="50" y="471"/>
                  <a:pt x="48" y="468"/>
                  <a:pt x="49" y="467"/>
                </a:cubicBezTo>
                <a:cubicBezTo>
                  <a:pt x="51" y="467"/>
                  <a:pt x="53" y="470"/>
                  <a:pt x="55" y="470"/>
                </a:cubicBezTo>
                <a:cubicBezTo>
                  <a:pt x="58" y="469"/>
                  <a:pt x="59" y="467"/>
                  <a:pt x="60" y="465"/>
                </a:cubicBezTo>
                <a:cubicBezTo>
                  <a:pt x="59" y="466"/>
                  <a:pt x="57" y="466"/>
                  <a:pt x="56" y="465"/>
                </a:cubicBezTo>
                <a:cubicBezTo>
                  <a:pt x="55" y="466"/>
                  <a:pt x="54" y="467"/>
                  <a:pt x="53" y="465"/>
                </a:cubicBezTo>
                <a:cubicBezTo>
                  <a:pt x="52" y="463"/>
                  <a:pt x="48" y="460"/>
                  <a:pt x="50" y="458"/>
                </a:cubicBezTo>
                <a:cubicBezTo>
                  <a:pt x="53" y="455"/>
                  <a:pt x="58" y="451"/>
                  <a:pt x="59" y="445"/>
                </a:cubicBezTo>
                <a:cubicBezTo>
                  <a:pt x="55" y="450"/>
                  <a:pt x="54" y="444"/>
                  <a:pt x="59" y="443"/>
                </a:cubicBezTo>
                <a:cubicBezTo>
                  <a:pt x="58" y="445"/>
                  <a:pt x="60" y="444"/>
                  <a:pt x="61" y="445"/>
                </a:cubicBezTo>
                <a:cubicBezTo>
                  <a:pt x="61" y="445"/>
                  <a:pt x="61" y="446"/>
                  <a:pt x="61" y="446"/>
                </a:cubicBezTo>
                <a:cubicBezTo>
                  <a:pt x="61" y="446"/>
                  <a:pt x="61" y="446"/>
                  <a:pt x="61" y="446"/>
                </a:cubicBezTo>
                <a:cubicBezTo>
                  <a:pt x="63" y="446"/>
                  <a:pt x="60" y="450"/>
                  <a:pt x="60" y="447"/>
                </a:cubicBezTo>
                <a:cubicBezTo>
                  <a:pt x="60" y="447"/>
                  <a:pt x="60" y="447"/>
                  <a:pt x="60" y="447"/>
                </a:cubicBezTo>
                <a:cubicBezTo>
                  <a:pt x="60" y="448"/>
                  <a:pt x="59" y="448"/>
                  <a:pt x="59" y="449"/>
                </a:cubicBezTo>
                <a:cubicBezTo>
                  <a:pt x="59" y="452"/>
                  <a:pt x="59" y="456"/>
                  <a:pt x="60" y="459"/>
                </a:cubicBezTo>
                <a:cubicBezTo>
                  <a:pt x="61" y="459"/>
                  <a:pt x="61" y="459"/>
                  <a:pt x="62" y="460"/>
                </a:cubicBezTo>
                <a:cubicBezTo>
                  <a:pt x="62" y="460"/>
                  <a:pt x="62" y="460"/>
                  <a:pt x="62" y="461"/>
                </a:cubicBezTo>
                <a:cubicBezTo>
                  <a:pt x="63" y="462"/>
                  <a:pt x="64" y="461"/>
                  <a:pt x="66" y="457"/>
                </a:cubicBezTo>
                <a:cubicBezTo>
                  <a:pt x="67" y="464"/>
                  <a:pt x="71" y="455"/>
                  <a:pt x="70" y="453"/>
                </a:cubicBezTo>
                <a:cubicBezTo>
                  <a:pt x="70" y="453"/>
                  <a:pt x="68" y="453"/>
                  <a:pt x="68" y="452"/>
                </a:cubicBezTo>
                <a:cubicBezTo>
                  <a:pt x="67" y="452"/>
                  <a:pt x="68" y="449"/>
                  <a:pt x="68" y="447"/>
                </a:cubicBezTo>
                <a:cubicBezTo>
                  <a:pt x="69" y="446"/>
                  <a:pt x="73" y="440"/>
                  <a:pt x="72" y="445"/>
                </a:cubicBezTo>
                <a:cubicBezTo>
                  <a:pt x="71" y="446"/>
                  <a:pt x="71" y="448"/>
                  <a:pt x="71" y="449"/>
                </a:cubicBezTo>
                <a:cubicBezTo>
                  <a:pt x="72" y="449"/>
                  <a:pt x="72" y="449"/>
                  <a:pt x="71" y="449"/>
                </a:cubicBezTo>
                <a:cubicBezTo>
                  <a:pt x="71" y="449"/>
                  <a:pt x="71" y="449"/>
                  <a:pt x="71" y="449"/>
                </a:cubicBezTo>
                <a:cubicBezTo>
                  <a:pt x="71" y="450"/>
                  <a:pt x="71" y="452"/>
                  <a:pt x="71" y="453"/>
                </a:cubicBezTo>
                <a:cubicBezTo>
                  <a:pt x="71" y="455"/>
                  <a:pt x="70" y="457"/>
                  <a:pt x="70" y="458"/>
                </a:cubicBezTo>
                <a:cubicBezTo>
                  <a:pt x="70" y="458"/>
                  <a:pt x="70" y="458"/>
                  <a:pt x="71" y="459"/>
                </a:cubicBezTo>
                <a:cubicBezTo>
                  <a:pt x="71" y="459"/>
                  <a:pt x="72" y="459"/>
                  <a:pt x="72" y="460"/>
                </a:cubicBezTo>
                <a:cubicBezTo>
                  <a:pt x="71" y="460"/>
                  <a:pt x="71" y="460"/>
                  <a:pt x="71" y="460"/>
                </a:cubicBezTo>
                <a:cubicBezTo>
                  <a:pt x="71" y="461"/>
                  <a:pt x="72" y="461"/>
                  <a:pt x="72" y="461"/>
                </a:cubicBezTo>
                <a:cubicBezTo>
                  <a:pt x="74" y="461"/>
                  <a:pt x="74" y="453"/>
                  <a:pt x="73" y="450"/>
                </a:cubicBezTo>
                <a:cubicBezTo>
                  <a:pt x="73" y="450"/>
                  <a:pt x="73" y="451"/>
                  <a:pt x="73" y="450"/>
                </a:cubicBezTo>
                <a:cubicBezTo>
                  <a:pt x="72" y="450"/>
                  <a:pt x="73" y="449"/>
                  <a:pt x="73" y="449"/>
                </a:cubicBezTo>
                <a:cubicBezTo>
                  <a:pt x="73" y="449"/>
                  <a:pt x="73" y="449"/>
                  <a:pt x="73" y="449"/>
                </a:cubicBezTo>
                <a:cubicBezTo>
                  <a:pt x="73" y="449"/>
                  <a:pt x="74" y="448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5"/>
                  <a:pt x="74" y="442"/>
                  <a:pt x="75" y="442"/>
                </a:cubicBezTo>
                <a:cubicBezTo>
                  <a:pt x="78" y="440"/>
                  <a:pt x="73" y="455"/>
                  <a:pt x="78" y="450"/>
                </a:cubicBezTo>
                <a:cubicBezTo>
                  <a:pt x="79" y="450"/>
                  <a:pt x="83" y="445"/>
                  <a:pt x="83" y="445"/>
                </a:cubicBezTo>
                <a:cubicBezTo>
                  <a:pt x="82" y="444"/>
                  <a:pt x="81" y="445"/>
                  <a:pt x="80" y="445"/>
                </a:cubicBezTo>
                <a:cubicBezTo>
                  <a:pt x="78" y="444"/>
                  <a:pt x="79" y="441"/>
                  <a:pt x="80" y="441"/>
                </a:cubicBezTo>
                <a:cubicBezTo>
                  <a:pt x="82" y="440"/>
                  <a:pt x="82" y="442"/>
                  <a:pt x="83" y="442"/>
                </a:cubicBezTo>
                <a:cubicBezTo>
                  <a:pt x="85" y="441"/>
                  <a:pt x="85" y="439"/>
                  <a:pt x="86" y="437"/>
                </a:cubicBezTo>
                <a:cubicBezTo>
                  <a:pt x="86" y="438"/>
                  <a:pt x="85" y="438"/>
                  <a:pt x="85" y="438"/>
                </a:cubicBezTo>
                <a:cubicBezTo>
                  <a:pt x="85" y="437"/>
                  <a:pt x="86" y="437"/>
                  <a:pt x="86" y="437"/>
                </a:cubicBezTo>
                <a:cubicBezTo>
                  <a:pt x="86" y="435"/>
                  <a:pt x="87" y="434"/>
                  <a:pt x="88" y="432"/>
                </a:cubicBezTo>
                <a:cubicBezTo>
                  <a:pt x="90" y="430"/>
                  <a:pt x="91" y="426"/>
                  <a:pt x="91" y="426"/>
                </a:cubicBezTo>
                <a:cubicBezTo>
                  <a:pt x="91" y="426"/>
                  <a:pt x="93" y="428"/>
                  <a:pt x="95" y="428"/>
                </a:cubicBezTo>
                <a:cubicBezTo>
                  <a:pt x="97" y="428"/>
                  <a:pt x="96" y="426"/>
                  <a:pt x="97" y="428"/>
                </a:cubicBezTo>
                <a:cubicBezTo>
                  <a:pt x="97" y="430"/>
                  <a:pt x="98" y="428"/>
                  <a:pt x="98" y="430"/>
                </a:cubicBezTo>
                <a:cubicBezTo>
                  <a:pt x="98" y="432"/>
                  <a:pt x="95" y="437"/>
                  <a:pt x="92" y="435"/>
                </a:cubicBezTo>
                <a:cubicBezTo>
                  <a:pt x="91" y="435"/>
                  <a:pt x="91" y="433"/>
                  <a:pt x="89" y="435"/>
                </a:cubicBezTo>
                <a:cubicBezTo>
                  <a:pt x="89" y="436"/>
                  <a:pt x="90" y="437"/>
                  <a:pt x="89" y="439"/>
                </a:cubicBezTo>
                <a:cubicBezTo>
                  <a:pt x="88" y="441"/>
                  <a:pt x="84" y="445"/>
                  <a:pt x="83" y="448"/>
                </a:cubicBezTo>
                <a:cubicBezTo>
                  <a:pt x="82" y="450"/>
                  <a:pt x="83" y="453"/>
                  <a:pt x="81" y="456"/>
                </a:cubicBezTo>
                <a:cubicBezTo>
                  <a:pt x="80" y="458"/>
                  <a:pt x="75" y="461"/>
                  <a:pt x="75" y="463"/>
                </a:cubicBezTo>
                <a:cubicBezTo>
                  <a:pt x="75" y="463"/>
                  <a:pt x="76" y="464"/>
                  <a:pt x="76" y="464"/>
                </a:cubicBezTo>
                <a:cubicBezTo>
                  <a:pt x="77" y="464"/>
                  <a:pt x="77" y="464"/>
                  <a:pt x="77" y="464"/>
                </a:cubicBezTo>
                <a:cubicBezTo>
                  <a:pt x="77" y="465"/>
                  <a:pt x="77" y="465"/>
                  <a:pt x="77" y="465"/>
                </a:cubicBezTo>
                <a:cubicBezTo>
                  <a:pt x="79" y="466"/>
                  <a:pt x="83" y="467"/>
                  <a:pt x="86" y="467"/>
                </a:cubicBezTo>
                <a:cubicBezTo>
                  <a:pt x="86" y="467"/>
                  <a:pt x="86" y="466"/>
                  <a:pt x="86" y="466"/>
                </a:cubicBezTo>
                <a:cubicBezTo>
                  <a:pt x="86" y="465"/>
                  <a:pt x="86" y="465"/>
                  <a:pt x="86" y="464"/>
                </a:cubicBezTo>
                <a:cubicBezTo>
                  <a:pt x="87" y="460"/>
                  <a:pt x="94" y="456"/>
                  <a:pt x="98" y="458"/>
                </a:cubicBezTo>
                <a:cubicBezTo>
                  <a:pt x="98" y="458"/>
                  <a:pt x="98" y="459"/>
                  <a:pt x="99" y="459"/>
                </a:cubicBezTo>
                <a:cubicBezTo>
                  <a:pt x="99" y="459"/>
                  <a:pt x="99" y="459"/>
                  <a:pt x="99" y="459"/>
                </a:cubicBezTo>
                <a:cubicBezTo>
                  <a:pt x="100" y="458"/>
                  <a:pt x="99" y="459"/>
                  <a:pt x="99" y="459"/>
                </a:cubicBezTo>
                <a:cubicBezTo>
                  <a:pt x="99" y="459"/>
                  <a:pt x="99" y="459"/>
                  <a:pt x="99" y="460"/>
                </a:cubicBezTo>
                <a:cubicBezTo>
                  <a:pt x="100" y="459"/>
                  <a:pt x="101" y="459"/>
                  <a:pt x="101" y="458"/>
                </a:cubicBezTo>
                <a:cubicBezTo>
                  <a:pt x="103" y="459"/>
                  <a:pt x="103" y="456"/>
                  <a:pt x="105" y="456"/>
                </a:cubicBezTo>
                <a:cubicBezTo>
                  <a:pt x="106" y="455"/>
                  <a:pt x="108" y="458"/>
                  <a:pt x="108" y="455"/>
                </a:cubicBezTo>
                <a:cubicBezTo>
                  <a:pt x="108" y="460"/>
                  <a:pt x="116" y="452"/>
                  <a:pt x="116" y="451"/>
                </a:cubicBezTo>
                <a:cubicBezTo>
                  <a:pt x="116" y="451"/>
                  <a:pt x="110" y="450"/>
                  <a:pt x="110" y="450"/>
                </a:cubicBezTo>
                <a:cubicBezTo>
                  <a:pt x="110" y="450"/>
                  <a:pt x="110" y="450"/>
                  <a:pt x="110" y="450"/>
                </a:cubicBezTo>
                <a:cubicBezTo>
                  <a:pt x="110" y="451"/>
                  <a:pt x="110" y="451"/>
                  <a:pt x="110" y="451"/>
                </a:cubicBezTo>
                <a:cubicBezTo>
                  <a:pt x="109" y="451"/>
                  <a:pt x="109" y="452"/>
                  <a:pt x="108" y="451"/>
                </a:cubicBezTo>
                <a:cubicBezTo>
                  <a:pt x="107" y="450"/>
                  <a:pt x="109" y="450"/>
                  <a:pt x="110" y="449"/>
                </a:cubicBezTo>
                <a:cubicBezTo>
                  <a:pt x="110" y="449"/>
                  <a:pt x="110" y="449"/>
                  <a:pt x="109" y="449"/>
                </a:cubicBezTo>
                <a:cubicBezTo>
                  <a:pt x="109" y="449"/>
                  <a:pt x="108" y="448"/>
                  <a:pt x="108" y="447"/>
                </a:cubicBezTo>
                <a:cubicBezTo>
                  <a:pt x="108" y="447"/>
                  <a:pt x="108" y="446"/>
                  <a:pt x="108" y="446"/>
                </a:cubicBezTo>
                <a:cubicBezTo>
                  <a:pt x="108" y="446"/>
                  <a:pt x="108" y="445"/>
                  <a:pt x="108" y="444"/>
                </a:cubicBezTo>
                <a:cubicBezTo>
                  <a:pt x="108" y="444"/>
                  <a:pt x="110" y="441"/>
                  <a:pt x="111" y="441"/>
                </a:cubicBezTo>
                <a:cubicBezTo>
                  <a:pt x="112" y="440"/>
                  <a:pt x="114" y="435"/>
                  <a:pt x="115" y="436"/>
                </a:cubicBezTo>
                <a:cubicBezTo>
                  <a:pt x="116" y="436"/>
                  <a:pt x="114" y="438"/>
                  <a:pt x="115" y="439"/>
                </a:cubicBezTo>
                <a:cubicBezTo>
                  <a:pt x="115" y="440"/>
                  <a:pt x="117" y="439"/>
                  <a:pt x="118" y="439"/>
                </a:cubicBezTo>
                <a:cubicBezTo>
                  <a:pt x="119" y="439"/>
                  <a:pt x="118" y="441"/>
                  <a:pt x="119" y="442"/>
                </a:cubicBezTo>
                <a:cubicBezTo>
                  <a:pt x="119" y="441"/>
                  <a:pt x="121" y="440"/>
                  <a:pt x="122" y="442"/>
                </a:cubicBezTo>
                <a:cubicBezTo>
                  <a:pt x="122" y="444"/>
                  <a:pt x="120" y="443"/>
                  <a:pt x="120" y="444"/>
                </a:cubicBezTo>
                <a:cubicBezTo>
                  <a:pt x="119" y="444"/>
                  <a:pt x="120" y="445"/>
                  <a:pt x="120" y="445"/>
                </a:cubicBezTo>
                <a:cubicBezTo>
                  <a:pt x="121" y="446"/>
                  <a:pt x="119" y="447"/>
                  <a:pt x="118" y="448"/>
                </a:cubicBezTo>
                <a:cubicBezTo>
                  <a:pt x="118" y="449"/>
                  <a:pt x="119" y="450"/>
                  <a:pt x="119" y="450"/>
                </a:cubicBezTo>
                <a:cubicBezTo>
                  <a:pt x="117" y="453"/>
                  <a:pt x="112" y="455"/>
                  <a:pt x="113" y="460"/>
                </a:cubicBezTo>
                <a:cubicBezTo>
                  <a:pt x="113" y="461"/>
                  <a:pt x="114" y="460"/>
                  <a:pt x="115" y="460"/>
                </a:cubicBezTo>
                <a:cubicBezTo>
                  <a:pt x="114" y="463"/>
                  <a:pt x="112" y="471"/>
                  <a:pt x="107" y="472"/>
                </a:cubicBezTo>
                <a:cubicBezTo>
                  <a:pt x="106" y="472"/>
                  <a:pt x="104" y="471"/>
                  <a:pt x="103" y="471"/>
                </a:cubicBezTo>
                <a:cubicBezTo>
                  <a:pt x="102" y="471"/>
                  <a:pt x="102" y="470"/>
                  <a:pt x="101" y="469"/>
                </a:cubicBezTo>
                <a:cubicBezTo>
                  <a:pt x="101" y="469"/>
                  <a:pt x="100" y="469"/>
                  <a:pt x="100" y="468"/>
                </a:cubicBezTo>
                <a:cubicBezTo>
                  <a:pt x="100" y="468"/>
                  <a:pt x="100" y="468"/>
                  <a:pt x="100" y="468"/>
                </a:cubicBezTo>
                <a:cubicBezTo>
                  <a:pt x="100" y="468"/>
                  <a:pt x="100" y="467"/>
                  <a:pt x="99" y="467"/>
                </a:cubicBezTo>
                <a:cubicBezTo>
                  <a:pt x="98" y="468"/>
                  <a:pt x="96" y="470"/>
                  <a:pt x="95" y="470"/>
                </a:cubicBezTo>
                <a:cubicBezTo>
                  <a:pt x="96" y="472"/>
                  <a:pt x="98" y="470"/>
                  <a:pt x="99" y="470"/>
                </a:cubicBezTo>
                <a:cubicBezTo>
                  <a:pt x="98" y="471"/>
                  <a:pt x="98" y="471"/>
                  <a:pt x="98" y="472"/>
                </a:cubicBezTo>
                <a:cubicBezTo>
                  <a:pt x="99" y="472"/>
                  <a:pt x="100" y="472"/>
                  <a:pt x="100" y="472"/>
                </a:cubicBezTo>
                <a:cubicBezTo>
                  <a:pt x="101" y="473"/>
                  <a:pt x="99" y="473"/>
                  <a:pt x="99" y="473"/>
                </a:cubicBezTo>
                <a:cubicBezTo>
                  <a:pt x="98" y="475"/>
                  <a:pt x="100" y="474"/>
                  <a:pt x="99" y="476"/>
                </a:cubicBezTo>
                <a:cubicBezTo>
                  <a:pt x="98" y="478"/>
                  <a:pt x="95" y="477"/>
                  <a:pt x="94" y="478"/>
                </a:cubicBezTo>
                <a:cubicBezTo>
                  <a:pt x="94" y="478"/>
                  <a:pt x="94" y="478"/>
                  <a:pt x="94" y="479"/>
                </a:cubicBezTo>
                <a:cubicBezTo>
                  <a:pt x="95" y="479"/>
                  <a:pt x="95" y="479"/>
                  <a:pt x="96" y="479"/>
                </a:cubicBezTo>
                <a:cubicBezTo>
                  <a:pt x="96" y="480"/>
                  <a:pt x="94" y="481"/>
                  <a:pt x="95" y="483"/>
                </a:cubicBezTo>
                <a:cubicBezTo>
                  <a:pt x="95" y="483"/>
                  <a:pt x="96" y="483"/>
                  <a:pt x="96" y="483"/>
                </a:cubicBezTo>
                <a:cubicBezTo>
                  <a:pt x="96" y="483"/>
                  <a:pt x="97" y="487"/>
                  <a:pt x="97" y="487"/>
                </a:cubicBezTo>
                <a:cubicBezTo>
                  <a:pt x="96" y="489"/>
                  <a:pt x="94" y="487"/>
                  <a:pt x="92" y="488"/>
                </a:cubicBezTo>
                <a:cubicBezTo>
                  <a:pt x="93" y="488"/>
                  <a:pt x="90" y="490"/>
                  <a:pt x="90" y="490"/>
                </a:cubicBezTo>
                <a:cubicBezTo>
                  <a:pt x="90" y="491"/>
                  <a:pt x="91" y="491"/>
                  <a:pt x="91" y="492"/>
                </a:cubicBezTo>
                <a:cubicBezTo>
                  <a:pt x="90" y="495"/>
                  <a:pt x="89" y="494"/>
                  <a:pt x="89" y="497"/>
                </a:cubicBezTo>
                <a:cubicBezTo>
                  <a:pt x="89" y="498"/>
                  <a:pt x="86" y="502"/>
                  <a:pt x="84" y="502"/>
                </a:cubicBezTo>
                <a:cubicBezTo>
                  <a:pt x="80" y="502"/>
                  <a:pt x="82" y="494"/>
                  <a:pt x="76" y="496"/>
                </a:cubicBezTo>
                <a:cubicBezTo>
                  <a:pt x="75" y="491"/>
                  <a:pt x="70" y="501"/>
                  <a:pt x="69" y="501"/>
                </a:cubicBezTo>
                <a:cubicBezTo>
                  <a:pt x="69" y="501"/>
                  <a:pt x="69" y="501"/>
                  <a:pt x="69" y="501"/>
                </a:cubicBezTo>
                <a:cubicBezTo>
                  <a:pt x="69" y="501"/>
                  <a:pt x="69" y="502"/>
                  <a:pt x="68" y="501"/>
                </a:cubicBezTo>
                <a:cubicBezTo>
                  <a:pt x="68" y="501"/>
                  <a:pt x="68" y="501"/>
                  <a:pt x="68" y="501"/>
                </a:cubicBezTo>
                <a:cubicBezTo>
                  <a:pt x="68" y="500"/>
                  <a:pt x="69" y="500"/>
                  <a:pt x="69" y="501"/>
                </a:cubicBezTo>
                <a:cubicBezTo>
                  <a:pt x="69" y="499"/>
                  <a:pt x="73" y="494"/>
                  <a:pt x="68" y="496"/>
                </a:cubicBezTo>
                <a:cubicBezTo>
                  <a:pt x="67" y="497"/>
                  <a:pt x="69" y="499"/>
                  <a:pt x="68" y="500"/>
                </a:cubicBezTo>
                <a:cubicBezTo>
                  <a:pt x="67" y="501"/>
                  <a:pt x="64" y="500"/>
                  <a:pt x="62" y="500"/>
                </a:cubicBezTo>
                <a:cubicBezTo>
                  <a:pt x="62" y="500"/>
                  <a:pt x="61" y="504"/>
                  <a:pt x="61" y="505"/>
                </a:cubicBezTo>
                <a:cubicBezTo>
                  <a:pt x="62" y="506"/>
                  <a:pt x="63" y="506"/>
                  <a:pt x="62" y="508"/>
                </a:cubicBezTo>
                <a:cubicBezTo>
                  <a:pt x="62" y="508"/>
                  <a:pt x="62" y="507"/>
                  <a:pt x="63" y="507"/>
                </a:cubicBezTo>
                <a:cubicBezTo>
                  <a:pt x="62" y="508"/>
                  <a:pt x="62" y="509"/>
                  <a:pt x="65" y="508"/>
                </a:cubicBezTo>
                <a:cubicBezTo>
                  <a:pt x="63" y="511"/>
                  <a:pt x="60" y="511"/>
                  <a:pt x="61" y="514"/>
                </a:cubicBezTo>
                <a:cubicBezTo>
                  <a:pt x="61" y="514"/>
                  <a:pt x="67" y="516"/>
                  <a:pt x="66" y="517"/>
                </a:cubicBezTo>
                <a:cubicBezTo>
                  <a:pt x="70" y="515"/>
                  <a:pt x="64" y="513"/>
                  <a:pt x="65" y="510"/>
                </a:cubicBezTo>
                <a:cubicBezTo>
                  <a:pt x="66" y="507"/>
                  <a:pt x="68" y="514"/>
                  <a:pt x="69" y="514"/>
                </a:cubicBezTo>
                <a:cubicBezTo>
                  <a:pt x="70" y="515"/>
                  <a:pt x="69" y="514"/>
                  <a:pt x="70" y="514"/>
                </a:cubicBezTo>
                <a:cubicBezTo>
                  <a:pt x="72" y="513"/>
                  <a:pt x="73" y="516"/>
                  <a:pt x="74" y="514"/>
                </a:cubicBezTo>
                <a:cubicBezTo>
                  <a:pt x="74" y="514"/>
                  <a:pt x="71" y="514"/>
                  <a:pt x="72" y="512"/>
                </a:cubicBezTo>
                <a:cubicBezTo>
                  <a:pt x="73" y="511"/>
                  <a:pt x="75" y="513"/>
                  <a:pt x="75" y="513"/>
                </a:cubicBezTo>
                <a:cubicBezTo>
                  <a:pt x="76" y="513"/>
                  <a:pt x="77" y="513"/>
                  <a:pt x="78" y="514"/>
                </a:cubicBezTo>
                <a:cubicBezTo>
                  <a:pt x="78" y="513"/>
                  <a:pt x="78" y="513"/>
                  <a:pt x="78" y="513"/>
                </a:cubicBezTo>
                <a:cubicBezTo>
                  <a:pt x="78" y="513"/>
                  <a:pt x="78" y="514"/>
                  <a:pt x="78" y="515"/>
                </a:cubicBezTo>
                <a:cubicBezTo>
                  <a:pt x="78" y="517"/>
                  <a:pt x="78" y="519"/>
                  <a:pt x="78" y="520"/>
                </a:cubicBezTo>
                <a:cubicBezTo>
                  <a:pt x="78" y="520"/>
                  <a:pt x="78" y="520"/>
                  <a:pt x="78" y="520"/>
                </a:cubicBezTo>
                <a:cubicBezTo>
                  <a:pt x="79" y="520"/>
                  <a:pt x="78" y="519"/>
                  <a:pt x="79" y="519"/>
                </a:cubicBezTo>
                <a:cubicBezTo>
                  <a:pt x="80" y="520"/>
                  <a:pt x="80" y="520"/>
                  <a:pt x="81" y="520"/>
                </a:cubicBezTo>
                <a:cubicBezTo>
                  <a:pt x="81" y="518"/>
                  <a:pt x="82" y="515"/>
                  <a:pt x="82" y="515"/>
                </a:cubicBezTo>
                <a:cubicBezTo>
                  <a:pt x="84" y="514"/>
                  <a:pt x="85" y="516"/>
                  <a:pt x="86" y="514"/>
                </a:cubicBezTo>
                <a:cubicBezTo>
                  <a:pt x="86" y="513"/>
                  <a:pt x="84" y="512"/>
                  <a:pt x="84" y="511"/>
                </a:cubicBezTo>
                <a:cubicBezTo>
                  <a:pt x="84" y="511"/>
                  <a:pt x="83" y="509"/>
                  <a:pt x="84" y="509"/>
                </a:cubicBezTo>
                <a:cubicBezTo>
                  <a:pt x="82" y="509"/>
                  <a:pt x="80" y="511"/>
                  <a:pt x="80" y="510"/>
                </a:cubicBezTo>
                <a:cubicBezTo>
                  <a:pt x="79" y="510"/>
                  <a:pt x="80" y="508"/>
                  <a:pt x="81" y="507"/>
                </a:cubicBezTo>
                <a:cubicBezTo>
                  <a:pt x="82" y="510"/>
                  <a:pt x="84" y="506"/>
                  <a:pt x="85" y="505"/>
                </a:cubicBezTo>
                <a:cubicBezTo>
                  <a:pt x="86" y="504"/>
                  <a:pt x="89" y="504"/>
                  <a:pt x="89" y="504"/>
                </a:cubicBezTo>
                <a:cubicBezTo>
                  <a:pt x="90" y="503"/>
                  <a:pt x="88" y="501"/>
                  <a:pt x="90" y="501"/>
                </a:cubicBezTo>
                <a:cubicBezTo>
                  <a:pt x="91" y="501"/>
                  <a:pt x="90" y="502"/>
                  <a:pt x="90" y="502"/>
                </a:cubicBezTo>
                <a:cubicBezTo>
                  <a:pt x="91" y="503"/>
                  <a:pt x="93" y="501"/>
                  <a:pt x="94" y="502"/>
                </a:cubicBezTo>
                <a:cubicBezTo>
                  <a:pt x="95" y="502"/>
                  <a:pt x="94" y="504"/>
                  <a:pt x="94" y="505"/>
                </a:cubicBezTo>
                <a:cubicBezTo>
                  <a:pt x="94" y="506"/>
                  <a:pt x="94" y="507"/>
                  <a:pt x="94" y="508"/>
                </a:cubicBezTo>
                <a:cubicBezTo>
                  <a:pt x="97" y="507"/>
                  <a:pt x="101" y="507"/>
                  <a:pt x="102" y="508"/>
                </a:cubicBezTo>
                <a:cubicBezTo>
                  <a:pt x="103" y="509"/>
                  <a:pt x="101" y="511"/>
                  <a:pt x="104" y="510"/>
                </a:cubicBezTo>
                <a:cubicBezTo>
                  <a:pt x="102" y="512"/>
                  <a:pt x="106" y="513"/>
                  <a:pt x="106" y="514"/>
                </a:cubicBezTo>
                <a:cubicBezTo>
                  <a:pt x="106" y="515"/>
                  <a:pt x="104" y="516"/>
                  <a:pt x="104" y="516"/>
                </a:cubicBezTo>
                <a:cubicBezTo>
                  <a:pt x="104" y="516"/>
                  <a:pt x="105" y="517"/>
                  <a:pt x="104" y="518"/>
                </a:cubicBezTo>
                <a:cubicBezTo>
                  <a:pt x="104" y="518"/>
                  <a:pt x="104" y="518"/>
                  <a:pt x="104" y="518"/>
                </a:cubicBezTo>
                <a:cubicBezTo>
                  <a:pt x="105" y="519"/>
                  <a:pt x="106" y="520"/>
                  <a:pt x="106" y="522"/>
                </a:cubicBezTo>
                <a:cubicBezTo>
                  <a:pt x="106" y="522"/>
                  <a:pt x="107" y="522"/>
                  <a:pt x="107" y="522"/>
                </a:cubicBezTo>
                <a:cubicBezTo>
                  <a:pt x="107" y="521"/>
                  <a:pt x="106" y="521"/>
                  <a:pt x="106" y="520"/>
                </a:cubicBezTo>
                <a:cubicBezTo>
                  <a:pt x="106" y="519"/>
                  <a:pt x="107" y="518"/>
                  <a:pt x="108" y="518"/>
                </a:cubicBezTo>
                <a:cubicBezTo>
                  <a:pt x="108" y="517"/>
                  <a:pt x="108" y="517"/>
                  <a:pt x="109" y="516"/>
                </a:cubicBezTo>
                <a:cubicBezTo>
                  <a:pt x="109" y="516"/>
                  <a:pt x="108" y="516"/>
                  <a:pt x="108" y="516"/>
                </a:cubicBezTo>
                <a:cubicBezTo>
                  <a:pt x="108" y="515"/>
                  <a:pt x="109" y="515"/>
                  <a:pt x="109" y="515"/>
                </a:cubicBezTo>
                <a:cubicBezTo>
                  <a:pt x="111" y="514"/>
                  <a:pt x="112" y="513"/>
                  <a:pt x="113" y="512"/>
                </a:cubicBezTo>
                <a:cubicBezTo>
                  <a:pt x="112" y="514"/>
                  <a:pt x="115" y="514"/>
                  <a:pt x="115" y="514"/>
                </a:cubicBezTo>
                <a:cubicBezTo>
                  <a:pt x="115" y="514"/>
                  <a:pt x="116" y="514"/>
                  <a:pt x="116" y="514"/>
                </a:cubicBezTo>
                <a:cubicBezTo>
                  <a:pt x="116" y="514"/>
                  <a:pt x="116" y="514"/>
                  <a:pt x="116" y="514"/>
                </a:cubicBezTo>
                <a:cubicBezTo>
                  <a:pt x="115" y="514"/>
                  <a:pt x="115" y="513"/>
                  <a:pt x="115" y="513"/>
                </a:cubicBezTo>
                <a:cubicBezTo>
                  <a:pt x="114" y="512"/>
                  <a:pt x="115" y="508"/>
                  <a:pt x="115" y="507"/>
                </a:cubicBezTo>
                <a:cubicBezTo>
                  <a:pt x="116" y="507"/>
                  <a:pt x="116" y="508"/>
                  <a:pt x="117" y="508"/>
                </a:cubicBezTo>
                <a:cubicBezTo>
                  <a:pt x="118" y="507"/>
                  <a:pt x="120" y="504"/>
                  <a:pt x="123" y="505"/>
                </a:cubicBezTo>
                <a:cubicBezTo>
                  <a:pt x="122" y="507"/>
                  <a:pt x="120" y="506"/>
                  <a:pt x="120" y="507"/>
                </a:cubicBezTo>
                <a:cubicBezTo>
                  <a:pt x="119" y="508"/>
                  <a:pt x="121" y="508"/>
                  <a:pt x="121" y="508"/>
                </a:cubicBezTo>
                <a:cubicBezTo>
                  <a:pt x="122" y="510"/>
                  <a:pt x="120" y="514"/>
                  <a:pt x="117" y="514"/>
                </a:cubicBezTo>
                <a:cubicBezTo>
                  <a:pt x="117" y="515"/>
                  <a:pt x="117" y="516"/>
                  <a:pt x="116" y="517"/>
                </a:cubicBezTo>
                <a:cubicBezTo>
                  <a:pt x="117" y="517"/>
                  <a:pt x="117" y="517"/>
                  <a:pt x="117" y="517"/>
                </a:cubicBezTo>
                <a:cubicBezTo>
                  <a:pt x="118" y="515"/>
                  <a:pt x="121" y="515"/>
                  <a:pt x="122" y="513"/>
                </a:cubicBezTo>
                <a:cubicBezTo>
                  <a:pt x="122" y="512"/>
                  <a:pt x="122" y="511"/>
                  <a:pt x="122" y="510"/>
                </a:cubicBezTo>
                <a:cubicBezTo>
                  <a:pt x="122" y="510"/>
                  <a:pt x="123" y="509"/>
                  <a:pt x="123" y="508"/>
                </a:cubicBezTo>
                <a:cubicBezTo>
                  <a:pt x="123" y="507"/>
                  <a:pt x="122" y="508"/>
                  <a:pt x="122" y="507"/>
                </a:cubicBezTo>
                <a:cubicBezTo>
                  <a:pt x="123" y="506"/>
                  <a:pt x="124" y="505"/>
                  <a:pt x="124" y="506"/>
                </a:cubicBezTo>
                <a:cubicBezTo>
                  <a:pt x="125" y="506"/>
                  <a:pt x="124" y="508"/>
                  <a:pt x="125" y="510"/>
                </a:cubicBezTo>
                <a:cubicBezTo>
                  <a:pt x="125" y="510"/>
                  <a:pt x="127" y="510"/>
                  <a:pt x="128" y="510"/>
                </a:cubicBezTo>
                <a:cubicBezTo>
                  <a:pt x="129" y="511"/>
                  <a:pt x="129" y="513"/>
                  <a:pt x="132" y="511"/>
                </a:cubicBezTo>
                <a:cubicBezTo>
                  <a:pt x="129" y="514"/>
                  <a:pt x="133" y="512"/>
                  <a:pt x="134" y="513"/>
                </a:cubicBezTo>
                <a:cubicBezTo>
                  <a:pt x="133" y="513"/>
                  <a:pt x="134" y="519"/>
                  <a:pt x="134" y="520"/>
                </a:cubicBezTo>
                <a:cubicBezTo>
                  <a:pt x="134" y="521"/>
                  <a:pt x="132" y="523"/>
                  <a:pt x="132" y="525"/>
                </a:cubicBezTo>
                <a:cubicBezTo>
                  <a:pt x="132" y="525"/>
                  <a:pt x="133" y="524"/>
                  <a:pt x="133" y="524"/>
                </a:cubicBezTo>
                <a:cubicBezTo>
                  <a:pt x="133" y="525"/>
                  <a:pt x="133" y="525"/>
                  <a:pt x="132" y="526"/>
                </a:cubicBezTo>
                <a:cubicBezTo>
                  <a:pt x="132" y="526"/>
                  <a:pt x="132" y="526"/>
                  <a:pt x="132" y="527"/>
                </a:cubicBezTo>
                <a:cubicBezTo>
                  <a:pt x="133" y="526"/>
                  <a:pt x="133" y="526"/>
                  <a:pt x="133" y="526"/>
                </a:cubicBezTo>
                <a:cubicBezTo>
                  <a:pt x="133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6" y="524"/>
                  <a:pt x="142" y="524"/>
                  <a:pt x="145" y="524"/>
                </a:cubicBezTo>
                <a:cubicBezTo>
                  <a:pt x="145" y="523"/>
                  <a:pt x="146" y="522"/>
                  <a:pt x="146" y="522"/>
                </a:cubicBezTo>
                <a:cubicBezTo>
                  <a:pt x="147" y="522"/>
                  <a:pt x="147" y="523"/>
                  <a:pt x="147" y="524"/>
                </a:cubicBezTo>
                <a:cubicBezTo>
                  <a:pt x="147" y="524"/>
                  <a:pt x="148" y="524"/>
                  <a:pt x="148" y="525"/>
                </a:cubicBezTo>
                <a:cubicBezTo>
                  <a:pt x="148" y="526"/>
                  <a:pt x="147" y="526"/>
                  <a:pt x="145" y="527"/>
                </a:cubicBezTo>
                <a:cubicBezTo>
                  <a:pt x="146" y="527"/>
                  <a:pt x="146" y="527"/>
                  <a:pt x="146" y="527"/>
                </a:cubicBezTo>
                <a:cubicBezTo>
                  <a:pt x="146" y="529"/>
                  <a:pt x="146" y="530"/>
                  <a:pt x="145" y="530"/>
                </a:cubicBezTo>
                <a:cubicBezTo>
                  <a:pt x="145" y="531"/>
                  <a:pt x="145" y="532"/>
                  <a:pt x="144" y="533"/>
                </a:cubicBezTo>
                <a:cubicBezTo>
                  <a:pt x="144" y="533"/>
                  <a:pt x="143" y="533"/>
                  <a:pt x="142" y="533"/>
                </a:cubicBezTo>
                <a:cubicBezTo>
                  <a:pt x="142" y="534"/>
                  <a:pt x="143" y="534"/>
                  <a:pt x="144" y="533"/>
                </a:cubicBezTo>
                <a:cubicBezTo>
                  <a:pt x="145" y="533"/>
                  <a:pt x="147" y="530"/>
                  <a:pt x="147" y="530"/>
                </a:cubicBezTo>
                <a:cubicBezTo>
                  <a:pt x="148" y="530"/>
                  <a:pt x="148" y="529"/>
                  <a:pt x="147" y="529"/>
                </a:cubicBezTo>
                <a:cubicBezTo>
                  <a:pt x="151" y="528"/>
                  <a:pt x="150" y="537"/>
                  <a:pt x="148" y="535"/>
                </a:cubicBezTo>
                <a:cubicBezTo>
                  <a:pt x="148" y="535"/>
                  <a:pt x="147" y="533"/>
                  <a:pt x="147" y="533"/>
                </a:cubicBezTo>
                <a:cubicBezTo>
                  <a:pt x="146" y="533"/>
                  <a:pt x="143" y="537"/>
                  <a:pt x="141" y="538"/>
                </a:cubicBezTo>
                <a:cubicBezTo>
                  <a:pt x="140" y="538"/>
                  <a:pt x="140" y="538"/>
                  <a:pt x="139" y="539"/>
                </a:cubicBezTo>
                <a:cubicBezTo>
                  <a:pt x="140" y="540"/>
                  <a:pt x="141" y="541"/>
                  <a:pt x="140" y="542"/>
                </a:cubicBezTo>
                <a:cubicBezTo>
                  <a:pt x="140" y="542"/>
                  <a:pt x="139" y="543"/>
                  <a:pt x="139" y="543"/>
                </a:cubicBezTo>
                <a:cubicBezTo>
                  <a:pt x="139" y="543"/>
                  <a:pt x="138" y="546"/>
                  <a:pt x="138" y="547"/>
                </a:cubicBezTo>
                <a:cubicBezTo>
                  <a:pt x="138" y="547"/>
                  <a:pt x="140" y="546"/>
                  <a:pt x="139" y="546"/>
                </a:cubicBezTo>
                <a:cubicBezTo>
                  <a:pt x="139" y="546"/>
                  <a:pt x="141" y="548"/>
                  <a:pt x="140" y="549"/>
                </a:cubicBezTo>
                <a:cubicBezTo>
                  <a:pt x="140" y="549"/>
                  <a:pt x="140" y="549"/>
                  <a:pt x="139" y="549"/>
                </a:cubicBezTo>
                <a:cubicBezTo>
                  <a:pt x="140" y="549"/>
                  <a:pt x="140" y="550"/>
                  <a:pt x="141" y="550"/>
                </a:cubicBezTo>
                <a:cubicBezTo>
                  <a:pt x="141" y="549"/>
                  <a:pt x="141" y="548"/>
                  <a:pt x="142" y="548"/>
                </a:cubicBezTo>
                <a:cubicBezTo>
                  <a:pt x="141" y="548"/>
                  <a:pt x="141" y="548"/>
                  <a:pt x="140" y="548"/>
                </a:cubicBezTo>
                <a:cubicBezTo>
                  <a:pt x="140" y="547"/>
                  <a:pt x="140" y="547"/>
                  <a:pt x="141" y="547"/>
                </a:cubicBezTo>
                <a:cubicBezTo>
                  <a:pt x="141" y="546"/>
                  <a:pt x="142" y="544"/>
                  <a:pt x="142" y="546"/>
                </a:cubicBezTo>
                <a:cubicBezTo>
                  <a:pt x="143" y="546"/>
                  <a:pt x="142" y="546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3" y="546"/>
                  <a:pt x="144" y="546"/>
                  <a:pt x="145" y="548"/>
                </a:cubicBezTo>
                <a:cubicBezTo>
                  <a:pt x="146" y="549"/>
                  <a:pt x="145" y="550"/>
                  <a:pt x="145" y="551"/>
                </a:cubicBezTo>
                <a:cubicBezTo>
                  <a:pt x="145" y="551"/>
                  <a:pt x="145" y="551"/>
                  <a:pt x="145" y="551"/>
                </a:cubicBezTo>
                <a:cubicBezTo>
                  <a:pt x="147" y="551"/>
                  <a:pt x="145" y="551"/>
                  <a:pt x="146" y="552"/>
                </a:cubicBezTo>
                <a:cubicBezTo>
                  <a:pt x="146" y="552"/>
                  <a:pt x="146" y="552"/>
                  <a:pt x="147" y="552"/>
                </a:cubicBezTo>
                <a:cubicBezTo>
                  <a:pt x="147" y="552"/>
                  <a:pt x="147" y="552"/>
                  <a:pt x="147" y="552"/>
                </a:cubicBezTo>
                <a:cubicBezTo>
                  <a:pt x="147" y="551"/>
                  <a:pt x="148" y="551"/>
                  <a:pt x="148" y="551"/>
                </a:cubicBezTo>
                <a:cubicBezTo>
                  <a:pt x="151" y="552"/>
                  <a:pt x="148" y="556"/>
                  <a:pt x="149" y="558"/>
                </a:cubicBezTo>
                <a:cubicBezTo>
                  <a:pt x="150" y="558"/>
                  <a:pt x="152" y="558"/>
                  <a:pt x="152" y="557"/>
                </a:cubicBezTo>
                <a:cubicBezTo>
                  <a:pt x="153" y="557"/>
                  <a:pt x="153" y="556"/>
                  <a:pt x="154" y="555"/>
                </a:cubicBezTo>
                <a:cubicBezTo>
                  <a:pt x="152" y="554"/>
                  <a:pt x="152" y="553"/>
                  <a:pt x="152" y="551"/>
                </a:cubicBezTo>
                <a:cubicBezTo>
                  <a:pt x="154" y="547"/>
                  <a:pt x="159" y="548"/>
                  <a:pt x="160" y="551"/>
                </a:cubicBezTo>
                <a:cubicBezTo>
                  <a:pt x="161" y="551"/>
                  <a:pt x="161" y="551"/>
                  <a:pt x="162" y="550"/>
                </a:cubicBezTo>
                <a:cubicBezTo>
                  <a:pt x="161" y="550"/>
                  <a:pt x="161" y="551"/>
                  <a:pt x="161" y="551"/>
                </a:cubicBezTo>
                <a:cubicBezTo>
                  <a:pt x="163" y="550"/>
                  <a:pt x="165" y="549"/>
                  <a:pt x="167" y="550"/>
                </a:cubicBezTo>
                <a:cubicBezTo>
                  <a:pt x="169" y="549"/>
                  <a:pt x="170" y="549"/>
                  <a:pt x="170" y="549"/>
                </a:cubicBezTo>
                <a:cubicBezTo>
                  <a:pt x="171" y="550"/>
                  <a:pt x="170" y="550"/>
                  <a:pt x="168" y="551"/>
                </a:cubicBezTo>
                <a:cubicBezTo>
                  <a:pt x="168" y="551"/>
                  <a:pt x="169" y="551"/>
                  <a:pt x="169" y="551"/>
                </a:cubicBezTo>
                <a:cubicBezTo>
                  <a:pt x="169" y="552"/>
                  <a:pt x="169" y="553"/>
                  <a:pt x="169" y="554"/>
                </a:cubicBezTo>
                <a:cubicBezTo>
                  <a:pt x="171" y="554"/>
                  <a:pt x="172" y="555"/>
                  <a:pt x="171" y="557"/>
                </a:cubicBezTo>
                <a:cubicBezTo>
                  <a:pt x="170" y="559"/>
                  <a:pt x="171" y="560"/>
                  <a:pt x="171" y="561"/>
                </a:cubicBezTo>
                <a:cubicBezTo>
                  <a:pt x="171" y="561"/>
                  <a:pt x="170" y="562"/>
                  <a:pt x="170" y="563"/>
                </a:cubicBezTo>
                <a:cubicBezTo>
                  <a:pt x="172" y="561"/>
                  <a:pt x="173" y="559"/>
                  <a:pt x="175" y="558"/>
                </a:cubicBezTo>
                <a:cubicBezTo>
                  <a:pt x="173" y="556"/>
                  <a:pt x="171" y="554"/>
                  <a:pt x="175" y="552"/>
                </a:cubicBezTo>
                <a:cubicBezTo>
                  <a:pt x="175" y="551"/>
                  <a:pt x="176" y="551"/>
                  <a:pt x="177" y="551"/>
                </a:cubicBezTo>
                <a:cubicBezTo>
                  <a:pt x="175" y="551"/>
                  <a:pt x="176" y="547"/>
                  <a:pt x="178" y="548"/>
                </a:cubicBezTo>
                <a:cubicBezTo>
                  <a:pt x="179" y="549"/>
                  <a:pt x="178" y="550"/>
                  <a:pt x="178" y="550"/>
                </a:cubicBezTo>
                <a:cubicBezTo>
                  <a:pt x="177" y="551"/>
                  <a:pt x="177" y="551"/>
                  <a:pt x="177" y="551"/>
                </a:cubicBezTo>
                <a:cubicBezTo>
                  <a:pt x="179" y="551"/>
                  <a:pt x="181" y="550"/>
                  <a:pt x="182" y="550"/>
                </a:cubicBezTo>
                <a:cubicBezTo>
                  <a:pt x="184" y="548"/>
                  <a:pt x="183" y="547"/>
                  <a:pt x="185" y="549"/>
                </a:cubicBezTo>
                <a:cubicBezTo>
                  <a:pt x="186" y="549"/>
                  <a:pt x="186" y="550"/>
                  <a:pt x="188" y="549"/>
                </a:cubicBezTo>
                <a:cubicBezTo>
                  <a:pt x="188" y="549"/>
                  <a:pt x="191" y="545"/>
                  <a:pt x="191" y="548"/>
                </a:cubicBezTo>
                <a:cubicBezTo>
                  <a:pt x="191" y="549"/>
                  <a:pt x="189" y="549"/>
                  <a:pt x="189" y="549"/>
                </a:cubicBezTo>
                <a:cubicBezTo>
                  <a:pt x="190" y="550"/>
                  <a:pt x="194" y="550"/>
                  <a:pt x="194" y="550"/>
                </a:cubicBezTo>
                <a:cubicBezTo>
                  <a:pt x="194" y="551"/>
                  <a:pt x="190" y="553"/>
                  <a:pt x="192" y="555"/>
                </a:cubicBezTo>
                <a:cubicBezTo>
                  <a:pt x="193" y="555"/>
                  <a:pt x="194" y="555"/>
                  <a:pt x="194" y="555"/>
                </a:cubicBezTo>
                <a:cubicBezTo>
                  <a:pt x="194" y="555"/>
                  <a:pt x="193" y="556"/>
                  <a:pt x="193" y="556"/>
                </a:cubicBezTo>
                <a:cubicBezTo>
                  <a:pt x="192" y="558"/>
                  <a:pt x="192" y="558"/>
                  <a:pt x="193" y="558"/>
                </a:cubicBezTo>
                <a:cubicBezTo>
                  <a:pt x="194" y="558"/>
                  <a:pt x="195" y="558"/>
                  <a:pt x="196" y="559"/>
                </a:cubicBezTo>
                <a:cubicBezTo>
                  <a:pt x="196" y="560"/>
                  <a:pt x="195" y="560"/>
                  <a:pt x="194" y="560"/>
                </a:cubicBezTo>
                <a:cubicBezTo>
                  <a:pt x="194" y="561"/>
                  <a:pt x="194" y="561"/>
                  <a:pt x="194" y="561"/>
                </a:cubicBezTo>
                <a:cubicBezTo>
                  <a:pt x="194" y="562"/>
                  <a:pt x="196" y="561"/>
                  <a:pt x="196" y="562"/>
                </a:cubicBezTo>
                <a:cubicBezTo>
                  <a:pt x="197" y="563"/>
                  <a:pt x="195" y="565"/>
                  <a:pt x="195" y="566"/>
                </a:cubicBezTo>
                <a:cubicBezTo>
                  <a:pt x="197" y="568"/>
                  <a:pt x="199" y="565"/>
                  <a:pt x="201" y="566"/>
                </a:cubicBezTo>
                <a:cubicBezTo>
                  <a:pt x="201" y="566"/>
                  <a:pt x="203" y="568"/>
                  <a:pt x="205" y="566"/>
                </a:cubicBezTo>
                <a:cubicBezTo>
                  <a:pt x="206" y="565"/>
                  <a:pt x="204" y="563"/>
                  <a:pt x="208" y="562"/>
                </a:cubicBezTo>
                <a:cubicBezTo>
                  <a:pt x="209" y="561"/>
                  <a:pt x="214" y="560"/>
                  <a:pt x="214" y="562"/>
                </a:cubicBezTo>
                <a:cubicBezTo>
                  <a:pt x="214" y="563"/>
                  <a:pt x="213" y="562"/>
                  <a:pt x="212" y="563"/>
                </a:cubicBezTo>
                <a:cubicBezTo>
                  <a:pt x="211" y="563"/>
                  <a:pt x="213" y="566"/>
                  <a:pt x="213" y="566"/>
                </a:cubicBezTo>
                <a:cubicBezTo>
                  <a:pt x="212" y="567"/>
                  <a:pt x="210" y="567"/>
                  <a:pt x="210" y="568"/>
                </a:cubicBezTo>
                <a:cubicBezTo>
                  <a:pt x="210" y="568"/>
                  <a:pt x="210" y="568"/>
                  <a:pt x="210" y="568"/>
                </a:cubicBezTo>
                <a:cubicBezTo>
                  <a:pt x="210" y="569"/>
                  <a:pt x="210" y="569"/>
                  <a:pt x="210" y="569"/>
                </a:cubicBezTo>
                <a:cubicBezTo>
                  <a:pt x="210" y="570"/>
                  <a:pt x="211" y="572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10" y="574"/>
                  <a:pt x="210" y="575"/>
                  <a:pt x="208" y="576"/>
                </a:cubicBezTo>
                <a:cubicBezTo>
                  <a:pt x="208" y="576"/>
                  <a:pt x="208" y="576"/>
                  <a:pt x="208" y="576"/>
                </a:cubicBezTo>
                <a:cubicBezTo>
                  <a:pt x="208" y="576"/>
                  <a:pt x="209" y="576"/>
                  <a:pt x="209" y="576"/>
                </a:cubicBezTo>
                <a:cubicBezTo>
                  <a:pt x="210" y="576"/>
                  <a:pt x="210" y="576"/>
                  <a:pt x="211" y="577"/>
                </a:cubicBezTo>
                <a:cubicBezTo>
                  <a:pt x="211" y="577"/>
                  <a:pt x="212" y="577"/>
                  <a:pt x="212" y="577"/>
                </a:cubicBezTo>
                <a:cubicBezTo>
                  <a:pt x="212" y="578"/>
                  <a:pt x="211" y="578"/>
                  <a:pt x="211" y="579"/>
                </a:cubicBezTo>
                <a:cubicBezTo>
                  <a:pt x="211" y="579"/>
                  <a:pt x="211" y="580"/>
                  <a:pt x="211" y="580"/>
                </a:cubicBezTo>
                <a:cubicBezTo>
                  <a:pt x="210" y="581"/>
                  <a:pt x="207" y="580"/>
                  <a:pt x="205" y="581"/>
                </a:cubicBezTo>
                <a:cubicBezTo>
                  <a:pt x="206" y="580"/>
                  <a:pt x="206" y="578"/>
                  <a:pt x="204" y="580"/>
                </a:cubicBezTo>
                <a:cubicBezTo>
                  <a:pt x="202" y="581"/>
                  <a:pt x="204" y="581"/>
                  <a:pt x="204" y="582"/>
                </a:cubicBezTo>
                <a:cubicBezTo>
                  <a:pt x="204" y="582"/>
                  <a:pt x="203" y="582"/>
                  <a:pt x="204" y="583"/>
                </a:cubicBezTo>
                <a:cubicBezTo>
                  <a:pt x="204" y="583"/>
                  <a:pt x="204" y="583"/>
                  <a:pt x="204" y="583"/>
                </a:cubicBezTo>
                <a:cubicBezTo>
                  <a:pt x="206" y="582"/>
                  <a:pt x="208" y="582"/>
                  <a:pt x="210" y="583"/>
                </a:cubicBezTo>
                <a:cubicBezTo>
                  <a:pt x="209" y="583"/>
                  <a:pt x="209" y="582"/>
                  <a:pt x="209" y="582"/>
                </a:cubicBezTo>
                <a:cubicBezTo>
                  <a:pt x="209" y="582"/>
                  <a:pt x="209" y="582"/>
                  <a:pt x="209" y="582"/>
                </a:cubicBezTo>
                <a:cubicBezTo>
                  <a:pt x="210" y="581"/>
                  <a:pt x="210" y="582"/>
                  <a:pt x="210" y="583"/>
                </a:cubicBezTo>
                <a:cubicBezTo>
                  <a:pt x="210" y="583"/>
                  <a:pt x="211" y="584"/>
                  <a:pt x="210" y="585"/>
                </a:cubicBezTo>
                <a:cubicBezTo>
                  <a:pt x="210" y="586"/>
                  <a:pt x="208" y="588"/>
                  <a:pt x="205" y="588"/>
                </a:cubicBezTo>
                <a:cubicBezTo>
                  <a:pt x="206" y="588"/>
                  <a:pt x="206" y="590"/>
                  <a:pt x="206" y="591"/>
                </a:cubicBezTo>
                <a:cubicBezTo>
                  <a:pt x="205" y="592"/>
                  <a:pt x="201" y="592"/>
                  <a:pt x="202" y="593"/>
                </a:cubicBezTo>
                <a:cubicBezTo>
                  <a:pt x="201" y="593"/>
                  <a:pt x="199" y="594"/>
                  <a:pt x="198" y="593"/>
                </a:cubicBezTo>
                <a:cubicBezTo>
                  <a:pt x="195" y="591"/>
                  <a:pt x="196" y="591"/>
                  <a:pt x="192" y="592"/>
                </a:cubicBezTo>
                <a:cubicBezTo>
                  <a:pt x="192" y="592"/>
                  <a:pt x="191" y="592"/>
                  <a:pt x="190" y="592"/>
                </a:cubicBezTo>
                <a:cubicBezTo>
                  <a:pt x="188" y="592"/>
                  <a:pt x="189" y="593"/>
                  <a:pt x="189" y="595"/>
                </a:cubicBezTo>
                <a:cubicBezTo>
                  <a:pt x="187" y="593"/>
                  <a:pt x="188" y="595"/>
                  <a:pt x="189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1" y="597"/>
                  <a:pt x="191" y="596"/>
                </a:cubicBezTo>
                <a:cubicBezTo>
                  <a:pt x="190" y="597"/>
                  <a:pt x="192" y="594"/>
                  <a:pt x="193" y="596"/>
                </a:cubicBezTo>
                <a:cubicBezTo>
                  <a:pt x="193" y="596"/>
                  <a:pt x="190" y="600"/>
                  <a:pt x="193" y="600"/>
                </a:cubicBezTo>
                <a:cubicBezTo>
                  <a:pt x="187" y="601"/>
                  <a:pt x="195" y="604"/>
                  <a:pt x="197" y="605"/>
                </a:cubicBezTo>
                <a:cubicBezTo>
                  <a:pt x="198" y="606"/>
                  <a:pt x="198" y="608"/>
                  <a:pt x="198" y="609"/>
                </a:cubicBezTo>
                <a:cubicBezTo>
                  <a:pt x="199" y="610"/>
                  <a:pt x="200" y="610"/>
                  <a:pt x="199" y="611"/>
                </a:cubicBezTo>
                <a:cubicBezTo>
                  <a:pt x="199" y="611"/>
                  <a:pt x="199" y="611"/>
                  <a:pt x="199" y="611"/>
                </a:cubicBezTo>
                <a:cubicBezTo>
                  <a:pt x="200" y="612"/>
                  <a:pt x="200" y="613"/>
                  <a:pt x="201" y="613"/>
                </a:cubicBezTo>
                <a:cubicBezTo>
                  <a:pt x="201" y="613"/>
                  <a:pt x="201" y="613"/>
                  <a:pt x="202" y="613"/>
                </a:cubicBezTo>
                <a:cubicBezTo>
                  <a:pt x="202" y="613"/>
                  <a:pt x="202" y="613"/>
                  <a:pt x="202" y="612"/>
                </a:cubicBezTo>
                <a:cubicBezTo>
                  <a:pt x="203" y="611"/>
                  <a:pt x="204" y="611"/>
                  <a:pt x="206" y="611"/>
                </a:cubicBezTo>
                <a:cubicBezTo>
                  <a:pt x="207" y="611"/>
                  <a:pt x="208" y="612"/>
                  <a:pt x="208" y="613"/>
                </a:cubicBezTo>
                <a:cubicBezTo>
                  <a:pt x="209" y="613"/>
                  <a:pt x="209" y="612"/>
                  <a:pt x="211" y="612"/>
                </a:cubicBezTo>
                <a:cubicBezTo>
                  <a:pt x="211" y="613"/>
                  <a:pt x="210" y="613"/>
                  <a:pt x="208" y="613"/>
                </a:cubicBezTo>
                <a:cubicBezTo>
                  <a:pt x="208" y="614"/>
                  <a:pt x="208" y="615"/>
                  <a:pt x="207" y="615"/>
                </a:cubicBezTo>
                <a:cubicBezTo>
                  <a:pt x="209" y="616"/>
                  <a:pt x="211" y="616"/>
                  <a:pt x="211" y="616"/>
                </a:cubicBezTo>
                <a:cubicBezTo>
                  <a:pt x="211" y="616"/>
                  <a:pt x="211" y="616"/>
                  <a:pt x="212" y="616"/>
                </a:cubicBezTo>
                <a:cubicBezTo>
                  <a:pt x="211" y="615"/>
                  <a:pt x="210" y="615"/>
                  <a:pt x="209" y="615"/>
                </a:cubicBezTo>
                <a:cubicBezTo>
                  <a:pt x="210" y="614"/>
                  <a:pt x="211" y="614"/>
                  <a:pt x="213" y="615"/>
                </a:cubicBezTo>
                <a:cubicBezTo>
                  <a:pt x="213" y="614"/>
                  <a:pt x="213" y="614"/>
                  <a:pt x="213" y="614"/>
                </a:cubicBezTo>
                <a:cubicBezTo>
                  <a:pt x="213" y="614"/>
                  <a:pt x="214" y="612"/>
                  <a:pt x="215" y="613"/>
                </a:cubicBezTo>
                <a:cubicBezTo>
                  <a:pt x="216" y="612"/>
                  <a:pt x="216" y="612"/>
                  <a:pt x="217" y="613"/>
                </a:cubicBezTo>
                <a:cubicBezTo>
                  <a:pt x="217" y="613"/>
                  <a:pt x="216" y="613"/>
                  <a:pt x="216" y="614"/>
                </a:cubicBezTo>
                <a:cubicBezTo>
                  <a:pt x="216" y="614"/>
                  <a:pt x="217" y="616"/>
                  <a:pt x="216" y="615"/>
                </a:cubicBezTo>
                <a:cubicBezTo>
                  <a:pt x="216" y="615"/>
                  <a:pt x="215" y="615"/>
                  <a:pt x="215" y="615"/>
                </a:cubicBezTo>
                <a:cubicBezTo>
                  <a:pt x="215" y="614"/>
                  <a:pt x="215" y="614"/>
                  <a:pt x="215" y="614"/>
                </a:cubicBezTo>
                <a:cubicBezTo>
                  <a:pt x="215" y="614"/>
                  <a:pt x="214" y="615"/>
                  <a:pt x="214" y="615"/>
                </a:cubicBezTo>
                <a:cubicBezTo>
                  <a:pt x="215" y="615"/>
                  <a:pt x="216" y="616"/>
                  <a:pt x="216" y="616"/>
                </a:cubicBezTo>
                <a:cubicBezTo>
                  <a:pt x="216" y="617"/>
                  <a:pt x="215" y="616"/>
                  <a:pt x="214" y="616"/>
                </a:cubicBezTo>
                <a:cubicBezTo>
                  <a:pt x="214" y="616"/>
                  <a:pt x="214" y="617"/>
                  <a:pt x="214" y="617"/>
                </a:cubicBezTo>
                <a:cubicBezTo>
                  <a:pt x="215" y="617"/>
                  <a:pt x="216" y="616"/>
                  <a:pt x="216" y="616"/>
                </a:cubicBezTo>
                <a:cubicBezTo>
                  <a:pt x="217" y="617"/>
                  <a:pt x="218" y="620"/>
                  <a:pt x="220" y="618"/>
                </a:cubicBezTo>
                <a:cubicBezTo>
                  <a:pt x="220" y="618"/>
                  <a:pt x="219" y="617"/>
                  <a:pt x="219" y="617"/>
                </a:cubicBezTo>
                <a:cubicBezTo>
                  <a:pt x="219" y="617"/>
                  <a:pt x="219" y="617"/>
                  <a:pt x="219" y="617"/>
                </a:cubicBezTo>
                <a:cubicBezTo>
                  <a:pt x="219" y="617"/>
                  <a:pt x="219" y="617"/>
                  <a:pt x="218" y="617"/>
                </a:cubicBezTo>
                <a:cubicBezTo>
                  <a:pt x="218" y="616"/>
                  <a:pt x="219" y="615"/>
                  <a:pt x="220" y="616"/>
                </a:cubicBezTo>
                <a:cubicBezTo>
                  <a:pt x="220" y="616"/>
                  <a:pt x="220" y="616"/>
                  <a:pt x="220" y="616"/>
                </a:cubicBezTo>
                <a:cubicBezTo>
                  <a:pt x="221" y="615"/>
                  <a:pt x="224" y="617"/>
                  <a:pt x="225" y="617"/>
                </a:cubicBezTo>
                <a:cubicBezTo>
                  <a:pt x="223" y="618"/>
                  <a:pt x="225" y="619"/>
                  <a:pt x="226" y="620"/>
                </a:cubicBezTo>
                <a:cubicBezTo>
                  <a:pt x="227" y="619"/>
                  <a:pt x="229" y="618"/>
                  <a:pt x="231" y="618"/>
                </a:cubicBezTo>
                <a:cubicBezTo>
                  <a:pt x="230" y="619"/>
                  <a:pt x="228" y="620"/>
                  <a:pt x="226" y="620"/>
                </a:cubicBezTo>
                <a:cubicBezTo>
                  <a:pt x="227" y="621"/>
                  <a:pt x="227" y="621"/>
                  <a:pt x="226" y="622"/>
                </a:cubicBezTo>
                <a:cubicBezTo>
                  <a:pt x="225" y="624"/>
                  <a:pt x="222" y="622"/>
                  <a:pt x="221" y="624"/>
                </a:cubicBezTo>
                <a:cubicBezTo>
                  <a:pt x="220" y="624"/>
                  <a:pt x="222" y="624"/>
                  <a:pt x="222" y="624"/>
                </a:cubicBezTo>
                <a:cubicBezTo>
                  <a:pt x="221" y="626"/>
                  <a:pt x="219" y="627"/>
                  <a:pt x="222" y="628"/>
                </a:cubicBezTo>
                <a:cubicBezTo>
                  <a:pt x="222" y="628"/>
                  <a:pt x="227" y="629"/>
                  <a:pt x="228" y="629"/>
                </a:cubicBezTo>
                <a:cubicBezTo>
                  <a:pt x="231" y="629"/>
                  <a:pt x="233" y="629"/>
                  <a:pt x="235" y="631"/>
                </a:cubicBezTo>
                <a:cubicBezTo>
                  <a:pt x="232" y="631"/>
                  <a:pt x="231" y="632"/>
                  <a:pt x="228" y="633"/>
                </a:cubicBezTo>
                <a:cubicBezTo>
                  <a:pt x="228" y="633"/>
                  <a:pt x="229" y="633"/>
                  <a:pt x="229" y="633"/>
                </a:cubicBezTo>
                <a:cubicBezTo>
                  <a:pt x="229" y="633"/>
                  <a:pt x="228" y="633"/>
                  <a:pt x="228" y="633"/>
                </a:cubicBezTo>
                <a:cubicBezTo>
                  <a:pt x="228" y="633"/>
                  <a:pt x="228" y="633"/>
                  <a:pt x="227" y="633"/>
                </a:cubicBezTo>
                <a:cubicBezTo>
                  <a:pt x="224" y="633"/>
                  <a:pt x="221" y="630"/>
                  <a:pt x="218" y="630"/>
                </a:cubicBezTo>
                <a:cubicBezTo>
                  <a:pt x="218" y="630"/>
                  <a:pt x="215" y="633"/>
                  <a:pt x="214" y="633"/>
                </a:cubicBezTo>
                <a:cubicBezTo>
                  <a:pt x="213" y="633"/>
                  <a:pt x="212" y="632"/>
                  <a:pt x="212" y="633"/>
                </a:cubicBezTo>
                <a:cubicBezTo>
                  <a:pt x="212" y="633"/>
                  <a:pt x="213" y="633"/>
                  <a:pt x="213" y="634"/>
                </a:cubicBezTo>
                <a:cubicBezTo>
                  <a:pt x="213" y="634"/>
                  <a:pt x="213" y="634"/>
                  <a:pt x="214" y="634"/>
                </a:cubicBezTo>
                <a:cubicBezTo>
                  <a:pt x="214" y="633"/>
                  <a:pt x="215" y="633"/>
                  <a:pt x="216" y="633"/>
                </a:cubicBezTo>
                <a:cubicBezTo>
                  <a:pt x="216" y="633"/>
                  <a:pt x="217" y="633"/>
                  <a:pt x="217" y="633"/>
                </a:cubicBezTo>
                <a:cubicBezTo>
                  <a:pt x="217" y="633"/>
                  <a:pt x="217" y="633"/>
                  <a:pt x="217" y="633"/>
                </a:cubicBezTo>
                <a:cubicBezTo>
                  <a:pt x="218" y="633"/>
                  <a:pt x="219" y="633"/>
                  <a:pt x="219" y="634"/>
                </a:cubicBezTo>
                <a:cubicBezTo>
                  <a:pt x="219" y="634"/>
                  <a:pt x="219" y="635"/>
                  <a:pt x="218" y="635"/>
                </a:cubicBezTo>
                <a:cubicBezTo>
                  <a:pt x="218" y="636"/>
                  <a:pt x="217" y="637"/>
                  <a:pt x="216" y="637"/>
                </a:cubicBezTo>
                <a:cubicBezTo>
                  <a:pt x="215" y="637"/>
                  <a:pt x="213" y="636"/>
                  <a:pt x="213" y="635"/>
                </a:cubicBezTo>
                <a:cubicBezTo>
                  <a:pt x="213" y="635"/>
                  <a:pt x="213" y="635"/>
                  <a:pt x="213" y="635"/>
                </a:cubicBezTo>
                <a:cubicBezTo>
                  <a:pt x="213" y="636"/>
                  <a:pt x="211" y="636"/>
                  <a:pt x="210" y="636"/>
                </a:cubicBezTo>
                <a:cubicBezTo>
                  <a:pt x="210" y="636"/>
                  <a:pt x="210" y="637"/>
                  <a:pt x="211" y="637"/>
                </a:cubicBezTo>
                <a:cubicBezTo>
                  <a:pt x="211" y="637"/>
                  <a:pt x="211" y="637"/>
                  <a:pt x="211" y="637"/>
                </a:cubicBezTo>
                <a:cubicBezTo>
                  <a:pt x="212" y="637"/>
                  <a:pt x="211" y="637"/>
                  <a:pt x="211" y="637"/>
                </a:cubicBezTo>
                <a:cubicBezTo>
                  <a:pt x="212" y="639"/>
                  <a:pt x="215" y="640"/>
                  <a:pt x="216" y="641"/>
                </a:cubicBezTo>
                <a:cubicBezTo>
                  <a:pt x="214" y="641"/>
                  <a:pt x="214" y="642"/>
                  <a:pt x="214" y="642"/>
                </a:cubicBezTo>
                <a:cubicBezTo>
                  <a:pt x="216" y="641"/>
                  <a:pt x="219" y="642"/>
                  <a:pt x="216" y="643"/>
                </a:cubicBezTo>
                <a:cubicBezTo>
                  <a:pt x="216" y="643"/>
                  <a:pt x="216" y="644"/>
                  <a:pt x="216" y="644"/>
                </a:cubicBezTo>
                <a:cubicBezTo>
                  <a:pt x="216" y="644"/>
                  <a:pt x="217" y="644"/>
                  <a:pt x="217" y="645"/>
                </a:cubicBezTo>
                <a:cubicBezTo>
                  <a:pt x="219" y="644"/>
                  <a:pt x="222" y="643"/>
                  <a:pt x="224" y="643"/>
                </a:cubicBezTo>
                <a:cubicBezTo>
                  <a:pt x="228" y="642"/>
                  <a:pt x="223" y="645"/>
                  <a:pt x="221" y="645"/>
                </a:cubicBezTo>
                <a:cubicBezTo>
                  <a:pt x="220" y="645"/>
                  <a:pt x="218" y="646"/>
                  <a:pt x="216" y="646"/>
                </a:cubicBezTo>
                <a:cubicBezTo>
                  <a:pt x="216" y="647"/>
                  <a:pt x="216" y="647"/>
                  <a:pt x="215" y="647"/>
                </a:cubicBezTo>
                <a:cubicBezTo>
                  <a:pt x="215" y="647"/>
                  <a:pt x="214" y="647"/>
                  <a:pt x="214" y="647"/>
                </a:cubicBezTo>
                <a:cubicBezTo>
                  <a:pt x="212" y="648"/>
                  <a:pt x="211" y="648"/>
                  <a:pt x="210" y="649"/>
                </a:cubicBezTo>
                <a:cubicBezTo>
                  <a:pt x="209" y="650"/>
                  <a:pt x="208" y="651"/>
                  <a:pt x="208" y="652"/>
                </a:cubicBezTo>
                <a:cubicBezTo>
                  <a:pt x="209" y="652"/>
                  <a:pt x="209" y="652"/>
                  <a:pt x="210" y="653"/>
                </a:cubicBezTo>
                <a:cubicBezTo>
                  <a:pt x="210" y="653"/>
                  <a:pt x="210" y="653"/>
                  <a:pt x="210" y="653"/>
                </a:cubicBezTo>
                <a:cubicBezTo>
                  <a:pt x="210" y="653"/>
                  <a:pt x="210" y="653"/>
                  <a:pt x="211" y="653"/>
                </a:cubicBezTo>
                <a:cubicBezTo>
                  <a:pt x="211" y="653"/>
                  <a:pt x="213" y="654"/>
                  <a:pt x="213" y="654"/>
                </a:cubicBezTo>
                <a:cubicBezTo>
                  <a:pt x="213" y="654"/>
                  <a:pt x="213" y="655"/>
                  <a:pt x="213" y="655"/>
                </a:cubicBezTo>
                <a:cubicBezTo>
                  <a:pt x="213" y="656"/>
                  <a:pt x="212" y="657"/>
                  <a:pt x="210" y="657"/>
                </a:cubicBezTo>
                <a:cubicBezTo>
                  <a:pt x="210" y="658"/>
                  <a:pt x="210" y="658"/>
                  <a:pt x="209" y="659"/>
                </a:cubicBezTo>
                <a:cubicBezTo>
                  <a:pt x="209" y="659"/>
                  <a:pt x="209" y="659"/>
                  <a:pt x="209" y="659"/>
                </a:cubicBezTo>
                <a:cubicBezTo>
                  <a:pt x="210" y="660"/>
                  <a:pt x="212" y="660"/>
                  <a:pt x="213" y="660"/>
                </a:cubicBezTo>
                <a:cubicBezTo>
                  <a:pt x="214" y="660"/>
                  <a:pt x="216" y="660"/>
                  <a:pt x="216" y="661"/>
                </a:cubicBezTo>
                <a:cubicBezTo>
                  <a:pt x="217" y="662"/>
                  <a:pt x="218" y="663"/>
                  <a:pt x="218" y="663"/>
                </a:cubicBezTo>
                <a:cubicBezTo>
                  <a:pt x="218" y="663"/>
                  <a:pt x="219" y="663"/>
                  <a:pt x="220" y="664"/>
                </a:cubicBezTo>
                <a:cubicBezTo>
                  <a:pt x="221" y="665"/>
                  <a:pt x="221" y="667"/>
                  <a:pt x="219" y="667"/>
                </a:cubicBezTo>
                <a:cubicBezTo>
                  <a:pt x="219" y="667"/>
                  <a:pt x="219" y="667"/>
                  <a:pt x="219" y="667"/>
                </a:cubicBezTo>
                <a:cubicBezTo>
                  <a:pt x="219" y="668"/>
                  <a:pt x="219" y="668"/>
                  <a:pt x="219" y="669"/>
                </a:cubicBezTo>
                <a:cubicBezTo>
                  <a:pt x="220" y="669"/>
                  <a:pt x="221" y="668"/>
                  <a:pt x="222" y="669"/>
                </a:cubicBezTo>
                <a:cubicBezTo>
                  <a:pt x="222" y="668"/>
                  <a:pt x="223" y="667"/>
                  <a:pt x="223" y="667"/>
                </a:cubicBezTo>
                <a:cubicBezTo>
                  <a:pt x="223" y="667"/>
                  <a:pt x="225" y="666"/>
                  <a:pt x="226" y="666"/>
                </a:cubicBezTo>
                <a:cubicBezTo>
                  <a:pt x="227" y="664"/>
                  <a:pt x="228" y="664"/>
                  <a:pt x="229" y="664"/>
                </a:cubicBezTo>
                <a:cubicBezTo>
                  <a:pt x="230" y="664"/>
                  <a:pt x="229" y="663"/>
                  <a:pt x="230" y="663"/>
                </a:cubicBezTo>
                <a:cubicBezTo>
                  <a:pt x="231" y="662"/>
                  <a:pt x="232" y="664"/>
                  <a:pt x="232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4" y="663"/>
                </a:cubicBezTo>
                <a:cubicBezTo>
                  <a:pt x="235" y="664"/>
                  <a:pt x="235" y="662"/>
                  <a:pt x="236" y="663"/>
                </a:cubicBezTo>
                <a:cubicBezTo>
                  <a:pt x="236" y="663"/>
                  <a:pt x="235" y="664"/>
                  <a:pt x="235" y="664"/>
                </a:cubicBezTo>
                <a:cubicBezTo>
                  <a:pt x="236" y="665"/>
                  <a:pt x="241" y="668"/>
                  <a:pt x="241" y="670"/>
                </a:cubicBezTo>
                <a:cubicBezTo>
                  <a:pt x="241" y="672"/>
                  <a:pt x="236" y="672"/>
                  <a:pt x="235" y="674"/>
                </a:cubicBezTo>
                <a:cubicBezTo>
                  <a:pt x="235" y="675"/>
                  <a:pt x="236" y="676"/>
                  <a:pt x="235" y="677"/>
                </a:cubicBezTo>
                <a:cubicBezTo>
                  <a:pt x="233" y="677"/>
                  <a:pt x="234" y="675"/>
                  <a:pt x="233" y="675"/>
                </a:cubicBezTo>
                <a:cubicBezTo>
                  <a:pt x="232" y="674"/>
                  <a:pt x="227" y="674"/>
                  <a:pt x="225" y="673"/>
                </a:cubicBezTo>
                <a:cubicBezTo>
                  <a:pt x="225" y="673"/>
                  <a:pt x="224" y="672"/>
                  <a:pt x="223" y="672"/>
                </a:cubicBezTo>
                <a:cubicBezTo>
                  <a:pt x="221" y="673"/>
                  <a:pt x="217" y="673"/>
                  <a:pt x="217" y="674"/>
                </a:cubicBezTo>
                <a:cubicBezTo>
                  <a:pt x="216" y="674"/>
                  <a:pt x="218" y="674"/>
                  <a:pt x="218" y="675"/>
                </a:cubicBezTo>
                <a:cubicBezTo>
                  <a:pt x="217" y="675"/>
                  <a:pt x="216" y="674"/>
                  <a:pt x="215" y="674"/>
                </a:cubicBezTo>
                <a:cubicBezTo>
                  <a:pt x="213" y="674"/>
                  <a:pt x="210" y="675"/>
                  <a:pt x="207" y="675"/>
                </a:cubicBezTo>
                <a:cubicBezTo>
                  <a:pt x="208" y="676"/>
                  <a:pt x="208" y="677"/>
                  <a:pt x="208" y="677"/>
                </a:cubicBezTo>
                <a:cubicBezTo>
                  <a:pt x="209" y="677"/>
                  <a:pt x="209" y="676"/>
                  <a:pt x="209" y="676"/>
                </a:cubicBezTo>
                <a:cubicBezTo>
                  <a:pt x="210" y="676"/>
                  <a:pt x="212" y="677"/>
                  <a:pt x="214" y="679"/>
                </a:cubicBezTo>
                <a:cubicBezTo>
                  <a:pt x="215" y="679"/>
                  <a:pt x="216" y="679"/>
                  <a:pt x="216" y="679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7" y="681"/>
                  <a:pt x="216" y="682"/>
                  <a:pt x="216" y="682"/>
                </a:cubicBezTo>
                <a:cubicBezTo>
                  <a:pt x="218" y="684"/>
                  <a:pt x="222" y="683"/>
                  <a:pt x="224" y="683"/>
                </a:cubicBezTo>
                <a:cubicBezTo>
                  <a:pt x="224" y="683"/>
                  <a:pt x="224" y="684"/>
                  <a:pt x="225" y="684"/>
                </a:cubicBezTo>
                <a:cubicBezTo>
                  <a:pt x="225" y="684"/>
                  <a:pt x="225" y="684"/>
                  <a:pt x="225" y="684"/>
                </a:cubicBezTo>
                <a:cubicBezTo>
                  <a:pt x="225" y="683"/>
                  <a:pt x="230" y="681"/>
                  <a:pt x="231" y="682"/>
                </a:cubicBezTo>
                <a:cubicBezTo>
                  <a:pt x="232" y="684"/>
                  <a:pt x="231" y="686"/>
                  <a:pt x="229" y="686"/>
                </a:cubicBezTo>
                <a:cubicBezTo>
                  <a:pt x="229" y="686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30" y="688"/>
                  <a:pt x="231" y="688"/>
                  <a:pt x="232" y="687"/>
                </a:cubicBezTo>
                <a:cubicBezTo>
                  <a:pt x="232" y="687"/>
                  <a:pt x="232" y="687"/>
                  <a:pt x="232" y="687"/>
                </a:cubicBezTo>
                <a:cubicBezTo>
                  <a:pt x="232" y="687"/>
                  <a:pt x="233" y="686"/>
                  <a:pt x="233" y="686"/>
                </a:cubicBezTo>
                <a:cubicBezTo>
                  <a:pt x="234" y="685"/>
                  <a:pt x="237" y="685"/>
                  <a:pt x="239" y="683"/>
                </a:cubicBezTo>
                <a:cubicBezTo>
                  <a:pt x="240" y="682"/>
                  <a:pt x="243" y="680"/>
                  <a:pt x="244" y="680"/>
                </a:cubicBezTo>
                <a:cubicBezTo>
                  <a:pt x="245" y="681"/>
                  <a:pt x="245" y="682"/>
                  <a:pt x="246" y="683"/>
                </a:cubicBezTo>
                <a:cubicBezTo>
                  <a:pt x="246" y="683"/>
                  <a:pt x="246" y="682"/>
                  <a:pt x="247" y="682"/>
                </a:cubicBezTo>
                <a:cubicBezTo>
                  <a:pt x="248" y="682"/>
                  <a:pt x="249" y="683"/>
                  <a:pt x="249" y="684"/>
                </a:cubicBezTo>
                <a:cubicBezTo>
                  <a:pt x="250" y="684"/>
                  <a:pt x="251" y="684"/>
                  <a:pt x="251" y="685"/>
                </a:cubicBezTo>
                <a:cubicBezTo>
                  <a:pt x="251" y="685"/>
                  <a:pt x="250" y="686"/>
                  <a:pt x="249" y="686"/>
                </a:cubicBezTo>
                <a:cubicBezTo>
                  <a:pt x="248" y="687"/>
                  <a:pt x="247" y="688"/>
                  <a:pt x="246" y="686"/>
                </a:cubicBezTo>
                <a:cubicBezTo>
                  <a:pt x="246" y="685"/>
                  <a:pt x="246" y="686"/>
                  <a:pt x="246" y="687"/>
                </a:cubicBezTo>
                <a:cubicBezTo>
                  <a:pt x="247" y="688"/>
                  <a:pt x="248" y="688"/>
                  <a:pt x="248" y="689"/>
                </a:cubicBezTo>
                <a:cubicBezTo>
                  <a:pt x="248" y="690"/>
                  <a:pt x="247" y="690"/>
                  <a:pt x="245" y="691"/>
                </a:cubicBezTo>
                <a:cubicBezTo>
                  <a:pt x="247" y="692"/>
                  <a:pt x="248" y="693"/>
                  <a:pt x="248" y="694"/>
                </a:cubicBezTo>
                <a:cubicBezTo>
                  <a:pt x="248" y="694"/>
                  <a:pt x="247" y="696"/>
                  <a:pt x="246" y="697"/>
                </a:cubicBezTo>
                <a:cubicBezTo>
                  <a:pt x="252" y="699"/>
                  <a:pt x="257" y="700"/>
                  <a:pt x="263" y="702"/>
                </a:cubicBezTo>
                <a:cubicBezTo>
                  <a:pt x="263" y="702"/>
                  <a:pt x="263" y="702"/>
                  <a:pt x="264" y="701"/>
                </a:cubicBezTo>
                <a:cubicBezTo>
                  <a:pt x="264" y="701"/>
                  <a:pt x="265" y="702"/>
                  <a:pt x="266" y="702"/>
                </a:cubicBezTo>
                <a:cubicBezTo>
                  <a:pt x="267" y="702"/>
                  <a:pt x="267" y="701"/>
                  <a:pt x="268" y="701"/>
                </a:cubicBezTo>
                <a:cubicBezTo>
                  <a:pt x="269" y="701"/>
                  <a:pt x="271" y="702"/>
                  <a:pt x="273" y="702"/>
                </a:cubicBezTo>
                <a:cubicBezTo>
                  <a:pt x="274" y="703"/>
                  <a:pt x="274" y="702"/>
                  <a:pt x="274" y="703"/>
                </a:cubicBezTo>
                <a:cubicBezTo>
                  <a:pt x="275" y="703"/>
                  <a:pt x="274" y="704"/>
                  <a:pt x="274" y="705"/>
                </a:cubicBezTo>
                <a:cubicBezTo>
                  <a:pt x="281" y="707"/>
                  <a:pt x="289" y="708"/>
                  <a:pt x="296" y="709"/>
                </a:cubicBezTo>
                <a:cubicBezTo>
                  <a:pt x="297" y="708"/>
                  <a:pt x="297" y="708"/>
                  <a:pt x="298" y="707"/>
                </a:cubicBezTo>
                <a:cubicBezTo>
                  <a:pt x="298" y="707"/>
                  <a:pt x="304" y="707"/>
                  <a:pt x="305" y="707"/>
                </a:cubicBezTo>
                <a:cubicBezTo>
                  <a:pt x="306" y="707"/>
                  <a:pt x="307" y="708"/>
                  <a:pt x="308" y="708"/>
                </a:cubicBezTo>
                <a:cubicBezTo>
                  <a:pt x="307" y="708"/>
                  <a:pt x="307" y="708"/>
                  <a:pt x="307" y="707"/>
                </a:cubicBezTo>
                <a:cubicBezTo>
                  <a:pt x="306" y="706"/>
                  <a:pt x="306" y="704"/>
                  <a:pt x="307" y="703"/>
                </a:cubicBezTo>
                <a:cubicBezTo>
                  <a:pt x="311" y="699"/>
                  <a:pt x="321" y="702"/>
                  <a:pt x="325" y="704"/>
                </a:cubicBezTo>
                <a:cubicBezTo>
                  <a:pt x="325" y="703"/>
                  <a:pt x="325" y="703"/>
                  <a:pt x="325" y="702"/>
                </a:cubicBezTo>
                <a:cubicBezTo>
                  <a:pt x="326" y="699"/>
                  <a:pt x="334" y="701"/>
                  <a:pt x="334" y="704"/>
                </a:cubicBezTo>
                <a:cubicBezTo>
                  <a:pt x="334" y="704"/>
                  <a:pt x="336" y="705"/>
                  <a:pt x="336" y="705"/>
                </a:cubicBezTo>
                <a:cubicBezTo>
                  <a:pt x="336" y="706"/>
                  <a:pt x="334" y="706"/>
                  <a:pt x="334" y="705"/>
                </a:cubicBezTo>
                <a:cubicBezTo>
                  <a:pt x="333" y="706"/>
                  <a:pt x="330" y="707"/>
                  <a:pt x="328" y="706"/>
                </a:cubicBezTo>
                <a:cubicBezTo>
                  <a:pt x="327" y="706"/>
                  <a:pt x="325" y="706"/>
                  <a:pt x="324" y="708"/>
                </a:cubicBezTo>
                <a:cubicBezTo>
                  <a:pt x="324" y="708"/>
                  <a:pt x="324" y="710"/>
                  <a:pt x="324" y="710"/>
                </a:cubicBezTo>
                <a:cubicBezTo>
                  <a:pt x="323" y="711"/>
                  <a:pt x="321" y="711"/>
                  <a:pt x="321" y="711"/>
                </a:cubicBezTo>
                <a:cubicBezTo>
                  <a:pt x="321" y="712"/>
                  <a:pt x="322" y="713"/>
                  <a:pt x="323" y="713"/>
                </a:cubicBezTo>
                <a:cubicBezTo>
                  <a:pt x="328" y="713"/>
                  <a:pt x="334" y="714"/>
                  <a:pt x="339" y="714"/>
                </a:cubicBezTo>
                <a:cubicBezTo>
                  <a:pt x="338" y="712"/>
                  <a:pt x="340" y="712"/>
                  <a:pt x="342" y="712"/>
                </a:cubicBezTo>
                <a:cubicBezTo>
                  <a:pt x="342" y="712"/>
                  <a:pt x="343" y="712"/>
                  <a:pt x="344" y="712"/>
                </a:cubicBezTo>
                <a:cubicBezTo>
                  <a:pt x="344" y="712"/>
                  <a:pt x="344" y="713"/>
                  <a:pt x="344" y="713"/>
                </a:cubicBezTo>
                <a:cubicBezTo>
                  <a:pt x="344" y="713"/>
                  <a:pt x="345" y="713"/>
                  <a:pt x="345" y="714"/>
                </a:cubicBezTo>
                <a:cubicBezTo>
                  <a:pt x="345" y="714"/>
                  <a:pt x="346" y="714"/>
                  <a:pt x="346" y="714"/>
                </a:cubicBezTo>
                <a:cubicBezTo>
                  <a:pt x="346" y="713"/>
                  <a:pt x="347" y="712"/>
                  <a:pt x="347" y="712"/>
                </a:cubicBezTo>
                <a:cubicBezTo>
                  <a:pt x="348" y="712"/>
                  <a:pt x="349" y="712"/>
                  <a:pt x="349" y="712"/>
                </a:cubicBezTo>
                <a:cubicBezTo>
                  <a:pt x="350" y="712"/>
                  <a:pt x="351" y="711"/>
                  <a:pt x="352" y="711"/>
                </a:cubicBezTo>
                <a:cubicBezTo>
                  <a:pt x="352" y="710"/>
                  <a:pt x="352" y="710"/>
                  <a:pt x="354" y="709"/>
                </a:cubicBezTo>
                <a:cubicBezTo>
                  <a:pt x="355" y="709"/>
                  <a:pt x="355" y="708"/>
                  <a:pt x="357" y="708"/>
                </a:cubicBezTo>
                <a:cubicBezTo>
                  <a:pt x="360" y="707"/>
                  <a:pt x="365" y="706"/>
                  <a:pt x="369" y="705"/>
                </a:cubicBezTo>
                <a:cubicBezTo>
                  <a:pt x="370" y="705"/>
                  <a:pt x="370" y="705"/>
                  <a:pt x="370" y="705"/>
                </a:cubicBezTo>
                <a:cubicBezTo>
                  <a:pt x="370" y="705"/>
                  <a:pt x="369" y="705"/>
                  <a:pt x="369" y="705"/>
                </a:cubicBezTo>
                <a:cubicBezTo>
                  <a:pt x="368" y="705"/>
                  <a:pt x="367" y="704"/>
                  <a:pt x="366" y="702"/>
                </a:cubicBezTo>
                <a:cubicBezTo>
                  <a:pt x="365" y="702"/>
                  <a:pt x="365" y="702"/>
                  <a:pt x="365" y="701"/>
                </a:cubicBezTo>
                <a:cubicBezTo>
                  <a:pt x="365" y="700"/>
                  <a:pt x="364" y="699"/>
                  <a:pt x="365" y="698"/>
                </a:cubicBezTo>
                <a:cubicBezTo>
                  <a:pt x="366" y="692"/>
                  <a:pt x="379" y="693"/>
                  <a:pt x="384" y="696"/>
                </a:cubicBezTo>
                <a:cubicBezTo>
                  <a:pt x="386" y="697"/>
                  <a:pt x="387" y="699"/>
                  <a:pt x="388" y="701"/>
                </a:cubicBezTo>
                <a:cubicBezTo>
                  <a:pt x="390" y="700"/>
                  <a:pt x="392" y="699"/>
                  <a:pt x="392" y="700"/>
                </a:cubicBezTo>
                <a:cubicBezTo>
                  <a:pt x="393" y="701"/>
                  <a:pt x="391" y="702"/>
                  <a:pt x="389" y="702"/>
                </a:cubicBezTo>
                <a:cubicBezTo>
                  <a:pt x="389" y="702"/>
                  <a:pt x="389" y="702"/>
                  <a:pt x="389" y="702"/>
                </a:cubicBezTo>
                <a:cubicBezTo>
                  <a:pt x="390" y="703"/>
                  <a:pt x="391" y="704"/>
                  <a:pt x="391" y="704"/>
                </a:cubicBezTo>
                <a:cubicBezTo>
                  <a:pt x="391" y="706"/>
                  <a:pt x="387" y="707"/>
                  <a:pt x="383" y="708"/>
                </a:cubicBezTo>
                <a:cubicBezTo>
                  <a:pt x="388" y="708"/>
                  <a:pt x="395" y="708"/>
                  <a:pt x="399" y="708"/>
                </a:cubicBezTo>
                <a:cubicBezTo>
                  <a:pt x="399" y="708"/>
                  <a:pt x="406" y="707"/>
                  <a:pt x="406" y="708"/>
                </a:cubicBezTo>
                <a:cubicBezTo>
                  <a:pt x="407" y="710"/>
                  <a:pt x="401" y="709"/>
                  <a:pt x="400" y="709"/>
                </a:cubicBezTo>
                <a:cubicBezTo>
                  <a:pt x="394" y="709"/>
                  <a:pt x="384" y="709"/>
                  <a:pt x="378" y="709"/>
                </a:cubicBezTo>
                <a:cubicBezTo>
                  <a:pt x="378" y="709"/>
                  <a:pt x="377" y="709"/>
                  <a:pt x="377" y="709"/>
                </a:cubicBezTo>
                <a:cubicBezTo>
                  <a:pt x="377" y="709"/>
                  <a:pt x="377" y="709"/>
                  <a:pt x="377" y="708"/>
                </a:cubicBezTo>
                <a:cubicBezTo>
                  <a:pt x="378" y="708"/>
                  <a:pt x="378" y="708"/>
                  <a:pt x="379" y="708"/>
                </a:cubicBezTo>
                <a:cubicBezTo>
                  <a:pt x="377" y="708"/>
                  <a:pt x="376" y="708"/>
                  <a:pt x="375" y="708"/>
                </a:cubicBezTo>
                <a:cubicBezTo>
                  <a:pt x="374" y="708"/>
                  <a:pt x="374" y="709"/>
                  <a:pt x="373" y="709"/>
                </a:cubicBezTo>
                <a:cubicBezTo>
                  <a:pt x="373" y="709"/>
                  <a:pt x="372" y="709"/>
                  <a:pt x="372" y="709"/>
                </a:cubicBezTo>
                <a:cubicBezTo>
                  <a:pt x="372" y="709"/>
                  <a:pt x="371" y="710"/>
                  <a:pt x="370" y="710"/>
                </a:cubicBezTo>
                <a:cubicBezTo>
                  <a:pt x="369" y="710"/>
                  <a:pt x="367" y="710"/>
                  <a:pt x="366" y="711"/>
                </a:cubicBezTo>
                <a:cubicBezTo>
                  <a:pt x="364" y="711"/>
                  <a:pt x="363" y="712"/>
                  <a:pt x="361" y="713"/>
                </a:cubicBezTo>
                <a:cubicBezTo>
                  <a:pt x="360" y="713"/>
                  <a:pt x="360" y="713"/>
                  <a:pt x="360" y="713"/>
                </a:cubicBezTo>
                <a:cubicBezTo>
                  <a:pt x="359" y="713"/>
                  <a:pt x="358" y="714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554" y="715"/>
                  <a:pt x="714" y="555"/>
                  <a:pt x="714" y="357"/>
                </a:cubicBezTo>
                <a:cubicBezTo>
                  <a:pt x="714" y="339"/>
                  <a:pt x="713" y="322"/>
                  <a:pt x="710" y="304"/>
                </a:cubicBezTo>
                <a:close/>
                <a:moveTo>
                  <a:pt x="703" y="277"/>
                </a:moveTo>
                <a:cubicBezTo>
                  <a:pt x="704" y="277"/>
                  <a:pt x="703" y="279"/>
                  <a:pt x="702" y="279"/>
                </a:cubicBezTo>
                <a:cubicBezTo>
                  <a:pt x="702" y="278"/>
                  <a:pt x="703" y="278"/>
                  <a:pt x="703" y="277"/>
                </a:cubicBezTo>
                <a:close/>
                <a:moveTo>
                  <a:pt x="702" y="292"/>
                </a:moveTo>
                <a:cubicBezTo>
                  <a:pt x="702" y="292"/>
                  <a:pt x="702" y="292"/>
                  <a:pt x="702" y="292"/>
                </a:cubicBezTo>
                <a:cubicBezTo>
                  <a:pt x="702" y="292"/>
                  <a:pt x="701" y="293"/>
                  <a:pt x="701" y="293"/>
                </a:cubicBezTo>
                <a:cubicBezTo>
                  <a:pt x="701" y="293"/>
                  <a:pt x="701" y="292"/>
                  <a:pt x="702" y="292"/>
                </a:cubicBezTo>
                <a:close/>
                <a:moveTo>
                  <a:pt x="699" y="271"/>
                </a:moveTo>
                <a:cubicBezTo>
                  <a:pt x="697" y="274"/>
                  <a:pt x="700" y="270"/>
                  <a:pt x="699" y="271"/>
                </a:cubicBezTo>
                <a:close/>
                <a:moveTo>
                  <a:pt x="681" y="279"/>
                </a:moveTo>
                <a:cubicBezTo>
                  <a:pt x="681" y="277"/>
                  <a:pt x="683" y="278"/>
                  <a:pt x="681" y="279"/>
                </a:cubicBezTo>
                <a:close/>
                <a:moveTo>
                  <a:pt x="682" y="275"/>
                </a:moveTo>
                <a:cubicBezTo>
                  <a:pt x="683" y="276"/>
                  <a:pt x="681" y="277"/>
                  <a:pt x="682" y="275"/>
                </a:cubicBezTo>
                <a:close/>
                <a:moveTo>
                  <a:pt x="686" y="247"/>
                </a:moveTo>
                <a:cubicBezTo>
                  <a:pt x="687" y="248"/>
                  <a:pt x="687" y="250"/>
                  <a:pt x="687" y="252"/>
                </a:cubicBezTo>
                <a:cubicBezTo>
                  <a:pt x="686" y="251"/>
                  <a:pt x="686" y="249"/>
                  <a:pt x="686" y="247"/>
                </a:cubicBezTo>
                <a:close/>
                <a:moveTo>
                  <a:pt x="680" y="254"/>
                </a:moveTo>
                <a:cubicBezTo>
                  <a:pt x="680" y="255"/>
                  <a:pt x="681" y="252"/>
                  <a:pt x="680" y="254"/>
                </a:cubicBezTo>
                <a:close/>
                <a:moveTo>
                  <a:pt x="684" y="227"/>
                </a:moveTo>
                <a:cubicBezTo>
                  <a:pt x="687" y="230"/>
                  <a:pt x="682" y="233"/>
                  <a:pt x="680" y="234"/>
                </a:cubicBezTo>
                <a:cubicBezTo>
                  <a:pt x="678" y="231"/>
                  <a:pt x="681" y="225"/>
                  <a:pt x="684" y="227"/>
                </a:cubicBezTo>
                <a:close/>
                <a:moveTo>
                  <a:pt x="634" y="190"/>
                </a:moveTo>
                <a:cubicBezTo>
                  <a:pt x="634" y="190"/>
                  <a:pt x="634" y="191"/>
                  <a:pt x="634" y="191"/>
                </a:cubicBezTo>
                <a:cubicBezTo>
                  <a:pt x="635" y="194"/>
                  <a:pt x="630" y="192"/>
                  <a:pt x="634" y="190"/>
                </a:cubicBezTo>
                <a:close/>
                <a:moveTo>
                  <a:pt x="574" y="146"/>
                </a:moveTo>
                <a:cubicBezTo>
                  <a:pt x="575" y="147"/>
                  <a:pt x="573" y="147"/>
                  <a:pt x="573" y="146"/>
                </a:cubicBezTo>
                <a:cubicBezTo>
                  <a:pt x="572" y="146"/>
                  <a:pt x="574" y="145"/>
                  <a:pt x="574" y="146"/>
                </a:cubicBezTo>
                <a:close/>
                <a:moveTo>
                  <a:pt x="571" y="138"/>
                </a:moveTo>
                <a:cubicBezTo>
                  <a:pt x="571" y="138"/>
                  <a:pt x="571" y="138"/>
                  <a:pt x="571" y="138"/>
                </a:cubicBezTo>
                <a:cubicBezTo>
                  <a:pt x="572" y="140"/>
                  <a:pt x="569" y="137"/>
                  <a:pt x="571" y="138"/>
                </a:cubicBezTo>
                <a:close/>
                <a:moveTo>
                  <a:pt x="566" y="136"/>
                </a:moveTo>
                <a:cubicBezTo>
                  <a:pt x="566" y="137"/>
                  <a:pt x="564" y="137"/>
                  <a:pt x="564" y="137"/>
                </a:cubicBezTo>
                <a:cubicBezTo>
                  <a:pt x="564" y="136"/>
                  <a:pt x="566" y="135"/>
                  <a:pt x="566" y="136"/>
                </a:cubicBezTo>
                <a:close/>
                <a:moveTo>
                  <a:pt x="562" y="145"/>
                </a:moveTo>
                <a:cubicBezTo>
                  <a:pt x="563" y="146"/>
                  <a:pt x="562" y="146"/>
                  <a:pt x="562" y="146"/>
                </a:cubicBezTo>
                <a:cubicBezTo>
                  <a:pt x="561" y="145"/>
                  <a:pt x="562" y="145"/>
                  <a:pt x="562" y="145"/>
                </a:cubicBezTo>
                <a:close/>
                <a:moveTo>
                  <a:pt x="549" y="88"/>
                </a:moveTo>
                <a:cubicBezTo>
                  <a:pt x="549" y="88"/>
                  <a:pt x="549" y="88"/>
                  <a:pt x="549" y="88"/>
                </a:cubicBezTo>
                <a:cubicBezTo>
                  <a:pt x="549" y="88"/>
                  <a:pt x="549" y="88"/>
                  <a:pt x="549" y="88"/>
                </a:cubicBezTo>
                <a:close/>
                <a:moveTo>
                  <a:pt x="549" y="88"/>
                </a:moveTo>
                <a:cubicBezTo>
                  <a:pt x="549" y="88"/>
                  <a:pt x="548" y="88"/>
                  <a:pt x="549" y="88"/>
                </a:cubicBezTo>
                <a:close/>
                <a:moveTo>
                  <a:pt x="549" y="90"/>
                </a:moveTo>
                <a:cubicBezTo>
                  <a:pt x="549" y="91"/>
                  <a:pt x="548" y="91"/>
                  <a:pt x="548" y="91"/>
                </a:cubicBezTo>
                <a:cubicBezTo>
                  <a:pt x="548" y="91"/>
                  <a:pt x="549" y="90"/>
                  <a:pt x="549" y="90"/>
                </a:cubicBezTo>
                <a:close/>
                <a:moveTo>
                  <a:pt x="547" y="89"/>
                </a:moveTo>
                <a:cubicBezTo>
                  <a:pt x="546" y="89"/>
                  <a:pt x="546" y="90"/>
                  <a:pt x="545" y="90"/>
                </a:cubicBezTo>
                <a:cubicBezTo>
                  <a:pt x="546" y="90"/>
                  <a:pt x="544" y="88"/>
                  <a:pt x="544" y="88"/>
                </a:cubicBezTo>
                <a:cubicBezTo>
                  <a:pt x="545" y="87"/>
                  <a:pt x="547" y="87"/>
                  <a:pt x="547" y="89"/>
                </a:cubicBezTo>
                <a:close/>
                <a:moveTo>
                  <a:pt x="540" y="94"/>
                </a:moveTo>
                <a:cubicBezTo>
                  <a:pt x="541" y="94"/>
                  <a:pt x="539" y="94"/>
                  <a:pt x="539" y="94"/>
                </a:cubicBezTo>
                <a:cubicBezTo>
                  <a:pt x="539" y="93"/>
                  <a:pt x="540" y="93"/>
                  <a:pt x="540" y="94"/>
                </a:cubicBezTo>
                <a:close/>
                <a:moveTo>
                  <a:pt x="540" y="97"/>
                </a:moveTo>
                <a:cubicBezTo>
                  <a:pt x="540" y="96"/>
                  <a:pt x="538" y="98"/>
                  <a:pt x="539" y="97"/>
                </a:cubicBezTo>
                <a:cubicBezTo>
                  <a:pt x="539" y="96"/>
                  <a:pt x="542" y="93"/>
                  <a:pt x="544" y="93"/>
                </a:cubicBezTo>
                <a:cubicBezTo>
                  <a:pt x="546" y="93"/>
                  <a:pt x="549" y="94"/>
                  <a:pt x="548" y="96"/>
                </a:cubicBezTo>
                <a:cubicBezTo>
                  <a:pt x="548" y="98"/>
                  <a:pt x="544" y="100"/>
                  <a:pt x="542" y="100"/>
                </a:cubicBezTo>
                <a:cubicBezTo>
                  <a:pt x="541" y="100"/>
                  <a:pt x="540" y="99"/>
                  <a:pt x="540" y="99"/>
                </a:cubicBezTo>
                <a:cubicBezTo>
                  <a:pt x="539" y="99"/>
                  <a:pt x="538" y="101"/>
                  <a:pt x="538" y="99"/>
                </a:cubicBezTo>
                <a:cubicBezTo>
                  <a:pt x="538" y="99"/>
                  <a:pt x="540" y="97"/>
                  <a:pt x="540" y="97"/>
                </a:cubicBezTo>
                <a:close/>
                <a:moveTo>
                  <a:pt x="535" y="95"/>
                </a:moveTo>
                <a:cubicBezTo>
                  <a:pt x="536" y="96"/>
                  <a:pt x="533" y="95"/>
                  <a:pt x="535" y="95"/>
                </a:cubicBezTo>
                <a:close/>
                <a:moveTo>
                  <a:pt x="535" y="97"/>
                </a:moveTo>
                <a:cubicBezTo>
                  <a:pt x="535" y="97"/>
                  <a:pt x="535" y="96"/>
                  <a:pt x="535" y="96"/>
                </a:cubicBezTo>
                <a:cubicBezTo>
                  <a:pt x="535" y="97"/>
                  <a:pt x="536" y="97"/>
                  <a:pt x="535" y="97"/>
                </a:cubicBezTo>
                <a:close/>
                <a:moveTo>
                  <a:pt x="534" y="111"/>
                </a:moveTo>
                <a:cubicBezTo>
                  <a:pt x="534" y="110"/>
                  <a:pt x="535" y="109"/>
                  <a:pt x="536" y="110"/>
                </a:cubicBezTo>
                <a:cubicBezTo>
                  <a:pt x="537" y="111"/>
                  <a:pt x="535" y="111"/>
                  <a:pt x="534" y="111"/>
                </a:cubicBezTo>
                <a:close/>
                <a:moveTo>
                  <a:pt x="535" y="84"/>
                </a:moveTo>
                <a:cubicBezTo>
                  <a:pt x="538" y="83"/>
                  <a:pt x="536" y="88"/>
                  <a:pt x="534" y="87"/>
                </a:cubicBezTo>
                <a:cubicBezTo>
                  <a:pt x="532" y="86"/>
                  <a:pt x="534" y="85"/>
                  <a:pt x="535" y="84"/>
                </a:cubicBezTo>
                <a:close/>
                <a:moveTo>
                  <a:pt x="545" y="73"/>
                </a:moveTo>
                <a:cubicBezTo>
                  <a:pt x="544" y="74"/>
                  <a:pt x="544" y="72"/>
                  <a:pt x="545" y="73"/>
                </a:cubicBezTo>
                <a:close/>
                <a:moveTo>
                  <a:pt x="541" y="72"/>
                </a:moveTo>
                <a:cubicBezTo>
                  <a:pt x="540" y="73"/>
                  <a:pt x="539" y="73"/>
                  <a:pt x="537" y="73"/>
                </a:cubicBezTo>
                <a:cubicBezTo>
                  <a:pt x="539" y="73"/>
                  <a:pt x="539" y="71"/>
                  <a:pt x="541" y="72"/>
                </a:cubicBezTo>
                <a:close/>
                <a:moveTo>
                  <a:pt x="534" y="73"/>
                </a:moveTo>
                <a:cubicBezTo>
                  <a:pt x="534" y="74"/>
                  <a:pt x="532" y="75"/>
                  <a:pt x="532" y="74"/>
                </a:cubicBezTo>
                <a:cubicBezTo>
                  <a:pt x="531" y="74"/>
                  <a:pt x="534" y="73"/>
                  <a:pt x="534" y="73"/>
                </a:cubicBezTo>
                <a:close/>
                <a:moveTo>
                  <a:pt x="531" y="74"/>
                </a:moveTo>
                <a:cubicBezTo>
                  <a:pt x="532" y="75"/>
                  <a:pt x="530" y="74"/>
                  <a:pt x="530" y="74"/>
                </a:cubicBezTo>
                <a:cubicBezTo>
                  <a:pt x="529" y="73"/>
                  <a:pt x="531" y="73"/>
                  <a:pt x="531" y="74"/>
                </a:cubicBezTo>
                <a:close/>
                <a:moveTo>
                  <a:pt x="458" y="41"/>
                </a:moveTo>
                <a:cubicBezTo>
                  <a:pt x="458" y="42"/>
                  <a:pt x="458" y="42"/>
                  <a:pt x="458" y="42"/>
                </a:cubicBezTo>
                <a:cubicBezTo>
                  <a:pt x="458" y="41"/>
                  <a:pt x="457" y="40"/>
                  <a:pt x="458" y="41"/>
                </a:cubicBezTo>
                <a:close/>
                <a:moveTo>
                  <a:pt x="421" y="34"/>
                </a:moveTo>
                <a:cubicBezTo>
                  <a:pt x="420" y="34"/>
                  <a:pt x="420" y="33"/>
                  <a:pt x="421" y="34"/>
                </a:cubicBezTo>
                <a:close/>
                <a:moveTo>
                  <a:pt x="421" y="29"/>
                </a:moveTo>
                <a:cubicBezTo>
                  <a:pt x="422" y="30"/>
                  <a:pt x="420" y="30"/>
                  <a:pt x="420" y="30"/>
                </a:cubicBezTo>
                <a:cubicBezTo>
                  <a:pt x="419" y="29"/>
                  <a:pt x="421" y="29"/>
                  <a:pt x="421" y="29"/>
                </a:cubicBezTo>
                <a:close/>
                <a:moveTo>
                  <a:pt x="461" y="19"/>
                </a:moveTo>
                <a:cubicBezTo>
                  <a:pt x="461" y="20"/>
                  <a:pt x="458" y="20"/>
                  <a:pt x="458" y="19"/>
                </a:cubicBezTo>
                <a:cubicBezTo>
                  <a:pt x="457" y="18"/>
                  <a:pt x="461" y="17"/>
                  <a:pt x="461" y="19"/>
                </a:cubicBezTo>
                <a:close/>
                <a:moveTo>
                  <a:pt x="456" y="20"/>
                </a:moveTo>
                <a:cubicBezTo>
                  <a:pt x="457" y="21"/>
                  <a:pt x="454" y="22"/>
                  <a:pt x="454" y="20"/>
                </a:cubicBezTo>
                <a:cubicBezTo>
                  <a:pt x="454" y="20"/>
                  <a:pt x="456" y="20"/>
                  <a:pt x="456" y="20"/>
                </a:cubicBezTo>
                <a:close/>
                <a:moveTo>
                  <a:pt x="455" y="23"/>
                </a:moveTo>
                <a:cubicBezTo>
                  <a:pt x="456" y="24"/>
                  <a:pt x="453" y="23"/>
                  <a:pt x="453" y="23"/>
                </a:cubicBezTo>
                <a:cubicBezTo>
                  <a:pt x="453" y="22"/>
                  <a:pt x="455" y="22"/>
                  <a:pt x="455" y="23"/>
                </a:cubicBezTo>
                <a:close/>
                <a:moveTo>
                  <a:pt x="434" y="24"/>
                </a:moveTo>
                <a:cubicBezTo>
                  <a:pt x="434" y="25"/>
                  <a:pt x="430" y="24"/>
                  <a:pt x="430" y="23"/>
                </a:cubicBezTo>
                <a:cubicBezTo>
                  <a:pt x="430" y="22"/>
                  <a:pt x="433" y="22"/>
                  <a:pt x="434" y="24"/>
                </a:cubicBezTo>
                <a:close/>
                <a:moveTo>
                  <a:pt x="427" y="20"/>
                </a:moveTo>
                <a:cubicBezTo>
                  <a:pt x="427" y="21"/>
                  <a:pt x="425" y="20"/>
                  <a:pt x="425" y="20"/>
                </a:cubicBezTo>
                <a:cubicBezTo>
                  <a:pt x="425" y="20"/>
                  <a:pt x="427" y="19"/>
                  <a:pt x="427" y="20"/>
                </a:cubicBezTo>
                <a:close/>
                <a:moveTo>
                  <a:pt x="418" y="41"/>
                </a:moveTo>
                <a:cubicBezTo>
                  <a:pt x="418" y="41"/>
                  <a:pt x="418" y="40"/>
                  <a:pt x="418" y="40"/>
                </a:cubicBezTo>
                <a:cubicBezTo>
                  <a:pt x="416" y="39"/>
                  <a:pt x="420" y="40"/>
                  <a:pt x="418" y="41"/>
                </a:cubicBezTo>
                <a:close/>
                <a:moveTo>
                  <a:pt x="415" y="43"/>
                </a:moveTo>
                <a:cubicBezTo>
                  <a:pt x="416" y="44"/>
                  <a:pt x="414" y="44"/>
                  <a:pt x="414" y="44"/>
                </a:cubicBezTo>
                <a:cubicBezTo>
                  <a:pt x="414" y="44"/>
                  <a:pt x="414" y="43"/>
                  <a:pt x="415" y="43"/>
                </a:cubicBezTo>
                <a:close/>
                <a:moveTo>
                  <a:pt x="388" y="45"/>
                </a:moveTo>
                <a:cubicBezTo>
                  <a:pt x="388" y="43"/>
                  <a:pt x="393" y="43"/>
                  <a:pt x="393" y="45"/>
                </a:cubicBezTo>
                <a:cubicBezTo>
                  <a:pt x="393" y="48"/>
                  <a:pt x="388" y="46"/>
                  <a:pt x="388" y="45"/>
                </a:cubicBezTo>
                <a:close/>
                <a:moveTo>
                  <a:pt x="394" y="10"/>
                </a:moveTo>
                <a:cubicBezTo>
                  <a:pt x="394" y="11"/>
                  <a:pt x="393" y="11"/>
                  <a:pt x="392" y="11"/>
                </a:cubicBezTo>
                <a:cubicBezTo>
                  <a:pt x="393" y="10"/>
                  <a:pt x="394" y="10"/>
                  <a:pt x="394" y="10"/>
                </a:cubicBezTo>
                <a:close/>
                <a:moveTo>
                  <a:pt x="389" y="10"/>
                </a:moveTo>
                <a:cubicBezTo>
                  <a:pt x="391" y="9"/>
                  <a:pt x="391" y="12"/>
                  <a:pt x="389" y="10"/>
                </a:cubicBezTo>
                <a:close/>
                <a:moveTo>
                  <a:pt x="387" y="32"/>
                </a:moveTo>
                <a:cubicBezTo>
                  <a:pt x="393" y="30"/>
                  <a:pt x="399" y="30"/>
                  <a:pt x="404" y="30"/>
                </a:cubicBezTo>
                <a:cubicBezTo>
                  <a:pt x="399" y="31"/>
                  <a:pt x="391" y="32"/>
                  <a:pt x="384" y="33"/>
                </a:cubicBezTo>
                <a:cubicBezTo>
                  <a:pt x="379" y="35"/>
                  <a:pt x="386" y="32"/>
                  <a:pt x="387" y="32"/>
                </a:cubicBezTo>
                <a:close/>
                <a:moveTo>
                  <a:pt x="380" y="25"/>
                </a:moveTo>
                <a:cubicBezTo>
                  <a:pt x="381" y="24"/>
                  <a:pt x="382" y="26"/>
                  <a:pt x="380" y="25"/>
                </a:cubicBezTo>
                <a:close/>
                <a:moveTo>
                  <a:pt x="355" y="52"/>
                </a:moveTo>
                <a:cubicBezTo>
                  <a:pt x="355" y="51"/>
                  <a:pt x="357" y="50"/>
                  <a:pt x="357" y="51"/>
                </a:cubicBezTo>
                <a:cubicBezTo>
                  <a:pt x="358" y="53"/>
                  <a:pt x="356" y="52"/>
                  <a:pt x="355" y="52"/>
                </a:cubicBezTo>
                <a:close/>
                <a:moveTo>
                  <a:pt x="375" y="42"/>
                </a:move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lose/>
                <a:moveTo>
                  <a:pt x="371" y="6"/>
                </a:moveTo>
                <a:cubicBezTo>
                  <a:pt x="372" y="5"/>
                  <a:pt x="373" y="7"/>
                  <a:pt x="371" y="6"/>
                </a:cubicBezTo>
                <a:close/>
                <a:moveTo>
                  <a:pt x="367" y="52"/>
                </a:moveTo>
                <a:cubicBezTo>
                  <a:pt x="366" y="53"/>
                  <a:pt x="365" y="53"/>
                  <a:pt x="364" y="53"/>
                </a:cubicBezTo>
                <a:cubicBezTo>
                  <a:pt x="365" y="52"/>
                  <a:pt x="366" y="52"/>
                  <a:pt x="367" y="52"/>
                </a:cubicBezTo>
                <a:close/>
                <a:moveTo>
                  <a:pt x="360" y="41"/>
                </a:moveTo>
                <a:cubicBezTo>
                  <a:pt x="358" y="42"/>
                  <a:pt x="354" y="43"/>
                  <a:pt x="351" y="41"/>
                </a:cubicBezTo>
                <a:cubicBezTo>
                  <a:pt x="351" y="40"/>
                  <a:pt x="360" y="41"/>
                  <a:pt x="360" y="41"/>
                </a:cubicBezTo>
                <a:close/>
                <a:moveTo>
                  <a:pt x="2" y="391"/>
                </a:moveTo>
                <a:cubicBezTo>
                  <a:pt x="2" y="392"/>
                  <a:pt x="2" y="389"/>
                  <a:pt x="2" y="391"/>
                </a:cubicBezTo>
                <a:close/>
                <a:moveTo>
                  <a:pt x="2" y="338"/>
                </a:moveTo>
                <a:cubicBezTo>
                  <a:pt x="1" y="339"/>
                  <a:pt x="1" y="336"/>
                  <a:pt x="2" y="337"/>
                </a:cubicBezTo>
                <a:cubicBezTo>
                  <a:pt x="2" y="337"/>
                  <a:pt x="2" y="337"/>
                  <a:pt x="2" y="338"/>
                </a:cubicBezTo>
                <a:close/>
                <a:moveTo>
                  <a:pt x="6" y="411"/>
                </a:moveTo>
                <a:cubicBezTo>
                  <a:pt x="7" y="410"/>
                  <a:pt x="8" y="410"/>
                  <a:pt x="6" y="411"/>
                </a:cubicBezTo>
                <a:close/>
                <a:moveTo>
                  <a:pt x="7" y="377"/>
                </a:moveTo>
                <a:cubicBezTo>
                  <a:pt x="8" y="377"/>
                  <a:pt x="8" y="378"/>
                  <a:pt x="7" y="379"/>
                </a:cubicBezTo>
                <a:cubicBezTo>
                  <a:pt x="6" y="380"/>
                  <a:pt x="7" y="377"/>
                  <a:pt x="7" y="377"/>
                </a:cubicBezTo>
                <a:close/>
                <a:moveTo>
                  <a:pt x="7" y="415"/>
                </a:moveTo>
                <a:cubicBezTo>
                  <a:pt x="7" y="416"/>
                  <a:pt x="7" y="413"/>
                  <a:pt x="8" y="414"/>
                </a:cubicBezTo>
                <a:cubicBezTo>
                  <a:pt x="9" y="414"/>
                  <a:pt x="8" y="415"/>
                  <a:pt x="7" y="415"/>
                </a:cubicBezTo>
                <a:close/>
                <a:moveTo>
                  <a:pt x="7" y="368"/>
                </a:moveTo>
                <a:cubicBezTo>
                  <a:pt x="6" y="367"/>
                  <a:pt x="7" y="364"/>
                  <a:pt x="8" y="363"/>
                </a:cubicBezTo>
                <a:cubicBezTo>
                  <a:pt x="8" y="365"/>
                  <a:pt x="7" y="366"/>
                  <a:pt x="7" y="368"/>
                </a:cubicBezTo>
                <a:close/>
                <a:moveTo>
                  <a:pt x="13" y="438"/>
                </a:moveTo>
                <a:cubicBezTo>
                  <a:pt x="13" y="438"/>
                  <a:pt x="13" y="439"/>
                  <a:pt x="13" y="439"/>
                </a:cubicBezTo>
                <a:cubicBezTo>
                  <a:pt x="13" y="441"/>
                  <a:pt x="12" y="437"/>
                  <a:pt x="13" y="438"/>
                </a:cubicBezTo>
                <a:close/>
                <a:moveTo>
                  <a:pt x="12" y="423"/>
                </a:moveTo>
                <a:cubicBezTo>
                  <a:pt x="13" y="423"/>
                  <a:pt x="11" y="425"/>
                  <a:pt x="12" y="423"/>
                </a:cubicBezTo>
                <a:close/>
                <a:moveTo>
                  <a:pt x="15" y="295"/>
                </a:moveTo>
                <a:cubicBezTo>
                  <a:pt x="15" y="298"/>
                  <a:pt x="13" y="296"/>
                  <a:pt x="15" y="295"/>
                </a:cubicBezTo>
                <a:close/>
                <a:moveTo>
                  <a:pt x="13" y="368"/>
                </a:moveTo>
                <a:cubicBezTo>
                  <a:pt x="14" y="368"/>
                  <a:pt x="13" y="369"/>
                  <a:pt x="13" y="369"/>
                </a:cubicBezTo>
                <a:cubicBezTo>
                  <a:pt x="12" y="370"/>
                  <a:pt x="12" y="367"/>
                  <a:pt x="13" y="368"/>
                </a:cubicBezTo>
                <a:close/>
                <a:moveTo>
                  <a:pt x="12" y="352"/>
                </a:moveTo>
                <a:cubicBezTo>
                  <a:pt x="11" y="353"/>
                  <a:pt x="11" y="350"/>
                  <a:pt x="12" y="351"/>
                </a:cubicBezTo>
                <a:cubicBezTo>
                  <a:pt x="13" y="351"/>
                  <a:pt x="12" y="352"/>
                  <a:pt x="12" y="352"/>
                </a:cubicBezTo>
                <a:close/>
                <a:moveTo>
                  <a:pt x="10" y="333"/>
                </a:moveTo>
                <a:cubicBezTo>
                  <a:pt x="12" y="332"/>
                  <a:pt x="14" y="337"/>
                  <a:pt x="12" y="338"/>
                </a:cubicBezTo>
                <a:cubicBezTo>
                  <a:pt x="9" y="339"/>
                  <a:pt x="9" y="334"/>
                  <a:pt x="10" y="333"/>
                </a:cubicBezTo>
                <a:close/>
                <a:moveTo>
                  <a:pt x="10" y="355"/>
                </a:moveTo>
                <a:cubicBezTo>
                  <a:pt x="9" y="356"/>
                  <a:pt x="10" y="353"/>
                  <a:pt x="10" y="353"/>
                </a:cubicBezTo>
                <a:cubicBezTo>
                  <a:pt x="11" y="354"/>
                  <a:pt x="10" y="355"/>
                  <a:pt x="10" y="355"/>
                </a:cubicBezTo>
                <a:close/>
                <a:moveTo>
                  <a:pt x="9" y="371"/>
                </a:moveTo>
                <a:cubicBezTo>
                  <a:pt x="8" y="372"/>
                  <a:pt x="8" y="369"/>
                  <a:pt x="9" y="370"/>
                </a:cubicBezTo>
                <a:cubicBezTo>
                  <a:pt x="9" y="370"/>
                  <a:pt x="9" y="371"/>
                  <a:pt x="9" y="371"/>
                </a:cubicBezTo>
                <a:close/>
                <a:moveTo>
                  <a:pt x="9" y="359"/>
                </a:moveTo>
                <a:cubicBezTo>
                  <a:pt x="8" y="359"/>
                  <a:pt x="9" y="357"/>
                  <a:pt x="10" y="357"/>
                </a:cubicBezTo>
                <a:cubicBezTo>
                  <a:pt x="9" y="358"/>
                  <a:pt x="9" y="358"/>
                  <a:pt x="9" y="359"/>
                </a:cubicBezTo>
                <a:close/>
                <a:moveTo>
                  <a:pt x="10" y="438"/>
                </a:moveTo>
                <a:cubicBezTo>
                  <a:pt x="9" y="439"/>
                  <a:pt x="10" y="436"/>
                  <a:pt x="11" y="436"/>
                </a:cubicBezTo>
                <a:cubicBezTo>
                  <a:pt x="12" y="437"/>
                  <a:pt x="11" y="437"/>
                  <a:pt x="10" y="438"/>
                </a:cubicBezTo>
                <a:close/>
                <a:moveTo>
                  <a:pt x="10" y="424"/>
                </a:moveTo>
                <a:cubicBezTo>
                  <a:pt x="9" y="425"/>
                  <a:pt x="10" y="422"/>
                  <a:pt x="11" y="423"/>
                </a:cubicBezTo>
                <a:cubicBezTo>
                  <a:pt x="12" y="424"/>
                  <a:pt x="11" y="424"/>
                  <a:pt x="10" y="424"/>
                </a:cubicBezTo>
                <a:close/>
                <a:moveTo>
                  <a:pt x="11" y="386"/>
                </a:moveTo>
                <a:cubicBezTo>
                  <a:pt x="10" y="386"/>
                  <a:pt x="10" y="387"/>
                  <a:pt x="10" y="385"/>
                </a:cubicBezTo>
                <a:cubicBezTo>
                  <a:pt x="10" y="383"/>
                  <a:pt x="14" y="374"/>
                  <a:pt x="14" y="374"/>
                </a:cubicBezTo>
                <a:cubicBezTo>
                  <a:pt x="16" y="374"/>
                  <a:pt x="13" y="377"/>
                  <a:pt x="13" y="378"/>
                </a:cubicBezTo>
                <a:cubicBezTo>
                  <a:pt x="12" y="381"/>
                  <a:pt x="14" y="385"/>
                  <a:pt x="11" y="386"/>
                </a:cubicBezTo>
                <a:close/>
                <a:moveTo>
                  <a:pt x="14" y="394"/>
                </a:moveTo>
                <a:cubicBezTo>
                  <a:pt x="13" y="396"/>
                  <a:pt x="14" y="393"/>
                  <a:pt x="14" y="393"/>
                </a:cubicBezTo>
                <a:cubicBezTo>
                  <a:pt x="15" y="393"/>
                  <a:pt x="15" y="394"/>
                  <a:pt x="14" y="394"/>
                </a:cubicBezTo>
                <a:close/>
                <a:moveTo>
                  <a:pt x="15" y="388"/>
                </a:moveTo>
                <a:cubicBezTo>
                  <a:pt x="14" y="388"/>
                  <a:pt x="15" y="387"/>
                  <a:pt x="15" y="387"/>
                </a:cubicBezTo>
                <a:cubicBezTo>
                  <a:pt x="15" y="387"/>
                  <a:pt x="15" y="388"/>
                  <a:pt x="15" y="388"/>
                </a:cubicBezTo>
                <a:close/>
                <a:moveTo>
                  <a:pt x="15" y="300"/>
                </a:moveTo>
                <a:cubicBezTo>
                  <a:pt x="16" y="302"/>
                  <a:pt x="14" y="301"/>
                  <a:pt x="15" y="300"/>
                </a:cubicBezTo>
                <a:close/>
                <a:moveTo>
                  <a:pt x="16" y="366"/>
                </a:moveTo>
                <a:cubicBezTo>
                  <a:pt x="15" y="367"/>
                  <a:pt x="17" y="364"/>
                  <a:pt x="16" y="366"/>
                </a:cubicBezTo>
                <a:close/>
                <a:moveTo>
                  <a:pt x="17" y="380"/>
                </a:moveTo>
                <a:cubicBezTo>
                  <a:pt x="16" y="381"/>
                  <a:pt x="16" y="379"/>
                  <a:pt x="17" y="379"/>
                </a:cubicBezTo>
                <a:cubicBezTo>
                  <a:pt x="17" y="378"/>
                  <a:pt x="17" y="380"/>
                  <a:pt x="17" y="380"/>
                </a:cubicBezTo>
                <a:close/>
                <a:moveTo>
                  <a:pt x="27" y="420"/>
                </a:move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lose/>
                <a:moveTo>
                  <a:pt x="23" y="346"/>
                </a:moveTo>
                <a:cubicBezTo>
                  <a:pt x="23" y="346"/>
                  <a:pt x="23" y="347"/>
                  <a:pt x="23" y="347"/>
                </a:cubicBezTo>
                <a:cubicBezTo>
                  <a:pt x="22" y="347"/>
                  <a:pt x="22" y="346"/>
                  <a:pt x="23" y="346"/>
                </a:cubicBezTo>
                <a:close/>
                <a:moveTo>
                  <a:pt x="19" y="405"/>
                </a:moveTo>
                <a:cubicBezTo>
                  <a:pt x="19" y="405"/>
                  <a:pt x="18" y="404"/>
                  <a:pt x="18" y="404"/>
                </a:cubicBezTo>
                <a:cubicBezTo>
                  <a:pt x="18" y="404"/>
                  <a:pt x="20" y="404"/>
                  <a:pt x="19" y="405"/>
                </a:cubicBezTo>
                <a:close/>
                <a:moveTo>
                  <a:pt x="20" y="406"/>
                </a:moveTo>
                <a:cubicBezTo>
                  <a:pt x="19" y="406"/>
                  <a:pt x="20" y="405"/>
                  <a:pt x="20" y="404"/>
                </a:cubicBezTo>
                <a:cubicBezTo>
                  <a:pt x="21" y="404"/>
                  <a:pt x="20" y="405"/>
                  <a:pt x="20" y="406"/>
                </a:cubicBezTo>
                <a:close/>
                <a:moveTo>
                  <a:pt x="20" y="360"/>
                </a:moveTo>
                <a:cubicBezTo>
                  <a:pt x="19" y="359"/>
                  <a:pt x="21" y="359"/>
                  <a:pt x="20" y="360"/>
                </a:cubicBezTo>
                <a:close/>
                <a:moveTo>
                  <a:pt x="22" y="268"/>
                </a:moveTo>
                <a:cubicBezTo>
                  <a:pt x="23" y="268"/>
                  <a:pt x="22" y="270"/>
                  <a:pt x="22" y="271"/>
                </a:cubicBezTo>
                <a:cubicBezTo>
                  <a:pt x="19" y="273"/>
                  <a:pt x="19" y="267"/>
                  <a:pt x="22" y="268"/>
                </a:cubicBezTo>
                <a:close/>
                <a:moveTo>
                  <a:pt x="21" y="397"/>
                </a:moveTo>
                <a:cubicBezTo>
                  <a:pt x="21" y="396"/>
                  <a:pt x="22" y="397"/>
                  <a:pt x="22" y="398"/>
                </a:cubicBezTo>
                <a:cubicBezTo>
                  <a:pt x="21" y="399"/>
                  <a:pt x="20" y="397"/>
                  <a:pt x="21" y="397"/>
                </a:cubicBezTo>
                <a:close/>
                <a:moveTo>
                  <a:pt x="21" y="415"/>
                </a:moveTo>
                <a:cubicBezTo>
                  <a:pt x="22" y="416"/>
                  <a:pt x="21" y="417"/>
                  <a:pt x="21" y="415"/>
                </a:cubicBezTo>
                <a:close/>
                <a:moveTo>
                  <a:pt x="21" y="413"/>
                </a:moveTo>
                <a:cubicBezTo>
                  <a:pt x="21" y="413"/>
                  <a:pt x="23" y="413"/>
                  <a:pt x="23" y="413"/>
                </a:cubicBezTo>
                <a:cubicBezTo>
                  <a:pt x="23" y="414"/>
                  <a:pt x="20" y="414"/>
                  <a:pt x="21" y="413"/>
                </a:cubicBezTo>
                <a:close/>
                <a:moveTo>
                  <a:pt x="24" y="367"/>
                </a:moveTo>
                <a:cubicBezTo>
                  <a:pt x="25" y="368"/>
                  <a:pt x="23" y="369"/>
                  <a:pt x="24" y="367"/>
                </a:cubicBezTo>
                <a:close/>
                <a:moveTo>
                  <a:pt x="24" y="412"/>
                </a:moveTo>
                <a:cubicBezTo>
                  <a:pt x="24" y="413"/>
                  <a:pt x="24" y="410"/>
                  <a:pt x="24" y="412"/>
                </a:cubicBezTo>
                <a:close/>
                <a:moveTo>
                  <a:pt x="25" y="401"/>
                </a:moveTo>
                <a:cubicBezTo>
                  <a:pt x="24" y="402"/>
                  <a:pt x="24" y="400"/>
                  <a:pt x="24" y="399"/>
                </a:cubicBezTo>
                <a:cubicBezTo>
                  <a:pt x="25" y="399"/>
                  <a:pt x="25" y="401"/>
                  <a:pt x="25" y="401"/>
                </a:cubicBezTo>
                <a:close/>
                <a:moveTo>
                  <a:pt x="27" y="397"/>
                </a:moveTo>
                <a:cubicBezTo>
                  <a:pt x="27" y="398"/>
                  <a:pt x="28" y="396"/>
                  <a:pt x="27" y="397"/>
                </a:cubicBezTo>
                <a:close/>
                <a:moveTo>
                  <a:pt x="25" y="343"/>
                </a:moveTo>
                <a:cubicBezTo>
                  <a:pt x="23" y="342"/>
                  <a:pt x="25" y="340"/>
                  <a:pt x="25" y="338"/>
                </a:cubicBezTo>
                <a:cubicBezTo>
                  <a:pt x="25" y="340"/>
                  <a:pt x="26" y="339"/>
                  <a:pt x="27" y="340"/>
                </a:cubicBezTo>
                <a:cubicBezTo>
                  <a:pt x="29" y="342"/>
                  <a:pt x="26" y="345"/>
                  <a:pt x="25" y="343"/>
                </a:cubicBezTo>
                <a:close/>
                <a:moveTo>
                  <a:pt x="31" y="233"/>
                </a:moveTo>
                <a:cubicBezTo>
                  <a:pt x="30" y="234"/>
                  <a:pt x="30" y="231"/>
                  <a:pt x="30" y="231"/>
                </a:cubicBezTo>
                <a:cubicBezTo>
                  <a:pt x="32" y="231"/>
                  <a:pt x="31" y="233"/>
                  <a:pt x="31" y="233"/>
                </a:cubicBezTo>
                <a:close/>
                <a:moveTo>
                  <a:pt x="33" y="290"/>
                </a:moveTo>
                <a:cubicBezTo>
                  <a:pt x="32" y="291"/>
                  <a:pt x="32" y="288"/>
                  <a:pt x="33" y="289"/>
                </a:cubicBezTo>
                <a:cubicBezTo>
                  <a:pt x="34" y="289"/>
                  <a:pt x="33" y="290"/>
                  <a:pt x="33" y="290"/>
                </a:cubicBezTo>
                <a:close/>
                <a:moveTo>
                  <a:pt x="34" y="385"/>
                </a:moveTo>
                <a:cubicBezTo>
                  <a:pt x="33" y="386"/>
                  <a:pt x="34" y="383"/>
                  <a:pt x="35" y="383"/>
                </a:cubicBezTo>
                <a:cubicBezTo>
                  <a:pt x="35" y="384"/>
                  <a:pt x="34" y="385"/>
                  <a:pt x="34" y="385"/>
                </a:cubicBezTo>
                <a:close/>
                <a:moveTo>
                  <a:pt x="36" y="305"/>
                </a:moveTo>
                <a:cubicBezTo>
                  <a:pt x="35" y="307"/>
                  <a:pt x="37" y="303"/>
                  <a:pt x="36" y="305"/>
                </a:cubicBezTo>
                <a:close/>
                <a:moveTo>
                  <a:pt x="37" y="344"/>
                </a:moveTo>
                <a:cubicBezTo>
                  <a:pt x="37" y="344"/>
                  <a:pt x="38" y="344"/>
                  <a:pt x="38" y="344"/>
                </a:cubicBezTo>
                <a:cubicBezTo>
                  <a:pt x="38" y="345"/>
                  <a:pt x="37" y="345"/>
                  <a:pt x="37" y="344"/>
                </a:cubicBezTo>
                <a:close/>
                <a:moveTo>
                  <a:pt x="29" y="469"/>
                </a:moveTo>
                <a:cubicBezTo>
                  <a:pt x="25" y="471"/>
                  <a:pt x="25" y="463"/>
                  <a:pt x="29" y="464"/>
                </a:cubicBezTo>
                <a:cubicBezTo>
                  <a:pt x="31" y="464"/>
                  <a:pt x="31" y="468"/>
                  <a:pt x="29" y="469"/>
                </a:cubicBezTo>
                <a:close/>
                <a:moveTo>
                  <a:pt x="34" y="484"/>
                </a:moveTo>
                <a:cubicBezTo>
                  <a:pt x="34" y="485"/>
                  <a:pt x="34" y="485"/>
                  <a:pt x="33" y="485"/>
                </a:cubicBezTo>
                <a:cubicBezTo>
                  <a:pt x="32" y="486"/>
                  <a:pt x="33" y="483"/>
                  <a:pt x="34" y="484"/>
                </a:cubicBezTo>
                <a:close/>
                <a:moveTo>
                  <a:pt x="36" y="466"/>
                </a:moveTo>
                <a:cubicBezTo>
                  <a:pt x="34" y="467"/>
                  <a:pt x="34" y="464"/>
                  <a:pt x="35" y="463"/>
                </a:cubicBezTo>
                <a:cubicBezTo>
                  <a:pt x="36" y="463"/>
                  <a:pt x="37" y="465"/>
                  <a:pt x="36" y="466"/>
                </a:cubicBezTo>
                <a:close/>
                <a:moveTo>
                  <a:pt x="38" y="455"/>
                </a:moveTo>
                <a:cubicBezTo>
                  <a:pt x="38" y="455"/>
                  <a:pt x="38" y="456"/>
                  <a:pt x="38" y="456"/>
                </a:cubicBezTo>
                <a:cubicBezTo>
                  <a:pt x="37" y="458"/>
                  <a:pt x="36" y="454"/>
                  <a:pt x="38" y="455"/>
                </a:cubicBezTo>
                <a:close/>
                <a:moveTo>
                  <a:pt x="38" y="461"/>
                </a:moveTo>
                <a:cubicBezTo>
                  <a:pt x="36" y="462"/>
                  <a:pt x="38" y="459"/>
                  <a:pt x="39" y="459"/>
                </a:cubicBezTo>
                <a:cubicBezTo>
                  <a:pt x="39" y="460"/>
                  <a:pt x="38" y="461"/>
                  <a:pt x="38" y="461"/>
                </a:cubicBezTo>
                <a:close/>
                <a:moveTo>
                  <a:pt x="66" y="337"/>
                </a:moveTo>
                <a:cubicBezTo>
                  <a:pt x="66" y="337"/>
                  <a:pt x="66" y="338"/>
                  <a:pt x="66" y="338"/>
                </a:cubicBezTo>
                <a:cubicBezTo>
                  <a:pt x="65" y="339"/>
                  <a:pt x="65" y="336"/>
                  <a:pt x="66" y="337"/>
                </a:cubicBezTo>
                <a:close/>
                <a:moveTo>
                  <a:pt x="66" y="380"/>
                </a:moveTo>
                <a:cubicBezTo>
                  <a:pt x="67" y="380"/>
                  <a:pt x="67" y="382"/>
                  <a:pt x="66" y="382"/>
                </a:cubicBezTo>
                <a:cubicBezTo>
                  <a:pt x="65" y="384"/>
                  <a:pt x="65" y="379"/>
                  <a:pt x="66" y="380"/>
                </a:cubicBezTo>
                <a:close/>
                <a:moveTo>
                  <a:pt x="63" y="330"/>
                </a:moveTo>
                <a:cubicBezTo>
                  <a:pt x="62" y="331"/>
                  <a:pt x="64" y="329"/>
                  <a:pt x="63" y="330"/>
                </a:cubicBezTo>
                <a:close/>
                <a:moveTo>
                  <a:pt x="64" y="346"/>
                </a:moveTo>
                <a:cubicBezTo>
                  <a:pt x="66" y="346"/>
                  <a:pt x="65" y="351"/>
                  <a:pt x="62" y="351"/>
                </a:cubicBezTo>
                <a:cubicBezTo>
                  <a:pt x="62" y="351"/>
                  <a:pt x="62" y="345"/>
                  <a:pt x="64" y="346"/>
                </a:cubicBezTo>
                <a:close/>
                <a:moveTo>
                  <a:pt x="64" y="393"/>
                </a:moveTo>
                <a:cubicBezTo>
                  <a:pt x="64" y="392"/>
                  <a:pt x="65" y="394"/>
                  <a:pt x="64" y="393"/>
                </a:cubicBezTo>
                <a:close/>
                <a:moveTo>
                  <a:pt x="61" y="364"/>
                </a:moveTo>
                <a:cubicBezTo>
                  <a:pt x="61" y="362"/>
                  <a:pt x="62" y="363"/>
                  <a:pt x="61" y="364"/>
                </a:cubicBezTo>
                <a:close/>
                <a:moveTo>
                  <a:pt x="61" y="403"/>
                </a:moveTo>
                <a:cubicBezTo>
                  <a:pt x="61" y="403"/>
                  <a:pt x="61" y="403"/>
                  <a:pt x="62" y="403"/>
                </a:cubicBezTo>
                <a:cubicBezTo>
                  <a:pt x="63" y="402"/>
                  <a:pt x="61" y="403"/>
                  <a:pt x="61" y="403"/>
                </a:cubicBezTo>
                <a:close/>
                <a:moveTo>
                  <a:pt x="61" y="365"/>
                </a:moveTo>
                <a:cubicBezTo>
                  <a:pt x="61" y="366"/>
                  <a:pt x="59" y="365"/>
                  <a:pt x="61" y="365"/>
                </a:cubicBezTo>
                <a:close/>
                <a:moveTo>
                  <a:pt x="58" y="357"/>
                </a:moveTo>
                <a:cubicBezTo>
                  <a:pt x="59" y="357"/>
                  <a:pt x="58" y="359"/>
                  <a:pt x="58" y="359"/>
                </a:cubicBezTo>
                <a:cubicBezTo>
                  <a:pt x="56" y="361"/>
                  <a:pt x="55" y="356"/>
                  <a:pt x="58" y="357"/>
                </a:cubicBezTo>
                <a:close/>
                <a:moveTo>
                  <a:pt x="56" y="405"/>
                </a:moveTo>
                <a:cubicBezTo>
                  <a:pt x="56" y="405"/>
                  <a:pt x="56" y="406"/>
                  <a:pt x="56" y="406"/>
                </a:cubicBezTo>
                <a:cubicBezTo>
                  <a:pt x="55" y="407"/>
                  <a:pt x="55" y="405"/>
                  <a:pt x="56" y="405"/>
                </a:cubicBezTo>
                <a:close/>
                <a:moveTo>
                  <a:pt x="54" y="374"/>
                </a:moveTo>
                <a:cubicBezTo>
                  <a:pt x="55" y="374"/>
                  <a:pt x="55" y="375"/>
                  <a:pt x="54" y="375"/>
                </a:cubicBezTo>
                <a:cubicBezTo>
                  <a:pt x="53" y="376"/>
                  <a:pt x="53" y="374"/>
                  <a:pt x="54" y="374"/>
                </a:cubicBezTo>
                <a:close/>
                <a:moveTo>
                  <a:pt x="49" y="398"/>
                </a:moveTo>
                <a:cubicBezTo>
                  <a:pt x="51" y="396"/>
                  <a:pt x="52" y="393"/>
                  <a:pt x="54" y="390"/>
                </a:cubicBezTo>
                <a:cubicBezTo>
                  <a:pt x="53" y="393"/>
                  <a:pt x="51" y="396"/>
                  <a:pt x="49" y="398"/>
                </a:cubicBezTo>
                <a:close/>
                <a:moveTo>
                  <a:pt x="51" y="408"/>
                </a:moveTo>
                <a:cubicBezTo>
                  <a:pt x="50" y="407"/>
                  <a:pt x="52" y="406"/>
                  <a:pt x="52" y="407"/>
                </a:cubicBezTo>
                <a:cubicBezTo>
                  <a:pt x="54" y="408"/>
                  <a:pt x="52" y="410"/>
                  <a:pt x="51" y="408"/>
                </a:cubicBezTo>
                <a:close/>
                <a:moveTo>
                  <a:pt x="46" y="404"/>
                </a:moveTo>
                <a:cubicBezTo>
                  <a:pt x="46" y="404"/>
                  <a:pt x="47" y="400"/>
                  <a:pt x="48" y="399"/>
                </a:cubicBezTo>
                <a:cubicBezTo>
                  <a:pt x="48" y="400"/>
                  <a:pt x="47" y="404"/>
                  <a:pt x="46" y="404"/>
                </a:cubicBezTo>
                <a:close/>
                <a:moveTo>
                  <a:pt x="47" y="409"/>
                </a:moveTo>
                <a:cubicBezTo>
                  <a:pt x="48" y="408"/>
                  <a:pt x="47" y="410"/>
                  <a:pt x="47" y="409"/>
                </a:cubicBezTo>
                <a:close/>
                <a:moveTo>
                  <a:pt x="48" y="392"/>
                </a:moveTo>
                <a:cubicBezTo>
                  <a:pt x="46" y="393"/>
                  <a:pt x="46" y="388"/>
                  <a:pt x="49" y="389"/>
                </a:cubicBezTo>
                <a:cubicBezTo>
                  <a:pt x="50" y="389"/>
                  <a:pt x="49" y="392"/>
                  <a:pt x="48" y="392"/>
                </a:cubicBezTo>
                <a:close/>
                <a:moveTo>
                  <a:pt x="53" y="323"/>
                </a:moveTo>
                <a:cubicBezTo>
                  <a:pt x="54" y="323"/>
                  <a:pt x="54" y="325"/>
                  <a:pt x="53" y="325"/>
                </a:cubicBezTo>
                <a:cubicBezTo>
                  <a:pt x="52" y="326"/>
                  <a:pt x="52" y="323"/>
                  <a:pt x="53" y="323"/>
                </a:cubicBezTo>
                <a:close/>
                <a:moveTo>
                  <a:pt x="50" y="354"/>
                </a:moveTo>
                <a:cubicBezTo>
                  <a:pt x="53" y="355"/>
                  <a:pt x="51" y="360"/>
                  <a:pt x="50" y="360"/>
                </a:cubicBezTo>
                <a:cubicBezTo>
                  <a:pt x="45" y="362"/>
                  <a:pt x="47" y="352"/>
                  <a:pt x="50" y="354"/>
                </a:cubicBezTo>
                <a:close/>
                <a:moveTo>
                  <a:pt x="47" y="328"/>
                </a:moveTo>
                <a:cubicBezTo>
                  <a:pt x="47" y="328"/>
                  <a:pt x="48" y="328"/>
                  <a:pt x="48" y="327"/>
                </a:cubicBezTo>
                <a:cubicBezTo>
                  <a:pt x="49" y="327"/>
                  <a:pt x="49" y="328"/>
                  <a:pt x="47" y="328"/>
                </a:cubicBezTo>
                <a:close/>
                <a:moveTo>
                  <a:pt x="48" y="267"/>
                </a:moveTo>
                <a:cubicBezTo>
                  <a:pt x="47" y="267"/>
                  <a:pt x="47" y="267"/>
                  <a:pt x="47" y="266"/>
                </a:cubicBezTo>
                <a:cubicBezTo>
                  <a:pt x="47" y="266"/>
                  <a:pt x="49" y="266"/>
                  <a:pt x="48" y="267"/>
                </a:cubicBezTo>
                <a:close/>
                <a:moveTo>
                  <a:pt x="46" y="377"/>
                </a:moveTo>
                <a:cubicBezTo>
                  <a:pt x="45" y="378"/>
                  <a:pt x="45" y="376"/>
                  <a:pt x="46" y="376"/>
                </a:cubicBezTo>
                <a:cubicBezTo>
                  <a:pt x="47" y="376"/>
                  <a:pt x="46" y="377"/>
                  <a:pt x="46" y="377"/>
                </a:cubicBezTo>
                <a:close/>
                <a:moveTo>
                  <a:pt x="45" y="192"/>
                </a:moveTo>
                <a:cubicBezTo>
                  <a:pt x="46" y="192"/>
                  <a:pt x="46" y="193"/>
                  <a:pt x="46" y="193"/>
                </a:cubicBezTo>
                <a:cubicBezTo>
                  <a:pt x="44" y="195"/>
                  <a:pt x="44" y="191"/>
                  <a:pt x="45" y="192"/>
                </a:cubicBezTo>
                <a:close/>
                <a:moveTo>
                  <a:pt x="45" y="207"/>
                </a:moveTo>
                <a:cubicBezTo>
                  <a:pt x="46" y="207"/>
                  <a:pt x="45" y="208"/>
                  <a:pt x="45" y="209"/>
                </a:cubicBezTo>
                <a:cubicBezTo>
                  <a:pt x="44" y="210"/>
                  <a:pt x="44" y="207"/>
                  <a:pt x="45" y="207"/>
                </a:cubicBezTo>
                <a:close/>
                <a:moveTo>
                  <a:pt x="44" y="360"/>
                </a:moveTo>
                <a:cubicBezTo>
                  <a:pt x="45" y="361"/>
                  <a:pt x="44" y="363"/>
                  <a:pt x="44" y="363"/>
                </a:cubicBezTo>
                <a:cubicBezTo>
                  <a:pt x="42" y="364"/>
                  <a:pt x="43" y="360"/>
                  <a:pt x="44" y="360"/>
                </a:cubicBezTo>
                <a:close/>
                <a:moveTo>
                  <a:pt x="43" y="227"/>
                </a:moveTo>
                <a:cubicBezTo>
                  <a:pt x="43" y="227"/>
                  <a:pt x="43" y="228"/>
                  <a:pt x="43" y="228"/>
                </a:cubicBezTo>
                <a:cubicBezTo>
                  <a:pt x="42" y="229"/>
                  <a:pt x="43" y="226"/>
                  <a:pt x="43" y="227"/>
                </a:cubicBezTo>
                <a:close/>
                <a:moveTo>
                  <a:pt x="40" y="322"/>
                </a:moveTo>
                <a:cubicBezTo>
                  <a:pt x="41" y="320"/>
                  <a:pt x="39" y="322"/>
                  <a:pt x="40" y="322"/>
                </a:cubicBezTo>
                <a:close/>
                <a:moveTo>
                  <a:pt x="36" y="429"/>
                </a:moveTo>
                <a:cubicBezTo>
                  <a:pt x="35" y="431"/>
                  <a:pt x="35" y="428"/>
                  <a:pt x="36" y="428"/>
                </a:cubicBezTo>
                <a:cubicBezTo>
                  <a:pt x="36" y="429"/>
                  <a:pt x="36" y="429"/>
                  <a:pt x="36" y="429"/>
                </a:cubicBezTo>
                <a:close/>
                <a:moveTo>
                  <a:pt x="35" y="428"/>
                </a:moveTo>
                <a:cubicBezTo>
                  <a:pt x="34" y="427"/>
                  <a:pt x="36" y="425"/>
                  <a:pt x="36" y="426"/>
                </a:cubicBezTo>
                <a:cubicBezTo>
                  <a:pt x="37" y="428"/>
                  <a:pt x="35" y="429"/>
                  <a:pt x="35" y="428"/>
                </a:cubicBezTo>
                <a:close/>
                <a:moveTo>
                  <a:pt x="38" y="424"/>
                </a:moveTo>
                <a:cubicBezTo>
                  <a:pt x="35" y="427"/>
                  <a:pt x="33" y="418"/>
                  <a:pt x="37" y="417"/>
                </a:cubicBezTo>
                <a:cubicBezTo>
                  <a:pt x="35" y="420"/>
                  <a:pt x="39" y="419"/>
                  <a:pt x="39" y="420"/>
                </a:cubicBezTo>
                <a:cubicBezTo>
                  <a:pt x="39" y="421"/>
                  <a:pt x="39" y="423"/>
                  <a:pt x="38" y="424"/>
                </a:cubicBezTo>
                <a:close/>
                <a:moveTo>
                  <a:pt x="40" y="358"/>
                </a:moveTo>
                <a:cubicBezTo>
                  <a:pt x="38" y="358"/>
                  <a:pt x="41" y="356"/>
                  <a:pt x="40" y="357"/>
                </a:cubicBezTo>
                <a:cubicBezTo>
                  <a:pt x="40" y="357"/>
                  <a:pt x="40" y="358"/>
                  <a:pt x="40" y="358"/>
                </a:cubicBezTo>
                <a:close/>
                <a:moveTo>
                  <a:pt x="41" y="431"/>
                </a:moveTo>
                <a:cubicBezTo>
                  <a:pt x="42" y="430"/>
                  <a:pt x="43" y="432"/>
                  <a:pt x="41" y="431"/>
                </a:cubicBezTo>
                <a:close/>
                <a:moveTo>
                  <a:pt x="42" y="382"/>
                </a:moveTo>
                <a:cubicBezTo>
                  <a:pt x="42" y="380"/>
                  <a:pt x="43" y="381"/>
                  <a:pt x="44" y="380"/>
                </a:cubicBezTo>
                <a:cubicBezTo>
                  <a:pt x="44" y="379"/>
                  <a:pt x="44" y="378"/>
                  <a:pt x="46" y="378"/>
                </a:cubicBezTo>
                <a:cubicBezTo>
                  <a:pt x="50" y="378"/>
                  <a:pt x="48" y="384"/>
                  <a:pt x="45" y="385"/>
                </a:cubicBezTo>
                <a:cubicBezTo>
                  <a:pt x="43" y="385"/>
                  <a:pt x="41" y="385"/>
                  <a:pt x="42" y="382"/>
                </a:cubicBezTo>
                <a:close/>
                <a:moveTo>
                  <a:pt x="44" y="391"/>
                </a:moveTo>
                <a:cubicBezTo>
                  <a:pt x="43" y="392"/>
                  <a:pt x="45" y="389"/>
                  <a:pt x="44" y="391"/>
                </a:cubicBezTo>
                <a:close/>
                <a:moveTo>
                  <a:pt x="42" y="449"/>
                </a:moveTo>
                <a:cubicBezTo>
                  <a:pt x="42" y="450"/>
                  <a:pt x="43" y="447"/>
                  <a:pt x="42" y="449"/>
                </a:cubicBezTo>
                <a:close/>
                <a:moveTo>
                  <a:pt x="44" y="465"/>
                </a:moveTo>
                <a:cubicBezTo>
                  <a:pt x="45" y="464"/>
                  <a:pt x="43" y="466"/>
                  <a:pt x="44" y="465"/>
                </a:cubicBezTo>
                <a:close/>
                <a:moveTo>
                  <a:pt x="45" y="462"/>
                </a:moveTo>
                <a:cubicBezTo>
                  <a:pt x="45" y="462"/>
                  <a:pt x="45" y="462"/>
                  <a:pt x="46" y="462"/>
                </a:cubicBezTo>
                <a:cubicBezTo>
                  <a:pt x="46" y="462"/>
                  <a:pt x="46" y="462"/>
                  <a:pt x="46" y="462"/>
                </a:cubicBezTo>
                <a:cubicBezTo>
                  <a:pt x="46" y="462"/>
                  <a:pt x="45" y="462"/>
                  <a:pt x="45" y="462"/>
                </a:cubicBezTo>
                <a:close/>
                <a:moveTo>
                  <a:pt x="43" y="445"/>
                </a:moveTo>
                <a:cubicBezTo>
                  <a:pt x="43" y="443"/>
                  <a:pt x="45" y="441"/>
                  <a:pt x="47" y="439"/>
                </a:cubicBezTo>
                <a:cubicBezTo>
                  <a:pt x="47" y="442"/>
                  <a:pt x="44" y="443"/>
                  <a:pt x="43" y="445"/>
                </a:cubicBezTo>
                <a:close/>
                <a:moveTo>
                  <a:pt x="46" y="434"/>
                </a:moveTo>
                <a:cubicBezTo>
                  <a:pt x="46" y="434"/>
                  <a:pt x="47" y="433"/>
                  <a:pt x="46" y="434"/>
                </a:cubicBezTo>
                <a:cubicBezTo>
                  <a:pt x="46" y="434"/>
                  <a:pt x="46" y="434"/>
                  <a:pt x="46" y="434"/>
                </a:cubicBezTo>
                <a:close/>
                <a:moveTo>
                  <a:pt x="47" y="432"/>
                </a:moveTo>
                <a:cubicBezTo>
                  <a:pt x="48" y="430"/>
                  <a:pt x="50" y="431"/>
                  <a:pt x="47" y="432"/>
                </a:cubicBezTo>
                <a:close/>
                <a:moveTo>
                  <a:pt x="50" y="418"/>
                </a:moveTo>
                <a:cubicBezTo>
                  <a:pt x="50" y="419"/>
                  <a:pt x="52" y="419"/>
                  <a:pt x="51" y="420"/>
                </a:cubicBezTo>
                <a:cubicBezTo>
                  <a:pt x="52" y="419"/>
                  <a:pt x="48" y="420"/>
                  <a:pt x="49" y="421"/>
                </a:cubicBezTo>
                <a:cubicBezTo>
                  <a:pt x="48" y="420"/>
                  <a:pt x="48" y="419"/>
                  <a:pt x="49" y="418"/>
                </a:cubicBezTo>
                <a:cubicBezTo>
                  <a:pt x="47" y="418"/>
                  <a:pt x="45" y="417"/>
                  <a:pt x="45" y="416"/>
                </a:cubicBezTo>
                <a:cubicBezTo>
                  <a:pt x="44" y="413"/>
                  <a:pt x="47" y="411"/>
                  <a:pt x="49" y="410"/>
                </a:cubicBezTo>
                <a:cubicBezTo>
                  <a:pt x="49" y="410"/>
                  <a:pt x="49" y="409"/>
                  <a:pt x="49" y="409"/>
                </a:cubicBezTo>
                <a:cubicBezTo>
                  <a:pt x="50" y="409"/>
                  <a:pt x="51" y="411"/>
                  <a:pt x="51" y="411"/>
                </a:cubicBezTo>
                <a:cubicBezTo>
                  <a:pt x="53" y="412"/>
                  <a:pt x="52" y="407"/>
                  <a:pt x="54" y="407"/>
                </a:cubicBezTo>
                <a:cubicBezTo>
                  <a:pt x="56" y="408"/>
                  <a:pt x="54" y="410"/>
                  <a:pt x="54" y="411"/>
                </a:cubicBezTo>
                <a:cubicBezTo>
                  <a:pt x="54" y="413"/>
                  <a:pt x="55" y="413"/>
                  <a:pt x="53" y="414"/>
                </a:cubicBezTo>
                <a:cubicBezTo>
                  <a:pt x="52" y="415"/>
                  <a:pt x="51" y="418"/>
                  <a:pt x="50" y="418"/>
                </a:cubicBezTo>
                <a:close/>
                <a:moveTo>
                  <a:pt x="58" y="443"/>
                </a:moveTo>
                <a:cubicBezTo>
                  <a:pt x="57" y="444"/>
                  <a:pt x="57" y="442"/>
                  <a:pt x="58" y="441"/>
                </a:cubicBezTo>
                <a:cubicBezTo>
                  <a:pt x="59" y="441"/>
                  <a:pt x="58" y="442"/>
                  <a:pt x="58" y="443"/>
                </a:cubicBezTo>
                <a:close/>
                <a:moveTo>
                  <a:pt x="59" y="440"/>
                </a:moveTo>
                <a:cubicBezTo>
                  <a:pt x="57" y="441"/>
                  <a:pt x="59" y="437"/>
                  <a:pt x="60" y="439"/>
                </a:cubicBezTo>
                <a:cubicBezTo>
                  <a:pt x="60" y="439"/>
                  <a:pt x="59" y="440"/>
                  <a:pt x="59" y="440"/>
                </a:cubicBezTo>
                <a:close/>
                <a:moveTo>
                  <a:pt x="63" y="454"/>
                </a:moveTo>
                <a:cubicBezTo>
                  <a:pt x="64" y="455"/>
                  <a:pt x="62" y="456"/>
                  <a:pt x="63" y="454"/>
                </a:cubicBezTo>
                <a:close/>
                <a:moveTo>
                  <a:pt x="60" y="436"/>
                </a:moveTo>
                <a:cubicBezTo>
                  <a:pt x="60" y="435"/>
                  <a:pt x="64" y="434"/>
                  <a:pt x="64" y="437"/>
                </a:cubicBezTo>
                <a:cubicBezTo>
                  <a:pt x="64" y="439"/>
                  <a:pt x="58" y="440"/>
                  <a:pt x="60" y="436"/>
                </a:cubicBezTo>
                <a:close/>
                <a:moveTo>
                  <a:pt x="63" y="432"/>
                </a:moveTo>
                <a:cubicBezTo>
                  <a:pt x="62" y="431"/>
                  <a:pt x="64" y="430"/>
                  <a:pt x="63" y="432"/>
                </a:cubicBezTo>
                <a:close/>
                <a:moveTo>
                  <a:pt x="64" y="427"/>
                </a:moveTo>
                <a:cubicBezTo>
                  <a:pt x="64" y="427"/>
                  <a:pt x="64" y="428"/>
                  <a:pt x="64" y="428"/>
                </a:cubicBezTo>
                <a:cubicBezTo>
                  <a:pt x="63" y="429"/>
                  <a:pt x="63" y="426"/>
                  <a:pt x="64" y="427"/>
                </a:cubicBezTo>
                <a:close/>
                <a:moveTo>
                  <a:pt x="64" y="419"/>
                </a:moveTo>
                <a:cubicBezTo>
                  <a:pt x="62" y="420"/>
                  <a:pt x="59" y="423"/>
                  <a:pt x="58" y="424"/>
                </a:cubicBezTo>
                <a:cubicBezTo>
                  <a:pt x="57" y="426"/>
                  <a:pt x="56" y="428"/>
                  <a:pt x="54" y="429"/>
                </a:cubicBezTo>
                <a:cubicBezTo>
                  <a:pt x="57" y="423"/>
                  <a:pt x="63" y="418"/>
                  <a:pt x="66" y="413"/>
                </a:cubicBezTo>
                <a:cubicBezTo>
                  <a:pt x="69" y="409"/>
                  <a:pt x="65" y="417"/>
                  <a:pt x="64" y="419"/>
                </a:cubicBezTo>
                <a:close/>
                <a:moveTo>
                  <a:pt x="66" y="423"/>
                </a:moveTo>
                <a:cubicBezTo>
                  <a:pt x="66" y="423"/>
                  <a:pt x="65" y="423"/>
                  <a:pt x="65" y="423"/>
                </a:cubicBezTo>
                <a:cubicBezTo>
                  <a:pt x="64" y="423"/>
                  <a:pt x="66" y="422"/>
                  <a:pt x="66" y="423"/>
                </a:cubicBezTo>
                <a:close/>
                <a:moveTo>
                  <a:pt x="67" y="443"/>
                </a:moveTo>
                <a:cubicBezTo>
                  <a:pt x="67" y="443"/>
                  <a:pt x="67" y="443"/>
                  <a:pt x="67" y="443"/>
                </a:cubicBezTo>
                <a:cubicBezTo>
                  <a:pt x="67" y="441"/>
                  <a:pt x="69" y="445"/>
                  <a:pt x="67" y="443"/>
                </a:cubicBezTo>
                <a:close/>
                <a:moveTo>
                  <a:pt x="67" y="430"/>
                </a:moveTo>
                <a:cubicBezTo>
                  <a:pt x="67" y="431"/>
                  <a:pt x="66" y="432"/>
                  <a:pt x="66" y="431"/>
                </a:cubicBezTo>
                <a:cubicBezTo>
                  <a:pt x="62" y="428"/>
                  <a:pt x="71" y="428"/>
                  <a:pt x="67" y="430"/>
                </a:cubicBezTo>
                <a:close/>
                <a:moveTo>
                  <a:pt x="68" y="358"/>
                </a:moveTo>
                <a:cubicBezTo>
                  <a:pt x="65" y="360"/>
                  <a:pt x="65" y="354"/>
                  <a:pt x="67" y="355"/>
                </a:cubicBezTo>
                <a:cubicBezTo>
                  <a:pt x="69" y="355"/>
                  <a:pt x="68" y="357"/>
                  <a:pt x="68" y="358"/>
                </a:cubicBezTo>
                <a:close/>
                <a:moveTo>
                  <a:pt x="80" y="396"/>
                </a:moveTo>
                <a:cubicBezTo>
                  <a:pt x="79" y="397"/>
                  <a:pt x="80" y="395"/>
                  <a:pt x="80" y="396"/>
                </a:cubicBezTo>
                <a:close/>
                <a:moveTo>
                  <a:pt x="76" y="428"/>
                </a:moveTo>
                <a:cubicBezTo>
                  <a:pt x="76" y="428"/>
                  <a:pt x="76" y="428"/>
                  <a:pt x="76" y="428"/>
                </a:cubicBezTo>
                <a:cubicBezTo>
                  <a:pt x="77" y="427"/>
                  <a:pt x="76" y="428"/>
                  <a:pt x="76" y="428"/>
                </a:cubicBezTo>
                <a:close/>
                <a:moveTo>
                  <a:pt x="76" y="353"/>
                </a:moveTo>
                <a:cubicBezTo>
                  <a:pt x="76" y="355"/>
                  <a:pt x="75" y="355"/>
                  <a:pt x="75" y="356"/>
                </a:cubicBezTo>
                <a:cubicBezTo>
                  <a:pt x="74" y="355"/>
                  <a:pt x="76" y="354"/>
                  <a:pt x="76" y="353"/>
                </a:cubicBezTo>
                <a:close/>
                <a:moveTo>
                  <a:pt x="75" y="387"/>
                </a:moveTo>
                <a:cubicBezTo>
                  <a:pt x="74" y="387"/>
                  <a:pt x="77" y="386"/>
                  <a:pt x="75" y="387"/>
                </a:cubicBezTo>
                <a:close/>
                <a:moveTo>
                  <a:pt x="73" y="290"/>
                </a:moveTo>
                <a:cubicBezTo>
                  <a:pt x="73" y="291"/>
                  <a:pt x="73" y="292"/>
                  <a:pt x="72" y="293"/>
                </a:cubicBezTo>
                <a:cubicBezTo>
                  <a:pt x="72" y="292"/>
                  <a:pt x="73" y="290"/>
                  <a:pt x="73" y="290"/>
                </a:cubicBezTo>
                <a:close/>
                <a:moveTo>
                  <a:pt x="69" y="327"/>
                </a:moveTo>
                <a:cubicBezTo>
                  <a:pt x="69" y="326"/>
                  <a:pt x="71" y="325"/>
                  <a:pt x="72" y="324"/>
                </a:cubicBezTo>
                <a:cubicBezTo>
                  <a:pt x="72" y="326"/>
                  <a:pt x="70" y="326"/>
                  <a:pt x="69" y="327"/>
                </a:cubicBezTo>
                <a:close/>
                <a:moveTo>
                  <a:pt x="72" y="428"/>
                </a:moveTo>
                <a:cubicBezTo>
                  <a:pt x="70" y="430"/>
                  <a:pt x="71" y="426"/>
                  <a:pt x="72" y="427"/>
                </a:cubicBezTo>
                <a:cubicBezTo>
                  <a:pt x="73" y="427"/>
                  <a:pt x="73" y="428"/>
                  <a:pt x="72" y="428"/>
                </a:cubicBezTo>
                <a:close/>
                <a:moveTo>
                  <a:pt x="72" y="367"/>
                </a:moveTo>
                <a:cubicBezTo>
                  <a:pt x="72" y="367"/>
                  <a:pt x="72" y="368"/>
                  <a:pt x="72" y="368"/>
                </a:cubicBezTo>
                <a:cubicBezTo>
                  <a:pt x="71" y="369"/>
                  <a:pt x="71" y="366"/>
                  <a:pt x="72" y="367"/>
                </a:cubicBezTo>
                <a:close/>
                <a:moveTo>
                  <a:pt x="73" y="356"/>
                </a:moveTo>
                <a:cubicBezTo>
                  <a:pt x="70" y="358"/>
                  <a:pt x="71" y="351"/>
                  <a:pt x="73" y="352"/>
                </a:cubicBezTo>
                <a:cubicBezTo>
                  <a:pt x="75" y="353"/>
                  <a:pt x="73" y="356"/>
                  <a:pt x="73" y="356"/>
                </a:cubicBezTo>
                <a:close/>
                <a:moveTo>
                  <a:pt x="75" y="401"/>
                </a:moveTo>
                <a:cubicBezTo>
                  <a:pt x="73" y="402"/>
                  <a:pt x="73" y="397"/>
                  <a:pt x="75" y="398"/>
                </a:cubicBezTo>
                <a:cubicBezTo>
                  <a:pt x="76" y="399"/>
                  <a:pt x="76" y="400"/>
                  <a:pt x="75" y="401"/>
                </a:cubicBezTo>
                <a:close/>
                <a:moveTo>
                  <a:pt x="76" y="434"/>
                </a:moveTo>
                <a:cubicBezTo>
                  <a:pt x="77" y="432"/>
                  <a:pt x="79" y="430"/>
                  <a:pt x="80" y="429"/>
                </a:cubicBezTo>
                <a:cubicBezTo>
                  <a:pt x="79" y="431"/>
                  <a:pt x="78" y="432"/>
                  <a:pt x="76" y="434"/>
                </a:cubicBezTo>
                <a:close/>
                <a:moveTo>
                  <a:pt x="81" y="418"/>
                </a:moveTo>
                <a:cubicBezTo>
                  <a:pt x="80" y="418"/>
                  <a:pt x="82" y="417"/>
                  <a:pt x="81" y="418"/>
                </a:cubicBezTo>
                <a:close/>
                <a:moveTo>
                  <a:pt x="81" y="339"/>
                </a:moveTo>
                <a:cubicBezTo>
                  <a:pt x="80" y="339"/>
                  <a:pt x="81" y="337"/>
                  <a:pt x="82" y="337"/>
                </a:cubicBezTo>
                <a:cubicBezTo>
                  <a:pt x="82" y="338"/>
                  <a:pt x="81" y="338"/>
                  <a:pt x="81" y="339"/>
                </a:cubicBezTo>
                <a:close/>
                <a:moveTo>
                  <a:pt x="87" y="450"/>
                </a:moveTo>
                <a:cubicBezTo>
                  <a:pt x="87" y="450"/>
                  <a:pt x="88" y="449"/>
                  <a:pt x="89" y="449"/>
                </a:cubicBezTo>
                <a:cubicBezTo>
                  <a:pt x="89" y="449"/>
                  <a:pt x="88" y="450"/>
                  <a:pt x="87" y="450"/>
                </a:cubicBezTo>
                <a:close/>
                <a:moveTo>
                  <a:pt x="90" y="457"/>
                </a:moveTo>
                <a:cubicBezTo>
                  <a:pt x="90" y="457"/>
                  <a:pt x="90" y="457"/>
                  <a:pt x="90" y="456"/>
                </a:cubicBezTo>
                <a:cubicBezTo>
                  <a:pt x="92" y="455"/>
                  <a:pt x="91" y="456"/>
                  <a:pt x="90" y="457"/>
                </a:cubicBezTo>
                <a:close/>
                <a:moveTo>
                  <a:pt x="91" y="435"/>
                </a:moveTo>
                <a:cubicBezTo>
                  <a:pt x="89" y="437"/>
                  <a:pt x="92" y="434"/>
                  <a:pt x="91" y="435"/>
                </a:cubicBezTo>
                <a:close/>
                <a:moveTo>
                  <a:pt x="109" y="452"/>
                </a:moveTo>
                <a:cubicBezTo>
                  <a:pt x="109" y="453"/>
                  <a:pt x="108" y="452"/>
                  <a:pt x="109" y="452"/>
                </a:cubicBezTo>
                <a:close/>
                <a:moveTo>
                  <a:pt x="104" y="235"/>
                </a:moveTo>
                <a:cubicBezTo>
                  <a:pt x="103" y="236"/>
                  <a:pt x="105" y="234"/>
                  <a:pt x="104" y="235"/>
                </a:cubicBezTo>
                <a:close/>
                <a:moveTo>
                  <a:pt x="100" y="336"/>
                </a:moveTo>
                <a:cubicBezTo>
                  <a:pt x="101" y="335"/>
                  <a:pt x="101" y="335"/>
                  <a:pt x="100" y="336"/>
                </a:cubicBezTo>
                <a:close/>
                <a:moveTo>
                  <a:pt x="98" y="332"/>
                </a:moveTo>
                <a:cubicBezTo>
                  <a:pt x="97" y="331"/>
                  <a:pt x="100" y="331"/>
                  <a:pt x="98" y="332"/>
                </a:cubicBezTo>
                <a:close/>
                <a:moveTo>
                  <a:pt x="96" y="215"/>
                </a:moveTo>
                <a:cubicBezTo>
                  <a:pt x="97" y="215"/>
                  <a:pt x="97" y="216"/>
                  <a:pt x="96" y="217"/>
                </a:cubicBezTo>
                <a:cubicBezTo>
                  <a:pt x="95" y="219"/>
                  <a:pt x="95" y="214"/>
                  <a:pt x="96" y="215"/>
                </a:cubicBezTo>
                <a:close/>
                <a:moveTo>
                  <a:pt x="87" y="329"/>
                </a:moveTo>
                <a:cubicBezTo>
                  <a:pt x="87" y="330"/>
                  <a:pt x="86" y="330"/>
                  <a:pt x="86" y="331"/>
                </a:cubicBezTo>
                <a:cubicBezTo>
                  <a:pt x="85" y="331"/>
                  <a:pt x="86" y="329"/>
                  <a:pt x="87" y="329"/>
                </a:cubicBezTo>
                <a:close/>
                <a:moveTo>
                  <a:pt x="85" y="293"/>
                </a:moveTo>
                <a:cubicBezTo>
                  <a:pt x="85" y="293"/>
                  <a:pt x="85" y="294"/>
                  <a:pt x="85" y="294"/>
                </a:cubicBezTo>
                <a:cubicBezTo>
                  <a:pt x="83" y="296"/>
                  <a:pt x="83" y="291"/>
                  <a:pt x="85" y="293"/>
                </a:cubicBezTo>
                <a:close/>
                <a:moveTo>
                  <a:pt x="84" y="332"/>
                </a:moveTo>
                <a:cubicBezTo>
                  <a:pt x="86" y="333"/>
                  <a:pt x="84" y="335"/>
                  <a:pt x="82" y="336"/>
                </a:cubicBezTo>
                <a:cubicBezTo>
                  <a:pt x="83" y="334"/>
                  <a:pt x="85" y="333"/>
                  <a:pt x="84" y="332"/>
                </a:cubicBezTo>
                <a:close/>
                <a:moveTo>
                  <a:pt x="83" y="441"/>
                </a:moveTo>
                <a:cubicBezTo>
                  <a:pt x="82" y="442"/>
                  <a:pt x="84" y="440"/>
                  <a:pt x="83" y="441"/>
                </a:cubicBezTo>
                <a:close/>
                <a:moveTo>
                  <a:pt x="84" y="423"/>
                </a:moveTo>
                <a:cubicBezTo>
                  <a:pt x="83" y="424"/>
                  <a:pt x="84" y="421"/>
                  <a:pt x="85" y="422"/>
                </a:cubicBezTo>
                <a:cubicBezTo>
                  <a:pt x="86" y="422"/>
                  <a:pt x="85" y="423"/>
                  <a:pt x="84" y="423"/>
                </a:cubicBezTo>
                <a:close/>
                <a:moveTo>
                  <a:pt x="88" y="356"/>
                </a:moveTo>
                <a:cubicBezTo>
                  <a:pt x="86" y="358"/>
                  <a:pt x="87" y="353"/>
                  <a:pt x="88" y="354"/>
                </a:cubicBezTo>
                <a:cubicBezTo>
                  <a:pt x="89" y="355"/>
                  <a:pt x="88" y="356"/>
                  <a:pt x="88" y="356"/>
                </a:cubicBezTo>
                <a:close/>
                <a:moveTo>
                  <a:pt x="96" y="325"/>
                </a:moveTo>
                <a:cubicBezTo>
                  <a:pt x="96" y="326"/>
                  <a:pt x="95" y="326"/>
                  <a:pt x="94" y="328"/>
                </a:cubicBezTo>
                <a:cubicBezTo>
                  <a:pt x="92" y="330"/>
                  <a:pt x="89" y="335"/>
                  <a:pt x="87" y="340"/>
                </a:cubicBezTo>
                <a:cubicBezTo>
                  <a:pt x="85" y="344"/>
                  <a:pt x="85" y="347"/>
                  <a:pt x="83" y="350"/>
                </a:cubicBezTo>
                <a:cubicBezTo>
                  <a:pt x="83" y="350"/>
                  <a:pt x="82" y="350"/>
                  <a:pt x="82" y="350"/>
                </a:cubicBezTo>
                <a:cubicBezTo>
                  <a:pt x="81" y="350"/>
                  <a:pt x="84" y="344"/>
                  <a:pt x="85" y="342"/>
                </a:cubicBezTo>
                <a:cubicBezTo>
                  <a:pt x="86" y="339"/>
                  <a:pt x="87" y="337"/>
                  <a:pt x="89" y="334"/>
                </a:cubicBezTo>
                <a:cubicBezTo>
                  <a:pt x="90" y="332"/>
                  <a:pt x="93" y="329"/>
                  <a:pt x="93" y="326"/>
                </a:cubicBezTo>
                <a:cubicBezTo>
                  <a:pt x="93" y="326"/>
                  <a:pt x="92" y="325"/>
                  <a:pt x="92" y="324"/>
                </a:cubicBezTo>
                <a:cubicBezTo>
                  <a:pt x="92" y="320"/>
                  <a:pt x="99" y="320"/>
                  <a:pt x="96" y="325"/>
                </a:cubicBezTo>
                <a:close/>
                <a:moveTo>
                  <a:pt x="96" y="227"/>
                </a:moveTo>
                <a:cubicBezTo>
                  <a:pt x="97" y="227"/>
                  <a:pt x="97" y="228"/>
                  <a:pt x="97" y="229"/>
                </a:cubicBezTo>
                <a:cubicBezTo>
                  <a:pt x="96" y="230"/>
                  <a:pt x="96" y="227"/>
                  <a:pt x="96" y="227"/>
                </a:cubicBezTo>
                <a:close/>
                <a:moveTo>
                  <a:pt x="98" y="402"/>
                </a:moveTo>
                <a:cubicBezTo>
                  <a:pt x="98" y="402"/>
                  <a:pt x="98" y="402"/>
                  <a:pt x="97" y="402"/>
                </a:cubicBezTo>
                <a:cubicBezTo>
                  <a:pt x="95" y="401"/>
                  <a:pt x="100" y="400"/>
                  <a:pt x="98" y="402"/>
                </a:cubicBezTo>
                <a:close/>
                <a:moveTo>
                  <a:pt x="99" y="416"/>
                </a:moveTo>
                <a:cubicBezTo>
                  <a:pt x="101" y="416"/>
                  <a:pt x="100" y="421"/>
                  <a:pt x="99" y="422"/>
                </a:cubicBezTo>
                <a:cubicBezTo>
                  <a:pt x="94" y="424"/>
                  <a:pt x="98" y="416"/>
                  <a:pt x="99" y="416"/>
                </a:cubicBezTo>
                <a:close/>
                <a:moveTo>
                  <a:pt x="101" y="433"/>
                </a:moveTo>
                <a:cubicBezTo>
                  <a:pt x="103" y="434"/>
                  <a:pt x="100" y="438"/>
                  <a:pt x="100" y="439"/>
                </a:cubicBezTo>
                <a:cubicBezTo>
                  <a:pt x="94" y="441"/>
                  <a:pt x="98" y="431"/>
                  <a:pt x="101" y="433"/>
                </a:cubicBezTo>
                <a:close/>
                <a:moveTo>
                  <a:pt x="100" y="444"/>
                </a:moveTo>
                <a:cubicBezTo>
                  <a:pt x="101" y="443"/>
                  <a:pt x="99" y="445"/>
                  <a:pt x="100" y="444"/>
                </a:cubicBezTo>
                <a:close/>
                <a:moveTo>
                  <a:pt x="102" y="444"/>
                </a:moveTo>
                <a:cubicBezTo>
                  <a:pt x="102" y="445"/>
                  <a:pt x="101" y="445"/>
                  <a:pt x="101" y="445"/>
                </a:cubicBezTo>
                <a:cubicBezTo>
                  <a:pt x="99" y="443"/>
                  <a:pt x="104" y="442"/>
                  <a:pt x="102" y="444"/>
                </a:cubicBezTo>
                <a:close/>
                <a:moveTo>
                  <a:pt x="102" y="431"/>
                </a:moveTo>
                <a:cubicBezTo>
                  <a:pt x="100" y="432"/>
                  <a:pt x="100" y="428"/>
                  <a:pt x="102" y="429"/>
                </a:cubicBezTo>
                <a:cubicBezTo>
                  <a:pt x="103" y="429"/>
                  <a:pt x="103" y="430"/>
                  <a:pt x="102" y="431"/>
                </a:cubicBezTo>
                <a:close/>
                <a:moveTo>
                  <a:pt x="103" y="445"/>
                </a:moveTo>
                <a:cubicBezTo>
                  <a:pt x="102" y="447"/>
                  <a:pt x="105" y="444"/>
                  <a:pt x="103" y="445"/>
                </a:cubicBezTo>
                <a:close/>
                <a:moveTo>
                  <a:pt x="104" y="399"/>
                </a:moveTo>
                <a:cubicBezTo>
                  <a:pt x="103" y="399"/>
                  <a:pt x="103" y="397"/>
                  <a:pt x="104" y="398"/>
                </a:cubicBezTo>
                <a:cubicBezTo>
                  <a:pt x="104" y="398"/>
                  <a:pt x="104" y="399"/>
                  <a:pt x="104" y="399"/>
                </a:cubicBezTo>
                <a:close/>
                <a:moveTo>
                  <a:pt x="104" y="288"/>
                </a:moveTo>
                <a:cubicBezTo>
                  <a:pt x="103" y="290"/>
                  <a:pt x="105" y="287"/>
                  <a:pt x="104" y="288"/>
                </a:cubicBezTo>
                <a:close/>
                <a:moveTo>
                  <a:pt x="105" y="307"/>
                </a:moveTo>
                <a:cubicBezTo>
                  <a:pt x="104" y="306"/>
                  <a:pt x="106" y="303"/>
                  <a:pt x="107" y="302"/>
                </a:cubicBezTo>
                <a:cubicBezTo>
                  <a:pt x="107" y="304"/>
                  <a:pt x="106" y="306"/>
                  <a:pt x="105" y="307"/>
                </a:cubicBezTo>
                <a:close/>
                <a:moveTo>
                  <a:pt x="106" y="414"/>
                </a:moveTo>
                <a:cubicBezTo>
                  <a:pt x="106" y="413"/>
                  <a:pt x="108" y="413"/>
                  <a:pt x="106" y="414"/>
                </a:cubicBezTo>
                <a:close/>
                <a:moveTo>
                  <a:pt x="108" y="455"/>
                </a:moveTo>
                <a:cubicBezTo>
                  <a:pt x="107" y="454"/>
                  <a:pt x="109" y="454"/>
                  <a:pt x="108" y="455"/>
                </a:cubicBezTo>
                <a:close/>
                <a:moveTo>
                  <a:pt x="107" y="441"/>
                </a:moveTo>
                <a:cubicBezTo>
                  <a:pt x="106" y="441"/>
                  <a:pt x="108" y="440"/>
                  <a:pt x="108" y="440"/>
                </a:cubicBezTo>
                <a:cubicBezTo>
                  <a:pt x="108" y="440"/>
                  <a:pt x="107" y="440"/>
                  <a:pt x="107" y="441"/>
                </a:cubicBezTo>
                <a:close/>
                <a:moveTo>
                  <a:pt x="108" y="388"/>
                </a:moveTo>
                <a:cubicBezTo>
                  <a:pt x="107" y="390"/>
                  <a:pt x="107" y="386"/>
                  <a:pt x="108" y="387"/>
                </a:cubicBezTo>
                <a:cubicBezTo>
                  <a:pt x="109" y="387"/>
                  <a:pt x="108" y="388"/>
                  <a:pt x="108" y="388"/>
                </a:cubicBezTo>
                <a:close/>
                <a:moveTo>
                  <a:pt x="109" y="420"/>
                </a:moveTo>
                <a:cubicBezTo>
                  <a:pt x="109" y="421"/>
                  <a:pt x="109" y="418"/>
                  <a:pt x="109" y="420"/>
                </a:cubicBezTo>
                <a:close/>
                <a:moveTo>
                  <a:pt x="108" y="301"/>
                </a:moveTo>
                <a:cubicBezTo>
                  <a:pt x="107" y="300"/>
                  <a:pt x="108" y="298"/>
                  <a:pt x="110" y="298"/>
                </a:cubicBezTo>
                <a:cubicBezTo>
                  <a:pt x="110" y="299"/>
                  <a:pt x="108" y="300"/>
                  <a:pt x="108" y="301"/>
                </a:cubicBezTo>
                <a:close/>
                <a:moveTo>
                  <a:pt x="110" y="401"/>
                </a:moveTo>
                <a:cubicBezTo>
                  <a:pt x="110" y="401"/>
                  <a:pt x="110" y="401"/>
                  <a:pt x="110" y="401"/>
                </a:cubicBezTo>
                <a:cubicBezTo>
                  <a:pt x="110" y="401"/>
                  <a:pt x="110" y="400"/>
                  <a:pt x="110" y="401"/>
                </a:cubicBezTo>
                <a:close/>
                <a:moveTo>
                  <a:pt x="69" y="513"/>
                </a:moveTo>
                <a:cubicBezTo>
                  <a:pt x="69" y="513"/>
                  <a:pt x="70" y="512"/>
                  <a:pt x="70" y="512"/>
                </a:cubicBezTo>
                <a:cubicBezTo>
                  <a:pt x="70" y="513"/>
                  <a:pt x="69" y="513"/>
                  <a:pt x="69" y="513"/>
                </a:cubicBezTo>
                <a:close/>
                <a:moveTo>
                  <a:pt x="73" y="498"/>
                </a:moveTo>
                <a:cubicBezTo>
                  <a:pt x="73" y="497"/>
                  <a:pt x="74" y="496"/>
                  <a:pt x="75" y="496"/>
                </a:cubicBezTo>
                <a:cubicBezTo>
                  <a:pt x="75" y="497"/>
                  <a:pt x="74" y="498"/>
                  <a:pt x="73" y="498"/>
                </a:cubicBezTo>
                <a:close/>
                <a:moveTo>
                  <a:pt x="76" y="499"/>
                </a:moveTo>
                <a:cubicBezTo>
                  <a:pt x="76" y="500"/>
                  <a:pt x="77" y="498"/>
                  <a:pt x="76" y="499"/>
                </a:cubicBezTo>
                <a:close/>
                <a:moveTo>
                  <a:pt x="87" y="502"/>
                </a:moveTo>
                <a:cubicBezTo>
                  <a:pt x="86" y="500"/>
                  <a:pt x="89" y="499"/>
                  <a:pt x="87" y="502"/>
                </a:cubicBezTo>
                <a:close/>
                <a:moveTo>
                  <a:pt x="100" y="477"/>
                </a:moveTo>
                <a:cubicBezTo>
                  <a:pt x="101" y="479"/>
                  <a:pt x="100" y="481"/>
                  <a:pt x="100" y="483"/>
                </a:cubicBezTo>
                <a:cubicBezTo>
                  <a:pt x="99" y="481"/>
                  <a:pt x="99" y="479"/>
                  <a:pt x="100" y="477"/>
                </a:cubicBezTo>
                <a:close/>
                <a:moveTo>
                  <a:pt x="100" y="502"/>
                </a:moveTo>
                <a:cubicBezTo>
                  <a:pt x="97" y="499"/>
                  <a:pt x="102" y="497"/>
                  <a:pt x="104" y="496"/>
                </a:cubicBezTo>
                <a:cubicBezTo>
                  <a:pt x="105" y="499"/>
                  <a:pt x="102" y="505"/>
                  <a:pt x="100" y="502"/>
                </a:cubicBezTo>
                <a:close/>
                <a:moveTo>
                  <a:pt x="144" y="546"/>
                </a:moveTo>
                <a:cubicBezTo>
                  <a:pt x="143" y="546"/>
                  <a:pt x="144" y="546"/>
                  <a:pt x="144" y="545"/>
                </a:cubicBezTo>
                <a:cubicBezTo>
                  <a:pt x="143" y="542"/>
                  <a:pt x="147" y="545"/>
                  <a:pt x="144" y="546"/>
                </a:cubicBezTo>
                <a:close/>
                <a:moveTo>
                  <a:pt x="196" y="598"/>
                </a:moveTo>
                <a:cubicBezTo>
                  <a:pt x="196" y="598"/>
                  <a:pt x="198" y="597"/>
                  <a:pt x="198" y="598"/>
                </a:cubicBezTo>
                <a:cubicBezTo>
                  <a:pt x="198" y="599"/>
                  <a:pt x="197" y="599"/>
                  <a:pt x="196" y="598"/>
                </a:cubicBezTo>
                <a:close/>
                <a:moveTo>
                  <a:pt x="199" y="607"/>
                </a:moveTo>
                <a:cubicBezTo>
                  <a:pt x="198" y="607"/>
                  <a:pt x="198" y="607"/>
                  <a:pt x="198" y="607"/>
                </a:cubicBezTo>
                <a:cubicBezTo>
                  <a:pt x="198" y="605"/>
                  <a:pt x="200" y="608"/>
                  <a:pt x="199" y="607"/>
                </a:cubicBezTo>
                <a:close/>
                <a:moveTo>
                  <a:pt x="203" y="609"/>
                </a:moveTo>
                <a:cubicBezTo>
                  <a:pt x="203" y="608"/>
                  <a:pt x="205" y="608"/>
                  <a:pt x="205" y="609"/>
                </a:cubicBezTo>
                <a:cubicBezTo>
                  <a:pt x="205" y="609"/>
                  <a:pt x="203" y="610"/>
                  <a:pt x="203" y="609"/>
                </a:cubicBezTo>
                <a:close/>
                <a:moveTo>
                  <a:pt x="208" y="600"/>
                </a:moveTo>
                <a:cubicBezTo>
                  <a:pt x="207" y="600"/>
                  <a:pt x="209" y="600"/>
                  <a:pt x="209" y="600"/>
                </a:cubicBezTo>
                <a:cubicBezTo>
                  <a:pt x="209" y="601"/>
                  <a:pt x="208" y="601"/>
                  <a:pt x="208" y="600"/>
                </a:cubicBezTo>
                <a:close/>
                <a:moveTo>
                  <a:pt x="226" y="627"/>
                </a:moveTo>
                <a:cubicBezTo>
                  <a:pt x="225" y="627"/>
                  <a:pt x="223" y="627"/>
                  <a:pt x="224" y="625"/>
                </a:cubicBezTo>
                <a:cubicBezTo>
                  <a:pt x="225" y="624"/>
                  <a:pt x="229" y="624"/>
                  <a:pt x="229" y="625"/>
                </a:cubicBezTo>
                <a:cubicBezTo>
                  <a:pt x="229" y="626"/>
                  <a:pt x="229" y="626"/>
                  <a:pt x="228" y="627"/>
                </a:cubicBezTo>
                <a:cubicBezTo>
                  <a:pt x="229" y="627"/>
                  <a:pt x="229" y="627"/>
                  <a:pt x="229" y="627"/>
                </a:cubicBezTo>
                <a:cubicBezTo>
                  <a:pt x="228" y="628"/>
                  <a:pt x="227" y="628"/>
                  <a:pt x="226" y="627"/>
                </a:cubicBezTo>
                <a:close/>
                <a:moveTo>
                  <a:pt x="229" y="628"/>
                </a:moveTo>
                <a:cubicBezTo>
                  <a:pt x="229" y="628"/>
                  <a:pt x="231" y="628"/>
                  <a:pt x="231" y="628"/>
                </a:cubicBezTo>
                <a:cubicBezTo>
                  <a:pt x="231" y="629"/>
                  <a:pt x="229" y="628"/>
                  <a:pt x="229" y="628"/>
                </a:cubicBezTo>
                <a:close/>
                <a:moveTo>
                  <a:pt x="228" y="653"/>
                </a:moveTo>
                <a:cubicBezTo>
                  <a:pt x="228" y="653"/>
                  <a:pt x="228" y="653"/>
                  <a:pt x="228" y="653"/>
                </a:cubicBezTo>
                <a:cubicBezTo>
                  <a:pt x="228" y="653"/>
                  <a:pt x="228" y="652"/>
                  <a:pt x="228" y="653"/>
                </a:cubicBezTo>
                <a:close/>
                <a:moveTo>
                  <a:pt x="213" y="659"/>
                </a:moveTo>
                <a:cubicBezTo>
                  <a:pt x="213" y="659"/>
                  <a:pt x="213" y="659"/>
                  <a:pt x="213" y="659"/>
                </a:cubicBezTo>
                <a:cubicBezTo>
                  <a:pt x="213" y="659"/>
                  <a:pt x="213" y="659"/>
                  <a:pt x="213" y="659"/>
                </a:cubicBezTo>
                <a:close/>
                <a:moveTo>
                  <a:pt x="213" y="659"/>
                </a:moveTo>
                <a:cubicBezTo>
                  <a:pt x="214" y="659"/>
                  <a:pt x="213" y="659"/>
                  <a:pt x="213" y="659"/>
                </a:cubicBezTo>
                <a:close/>
                <a:moveTo>
                  <a:pt x="213" y="657"/>
                </a:moveTo>
                <a:cubicBezTo>
                  <a:pt x="213" y="656"/>
                  <a:pt x="214" y="656"/>
                  <a:pt x="214" y="656"/>
                </a:cubicBezTo>
                <a:cubicBezTo>
                  <a:pt x="215" y="657"/>
                  <a:pt x="214" y="657"/>
                  <a:pt x="213" y="657"/>
                </a:cubicBezTo>
                <a:close/>
                <a:moveTo>
                  <a:pt x="216" y="659"/>
                </a:moveTo>
                <a:cubicBezTo>
                  <a:pt x="216" y="658"/>
                  <a:pt x="216" y="657"/>
                  <a:pt x="217" y="658"/>
                </a:cubicBezTo>
                <a:cubicBezTo>
                  <a:pt x="216" y="658"/>
                  <a:pt x="218" y="660"/>
                  <a:pt x="218" y="660"/>
                </a:cubicBezTo>
                <a:cubicBezTo>
                  <a:pt x="217" y="661"/>
                  <a:pt x="215" y="661"/>
                  <a:pt x="216" y="659"/>
                </a:cubicBezTo>
                <a:close/>
                <a:moveTo>
                  <a:pt x="223" y="655"/>
                </a:moveTo>
                <a:cubicBezTo>
                  <a:pt x="222" y="654"/>
                  <a:pt x="224" y="654"/>
                  <a:pt x="224" y="655"/>
                </a:cubicBezTo>
                <a:cubicBezTo>
                  <a:pt x="224" y="655"/>
                  <a:pt x="223" y="655"/>
                  <a:pt x="223" y="655"/>
                </a:cubicBezTo>
                <a:close/>
                <a:moveTo>
                  <a:pt x="218" y="655"/>
                </a:moveTo>
                <a:cubicBezTo>
                  <a:pt x="217" y="655"/>
                  <a:pt x="214" y="653"/>
                  <a:pt x="215" y="651"/>
                </a:cubicBezTo>
                <a:cubicBezTo>
                  <a:pt x="216" y="650"/>
                  <a:pt x="220" y="648"/>
                  <a:pt x="222" y="648"/>
                </a:cubicBezTo>
                <a:cubicBezTo>
                  <a:pt x="223" y="649"/>
                  <a:pt x="224" y="649"/>
                  <a:pt x="224" y="650"/>
                </a:cubicBezTo>
                <a:cubicBezTo>
                  <a:pt x="224" y="650"/>
                  <a:pt x="226" y="648"/>
                  <a:pt x="225" y="650"/>
                </a:cubicBezTo>
                <a:cubicBezTo>
                  <a:pt x="225" y="650"/>
                  <a:pt x="223" y="651"/>
                  <a:pt x="223" y="652"/>
                </a:cubicBezTo>
                <a:cubicBezTo>
                  <a:pt x="224" y="652"/>
                  <a:pt x="225" y="651"/>
                  <a:pt x="225" y="652"/>
                </a:cubicBezTo>
                <a:cubicBezTo>
                  <a:pt x="224" y="652"/>
                  <a:pt x="221" y="655"/>
                  <a:pt x="218" y="655"/>
                </a:cubicBezTo>
                <a:close/>
                <a:moveTo>
                  <a:pt x="227" y="665"/>
                </a:moveTo>
                <a:cubicBezTo>
                  <a:pt x="223" y="666"/>
                  <a:pt x="226" y="661"/>
                  <a:pt x="228" y="662"/>
                </a:cubicBezTo>
                <a:cubicBezTo>
                  <a:pt x="229" y="664"/>
                  <a:pt x="228" y="664"/>
                  <a:pt x="227" y="665"/>
                </a:cubicBezTo>
                <a:close/>
                <a:moveTo>
                  <a:pt x="228" y="654"/>
                </a:moveTo>
                <a:cubicBezTo>
                  <a:pt x="227" y="653"/>
                  <a:pt x="230" y="655"/>
                  <a:pt x="228" y="654"/>
                </a:cubicBezTo>
                <a:close/>
                <a:moveTo>
                  <a:pt x="229" y="639"/>
                </a:moveTo>
                <a:cubicBezTo>
                  <a:pt x="228" y="638"/>
                  <a:pt x="231" y="638"/>
                  <a:pt x="231" y="639"/>
                </a:cubicBezTo>
                <a:cubicBezTo>
                  <a:pt x="231" y="639"/>
                  <a:pt x="230" y="640"/>
                  <a:pt x="229" y="639"/>
                </a:cubicBezTo>
                <a:close/>
                <a:moveTo>
                  <a:pt x="215" y="675"/>
                </a:moveTo>
                <a:cubicBezTo>
                  <a:pt x="216" y="673"/>
                  <a:pt x="216" y="675"/>
                  <a:pt x="215" y="675"/>
                </a:cubicBezTo>
                <a:close/>
                <a:moveTo>
                  <a:pt x="219" y="676"/>
                </a:moveTo>
                <a:cubicBezTo>
                  <a:pt x="220" y="675"/>
                  <a:pt x="221" y="676"/>
                  <a:pt x="223" y="676"/>
                </a:cubicBezTo>
                <a:cubicBezTo>
                  <a:pt x="221" y="676"/>
                  <a:pt x="220" y="677"/>
                  <a:pt x="219" y="676"/>
                </a:cubicBezTo>
                <a:close/>
                <a:moveTo>
                  <a:pt x="226" y="676"/>
                </a:moveTo>
                <a:cubicBezTo>
                  <a:pt x="226" y="675"/>
                  <a:pt x="228" y="675"/>
                  <a:pt x="228" y="675"/>
                </a:cubicBezTo>
                <a:cubicBezTo>
                  <a:pt x="228" y="676"/>
                  <a:pt x="226" y="676"/>
                  <a:pt x="226" y="676"/>
                </a:cubicBezTo>
                <a:close/>
                <a:moveTo>
                  <a:pt x="229" y="676"/>
                </a:moveTo>
                <a:cubicBezTo>
                  <a:pt x="229" y="675"/>
                  <a:pt x="230" y="676"/>
                  <a:pt x="230" y="676"/>
                </a:cubicBezTo>
                <a:cubicBezTo>
                  <a:pt x="230" y="676"/>
                  <a:pt x="229" y="677"/>
                  <a:pt x="229" y="676"/>
                </a:cubicBezTo>
                <a:close/>
                <a:moveTo>
                  <a:pt x="234" y="679"/>
                </a:moveTo>
                <a:cubicBezTo>
                  <a:pt x="234" y="678"/>
                  <a:pt x="235" y="678"/>
                  <a:pt x="235" y="678"/>
                </a:cubicBezTo>
                <a:cubicBezTo>
                  <a:pt x="236" y="679"/>
                  <a:pt x="234" y="679"/>
                  <a:pt x="234" y="679"/>
                </a:cubicBezTo>
                <a:close/>
                <a:moveTo>
                  <a:pt x="248" y="692"/>
                </a:moveTo>
                <a:cubicBezTo>
                  <a:pt x="248" y="691"/>
                  <a:pt x="250" y="691"/>
                  <a:pt x="250" y="691"/>
                </a:cubicBezTo>
                <a:cubicBezTo>
                  <a:pt x="251" y="692"/>
                  <a:pt x="249" y="692"/>
                  <a:pt x="248" y="692"/>
                </a:cubicBezTo>
                <a:close/>
                <a:moveTo>
                  <a:pt x="349" y="41"/>
                </a:moveTo>
                <a:cubicBezTo>
                  <a:pt x="348" y="41"/>
                  <a:pt x="345" y="42"/>
                  <a:pt x="344" y="41"/>
                </a:cubicBezTo>
                <a:cubicBezTo>
                  <a:pt x="344" y="40"/>
                  <a:pt x="348" y="40"/>
                  <a:pt x="349" y="41"/>
                </a:cubicBezTo>
                <a:close/>
                <a:moveTo>
                  <a:pt x="343" y="7"/>
                </a:moveTo>
                <a:cubicBezTo>
                  <a:pt x="344" y="6"/>
                  <a:pt x="345" y="8"/>
                  <a:pt x="343" y="7"/>
                </a:cubicBezTo>
                <a:close/>
                <a:moveTo>
                  <a:pt x="342" y="38"/>
                </a:moveTo>
                <a:cubicBezTo>
                  <a:pt x="341" y="38"/>
                  <a:pt x="340" y="37"/>
                  <a:pt x="339" y="38"/>
                </a:cubicBezTo>
                <a:cubicBezTo>
                  <a:pt x="339" y="37"/>
                  <a:pt x="341" y="37"/>
                  <a:pt x="342" y="38"/>
                </a:cubicBezTo>
                <a:close/>
                <a:moveTo>
                  <a:pt x="335" y="37"/>
                </a:moveTo>
                <a:cubicBezTo>
                  <a:pt x="336" y="36"/>
                  <a:pt x="337" y="39"/>
                  <a:pt x="335" y="37"/>
                </a:cubicBezTo>
                <a:close/>
                <a:moveTo>
                  <a:pt x="336" y="97"/>
                </a:move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5" y="96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lose/>
                <a:moveTo>
                  <a:pt x="316" y="49"/>
                </a:moveTo>
                <a:cubicBezTo>
                  <a:pt x="316" y="49"/>
                  <a:pt x="313" y="50"/>
                  <a:pt x="313" y="49"/>
                </a:cubicBezTo>
                <a:cubicBezTo>
                  <a:pt x="312" y="49"/>
                  <a:pt x="315" y="48"/>
                  <a:pt x="316" y="49"/>
                </a:cubicBezTo>
                <a:close/>
                <a:moveTo>
                  <a:pt x="321" y="108"/>
                </a:moveTo>
                <a:cubicBezTo>
                  <a:pt x="319" y="109"/>
                  <a:pt x="315" y="112"/>
                  <a:pt x="311" y="111"/>
                </a:cubicBezTo>
                <a:cubicBezTo>
                  <a:pt x="314" y="109"/>
                  <a:pt x="317" y="109"/>
                  <a:pt x="321" y="108"/>
                </a:cubicBezTo>
                <a:close/>
                <a:moveTo>
                  <a:pt x="320" y="636"/>
                </a:moveTo>
                <a:cubicBezTo>
                  <a:pt x="319" y="636"/>
                  <a:pt x="320" y="635"/>
                  <a:pt x="320" y="635"/>
                </a:cubicBezTo>
                <a:cubicBezTo>
                  <a:pt x="321" y="635"/>
                  <a:pt x="320" y="636"/>
                  <a:pt x="320" y="636"/>
                </a:cubicBezTo>
                <a:close/>
                <a:moveTo>
                  <a:pt x="319" y="620"/>
                </a:moveTo>
                <a:cubicBezTo>
                  <a:pt x="319" y="620"/>
                  <a:pt x="318" y="620"/>
                  <a:pt x="317" y="620"/>
                </a:cubicBezTo>
                <a:cubicBezTo>
                  <a:pt x="318" y="620"/>
                  <a:pt x="319" y="619"/>
                  <a:pt x="319" y="620"/>
                </a:cubicBezTo>
                <a:close/>
                <a:moveTo>
                  <a:pt x="318" y="614"/>
                </a:moveTo>
                <a:cubicBezTo>
                  <a:pt x="317" y="613"/>
                  <a:pt x="319" y="615"/>
                  <a:pt x="318" y="614"/>
                </a:cubicBezTo>
                <a:close/>
                <a:moveTo>
                  <a:pt x="313" y="137"/>
                </a:moveTo>
                <a:cubicBezTo>
                  <a:pt x="312" y="140"/>
                  <a:pt x="312" y="135"/>
                  <a:pt x="312" y="137"/>
                </a:cubicBezTo>
                <a:cubicBezTo>
                  <a:pt x="312" y="137"/>
                  <a:pt x="313" y="137"/>
                  <a:pt x="313" y="137"/>
                </a:cubicBezTo>
                <a:close/>
                <a:moveTo>
                  <a:pt x="311" y="41"/>
                </a:moveTo>
                <a:cubicBezTo>
                  <a:pt x="310" y="42"/>
                  <a:pt x="309" y="40"/>
                  <a:pt x="311" y="41"/>
                </a:cubicBezTo>
                <a:close/>
                <a:moveTo>
                  <a:pt x="309" y="527"/>
                </a:moveTo>
                <a:cubicBezTo>
                  <a:pt x="309" y="528"/>
                  <a:pt x="306" y="529"/>
                  <a:pt x="306" y="527"/>
                </a:cubicBezTo>
                <a:cubicBezTo>
                  <a:pt x="306" y="525"/>
                  <a:pt x="309" y="526"/>
                  <a:pt x="309" y="527"/>
                </a:cubicBezTo>
                <a:close/>
                <a:moveTo>
                  <a:pt x="307" y="61"/>
                </a:moveTo>
                <a:cubicBezTo>
                  <a:pt x="306" y="60"/>
                  <a:pt x="308" y="61"/>
                  <a:pt x="307" y="61"/>
                </a:cubicBezTo>
                <a:close/>
                <a:moveTo>
                  <a:pt x="293" y="53"/>
                </a:moveTo>
                <a:cubicBezTo>
                  <a:pt x="298" y="52"/>
                  <a:pt x="304" y="52"/>
                  <a:pt x="309" y="51"/>
                </a:cubicBezTo>
                <a:cubicBezTo>
                  <a:pt x="304" y="53"/>
                  <a:pt x="299" y="53"/>
                  <a:pt x="293" y="53"/>
                </a:cubicBezTo>
                <a:close/>
                <a:moveTo>
                  <a:pt x="282" y="662"/>
                </a:moveTo>
                <a:cubicBezTo>
                  <a:pt x="281" y="662"/>
                  <a:pt x="279" y="663"/>
                  <a:pt x="277" y="663"/>
                </a:cubicBezTo>
                <a:cubicBezTo>
                  <a:pt x="279" y="662"/>
                  <a:pt x="281" y="661"/>
                  <a:pt x="282" y="662"/>
                </a:cubicBezTo>
                <a:close/>
                <a:moveTo>
                  <a:pt x="278" y="582"/>
                </a:moveTo>
                <a:cubicBezTo>
                  <a:pt x="278" y="581"/>
                  <a:pt x="280" y="581"/>
                  <a:pt x="279" y="582"/>
                </a:cubicBezTo>
                <a:cubicBezTo>
                  <a:pt x="279" y="582"/>
                  <a:pt x="279" y="582"/>
                  <a:pt x="278" y="582"/>
                </a:cubicBezTo>
                <a:close/>
                <a:moveTo>
                  <a:pt x="282" y="582"/>
                </a:moveTo>
                <a:cubicBezTo>
                  <a:pt x="282" y="582"/>
                  <a:pt x="280" y="583"/>
                  <a:pt x="280" y="581"/>
                </a:cubicBezTo>
                <a:cubicBezTo>
                  <a:pt x="280" y="580"/>
                  <a:pt x="282" y="581"/>
                  <a:pt x="282" y="582"/>
                </a:cubicBezTo>
                <a:close/>
                <a:moveTo>
                  <a:pt x="281" y="574"/>
                </a:moveTo>
                <a:cubicBezTo>
                  <a:pt x="281" y="575"/>
                  <a:pt x="280" y="575"/>
                  <a:pt x="280" y="574"/>
                </a:cubicBezTo>
                <a:cubicBezTo>
                  <a:pt x="279" y="574"/>
                  <a:pt x="281" y="573"/>
                  <a:pt x="281" y="574"/>
                </a:cubicBezTo>
                <a:close/>
                <a:moveTo>
                  <a:pt x="294" y="551"/>
                </a:moveTo>
                <a:cubicBezTo>
                  <a:pt x="291" y="553"/>
                  <a:pt x="287" y="555"/>
                  <a:pt x="285" y="556"/>
                </a:cubicBezTo>
                <a:cubicBezTo>
                  <a:pt x="285" y="556"/>
                  <a:pt x="283" y="557"/>
                  <a:pt x="284" y="556"/>
                </a:cubicBezTo>
                <a:cubicBezTo>
                  <a:pt x="286" y="553"/>
                  <a:pt x="291" y="553"/>
                  <a:pt x="294" y="551"/>
                </a:cubicBezTo>
                <a:close/>
                <a:moveTo>
                  <a:pt x="286" y="536"/>
                </a:moveTo>
                <a:cubicBezTo>
                  <a:pt x="286" y="535"/>
                  <a:pt x="286" y="536"/>
                  <a:pt x="286" y="536"/>
                </a:cubicBezTo>
                <a:cubicBezTo>
                  <a:pt x="285" y="536"/>
                  <a:pt x="286" y="535"/>
                  <a:pt x="286" y="536"/>
                </a:cubicBezTo>
                <a:close/>
                <a:moveTo>
                  <a:pt x="287" y="536"/>
                </a:moveTo>
                <a:cubicBezTo>
                  <a:pt x="287" y="534"/>
                  <a:pt x="289" y="534"/>
                  <a:pt x="289" y="536"/>
                </a:cubicBezTo>
                <a:cubicBezTo>
                  <a:pt x="289" y="537"/>
                  <a:pt x="287" y="536"/>
                  <a:pt x="287" y="536"/>
                </a:cubicBezTo>
                <a:close/>
                <a:moveTo>
                  <a:pt x="290" y="512"/>
                </a:moveTo>
                <a:cubicBezTo>
                  <a:pt x="291" y="510"/>
                  <a:pt x="293" y="509"/>
                  <a:pt x="294" y="508"/>
                </a:cubicBezTo>
                <a:cubicBezTo>
                  <a:pt x="294" y="509"/>
                  <a:pt x="292" y="510"/>
                  <a:pt x="290" y="512"/>
                </a:cubicBezTo>
                <a:close/>
                <a:moveTo>
                  <a:pt x="290" y="550"/>
                </a:moveTo>
                <a:cubicBezTo>
                  <a:pt x="290" y="549"/>
                  <a:pt x="291" y="548"/>
                  <a:pt x="292" y="549"/>
                </a:cubicBezTo>
                <a:cubicBezTo>
                  <a:pt x="292" y="550"/>
                  <a:pt x="290" y="551"/>
                  <a:pt x="290" y="550"/>
                </a:cubicBezTo>
                <a:close/>
                <a:moveTo>
                  <a:pt x="287" y="638"/>
                </a:moveTo>
                <a:cubicBezTo>
                  <a:pt x="288" y="637"/>
                  <a:pt x="289" y="637"/>
                  <a:pt x="290" y="637"/>
                </a:cubicBezTo>
                <a:cubicBezTo>
                  <a:pt x="289" y="637"/>
                  <a:pt x="288" y="638"/>
                  <a:pt x="287" y="638"/>
                </a:cubicBezTo>
                <a:close/>
                <a:moveTo>
                  <a:pt x="290" y="640"/>
                </a:moveTo>
                <a:cubicBezTo>
                  <a:pt x="289" y="641"/>
                  <a:pt x="288" y="640"/>
                  <a:pt x="287" y="641"/>
                </a:cubicBezTo>
                <a:cubicBezTo>
                  <a:pt x="287" y="640"/>
                  <a:pt x="289" y="639"/>
                  <a:pt x="290" y="640"/>
                </a:cubicBezTo>
                <a:close/>
                <a:moveTo>
                  <a:pt x="292" y="594"/>
                </a:moveTo>
                <a:cubicBezTo>
                  <a:pt x="292" y="595"/>
                  <a:pt x="288" y="596"/>
                  <a:pt x="288" y="593"/>
                </a:cubicBezTo>
                <a:cubicBezTo>
                  <a:pt x="288" y="591"/>
                  <a:pt x="292" y="592"/>
                  <a:pt x="292" y="594"/>
                </a:cubicBezTo>
                <a:close/>
                <a:moveTo>
                  <a:pt x="288" y="573"/>
                </a:moveTo>
                <a:cubicBezTo>
                  <a:pt x="288" y="572"/>
                  <a:pt x="290" y="571"/>
                  <a:pt x="291" y="571"/>
                </a:cubicBezTo>
                <a:cubicBezTo>
                  <a:pt x="290" y="572"/>
                  <a:pt x="289" y="572"/>
                  <a:pt x="288" y="573"/>
                </a:cubicBezTo>
                <a:close/>
                <a:moveTo>
                  <a:pt x="292" y="571"/>
                </a:moveTo>
                <a:cubicBezTo>
                  <a:pt x="292" y="570"/>
                  <a:pt x="293" y="569"/>
                  <a:pt x="294" y="570"/>
                </a:cubicBezTo>
                <a:cubicBezTo>
                  <a:pt x="294" y="571"/>
                  <a:pt x="292" y="571"/>
                  <a:pt x="292" y="571"/>
                </a:cubicBezTo>
                <a:close/>
                <a:moveTo>
                  <a:pt x="293" y="594"/>
                </a:moveTo>
                <a:cubicBezTo>
                  <a:pt x="293" y="596"/>
                  <a:pt x="291" y="595"/>
                  <a:pt x="293" y="594"/>
                </a:cubicBezTo>
                <a:close/>
                <a:moveTo>
                  <a:pt x="291" y="595"/>
                </a:moveTo>
                <a:cubicBezTo>
                  <a:pt x="290" y="597"/>
                  <a:pt x="288" y="596"/>
                  <a:pt x="291" y="595"/>
                </a:cubicBezTo>
                <a:close/>
                <a:moveTo>
                  <a:pt x="290" y="625"/>
                </a:moveTo>
                <a:cubicBezTo>
                  <a:pt x="291" y="626"/>
                  <a:pt x="290" y="625"/>
                  <a:pt x="290" y="625"/>
                </a:cubicBezTo>
                <a:cubicBezTo>
                  <a:pt x="290" y="625"/>
                  <a:pt x="290" y="625"/>
                  <a:pt x="290" y="625"/>
                </a:cubicBezTo>
                <a:close/>
                <a:moveTo>
                  <a:pt x="289" y="602"/>
                </a:moveTo>
                <a:cubicBezTo>
                  <a:pt x="289" y="601"/>
                  <a:pt x="292" y="601"/>
                  <a:pt x="293" y="601"/>
                </a:cubicBezTo>
                <a:cubicBezTo>
                  <a:pt x="292" y="602"/>
                  <a:pt x="290" y="602"/>
                  <a:pt x="289" y="602"/>
                </a:cubicBezTo>
                <a:close/>
                <a:moveTo>
                  <a:pt x="291" y="634"/>
                </a:moveTo>
                <a:cubicBezTo>
                  <a:pt x="292" y="634"/>
                  <a:pt x="293" y="634"/>
                  <a:pt x="292" y="635"/>
                </a:cubicBezTo>
                <a:cubicBezTo>
                  <a:pt x="292" y="636"/>
                  <a:pt x="291" y="635"/>
                  <a:pt x="291" y="634"/>
                </a:cubicBezTo>
                <a:close/>
                <a:moveTo>
                  <a:pt x="295" y="635"/>
                </a:moveTo>
                <a:cubicBezTo>
                  <a:pt x="294" y="636"/>
                  <a:pt x="293" y="637"/>
                  <a:pt x="291" y="636"/>
                </a:cubicBezTo>
                <a:cubicBezTo>
                  <a:pt x="292" y="636"/>
                  <a:pt x="294" y="636"/>
                  <a:pt x="295" y="635"/>
                </a:cubicBezTo>
                <a:close/>
                <a:moveTo>
                  <a:pt x="293" y="583"/>
                </a:moveTo>
                <a:cubicBezTo>
                  <a:pt x="293" y="583"/>
                  <a:pt x="294" y="583"/>
                  <a:pt x="294" y="583"/>
                </a:cubicBezTo>
                <a:cubicBezTo>
                  <a:pt x="295" y="584"/>
                  <a:pt x="293" y="585"/>
                  <a:pt x="293" y="583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538"/>
                </a:moveTo>
                <a:cubicBezTo>
                  <a:pt x="283" y="538"/>
                  <a:pt x="284" y="537"/>
                  <a:pt x="284" y="537"/>
                </a:cubicBezTo>
                <a:cubicBezTo>
                  <a:pt x="285" y="537"/>
                  <a:pt x="284" y="538"/>
                  <a:pt x="284" y="538"/>
                </a:cubicBezTo>
                <a:close/>
                <a:moveTo>
                  <a:pt x="285" y="588"/>
                </a:moveTo>
                <a:cubicBezTo>
                  <a:pt x="284" y="589"/>
                  <a:pt x="283" y="589"/>
                  <a:pt x="282" y="590"/>
                </a:cubicBezTo>
                <a:cubicBezTo>
                  <a:pt x="282" y="590"/>
                  <a:pt x="284" y="588"/>
                  <a:pt x="285" y="588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612"/>
                </a:moveTo>
                <a:cubicBezTo>
                  <a:pt x="281" y="614"/>
                  <a:pt x="281" y="612"/>
                  <a:pt x="284" y="612"/>
                </a:cubicBezTo>
                <a:close/>
                <a:moveTo>
                  <a:pt x="283" y="648"/>
                </a:moveTo>
                <a:cubicBezTo>
                  <a:pt x="284" y="645"/>
                  <a:pt x="286" y="647"/>
                  <a:pt x="283" y="648"/>
                </a:cubicBezTo>
                <a:close/>
                <a:moveTo>
                  <a:pt x="287" y="661"/>
                </a:moveTo>
                <a:cubicBezTo>
                  <a:pt x="287" y="661"/>
                  <a:pt x="285" y="662"/>
                  <a:pt x="284" y="662"/>
                </a:cubicBezTo>
                <a:cubicBezTo>
                  <a:pt x="284" y="661"/>
                  <a:pt x="287" y="660"/>
                  <a:pt x="287" y="661"/>
                </a:cubicBezTo>
                <a:close/>
                <a:moveTo>
                  <a:pt x="288" y="667"/>
                </a:moveTo>
                <a:cubicBezTo>
                  <a:pt x="288" y="668"/>
                  <a:pt x="286" y="668"/>
                  <a:pt x="286" y="667"/>
                </a:cubicBezTo>
                <a:cubicBezTo>
                  <a:pt x="285" y="666"/>
                  <a:pt x="288" y="666"/>
                  <a:pt x="288" y="667"/>
                </a:cubicBezTo>
                <a:close/>
                <a:moveTo>
                  <a:pt x="287" y="650"/>
                </a:moveTo>
                <a:cubicBezTo>
                  <a:pt x="287" y="648"/>
                  <a:pt x="290" y="647"/>
                  <a:pt x="291" y="649"/>
                </a:cubicBezTo>
                <a:cubicBezTo>
                  <a:pt x="295" y="653"/>
                  <a:pt x="286" y="654"/>
                  <a:pt x="287" y="650"/>
                </a:cubicBezTo>
                <a:close/>
                <a:moveTo>
                  <a:pt x="292" y="691"/>
                </a:moveTo>
                <a:cubicBezTo>
                  <a:pt x="292" y="691"/>
                  <a:pt x="292" y="691"/>
                  <a:pt x="292" y="691"/>
                </a:cubicBezTo>
                <a:cubicBezTo>
                  <a:pt x="292" y="689"/>
                  <a:pt x="294" y="692"/>
                  <a:pt x="292" y="691"/>
                </a:cubicBezTo>
                <a:close/>
                <a:moveTo>
                  <a:pt x="292" y="646"/>
                </a:moveTo>
                <a:cubicBezTo>
                  <a:pt x="290" y="644"/>
                  <a:pt x="297" y="643"/>
                  <a:pt x="294" y="646"/>
                </a:cubicBezTo>
                <a:cubicBezTo>
                  <a:pt x="294" y="646"/>
                  <a:pt x="293" y="646"/>
                  <a:pt x="292" y="646"/>
                </a:cubicBezTo>
                <a:close/>
                <a:moveTo>
                  <a:pt x="294" y="600"/>
                </a:moveTo>
                <a:cubicBezTo>
                  <a:pt x="294" y="600"/>
                  <a:pt x="296" y="599"/>
                  <a:pt x="297" y="599"/>
                </a:cubicBezTo>
                <a:cubicBezTo>
                  <a:pt x="296" y="600"/>
                  <a:pt x="295" y="600"/>
                  <a:pt x="294" y="600"/>
                </a:cubicBezTo>
                <a:close/>
                <a:moveTo>
                  <a:pt x="293" y="530"/>
                </a:moveTo>
                <a:cubicBezTo>
                  <a:pt x="294" y="529"/>
                  <a:pt x="296" y="528"/>
                  <a:pt x="297" y="530"/>
                </a:cubicBezTo>
                <a:cubicBezTo>
                  <a:pt x="298" y="532"/>
                  <a:pt x="293" y="534"/>
                  <a:pt x="293" y="530"/>
                </a:cubicBezTo>
                <a:close/>
                <a:moveTo>
                  <a:pt x="303" y="581"/>
                </a:moveTo>
                <a:cubicBezTo>
                  <a:pt x="303" y="584"/>
                  <a:pt x="298" y="584"/>
                  <a:pt x="297" y="581"/>
                </a:cubicBezTo>
                <a:cubicBezTo>
                  <a:pt x="297" y="578"/>
                  <a:pt x="303" y="579"/>
                  <a:pt x="303" y="581"/>
                </a:cubicBezTo>
                <a:close/>
                <a:moveTo>
                  <a:pt x="298" y="504"/>
                </a:moveTo>
                <a:cubicBezTo>
                  <a:pt x="298" y="503"/>
                  <a:pt x="300" y="504"/>
                  <a:pt x="298" y="504"/>
                </a:cubicBezTo>
                <a:close/>
                <a:moveTo>
                  <a:pt x="300" y="102"/>
                </a:moveTo>
                <a:cubicBezTo>
                  <a:pt x="298" y="103"/>
                  <a:pt x="297" y="101"/>
                  <a:pt x="300" y="102"/>
                </a:cubicBezTo>
                <a:close/>
                <a:moveTo>
                  <a:pt x="299" y="578"/>
                </a:moveTo>
                <a:cubicBezTo>
                  <a:pt x="299" y="578"/>
                  <a:pt x="298" y="579"/>
                  <a:pt x="298" y="578"/>
                </a:cubicBezTo>
                <a:cubicBezTo>
                  <a:pt x="297" y="577"/>
                  <a:pt x="300" y="577"/>
                  <a:pt x="299" y="578"/>
                </a:cubicBezTo>
                <a:close/>
                <a:moveTo>
                  <a:pt x="303" y="67"/>
                </a:moveTo>
                <a:cubicBezTo>
                  <a:pt x="302" y="69"/>
                  <a:pt x="302" y="67"/>
                  <a:pt x="303" y="67"/>
                </a:cubicBezTo>
                <a:close/>
                <a:moveTo>
                  <a:pt x="304" y="592"/>
                </a:moveTo>
                <a:cubicBezTo>
                  <a:pt x="304" y="593"/>
                  <a:pt x="301" y="593"/>
                  <a:pt x="300" y="594"/>
                </a:cubicBezTo>
                <a:cubicBezTo>
                  <a:pt x="301" y="593"/>
                  <a:pt x="303" y="592"/>
                  <a:pt x="304" y="592"/>
                </a:cubicBezTo>
                <a:close/>
                <a:moveTo>
                  <a:pt x="304" y="660"/>
                </a:moveTo>
                <a:cubicBezTo>
                  <a:pt x="304" y="661"/>
                  <a:pt x="304" y="662"/>
                  <a:pt x="304" y="662"/>
                </a:cubicBezTo>
                <a:cubicBezTo>
                  <a:pt x="302" y="664"/>
                  <a:pt x="301" y="659"/>
                  <a:pt x="304" y="660"/>
                </a:cubicBezTo>
                <a:close/>
                <a:moveTo>
                  <a:pt x="308" y="41"/>
                </a:moveTo>
                <a:cubicBezTo>
                  <a:pt x="308" y="41"/>
                  <a:pt x="307" y="42"/>
                  <a:pt x="307" y="42"/>
                </a:cubicBezTo>
                <a:cubicBezTo>
                  <a:pt x="306" y="42"/>
                  <a:pt x="307" y="41"/>
                  <a:pt x="308" y="41"/>
                </a:cubicBezTo>
                <a:close/>
                <a:moveTo>
                  <a:pt x="298" y="26"/>
                </a:moveTo>
                <a:cubicBezTo>
                  <a:pt x="300" y="25"/>
                  <a:pt x="300" y="27"/>
                  <a:pt x="298" y="26"/>
                </a:cubicBezTo>
                <a:close/>
                <a:moveTo>
                  <a:pt x="299" y="30"/>
                </a:moveTo>
                <a:cubicBezTo>
                  <a:pt x="297" y="31"/>
                  <a:pt x="295" y="30"/>
                  <a:pt x="293" y="30"/>
                </a:cubicBezTo>
                <a:cubicBezTo>
                  <a:pt x="295" y="29"/>
                  <a:pt x="297" y="29"/>
                  <a:pt x="299" y="30"/>
                </a:cubicBezTo>
                <a:close/>
                <a:moveTo>
                  <a:pt x="291" y="53"/>
                </a:moveTo>
                <a:cubicBezTo>
                  <a:pt x="287" y="54"/>
                  <a:pt x="283" y="55"/>
                  <a:pt x="279" y="55"/>
                </a:cubicBezTo>
                <a:cubicBezTo>
                  <a:pt x="283" y="54"/>
                  <a:pt x="287" y="53"/>
                  <a:pt x="291" y="53"/>
                </a:cubicBezTo>
                <a:close/>
                <a:moveTo>
                  <a:pt x="288" y="513"/>
                </a:moveTo>
                <a:cubicBezTo>
                  <a:pt x="287" y="513"/>
                  <a:pt x="290" y="512"/>
                  <a:pt x="289" y="512"/>
                </a:cubicBezTo>
                <a:cubicBezTo>
                  <a:pt x="290" y="512"/>
                  <a:pt x="289" y="514"/>
                  <a:pt x="288" y="513"/>
                </a:cubicBezTo>
                <a:close/>
                <a:moveTo>
                  <a:pt x="282" y="526"/>
                </a:moveTo>
                <a:cubicBezTo>
                  <a:pt x="282" y="526"/>
                  <a:pt x="281" y="527"/>
                  <a:pt x="280" y="526"/>
                </a:cubicBezTo>
                <a:cubicBezTo>
                  <a:pt x="280" y="526"/>
                  <a:pt x="282" y="525"/>
                  <a:pt x="282" y="526"/>
                </a:cubicBezTo>
                <a:close/>
                <a:moveTo>
                  <a:pt x="286" y="526"/>
                </a:moveTo>
                <a:cubicBezTo>
                  <a:pt x="286" y="526"/>
                  <a:pt x="291" y="524"/>
                  <a:pt x="290" y="526"/>
                </a:cubicBezTo>
                <a:cubicBezTo>
                  <a:pt x="290" y="527"/>
                  <a:pt x="285" y="527"/>
                  <a:pt x="284" y="527"/>
                </a:cubicBezTo>
                <a:cubicBezTo>
                  <a:pt x="281" y="527"/>
                  <a:pt x="278" y="530"/>
                  <a:pt x="275" y="529"/>
                </a:cubicBezTo>
                <a:cubicBezTo>
                  <a:pt x="276" y="527"/>
                  <a:pt x="284" y="527"/>
                  <a:pt x="286" y="526"/>
                </a:cubicBezTo>
                <a:close/>
                <a:moveTo>
                  <a:pt x="277" y="694"/>
                </a:moveTo>
                <a:cubicBezTo>
                  <a:pt x="277" y="695"/>
                  <a:pt x="275" y="695"/>
                  <a:pt x="275" y="694"/>
                </a:cubicBezTo>
                <a:cubicBezTo>
                  <a:pt x="275" y="693"/>
                  <a:pt x="277" y="694"/>
                  <a:pt x="277" y="694"/>
                </a:cubicBezTo>
                <a:close/>
                <a:moveTo>
                  <a:pt x="266" y="653"/>
                </a:moveTo>
                <a:cubicBezTo>
                  <a:pt x="266" y="653"/>
                  <a:pt x="266" y="652"/>
                  <a:pt x="266" y="651"/>
                </a:cubicBezTo>
                <a:cubicBezTo>
                  <a:pt x="267" y="648"/>
                  <a:pt x="270" y="649"/>
                  <a:pt x="271" y="650"/>
                </a:cubicBezTo>
                <a:cubicBezTo>
                  <a:pt x="271" y="650"/>
                  <a:pt x="271" y="650"/>
                  <a:pt x="271" y="650"/>
                </a:cubicBezTo>
                <a:cubicBezTo>
                  <a:pt x="271" y="650"/>
                  <a:pt x="271" y="650"/>
                  <a:pt x="272" y="650"/>
                </a:cubicBezTo>
                <a:cubicBezTo>
                  <a:pt x="275" y="651"/>
                  <a:pt x="270" y="659"/>
                  <a:pt x="266" y="653"/>
                </a:cubicBezTo>
                <a:close/>
                <a:moveTo>
                  <a:pt x="268" y="657"/>
                </a:moveTo>
                <a:cubicBezTo>
                  <a:pt x="267" y="656"/>
                  <a:pt x="269" y="657"/>
                  <a:pt x="268" y="657"/>
                </a:cubicBezTo>
                <a:close/>
                <a:moveTo>
                  <a:pt x="264" y="633"/>
                </a:moveTo>
                <a:cubicBezTo>
                  <a:pt x="263" y="633"/>
                  <a:pt x="264" y="632"/>
                  <a:pt x="265" y="632"/>
                </a:cubicBezTo>
                <a:cubicBezTo>
                  <a:pt x="265" y="633"/>
                  <a:pt x="264" y="632"/>
                  <a:pt x="264" y="633"/>
                </a:cubicBezTo>
                <a:close/>
                <a:moveTo>
                  <a:pt x="263" y="663"/>
                </a:moveTo>
                <a:cubicBezTo>
                  <a:pt x="265" y="662"/>
                  <a:pt x="265" y="664"/>
                  <a:pt x="263" y="663"/>
                </a:cubicBezTo>
                <a:close/>
                <a:moveTo>
                  <a:pt x="265" y="623"/>
                </a:moveTo>
                <a:cubicBezTo>
                  <a:pt x="267" y="623"/>
                  <a:pt x="269" y="624"/>
                  <a:pt x="269" y="627"/>
                </a:cubicBezTo>
                <a:cubicBezTo>
                  <a:pt x="268" y="625"/>
                  <a:pt x="267" y="628"/>
                  <a:pt x="265" y="629"/>
                </a:cubicBezTo>
                <a:cubicBezTo>
                  <a:pt x="258" y="631"/>
                  <a:pt x="258" y="621"/>
                  <a:pt x="265" y="623"/>
                </a:cubicBezTo>
                <a:close/>
                <a:moveTo>
                  <a:pt x="271" y="560"/>
                </a:moveTo>
                <a:cubicBezTo>
                  <a:pt x="272" y="561"/>
                  <a:pt x="269" y="562"/>
                  <a:pt x="269" y="561"/>
                </a:cubicBezTo>
                <a:cubicBezTo>
                  <a:pt x="269" y="560"/>
                  <a:pt x="271" y="559"/>
                  <a:pt x="271" y="560"/>
                </a:cubicBezTo>
                <a:close/>
                <a:moveTo>
                  <a:pt x="271" y="507"/>
                </a:moveTo>
                <a:cubicBezTo>
                  <a:pt x="271" y="505"/>
                  <a:pt x="271" y="509"/>
                  <a:pt x="271" y="507"/>
                </a:cubicBezTo>
                <a:close/>
                <a:moveTo>
                  <a:pt x="273" y="532"/>
                </a:moveTo>
                <a:cubicBezTo>
                  <a:pt x="273" y="532"/>
                  <a:pt x="273" y="533"/>
                  <a:pt x="273" y="533"/>
                </a:cubicBezTo>
                <a:cubicBezTo>
                  <a:pt x="270" y="531"/>
                  <a:pt x="277" y="530"/>
                  <a:pt x="273" y="532"/>
                </a:cubicBezTo>
                <a:close/>
                <a:moveTo>
                  <a:pt x="273" y="556"/>
                </a:moveTo>
                <a:cubicBezTo>
                  <a:pt x="273" y="555"/>
                  <a:pt x="274" y="555"/>
                  <a:pt x="274" y="555"/>
                </a:cubicBezTo>
                <a:cubicBezTo>
                  <a:pt x="277" y="555"/>
                  <a:pt x="274" y="558"/>
                  <a:pt x="273" y="556"/>
                </a:cubicBezTo>
                <a:close/>
                <a:moveTo>
                  <a:pt x="270" y="624"/>
                </a:moveTo>
                <a:cubicBezTo>
                  <a:pt x="270" y="624"/>
                  <a:pt x="269" y="624"/>
                  <a:pt x="269" y="624"/>
                </a:cubicBezTo>
                <a:cubicBezTo>
                  <a:pt x="269" y="623"/>
                  <a:pt x="271" y="623"/>
                  <a:pt x="270" y="624"/>
                </a:cubicBezTo>
                <a:close/>
                <a:moveTo>
                  <a:pt x="266" y="617"/>
                </a:moveTo>
                <a:cubicBezTo>
                  <a:pt x="266" y="615"/>
                  <a:pt x="269" y="616"/>
                  <a:pt x="269" y="617"/>
                </a:cubicBezTo>
                <a:cubicBezTo>
                  <a:pt x="269" y="618"/>
                  <a:pt x="267" y="618"/>
                  <a:pt x="266" y="617"/>
                </a:cubicBezTo>
                <a:close/>
                <a:moveTo>
                  <a:pt x="271" y="647"/>
                </a:moveTo>
                <a:cubicBezTo>
                  <a:pt x="271" y="648"/>
                  <a:pt x="269" y="648"/>
                  <a:pt x="269" y="647"/>
                </a:cubicBezTo>
                <a:cubicBezTo>
                  <a:pt x="269" y="647"/>
                  <a:pt x="270" y="646"/>
                  <a:pt x="271" y="647"/>
                </a:cubicBezTo>
                <a:close/>
                <a:moveTo>
                  <a:pt x="270" y="628"/>
                </a:moveTo>
                <a:cubicBezTo>
                  <a:pt x="270" y="627"/>
                  <a:pt x="273" y="626"/>
                  <a:pt x="273" y="628"/>
                </a:cubicBezTo>
                <a:cubicBezTo>
                  <a:pt x="273" y="628"/>
                  <a:pt x="270" y="630"/>
                  <a:pt x="270" y="628"/>
                </a:cubicBezTo>
                <a:close/>
                <a:moveTo>
                  <a:pt x="273" y="613"/>
                </a:moveTo>
                <a:cubicBezTo>
                  <a:pt x="273" y="614"/>
                  <a:pt x="271" y="614"/>
                  <a:pt x="271" y="614"/>
                </a:cubicBezTo>
                <a:cubicBezTo>
                  <a:pt x="270" y="613"/>
                  <a:pt x="272" y="613"/>
                  <a:pt x="273" y="613"/>
                </a:cubicBezTo>
                <a:close/>
                <a:moveTo>
                  <a:pt x="270" y="571"/>
                </a:moveTo>
                <a:cubicBezTo>
                  <a:pt x="270" y="571"/>
                  <a:pt x="270" y="571"/>
                  <a:pt x="270" y="571"/>
                </a:cubicBezTo>
                <a:cubicBezTo>
                  <a:pt x="270" y="569"/>
                  <a:pt x="272" y="572"/>
                  <a:pt x="270" y="571"/>
                </a:cubicBezTo>
                <a:close/>
                <a:moveTo>
                  <a:pt x="271" y="564"/>
                </a:moveTo>
                <a:cubicBezTo>
                  <a:pt x="269" y="565"/>
                  <a:pt x="268" y="566"/>
                  <a:pt x="267" y="566"/>
                </a:cubicBezTo>
                <a:cubicBezTo>
                  <a:pt x="268" y="565"/>
                  <a:pt x="269" y="564"/>
                  <a:pt x="271" y="564"/>
                </a:cubicBezTo>
                <a:close/>
                <a:moveTo>
                  <a:pt x="271" y="572"/>
                </a:moveTo>
                <a:cubicBezTo>
                  <a:pt x="269" y="573"/>
                  <a:pt x="269" y="574"/>
                  <a:pt x="271" y="574"/>
                </a:cubicBezTo>
                <a:cubicBezTo>
                  <a:pt x="270" y="576"/>
                  <a:pt x="266" y="579"/>
                  <a:pt x="263" y="577"/>
                </a:cubicBezTo>
                <a:cubicBezTo>
                  <a:pt x="258" y="573"/>
                  <a:pt x="266" y="568"/>
                  <a:pt x="271" y="572"/>
                </a:cubicBezTo>
                <a:close/>
                <a:moveTo>
                  <a:pt x="264" y="612"/>
                </a:moveTo>
                <a:cubicBezTo>
                  <a:pt x="265" y="612"/>
                  <a:pt x="263" y="612"/>
                  <a:pt x="263" y="612"/>
                </a:cubicBezTo>
                <a:cubicBezTo>
                  <a:pt x="263" y="611"/>
                  <a:pt x="264" y="611"/>
                  <a:pt x="264" y="612"/>
                </a:cubicBezTo>
                <a:close/>
                <a:moveTo>
                  <a:pt x="266" y="632"/>
                </a:moveTo>
                <a:cubicBezTo>
                  <a:pt x="266" y="632"/>
                  <a:pt x="266" y="632"/>
                  <a:pt x="266" y="632"/>
                </a:cubicBezTo>
                <a:cubicBezTo>
                  <a:pt x="265" y="630"/>
                  <a:pt x="268" y="633"/>
                  <a:pt x="266" y="632"/>
                </a:cubicBezTo>
                <a:close/>
                <a:moveTo>
                  <a:pt x="276" y="663"/>
                </a:moveTo>
                <a:cubicBezTo>
                  <a:pt x="274" y="664"/>
                  <a:pt x="273" y="665"/>
                  <a:pt x="271" y="665"/>
                </a:cubicBezTo>
                <a:cubicBezTo>
                  <a:pt x="272" y="663"/>
                  <a:pt x="274" y="663"/>
                  <a:pt x="276" y="663"/>
                </a:cubicBezTo>
                <a:close/>
                <a:moveTo>
                  <a:pt x="270" y="486"/>
                </a:moveTo>
                <a:cubicBezTo>
                  <a:pt x="270" y="486"/>
                  <a:pt x="270" y="486"/>
                  <a:pt x="270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0" y="485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lose/>
                <a:moveTo>
                  <a:pt x="274" y="496"/>
                </a:moveTo>
                <a:cubicBezTo>
                  <a:pt x="274" y="499"/>
                  <a:pt x="269" y="498"/>
                  <a:pt x="269" y="496"/>
                </a:cubicBezTo>
                <a:cubicBezTo>
                  <a:pt x="269" y="496"/>
                  <a:pt x="274" y="494"/>
                  <a:pt x="274" y="496"/>
                </a:cubicBezTo>
                <a:close/>
                <a:moveTo>
                  <a:pt x="276" y="504"/>
                </a:moveTo>
                <a:cubicBezTo>
                  <a:pt x="274" y="506"/>
                  <a:pt x="271" y="506"/>
                  <a:pt x="269" y="507"/>
                </a:cubicBezTo>
                <a:cubicBezTo>
                  <a:pt x="270" y="506"/>
                  <a:pt x="274" y="504"/>
                  <a:pt x="276" y="504"/>
                </a:cubicBezTo>
                <a:close/>
                <a:moveTo>
                  <a:pt x="268" y="467"/>
                </a:moveTo>
                <a:cubicBezTo>
                  <a:pt x="268" y="468"/>
                  <a:pt x="268" y="468"/>
                  <a:pt x="267" y="468"/>
                </a:cubicBezTo>
                <a:cubicBezTo>
                  <a:pt x="267" y="468"/>
                  <a:pt x="268" y="467"/>
                  <a:pt x="268" y="467"/>
                </a:cubicBezTo>
                <a:close/>
                <a:moveTo>
                  <a:pt x="267" y="506"/>
                </a:moveTo>
                <a:cubicBezTo>
                  <a:pt x="268" y="506"/>
                  <a:pt x="267" y="507"/>
                  <a:pt x="267" y="507"/>
                </a:cubicBezTo>
                <a:cubicBezTo>
                  <a:pt x="266" y="506"/>
                  <a:pt x="267" y="506"/>
                  <a:pt x="267" y="506"/>
                </a:cubicBezTo>
                <a:close/>
                <a:moveTo>
                  <a:pt x="264" y="562"/>
                </a:moveTo>
                <a:cubicBezTo>
                  <a:pt x="265" y="562"/>
                  <a:pt x="262" y="562"/>
                  <a:pt x="262" y="562"/>
                </a:cubicBezTo>
                <a:cubicBezTo>
                  <a:pt x="262" y="562"/>
                  <a:pt x="264" y="561"/>
                  <a:pt x="264" y="562"/>
                </a:cubicBezTo>
                <a:close/>
                <a:moveTo>
                  <a:pt x="262" y="562"/>
                </a:moveTo>
                <a:cubicBezTo>
                  <a:pt x="261" y="563"/>
                  <a:pt x="260" y="561"/>
                  <a:pt x="262" y="562"/>
                </a:cubicBezTo>
                <a:close/>
                <a:moveTo>
                  <a:pt x="260" y="440"/>
                </a:moveTo>
                <a:cubicBezTo>
                  <a:pt x="261" y="440"/>
                  <a:pt x="260" y="441"/>
                  <a:pt x="260" y="441"/>
                </a:cubicBezTo>
                <a:cubicBezTo>
                  <a:pt x="257" y="443"/>
                  <a:pt x="259" y="439"/>
                  <a:pt x="260" y="440"/>
                </a:cubicBezTo>
                <a:close/>
                <a:moveTo>
                  <a:pt x="257" y="484"/>
                </a:moveTo>
                <a:cubicBezTo>
                  <a:pt x="257" y="484"/>
                  <a:pt x="257" y="483"/>
                  <a:pt x="257" y="483"/>
                </a:cubicBezTo>
                <a:cubicBezTo>
                  <a:pt x="257" y="484"/>
                  <a:pt x="257" y="484"/>
                  <a:pt x="257" y="484"/>
                </a:cubicBezTo>
                <a:cubicBezTo>
                  <a:pt x="257" y="484"/>
                  <a:pt x="257" y="484"/>
                  <a:pt x="257" y="484"/>
                </a:cubicBezTo>
                <a:close/>
                <a:moveTo>
                  <a:pt x="256" y="495"/>
                </a:moveTo>
                <a:cubicBezTo>
                  <a:pt x="255" y="496"/>
                  <a:pt x="255" y="496"/>
                  <a:pt x="254" y="495"/>
                </a:cubicBezTo>
                <a:cubicBezTo>
                  <a:pt x="254" y="494"/>
                  <a:pt x="257" y="494"/>
                  <a:pt x="256" y="495"/>
                </a:cubicBezTo>
                <a:close/>
                <a:moveTo>
                  <a:pt x="252" y="519"/>
                </a:moveTo>
                <a:cubicBezTo>
                  <a:pt x="252" y="519"/>
                  <a:pt x="252" y="520"/>
                  <a:pt x="252" y="520"/>
                </a:cubicBezTo>
                <a:cubicBezTo>
                  <a:pt x="251" y="519"/>
                  <a:pt x="252" y="518"/>
                  <a:pt x="252" y="519"/>
                </a:cubicBezTo>
                <a:close/>
                <a:moveTo>
                  <a:pt x="250" y="460"/>
                </a:moveTo>
                <a:cubicBezTo>
                  <a:pt x="251" y="459"/>
                  <a:pt x="251" y="460"/>
                  <a:pt x="251" y="461"/>
                </a:cubicBezTo>
                <a:cubicBezTo>
                  <a:pt x="250" y="462"/>
                  <a:pt x="249" y="460"/>
                  <a:pt x="250" y="460"/>
                </a:cubicBezTo>
                <a:close/>
                <a:moveTo>
                  <a:pt x="253" y="530"/>
                </a:moveTo>
                <a:cubicBezTo>
                  <a:pt x="254" y="528"/>
                  <a:pt x="259" y="522"/>
                  <a:pt x="261" y="522"/>
                </a:cubicBezTo>
                <a:cubicBezTo>
                  <a:pt x="264" y="521"/>
                  <a:pt x="260" y="524"/>
                  <a:pt x="259" y="524"/>
                </a:cubicBezTo>
                <a:cubicBezTo>
                  <a:pt x="257" y="526"/>
                  <a:pt x="255" y="529"/>
                  <a:pt x="253" y="531"/>
                </a:cubicBezTo>
                <a:cubicBezTo>
                  <a:pt x="253" y="531"/>
                  <a:pt x="253" y="531"/>
                  <a:pt x="253" y="531"/>
                </a:cubicBezTo>
                <a:cubicBezTo>
                  <a:pt x="253" y="531"/>
                  <a:pt x="253" y="532"/>
                  <a:pt x="252" y="532"/>
                </a:cubicBezTo>
                <a:cubicBezTo>
                  <a:pt x="252" y="532"/>
                  <a:pt x="252" y="532"/>
                  <a:pt x="252" y="532"/>
                </a:cubicBezTo>
                <a:cubicBezTo>
                  <a:pt x="251" y="533"/>
                  <a:pt x="251" y="533"/>
                  <a:pt x="250" y="534"/>
                </a:cubicBezTo>
                <a:cubicBezTo>
                  <a:pt x="250" y="534"/>
                  <a:pt x="249" y="533"/>
                  <a:pt x="249" y="533"/>
                </a:cubicBezTo>
                <a:cubicBezTo>
                  <a:pt x="249" y="533"/>
                  <a:pt x="251" y="531"/>
                  <a:pt x="253" y="530"/>
                </a:cubicBezTo>
                <a:close/>
                <a:moveTo>
                  <a:pt x="253" y="640"/>
                </a:moveTo>
                <a:cubicBezTo>
                  <a:pt x="253" y="638"/>
                  <a:pt x="257" y="638"/>
                  <a:pt x="258" y="639"/>
                </a:cubicBezTo>
                <a:cubicBezTo>
                  <a:pt x="259" y="641"/>
                  <a:pt x="254" y="642"/>
                  <a:pt x="253" y="640"/>
                </a:cubicBezTo>
                <a:close/>
                <a:moveTo>
                  <a:pt x="255" y="652"/>
                </a:moveTo>
                <a:cubicBezTo>
                  <a:pt x="256" y="653"/>
                  <a:pt x="254" y="653"/>
                  <a:pt x="254" y="652"/>
                </a:cubicBezTo>
                <a:cubicBezTo>
                  <a:pt x="253" y="651"/>
                  <a:pt x="255" y="651"/>
                  <a:pt x="255" y="652"/>
                </a:cubicBezTo>
                <a:close/>
                <a:moveTo>
                  <a:pt x="240" y="645"/>
                </a:moveTo>
                <a:cubicBezTo>
                  <a:pt x="238" y="644"/>
                  <a:pt x="237" y="642"/>
                  <a:pt x="239" y="640"/>
                </a:cubicBezTo>
                <a:cubicBezTo>
                  <a:pt x="240" y="639"/>
                  <a:pt x="242" y="639"/>
                  <a:pt x="244" y="639"/>
                </a:cubicBezTo>
                <a:cubicBezTo>
                  <a:pt x="245" y="639"/>
                  <a:pt x="247" y="639"/>
                  <a:pt x="247" y="640"/>
                </a:cubicBezTo>
                <a:cubicBezTo>
                  <a:pt x="247" y="640"/>
                  <a:pt x="247" y="640"/>
                  <a:pt x="246" y="640"/>
                </a:cubicBezTo>
                <a:cubicBezTo>
                  <a:pt x="246" y="640"/>
                  <a:pt x="247" y="640"/>
                  <a:pt x="247" y="640"/>
                </a:cubicBezTo>
                <a:cubicBezTo>
                  <a:pt x="247" y="640"/>
                  <a:pt x="247" y="641"/>
                  <a:pt x="247" y="641"/>
                </a:cubicBezTo>
                <a:cubicBezTo>
                  <a:pt x="248" y="642"/>
                  <a:pt x="242" y="646"/>
                  <a:pt x="240" y="645"/>
                </a:cubicBezTo>
                <a:close/>
                <a:moveTo>
                  <a:pt x="241" y="660"/>
                </a:moveTo>
                <a:cubicBezTo>
                  <a:pt x="240" y="661"/>
                  <a:pt x="239" y="660"/>
                  <a:pt x="240" y="659"/>
                </a:cubicBezTo>
                <a:cubicBezTo>
                  <a:pt x="240" y="659"/>
                  <a:pt x="242" y="659"/>
                  <a:pt x="241" y="660"/>
                </a:cubicBezTo>
                <a:close/>
                <a:moveTo>
                  <a:pt x="250" y="593"/>
                </a:moveTo>
                <a:cubicBezTo>
                  <a:pt x="247" y="595"/>
                  <a:pt x="244" y="594"/>
                  <a:pt x="240" y="596"/>
                </a:cubicBezTo>
                <a:cubicBezTo>
                  <a:pt x="243" y="594"/>
                  <a:pt x="247" y="594"/>
                  <a:pt x="250" y="593"/>
                </a:cubicBezTo>
                <a:close/>
                <a:moveTo>
                  <a:pt x="245" y="578"/>
                </a:moveTo>
                <a:cubicBezTo>
                  <a:pt x="246" y="579"/>
                  <a:pt x="245" y="579"/>
                  <a:pt x="245" y="579"/>
                </a:cubicBezTo>
                <a:cubicBezTo>
                  <a:pt x="243" y="581"/>
                  <a:pt x="244" y="577"/>
                  <a:pt x="245" y="578"/>
                </a:cubicBezTo>
                <a:close/>
                <a:moveTo>
                  <a:pt x="253" y="551"/>
                </a:moveTo>
                <a:cubicBezTo>
                  <a:pt x="254" y="550"/>
                  <a:pt x="255" y="549"/>
                  <a:pt x="257" y="549"/>
                </a:cubicBezTo>
                <a:cubicBezTo>
                  <a:pt x="256" y="550"/>
                  <a:pt x="254" y="551"/>
                  <a:pt x="253" y="551"/>
                </a:cubicBezTo>
                <a:close/>
                <a:moveTo>
                  <a:pt x="255" y="555"/>
                </a:moveTo>
                <a:cubicBezTo>
                  <a:pt x="253" y="557"/>
                  <a:pt x="254" y="552"/>
                  <a:pt x="256" y="554"/>
                </a:cubicBezTo>
                <a:cubicBezTo>
                  <a:pt x="257" y="554"/>
                  <a:pt x="256" y="555"/>
                  <a:pt x="255" y="555"/>
                </a:cubicBezTo>
                <a:close/>
                <a:moveTo>
                  <a:pt x="258" y="564"/>
                </a:moveTo>
                <a:cubicBezTo>
                  <a:pt x="258" y="566"/>
                  <a:pt x="252" y="567"/>
                  <a:pt x="252" y="564"/>
                </a:cubicBezTo>
                <a:cubicBezTo>
                  <a:pt x="252" y="561"/>
                  <a:pt x="258" y="562"/>
                  <a:pt x="258" y="564"/>
                </a:cubicBezTo>
                <a:close/>
                <a:moveTo>
                  <a:pt x="257" y="589"/>
                </a:moveTo>
                <a:cubicBezTo>
                  <a:pt x="256" y="590"/>
                  <a:pt x="258" y="588"/>
                  <a:pt x="257" y="589"/>
                </a:cubicBezTo>
                <a:close/>
                <a:moveTo>
                  <a:pt x="254" y="619"/>
                </a:moveTo>
                <a:cubicBezTo>
                  <a:pt x="254" y="619"/>
                  <a:pt x="253" y="619"/>
                  <a:pt x="254" y="619"/>
                </a:cubicBezTo>
                <a:close/>
                <a:moveTo>
                  <a:pt x="254" y="612"/>
                </a:moveTo>
                <a:cubicBezTo>
                  <a:pt x="254" y="612"/>
                  <a:pt x="254" y="613"/>
                  <a:pt x="254" y="613"/>
                </a:cubicBezTo>
                <a:cubicBezTo>
                  <a:pt x="253" y="613"/>
                  <a:pt x="254" y="612"/>
                  <a:pt x="254" y="612"/>
                </a:cubicBezTo>
                <a:close/>
                <a:moveTo>
                  <a:pt x="254" y="619"/>
                </a:moveTo>
                <a:cubicBezTo>
                  <a:pt x="257" y="616"/>
                  <a:pt x="255" y="621"/>
                  <a:pt x="254" y="620"/>
                </a:cubicBezTo>
                <a:cubicBezTo>
                  <a:pt x="254" y="620"/>
                  <a:pt x="254" y="619"/>
                  <a:pt x="254" y="619"/>
                </a:cubicBezTo>
                <a:close/>
                <a:moveTo>
                  <a:pt x="253" y="608"/>
                </a:moveTo>
                <a:cubicBezTo>
                  <a:pt x="250" y="609"/>
                  <a:pt x="255" y="604"/>
                  <a:pt x="257" y="605"/>
                </a:cubicBezTo>
                <a:cubicBezTo>
                  <a:pt x="256" y="605"/>
                  <a:pt x="254" y="607"/>
                  <a:pt x="253" y="608"/>
                </a:cubicBezTo>
                <a:close/>
                <a:moveTo>
                  <a:pt x="255" y="600"/>
                </a:moveTo>
                <a:cubicBezTo>
                  <a:pt x="254" y="602"/>
                  <a:pt x="252" y="601"/>
                  <a:pt x="255" y="600"/>
                </a:cubicBezTo>
                <a:close/>
                <a:moveTo>
                  <a:pt x="256" y="599"/>
                </a:moveTo>
                <a:cubicBezTo>
                  <a:pt x="255" y="599"/>
                  <a:pt x="256" y="598"/>
                  <a:pt x="256" y="599"/>
                </a:cubicBezTo>
                <a:cubicBezTo>
                  <a:pt x="256" y="599"/>
                  <a:pt x="256" y="599"/>
                  <a:pt x="256" y="599"/>
                </a:cubicBezTo>
                <a:close/>
                <a:moveTo>
                  <a:pt x="253" y="571"/>
                </a:moveTo>
                <a:cubicBezTo>
                  <a:pt x="253" y="571"/>
                  <a:pt x="252" y="572"/>
                  <a:pt x="252" y="571"/>
                </a:cubicBezTo>
                <a:cubicBezTo>
                  <a:pt x="251" y="570"/>
                  <a:pt x="253" y="570"/>
                  <a:pt x="253" y="571"/>
                </a:cubicBezTo>
                <a:close/>
                <a:moveTo>
                  <a:pt x="251" y="558"/>
                </a:moveTo>
                <a:cubicBezTo>
                  <a:pt x="251" y="557"/>
                  <a:pt x="253" y="556"/>
                  <a:pt x="253" y="557"/>
                </a:cubicBezTo>
                <a:cubicBezTo>
                  <a:pt x="253" y="558"/>
                  <a:pt x="252" y="558"/>
                  <a:pt x="251" y="558"/>
                </a:cubicBezTo>
                <a:close/>
                <a:moveTo>
                  <a:pt x="246" y="555"/>
                </a:moveTo>
                <a:cubicBezTo>
                  <a:pt x="247" y="553"/>
                  <a:pt x="251" y="552"/>
                  <a:pt x="253" y="551"/>
                </a:cubicBezTo>
                <a:cubicBezTo>
                  <a:pt x="251" y="553"/>
                  <a:pt x="248" y="554"/>
                  <a:pt x="246" y="555"/>
                </a:cubicBezTo>
                <a:close/>
                <a:moveTo>
                  <a:pt x="245" y="613"/>
                </a:moveTo>
                <a:cubicBezTo>
                  <a:pt x="244" y="615"/>
                  <a:pt x="242" y="615"/>
                  <a:pt x="240" y="615"/>
                </a:cubicBezTo>
                <a:cubicBezTo>
                  <a:pt x="241" y="614"/>
                  <a:pt x="243" y="613"/>
                  <a:pt x="244" y="613"/>
                </a:cubicBezTo>
                <a:cubicBezTo>
                  <a:pt x="244" y="613"/>
                  <a:pt x="243" y="613"/>
                  <a:pt x="244" y="612"/>
                </a:cubicBezTo>
                <a:cubicBezTo>
                  <a:pt x="244" y="611"/>
                  <a:pt x="247" y="612"/>
                  <a:pt x="247" y="612"/>
                </a:cubicBezTo>
                <a:cubicBezTo>
                  <a:pt x="247" y="613"/>
                  <a:pt x="246" y="613"/>
                  <a:pt x="245" y="613"/>
                </a:cubicBezTo>
                <a:cubicBezTo>
                  <a:pt x="245" y="613"/>
                  <a:pt x="245" y="613"/>
                  <a:pt x="245" y="613"/>
                </a:cubicBezTo>
                <a:close/>
                <a:moveTo>
                  <a:pt x="241" y="634"/>
                </a:moveTo>
                <a:cubicBezTo>
                  <a:pt x="241" y="634"/>
                  <a:pt x="241" y="634"/>
                  <a:pt x="242" y="634"/>
                </a:cubicBezTo>
                <a:cubicBezTo>
                  <a:pt x="242" y="634"/>
                  <a:pt x="242" y="635"/>
                  <a:pt x="241" y="634"/>
                </a:cubicBezTo>
                <a:close/>
                <a:moveTo>
                  <a:pt x="240" y="485"/>
                </a:moveTo>
                <a:cubicBezTo>
                  <a:pt x="240" y="485"/>
                  <a:pt x="241" y="484"/>
                  <a:pt x="241" y="484"/>
                </a:cubicBezTo>
                <a:cubicBezTo>
                  <a:pt x="241" y="485"/>
                  <a:pt x="240" y="485"/>
                  <a:pt x="240" y="485"/>
                </a:cubicBezTo>
                <a:close/>
                <a:moveTo>
                  <a:pt x="240" y="535"/>
                </a:moveTo>
                <a:cubicBezTo>
                  <a:pt x="240" y="535"/>
                  <a:pt x="240" y="535"/>
                  <a:pt x="239" y="535"/>
                </a:cubicBezTo>
                <a:cubicBezTo>
                  <a:pt x="239" y="535"/>
                  <a:pt x="240" y="534"/>
                  <a:pt x="240" y="535"/>
                </a:cubicBezTo>
                <a:close/>
                <a:moveTo>
                  <a:pt x="243" y="647"/>
                </a:moveTo>
                <a:cubicBezTo>
                  <a:pt x="243" y="646"/>
                  <a:pt x="244" y="647"/>
                  <a:pt x="243" y="647"/>
                </a:cubicBezTo>
                <a:close/>
                <a:moveTo>
                  <a:pt x="243" y="664"/>
                </a:moveTo>
                <a:cubicBezTo>
                  <a:pt x="242" y="665"/>
                  <a:pt x="242" y="663"/>
                  <a:pt x="243" y="664"/>
                </a:cubicBezTo>
                <a:close/>
                <a:moveTo>
                  <a:pt x="244" y="665"/>
                </a:moveTo>
                <a:cubicBezTo>
                  <a:pt x="244" y="666"/>
                  <a:pt x="243" y="666"/>
                  <a:pt x="243" y="666"/>
                </a:cubicBezTo>
                <a:cubicBezTo>
                  <a:pt x="242" y="665"/>
                  <a:pt x="244" y="665"/>
                  <a:pt x="244" y="665"/>
                </a:cubicBezTo>
                <a:close/>
                <a:moveTo>
                  <a:pt x="244" y="658"/>
                </a:moveTo>
                <a:cubicBezTo>
                  <a:pt x="244" y="656"/>
                  <a:pt x="249" y="657"/>
                  <a:pt x="247" y="659"/>
                </a:cubicBezTo>
                <a:cubicBezTo>
                  <a:pt x="247" y="660"/>
                  <a:pt x="244" y="659"/>
                  <a:pt x="244" y="658"/>
                </a:cubicBezTo>
                <a:close/>
                <a:moveTo>
                  <a:pt x="248" y="619"/>
                </a:moveTo>
                <a:cubicBezTo>
                  <a:pt x="246" y="620"/>
                  <a:pt x="246" y="618"/>
                  <a:pt x="248" y="619"/>
                </a:cubicBezTo>
                <a:close/>
                <a:moveTo>
                  <a:pt x="249" y="639"/>
                </a:moveTo>
                <a:cubicBezTo>
                  <a:pt x="250" y="640"/>
                  <a:pt x="249" y="640"/>
                  <a:pt x="249" y="640"/>
                </a:cubicBezTo>
                <a:cubicBezTo>
                  <a:pt x="247" y="642"/>
                  <a:pt x="248" y="638"/>
                  <a:pt x="249" y="639"/>
                </a:cubicBezTo>
                <a:close/>
                <a:moveTo>
                  <a:pt x="249" y="606"/>
                </a:moveTo>
                <a:cubicBezTo>
                  <a:pt x="248" y="605"/>
                  <a:pt x="251" y="605"/>
                  <a:pt x="251" y="605"/>
                </a:cubicBezTo>
                <a:cubicBezTo>
                  <a:pt x="251" y="606"/>
                  <a:pt x="249" y="606"/>
                  <a:pt x="249" y="606"/>
                </a:cubicBezTo>
                <a:close/>
                <a:moveTo>
                  <a:pt x="247" y="598"/>
                </a:moveTo>
                <a:cubicBezTo>
                  <a:pt x="247" y="598"/>
                  <a:pt x="248" y="596"/>
                  <a:pt x="248" y="596"/>
                </a:cubicBezTo>
                <a:cubicBezTo>
                  <a:pt x="249" y="595"/>
                  <a:pt x="250" y="594"/>
                  <a:pt x="251" y="596"/>
                </a:cubicBezTo>
                <a:cubicBezTo>
                  <a:pt x="251" y="596"/>
                  <a:pt x="251" y="596"/>
                  <a:pt x="250" y="597"/>
                </a:cubicBezTo>
                <a:cubicBezTo>
                  <a:pt x="251" y="597"/>
                  <a:pt x="253" y="598"/>
                  <a:pt x="253" y="598"/>
                </a:cubicBezTo>
                <a:cubicBezTo>
                  <a:pt x="254" y="602"/>
                  <a:pt x="247" y="599"/>
                  <a:pt x="247" y="598"/>
                </a:cubicBezTo>
                <a:close/>
                <a:moveTo>
                  <a:pt x="253" y="601"/>
                </a:moveTo>
                <a:cubicBezTo>
                  <a:pt x="253" y="602"/>
                  <a:pt x="252" y="602"/>
                  <a:pt x="251" y="602"/>
                </a:cubicBezTo>
                <a:cubicBezTo>
                  <a:pt x="251" y="602"/>
                  <a:pt x="252" y="601"/>
                  <a:pt x="253" y="601"/>
                </a:cubicBezTo>
                <a:close/>
                <a:moveTo>
                  <a:pt x="253" y="609"/>
                </a:moveTo>
                <a:cubicBezTo>
                  <a:pt x="254" y="609"/>
                  <a:pt x="252" y="610"/>
                  <a:pt x="252" y="610"/>
                </a:cubicBezTo>
                <a:cubicBezTo>
                  <a:pt x="251" y="609"/>
                  <a:pt x="253" y="608"/>
                  <a:pt x="253" y="609"/>
                </a:cubicBezTo>
                <a:close/>
                <a:moveTo>
                  <a:pt x="254" y="650"/>
                </a:moveTo>
                <a:cubicBezTo>
                  <a:pt x="253" y="652"/>
                  <a:pt x="252" y="649"/>
                  <a:pt x="254" y="650"/>
                </a:cubicBezTo>
                <a:close/>
                <a:moveTo>
                  <a:pt x="256" y="592"/>
                </a:moveTo>
                <a:cubicBezTo>
                  <a:pt x="255" y="590"/>
                  <a:pt x="259" y="590"/>
                  <a:pt x="260" y="591"/>
                </a:cubicBezTo>
                <a:cubicBezTo>
                  <a:pt x="260" y="592"/>
                  <a:pt x="256" y="594"/>
                  <a:pt x="256" y="592"/>
                </a:cubicBezTo>
                <a:close/>
                <a:moveTo>
                  <a:pt x="249" y="520"/>
                </a:moveTo>
                <a:cubicBezTo>
                  <a:pt x="249" y="520"/>
                  <a:pt x="249" y="521"/>
                  <a:pt x="249" y="521"/>
                </a:cubicBezTo>
                <a:cubicBezTo>
                  <a:pt x="248" y="522"/>
                  <a:pt x="248" y="519"/>
                  <a:pt x="249" y="520"/>
                </a:cubicBezTo>
                <a:close/>
                <a:moveTo>
                  <a:pt x="249" y="536"/>
                </a:moveTo>
                <a:cubicBezTo>
                  <a:pt x="249" y="538"/>
                  <a:pt x="244" y="540"/>
                  <a:pt x="244" y="536"/>
                </a:cubicBezTo>
                <a:cubicBezTo>
                  <a:pt x="244" y="535"/>
                  <a:pt x="249" y="534"/>
                  <a:pt x="249" y="536"/>
                </a:cubicBezTo>
                <a:close/>
                <a:moveTo>
                  <a:pt x="244" y="450"/>
                </a:moveTo>
                <a:cubicBezTo>
                  <a:pt x="244" y="450"/>
                  <a:pt x="244" y="450"/>
                  <a:pt x="244" y="450"/>
                </a:cubicBezTo>
                <a:cubicBezTo>
                  <a:pt x="243" y="450"/>
                  <a:pt x="244" y="449"/>
                  <a:pt x="244" y="450"/>
                </a:cubicBezTo>
                <a:close/>
                <a:moveTo>
                  <a:pt x="243" y="420"/>
                </a:moveTo>
                <a:cubicBezTo>
                  <a:pt x="243" y="420"/>
                  <a:pt x="243" y="420"/>
                  <a:pt x="243" y="420"/>
                </a:cubicBezTo>
                <a:cubicBezTo>
                  <a:pt x="244" y="420"/>
                  <a:pt x="244" y="420"/>
                  <a:pt x="243" y="420"/>
                </a:cubicBezTo>
                <a:close/>
                <a:moveTo>
                  <a:pt x="241" y="504"/>
                </a:moveTo>
                <a:cubicBezTo>
                  <a:pt x="240" y="502"/>
                  <a:pt x="243" y="504"/>
                  <a:pt x="241" y="504"/>
                </a:cubicBezTo>
                <a:close/>
                <a:moveTo>
                  <a:pt x="235" y="479"/>
                </a:moveTo>
                <a:cubicBezTo>
                  <a:pt x="236" y="477"/>
                  <a:pt x="240" y="471"/>
                  <a:pt x="242" y="470"/>
                </a:cubicBezTo>
                <a:cubicBezTo>
                  <a:pt x="240" y="473"/>
                  <a:pt x="238" y="476"/>
                  <a:pt x="235" y="479"/>
                </a:cubicBezTo>
                <a:close/>
                <a:moveTo>
                  <a:pt x="236" y="507"/>
                </a:moveTo>
                <a:cubicBezTo>
                  <a:pt x="236" y="508"/>
                  <a:pt x="235" y="508"/>
                  <a:pt x="235" y="507"/>
                </a:cubicBezTo>
                <a:cubicBezTo>
                  <a:pt x="235" y="506"/>
                  <a:pt x="236" y="507"/>
                  <a:pt x="236" y="507"/>
                </a:cubicBezTo>
                <a:close/>
                <a:moveTo>
                  <a:pt x="242" y="337"/>
                </a:moveTo>
                <a:cubicBezTo>
                  <a:pt x="240" y="339"/>
                  <a:pt x="238" y="341"/>
                  <a:pt x="235" y="343"/>
                </a:cubicBezTo>
                <a:cubicBezTo>
                  <a:pt x="237" y="341"/>
                  <a:pt x="240" y="338"/>
                  <a:pt x="242" y="337"/>
                </a:cubicBezTo>
                <a:close/>
                <a:moveTo>
                  <a:pt x="235" y="428"/>
                </a:moveTo>
                <a:cubicBezTo>
                  <a:pt x="235" y="427"/>
                  <a:pt x="234" y="429"/>
                  <a:pt x="235" y="428"/>
                </a:cubicBezTo>
                <a:close/>
                <a:moveTo>
                  <a:pt x="236" y="488"/>
                </a:moveTo>
                <a:cubicBezTo>
                  <a:pt x="233" y="491"/>
                  <a:pt x="233" y="494"/>
                  <a:pt x="230" y="496"/>
                </a:cubicBezTo>
                <a:cubicBezTo>
                  <a:pt x="231" y="494"/>
                  <a:pt x="233" y="489"/>
                  <a:pt x="236" y="488"/>
                </a:cubicBezTo>
                <a:close/>
                <a:moveTo>
                  <a:pt x="235" y="529"/>
                </a:moveTo>
                <a:cubicBezTo>
                  <a:pt x="235" y="529"/>
                  <a:pt x="234" y="529"/>
                  <a:pt x="234" y="529"/>
                </a:cubicBezTo>
                <a:cubicBezTo>
                  <a:pt x="234" y="528"/>
                  <a:pt x="235" y="529"/>
                  <a:pt x="235" y="529"/>
                </a:cubicBezTo>
                <a:close/>
                <a:moveTo>
                  <a:pt x="232" y="503"/>
                </a:moveTo>
                <a:cubicBezTo>
                  <a:pt x="232" y="504"/>
                  <a:pt x="231" y="504"/>
                  <a:pt x="231" y="504"/>
                </a:cubicBezTo>
                <a:cubicBezTo>
                  <a:pt x="231" y="503"/>
                  <a:pt x="232" y="502"/>
                  <a:pt x="232" y="503"/>
                </a:cubicBezTo>
                <a:close/>
                <a:moveTo>
                  <a:pt x="233" y="322"/>
                </a:moveTo>
                <a:cubicBezTo>
                  <a:pt x="234" y="320"/>
                  <a:pt x="232" y="323"/>
                  <a:pt x="233" y="322"/>
                </a:cubicBezTo>
                <a:close/>
                <a:moveTo>
                  <a:pt x="233" y="463"/>
                </a:moveTo>
                <a:cubicBezTo>
                  <a:pt x="232" y="465"/>
                  <a:pt x="234" y="462"/>
                  <a:pt x="233" y="463"/>
                </a:cubicBezTo>
                <a:close/>
                <a:moveTo>
                  <a:pt x="232" y="465"/>
                </a:moveTo>
                <a:cubicBezTo>
                  <a:pt x="233" y="467"/>
                  <a:pt x="229" y="469"/>
                  <a:pt x="228" y="466"/>
                </a:cubicBezTo>
                <a:cubicBezTo>
                  <a:pt x="228" y="464"/>
                  <a:pt x="231" y="463"/>
                  <a:pt x="232" y="465"/>
                </a:cubicBezTo>
                <a:close/>
                <a:moveTo>
                  <a:pt x="231" y="364"/>
                </a:moveTo>
                <a:cubicBezTo>
                  <a:pt x="232" y="365"/>
                  <a:pt x="230" y="367"/>
                  <a:pt x="230" y="367"/>
                </a:cubicBezTo>
                <a:cubicBezTo>
                  <a:pt x="226" y="369"/>
                  <a:pt x="229" y="363"/>
                  <a:pt x="231" y="364"/>
                </a:cubicBezTo>
                <a:close/>
                <a:moveTo>
                  <a:pt x="227" y="421"/>
                </a:moveTo>
                <a:cubicBezTo>
                  <a:pt x="228" y="421"/>
                  <a:pt x="227" y="422"/>
                  <a:pt x="227" y="422"/>
                </a:cubicBezTo>
                <a:cubicBezTo>
                  <a:pt x="225" y="423"/>
                  <a:pt x="226" y="420"/>
                  <a:pt x="227" y="421"/>
                </a:cubicBezTo>
                <a:close/>
                <a:moveTo>
                  <a:pt x="227" y="484"/>
                </a:moveTo>
                <a:cubicBezTo>
                  <a:pt x="225" y="484"/>
                  <a:pt x="228" y="482"/>
                  <a:pt x="227" y="483"/>
                </a:cubicBezTo>
                <a:cubicBezTo>
                  <a:pt x="227" y="483"/>
                  <a:pt x="227" y="484"/>
                  <a:pt x="227" y="484"/>
                </a:cubicBezTo>
                <a:close/>
                <a:moveTo>
                  <a:pt x="227" y="436"/>
                </a:moveTo>
                <a:cubicBezTo>
                  <a:pt x="226" y="435"/>
                  <a:pt x="228" y="435"/>
                  <a:pt x="227" y="436"/>
                </a:cubicBezTo>
                <a:close/>
                <a:moveTo>
                  <a:pt x="227" y="526"/>
                </a:moveTo>
                <a:cubicBezTo>
                  <a:pt x="226" y="527"/>
                  <a:pt x="225" y="526"/>
                  <a:pt x="227" y="526"/>
                </a:cubicBezTo>
                <a:close/>
                <a:moveTo>
                  <a:pt x="227" y="527"/>
                </a:moveTo>
                <a:cubicBezTo>
                  <a:pt x="228" y="528"/>
                  <a:pt x="226" y="529"/>
                  <a:pt x="226" y="529"/>
                </a:cubicBezTo>
                <a:cubicBezTo>
                  <a:pt x="225" y="529"/>
                  <a:pt x="227" y="527"/>
                  <a:pt x="227" y="527"/>
                </a:cubicBezTo>
                <a:close/>
                <a:moveTo>
                  <a:pt x="225" y="375"/>
                </a:moveTo>
                <a:cubicBezTo>
                  <a:pt x="227" y="376"/>
                  <a:pt x="225" y="376"/>
                  <a:pt x="225" y="375"/>
                </a:cubicBezTo>
                <a:close/>
                <a:moveTo>
                  <a:pt x="224" y="359"/>
                </a:moveTo>
                <a:cubicBezTo>
                  <a:pt x="224" y="360"/>
                  <a:pt x="223" y="360"/>
                  <a:pt x="223" y="361"/>
                </a:cubicBezTo>
                <a:cubicBezTo>
                  <a:pt x="222" y="360"/>
                  <a:pt x="224" y="360"/>
                  <a:pt x="224" y="359"/>
                </a:cubicBezTo>
                <a:close/>
                <a:moveTo>
                  <a:pt x="222" y="500"/>
                </a:moveTo>
                <a:cubicBezTo>
                  <a:pt x="222" y="499"/>
                  <a:pt x="223" y="499"/>
                  <a:pt x="224" y="499"/>
                </a:cubicBezTo>
                <a:cubicBezTo>
                  <a:pt x="224" y="500"/>
                  <a:pt x="222" y="501"/>
                  <a:pt x="222" y="500"/>
                </a:cubicBezTo>
                <a:close/>
                <a:moveTo>
                  <a:pt x="222" y="564"/>
                </a:moveTo>
                <a:cubicBezTo>
                  <a:pt x="222" y="565"/>
                  <a:pt x="219" y="565"/>
                  <a:pt x="219" y="564"/>
                </a:cubicBezTo>
                <a:cubicBezTo>
                  <a:pt x="219" y="562"/>
                  <a:pt x="222" y="563"/>
                  <a:pt x="222" y="564"/>
                </a:cubicBezTo>
                <a:close/>
                <a:moveTo>
                  <a:pt x="224" y="489"/>
                </a:moveTo>
                <a:cubicBezTo>
                  <a:pt x="224" y="489"/>
                  <a:pt x="223" y="490"/>
                  <a:pt x="223" y="490"/>
                </a:cubicBezTo>
                <a:cubicBezTo>
                  <a:pt x="222" y="489"/>
                  <a:pt x="225" y="488"/>
                  <a:pt x="224" y="489"/>
                </a:cubicBezTo>
                <a:close/>
                <a:moveTo>
                  <a:pt x="224" y="467"/>
                </a:moveTo>
                <a:cubicBezTo>
                  <a:pt x="224" y="470"/>
                  <a:pt x="222" y="469"/>
                  <a:pt x="224" y="467"/>
                </a:cubicBezTo>
                <a:close/>
                <a:moveTo>
                  <a:pt x="223" y="272"/>
                </a:moveTo>
                <a:cubicBezTo>
                  <a:pt x="223" y="273"/>
                  <a:pt x="222" y="274"/>
                  <a:pt x="221" y="275"/>
                </a:cubicBezTo>
                <a:cubicBezTo>
                  <a:pt x="221" y="273"/>
                  <a:pt x="222" y="273"/>
                  <a:pt x="223" y="272"/>
                </a:cubicBezTo>
                <a:close/>
                <a:moveTo>
                  <a:pt x="222" y="308"/>
                </a:moveTo>
                <a:cubicBezTo>
                  <a:pt x="222" y="310"/>
                  <a:pt x="220" y="312"/>
                  <a:pt x="218" y="313"/>
                </a:cubicBezTo>
                <a:cubicBezTo>
                  <a:pt x="220" y="312"/>
                  <a:pt x="220" y="310"/>
                  <a:pt x="222" y="308"/>
                </a:cubicBezTo>
                <a:close/>
                <a:moveTo>
                  <a:pt x="218" y="378"/>
                </a:moveTo>
                <a:cubicBezTo>
                  <a:pt x="218" y="376"/>
                  <a:pt x="220" y="378"/>
                  <a:pt x="218" y="378"/>
                </a:cubicBezTo>
                <a:close/>
                <a:moveTo>
                  <a:pt x="218" y="467"/>
                </a:moveTo>
                <a:cubicBezTo>
                  <a:pt x="218" y="467"/>
                  <a:pt x="217" y="467"/>
                  <a:pt x="217" y="466"/>
                </a:cubicBezTo>
                <a:cubicBezTo>
                  <a:pt x="217" y="466"/>
                  <a:pt x="218" y="466"/>
                  <a:pt x="218" y="467"/>
                </a:cubicBezTo>
                <a:close/>
                <a:moveTo>
                  <a:pt x="217" y="315"/>
                </a:move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lose/>
                <a:moveTo>
                  <a:pt x="218" y="382"/>
                </a:moveTo>
                <a:cubicBezTo>
                  <a:pt x="217" y="382"/>
                  <a:pt x="217" y="382"/>
                  <a:pt x="217" y="382"/>
                </a:cubicBezTo>
                <a:cubicBezTo>
                  <a:pt x="216" y="381"/>
                  <a:pt x="219" y="380"/>
                  <a:pt x="218" y="382"/>
                </a:cubicBezTo>
                <a:close/>
                <a:moveTo>
                  <a:pt x="212" y="322"/>
                </a:moveTo>
                <a:cubicBezTo>
                  <a:pt x="212" y="321"/>
                  <a:pt x="215" y="318"/>
                  <a:pt x="216" y="316"/>
                </a:cubicBezTo>
                <a:cubicBezTo>
                  <a:pt x="216" y="319"/>
                  <a:pt x="210" y="325"/>
                  <a:pt x="212" y="322"/>
                </a:cubicBezTo>
                <a:close/>
                <a:moveTo>
                  <a:pt x="215" y="450"/>
                </a:moveTo>
                <a:cubicBezTo>
                  <a:pt x="215" y="450"/>
                  <a:pt x="215" y="450"/>
                  <a:pt x="215" y="450"/>
                </a:cubicBezTo>
                <a:cubicBezTo>
                  <a:pt x="215" y="450"/>
                  <a:pt x="215" y="450"/>
                  <a:pt x="215" y="450"/>
                </a:cubicBezTo>
                <a:close/>
                <a:moveTo>
                  <a:pt x="214" y="449"/>
                </a:moveTo>
                <a:cubicBezTo>
                  <a:pt x="214" y="449"/>
                  <a:pt x="214" y="448"/>
                  <a:pt x="214" y="448"/>
                </a:cubicBezTo>
                <a:cubicBezTo>
                  <a:pt x="214" y="446"/>
                  <a:pt x="216" y="448"/>
                  <a:pt x="214" y="449"/>
                </a:cubicBezTo>
                <a:close/>
                <a:moveTo>
                  <a:pt x="214" y="524"/>
                </a:moveTo>
                <a:cubicBezTo>
                  <a:pt x="213" y="523"/>
                  <a:pt x="214" y="523"/>
                  <a:pt x="215" y="522"/>
                </a:cubicBezTo>
                <a:cubicBezTo>
                  <a:pt x="215" y="523"/>
                  <a:pt x="214" y="523"/>
                  <a:pt x="214" y="524"/>
                </a:cubicBezTo>
                <a:close/>
                <a:moveTo>
                  <a:pt x="212" y="508"/>
                </a:moveTo>
                <a:cubicBezTo>
                  <a:pt x="210" y="509"/>
                  <a:pt x="214" y="507"/>
                  <a:pt x="212" y="508"/>
                </a:cubicBezTo>
                <a:close/>
                <a:moveTo>
                  <a:pt x="202" y="518"/>
                </a:moveTo>
                <a:cubicBezTo>
                  <a:pt x="210" y="516"/>
                  <a:pt x="209" y="525"/>
                  <a:pt x="203" y="526"/>
                </a:cubicBezTo>
                <a:cubicBezTo>
                  <a:pt x="198" y="527"/>
                  <a:pt x="197" y="520"/>
                  <a:pt x="202" y="518"/>
                </a:cubicBezTo>
                <a:close/>
                <a:moveTo>
                  <a:pt x="201" y="548"/>
                </a:moveTo>
                <a:cubicBezTo>
                  <a:pt x="201" y="548"/>
                  <a:pt x="201" y="548"/>
                  <a:pt x="201" y="548"/>
                </a:cubicBezTo>
                <a:cubicBezTo>
                  <a:pt x="201" y="546"/>
                  <a:pt x="203" y="550"/>
                  <a:pt x="201" y="548"/>
                </a:cubicBezTo>
                <a:close/>
                <a:moveTo>
                  <a:pt x="199" y="549"/>
                </a:moveTo>
                <a:cubicBezTo>
                  <a:pt x="199" y="551"/>
                  <a:pt x="197" y="549"/>
                  <a:pt x="199" y="549"/>
                </a:cubicBezTo>
                <a:close/>
                <a:moveTo>
                  <a:pt x="200" y="494"/>
                </a:moveTo>
                <a:cubicBezTo>
                  <a:pt x="199" y="495"/>
                  <a:pt x="198" y="496"/>
                  <a:pt x="196" y="496"/>
                </a:cubicBezTo>
                <a:cubicBezTo>
                  <a:pt x="197" y="495"/>
                  <a:pt x="199" y="495"/>
                  <a:pt x="200" y="494"/>
                </a:cubicBezTo>
                <a:close/>
                <a:moveTo>
                  <a:pt x="202" y="420"/>
                </a:moveTo>
                <a:cubicBezTo>
                  <a:pt x="201" y="421"/>
                  <a:pt x="201" y="421"/>
                  <a:pt x="200" y="421"/>
                </a:cubicBezTo>
                <a:cubicBezTo>
                  <a:pt x="199" y="420"/>
                  <a:pt x="203" y="418"/>
                  <a:pt x="202" y="420"/>
                </a:cubicBezTo>
                <a:close/>
                <a:moveTo>
                  <a:pt x="203" y="493"/>
                </a:moveTo>
                <a:cubicBezTo>
                  <a:pt x="204" y="493"/>
                  <a:pt x="204" y="493"/>
                  <a:pt x="204" y="493"/>
                </a:cubicBezTo>
                <a:cubicBezTo>
                  <a:pt x="204" y="493"/>
                  <a:pt x="200" y="494"/>
                  <a:pt x="203" y="493"/>
                </a:cubicBezTo>
                <a:close/>
                <a:moveTo>
                  <a:pt x="206" y="456"/>
                </a:moveTo>
                <a:cubicBezTo>
                  <a:pt x="206" y="456"/>
                  <a:pt x="205" y="456"/>
                  <a:pt x="205" y="456"/>
                </a:cubicBezTo>
                <a:cubicBezTo>
                  <a:pt x="204" y="456"/>
                  <a:pt x="206" y="455"/>
                  <a:pt x="206" y="456"/>
                </a:cubicBezTo>
                <a:close/>
                <a:moveTo>
                  <a:pt x="206" y="475"/>
                </a:moveTo>
                <a:cubicBezTo>
                  <a:pt x="206" y="473"/>
                  <a:pt x="210" y="475"/>
                  <a:pt x="210" y="477"/>
                </a:cubicBezTo>
                <a:cubicBezTo>
                  <a:pt x="209" y="479"/>
                  <a:pt x="204" y="479"/>
                  <a:pt x="206" y="475"/>
                </a:cubicBezTo>
                <a:close/>
                <a:moveTo>
                  <a:pt x="208" y="439"/>
                </a:moveTo>
                <a:cubicBezTo>
                  <a:pt x="208" y="440"/>
                  <a:pt x="207" y="440"/>
                  <a:pt x="207" y="440"/>
                </a:cubicBezTo>
                <a:cubicBezTo>
                  <a:pt x="207" y="439"/>
                  <a:pt x="208" y="439"/>
                  <a:pt x="208" y="439"/>
                </a:cubicBezTo>
                <a:close/>
                <a:moveTo>
                  <a:pt x="208" y="405"/>
                </a:moveTo>
                <a:cubicBezTo>
                  <a:pt x="207" y="406"/>
                  <a:pt x="208" y="404"/>
                  <a:pt x="208" y="405"/>
                </a:cubicBezTo>
                <a:close/>
                <a:moveTo>
                  <a:pt x="209" y="467"/>
                </a:moveTo>
                <a:cubicBezTo>
                  <a:pt x="209" y="467"/>
                  <a:pt x="209" y="468"/>
                  <a:pt x="209" y="468"/>
                </a:cubicBezTo>
                <a:cubicBezTo>
                  <a:pt x="208" y="467"/>
                  <a:pt x="210" y="466"/>
                  <a:pt x="209" y="467"/>
                </a:cubicBezTo>
                <a:close/>
                <a:moveTo>
                  <a:pt x="210" y="509"/>
                </a:moveTo>
                <a:cubicBezTo>
                  <a:pt x="208" y="511"/>
                  <a:pt x="211" y="508"/>
                  <a:pt x="210" y="509"/>
                </a:cubicBezTo>
                <a:close/>
                <a:moveTo>
                  <a:pt x="210" y="444"/>
                </a:moveTo>
                <a:cubicBezTo>
                  <a:pt x="207" y="445"/>
                  <a:pt x="209" y="441"/>
                  <a:pt x="210" y="443"/>
                </a:cubicBezTo>
                <a:cubicBezTo>
                  <a:pt x="211" y="443"/>
                  <a:pt x="210" y="443"/>
                  <a:pt x="210" y="444"/>
                </a:cubicBezTo>
                <a:close/>
                <a:moveTo>
                  <a:pt x="210" y="185"/>
                </a:moveTo>
                <a:cubicBezTo>
                  <a:pt x="210" y="185"/>
                  <a:pt x="210" y="185"/>
                  <a:pt x="210" y="185"/>
                </a:cubicBezTo>
                <a:cubicBezTo>
                  <a:pt x="209" y="185"/>
                  <a:pt x="211" y="184"/>
                  <a:pt x="210" y="185"/>
                </a:cubicBezTo>
                <a:close/>
                <a:moveTo>
                  <a:pt x="210" y="203"/>
                </a:moveTo>
                <a:cubicBezTo>
                  <a:pt x="211" y="203"/>
                  <a:pt x="209" y="205"/>
                  <a:pt x="209" y="205"/>
                </a:cubicBezTo>
                <a:cubicBezTo>
                  <a:pt x="209" y="204"/>
                  <a:pt x="209" y="204"/>
                  <a:pt x="210" y="203"/>
                </a:cubicBezTo>
                <a:close/>
                <a:moveTo>
                  <a:pt x="210" y="371"/>
                </a:moveTo>
                <a:cubicBezTo>
                  <a:pt x="209" y="372"/>
                  <a:pt x="209" y="372"/>
                  <a:pt x="208" y="372"/>
                </a:cubicBezTo>
                <a:cubicBezTo>
                  <a:pt x="208" y="372"/>
                  <a:pt x="208" y="371"/>
                  <a:pt x="210" y="371"/>
                </a:cubicBezTo>
                <a:close/>
                <a:moveTo>
                  <a:pt x="208" y="181"/>
                </a:moveTo>
                <a:cubicBezTo>
                  <a:pt x="209" y="181"/>
                  <a:pt x="207" y="184"/>
                  <a:pt x="207" y="184"/>
                </a:cubicBezTo>
                <a:cubicBezTo>
                  <a:pt x="204" y="186"/>
                  <a:pt x="206" y="180"/>
                  <a:pt x="208" y="181"/>
                </a:cubicBezTo>
                <a:close/>
                <a:moveTo>
                  <a:pt x="207" y="374"/>
                </a:moveTo>
                <a:cubicBezTo>
                  <a:pt x="206" y="373"/>
                  <a:pt x="208" y="373"/>
                  <a:pt x="207" y="374"/>
                </a:cubicBezTo>
                <a:close/>
                <a:moveTo>
                  <a:pt x="207" y="387"/>
                </a:moveTo>
                <a:cubicBezTo>
                  <a:pt x="206" y="387"/>
                  <a:pt x="206" y="388"/>
                  <a:pt x="206" y="387"/>
                </a:cubicBezTo>
                <a:cubicBezTo>
                  <a:pt x="205" y="386"/>
                  <a:pt x="209" y="385"/>
                  <a:pt x="207" y="387"/>
                </a:cubicBezTo>
                <a:close/>
                <a:moveTo>
                  <a:pt x="204" y="211"/>
                </a:moveTo>
                <a:cubicBezTo>
                  <a:pt x="204" y="213"/>
                  <a:pt x="202" y="214"/>
                  <a:pt x="201" y="216"/>
                </a:cubicBezTo>
                <a:cubicBezTo>
                  <a:pt x="201" y="214"/>
                  <a:pt x="203" y="213"/>
                  <a:pt x="204" y="211"/>
                </a:cubicBezTo>
                <a:close/>
                <a:moveTo>
                  <a:pt x="202" y="326"/>
                </a:moveTo>
                <a:cubicBezTo>
                  <a:pt x="202" y="327"/>
                  <a:pt x="202" y="328"/>
                  <a:pt x="201" y="328"/>
                </a:cubicBezTo>
                <a:cubicBezTo>
                  <a:pt x="201" y="327"/>
                  <a:pt x="202" y="327"/>
                  <a:pt x="202" y="326"/>
                </a:cubicBezTo>
                <a:close/>
                <a:moveTo>
                  <a:pt x="205" y="387"/>
                </a:moveTo>
                <a:cubicBezTo>
                  <a:pt x="205" y="388"/>
                  <a:pt x="203" y="389"/>
                  <a:pt x="201" y="390"/>
                </a:cubicBezTo>
                <a:cubicBezTo>
                  <a:pt x="202" y="388"/>
                  <a:pt x="204" y="388"/>
                  <a:pt x="205" y="387"/>
                </a:cubicBezTo>
                <a:close/>
                <a:moveTo>
                  <a:pt x="196" y="218"/>
                </a:moveTo>
                <a:cubicBezTo>
                  <a:pt x="198" y="219"/>
                  <a:pt x="196" y="220"/>
                  <a:pt x="196" y="218"/>
                </a:cubicBezTo>
                <a:close/>
                <a:moveTo>
                  <a:pt x="196" y="249"/>
                </a:moveTo>
                <a:cubicBezTo>
                  <a:pt x="195" y="251"/>
                  <a:pt x="197" y="248"/>
                  <a:pt x="196" y="249"/>
                </a:cubicBezTo>
                <a:close/>
                <a:moveTo>
                  <a:pt x="198" y="349"/>
                </a:moveTo>
                <a:cubicBezTo>
                  <a:pt x="198" y="350"/>
                  <a:pt x="196" y="351"/>
                  <a:pt x="196" y="352"/>
                </a:cubicBezTo>
                <a:cubicBezTo>
                  <a:pt x="195" y="351"/>
                  <a:pt x="197" y="350"/>
                  <a:pt x="198" y="349"/>
                </a:cubicBezTo>
                <a:close/>
                <a:moveTo>
                  <a:pt x="196" y="296"/>
                </a:moveTo>
                <a:cubicBezTo>
                  <a:pt x="196" y="296"/>
                  <a:pt x="195" y="298"/>
                  <a:pt x="195" y="298"/>
                </a:cubicBezTo>
                <a:cubicBezTo>
                  <a:pt x="193" y="300"/>
                  <a:pt x="194" y="295"/>
                  <a:pt x="196" y="296"/>
                </a:cubicBezTo>
                <a:close/>
                <a:moveTo>
                  <a:pt x="194" y="353"/>
                </a:moveTo>
                <a:cubicBezTo>
                  <a:pt x="195" y="354"/>
                  <a:pt x="193" y="354"/>
                  <a:pt x="194" y="353"/>
                </a:cubicBezTo>
                <a:close/>
                <a:moveTo>
                  <a:pt x="192" y="213"/>
                </a:moveTo>
                <a:cubicBezTo>
                  <a:pt x="192" y="212"/>
                  <a:pt x="194" y="211"/>
                  <a:pt x="192" y="213"/>
                </a:cubicBezTo>
                <a:close/>
                <a:moveTo>
                  <a:pt x="193" y="252"/>
                </a:moveTo>
                <a:cubicBezTo>
                  <a:pt x="194" y="253"/>
                  <a:pt x="193" y="254"/>
                  <a:pt x="192" y="254"/>
                </a:cubicBezTo>
                <a:cubicBezTo>
                  <a:pt x="192" y="253"/>
                  <a:pt x="193" y="253"/>
                  <a:pt x="193" y="252"/>
                </a:cubicBezTo>
                <a:close/>
                <a:moveTo>
                  <a:pt x="193" y="354"/>
                </a:moveTo>
                <a:cubicBezTo>
                  <a:pt x="193" y="355"/>
                  <a:pt x="193" y="356"/>
                  <a:pt x="192" y="356"/>
                </a:cubicBezTo>
                <a:cubicBezTo>
                  <a:pt x="192" y="355"/>
                  <a:pt x="193" y="355"/>
                  <a:pt x="193" y="354"/>
                </a:cubicBezTo>
                <a:close/>
                <a:moveTo>
                  <a:pt x="192" y="305"/>
                </a:moveTo>
                <a:cubicBezTo>
                  <a:pt x="190" y="307"/>
                  <a:pt x="193" y="304"/>
                  <a:pt x="192" y="305"/>
                </a:cubicBezTo>
                <a:close/>
                <a:moveTo>
                  <a:pt x="188" y="397"/>
                </a:moveTo>
                <a:cubicBezTo>
                  <a:pt x="187" y="398"/>
                  <a:pt x="185" y="400"/>
                  <a:pt x="183" y="401"/>
                </a:cubicBezTo>
                <a:cubicBezTo>
                  <a:pt x="184" y="399"/>
                  <a:pt x="186" y="398"/>
                  <a:pt x="188" y="397"/>
                </a:cubicBezTo>
                <a:close/>
                <a:moveTo>
                  <a:pt x="184" y="384"/>
                </a:moveTo>
                <a:cubicBezTo>
                  <a:pt x="185" y="384"/>
                  <a:pt x="185" y="383"/>
                  <a:pt x="186" y="383"/>
                </a:cubicBezTo>
                <a:cubicBezTo>
                  <a:pt x="185" y="384"/>
                  <a:pt x="185" y="384"/>
                  <a:pt x="184" y="384"/>
                </a:cubicBezTo>
                <a:close/>
                <a:moveTo>
                  <a:pt x="184" y="243"/>
                </a:moveTo>
                <a:cubicBezTo>
                  <a:pt x="185" y="242"/>
                  <a:pt x="183" y="244"/>
                  <a:pt x="184" y="243"/>
                </a:cubicBezTo>
                <a:close/>
                <a:moveTo>
                  <a:pt x="182" y="186"/>
                </a:moveTo>
                <a:cubicBezTo>
                  <a:pt x="182" y="185"/>
                  <a:pt x="181" y="187"/>
                  <a:pt x="182" y="186"/>
                </a:cubicBezTo>
                <a:close/>
                <a:moveTo>
                  <a:pt x="184" y="243"/>
                </a:moveTo>
                <a:cubicBezTo>
                  <a:pt x="185" y="244"/>
                  <a:pt x="183" y="249"/>
                  <a:pt x="182" y="249"/>
                </a:cubicBezTo>
                <a:cubicBezTo>
                  <a:pt x="180" y="249"/>
                  <a:pt x="182" y="243"/>
                  <a:pt x="184" y="243"/>
                </a:cubicBezTo>
                <a:close/>
                <a:moveTo>
                  <a:pt x="177" y="208"/>
                </a:moveTo>
                <a:cubicBezTo>
                  <a:pt x="178" y="209"/>
                  <a:pt x="177" y="209"/>
                  <a:pt x="177" y="210"/>
                </a:cubicBezTo>
                <a:cubicBezTo>
                  <a:pt x="176" y="210"/>
                  <a:pt x="177" y="209"/>
                  <a:pt x="177" y="208"/>
                </a:cubicBezTo>
                <a:close/>
                <a:moveTo>
                  <a:pt x="182" y="322"/>
                </a:moveTo>
                <a:cubicBezTo>
                  <a:pt x="179" y="324"/>
                  <a:pt x="177" y="329"/>
                  <a:pt x="175" y="329"/>
                </a:cubicBezTo>
                <a:cubicBezTo>
                  <a:pt x="175" y="329"/>
                  <a:pt x="179" y="322"/>
                  <a:pt x="182" y="322"/>
                </a:cubicBezTo>
                <a:close/>
                <a:moveTo>
                  <a:pt x="180" y="403"/>
                </a:moveTo>
                <a:cubicBezTo>
                  <a:pt x="179" y="404"/>
                  <a:pt x="178" y="406"/>
                  <a:pt x="176" y="406"/>
                </a:cubicBezTo>
                <a:cubicBezTo>
                  <a:pt x="177" y="405"/>
                  <a:pt x="179" y="404"/>
                  <a:pt x="180" y="403"/>
                </a:cubicBezTo>
                <a:close/>
                <a:moveTo>
                  <a:pt x="178" y="383"/>
                </a:move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2"/>
                  <a:pt x="178" y="382"/>
                </a:cubicBezTo>
                <a:cubicBezTo>
                  <a:pt x="178" y="382"/>
                  <a:pt x="178" y="382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lose/>
                <a:moveTo>
                  <a:pt x="181" y="393"/>
                </a:moveTo>
                <a:cubicBezTo>
                  <a:pt x="181" y="393"/>
                  <a:pt x="180" y="395"/>
                  <a:pt x="180" y="395"/>
                </a:cubicBezTo>
                <a:cubicBezTo>
                  <a:pt x="178" y="397"/>
                  <a:pt x="179" y="392"/>
                  <a:pt x="181" y="393"/>
                </a:cubicBezTo>
                <a:close/>
                <a:moveTo>
                  <a:pt x="179" y="358"/>
                </a:moveTo>
                <a:cubicBezTo>
                  <a:pt x="179" y="358"/>
                  <a:pt x="180" y="359"/>
                  <a:pt x="180" y="359"/>
                </a:cubicBezTo>
                <a:cubicBezTo>
                  <a:pt x="180" y="360"/>
                  <a:pt x="178" y="359"/>
                  <a:pt x="179" y="358"/>
                </a:cubicBezTo>
                <a:close/>
                <a:moveTo>
                  <a:pt x="182" y="418"/>
                </a:moveTo>
                <a:cubicBezTo>
                  <a:pt x="183" y="416"/>
                  <a:pt x="187" y="412"/>
                  <a:pt x="190" y="410"/>
                </a:cubicBezTo>
                <a:cubicBezTo>
                  <a:pt x="190" y="410"/>
                  <a:pt x="190" y="408"/>
                  <a:pt x="191" y="409"/>
                </a:cubicBezTo>
                <a:cubicBezTo>
                  <a:pt x="192" y="410"/>
                  <a:pt x="189" y="414"/>
                  <a:pt x="189" y="414"/>
                </a:cubicBezTo>
                <a:cubicBezTo>
                  <a:pt x="188" y="415"/>
                  <a:pt x="186" y="415"/>
                  <a:pt x="184" y="417"/>
                </a:cubicBezTo>
                <a:cubicBezTo>
                  <a:pt x="180" y="419"/>
                  <a:pt x="178" y="424"/>
                  <a:pt x="174" y="426"/>
                </a:cubicBezTo>
                <a:cubicBezTo>
                  <a:pt x="174" y="422"/>
                  <a:pt x="180" y="421"/>
                  <a:pt x="182" y="418"/>
                </a:cubicBezTo>
                <a:close/>
                <a:moveTo>
                  <a:pt x="193" y="479"/>
                </a:moveTo>
                <a:cubicBezTo>
                  <a:pt x="192" y="481"/>
                  <a:pt x="192" y="479"/>
                  <a:pt x="193" y="479"/>
                </a:cubicBezTo>
                <a:close/>
                <a:moveTo>
                  <a:pt x="193" y="432"/>
                </a:moveTo>
                <a:cubicBezTo>
                  <a:pt x="194" y="432"/>
                  <a:pt x="193" y="433"/>
                  <a:pt x="193" y="432"/>
                </a:cubicBezTo>
                <a:cubicBezTo>
                  <a:pt x="192" y="432"/>
                  <a:pt x="193" y="432"/>
                  <a:pt x="193" y="432"/>
                </a:cubicBezTo>
                <a:close/>
                <a:moveTo>
                  <a:pt x="191" y="460"/>
                </a:moveTo>
                <a:cubicBezTo>
                  <a:pt x="192" y="458"/>
                  <a:pt x="193" y="460"/>
                  <a:pt x="191" y="460"/>
                </a:cubicBezTo>
                <a:close/>
                <a:moveTo>
                  <a:pt x="193" y="489"/>
                </a:moveTo>
                <a:cubicBezTo>
                  <a:pt x="193" y="490"/>
                  <a:pt x="192" y="491"/>
                  <a:pt x="191" y="491"/>
                </a:cubicBezTo>
                <a:cubicBezTo>
                  <a:pt x="189" y="492"/>
                  <a:pt x="191" y="487"/>
                  <a:pt x="193" y="489"/>
                </a:cubicBezTo>
                <a:close/>
                <a:moveTo>
                  <a:pt x="190" y="440"/>
                </a:moveTo>
                <a:cubicBezTo>
                  <a:pt x="189" y="439"/>
                  <a:pt x="191" y="438"/>
                  <a:pt x="191" y="439"/>
                </a:cubicBezTo>
                <a:cubicBezTo>
                  <a:pt x="191" y="439"/>
                  <a:pt x="190" y="440"/>
                  <a:pt x="190" y="440"/>
                </a:cubicBezTo>
                <a:close/>
                <a:moveTo>
                  <a:pt x="189" y="511"/>
                </a:moveTo>
                <a:cubicBezTo>
                  <a:pt x="189" y="511"/>
                  <a:pt x="189" y="512"/>
                  <a:pt x="188" y="511"/>
                </a:cubicBezTo>
                <a:cubicBezTo>
                  <a:pt x="188" y="511"/>
                  <a:pt x="189" y="510"/>
                  <a:pt x="189" y="511"/>
                </a:cubicBezTo>
                <a:close/>
                <a:moveTo>
                  <a:pt x="186" y="470"/>
                </a:moveTo>
                <a:cubicBezTo>
                  <a:pt x="185" y="469"/>
                  <a:pt x="188" y="469"/>
                  <a:pt x="188" y="470"/>
                </a:cubicBezTo>
                <a:cubicBezTo>
                  <a:pt x="189" y="471"/>
                  <a:pt x="186" y="472"/>
                  <a:pt x="186" y="470"/>
                </a:cubicBezTo>
                <a:close/>
                <a:moveTo>
                  <a:pt x="184" y="470"/>
                </a:moveTo>
                <a:cubicBezTo>
                  <a:pt x="185" y="471"/>
                  <a:pt x="184" y="472"/>
                  <a:pt x="183" y="472"/>
                </a:cubicBezTo>
                <a:cubicBezTo>
                  <a:pt x="180" y="474"/>
                  <a:pt x="182" y="469"/>
                  <a:pt x="184" y="470"/>
                </a:cubicBezTo>
                <a:close/>
                <a:moveTo>
                  <a:pt x="183" y="435"/>
                </a:moveTo>
                <a:cubicBezTo>
                  <a:pt x="183" y="434"/>
                  <a:pt x="182" y="436"/>
                  <a:pt x="183" y="435"/>
                </a:cubicBezTo>
                <a:close/>
                <a:moveTo>
                  <a:pt x="180" y="443"/>
                </a:moveTo>
                <a:cubicBezTo>
                  <a:pt x="180" y="443"/>
                  <a:pt x="179" y="443"/>
                  <a:pt x="179" y="443"/>
                </a:cubicBezTo>
                <a:cubicBezTo>
                  <a:pt x="178" y="445"/>
                  <a:pt x="180" y="440"/>
                  <a:pt x="180" y="443"/>
                </a:cubicBezTo>
                <a:close/>
                <a:moveTo>
                  <a:pt x="174" y="445"/>
                </a:moveTo>
                <a:cubicBezTo>
                  <a:pt x="173" y="446"/>
                  <a:pt x="174" y="444"/>
                  <a:pt x="174" y="445"/>
                </a:cubicBezTo>
                <a:close/>
                <a:moveTo>
                  <a:pt x="173" y="182"/>
                </a:moveTo>
                <a:cubicBezTo>
                  <a:pt x="172" y="182"/>
                  <a:pt x="174" y="180"/>
                  <a:pt x="173" y="182"/>
                </a:cubicBezTo>
                <a:close/>
                <a:moveTo>
                  <a:pt x="173" y="438"/>
                </a:moveTo>
                <a:cubicBezTo>
                  <a:pt x="174" y="437"/>
                  <a:pt x="172" y="440"/>
                  <a:pt x="173" y="438"/>
                </a:cubicBezTo>
                <a:close/>
                <a:moveTo>
                  <a:pt x="173" y="477"/>
                </a:moveTo>
                <a:cubicBezTo>
                  <a:pt x="172" y="478"/>
                  <a:pt x="172" y="478"/>
                  <a:pt x="170" y="478"/>
                </a:cubicBezTo>
                <a:cubicBezTo>
                  <a:pt x="171" y="478"/>
                  <a:pt x="171" y="477"/>
                  <a:pt x="173" y="477"/>
                </a:cubicBezTo>
                <a:close/>
                <a:moveTo>
                  <a:pt x="173" y="314"/>
                </a:move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lose/>
                <a:moveTo>
                  <a:pt x="171" y="307"/>
                </a:moveTo>
                <a:cubicBezTo>
                  <a:pt x="171" y="308"/>
                  <a:pt x="171" y="309"/>
                  <a:pt x="169" y="310"/>
                </a:cubicBezTo>
                <a:cubicBezTo>
                  <a:pt x="168" y="310"/>
                  <a:pt x="167" y="310"/>
                  <a:pt x="166" y="309"/>
                </a:cubicBezTo>
                <a:cubicBezTo>
                  <a:pt x="164" y="305"/>
                  <a:pt x="171" y="303"/>
                  <a:pt x="171" y="307"/>
                </a:cubicBezTo>
                <a:close/>
                <a:moveTo>
                  <a:pt x="168" y="501"/>
                </a:moveTo>
                <a:cubicBezTo>
                  <a:pt x="168" y="501"/>
                  <a:pt x="168" y="501"/>
                  <a:pt x="169" y="501"/>
                </a:cubicBezTo>
                <a:cubicBezTo>
                  <a:pt x="169" y="501"/>
                  <a:pt x="168" y="502"/>
                  <a:pt x="168" y="501"/>
                </a:cubicBezTo>
                <a:close/>
                <a:moveTo>
                  <a:pt x="166" y="342"/>
                </a:moveTo>
                <a:cubicBezTo>
                  <a:pt x="166" y="342"/>
                  <a:pt x="166" y="342"/>
                  <a:pt x="166" y="342"/>
                </a:cubicBezTo>
                <a:cubicBezTo>
                  <a:pt x="166" y="342"/>
                  <a:pt x="166" y="343"/>
                  <a:pt x="165" y="343"/>
                </a:cubicBezTo>
                <a:cubicBezTo>
                  <a:pt x="165" y="343"/>
                  <a:pt x="165" y="343"/>
                  <a:pt x="165" y="343"/>
                </a:cubicBezTo>
                <a:cubicBezTo>
                  <a:pt x="165" y="343"/>
                  <a:pt x="166" y="342"/>
                  <a:pt x="166" y="342"/>
                </a:cubicBezTo>
                <a:close/>
                <a:moveTo>
                  <a:pt x="165" y="307"/>
                </a:moveTo>
                <a:cubicBezTo>
                  <a:pt x="163" y="308"/>
                  <a:pt x="167" y="306"/>
                  <a:pt x="165" y="307"/>
                </a:cubicBezTo>
                <a:close/>
                <a:moveTo>
                  <a:pt x="164" y="344"/>
                </a:moveTo>
                <a:cubicBezTo>
                  <a:pt x="163" y="344"/>
                  <a:pt x="166" y="342"/>
                  <a:pt x="164" y="344"/>
                </a:cubicBezTo>
                <a:close/>
                <a:moveTo>
                  <a:pt x="165" y="345"/>
                </a:moveTo>
                <a:cubicBezTo>
                  <a:pt x="164" y="346"/>
                  <a:pt x="164" y="347"/>
                  <a:pt x="162" y="347"/>
                </a:cubicBezTo>
                <a:cubicBezTo>
                  <a:pt x="163" y="347"/>
                  <a:pt x="163" y="346"/>
                  <a:pt x="165" y="345"/>
                </a:cubicBezTo>
                <a:close/>
                <a:moveTo>
                  <a:pt x="161" y="347"/>
                </a:moveTo>
                <a:cubicBezTo>
                  <a:pt x="160" y="348"/>
                  <a:pt x="162" y="346"/>
                  <a:pt x="161" y="347"/>
                </a:cubicBezTo>
                <a:close/>
                <a:moveTo>
                  <a:pt x="160" y="350"/>
                </a:moveTo>
                <a:cubicBezTo>
                  <a:pt x="161" y="348"/>
                  <a:pt x="162" y="349"/>
                  <a:pt x="160" y="350"/>
                </a:cubicBezTo>
                <a:close/>
                <a:moveTo>
                  <a:pt x="168" y="370"/>
                </a:moveTo>
                <a:cubicBezTo>
                  <a:pt x="165" y="373"/>
                  <a:pt x="163" y="376"/>
                  <a:pt x="158" y="378"/>
                </a:cubicBezTo>
                <a:cubicBezTo>
                  <a:pt x="161" y="375"/>
                  <a:pt x="164" y="372"/>
                  <a:pt x="168" y="370"/>
                </a:cubicBezTo>
                <a:close/>
                <a:moveTo>
                  <a:pt x="167" y="392"/>
                </a:moveTo>
                <a:cubicBezTo>
                  <a:pt x="166" y="393"/>
                  <a:pt x="168" y="390"/>
                  <a:pt x="167" y="391"/>
                </a:cubicBezTo>
                <a:cubicBezTo>
                  <a:pt x="167" y="391"/>
                  <a:pt x="167" y="392"/>
                  <a:pt x="167" y="392"/>
                </a:cubicBezTo>
                <a:close/>
                <a:moveTo>
                  <a:pt x="168" y="424"/>
                </a:moveTo>
                <a:cubicBezTo>
                  <a:pt x="168" y="424"/>
                  <a:pt x="167" y="424"/>
                  <a:pt x="167" y="424"/>
                </a:cubicBezTo>
                <a:cubicBezTo>
                  <a:pt x="166" y="423"/>
                  <a:pt x="168" y="423"/>
                  <a:pt x="168" y="424"/>
                </a:cubicBezTo>
                <a:close/>
                <a:moveTo>
                  <a:pt x="161" y="457"/>
                </a:moveTo>
                <a:cubicBezTo>
                  <a:pt x="161" y="458"/>
                  <a:pt x="158" y="461"/>
                  <a:pt x="157" y="460"/>
                </a:cubicBezTo>
                <a:cubicBezTo>
                  <a:pt x="156" y="458"/>
                  <a:pt x="159" y="456"/>
                  <a:pt x="161" y="457"/>
                </a:cubicBezTo>
                <a:close/>
                <a:moveTo>
                  <a:pt x="157" y="477"/>
                </a:move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lose/>
                <a:moveTo>
                  <a:pt x="161" y="502"/>
                </a:moveTo>
                <a:cubicBezTo>
                  <a:pt x="161" y="503"/>
                  <a:pt x="159" y="504"/>
                  <a:pt x="159" y="503"/>
                </a:cubicBezTo>
                <a:cubicBezTo>
                  <a:pt x="159" y="502"/>
                  <a:pt x="160" y="501"/>
                  <a:pt x="161" y="502"/>
                </a:cubicBezTo>
                <a:close/>
                <a:moveTo>
                  <a:pt x="159" y="482"/>
                </a:moveTo>
                <a:cubicBezTo>
                  <a:pt x="158" y="483"/>
                  <a:pt x="160" y="481"/>
                  <a:pt x="159" y="482"/>
                </a:cubicBezTo>
                <a:close/>
                <a:moveTo>
                  <a:pt x="162" y="484"/>
                </a:moveTo>
                <a:cubicBezTo>
                  <a:pt x="163" y="484"/>
                  <a:pt x="162" y="485"/>
                  <a:pt x="161" y="485"/>
                </a:cubicBezTo>
                <a:cubicBezTo>
                  <a:pt x="160" y="486"/>
                  <a:pt x="161" y="483"/>
                  <a:pt x="162" y="484"/>
                </a:cubicBezTo>
                <a:close/>
                <a:moveTo>
                  <a:pt x="161" y="428"/>
                </a:moveTo>
                <a:cubicBezTo>
                  <a:pt x="162" y="429"/>
                  <a:pt x="160" y="432"/>
                  <a:pt x="160" y="432"/>
                </a:cubicBezTo>
                <a:cubicBezTo>
                  <a:pt x="155" y="435"/>
                  <a:pt x="158" y="426"/>
                  <a:pt x="161" y="428"/>
                </a:cubicBezTo>
                <a:close/>
                <a:moveTo>
                  <a:pt x="164" y="506"/>
                </a:moveTo>
                <a:cubicBezTo>
                  <a:pt x="165" y="507"/>
                  <a:pt x="160" y="510"/>
                  <a:pt x="159" y="510"/>
                </a:cubicBezTo>
                <a:cubicBezTo>
                  <a:pt x="154" y="511"/>
                  <a:pt x="163" y="505"/>
                  <a:pt x="164" y="506"/>
                </a:cubicBezTo>
                <a:close/>
                <a:moveTo>
                  <a:pt x="163" y="443"/>
                </a:moveTo>
                <a:cubicBezTo>
                  <a:pt x="163" y="443"/>
                  <a:pt x="163" y="444"/>
                  <a:pt x="162" y="444"/>
                </a:cubicBezTo>
                <a:cubicBezTo>
                  <a:pt x="162" y="443"/>
                  <a:pt x="163" y="443"/>
                  <a:pt x="163" y="443"/>
                </a:cubicBezTo>
                <a:close/>
                <a:moveTo>
                  <a:pt x="159" y="351"/>
                </a:moveTo>
                <a:cubicBezTo>
                  <a:pt x="159" y="351"/>
                  <a:pt x="159" y="350"/>
                  <a:pt x="160" y="350"/>
                </a:cubicBezTo>
                <a:cubicBezTo>
                  <a:pt x="160" y="350"/>
                  <a:pt x="160" y="351"/>
                  <a:pt x="159" y="351"/>
                </a:cubicBezTo>
                <a:close/>
                <a:moveTo>
                  <a:pt x="160" y="259"/>
                </a:moveTo>
                <a:cubicBezTo>
                  <a:pt x="160" y="259"/>
                  <a:pt x="160" y="260"/>
                  <a:pt x="160" y="260"/>
                </a:cubicBezTo>
                <a:cubicBezTo>
                  <a:pt x="159" y="261"/>
                  <a:pt x="158" y="258"/>
                  <a:pt x="160" y="259"/>
                </a:cubicBezTo>
                <a:close/>
                <a:moveTo>
                  <a:pt x="160" y="349"/>
                </a:moveTo>
                <a:cubicBezTo>
                  <a:pt x="159" y="350"/>
                  <a:pt x="159" y="350"/>
                  <a:pt x="158" y="351"/>
                </a:cubicBezTo>
                <a:cubicBezTo>
                  <a:pt x="158" y="350"/>
                  <a:pt x="159" y="349"/>
                  <a:pt x="160" y="349"/>
                </a:cubicBezTo>
                <a:close/>
                <a:moveTo>
                  <a:pt x="159" y="352"/>
                </a:moveTo>
                <a:cubicBezTo>
                  <a:pt x="158" y="352"/>
                  <a:pt x="158" y="353"/>
                  <a:pt x="157" y="353"/>
                </a:cubicBezTo>
                <a:cubicBezTo>
                  <a:pt x="157" y="352"/>
                  <a:pt x="158" y="352"/>
                  <a:pt x="159" y="352"/>
                </a:cubicBezTo>
                <a:close/>
                <a:moveTo>
                  <a:pt x="156" y="354"/>
                </a:moveTo>
                <a:cubicBezTo>
                  <a:pt x="155" y="355"/>
                  <a:pt x="158" y="353"/>
                  <a:pt x="156" y="354"/>
                </a:cubicBezTo>
                <a:close/>
                <a:moveTo>
                  <a:pt x="157" y="415"/>
                </a:moveTo>
                <a:cubicBezTo>
                  <a:pt x="158" y="416"/>
                  <a:pt x="157" y="417"/>
                  <a:pt x="156" y="417"/>
                </a:cubicBezTo>
                <a:cubicBezTo>
                  <a:pt x="156" y="416"/>
                  <a:pt x="157" y="416"/>
                  <a:pt x="157" y="415"/>
                </a:cubicBezTo>
                <a:close/>
                <a:moveTo>
                  <a:pt x="133" y="461"/>
                </a:moveTo>
                <a:cubicBezTo>
                  <a:pt x="137" y="457"/>
                  <a:pt x="142" y="453"/>
                  <a:pt x="148" y="450"/>
                </a:cubicBezTo>
                <a:cubicBezTo>
                  <a:pt x="143" y="454"/>
                  <a:pt x="138" y="457"/>
                  <a:pt x="133" y="461"/>
                </a:cubicBezTo>
                <a:close/>
                <a:moveTo>
                  <a:pt x="138" y="463"/>
                </a:moveTo>
                <a:cubicBezTo>
                  <a:pt x="138" y="464"/>
                  <a:pt x="137" y="464"/>
                  <a:pt x="137" y="463"/>
                </a:cubicBezTo>
                <a:cubicBezTo>
                  <a:pt x="136" y="462"/>
                  <a:pt x="138" y="463"/>
                  <a:pt x="138" y="463"/>
                </a:cubicBezTo>
                <a:close/>
                <a:moveTo>
                  <a:pt x="147" y="446"/>
                </a:moveTo>
                <a:cubicBezTo>
                  <a:pt x="146" y="446"/>
                  <a:pt x="145" y="447"/>
                  <a:pt x="145" y="447"/>
                </a:cubicBezTo>
                <a:cubicBezTo>
                  <a:pt x="144" y="446"/>
                  <a:pt x="152" y="439"/>
                  <a:pt x="153" y="440"/>
                </a:cubicBezTo>
                <a:cubicBezTo>
                  <a:pt x="154" y="440"/>
                  <a:pt x="147" y="446"/>
                  <a:pt x="147" y="446"/>
                </a:cubicBezTo>
                <a:close/>
                <a:moveTo>
                  <a:pt x="148" y="401"/>
                </a:moveTo>
                <a:cubicBezTo>
                  <a:pt x="151" y="399"/>
                  <a:pt x="146" y="402"/>
                  <a:pt x="148" y="401"/>
                </a:cubicBezTo>
                <a:close/>
                <a:moveTo>
                  <a:pt x="150" y="439"/>
                </a:moveTo>
                <a:cubicBezTo>
                  <a:pt x="150" y="440"/>
                  <a:pt x="149" y="440"/>
                  <a:pt x="148" y="440"/>
                </a:cubicBezTo>
                <a:cubicBezTo>
                  <a:pt x="148" y="439"/>
                  <a:pt x="149" y="439"/>
                  <a:pt x="150" y="439"/>
                </a:cubicBezTo>
                <a:close/>
                <a:moveTo>
                  <a:pt x="151" y="379"/>
                </a:moveTo>
                <a:cubicBezTo>
                  <a:pt x="150" y="380"/>
                  <a:pt x="151" y="378"/>
                  <a:pt x="151" y="379"/>
                </a:cubicBezTo>
                <a:close/>
                <a:moveTo>
                  <a:pt x="153" y="447"/>
                </a:moveTo>
                <a:cubicBezTo>
                  <a:pt x="153" y="449"/>
                  <a:pt x="150" y="449"/>
                  <a:pt x="149" y="450"/>
                </a:cubicBezTo>
                <a:cubicBezTo>
                  <a:pt x="149" y="449"/>
                  <a:pt x="152" y="448"/>
                  <a:pt x="153" y="447"/>
                </a:cubicBezTo>
                <a:close/>
                <a:moveTo>
                  <a:pt x="156" y="472"/>
                </a:moveTo>
                <a:cubicBezTo>
                  <a:pt x="155" y="473"/>
                  <a:pt x="152" y="475"/>
                  <a:pt x="151" y="475"/>
                </a:cubicBezTo>
                <a:cubicBezTo>
                  <a:pt x="151" y="475"/>
                  <a:pt x="154" y="471"/>
                  <a:pt x="156" y="472"/>
                </a:cubicBezTo>
                <a:close/>
                <a:moveTo>
                  <a:pt x="156" y="435"/>
                </a:moveTo>
                <a:cubicBezTo>
                  <a:pt x="156" y="435"/>
                  <a:pt x="156" y="435"/>
                  <a:pt x="157" y="435"/>
                </a:cubicBezTo>
                <a:cubicBezTo>
                  <a:pt x="156" y="435"/>
                  <a:pt x="156" y="435"/>
                  <a:pt x="156" y="435"/>
                </a:cubicBezTo>
                <a:cubicBezTo>
                  <a:pt x="156" y="435"/>
                  <a:pt x="156" y="435"/>
                  <a:pt x="156" y="435"/>
                </a:cubicBezTo>
                <a:close/>
                <a:moveTo>
                  <a:pt x="155" y="447"/>
                </a:moveTo>
                <a:cubicBezTo>
                  <a:pt x="155" y="447"/>
                  <a:pt x="154" y="448"/>
                  <a:pt x="154" y="447"/>
                </a:cubicBezTo>
                <a:cubicBezTo>
                  <a:pt x="153" y="446"/>
                  <a:pt x="156" y="445"/>
                  <a:pt x="155" y="447"/>
                </a:cubicBezTo>
                <a:close/>
                <a:moveTo>
                  <a:pt x="155" y="434"/>
                </a:moveTo>
                <a:cubicBezTo>
                  <a:pt x="155" y="434"/>
                  <a:pt x="154" y="435"/>
                  <a:pt x="154" y="435"/>
                </a:cubicBezTo>
                <a:cubicBezTo>
                  <a:pt x="152" y="437"/>
                  <a:pt x="153" y="432"/>
                  <a:pt x="155" y="434"/>
                </a:cubicBezTo>
                <a:close/>
                <a:moveTo>
                  <a:pt x="152" y="391"/>
                </a:moveTo>
                <a:cubicBezTo>
                  <a:pt x="153" y="391"/>
                  <a:pt x="152" y="392"/>
                  <a:pt x="152" y="392"/>
                </a:cubicBezTo>
                <a:cubicBezTo>
                  <a:pt x="151" y="393"/>
                  <a:pt x="151" y="390"/>
                  <a:pt x="152" y="391"/>
                </a:cubicBezTo>
                <a:close/>
                <a:moveTo>
                  <a:pt x="151" y="438"/>
                </a:moveTo>
                <a:cubicBezTo>
                  <a:pt x="152" y="436"/>
                  <a:pt x="154" y="438"/>
                  <a:pt x="151" y="438"/>
                </a:cubicBezTo>
                <a:close/>
                <a:moveTo>
                  <a:pt x="151" y="253"/>
                </a:moveTo>
                <a:cubicBezTo>
                  <a:pt x="151" y="253"/>
                  <a:pt x="151" y="254"/>
                  <a:pt x="150" y="254"/>
                </a:cubicBezTo>
                <a:cubicBezTo>
                  <a:pt x="150" y="253"/>
                  <a:pt x="151" y="252"/>
                  <a:pt x="151" y="253"/>
                </a:cubicBezTo>
                <a:close/>
                <a:moveTo>
                  <a:pt x="150" y="436"/>
                </a:moveTo>
                <a:cubicBezTo>
                  <a:pt x="151" y="436"/>
                  <a:pt x="150" y="437"/>
                  <a:pt x="150" y="437"/>
                </a:cubicBezTo>
                <a:cubicBezTo>
                  <a:pt x="149" y="439"/>
                  <a:pt x="149" y="435"/>
                  <a:pt x="150" y="436"/>
                </a:cubicBezTo>
                <a:close/>
                <a:moveTo>
                  <a:pt x="149" y="322"/>
                </a:moveTo>
                <a:cubicBezTo>
                  <a:pt x="149" y="323"/>
                  <a:pt x="148" y="322"/>
                  <a:pt x="149" y="322"/>
                </a:cubicBezTo>
                <a:close/>
                <a:moveTo>
                  <a:pt x="149" y="365"/>
                </a:moveTo>
                <a:cubicBezTo>
                  <a:pt x="149" y="366"/>
                  <a:pt x="147" y="366"/>
                  <a:pt x="148" y="365"/>
                </a:cubicBezTo>
                <a:cubicBezTo>
                  <a:pt x="148" y="365"/>
                  <a:pt x="149" y="365"/>
                  <a:pt x="149" y="365"/>
                </a:cubicBezTo>
                <a:close/>
                <a:moveTo>
                  <a:pt x="147" y="197"/>
                </a:moveTo>
                <a:cubicBezTo>
                  <a:pt x="146" y="198"/>
                  <a:pt x="146" y="198"/>
                  <a:pt x="145" y="197"/>
                </a:cubicBezTo>
                <a:cubicBezTo>
                  <a:pt x="142" y="194"/>
                  <a:pt x="150" y="194"/>
                  <a:pt x="147" y="197"/>
                </a:cubicBezTo>
                <a:close/>
                <a:moveTo>
                  <a:pt x="145" y="359"/>
                </a:moveTo>
                <a:cubicBezTo>
                  <a:pt x="147" y="359"/>
                  <a:pt x="145" y="362"/>
                  <a:pt x="145" y="362"/>
                </a:cubicBezTo>
                <a:cubicBezTo>
                  <a:pt x="143" y="363"/>
                  <a:pt x="143" y="358"/>
                  <a:pt x="145" y="359"/>
                </a:cubicBezTo>
                <a:close/>
                <a:moveTo>
                  <a:pt x="145" y="402"/>
                </a:moveTo>
                <a:cubicBezTo>
                  <a:pt x="145" y="404"/>
                  <a:pt x="144" y="404"/>
                  <a:pt x="143" y="405"/>
                </a:cubicBezTo>
                <a:cubicBezTo>
                  <a:pt x="143" y="404"/>
                  <a:pt x="144" y="403"/>
                  <a:pt x="145" y="402"/>
                </a:cubicBezTo>
                <a:close/>
                <a:moveTo>
                  <a:pt x="132" y="456"/>
                </a:moveTo>
                <a:cubicBezTo>
                  <a:pt x="134" y="453"/>
                  <a:pt x="139" y="450"/>
                  <a:pt x="143" y="448"/>
                </a:cubicBezTo>
                <a:cubicBezTo>
                  <a:pt x="139" y="451"/>
                  <a:pt x="137" y="455"/>
                  <a:pt x="132" y="456"/>
                </a:cubicBezTo>
                <a:close/>
                <a:moveTo>
                  <a:pt x="131" y="395"/>
                </a:moveTo>
                <a:cubicBezTo>
                  <a:pt x="132" y="394"/>
                  <a:pt x="132" y="393"/>
                  <a:pt x="134" y="393"/>
                </a:cubicBezTo>
                <a:cubicBezTo>
                  <a:pt x="134" y="393"/>
                  <a:pt x="132" y="395"/>
                  <a:pt x="131" y="395"/>
                </a:cubicBezTo>
                <a:close/>
                <a:moveTo>
                  <a:pt x="134" y="448"/>
                </a:moveTo>
                <a:cubicBezTo>
                  <a:pt x="134" y="448"/>
                  <a:pt x="133" y="449"/>
                  <a:pt x="133" y="448"/>
                </a:cubicBezTo>
                <a:cubicBezTo>
                  <a:pt x="132" y="447"/>
                  <a:pt x="135" y="447"/>
                  <a:pt x="134" y="448"/>
                </a:cubicBezTo>
                <a:close/>
                <a:moveTo>
                  <a:pt x="132" y="422"/>
                </a:moveTo>
                <a:cubicBezTo>
                  <a:pt x="131" y="421"/>
                  <a:pt x="131" y="420"/>
                  <a:pt x="132" y="420"/>
                </a:cubicBezTo>
                <a:cubicBezTo>
                  <a:pt x="133" y="420"/>
                  <a:pt x="134" y="421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5" y="424"/>
                  <a:pt x="130" y="426"/>
                  <a:pt x="130" y="423"/>
                </a:cubicBezTo>
                <a:cubicBezTo>
                  <a:pt x="130" y="422"/>
                  <a:pt x="131" y="422"/>
                  <a:pt x="132" y="422"/>
                </a:cubicBezTo>
                <a:close/>
                <a:moveTo>
                  <a:pt x="138" y="416"/>
                </a:moveTo>
                <a:cubicBezTo>
                  <a:pt x="137" y="417"/>
                  <a:pt x="139" y="415"/>
                  <a:pt x="138" y="416"/>
                </a:cubicBezTo>
                <a:close/>
                <a:moveTo>
                  <a:pt x="139" y="433"/>
                </a:moveTo>
                <a:cubicBezTo>
                  <a:pt x="139" y="432"/>
                  <a:pt x="139" y="432"/>
                  <a:pt x="139" y="432"/>
                </a:cubicBezTo>
                <a:cubicBezTo>
                  <a:pt x="139" y="430"/>
                  <a:pt x="141" y="433"/>
                  <a:pt x="139" y="433"/>
                </a:cubicBezTo>
                <a:close/>
                <a:moveTo>
                  <a:pt x="140" y="443"/>
                </a:moveTo>
                <a:cubicBezTo>
                  <a:pt x="140" y="443"/>
                  <a:pt x="141" y="443"/>
                  <a:pt x="141" y="444"/>
                </a:cubicBezTo>
                <a:cubicBezTo>
                  <a:pt x="141" y="444"/>
                  <a:pt x="140" y="444"/>
                  <a:pt x="140" y="443"/>
                </a:cubicBezTo>
                <a:close/>
                <a:moveTo>
                  <a:pt x="142" y="387"/>
                </a:moveTo>
                <a:cubicBezTo>
                  <a:pt x="141" y="387"/>
                  <a:pt x="144" y="386"/>
                  <a:pt x="142" y="387"/>
                </a:cubicBezTo>
                <a:close/>
                <a:moveTo>
                  <a:pt x="142" y="436"/>
                </a:moveTo>
                <a:cubicBezTo>
                  <a:pt x="143" y="436"/>
                  <a:pt x="142" y="439"/>
                  <a:pt x="141" y="437"/>
                </a:cubicBezTo>
                <a:cubicBezTo>
                  <a:pt x="141" y="436"/>
                  <a:pt x="142" y="436"/>
                  <a:pt x="142" y="436"/>
                </a:cubicBezTo>
                <a:close/>
                <a:moveTo>
                  <a:pt x="142" y="387"/>
                </a:moveTo>
                <a:cubicBezTo>
                  <a:pt x="141" y="389"/>
                  <a:pt x="139" y="391"/>
                  <a:pt x="137" y="392"/>
                </a:cubicBezTo>
                <a:cubicBezTo>
                  <a:pt x="137" y="392"/>
                  <a:pt x="139" y="388"/>
                  <a:pt x="142" y="387"/>
                </a:cubicBezTo>
                <a:close/>
                <a:moveTo>
                  <a:pt x="136" y="246"/>
                </a:moveTo>
                <a:cubicBezTo>
                  <a:pt x="135" y="246"/>
                  <a:pt x="137" y="245"/>
                  <a:pt x="136" y="246"/>
                </a:cubicBezTo>
                <a:close/>
                <a:moveTo>
                  <a:pt x="134" y="301"/>
                </a:moveTo>
                <a:cubicBezTo>
                  <a:pt x="134" y="298"/>
                  <a:pt x="136" y="300"/>
                  <a:pt x="134" y="301"/>
                </a:cubicBezTo>
                <a:close/>
                <a:moveTo>
                  <a:pt x="135" y="342"/>
                </a:moveTo>
                <a:cubicBezTo>
                  <a:pt x="135" y="343"/>
                  <a:pt x="134" y="344"/>
                  <a:pt x="134" y="345"/>
                </a:cubicBezTo>
                <a:cubicBezTo>
                  <a:pt x="133" y="344"/>
                  <a:pt x="134" y="342"/>
                  <a:pt x="135" y="342"/>
                </a:cubicBezTo>
                <a:close/>
                <a:moveTo>
                  <a:pt x="129" y="351"/>
                </a:moveTo>
                <a:cubicBezTo>
                  <a:pt x="129" y="350"/>
                  <a:pt x="132" y="348"/>
                  <a:pt x="132" y="346"/>
                </a:cubicBezTo>
                <a:cubicBezTo>
                  <a:pt x="133" y="347"/>
                  <a:pt x="130" y="349"/>
                  <a:pt x="129" y="351"/>
                </a:cubicBezTo>
                <a:close/>
                <a:moveTo>
                  <a:pt x="132" y="280"/>
                </a:moveTo>
                <a:cubicBezTo>
                  <a:pt x="132" y="282"/>
                  <a:pt x="130" y="281"/>
                  <a:pt x="132" y="280"/>
                </a:cubicBezTo>
                <a:close/>
                <a:moveTo>
                  <a:pt x="129" y="305"/>
                </a:moveTo>
                <a:cubicBezTo>
                  <a:pt x="131" y="306"/>
                  <a:pt x="130" y="307"/>
                  <a:pt x="129" y="307"/>
                </a:cubicBezTo>
                <a:cubicBezTo>
                  <a:pt x="127" y="309"/>
                  <a:pt x="128" y="305"/>
                  <a:pt x="129" y="305"/>
                </a:cubicBezTo>
                <a:close/>
                <a:moveTo>
                  <a:pt x="118" y="327"/>
                </a:moveTo>
                <a:cubicBezTo>
                  <a:pt x="118" y="327"/>
                  <a:pt x="117" y="327"/>
                  <a:pt x="117" y="326"/>
                </a:cubicBezTo>
                <a:cubicBezTo>
                  <a:pt x="117" y="326"/>
                  <a:pt x="119" y="326"/>
                  <a:pt x="118" y="327"/>
                </a:cubicBezTo>
                <a:close/>
                <a:moveTo>
                  <a:pt x="118" y="336"/>
                </a:moveTo>
                <a:cubicBezTo>
                  <a:pt x="118" y="336"/>
                  <a:pt x="118" y="337"/>
                  <a:pt x="117" y="336"/>
                </a:cubicBezTo>
                <a:cubicBezTo>
                  <a:pt x="117" y="336"/>
                  <a:pt x="119" y="334"/>
                  <a:pt x="118" y="336"/>
                </a:cubicBezTo>
                <a:close/>
                <a:moveTo>
                  <a:pt x="115" y="336"/>
                </a:moveTo>
                <a:cubicBezTo>
                  <a:pt x="116" y="335"/>
                  <a:pt x="114" y="337"/>
                  <a:pt x="115" y="336"/>
                </a:cubicBezTo>
                <a:close/>
                <a:moveTo>
                  <a:pt x="115" y="386"/>
                </a:moveTo>
                <a:cubicBezTo>
                  <a:pt x="116" y="387"/>
                  <a:pt x="115" y="387"/>
                  <a:pt x="114" y="387"/>
                </a:cubicBezTo>
                <a:cubicBezTo>
                  <a:pt x="114" y="388"/>
                  <a:pt x="115" y="386"/>
                  <a:pt x="115" y="386"/>
                </a:cubicBezTo>
                <a:close/>
                <a:moveTo>
                  <a:pt x="114" y="388"/>
                </a:moveTo>
                <a:cubicBezTo>
                  <a:pt x="114" y="389"/>
                  <a:pt x="113" y="389"/>
                  <a:pt x="113" y="390"/>
                </a:cubicBezTo>
                <a:cubicBezTo>
                  <a:pt x="112" y="390"/>
                  <a:pt x="113" y="388"/>
                  <a:pt x="114" y="388"/>
                </a:cubicBezTo>
                <a:close/>
                <a:moveTo>
                  <a:pt x="111" y="394"/>
                </a:moveTo>
                <a:cubicBezTo>
                  <a:pt x="110" y="393"/>
                  <a:pt x="112" y="392"/>
                  <a:pt x="112" y="391"/>
                </a:cubicBezTo>
                <a:cubicBezTo>
                  <a:pt x="113" y="392"/>
                  <a:pt x="111" y="393"/>
                  <a:pt x="111" y="394"/>
                </a:cubicBezTo>
                <a:close/>
                <a:moveTo>
                  <a:pt x="112" y="243"/>
                </a:moveTo>
                <a:cubicBezTo>
                  <a:pt x="111" y="245"/>
                  <a:pt x="111" y="241"/>
                  <a:pt x="112" y="242"/>
                </a:cubicBezTo>
                <a:cubicBezTo>
                  <a:pt x="113" y="242"/>
                  <a:pt x="112" y="243"/>
                  <a:pt x="112" y="243"/>
                </a:cubicBezTo>
                <a:close/>
                <a:moveTo>
                  <a:pt x="115" y="433"/>
                </a:moveTo>
                <a:cubicBezTo>
                  <a:pt x="111" y="434"/>
                  <a:pt x="116" y="429"/>
                  <a:pt x="116" y="432"/>
                </a:cubicBezTo>
                <a:cubicBezTo>
                  <a:pt x="116" y="432"/>
                  <a:pt x="115" y="433"/>
                  <a:pt x="115" y="433"/>
                </a:cubicBezTo>
                <a:close/>
                <a:moveTo>
                  <a:pt x="116" y="435"/>
                </a:moveTo>
                <a:cubicBezTo>
                  <a:pt x="115" y="436"/>
                  <a:pt x="117" y="434"/>
                  <a:pt x="116" y="435"/>
                </a:cubicBezTo>
                <a:close/>
                <a:moveTo>
                  <a:pt x="113" y="417"/>
                </a:moveTo>
                <a:cubicBezTo>
                  <a:pt x="115" y="413"/>
                  <a:pt x="118" y="409"/>
                  <a:pt x="121" y="406"/>
                </a:cubicBezTo>
                <a:cubicBezTo>
                  <a:pt x="119" y="410"/>
                  <a:pt x="117" y="414"/>
                  <a:pt x="113" y="417"/>
                </a:cubicBezTo>
                <a:close/>
                <a:moveTo>
                  <a:pt x="121" y="276"/>
                </a:moveTo>
                <a:cubicBezTo>
                  <a:pt x="121" y="276"/>
                  <a:pt x="121" y="277"/>
                  <a:pt x="121" y="277"/>
                </a:cubicBezTo>
                <a:cubicBezTo>
                  <a:pt x="120" y="276"/>
                  <a:pt x="122" y="275"/>
                  <a:pt x="121" y="276"/>
                </a:cubicBezTo>
                <a:close/>
                <a:moveTo>
                  <a:pt x="122" y="193"/>
                </a:moveTo>
                <a:cubicBezTo>
                  <a:pt x="123" y="193"/>
                  <a:pt x="123" y="195"/>
                  <a:pt x="122" y="195"/>
                </a:cubicBezTo>
                <a:cubicBezTo>
                  <a:pt x="121" y="197"/>
                  <a:pt x="121" y="192"/>
                  <a:pt x="122" y="193"/>
                </a:cubicBezTo>
                <a:close/>
                <a:moveTo>
                  <a:pt x="122" y="472"/>
                </a:moveTo>
                <a:cubicBezTo>
                  <a:pt x="122" y="473"/>
                  <a:pt x="121" y="474"/>
                  <a:pt x="120" y="475"/>
                </a:cubicBezTo>
                <a:cubicBezTo>
                  <a:pt x="120" y="474"/>
                  <a:pt x="121" y="472"/>
                  <a:pt x="122" y="472"/>
                </a:cubicBezTo>
                <a:close/>
                <a:moveTo>
                  <a:pt x="120" y="461"/>
                </a:moveTo>
                <a:cubicBezTo>
                  <a:pt x="121" y="463"/>
                  <a:pt x="118" y="467"/>
                  <a:pt x="116" y="466"/>
                </a:cubicBezTo>
                <a:cubicBezTo>
                  <a:pt x="115" y="464"/>
                  <a:pt x="119" y="462"/>
                  <a:pt x="120" y="461"/>
                </a:cubicBezTo>
                <a:close/>
                <a:moveTo>
                  <a:pt x="111" y="479"/>
                </a:moveTo>
                <a:cubicBezTo>
                  <a:pt x="110" y="481"/>
                  <a:pt x="109" y="480"/>
                  <a:pt x="111" y="479"/>
                </a:cubicBezTo>
                <a:close/>
                <a:moveTo>
                  <a:pt x="110" y="496"/>
                </a:moveTo>
                <a:cubicBezTo>
                  <a:pt x="111" y="495"/>
                  <a:pt x="109" y="497"/>
                  <a:pt x="110" y="496"/>
                </a:cubicBezTo>
                <a:close/>
                <a:moveTo>
                  <a:pt x="107" y="477"/>
                </a:moveTo>
                <a:cubicBezTo>
                  <a:pt x="107" y="476"/>
                  <a:pt x="106" y="478"/>
                  <a:pt x="107" y="477"/>
                </a:cubicBezTo>
                <a:close/>
                <a:moveTo>
                  <a:pt x="109" y="509"/>
                </a:moveTo>
                <a:cubicBezTo>
                  <a:pt x="108" y="510"/>
                  <a:pt x="107" y="509"/>
                  <a:pt x="106" y="508"/>
                </a:cubicBezTo>
                <a:cubicBezTo>
                  <a:pt x="104" y="505"/>
                  <a:pt x="110" y="501"/>
                  <a:pt x="111" y="503"/>
                </a:cubicBezTo>
                <a:cubicBezTo>
                  <a:pt x="114" y="504"/>
                  <a:pt x="111" y="509"/>
                  <a:pt x="109" y="509"/>
                </a:cubicBezTo>
                <a:close/>
                <a:moveTo>
                  <a:pt x="115" y="501"/>
                </a:moveTo>
                <a:cubicBezTo>
                  <a:pt x="115" y="499"/>
                  <a:pt x="117" y="501"/>
                  <a:pt x="115" y="501"/>
                </a:cubicBezTo>
                <a:close/>
                <a:moveTo>
                  <a:pt x="115" y="498"/>
                </a:moveTo>
                <a:cubicBezTo>
                  <a:pt x="115" y="498"/>
                  <a:pt x="115" y="498"/>
                  <a:pt x="115" y="498"/>
                </a:cubicBezTo>
                <a:cubicBezTo>
                  <a:pt x="115" y="499"/>
                  <a:pt x="115" y="499"/>
                  <a:pt x="115" y="499"/>
                </a:cubicBezTo>
                <a:cubicBezTo>
                  <a:pt x="114" y="500"/>
                  <a:pt x="114" y="500"/>
                  <a:pt x="114" y="501"/>
                </a:cubicBezTo>
                <a:cubicBezTo>
                  <a:pt x="114" y="501"/>
                  <a:pt x="114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1"/>
                  <a:pt x="113" y="501"/>
                </a:cubicBezTo>
                <a:cubicBezTo>
                  <a:pt x="114" y="499"/>
                  <a:pt x="115" y="496"/>
                  <a:pt x="116" y="494"/>
                </a:cubicBezTo>
                <a:cubicBezTo>
                  <a:pt x="116" y="495"/>
                  <a:pt x="116" y="497"/>
                  <a:pt x="115" y="498"/>
                </a:cubicBezTo>
                <a:close/>
                <a:moveTo>
                  <a:pt x="115" y="482"/>
                </a:moveTo>
                <a:cubicBezTo>
                  <a:pt x="116" y="481"/>
                  <a:pt x="118" y="481"/>
                  <a:pt x="120" y="480"/>
                </a:cubicBezTo>
                <a:cubicBezTo>
                  <a:pt x="119" y="482"/>
                  <a:pt x="117" y="482"/>
                  <a:pt x="115" y="482"/>
                </a:cubicBezTo>
                <a:close/>
                <a:moveTo>
                  <a:pt x="121" y="500"/>
                </a:moveTo>
                <a:cubicBezTo>
                  <a:pt x="122" y="501"/>
                  <a:pt x="121" y="503"/>
                  <a:pt x="119" y="503"/>
                </a:cubicBezTo>
                <a:cubicBezTo>
                  <a:pt x="117" y="502"/>
                  <a:pt x="119" y="499"/>
                  <a:pt x="121" y="500"/>
                </a:cubicBezTo>
                <a:cubicBezTo>
                  <a:pt x="119" y="498"/>
                  <a:pt x="121" y="493"/>
                  <a:pt x="124" y="494"/>
                </a:cubicBezTo>
                <a:cubicBezTo>
                  <a:pt x="128" y="495"/>
                  <a:pt x="124" y="503"/>
                  <a:pt x="121" y="500"/>
                </a:cubicBezTo>
                <a:close/>
                <a:moveTo>
                  <a:pt x="123" y="425"/>
                </a:moveTo>
                <a:cubicBezTo>
                  <a:pt x="123" y="425"/>
                  <a:pt x="123" y="424"/>
                  <a:pt x="124" y="424"/>
                </a:cubicBezTo>
                <a:cubicBezTo>
                  <a:pt x="124" y="424"/>
                  <a:pt x="123" y="425"/>
                  <a:pt x="123" y="425"/>
                </a:cubicBezTo>
                <a:close/>
                <a:moveTo>
                  <a:pt x="123" y="474"/>
                </a:moveTo>
                <a:cubicBezTo>
                  <a:pt x="123" y="472"/>
                  <a:pt x="125" y="474"/>
                  <a:pt x="123" y="474"/>
                </a:cubicBezTo>
                <a:close/>
                <a:moveTo>
                  <a:pt x="123" y="471"/>
                </a:moveTo>
                <a:cubicBezTo>
                  <a:pt x="125" y="469"/>
                  <a:pt x="122" y="472"/>
                  <a:pt x="123" y="471"/>
                </a:cubicBezTo>
                <a:close/>
                <a:moveTo>
                  <a:pt x="126" y="472"/>
                </a:moveTo>
                <a:cubicBezTo>
                  <a:pt x="126" y="472"/>
                  <a:pt x="126" y="472"/>
                  <a:pt x="126" y="472"/>
                </a:cubicBezTo>
                <a:cubicBezTo>
                  <a:pt x="125" y="472"/>
                  <a:pt x="125" y="473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lose/>
                <a:moveTo>
                  <a:pt x="127" y="431"/>
                </a:moveTo>
                <a:cubicBezTo>
                  <a:pt x="127" y="431"/>
                  <a:pt x="128" y="431"/>
                  <a:pt x="127" y="432"/>
                </a:cubicBezTo>
                <a:cubicBezTo>
                  <a:pt x="127" y="433"/>
                  <a:pt x="126" y="431"/>
                  <a:pt x="127" y="431"/>
                </a:cubicBezTo>
                <a:close/>
                <a:moveTo>
                  <a:pt x="127" y="501"/>
                </a:moveTo>
                <a:cubicBezTo>
                  <a:pt x="127" y="500"/>
                  <a:pt x="127" y="500"/>
                  <a:pt x="127" y="500"/>
                </a:cubicBezTo>
                <a:cubicBezTo>
                  <a:pt x="127" y="498"/>
                  <a:pt x="129" y="501"/>
                  <a:pt x="127" y="501"/>
                </a:cubicBezTo>
                <a:close/>
                <a:moveTo>
                  <a:pt x="128" y="501"/>
                </a:moveTo>
                <a:cubicBezTo>
                  <a:pt x="127" y="502"/>
                  <a:pt x="128" y="499"/>
                  <a:pt x="129" y="500"/>
                </a:cubicBezTo>
                <a:cubicBezTo>
                  <a:pt x="130" y="501"/>
                  <a:pt x="129" y="501"/>
                  <a:pt x="128" y="501"/>
                </a:cubicBezTo>
                <a:close/>
                <a:moveTo>
                  <a:pt x="128" y="456"/>
                </a:moveTo>
                <a:cubicBezTo>
                  <a:pt x="129" y="455"/>
                  <a:pt x="127" y="457"/>
                  <a:pt x="128" y="456"/>
                </a:cubicBezTo>
                <a:close/>
                <a:moveTo>
                  <a:pt x="125" y="401"/>
                </a:moveTo>
                <a:cubicBezTo>
                  <a:pt x="125" y="401"/>
                  <a:pt x="122" y="406"/>
                  <a:pt x="123" y="403"/>
                </a:cubicBezTo>
                <a:cubicBezTo>
                  <a:pt x="123" y="401"/>
                  <a:pt x="128" y="398"/>
                  <a:pt x="130" y="396"/>
                </a:cubicBezTo>
                <a:cubicBezTo>
                  <a:pt x="129" y="398"/>
                  <a:pt x="127" y="399"/>
                  <a:pt x="125" y="401"/>
                </a:cubicBezTo>
                <a:close/>
                <a:moveTo>
                  <a:pt x="131" y="424"/>
                </a:moveTo>
                <a:cubicBezTo>
                  <a:pt x="131" y="424"/>
                  <a:pt x="131" y="425"/>
                  <a:pt x="130" y="426"/>
                </a:cubicBezTo>
                <a:cubicBezTo>
                  <a:pt x="130" y="426"/>
                  <a:pt x="130" y="424"/>
                  <a:pt x="131" y="424"/>
                </a:cubicBezTo>
                <a:close/>
                <a:moveTo>
                  <a:pt x="131" y="503"/>
                </a:moveTo>
                <a:cubicBezTo>
                  <a:pt x="129" y="502"/>
                  <a:pt x="134" y="500"/>
                  <a:pt x="132" y="503"/>
                </a:cubicBezTo>
                <a:cubicBezTo>
                  <a:pt x="132" y="503"/>
                  <a:pt x="131" y="504"/>
                  <a:pt x="131" y="503"/>
                </a:cubicBezTo>
                <a:close/>
                <a:moveTo>
                  <a:pt x="132" y="505"/>
                </a:moveTo>
                <a:cubicBezTo>
                  <a:pt x="132" y="506"/>
                  <a:pt x="133" y="504"/>
                  <a:pt x="132" y="505"/>
                </a:cubicBezTo>
                <a:close/>
                <a:moveTo>
                  <a:pt x="132" y="478"/>
                </a:moveTo>
                <a:cubicBezTo>
                  <a:pt x="130" y="480"/>
                  <a:pt x="130" y="474"/>
                  <a:pt x="132" y="475"/>
                </a:cubicBezTo>
                <a:cubicBezTo>
                  <a:pt x="134" y="476"/>
                  <a:pt x="133" y="478"/>
                  <a:pt x="132" y="478"/>
                </a:cubicBezTo>
                <a:close/>
                <a:moveTo>
                  <a:pt x="138" y="496"/>
                </a:moveTo>
                <a:cubicBezTo>
                  <a:pt x="136" y="498"/>
                  <a:pt x="135" y="493"/>
                  <a:pt x="137" y="494"/>
                </a:cubicBezTo>
                <a:cubicBezTo>
                  <a:pt x="138" y="494"/>
                  <a:pt x="138" y="496"/>
                  <a:pt x="138" y="496"/>
                </a:cubicBezTo>
                <a:close/>
                <a:moveTo>
                  <a:pt x="140" y="501"/>
                </a:moveTo>
                <a:cubicBezTo>
                  <a:pt x="141" y="500"/>
                  <a:pt x="141" y="502"/>
                  <a:pt x="140" y="501"/>
                </a:cubicBezTo>
                <a:close/>
                <a:moveTo>
                  <a:pt x="139" y="469"/>
                </a:moveTo>
                <a:cubicBezTo>
                  <a:pt x="138" y="471"/>
                  <a:pt x="136" y="474"/>
                  <a:pt x="135" y="475"/>
                </a:cubicBezTo>
                <a:cubicBezTo>
                  <a:pt x="130" y="476"/>
                  <a:pt x="139" y="468"/>
                  <a:pt x="141" y="467"/>
                </a:cubicBezTo>
                <a:cubicBezTo>
                  <a:pt x="138" y="469"/>
                  <a:pt x="141" y="465"/>
                  <a:pt x="142" y="466"/>
                </a:cubicBezTo>
                <a:cubicBezTo>
                  <a:pt x="143" y="467"/>
                  <a:pt x="140" y="469"/>
                  <a:pt x="139" y="469"/>
                </a:cubicBezTo>
                <a:close/>
                <a:moveTo>
                  <a:pt x="143" y="510"/>
                </a:moveTo>
                <a:cubicBezTo>
                  <a:pt x="142" y="510"/>
                  <a:pt x="142" y="511"/>
                  <a:pt x="142" y="511"/>
                </a:cubicBezTo>
                <a:cubicBezTo>
                  <a:pt x="143" y="510"/>
                  <a:pt x="143" y="509"/>
                  <a:pt x="143" y="510"/>
                </a:cubicBezTo>
                <a:close/>
                <a:moveTo>
                  <a:pt x="143" y="484"/>
                </a:moveTo>
                <a:cubicBezTo>
                  <a:pt x="143" y="484"/>
                  <a:pt x="144" y="483"/>
                  <a:pt x="144" y="483"/>
                </a:cubicBezTo>
                <a:cubicBezTo>
                  <a:pt x="144" y="483"/>
                  <a:pt x="144" y="484"/>
                  <a:pt x="143" y="484"/>
                </a:cubicBezTo>
                <a:close/>
                <a:moveTo>
                  <a:pt x="144" y="494"/>
                </a:moveTo>
                <a:cubicBezTo>
                  <a:pt x="144" y="493"/>
                  <a:pt x="147" y="493"/>
                  <a:pt x="147" y="494"/>
                </a:cubicBezTo>
                <a:cubicBezTo>
                  <a:pt x="147" y="495"/>
                  <a:pt x="144" y="497"/>
                  <a:pt x="144" y="494"/>
                </a:cubicBezTo>
                <a:close/>
                <a:moveTo>
                  <a:pt x="145" y="517"/>
                </a:moveTo>
                <a:cubicBezTo>
                  <a:pt x="144" y="515"/>
                  <a:pt x="148" y="516"/>
                  <a:pt x="148" y="517"/>
                </a:cubicBezTo>
                <a:cubicBezTo>
                  <a:pt x="147" y="518"/>
                  <a:pt x="145" y="519"/>
                  <a:pt x="145" y="517"/>
                </a:cubicBezTo>
                <a:close/>
                <a:moveTo>
                  <a:pt x="142" y="481"/>
                </a:moveTo>
                <a:cubicBezTo>
                  <a:pt x="144" y="479"/>
                  <a:pt x="146" y="477"/>
                  <a:pt x="149" y="476"/>
                </a:cubicBezTo>
                <a:cubicBezTo>
                  <a:pt x="147" y="478"/>
                  <a:pt x="145" y="480"/>
                  <a:pt x="142" y="481"/>
                </a:cubicBezTo>
                <a:close/>
                <a:moveTo>
                  <a:pt x="149" y="515"/>
                </a:moveTo>
                <a:cubicBezTo>
                  <a:pt x="149" y="515"/>
                  <a:pt x="147" y="515"/>
                  <a:pt x="148" y="514"/>
                </a:cubicBezTo>
                <a:cubicBezTo>
                  <a:pt x="148" y="514"/>
                  <a:pt x="150" y="515"/>
                  <a:pt x="149" y="515"/>
                </a:cubicBezTo>
                <a:close/>
                <a:moveTo>
                  <a:pt x="150" y="472"/>
                </a:moveTo>
                <a:cubicBezTo>
                  <a:pt x="149" y="472"/>
                  <a:pt x="150" y="470"/>
                  <a:pt x="150" y="470"/>
                </a:cubicBezTo>
                <a:cubicBezTo>
                  <a:pt x="151" y="471"/>
                  <a:pt x="149" y="472"/>
                  <a:pt x="150" y="472"/>
                </a:cubicBezTo>
                <a:close/>
                <a:moveTo>
                  <a:pt x="150" y="468"/>
                </a:moveTo>
                <a:cubicBezTo>
                  <a:pt x="150" y="468"/>
                  <a:pt x="150" y="468"/>
                  <a:pt x="151" y="468"/>
                </a:cubicBezTo>
                <a:cubicBezTo>
                  <a:pt x="151" y="468"/>
                  <a:pt x="151" y="467"/>
                  <a:pt x="151" y="467"/>
                </a:cubicBezTo>
                <a:cubicBezTo>
                  <a:pt x="151" y="467"/>
                  <a:pt x="151" y="467"/>
                  <a:pt x="151" y="467"/>
                </a:cubicBezTo>
                <a:cubicBezTo>
                  <a:pt x="151" y="468"/>
                  <a:pt x="151" y="468"/>
                  <a:pt x="151" y="468"/>
                </a:cubicBezTo>
                <a:cubicBezTo>
                  <a:pt x="150" y="468"/>
                  <a:pt x="150" y="468"/>
                  <a:pt x="150" y="468"/>
                </a:cubicBezTo>
                <a:close/>
                <a:moveTo>
                  <a:pt x="152" y="551"/>
                </a:moveTo>
                <a:cubicBezTo>
                  <a:pt x="151" y="551"/>
                  <a:pt x="151" y="551"/>
                  <a:pt x="151" y="551"/>
                </a:cubicBezTo>
                <a:cubicBezTo>
                  <a:pt x="150" y="550"/>
                  <a:pt x="153" y="549"/>
                  <a:pt x="152" y="551"/>
                </a:cubicBezTo>
                <a:close/>
                <a:moveTo>
                  <a:pt x="152" y="540"/>
                </a:moveTo>
                <a:cubicBezTo>
                  <a:pt x="150" y="541"/>
                  <a:pt x="150" y="536"/>
                  <a:pt x="153" y="537"/>
                </a:cubicBezTo>
                <a:cubicBezTo>
                  <a:pt x="154" y="537"/>
                  <a:pt x="153" y="539"/>
                  <a:pt x="152" y="540"/>
                </a:cubicBezTo>
                <a:close/>
                <a:moveTo>
                  <a:pt x="154" y="484"/>
                </a:moveTo>
                <a:cubicBezTo>
                  <a:pt x="153" y="483"/>
                  <a:pt x="155" y="483"/>
                  <a:pt x="155" y="484"/>
                </a:cubicBezTo>
                <a:cubicBezTo>
                  <a:pt x="155" y="484"/>
                  <a:pt x="154" y="485"/>
                  <a:pt x="154" y="484"/>
                </a:cubicBezTo>
                <a:close/>
                <a:moveTo>
                  <a:pt x="158" y="546"/>
                </a:moveTo>
                <a:cubicBezTo>
                  <a:pt x="158" y="546"/>
                  <a:pt x="158" y="547"/>
                  <a:pt x="158" y="547"/>
                </a:cubicBezTo>
                <a:cubicBezTo>
                  <a:pt x="158" y="547"/>
                  <a:pt x="158" y="547"/>
                  <a:pt x="158" y="547"/>
                </a:cubicBezTo>
                <a:cubicBezTo>
                  <a:pt x="157" y="547"/>
                  <a:pt x="155" y="548"/>
                  <a:pt x="154" y="548"/>
                </a:cubicBezTo>
                <a:cubicBezTo>
                  <a:pt x="155" y="546"/>
                  <a:pt x="158" y="546"/>
                  <a:pt x="160" y="545"/>
                </a:cubicBezTo>
                <a:cubicBezTo>
                  <a:pt x="160" y="545"/>
                  <a:pt x="159" y="546"/>
                  <a:pt x="158" y="546"/>
                </a:cubicBezTo>
                <a:close/>
                <a:moveTo>
                  <a:pt x="155" y="544"/>
                </a:moveTo>
                <a:cubicBezTo>
                  <a:pt x="155" y="544"/>
                  <a:pt x="156" y="543"/>
                  <a:pt x="156" y="544"/>
                </a:cubicBezTo>
                <a:cubicBezTo>
                  <a:pt x="156" y="544"/>
                  <a:pt x="155" y="546"/>
                  <a:pt x="155" y="544"/>
                </a:cubicBezTo>
                <a:close/>
                <a:moveTo>
                  <a:pt x="160" y="521"/>
                </a:moveTo>
                <a:cubicBezTo>
                  <a:pt x="151" y="525"/>
                  <a:pt x="154" y="511"/>
                  <a:pt x="161" y="512"/>
                </a:cubicBezTo>
                <a:cubicBezTo>
                  <a:pt x="165" y="513"/>
                  <a:pt x="162" y="520"/>
                  <a:pt x="160" y="521"/>
                </a:cubicBezTo>
                <a:close/>
                <a:moveTo>
                  <a:pt x="162" y="544"/>
                </a:moveTo>
                <a:cubicBezTo>
                  <a:pt x="162" y="545"/>
                  <a:pt x="161" y="545"/>
                  <a:pt x="161" y="545"/>
                </a:cubicBezTo>
                <a:cubicBezTo>
                  <a:pt x="160" y="544"/>
                  <a:pt x="165" y="543"/>
                  <a:pt x="162" y="544"/>
                </a:cubicBezTo>
                <a:close/>
                <a:moveTo>
                  <a:pt x="168" y="525"/>
                </a:moveTo>
                <a:cubicBezTo>
                  <a:pt x="168" y="525"/>
                  <a:pt x="169" y="525"/>
                  <a:pt x="169" y="525"/>
                </a:cubicBezTo>
                <a:cubicBezTo>
                  <a:pt x="169" y="526"/>
                  <a:pt x="168" y="526"/>
                  <a:pt x="168" y="525"/>
                </a:cubicBezTo>
                <a:close/>
                <a:moveTo>
                  <a:pt x="170" y="537"/>
                </a:moveTo>
                <a:cubicBezTo>
                  <a:pt x="168" y="538"/>
                  <a:pt x="168" y="535"/>
                  <a:pt x="170" y="535"/>
                </a:cubicBezTo>
                <a:cubicBezTo>
                  <a:pt x="171" y="536"/>
                  <a:pt x="170" y="536"/>
                  <a:pt x="170" y="537"/>
                </a:cubicBezTo>
                <a:close/>
                <a:moveTo>
                  <a:pt x="172" y="521"/>
                </a:moveTo>
                <a:cubicBezTo>
                  <a:pt x="170" y="522"/>
                  <a:pt x="165" y="524"/>
                  <a:pt x="161" y="525"/>
                </a:cubicBezTo>
                <a:cubicBezTo>
                  <a:pt x="164" y="523"/>
                  <a:pt x="170" y="520"/>
                  <a:pt x="173" y="519"/>
                </a:cubicBezTo>
                <a:cubicBezTo>
                  <a:pt x="172" y="519"/>
                  <a:pt x="175" y="519"/>
                  <a:pt x="175" y="519"/>
                </a:cubicBezTo>
                <a:cubicBezTo>
                  <a:pt x="175" y="520"/>
                  <a:pt x="173" y="520"/>
                  <a:pt x="172" y="521"/>
                </a:cubicBezTo>
                <a:close/>
                <a:moveTo>
                  <a:pt x="176" y="546"/>
                </a:moveTo>
                <a:cubicBezTo>
                  <a:pt x="175" y="547"/>
                  <a:pt x="175" y="547"/>
                  <a:pt x="175" y="546"/>
                </a:cubicBezTo>
                <a:cubicBezTo>
                  <a:pt x="174" y="545"/>
                  <a:pt x="177" y="545"/>
                  <a:pt x="176" y="546"/>
                </a:cubicBezTo>
                <a:close/>
                <a:moveTo>
                  <a:pt x="174" y="497"/>
                </a:moveTo>
                <a:cubicBezTo>
                  <a:pt x="174" y="496"/>
                  <a:pt x="176" y="497"/>
                  <a:pt x="176" y="497"/>
                </a:cubicBezTo>
                <a:cubicBezTo>
                  <a:pt x="176" y="498"/>
                  <a:pt x="174" y="499"/>
                  <a:pt x="174" y="497"/>
                </a:cubicBezTo>
                <a:close/>
                <a:moveTo>
                  <a:pt x="176" y="431"/>
                </a:moveTo>
                <a:cubicBezTo>
                  <a:pt x="176" y="431"/>
                  <a:pt x="176" y="431"/>
                  <a:pt x="176" y="431"/>
                </a:cubicBezTo>
                <a:cubicBezTo>
                  <a:pt x="175" y="433"/>
                  <a:pt x="176" y="429"/>
                  <a:pt x="176" y="431"/>
                </a:cubicBezTo>
                <a:close/>
                <a:moveTo>
                  <a:pt x="176" y="487"/>
                </a:moveTo>
                <a:cubicBezTo>
                  <a:pt x="176" y="485"/>
                  <a:pt x="181" y="484"/>
                  <a:pt x="181" y="486"/>
                </a:cubicBezTo>
                <a:cubicBezTo>
                  <a:pt x="182" y="489"/>
                  <a:pt x="176" y="491"/>
                  <a:pt x="176" y="487"/>
                </a:cubicBezTo>
                <a:close/>
                <a:moveTo>
                  <a:pt x="180" y="543"/>
                </a:moveTo>
                <a:cubicBezTo>
                  <a:pt x="180" y="543"/>
                  <a:pt x="181" y="542"/>
                  <a:pt x="182" y="543"/>
                </a:cubicBezTo>
                <a:cubicBezTo>
                  <a:pt x="182" y="544"/>
                  <a:pt x="180" y="544"/>
                  <a:pt x="180" y="543"/>
                </a:cubicBezTo>
                <a:close/>
                <a:moveTo>
                  <a:pt x="182" y="538"/>
                </a:moveTo>
                <a:cubicBezTo>
                  <a:pt x="181" y="539"/>
                  <a:pt x="182" y="536"/>
                  <a:pt x="183" y="537"/>
                </a:cubicBezTo>
                <a:cubicBezTo>
                  <a:pt x="183" y="537"/>
                  <a:pt x="183" y="538"/>
                  <a:pt x="182" y="538"/>
                </a:cubicBezTo>
                <a:close/>
                <a:moveTo>
                  <a:pt x="183" y="485"/>
                </a:moveTo>
                <a:cubicBezTo>
                  <a:pt x="183" y="484"/>
                  <a:pt x="181" y="483"/>
                  <a:pt x="181" y="482"/>
                </a:cubicBezTo>
                <a:cubicBezTo>
                  <a:pt x="182" y="480"/>
                  <a:pt x="183" y="482"/>
                  <a:pt x="184" y="481"/>
                </a:cubicBezTo>
                <a:cubicBezTo>
                  <a:pt x="186" y="479"/>
                  <a:pt x="186" y="475"/>
                  <a:pt x="189" y="472"/>
                </a:cubicBezTo>
                <a:cubicBezTo>
                  <a:pt x="188" y="476"/>
                  <a:pt x="185" y="481"/>
                  <a:pt x="183" y="485"/>
                </a:cubicBezTo>
                <a:close/>
                <a:moveTo>
                  <a:pt x="186" y="544"/>
                </a:moveTo>
                <a:cubicBezTo>
                  <a:pt x="184" y="546"/>
                  <a:pt x="184" y="543"/>
                  <a:pt x="186" y="544"/>
                </a:cubicBezTo>
                <a:close/>
                <a:moveTo>
                  <a:pt x="185" y="507"/>
                </a:moveTo>
                <a:cubicBezTo>
                  <a:pt x="183" y="504"/>
                  <a:pt x="190" y="504"/>
                  <a:pt x="187" y="507"/>
                </a:cubicBezTo>
                <a:cubicBezTo>
                  <a:pt x="187" y="507"/>
                  <a:pt x="186" y="507"/>
                  <a:pt x="185" y="507"/>
                </a:cubicBezTo>
                <a:close/>
                <a:moveTo>
                  <a:pt x="189" y="542"/>
                </a:moveTo>
                <a:cubicBezTo>
                  <a:pt x="189" y="542"/>
                  <a:pt x="190" y="541"/>
                  <a:pt x="190" y="541"/>
                </a:cubicBezTo>
                <a:cubicBezTo>
                  <a:pt x="191" y="541"/>
                  <a:pt x="190" y="541"/>
                  <a:pt x="189" y="542"/>
                </a:cubicBezTo>
                <a:close/>
                <a:moveTo>
                  <a:pt x="193" y="537"/>
                </a:moveTo>
                <a:cubicBezTo>
                  <a:pt x="193" y="537"/>
                  <a:pt x="193" y="538"/>
                  <a:pt x="193" y="538"/>
                </a:cubicBezTo>
                <a:cubicBezTo>
                  <a:pt x="191" y="539"/>
                  <a:pt x="193" y="535"/>
                  <a:pt x="193" y="537"/>
                </a:cubicBezTo>
                <a:close/>
                <a:moveTo>
                  <a:pt x="188" y="542"/>
                </a:moveTo>
                <a:cubicBezTo>
                  <a:pt x="188" y="540"/>
                  <a:pt x="191" y="536"/>
                  <a:pt x="193" y="535"/>
                </a:cubicBezTo>
                <a:cubicBezTo>
                  <a:pt x="191" y="537"/>
                  <a:pt x="190" y="540"/>
                  <a:pt x="188" y="542"/>
                </a:cubicBezTo>
                <a:close/>
                <a:moveTo>
                  <a:pt x="190" y="499"/>
                </a:moveTo>
                <a:cubicBezTo>
                  <a:pt x="191" y="498"/>
                  <a:pt x="192" y="497"/>
                  <a:pt x="194" y="497"/>
                </a:cubicBezTo>
                <a:cubicBezTo>
                  <a:pt x="193" y="498"/>
                  <a:pt x="192" y="499"/>
                  <a:pt x="190" y="499"/>
                </a:cubicBezTo>
                <a:close/>
                <a:moveTo>
                  <a:pt x="194" y="533"/>
                </a:moveTo>
                <a:cubicBezTo>
                  <a:pt x="193" y="533"/>
                  <a:pt x="195" y="531"/>
                  <a:pt x="195" y="531"/>
                </a:cubicBezTo>
                <a:cubicBezTo>
                  <a:pt x="196" y="531"/>
                  <a:pt x="194" y="533"/>
                  <a:pt x="194" y="533"/>
                </a:cubicBezTo>
                <a:close/>
                <a:moveTo>
                  <a:pt x="194" y="497"/>
                </a:moveTo>
                <a:cubicBezTo>
                  <a:pt x="194" y="497"/>
                  <a:pt x="194" y="497"/>
                  <a:pt x="194" y="497"/>
                </a:cubicBezTo>
                <a:close/>
                <a:moveTo>
                  <a:pt x="195" y="497"/>
                </a:move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7"/>
                </a:cubicBezTo>
                <a:close/>
                <a:moveTo>
                  <a:pt x="189" y="398"/>
                </a:moveTo>
                <a:cubicBezTo>
                  <a:pt x="192" y="394"/>
                  <a:pt x="196" y="392"/>
                  <a:pt x="201" y="389"/>
                </a:cubicBezTo>
                <a:cubicBezTo>
                  <a:pt x="198" y="392"/>
                  <a:pt x="192" y="395"/>
                  <a:pt x="189" y="398"/>
                </a:cubicBezTo>
                <a:close/>
                <a:moveTo>
                  <a:pt x="196" y="530"/>
                </a:moveTo>
                <a:cubicBezTo>
                  <a:pt x="196" y="531"/>
                  <a:pt x="195" y="529"/>
                  <a:pt x="196" y="530"/>
                </a:cubicBezTo>
                <a:close/>
                <a:moveTo>
                  <a:pt x="198" y="514"/>
                </a:moveTo>
                <a:cubicBezTo>
                  <a:pt x="198" y="514"/>
                  <a:pt x="198" y="515"/>
                  <a:pt x="197" y="515"/>
                </a:cubicBezTo>
                <a:cubicBezTo>
                  <a:pt x="196" y="516"/>
                  <a:pt x="197" y="513"/>
                  <a:pt x="198" y="514"/>
                </a:cubicBezTo>
                <a:close/>
                <a:moveTo>
                  <a:pt x="198" y="558"/>
                </a:moveTo>
                <a:cubicBezTo>
                  <a:pt x="198" y="556"/>
                  <a:pt x="204" y="555"/>
                  <a:pt x="204" y="558"/>
                </a:cubicBezTo>
                <a:cubicBezTo>
                  <a:pt x="205" y="561"/>
                  <a:pt x="197" y="562"/>
                  <a:pt x="198" y="558"/>
                </a:cubicBezTo>
                <a:close/>
                <a:moveTo>
                  <a:pt x="204" y="554"/>
                </a:moveTo>
                <a:cubicBezTo>
                  <a:pt x="205" y="554"/>
                  <a:pt x="206" y="553"/>
                  <a:pt x="207" y="553"/>
                </a:cubicBezTo>
                <a:cubicBezTo>
                  <a:pt x="207" y="554"/>
                  <a:pt x="204" y="555"/>
                  <a:pt x="204" y="554"/>
                </a:cubicBezTo>
                <a:close/>
                <a:moveTo>
                  <a:pt x="203" y="542"/>
                </a:moveTo>
                <a:cubicBezTo>
                  <a:pt x="200" y="539"/>
                  <a:pt x="203" y="534"/>
                  <a:pt x="205" y="533"/>
                </a:cubicBezTo>
                <a:cubicBezTo>
                  <a:pt x="207" y="532"/>
                  <a:pt x="210" y="533"/>
                  <a:pt x="211" y="532"/>
                </a:cubicBezTo>
                <a:cubicBezTo>
                  <a:pt x="215" y="532"/>
                  <a:pt x="213" y="532"/>
                  <a:pt x="215" y="534"/>
                </a:cubicBezTo>
                <a:cubicBezTo>
                  <a:pt x="217" y="537"/>
                  <a:pt x="216" y="541"/>
                  <a:pt x="213" y="540"/>
                </a:cubicBezTo>
                <a:cubicBezTo>
                  <a:pt x="214" y="535"/>
                  <a:pt x="211" y="542"/>
                  <a:pt x="210" y="543"/>
                </a:cubicBezTo>
                <a:cubicBezTo>
                  <a:pt x="209" y="543"/>
                  <a:pt x="204" y="543"/>
                  <a:pt x="203" y="542"/>
                </a:cubicBezTo>
                <a:close/>
                <a:moveTo>
                  <a:pt x="213" y="545"/>
                </a:moveTo>
                <a:cubicBezTo>
                  <a:pt x="213" y="544"/>
                  <a:pt x="216" y="545"/>
                  <a:pt x="215" y="546"/>
                </a:cubicBezTo>
                <a:cubicBezTo>
                  <a:pt x="215" y="546"/>
                  <a:pt x="214" y="546"/>
                  <a:pt x="213" y="545"/>
                </a:cubicBezTo>
                <a:close/>
                <a:moveTo>
                  <a:pt x="215" y="609"/>
                </a:moveTo>
                <a:cubicBezTo>
                  <a:pt x="215" y="609"/>
                  <a:pt x="215" y="609"/>
                  <a:pt x="215" y="609"/>
                </a:cubicBezTo>
                <a:cubicBezTo>
                  <a:pt x="214" y="607"/>
                  <a:pt x="217" y="611"/>
                  <a:pt x="215" y="609"/>
                </a:cubicBezTo>
                <a:close/>
                <a:moveTo>
                  <a:pt x="214" y="557"/>
                </a:moveTo>
                <a:cubicBezTo>
                  <a:pt x="214" y="556"/>
                  <a:pt x="216" y="555"/>
                  <a:pt x="217" y="556"/>
                </a:cubicBezTo>
                <a:cubicBezTo>
                  <a:pt x="217" y="558"/>
                  <a:pt x="214" y="557"/>
                  <a:pt x="214" y="557"/>
                </a:cubicBezTo>
                <a:close/>
                <a:moveTo>
                  <a:pt x="209" y="544"/>
                </a:moveTo>
                <a:cubicBezTo>
                  <a:pt x="210" y="544"/>
                  <a:pt x="217" y="540"/>
                  <a:pt x="217" y="542"/>
                </a:cubicBezTo>
                <a:cubicBezTo>
                  <a:pt x="217" y="543"/>
                  <a:pt x="211" y="545"/>
                  <a:pt x="209" y="544"/>
                </a:cubicBezTo>
                <a:close/>
                <a:moveTo>
                  <a:pt x="216" y="527"/>
                </a:moveTo>
                <a:cubicBezTo>
                  <a:pt x="216" y="526"/>
                  <a:pt x="216" y="526"/>
                  <a:pt x="216" y="526"/>
                </a:cubicBezTo>
                <a:cubicBezTo>
                  <a:pt x="217" y="525"/>
                  <a:pt x="217" y="527"/>
                  <a:pt x="216" y="527"/>
                </a:cubicBezTo>
                <a:close/>
                <a:moveTo>
                  <a:pt x="217" y="615"/>
                </a:moveTo>
                <a:cubicBezTo>
                  <a:pt x="216" y="614"/>
                  <a:pt x="218" y="613"/>
                  <a:pt x="218" y="614"/>
                </a:cubicBezTo>
                <a:cubicBezTo>
                  <a:pt x="218" y="614"/>
                  <a:pt x="217" y="614"/>
                  <a:pt x="217" y="615"/>
                </a:cubicBezTo>
                <a:close/>
                <a:moveTo>
                  <a:pt x="219" y="542"/>
                </a:moveTo>
                <a:cubicBezTo>
                  <a:pt x="216" y="544"/>
                  <a:pt x="217" y="538"/>
                  <a:pt x="219" y="539"/>
                </a:cubicBezTo>
                <a:cubicBezTo>
                  <a:pt x="221" y="540"/>
                  <a:pt x="219" y="542"/>
                  <a:pt x="219" y="542"/>
                </a:cubicBezTo>
                <a:close/>
                <a:moveTo>
                  <a:pt x="219" y="567"/>
                </a:moveTo>
                <a:cubicBezTo>
                  <a:pt x="219" y="566"/>
                  <a:pt x="220" y="566"/>
                  <a:pt x="221" y="566"/>
                </a:cubicBezTo>
                <a:cubicBezTo>
                  <a:pt x="220" y="567"/>
                  <a:pt x="220" y="567"/>
                  <a:pt x="219" y="567"/>
                </a:cubicBezTo>
                <a:close/>
                <a:moveTo>
                  <a:pt x="222" y="589"/>
                </a:moveTo>
                <a:cubicBezTo>
                  <a:pt x="222" y="589"/>
                  <a:pt x="221" y="589"/>
                  <a:pt x="220" y="589"/>
                </a:cubicBezTo>
                <a:cubicBezTo>
                  <a:pt x="220" y="589"/>
                  <a:pt x="222" y="588"/>
                  <a:pt x="222" y="589"/>
                </a:cubicBezTo>
                <a:close/>
                <a:moveTo>
                  <a:pt x="221" y="615"/>
                </a:moveTo>
                <a:cubicBezTo>
                  <a:pt x="221" y="614"/>
                  <a:pt x="222" y="614"/>
                  <a:pt x="223" y="614"/>
                </a:cubicBezTo>
                <a:cubicBezTo>
                  <a:pt x="222" y="615"/>
                  <a:pt x="221" y="614"/>
                  <a:pt x="221" y="615"/>
                </a:cubicBezTo>
                <a:close/>
                <a:moveTo>
                  <a:pt x="223" y="565"/>
                </a:moveTo>
                <a:cubicBezTo>
                  <a:pt x="223" y="565"/>
                  <a:pt x="223" y="565"/>
                  <a:pt x="223" y="566"/>
                </a:cubicBezTo>
                <a:cubicBezTo>
                  <a:pt x="223" y="566"/>
                  <a:pt x="223" y="566"/>
                  <a:pt x="223" y="566"/>
                </a:cubicBezTo>
                <a:cubicBezTo>
                  <a:pt x="223" y="567"/>
                  <a:pt x="223" y="566"/>
                  <a:pt x="223" y="566"/>
                </a:cubicBezTo>
                <a:cubicBezTo>
                  <a:pt x="223" y="565"/>
                  <a:pt x="223" y="565"/>
                  <a:pt x="223" y="565"/>
                </a:cubicBezTo>
                <a:close/>
                <a:moveTo>
                  <a:pt x="223" y="571"/>
                </a:moveTo>
                <a:cubicBezTo>
                  <a:pt x="223" y="569"/>
                  <a:pt x="227" y="570"/>
                  <a:pt x="226" y="571"/>
                </a:cubicBezTo>
                <a:cubicBezTo>
                  <a:pt x="226" y="572"/>
                  <a:pt x="223" y="572"/>
                  <a:pt x="223" y="571"/>
                </a:cubicBezTo>
                <a:close/>
                <a:moveTo>
                  <a:pt x="226" y="582"/>
                </a:moveTo>
                <a:cubicBezTo>
                  <a:pt x="226" y="581"/>
                  <a:pt x="226" y="583"/>
                  <a:pt x="226" y="582"/>
                </a:cubicBezTo>
                <a:close/>
                <a:moveTo>
                  <a:pt x="227" y="608"/>
                </a:moveTo>
                <a:cubicBezTo>
                  <a:pt x="227" y="608"/>
                  <a:pt x="225" y="608"/>
                  <a:pt x="224" y="607"/>
                </a:cubicBezTo>
                <a:cubicBezTo>
                  <a:pt x="224" y="606"/>
                  <a:pt x="228" y="607"/>
                  <a:pt x="227" y="608"/>
                </a:cubicBezTo>
                <a:close/>
                <a:moveTo>
                  <a:pt x="226" y="578"/>
                </a:moveTo>
                <a:cubicBezTo>
                  <a:pt x="226" y="578"/>
                  <a:pt x="227" y="577"/>
                  <a:pt x="227" y="578"/>
                </a:cubicBezTo>
                <a:cubicBezTo>
                  <a:pt x="227" y="578"/>
                  <a:pt x="226" y="578"/>
                  <a:pt x="226" y="578"/>
                </a:cubicBezTo>
                <a:close/>
                <a:moveTo>
                  <a:pt x="236" y="538"/>
                </a:moveTo>
                <a:cubicBezTo>
                  <a:pt x="237" y="537"/>
                  <a:pt x="238" y="536"/>
                  <a:pt x="239" y="537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40" y="538"/>
                  <a:pt x="239" y="539"/>
                  <a:pt x="239" y="539"/>
                </a:cubicBezTo>
                <a:cubicBezTo>
                  <a:pt x="238" y="540"/>
                  <a:pt x="237" y="539"/>
                  <a:pt x="237" y="539"/>
                </a:cubicBezTo>
                <a:cubicBezTo>
                  <a:pt x="236" y="539"/>
                  <a:pt x="236" y="538"/>
                  <a:pt x="235" y="539"/>
                </a:cubicBezTo>
                <a:cubicBezTo>
                  <a:pt x="234" y="539"/>
                  <a:pt x="228" y="544"/>
                  <a:pt x="227" y="543"/>
                </a:cubicBezTo>
                <a:cubicBezTo>
                  <a:pt x="226" y="541"/>
                  <a:pt x="235" y="538"/>
                  <a:pt x="236" y="538"/>
                </a:cubicBezTo>
                <a:close/>
                <a:moveTo>
                  <a:pt x="235" y="592"/>
                </a:moveTo>
                <a:cubicBezTo>
                  <a:pt x="235" y="592"/>
                  <a:pt x="234" y="593"/>
                  <a:pt x="234" y="592"/>
                </a:cubicBezTo>
                <a:cubicBezTo>
                  <a:pt x="233" y="592"/>
                  <a:pt x="235" y="591"/>
                  <a:pt x="235" y="592"/>
                </a:cubicBezTo>
                <a:close/>
                <a:moveTo>
                  <a:pt x="233" y="585"/>
                </a:moveTo>
                <a:cubicBezTo>
                  <a:pt x="233" y="585"/>
                  <a:pt x="234" y="583"/>
                  <a:pt x="235" y="584"/>
                </a:cubicBezTo>
                <a:cubicBezTo>
                  <a:pt x="235" y="585"/>
                  <a:pt x="233" y="586"/>
                  <a:pt x="233" y="585"/>
                </a:cubicBezTo>
                <a:close/>
                <a:moveTo>
                  <a:pt x="228" y="573"/>
                </a:moveTo>
                <a:cubicBezTo>
                  <a:pt x="228" y="571"/>
                  <a:pt x="230" y="572"/>
                  <a:pt x="228" y="573"/>
                </a:cubicBezTo>
                <a:close/>
                <a:moveTo>
                  <a:pt x="229" y="580"/>
                </a:moveTo>
                <a:cubicBezTo>
                  <a:pt x="229" y="581"/>
                  <a:pt x="228" y="581"/>
                  <a:pt x="228" y="581"/>
                </a:cubicBezTo>
                <a:cubicBezTo>
                  <a:pt x="227" y="579"/>
                  <a:pt x="230" y="579"/>
                  <a:pt x="229" y="580"/>
                </a:cubicBezTo>
                <a:close/>
                <a:moveTo>
                  <a:pt x="231" y="599"/>
                </a:moveTo>
                <a:cubicBezTo>
                  <a:pt x="231" y="599"/>
                  <a:pt x="233" y="598"/>
                  <a:pt x="233" y="599"/>
                </a:cubicBezTo>
                <a:cubicBezTo>
                  <a:pt x="233" y="600"/>
                  <a:pt x="231" y="601"/>
                  <a:pt x="231" y="599"/>
                </a:cubicBezTo>
                <a:close/>
                <a:moveTo>
                  <a:pt x="236" y="624"/>
                </a:moveTo>
                <a:cubicBezTo>
                  <a:pt x="236" y="624"/>
                  <a:pt x="237" y="623"/>
                  <a:pt x="237" y="623"/>
                </a:cubicBezTo>
                <a:cubicBezTo>
                  <a:pt x="237" y="623"/>
                  <a:pt x="237" y="624"/>
                  <a:pt x="236" y="624"/>
                </a:cubicBezTo>
                <a:close/>
                <a:moveTo>
                  <a:pt x="232" y="618"/>
                </a:moveTo>
                <a:cubicBezTo>
                  <a:pt x="233" y="616"/>
                  <a:pt x="237" y="616"/>
                  <a:pt x="239" y="615"/>
                </a:cubicBezTo>
                <a:cubicBezTo>
                  <a:pt x="237" y="617"/>
                  <a:pt x="234" y="617"/>
                  <a:pt x="232" y="618"/>
                </a:cubicBezTo>
                <a:close/>
                <a:moveTo>
                  <a:pt x="238" y="665"/>
                </a:moveTo>
                <a:cubicBezTo>
                  <a:pt x="238" y="664"/>
                  <a:pt x="239" y="665"/>
                  <a:pt x="240" y="665"/>
                </a:cubicBezTo>
                <a:cubicBezTo>
                  <a:pt x="240" y="666"/>
                  <a:pt x="239" y="665"/>
                  <a:pt x="238" y="665"/>
                </a:cubicBezTo>
                <a:close/>
                <a:moveTo>
                  <a:pt x="240" y="664"/>
                </a:moveTo>
                <a:cubicBezTo>
                  <a:pt x="240" y="664"/>
                  <a:pt x="239" y="663"/>
                  <a:pt x="239" y="663"/>
                </a:cubicBezTo>
                <a:cubicBezTo>
                  <a:pt x="239" y="662"/>
                  <a:pt x="241" y="663"/>
                  <a:pt x="240" y="664"/>
                </a:cubicBezTo>
                <a:close/>
                <a:moveTo>
                  <a:pt x="251" y="679"/>
                </a:moveTo>
                <a:cubicBezTo>
                  <a:pt x="249" y="681"/>
                  <a:pt x="247" y="678"/>
                  <a:pt x="244" y="678"/>
                </a:cubicBezTo>
                <a:cubicBezTo>
                  <a:pt x="242" y="678"/>
                  <a:pt x="238" y="679"/>
                  <a:pt x="237" y="677"/>
                </a:cubicBezTo>
                <a:cubicBezTo>
                  <a:pt x="237" y="676"/>
                  <a:pt x="243" y="677"/>
                  <a:pt x="243" y="677"/>
                </a:cubicBezTo>
                <a:cubicBezTo>
                  <a:pt x="243" y="676"/>
                  <a:pt x="241" y="672"/>
                  <a:pt x="241" y="672"/>
                </a:cubicBezTo>
                <a:cubicBezTo>
                  <a:pt x="240" y="664"/>
                  <a:pt x="252" y="669"/>
                  <a:pt x="255" y="671"/>
                </a:cubicBezTo>
                <a:cubicBezTo>
                  <a:pt x="259" y="674"/>
                  <a:pt x="250" y="671"/>
                  <a:pt x="253" y="676"/>
                </a:cubicBezTo>
                <a:cubicBezTo>
                  <a:pt x="250" y="674"/>
                  <a:pt x="251" y="679"/>
                  <a:pt x="251" y="679"/>
                </a:cubicBezTo>
                <a:close/>
                <a:moveTo>
                  <a:pt x="254" y="687"/>
                </a:moveTo>
                <a:cubicBezTo>
                  <a:pt x="254" y="686"/>
                  <a:pt x="254" y="685"/>
                  <a:pt x="255" y="686"/>
                </a:cubicBezTo>
                <a:cubicBezTo>
                  <a:pt x="257" y="686"/>
                  <a:pt x="254" y="689"/>
                  <a:pt x="254" y="687"/>
                </a:cubicBezTo>
                <a:close/>
                <a:moveTo>
                  <a:pt x="254" y="690"/>
                </a:moveTo>
                <a:cubicBezTo>
                  <a:pt x="255" y="689"/>
                  <a:pt x="256" y="689"/>
                  <a:pt x="258" y="689"/>
                </a:cubicBezTo>
                <a:cubicBezTo>
                  <a:pt x="257" y="690"/>
                  <a:pt x="255" y="690"/>
                  <a:pt x="254" y="690"/>
                </a:cubicBezTo>
                <a:close/>
                <a:moveTo>
                  <a:pt x="257" y="690"/>
                </a:moveTo>
                <a:cubicBezTo>
                  <a:pt x="257" y="689"/>
                  <a:pt x="258" y="689"/>
                  <a:pt x="258" y="690"/>
                </a:cubicBezTo>
                <a:cubicBezTo>
                  <a:pt x="258" y="689"/>
                  <a:pt x="258" y="691"/>
                  <a:pt x="257" y="690"/>
                </a:cubicBezTo>
                <a:close/>
                <a:moveTo>
                  <a:pt x="259" y="689"/>
                </a:moveTo>
                <a:cubicBezTo>
                  <a:pt x="258" y="689"/>
                  <a:pt x="261" y="689"/>
                  <a:pt x="259" y="689"/>
                </a:cubicBezTo>
                <a:close/>
                <a:moveTo>
                  <a:pt x="260" y="660"/>
                </a:moveTo>
                <a:cubicBezTo>
                  <a:pt x="259" y="660"/>
                  <a:pt x="259" y="659"/>
                  <a:pt x="260" y="660"/>
                </a:cubicBezTo>
                <a:close/>
                <a:moveTo>
                  <a:pt x="261" y="631"/>
                </a:moveTo>
                <a:cubicBezTo>
                  <a:pt x="260" y="631"/>
                  <a:pt x="261" y="630"/>
                  <a:pt x="261" y="630"/>
                </a:cubicBezTo>
                <a:cubicBezTo>
                  <a:pt x="262" y="630"/>
                  <a:pt x="261" y="631"/>
                  <a:pt x="261" y="631"/>
                </a:cubicBezTo>
                <a:close/>
                <a:moveTo>
                  <a:pt x="263" y="682"/>
                </a:moveTo>
                <a:cubicBezTo>
                  <a:pt x="263" y="681"/>
                  <a:pt x="265" y="681"/>
                  <a:pt x="265" y="682"/>
                </a:cubicBezTo>
                <a:cubicBezTo>
                  <a:pt x="266" y="682"/>
                  <a:pt x="263" y="683"/>
                  <a:pt x="263" y="682"/>
                </a:cubicBezTo>
                <a:close/>
                <a:moveTo>
                  <a:pt x="264" y="690"/>
                </a:moveTo>
                <a:cubicBezTo>
                  <a:pt x="263" y="689"/>
                  <a:pt x="265" y="690"/>
                  <a:pt x="265" y="690"/>
                </a:cubicBezTo>
                <a:cubicBezTo>
                  <a:pt x="265" y="691"/>
                  <a:pt x="264" y="691"/>
                  <a:pt x="264" y="690"/>
                </a:cubicBezTo>
                <a:close/>
                <a:moveTo>
                  <a:pt x="265" y="694"/>
                </a:moveTo>
                <a:cubicBezTo>
                  <a:pt x="266" y="694"/>
                  <a:pt x="266" y="694"/>
                  <a:pt x="267" y="694"/>
                </a:cubicBezTo>
                <a:cubicBezTo>
                  <a:pt x="266" y="695"/>
                  <a:pt x="266" y="695"/>
                  <a:pt x="265" y="694"/>
                </a:cubicBezTo>
                <a:close/>
                <a:moveTo>
                  <a:pt x="263" y="667"/>
                </a:moveTo>
                <a:cubicBezTo>
                  <a:pt x="264" y="666"/>
                  <a:pt x="273" y="668"/>
                  <a:pt x="273" y="668"/>
                </a:cubicBezTo>
                <a:cubicBezTo>
                  <a:pt x="272" y="669"/>
                  <a:pt x="265" y="667"/>
                  <a:pt x="263" y="667"/>
                </a:cubicBezTo>
                <a:close/>
                <a:moveTo>
                  <a:pt x="270" y="681"/>
                </a:moveTo>
                <a:cubicBezTo>
                  <a:pt x="269" y="683"/>
                  <a:pt x="268" y="680"/>
                  <a:pt x="270" y="681"/>
                </a:cubicBezTo>
                <a:close/>
                <a:moveTo>
                  <a:pt x="268" y="696"/>
                </a:moveTo>
                <a:cubicBezTo>
                  <a:pt x="268" y="695"/>
                  <a:pt x="269" y="695"/>
                  <a:pt x="269" y="695"/>
                </a:cubicBezTo>
                <a:cubicBezTo>
                  <a:pt x="270" y="695"/>
                  <a:pt x="269" y="696"/>
                  <a:pt x="268" y="696"/>
                </a:cubicBezTo>
                <a:close/>
                <a:moveTo>
                  <a:pt x="269" y="689"/>
                </a:moveTo>
                <a:cubicBezTo>
                  <a:pt x="268" y="688"/>
                  <a:pt x="270" y="688"/>
                  <a:pt x="270" y="688"/>
                </a:cubicBezTo>
                <a:cubicBezTo>
                  <a:pt x="270" y="689"/>
                  <a:pt x="269" y="689"/>
                  <a:pt x="269" y="689"/>
                </a:cubicBezTo>
                <a:close/>
                <a:moveTo>
                  <a:pt x="269" y="673"/>
                </a:moveTo>
                <a:cubicBezTo>
                  <a:pt x="269" y="671"/>
                  <a:pt x="274" y="673"/>
                  <a:pt x="273" y="674"/>
                </a:cubicBezTo>
                <a:cubicBezTo>
                  <a:pt x="273" y="676"/>
                  <a:pt x="268" y="676"/>
                  <a:pt x="269" y="673"/>
                </a:cubicBezTo>
                <a:close/>
                <a:moveTo>
                  <a:pt x="272" y="683"/>
                </a:moveTo>
                <a:cubicBezTo>
                  <a:pt x="271" y="681"/>
                  <a:pt x="276" y="682"/>
                  <a:pt x="276" y="683"/>
                </a:cubicBezTo>
                <a:cubicBezTo>
                  <a:pt x="277" y="685"/>
                  <a:pt x="272" y="686"/>
                  <a:pt x="272" y="683"/>
                </a:cubicBezTo>
                <a:close/>
                <a:moveTo>
                  <a:pt x="275" y="696"/>
                </a:moveTo>
                <a:cubicBezTo>
                  <a:pt x="275" y="696"/>
                  <a:pt x="274" y="696"/>
                  <a:pt x="274" y="696"/>
                </a:cubicBezTo>
                <a:cubicBezTo>
                  <a:pt x="274" y="694"/>
                  <a:pt x="277" y="698"/>
                  <a:pt x="275" y="696"/>
                </a:cubicBezTo>
                <a:close/>
                <a:moveTo>
                  <a:pt x="274" y="701"/>
                </a:moveTo>
                <a:cubicBezTo>
                  <a:pt x="274" y="699"/>
                  <a:pt x="277" y="699"/>
                  <a:pt x="277" y="700"/>
                </a:cubicBezTo>
                <a:cubicBezTo>
                  <a:pt x="278" y="701"/>
                  <a:pt x="274" y="701"/>
                  <a:pt x="274" y="701"/>
                </a:cubicBezTo>
                <a:close/>
                <a:moveTo>
                  <a:pt x="282" y="681"/>
                </a:moveTo>
                <a:cubicBezTo>
                  <a:pt x="284" y="680"/>
                  <a:pt x="289" y="680"/>
                  <a:pt x="291" y="681"/>
                </a:cubicBezTo>
                <a:cubicBezTo>
                  <a:pt x="292" y="682"/>
                  <a:pt x="291" y="684"/>
                  <a:pt x="290" y="683"/>
                </a:cubicBezTo>
                <a:cubicBezTo>
                  <a:pt x="289" y="683"/>
                  <a:pt x="289" y="682"/>
                  <a:pt x="289" y="682"/>
                </a:cubicBezTo>
                <a:cubicBezTo>
                  <a:pt x="288" y="681"/>
                  <a:pt x="287" y="683"/>
                  <a:pt x="287" y="683"/>
                </a:cubicBezTo>
                <a:cubicBezTo>
                  <a:pt x="287" y="684"/>
                  <a:pt x="288" y="684"/>
                  <a:pt x="288" y="685"/>
                </a:cubicBezTo>
                <a:cubicBezTo>
                  <a:pt x="289" y="684"/>
                  <a:pt x="289" y="685"/>
                  <a:pt x="288" y="685"/>
                </a:cubicBezTo>
                <a:cubicBezTo>
                  <a:pt x="287" y="686"/>
                  <a:pt x="286" y="685"/>
                  <a:pt x="286" y="685"/>
                </a:cubicBezTo>
                <a:cubicBezTo>
                  <a:pt x="285" y="685"/>
                  <a:pt x="284" y="686"/>
                  <a:pt x="283" y="685"/>
                </a:cubicBezTo>
                <a:cubicBezTo>
                  <a:pt x="282" y="685"/>
                  <a:pt x="278" y="682"/>
                  <a:pt x="282" y="681"/>
                </a:cubicBezTo>
                <a:close/>
                <a:moveTo>
                  <a:pt x="291" y="693"/>
                </a:moveTo>
                <a:cubicBezTo>
                  <a:pt x="290" y="694"/>
                  <a:pt x="288" y="696"/>
                  <a:pt x="287" y="694"/>
                </a:cubicBezTo>
                <a:cubicBezTo>
                  <a:pt x="285" y="693"/>
                  <a:pt x="290" y="692"/>
                  <a:pt x="291" y="693"/>
                </a:cubicBezTo>
                <a:close/>
                <a:moveTo>
                  <a:pt x="289" y="706"/>
                </a:moveTo>
                <a:cubicBezTo>
                  <a:pt x="290" y="707"/>
                  <a:pt x="288" y="706"/>
                  <a:pt x="289" y="706"/>
                </a:cubicBezTo>
                <a:close/>
                <a:moveTo>
                  <a:pt x="292" y="708"/>
                </a:moveTo>
                <a:cubicBezTo>
                  <a:pt x="291" y="707"/>
                  <a:pt x="292" y="708"/>
                  <a:pt x="293" y="708"/>
                </a:cubicBezTo>
                <a:cubicBezTo>
                  <a:pt x="293" y="708"/>
                  <a:pt x="292" y="708"/>
                  <a:pt x="292" y="708"/>
                </a:cubicBezTo>
                <a:close/>
                <a:moveTo>
                  <a:pt x="304" y="701"/>
                </a:moveTo>
                <a:cubicBezTo>
                  <a:pt x="299" y="701"/>
                  <a:pt x="295" y="701"/>
                  <a:pt x="290" y="702"/>
                </a:cubicBezTo>
                <a:cubicBezTo>
                  <a:pt x="289" y="702"/>
                  <a:pt x="282" y="702"/>
                  <a:pt x="282" y="700"/>
                </a:cubicBezTo>
                <a:cubicBezTo>
                  <a:pt x="281" y="699"/>
                  <a:pt x="290" y="699"/>
                  <a:pt x="292" y="700"/>
                </a:cubicBezTo>
                <a:cubicBezTo>
                  <a:pt x="296" y="700"/>
                  <a:pt x="299" y="700"/>
                  <a:pt x="301" y="699"/>
                </a:cubicBezTo>
                <a:cubicBezTo>
                  <a:pt x="299" y="699"/>
                  <a:pt x="297" y="697"/>
                  <a:pt x="297" y="695"/>
                </a:cubicBezTo>
                <a:cubicBezTo>
                  <a:pt x="299" y="690"/>
                  <a:pt x="306" y="693"/>
                  <a:pt x="309" y="695"/>
                </a:cubicBezTo>
                <a:cubicBezTo>
                  <a:pt x="309" y="695"/>
                  <a:pt x="309" y="696"/>
                  <a:pt x="310" y="696"/>
                </a:cubicBezTo>
                <a:cubicBezTo>
                  <a:pt x="310" y="697"/>
                  <a:pt x="307" y="699"/>
                  <a:pt x="305" y="699"/>
                </a:cubicBezTo>
                <a:cubicBezTo>
                  <a:pt x="306" y="699"/>
                  <a:pt x="307" y="699"/>
                  <a:pt x="309" y="700"/>
                </a:cubicBezTo>
                <a:cubicBezTo>
                  <a:pt x="313" y="700"/>
                  <a:pt x="305" y="701"/>
                  <a:pt x="304" y="701"/>
                </a:cubicBezTo>
                <a:close/>
                <a:moveTo>
                  <a:pt x="308" y="684"/>
                </a:moveTo>
                <a:cubicBezTo>
                  <a:pt x="309" y="683"/>
                  <a:pt x="312" y="683"/>
                  <a:pt x="314" y="683"/>
                </a:cubicBezTo>
                <a:cubicBezTo>
                  <a:pt x="312" y="684"/>
                  <a:pt x="310" y="684"/>
                  <a:pt x="308" y="684"/>
                </a:cubicBezTo>
                <a:close/>
                <a:moveTo>
                  <a:pt x="313" y="612"/>
                </a:moveTo>
                <a:cubicBezTo>
                  <a:pt x="314" y="612"/>
                  <a:pt x="309" y="616"/>
                  <a:pt x="308" y="614"/>
                </a:cubicBezTo>
                <a:cubicBezTo>
                  <a:pt x="307" y="612"/>
                  <a:pt x="313" y="611"/>
                  <a:pt x="313" y="612"/>
                </a:cubicBezTo>
                <a:close/>
                <a:moveTo>
                  <a:pt x="313" y="683"/>
                </a:moveTo>
                <a:cubicBezTo>
                  <a:pt x="312" y="682"/>
                  <a:pt x="314" y="681"/>
                  <a:pt x="314" y="682"/>
                </a:cubicBezTo>
                <a:cubicBezTo>
                  <a:pt x="314" y="682"/>
                  <a:pt x="313" y="683"/>
                  <a:pt x="313" y="683"/>
                </a:cubicBezTo>
                <a:close/>
                <a:moveTo>
                  <a:pt x="313" y="589"/>
                </a:moveTo>
                <a:cubicBezTo>
                  <a:pt x="311" y="590"/>
                  <a:pt x="308" y="592"/>
                  <a:pt x="307" y="592"/>
                </a:cubicBezTo>
                <a:cubicBezTo>
                  <a:pt x="304" y="593"/>
                  <a:pt x="309" y="590"/>
                  <a:pt x="309" y="590"/>
                </a:cubicBezTo>
                <a:cubicBezTo>
                  <a:pt x="310" y="590"/>
                  <a:pt x="312" y="589"/>
                  <a:pt x="313" y="589"/>
                </a:cubicBezTo>
                <a:cubicBezTo>
                  <a:pt x="314" y="589"/>
                  <a:pt x="314" y="589"/>
                  <a:pt x="315" y="589"/>
                </a:cubicBezTo>
                <a:cubicBezTo>
                  <a:pt x="314" y="589"/>
                  <a:pt x="314" y="589"/>
                  <a:pt x="313" y="589"/>
                </a:cubicBezTo>
                <a:close/>
                <a:moveTo>
                  <a:pt x="315" y="519"/>
                </a:moveTo>
                <a:cubicBezTo>
                  <a:pt x="315" y="517"/>
                  <a:pt x="318" y="518"/>
                  <a:pt x="315" y="519"/>
                </a:cubicBezTo>
                <a:close/>
                <a:moveTo>
                  <a:pt x="317" y="683"/>
                </a:moveTo>
                <a:cubicBezTo>
                  <a:pt x="315" y="684"/>
                  <a:pt x="315" y="682"/>
                  <a:pt x="317" y="683"/>
                </a:cubicBezTo>
                <a:close/>
                <a:moveTo>
                  <a:pt x="317" y="683"/>
                </a:moveTo>
                <a:cubicBezTo>
                  <a:pt x="318" y="682"/>
                  <a:pt x="319" y="682"/>
                  <a:pt x="321" y="682"/>
                </a:cubicBezTo>
                <a:cubicBezTo>
                  <a:pt x="321" y="683"/>
                  <a:pt x="318" y="683"/>
                  <a:pt x="317" y="683"/>
                </a:cubicBezTo>
                <a:close/>
                <a:moveTo>
                  <a:pt x="333" y="104"/>
                </a:moveTo>
                <a:cubicBezTo>
                  <a:pt x="333" y="104"/>
                  <a:pt x="336" y="103"/>
                  <a:pt x="334" y="104"/>
                </a:cubicBezTo>
                <a:cubicBezTo>
                  <a:pt x="331" y="106"/>
                  <a:pt x="326" y="107"/>
                  <a:pt x="322" y="108"/>
                </a:cubicBezTo>
                <a:cubicBezTo>
                  <a:pt x="325" y="106"/>
                  <a:pt x="329" y="104"/>
                  <a:pt x="333" y="104"/>
                </a:cubicBezTo>
                <a:close/>
                <a:moveTo>
                  <a:pt x="323" y="170"/>
                </a:moveTo>
                <a:cubicBezTo>
                  <a:pt x="324" y="170"/>
                  <a:pt x="324" y="170"/>
                  <a:pt x="325" y="170"/>
                </a:cubicBezTo>
                <a:cubicBezTo>
                  <a:pt x="325" y="171"/>
                  <a:pt x="324" y="171"/>
                  <a:pt x="323" y="170"/>
                </a:cubicBezTo>
                <a:close/>
                <a:moveTo>
                  <a:pt x="322" y="617"/>
                </a:moveTo>
                <a:cubicBezTo>
                  <a:pt x="323" y="616"/>
                  <a:pt x="324" y="618"/>
                  <a:pt x="322" y="617"/>
                </a:cubicBezTo>
                <a:close/>
                <a:moveTo>
                  <a:pt x="322" y="627"/>
                </a:moveTo>
                <a:cubicBezTo>
                  <a:pt x="323" y="627"/>
                  <a:pt x="327" y="626"/>
                  <a:pt x="327" y="627"/>
                </a:cubicBezTo>
                <a:cubicBezTo>
                  <a:pt x="326" y="626"/>
                  <a:pt x="324" y="628"/>
                  <a:pt x="322" y="627"/>
                </a:cubicBezTo>
                <a:close/>
                <a:moveTo>
                  <a:pt x="327" y="574"/>
                </a:moveTo>
                <a:cubicBezTo>
                  <a:pt x="327" y="572"/>
                  <a:pt x="330" y="573"/>
                  <a:pt x="329" y="574"/>
                </a:cubicBezTo>
                <a:cubicBezTo>
                  <a:pt x="329" y="575"/>
                  <a:pt x="328" y="574"/>
                  <a:pt x="327" y="574"/>
                </a:cubicBezTo>
                <a:close/>
                <a:moveTo>
                  <a:pt x="329" y="627"/>
                </a:moveTo>
                <a:cubicBezTo>
                  <a:pt x="329" y="626"/>
                  <a:pt x="331" y="626"/>
                  <a:pt x="331" y="626"/>
                </a:cubicBezTo>
                <a:cubicBezTo>
                  <a:pt x="331" y="626"/>
                  <a:pt x="330" y="627"/>
                  <a:pt x="329" y="627"/>
                </a:cubicBezTo>
                <a:close/>
                <a:moveTo>
                  <a:pt x="329" y="589"/>
                </a:moveTo>
                <a:cubicBezTo>
                  <a:pt x="328" y="587"/>
                  <a:pt x="332" y="588"/>
                  <a:pt x="332" y="589"/>
                </a:cubicBezTo>
                <a:cubicBezTo>
                  <a:pt x="332" y="590"/>
                  <a:pt x="329" y="590"/>
                  <a:pt x="329" y="589"/>
                </a:cubicBezTo>
                <a:close/>
                <a:moveTo>
                  <a:pt x="328" y="583"/>
                </a:moveTo>
                <a:cubicBezTo>
                  <a:pt x="329" y="579"/>
                  <a:pt x="336" y="581"/>
                  <a:pt x="336" y="583"/>
                </a:cubicBezTo>
                <a:cubicBezTo>
                  <a:pt x="335" y="586"/>
                  <a:pt x="328" y="587"/>
                  <a:pt x="328" y="583"/>
                </a:cubicBezTo>
                <a:close/>
                <a:moveTo>
                  <a:pt x="335" y="131"/>
                </a:moveTo>
                <a:cubicBezTo>
                  <a:pt x="334" y="130"/>
                  <a:pt x="336" y="131"/>
                  <a:pt x="335" y="131"/>
                </a:cubicBezTo>
                <a:close/>
                <a:moveTo>
                  <a:pt x="336" y="659"/>
                </a:moveTo>
                <a:cubicBezTo>
                  <a:pt x="337" y="661"/>
                  <a:pt x="335" y="659"/>
                  <a:pt x="336" y="659"/>
                </a:cubicBezTo>
                <a:close/>
                <a:moveTo>
                  <a:pt x="336" y="131"/>
                </a:moveTo>
                <a:cubicBezTo>
                  <a:pt x="336" y="130"/>
                  <a:pt x="338" y="130"/>
                  <a:pt x="338" y="130"/>
                </a:cubicBezTo>
                <a:cubicBezTo>
                  <a:pt x="338" y="131"/>
                  <a:pt x="337" y="130"/>
                  <a:pt x="336" y="131"/>
                </a:cubicBezTo>
                <a:close/>
                <a:moveTo>
                  <a:pt x="337" y="711"/>
                </a:moveTo>
                <a:cubicBezTo>
                  <a:pt x="336" y="711"/>
                  <a:pt x="337" y="710"/>
                  <a:pt x="337" y="710"/>
                </a:cubicBezTo>
                <a:cubicBezTo>
                  <a:pt x="338" y="711"/>
                  <a:pt x="338" y="712"/>
                  <a:pt x="337" y="711"/>
                </a:cubicBezTo>
                <a:close/>
                <a:moveTo>
                  <a:pt x="337" y="685"/>
                </a:moveTo>
                <a:cubicBezTo>
                  <a:pt x="337" y="684"/>
                  <a:pt x="339" y="684"/>
                  <a:pt x="339" y="685"/>
                </a:cubicBezTo>
                <a:cubicBezTo>
                  <a:pt x="340" y="685"/>
                  <a:pt x="338" y="686"/>
                  <a:pt x="337" y="685"/>
                </a:cubicBezTo>
                <a:close/>
                <a:moveTo>
                  <a:pt x="338" y="705"/>
                </a:moveTo>
                <a:cubicBezTo>
                  <a:pt x="338" y="704"/>
                  <a:pt x="340" y="704"/>
                  <a:pt x="340" y="705"/>
                </a:cubicBezTo>
                <a:cubicBezTo>
                  <a:pt x="340" y="705"/>
                  <a:pt x="339" y="706"/>
                  <a:pt x="338" y="705"/>
                </a:cubicBezTo>
                <a:close/>
                <a:moveTo>
                  <a:pt x="338" y="680"/>
                </a:moveTo>
                <a:cubicBezTo>
                  <a:pt x="338" y="680"/>
                  <a:pt x="341" y="680"/>
                  <a:pt x="341" y="680"/>
                </a:cubicBezTo>
                <a:cubicBezTo>
                  <a:pt x="341" y="681"/>
                  <a:pt x="337" y="682"/>
                  <a:pt x="338" y="680"/>
                </a:cubicBezTo>
                <a:close/>
                <a:moveTo>
                  <a:pt x="342" y="110"/>
                </a:moveTo>
                <a:cubicBezTo>
                  <a:pt x="341" y="111"/>
                  <a:pt x="341" y="109"/>
                  <a:pt x="342" y="110"/>
                </a:cubicBezTo>
                <a:close/>
                <a:moveTo>
                  <a:pt x="328" y="108"/>
                </a:moveTo>
                <a:cubicBezTo>
                  <a:pt x="326" y="108"/>
                  <a:pt x="329" y="107"/>
                  <a:pt x="331" y="106"/>
                </a:cubicBezTo>
                <a:cubicBezTo>
                  <a:pt x="334" y="106"/>
                  <a:pt x="339" y="104"/>
                  <a:pt x="342" y="104"/>
                </a:cubicBezTo>
                <a:cubicBezTo>
                  <a:pt x="343" y="104"/>
                  <a:pt x="344" y="105"/>
                  <a:pt x="344" y="105"/>
                </a:cubicBezTo>
                <a:cubicBezTo>
                  <a:pt x="344" y="105"/>
                  <a:pt x="330" y="108"/>
                  <a:pt x="328" y="108"/>
                </a:cubicBezTo>
                <a:close/>
                <a:moveTo>
                  <a:pt x="345" y="576"/>
                </a:moveTo>
                <a:cubicBezTo>
                  <a:pt x="345" y="576"/>
                  <a:pt x="345" y="576"/>
                  <a:pt x="345" y="576"/>
                </a:cubicBezTo>
                <a:cubicBezTo>
                  <a:pt x="346" y="576"/>
                  <a:pt x="346" y="576"/>
                  <a:pt x="346" y="576"/>
                </a:cubicBezTo>
                <a:cubicBezTo>
                  <a:pt x="346" y="576"/>
                  <a:pt x="345" y="576"/>
                  <a:pt x="345" y="576"/>
                </a:cubicBezTo>
                <a:close/>
                <a:moveTo>
                  <a:pt x="346" y="704"/>
                </a:moveTo>
                <a:cubicBezTo>
                  <a:pt x="346" y="703"/>
                  <a:pt x="347" y="703"/>
                  <a:pt x="347" y="703"/>
                </a:cubicBezTo>
                <a:cubicBezTo>
                  <a:pt x="348" y="704"/>
                  <a:pt x="346" y="704"/>
                  <a:pt x="346" y="704"/>
                </a:cubicBezTo>
                <a:close/>
                <a:moveTo>
                  <a:pt x="344" y="537"/>
                </a:moveTo>
                <a:cubicBezTo>
                  <a:pt x="345" y="535"/>
                  <a:pt x="348" y="535"/>
                  <a:pt x="349" y="534"/>
                </a:cubicBezTo>
                <a:cubicBezTo>
                  <a:pt x="348" y="535"/>
                  <a:pt x="345" y="536"/>
                  <a:pt x="344" y="537"/>
                </a:cubicBezTo>
                <a:close/>
                <a:moveTo>
                  <a:pt x="348" y="89"/>
                </a:moveTo>
                <a:cubicBezTo>
                  <a:pt x="347" y="90"/>
                  <a:pt x="346" y="89"/>
                  <a:pt x="348" y="89"/>
                </a:cubicBezTo>
                <a:close/>
                <a:moveTo>
                  <a:pt x="347" y="71"/>
                </a:moveTo>
                <a:cubicBezTo>
                  <a:pt x="347" y="72"/>
                  <a:pt x="348" y="72"/>
                  <a:pt x="347" y="72"/>
                </a:cubicBezTo>
                <a:cubicBezTo>
                  <a:pt x="347" y="72"/>
                  <a:pt x="347" y="72"/>
                  <a:pt x="347" y="71"/>
                </a:cubicBezTo>
                <a:close/>
                <a:moveTo>
                  <a:pt x="345" y="44"/>
                </a:moveTo>
                <a:cubicBezTo>
                  <a:pt x="346" y="42"/>
                  <a:pt x="350" y="42"/>
                  <a:pt x="350" y="45"/>
                </a:cubicBezTo>
                <a:cubicBezTo>
                  <a:pt x="349" y="47"/>
                  <a:pt x="345" y="46"/>
                  <a:pt x="345" y="44"/>
                </a:cubicBezTo>
                <a:close/>
                <a:moveTo>
                  <a:pt x="350" y="626"/>
                </a:moveTo>
                <a:cubicBezTo>
                  <a:pt x="350" y="627"/>
                  <a:pt x="349" y="625"/>
                  <a:pt x="350" y="626"/>
                </a:cubicBezTo>
                <a:close/>
                <a:moveTo>
                  <a:pt x="350" y="205"/>
                </a:moveTo>
                <a:cubicBezTo>
                  <a:pt x="349" y="205"/>
                  <a:pt x="350" y="203"/>
                  <a:pt x="350" y="204"/>
                </a:cubicBezTo>
                <a:cubicBezTo>
                  <a:pt x="351" y="204"/>
                  <a:pt x="351" y="205"/>
                  <a:pt x="350" y="205"/>
                </a:cubicBezTo>
                <a:close/>
                <a:moveTo>
                  <a:pt x="538" y="122"/>
                </a:moveTo>
                <a:cubicBezTo>
                  <a:pt x="538" y="121"/>
                  <a:pt x="540" y="121"/>
                  <a:pt x="540" y="122"/>
                </a:cubicBezTo>
                <a:cubicBezTo>
                  <a:pt x="542" y="121"/>
                  <a:pt x="543" y="121"/>
                  <a:pt x="543" y="123"/>
                </a:cubicBezTo>
                <a:cubicBezTo>
                  <a:pt x="543" y="124"/>
                  <a:pt x="539" y="125"/>
                  <a:pt x="538" y="124"/>
                </a:cubicBezTo>
                <a:cubicBezTo>
                  <a:pt x="538" y="123"/>
                  <a:pt x="538" y="123"/>
                  <a:pt x="538" y="122"/>
                </a:cubicBezTo>
                <a:cubicBezTo>
                  <a:pt x="538" y="122"/>
                  <a:pt x="538" y="122"/>
                  <a:pt x="538" y="122"/>
                </a:cubicBezTo>
                <a:close/>
                <a:moveTo>
                  <a:pt x="538" y="121"/>
                </a:moveTo>
                <a:cubicBezTo>
                  <a:pt x="538" y="121"/>
                  <a:pt x="536" y="122"/>
                  <a:pt x="536" y="121"/>
                </a:cubicBezTo>
                <a:cubicBezTo>
                  <a:pt x="536" y="121"/>
                  <a:pt x="537" y="121"/>
                  <a:pt x="538" y="121"/>
                </a:cubicBezTo>
                <a:close/>
                <a:moveTo>
                  <a:pt x="531" y="126"/>
                </a:moveTo>
                <a:cubicBezTo>
                  <a:pt x="531" y="126"/>
                  <a:pt x="531" y="127"/>
                  <a:pt x="530" y="127"/>
                </a:cubicBezTo>
                <a:cubicBezTo>
                  <a:pt x="530" y="127"/>
                  <a:pt x="531" y="126"/>
                  <a:pt x="531" y="126"/>
                </a:cubicBezTo>
                <a:close/>
                <a:moveTo>
                  <a:pt x="531" y="154"/>
                </a:moveTo>
                <a:cubicBezTo>
                  <a:pt x="529" y="157"/>
                  <a:pt x="525" y="158"/>
                  <a:pt x="522" y="159"/>
                </a:cubicBezTo>
                <a:cubicBezTo>
                  <a:pt x="524" y="156"/>
                  <a:pt x="528" y="156"/>
                  <a:pt x="531" y="154"/>
                </a:cubicBezTo>
                <a:close/>
                <a:moveTo>
                  <a:pt x="525" y="201"/>
                </a:moveTo>
                <a:cubicBezTo>
                  <a:pt x="524" y="202"/>
                  <a:pt x="523" y="203"/>
                  <a:pt x="521" y="203"/>
                </a:cubicBezTo>
                <a:cubicBezTo>
                  <a:pt x="522" y="202"/>
                  <a:pt x="523" y="201"/>
                  <a:pt x="525" y="201"/>
                </a:cubicBezTo>
                <a:close/>
                <a:moveTo>
                  <a:pt x="521" y="198"/>
                </a:moveTo>
                <a:cubicBezTo>
                  <a:pt x="521" y="198"/>
                  <a:pt x="521" y="197"/>
                  <a:pt x="522" y="197"/>
                </a:cubicBezTo>
                <a:cubicBezTo>
                  <a:pt x="524" y="195"/>
                  <a:pt x="523" y="200"/>
                  <a:pt x="521" y="198"/>
                </a:cubicBezTo>
                <a:close/>
                <a:moveTo>
                  <a:pt x="524" y="195"/>
                </a:moveTo>
                <a:cubicBezTo>
                  <a:pt x="524" y="194"/>
                  <a:pt x="525" y="194"/>
                  <a:pt x="525" y="194"/>
                </a:cubicBezTo>
                <a:cubicBezTo>
                  <a:pt x="526" y="195"/>
                  <a:pt x="524" y="195"/>
                  <a:pt x="524" y="195"/>
                </a:cubicBezTo>
                <a:close/>
                <a:moveTo>
                  <a:pt x="531" y="196"/>
                </a:moveTo>
                <a:cubicBezTo>
                  <a:pt x="530" y="198"/>
                  <a:pt x="527" y="199"/>
                  <a:pt x="525" y="201"/>
                </a:cubicBezTo>
                <a:cubicBezTo>
                  <a:pt x="526" y="199"/>
                  <a:pt x="529" y="197"/>
                  <a:pt x="531" y="196"/>
                </a:cubicBezTo>
                <a:close/>
                <a:moveTo>
                  <a:pt x="529" y="172"/>
                </a:moveTo>
                <a:cubicBezTo>
                  <a:pt x="531" y="170"/>
                  <a:pt x="530" y="174"/>
                  <a:pt x="528" y="173"/>
                </a:cubicBezTo>
                <a:cubicBezTo>
                  <a:pt x="528" y="173"/>
                  <a:pt x="529" y="172"/>
                  <a:pt x="529" y="172"/>
                </a:cubicBezTo>
                <a:close/>
                <a:moveTo>
                  <a:pt x="522" y="181"/>
                </a:moveTo>
                <a:cubicBezTo>
                  <a:pt x="521" y="181"/>
                  <a:pt x="523" y="180"/>
                  <a:pt x="523" y="181"/>
                </a:cubicBezTo>
                <a:cubicBezTo>
                  <a:pt x="524" y="181"/>
                  <a:pt x="522" y="182"/>
                  <a:pt x="522" y="181"/>
                </a:cubicBezTo>
                <a:close/>
                <a:moveTo>
                  <a:pt x="529" y="135"/>
                </a:moveTo>
                <a:cubicBezTo>
                  <a:pt x="528" y="136"/>
                  <a:pt x="526" y="138"/>
                  <a:pt x="524" y="138"/>
                </a:cubicBezTo>
                <a:cubicBezTo>
                  <a:pt x="525" y="138"/>
                  <a:pt x="526" y="138"/>
                  <a:pt x="525" y="139"/>
                </a:cubicBezTo>
                <a:cubicBezTo>
                  <a:pt x="525" y="140"/>
                  <a:pt x="522" y="140"/>
                  <a:pt x="522" y="139"/>
                </a:cubicBezTo>
                <a:cubicBezTo>
                  <a:pt x="522" y="139"/>
                  <a:pt x="523" y="138"/>
                  <a:pt x="524" y="138"/>
                </a:cubicBezTo>
                <a:cubicBezTo>
                  <a:pt x="524" y="138"/>
                  <a:pt x="524" y="138"/>
                  <a:pt x="524" y="138"/>
                </a:cubicBezTo>
                <a:cubicBezTo>
                  <a:pt x="525" y="136"/>
                  <a:pt x="527" y="136"/>
                  <a:pt x="529" y="135"/>
                </a:cubicBezTo>
                <a:close/>
                <a:moveTo>
                  <a:pt x="525" y="117"/>
                </a:moveTo>
                <a:cubicBezTo>
                  <a:pt x="525" y="117"/>
                  <a:pt x="525" y="117"/>
                  <a:pt x="524" y="117"/>
                </a:cubicBezTo>
                <a:cubicBezTo>
                  <a:pt x="524" y="117"/>
                  <a:pt x="524" y="116"/>
                  <a:pt x="525" y="117"/>
                </a:cubicBezTo>
                <a:close/>
                <a:moveTo>
                  <a:pt x="524" y="86"/>
                </a:moveTo>
                <a:cubicBezTo>
                  <a:pt x="523" y="86"/>
                  <a:pt x="522" y="86"/>
                  <a:pt x="521" y="86"/>
                </a:cubicBezTo>
                <a:cubicBezTo>
                  <a:pt x="522" y="85"/>
                  <a:pt x="523" y="85"/>
                  <a:pt x="524" y="86"/>
                </a:cubicBezTo>
                <a:close/>
                <a:moveTo>
                  <a:pt x="521" y="87"/>
                </a:moveTo>
                <a:cubicBezTo>
                  <a:pt x="521" y="87"/>
                  <a:pt x="523" y="88"/>
                  <a:pt x="523" y="88"/>
                </a:cubicBezTo>
                <a:cubicBezTo>
                  <a:pt x="523" y="88"/>
                  <a:pt x="520" y="88"/>
                  <a:pt x="521" y="87"/>
                </a:cubicBezTo>
                <a:close/>
                <a:moveTo>
                  <a:pt x="523" y="92"/>
                </a:moveTo>
                <a:cubicBezTo>
                  <a:pt x="523" y="92"/>
                  <a:pt x="521" y="92"/>
                  <a:pt x="521" y="91"/>
                </a:cubicBezTo>
                <a:cubicBezTo>
                  <a:pt x="522" y="90"/>
                  <a:pt x="523" y="91"/>
                  <a:pt x="523" y="92"/>
                </a:cubicBezTo>
                <a:close/>
                <a:moveTo>
                  <a:pt x="521" y="105"/>
                </a:moveTo>
                <a:cubicBezTo>
                  <a:pt x="521" y="106"/>
                  <a:pt x="520" y="104"/>
                  <a:pt x="521" y="105"/>
                </a:cubicBezTo>
                <a:close/>
                <a:moveTo>
                  <a:pt x="525" y="106"/>
                </a:moveTo>
                <a:cubicBezTo>
                  <a:pt x="527" y="106"/>
                  <a:pt x="528" y="108"/>
                  <a:pt x="526" y="111"/>
                </a:cubicBezTo>
                <a:cubicBezTo>
                  <a:pt x="525" y="112"/>
                  <a:pt x="523" y="112"/>
                  <a:pt x="522" y="112"/>
                </a:cubicBezTo>
                <a:cubicBezTo>
                  <a:pt x="520" y="112"/>
                  <a:pt x="518" y="112"/>
                  <a:pt x="518" y="112"/>
                </a:cubicBezTo>
                <a:cubicBezTo>
                  <a:pt x="518" y="112"/>
                  <a:pt x="519" y="112"/>
                  <a:pt x="519" y="112"/>
                </a:cubicBezTo>
                <a:cubicBezTo>
                  <a:pt x="519" y="112"/>
                  <a:pt x="518" y="112"/>
                  <a:pt x="518" y="112"/>
                </a:cubicBezTo>
                <a:cubicBezTo>
                  <a:pt x="518" y="112"/>
                  <a:pt x="518" y="111"/>
                  <a:pt x="518" y="111"/>
                </a:cubicBezTo>
                <a:cubicBezTo>
                  <a:pt x="517" y="110"/>
                  <a:pt x="522" y="106"/>
                  <a:pt x="525" y="106"/>
                </a:cubicBezTo>
                <a:close/>
                <a:moveTo>
                  <a:pt x="520" y="133"/>
                </a:moveTo>
                <a:cubicBezTo>
                  <a:pt x="522" y="131"/>
                  <a:pt x="522" y="133"/>
                  <a:pt x="520" y="133"/>
                </a:cubicBezTo>
                <a:close/>
                <a:moveTo>
                  <a:pt x="519" y="147"/>
                </a:moveTo>
                <a:cubicBezTo>
                  <a:pt x="519" y="146"/>
                  <a:pt x="521" y="145"/>
                  <a:pt x="521" y="146"/>
                </a:cubicBezTo>
                <a:cubicBezTo>
                  <a:pt x="522" y="147"/>
                  <a:pt x="520" y="147"/>
                  <a:pt x="519" y="147"/>
                </a:cubicBezTo>
                <a:close/>
                <a:moveTo>
                  <a:pt x="513" y="162"/>
                </a:moveTo>
                <a:cubicBezTo>
                  <a:pt x="512" y="161"/>
                  <a:pt x="516" y="159"/>
                  <a:pt x="516" y="161"/>
                </a:cubicBezTo>
                <a:cubicBezTo>
                  <a:pt x="517" y="162"/>
                  <a:pt x="513" y="163"/>
                  <a:pt x="513" y="162"/>
                </a:cubicBezTo>
                <a:close/>
                <a:moveTo>
                  <a:pt x="516" y="163"/>
                </a:moveTo>
                <a:cubicBezTo>
                  <a:pt x="516" y="164"/>
                  <a:pt x="515" y="165"/>
                  <a:pt x="516" y="164"/>
                </a:cubicBezTo>
                <a:cubicBezTo>
                  <a:pt x="516" y="164"/>
                  <a:pt x="516" y="164"/>
                  <a:pt x="516" y="163"/>
                </a:cubicBezTo>
                <a:close/>
                <a:moveTo>
                  <a:pt x="514" y="191"/>
                </a:moveTo>
                <a:cubicBezTo>
                  <a:pt x="515" y="190"/>
                  <a:pt x="516" y="192"/>
                  <a:pt x="514" y="191"/>
                </a:cubicBezTo>
                <a:close/>
                <a:moveTo>
                  <a:pt x="512" y="192"/>
                </a:moveTo>
                <a:cubicBezTo>
                  <a:pt x="512" y="191"/>
                  <a:pt x="514" y="191"/>
                  <a:pt x="514" y="191"/>
                </a:cubicBezTo>
                <a:cubicBezTo>
                  <a:pt x="514" y="192"/>
                  <a:pt x="512" y="192"/>
                  <a:pt x="512" y="192"/>
                </a:cubicBezTo>
                <a:close/>
                <a:moveTo>
                  <a:pt x="514" y="247"/>
                </a:moveTo>
                <a:cubicBezTo>
                  <a:pt x="514" y="248"/>
                  <a:pt x="513" y="245"/>
                  <a:pt x="514" y="247"/>
                </a:cubicBezTo>
                <a:close/>
                <a:moveTo>
                  <a:pt x="504" y="183"/>
                </a:moveTo>
                <a:cubicBezTo>
                  <a:pt x="506" y="182"/>
                  <a:pt x="506" y="181"/>
                  <a:pt x="504" y="181"/>
                </a:cubicBezTo>
                <a:cubicBezTo>
                  <a:pt x="505" y="178"/>
                  <a:pt x="508" y="175"/>
                  <a:pt x="511" y="176"/>
                </a:cubicBezTo>
                <a:cubicBezTo>
                  <a:pt x="517" y="179"/>
                  <a:pt x="509" y="186"/>
                  <a:pt x="504" y="183"/>
                </a:cubicBezTo>
                <a:close/>
                <a:moveTo>
                  <a:pt x="505" y="184"/>
                </a:moveTo>
                <a:cubicBezTo>
                  <a:pt x="505" y="184"/>
                  <a:pt x="505" y="184"/>
                  <a:pt x="505" y="184"/>
                </a:cubicBezTo>
                <a:cubicBezTo>
                  <a:pt x="506" y="186"/>
                  <a:pt x="503" y="183"/>
                  <a:pt x="505" y="184"/>
                </a:cubicBezTo>
                <a:close/>
                <a:moveTo>
                  <a:pt x="494" y="127"/>
                </a:moveTo>
                <a:cubicBezTo>
                  <a:pt x="494" y="127"/>
                  <a:pt x="497" y="125"/>
                  <a:pt x="498" y="127"/>
                </a:cubicBezTo>
                <a:cubicBezTo>
                  <a:pt x="498" y="128"/>
                  <a:pt x="494" y="129"/>
                  <a:pt x="494" y="127"/>
                </a:cubicBezTo>
                <a:close/>
                <a:moveTo>
                  <a:pt x="496" y="219"/>
                </a:moveTo>
                <a:cubicBezTo>
                  <a:pt x="495" y="219"/>
                  <a:pt x="496" y="218"/>
                  <a:pt x="496" y="218"/>
                </a:cubicBezTo>
                <a:cubicBezTo>
                  <a:pt x="497" y="218"/>
                  <a:pt x="496" y="219"/>
                  <a:pt x="496" y="219"/>
                </a:cubicBezTo>
                <a:close/>
                <a:moveTo>
                  <a:pt x="493" y="182"/>
                </a:moveTo>
                <a:cubicBezTo>
                  <a:pt x="493" y="181"/>
                  <a:pt x="495" y="181"/>
                  <a:pt x="495" y="181"/>
                </a:cubicBezTo>
                <a:cubicBezTo>
                  <a:pt x="496" y="182"/>
                  <a:pt x="494" y="183"/>
                  <a:pt x="493" y="182"/>
                </a:cubicBezTo>
                <a:close/>
                <a:moveTo>
                  <a:pt x="494" y="221"/>
                </a:moveTo>
                <a:cubicBezTo>
                  <a:pt x="494" y="221"/>
                  <a:pt x="495" y="220"/>
                  <a:pt x="495" y="220"/>
                </a:cubicBezTo>
                <a:cubicBezTo>
                  <a:pt x="495" y="220"/>
                  <a:pt x="494" y="222"/>
                  <a:pt x="494" y="221"/>
                </a:cubicBezTo>
                <a:close/>
                <a:moveTo>
                  <a:pt x="484" y="206"/>
                </a:moveTo>
                <a:cubicBezTo>
                  <a:pt x="487" y="204"/>
                  <a:pt x="490" y="201"/>
                  <a:pt x="492" y="200"/>
                </a:cubicBezTo>
                <a:cubicBezTo>
                  <a:pt x="492" y="200"/>
                  <a:pt x="494" y="199"/>
                  <a:pt x="493" y="200"/>
                </a:cubicBezTo>
                <a:cubicBezTo>
                  <a:pt x="492" y="203"/>
                  <a:pt x="487" y="205"/>
                  <a:pt x="484" y="206"/>
                </a:cubicBezTo>
                <a:close/>
                <a:moveTo>
                  <a:pt x="491" y="221"/>
                </a:moveTo>
                <a:cubicBezTo>
                  <a:pt x="491" y="220"/>
                  <a:pt x="493" y="220"/>
                  <a:pt x="493" y="221"/>
                </a:cubicBezTo>
                <a:cubicBezTo>
                  <a:pt x="493" y="222"/>
                  <a:pt x="491" y="222"/>
                  <a:pt x="491" y="221"/>
                </a:cubicBezTo>
                <a:close/>
                <a:moveTo>
                  <a:pt x="480" y="95"/>
                </a:moveTo>
                <a:cubicBezTo>
                  <a:pt x="482" y="94"/>
                  <a:pt x="483" y="93"/>
                  <a:pt x="485" y="93"/>
                </a:cubicBezTo>
                <a:cubicBezTo>
                  <a:pt x="483" y="94"/>
                  <a:pt x="482" y="95"/>
                  <a:pt x="480" y="95"/>
                </a:cubicBezTo>
                <a:close/>
                <a:moveTo>
                  <a:pt x="481" y="162"/>
                </a:moveTo>
                <a:cubicBezTo>
                  <a:pt x="481" y="160"/>
                  <a:pt x="484" y="161"/>
                  <a:pt x="481" y="162"/>
                </a:cubicBezTo>
                <a:close/>
                <a:moveTo>
                  <a:pt x="482" y="109"/>
                </a:moveTo>
                <a:cubicBezTo>
                  <a:pt x="481" y="112"/>
                  <a:pt x="478" y="110"/>
                  <a:pt x="482" y="109"/>
                </a:cubicBezTo>
                <a:close/>
                <a:moveTo>
                  <a:pt x="496" y="72"/>
                </a:moveTo>
                <a:cubicBezTo>
                  <a:pt x="496" y="73"/>
                  <a:pt x="495" y="73"/>
                  <a:pt x="494" y="73"/>
                </a:cubicBezTo>
                <a:cubicBezTo>
                  <a:pt x="494" y="73"/>
                  <a:pt x="496" y="71"/>
                  <a:pt x="496" y="72"/>
                </a:cubicBezTo>
                <a:close/>
                <a:moveTo>
                  <a:pt x="494" y="43"/>
                </a:moveTo>
                <a:cubicBezTo>
                  <a:pt x="494" y="43"/>
                  <a:pt x="496" y="43"/>
                  <a:pt x="496" y="43"/>
                </a:cubicBezTo>
                <a:cubicBezTo>
                  <a:pt x="497" y="45"/>
                  <a:pt x="494" y="44"/>
                  <a:pt x="494" y="43"/>
                </a:cubicBezTo>
                <a:close/>
                <a:moveTo>
                  <a:pt x="493" y="64"/>
                </a:moveTo>
                <a:cubicBezTo>
                  <a:pt x="493" y="64"/>
                  <a:pt x="494" y="64"/>
                  <a:pt x="495" y="65"/>
                </a:cubicBezTo>
                <a:cubicBezTo>
                  <a:pt x="495" y="66"/>
                  <a:pt x="493" y="65"/>
                  <a:pt x="493" y="64"/>
                </a:cubicBezTo>
                <a:close/>
                <a:moveTo>
                  <a:pt x="499" y="87"/>
                </a:moveTo>
                <a:cubicBezTo>
                  <a:pt x="498" y="89"/>
                  <a:pt x="488" y="88"/>
                  <a:pt x="488" y="87"/>
                </a:cubicBezTo>
                <a:cubicBezTo>
                  <a:pt x="489" y="86"/>
                  <a:pt x="496" y="88"/>
                  <a:pt x="499" y="87"/>
                </a:cubicBezTo>
                <a:close/>
                <a:moveTo>
                  <a:pt x="493" y="105"/>
                </a:moveTo>
                <a:cubicBezTo>
                  <a:pt x="493" y="105"/>
                  <a:pt x="493" y="105"/>
                  <a:pt x="493" y="105"/>
                </a:cubicBezTo>
                <a:cubicBezTo>
                  <a:pt x="493" y="105"/>
                  <a:pt x="493" y="105"/>
                  <a:pt x="492" y="105"/>
                </a:cubicBezTo>
                <a:cubicBezTo>
                  <a:pt x="489" y="105"/>
                  <a:pt x="493" y="97"/>
                  <a:pt x="497" y="101"/>
                </a:cubicBezTo>
                <a:cubicBezTo>
                  <a:pt x="498" y="102"/>
                  <a:pt x="498" y="102"/>
                  <a:pt x="498" y="103"/>
                </a:cubicBezTo>
                <a:cubicBezTo>
                  <a:pt x="498" y="106"/>
                  <a:pt x="494" y="107"/>
                  <a:pt x="493" y="105"/>
                </a:cubicBezTo>
                <a:close/>
                <a:moveTo>
                  <a:pt x="495" y="108"/>
                </a:moveTo>
                <a:cubicBezTo>
                  <a:pt x="495" y="108"/>
                  <a:pt x="494" y="109"/>
                  <a:pt x="494" y="108"/>
                </a:cubicBezTo>
                <a:cubicBezTo>
                  <a:pt x="493" y="108"/>
                  <a:pt x="495" y="107"/>
                  <a:pt x="495" y="108"/>
                </a:cubicBezTo>
                <a:close/>
                <a:moveTo>
                  <a:pt x="494" y="174"/>
                </a:moveTo>
                <a:cubicBezTo>
                  <a:pt x="494" y="175"/>
                  <a:pt x="492" y="176"/>
                  <a:pt x="492" y="175"/>
                </a:cubicBezTo>
                <a:cubicBezTo>
                  <a:pt x="492" y="174"/>
                  <a:pt x="494" y="173"/>
                  <a:pt x="494" y="174"/>
                </a:cubicBezTo>
                <a:close/>
                <a:moveTo>
                  <a:pt x="495" y="98"/>
                </a:moveTo>
                <a:cubicBezTo>
                  <a:pt x="496" y="99"/>
                  <a:pt x="494" y="98"/>
                  <a:pt x="495" y="98"/>
                </a:cubicBezTo>
                <a:close/>
                <a:moveTo>
                  <a:pt x="499" y="91"/>
                </a:moveTo>
                <a:cubicBezTo>
                  <a:pt x="498" y="92"/>
                  <a:pt x="497" y="91"/>
                  <a:pt x="499" y="91"/>
                </a:cubicBezTo>
                <a:close/>
                <a:moveTo>
                  <a:pt x="491" y="166"/>
                </a:moveTo>
                <a:cubicBezTo>
                  <a:pt x="491" y="167"/>
                  <a:pt x="489" y="169"/>
                  <a:pt x="488" y="169"/>
                </a:cubicBezTo>
                <a:cubicBezTo>
                  <a:pt x="488" y="167"/>
                  <a:pt x="490" y="167"/>
                  <a:pt x="491" y="166"/>
                </a:cubicBezTo>
                <a:close/>
                <a:moveTo>
                  <a:pt x="485" y="144"/>
                </a:moveTo>
                <a:cubicBezTo>
                  <a:pt x="488" y="143"/>
                  <a:pt x="489" y="145"/>
                  <a:pt x="485" y="144"/>
                </a:cubicBezTo>
                <a:close/>
                <a:moveTo>
                  <a:pt x="486" y="93"/>
                </a:moveTo>
                <a:cubicBezTo>
                  <a:pt x="488" y="92"/>
                  <a:pt x="489" y="91"/>
                  <a:pt x="491" y="90"/>
                </a:cubicBezTo>
                <a:cubicBezTo>
                  <a:pt x="490" y="92"/>
                  <a:pt x="488" y="92"/>
                  <a:pt x="486" y="93"/>
                </a:cubicBezTo>
                <a:close/>
                <a:moveTo>
                  <a:pt x="491" y="61"/>
                </a:moveTo>
                <a:cubicBezTo>
                  <a:pt x="491" y="60"/>
                  <a:pt x="492" y="60"/>
                  <a:pt x="493" y="61"/>
                </a:cubicBezTo>
                <a:cubicBezTo>
                  <a:pt x="492" y="61"/>
                  <a:pt x="492" y="61"/>
                  <a:pt x="491" y="61"/>
                </a:cubicBezTo>
                <a:close/>
                <a:moveTo>
                  <a:pt x="490" y="74"/>
                </a:moveTo>
                <a:cubicBezTo>
                  <a:pt x="491" y="73"/>
                  <a:pt x="491" y="75"/>
                  <a:pt x="490" y="74"/>
                </a:cubicBezTo>
                <a:close/>
                <a:moveTo>
                  <a:pt x="489" y="67"/>
                </a:moveTo>
                <a:cubicBezTo>
                  <a:pt x="488" y="66"/>
                  <a:pt x="490" y="66"/>
                  <a:pt x="490" y="66"/>
                </a:cubicBezTo>
                <a:cubicBezTo>
                  <a:pt x="491" y="67"/>
                  <a:pt x="489" y="68"/>
                  <a:pt x="489" y="67"/>
                </a:cubicBezTo>
                <a:close/>
                <a:moveTo>
                  <a:pt x="488" y="60"/>
                </a:moveTo>
                <a:cubicBezTo>
                  <a:pt x="488" y="60"/>
                  <a:pt x="489" y="60"/>
                  <a:pt x="489" y="60"/>
                </a:cubicBezTo>
                <a:cubicBezTo>
                  <a:pt x="489" y="60"/>
                  <a:pt x="489" y="61"/>
                  <a:pt x="488" y="60"/>
                </a:cubicBezTo>
                <a:close/>
                <a:moveTo>
                  <a:pt x="492" y="82"/>
                </a:moveTo>
                <a:cubicBezTo>
                  <a:pt x="492" y="84"/>
                  <a:pt x="487" y="83"/>
                  <a:pt x="487" y="81"/>
                </a:cubicBezTo>
                <a:cubicBezTo>
                  <a:pt x="487" y="79"/>
                  <a:pt x="492" y="79"/>
                  <a:pt x="492" y="82"/>
                </a:cubicBezTo>
                <a:close/>
                <a:moveTo>
                  <a:pt x="483" y="73"/>
                </a:moveTo>
                <a:cubicBezTo>
                  <a:pt x="482" y="71"/>
                  <a:pt x="487" y="70"/>
                  <a:pt x="487" y="72"/>
                </a:cubicBezTo>
                <a:cubicBezTo>
                  <a:pt x="488" y="75"/>
                  <a:pt x="483" y="74"/>
                  <a:pt x="483" y="73"/>
                </a:cubicBezTo>
                <a:close/>
                <a:moveTo>
                  <a:pt x="483" y="60"/>
                </a:moveTo>
                <a:cubicBezTo>
                  <a:pt x="483" y="60"/>
                  <a:pt x="483" y="60"/>
                  <a:pt x="483" y="60"/>
                </a:cubicBezTo>
                <a:cubicBezTo>
                  <a:pt x="484" y="62"/>
                  <a:pt x="481" y="59"/>
                  <a:pt x="483" y="60"/>
                </a:cubicBezTo>
                <a:close/>
                <a:moveTo>
                  <a:pt x="482" y="62"/>
                </a:moveTo>
                <a:cubicBezTo>
                  <a:pt x="483" y="63"/>
                  <a:pt x="481" y="63"/>
                  <a:pt x="481" y="62"/>
                </a:cubicBezTo>
                <a:cubicBezTo>
                  <a:pt x="481" y="62"/>
                  <a:pt x="482" y="62"/>
                  <a:pt x="482" y="62"/>
                </a:cubicBezTo>
                <a:close/>
                <a:moveTo>
                  <a:pt x="487" y="184"/>
                </a:moveTo>
                <a:cubicBezTo>
                  <a:pt x="487" y="185"/>
                  <a:pt x="485" y="186"/>
                  <a:pt x="484" y="186"/>
                </a:cubicBezTo>
                <a:cubicBezTo>
                  <a:pt x="485" y="185"/>
                  <a:pt x="486" y="185"/>
                  <a:pt x="487" y="184"/>
                </a:cubicBezTo>
                <a:close/>
                <a:moveTo>
                  <a:pt x="495" y="174"/>
                </a:moveTo>
                <a:cubicBezTo>
                  <a:pt x="495" y="174"/>
                  <a:pt x="495" y="174"/>
                  <a:pt x="495" y="174"/>
                </a:cubicBezTo>
                <a:cubicBezTo>
                  <a:pt x="495" y="175"/>
                  <a:pt x="494" y="175"/>
                  <a:pt x="495" y="174"/>
                </a:cubicBezTo>
                <a:close/>
                <a:moveTo>
                  <a:pt x="498" y="141"/>
                </a:moveTo>
                <a:cubicBezTo>
                  <a:pt x="499" y="142"/>
                  <a:pt x="497" y="143"/>
                  <a:pt x="497" y="142"/>
                </a:cubicBezTo>
                <a:cubicBezTo>
                  <a:pt x="496" y="141"/>
                  <a:pt x="498" y="141"/>
                  <a:pt x="498" y="141"/>
                </a:cubicBezTo>
                <a:close/>
                <a:moveTo>
                  <a:pt x="497" y="131"/>
                </a:moveTo>
                <a:cubicBezTo>
                  <a:pt x="497" y="131"/>
                  <a:pt x="498" y="131"/>
                  <a:pt x="498" y="131"/>
                </a:cubicBezTo>
                <a:cubicBezTo>
                  <a:pt x="499" y="132"/>
                  <a:pt x="497" y="132"/>
                  <a:pt x="497" y="131"/>
                </a:cubicBezTo>
                <a:close/>
                <a:moveTo>
                  <a:pt x="498" y="128"/>
                </a:moveTo>
                <a:cubicBezTo>
                  <a:pt x="499" y="129"/>
                  <a:pt x="500" y="126"/>
                  <a:pt x="501" y="126"/>
                </a:cubicBezTo>
                <a:cubicBezTo>
                  <a:pt x="508" y="122"/>
                  <a:pt x="510" y="132"/>
                  <a:pt x="502" y="132"/>
                </a:cubicBezTo>
                <a:cubicBezTo>
                  <a:pt x="501" y="132"/>
                  <a:pt x="498" y="131"/>
                  <a:pt x="498" y="128"/>
                </a:cubicBezTo>
                <a:close/>
                <a:moveTo>
                  <a:pt x="502" y="94"/>
                </a:moveTo>
                <a:cubicBezTo>
                  <a:pt x="503" y="93"/>
                  <a:pt x="504" y="95"/>
                  <a:pt x="502" y="94"/>
                </a:cubicBezTo>
                <a:close/>
                <a:moveTo>
                  <a:pt x="505" y="67"/>
                </a:moveTo>
                <a:cubicBezTo>
                  <a:pt x="505" y="67"/>
                  <a:pt x="505" y="68"/>
                  <a:pt x="504" y="68"/>
                </a:cubicBezTo>
                <a:cubicBezTo>
                  <a:pt x="502" y="68"/>
                  <a:pt x="504" y="64"/>
                  <a:pt x="505" y="67"/>
                </a:cubicBezTo>
                <a:close/>
                <a:moveTo>
                  <a:pt x="503" y="121"/>
                </a:moveTo>
                <a:cubicBezTo>
                  <a:pt x="504" y="121"/>
                  <a:pt x="502" y="123"/>
                  <a:pt x="501" y="122"/>
                </a:cubicBezTo>
                <a:cubicBezTo>
                  <a:pt x="502" y="122"/>
                  <a:pt x="502" y="122"/>
                  <a:pt x="503" y="121"/>
                </a:cubicBezTo>
                <a:close/>
                <a:moveTo>
                  <a:pt x="506" y="123"/>
                </a:moveTo>
                <a:cubicBezTo>
                  <a:pt x="507" y="123"/>
                  <a:pt x="505" y="124"/>
                  <a:pt x="505" y="124"/>
                </a:cubicBezTo>
                <a:cubicBezTo>
                  <a:pt x="505" y="123"/>
                  <a:pt x="505" y="122"/>
                  <a:pt x="506" y="123"/>
                </a:cubicBezTo>
                <a:close/>
                <a:moveTo>
                  <a:pt x="506" y="142"/>
                </a:moveTo>
                <a:cubicBezTo>
                  <a:pt x="507" y="142"/>
                  <a:pt x="505" y="143"/>
                  <a:pt x="505" y="142"/>
                </a:cubicBezTo>
                <a:cubicBezTo>
                  <a:pt x="505" y="142"/>
                  <a:pt x="506" y="142"/>
                  <a:pt x="506" y="142"/>
                </a:cubicBezTo>
                <a:close/>
                <a:moveTo>
                  <a:pt x="502" y="137"/>
                </a:moveTo>
                <a:cubicBezTo>
                  <a:pt x="503" y="139"/>
                  <a:pt x="499" y="139"/>
                  <a:pt x="499" y="138"/>
                </a:cubicBezTo>
                <a:cubicBezTo>
                  <a:pt x="499" y="136"/>
                  <a:pt x="502" y="136"/>
                  <a:pt x="502" y="137"/>
                </a:cubicBezTo>
                <a:close/>
                <a:moveTo>
                  <a:pt x="504" y="199"/>
                </a:moveTo>
                <a:cubicBezTo>
                  <a:pt x="504" y="199"/>
                  <a:pt x="503" y="200"/>
                  <a:pt x="503" y="200"/>
                </a:cubicBezTo>
                <a:cubicBezTo>
                  <a:pt x="501" y="200"/>
                  <a:pt x="503" y="197"/>
                  <a:pt x="504" y="199"/>
                </a:cubicBezTo>
                <a:close/>
                <a:moveTo>
                  <a:pt x="512" y="113"/>
                </a:moveTo>
                <a:cubicBezTo>
                  <a:pt x="512" y="114"/>
                  <a:pt x="509" y="116"/>
                  <a:pt x="507" y="114"/>
                </a:cubicBezTo>
                <a:cubicBezTo>
                  <a:pt x="506" y="113"/>
                  <a:pt x="511" y="111"/>
                  <a:pt x="512" y="113"/>
                </a:cubicBezTo>
                <a:close/>
                <a:moveTo>
                  <a:pt x="508" y="101"/>
                </a:moveTo>
                <a:cubicBezTo>
                  <a:pt x="508" y="100"/>
                  <a:pt x="509" y="100"/>
                  <a:pt x="510" y="101"/>
                </a:cubicBezTo>
                <a:cubicBezTo>
                  <a:pt x="511" y="102"/>
                  <a:pt x="508" y="102"/>
                  <a:pt x="508" y="101"/>
                </a:cubicBezTo>
                <a:close/>
                <a:moveTo>
                  <a:pt x="510" y="102"/>
                </a:moveTo>
                <a:cubicBezTo>
                  <a:pt x="511" y="101"/>
                  <a:pt x="512" y="103"/>
                  <a:pt x="510" y="102"/>
                </a:cubicBezTo>
                <a:close/>
                <a:moveTo>
                  <a:pt x="514" y="132"/>
                </a:moveTo>
                <a:cubicBezTo>
                  <a:pt x="514" y="132"/>
                  <a:pt x="514" y="133"/>
                  <a:pt x="514" y="134"/>
                </a:cubicBezTo>
                <a:cubicBezTo>
                  <a:pt x="512" y="137"/>
                  <a:pt x="512" y="131"/>
                  <a:pt x="514" y="132"/>
                </a:cubicBezTo>
                <a:close/>
                <a:moveTo>
                  <a:pt x="515" y="154"/>
                </a:moveTo>
                <a:cubicBezTo>
                  <a:pt x="515" y="154"/>
                  <a:pt x="515" y="153"/>
                  <a:pt x="515" y="153"/>
                </a:cubicBezTo>
                <a:cubicBezTo>
                  <a:pt x="516" y="154"/>
                  <a:pt x="515" y="155"/>
                  <a:pt x="515" y="154"/>
                </a:cubicBezTo>
                <a:close/>
                <a:moveTo>
                  <a:pt x="516" y="153"/>
                </a:moveTo>
                <a:cubicBezTo>
                  <a:pt x="516" y="151"/>
                  <a:pt x="519" y="152"/>
                  <a:pt x="516" y="153"/>
                </a:cubicBezTo>
                <a:close/>
                <a:moveTo>
                  <a:pt x="513" y="148"/>
                </a:moveTo>
                <a:cubicBezTo>
                  <a:pt x="514" y="147"/>
                  <a:pt x="516" y="145"/>
                  <a:pt x="517" y="145"/>
                </a:cubicBezTo>
                <a:cubicBezTo>
                  <a:pt x="520" y="143"/>
                  <a:pt x="516" y="149"/>
                  <a:pt x="513" y="148"/>
                </a:cubicBezTo>
                <a:close/>
                <a:moveTo>
                  <a:pt x="515" y="134"/>
                </a:moveTo>
                <a:cubicBezTo>
                  <a:pt x="514" y="133"/>
                  <a:pt x="515" y="133"/>
                  <a:pt x="515" y="134"/>
                </a:cubicBezTo>
                <a:close/>
                <a:moveTo>
                  <a:pt x="518" y="86"/>
                </a:moveTo>
                <a:cubicBezTo>
                  <a:pt x="517" y="86"/>
                  <a:pt x="519" y="86"/>
                  <a:pt x="519" y="86"/>
                </a:cubicBezTo>
                <a:cubicBezTo>
                  <a:pt x="520" y="86"/>
                  <a:pt x="518" y="87"/>
                  <a:pt x="518" y="86"/>
                </a:cubicBezTo>
                <a:close/>
                <a:moveTo>
                  <a:pt x="518" y="88"/>
                </a:moveTo>
                <a:cubicBezTo>
                  <a:pt x="519" y="87"/>
                  <a:pt x="520" y="88"/>
                  <a:pt x="518" y="88"/>
                </a:cubicBezTo>
                <a:close/>
                <a:moveTo>
                  <a:pt x="519" y="94"/>
                </a:moveTo>
                <a:cubicBezTo>
                  <a:pt x="519" y="96"/>
                  <a:pt x="514" y="96"/>
                  <a:pt x="515" y="93"/>
                </a:cubicBezTo>
                <a:cubicBezTo>
                  <a:pt x="515" y="92"/>
                  <a:pt x="519" y="92"/>
                  <a:pt x="519" y="94"/>
                </a:cubicBezTo>
                <a:close/>
                <a:moveTo>
                  <a:pt x="516" y="113"/>
                </a:moveTo>
                <a:cubicBezTo>
                  <a:pt x="516" y="112"/>
                  <a:pt x="516" y="112"/>
                  <a:pt x="516" y="112"/>
                </a:cubicBezTo>
                <a:cubicBezTo>
                  <a:pt x="518" y="110"/>
                  <a:pt x="517" y="114"/>
                  <a:pt x="516" y="113"/>
                </a:cubicBezTo>
                <a:close/>
                <a:moveTo>
                  <a:pt x="518" y="143"/>
                </a:moveTo>
                <a:cubicBezTo>
                  <a:pt x="518" y="143"/>
                  <a:pt x="516" y="144"/>
                  <a:pt x="516" y="144"/>
                </a:cubicBezTo>
                <a:cubicBezTo>
                  <a:pt x="516" y="143"/>
                  <a:pt x="517" y="142"/>
                  <a:pt x="518" y="143"/>
                </a:cubicBezTo>
                <a:close/>
                <a:moveTo>
                  <a:pt x="515" y="139"/>
                </a:moveTo>
                <a:cubicBezTo>
                  <a:pt x="516" y="140"/>
                  <a:pt x="515" y="140"/>
                  <a:pt x="515" y="140"/>
                </a:cubicBezTo>
                <a:cubicBezTo>
                  <a:pt x="515" y="140"/>
                  <a:pt x="515" y="139"/>
                  <a:pt x="515" y="139"/>
                </a:cubicBezTo>
                <a:close/>
                <a:moveTo>
                  <a:pt x="519" y="150"/>
                </a:moveTo>
                <a:cubicBezTo>
                  <a:pt x="520" y="150"/>
                  <a:pt x="518" y="151"/>
                  <a:pt x="518" y="151"/>
                </a:cubicBezTo>
                <a:cubicBezTo>
                  <a:pt x="517" y="150"/>
                  <a:pt x="519" y="150"/>
                  <a:pt x="519" y="150"/>
                </a:cubicBezTo>
                <a:close/>
                <a:moveTo>
                  <a:pt x="525" y="72"/>
                </a:moveTo>
                <a:cubicBezTo>
                  <a:pt x="525" y="72"/>
                  <a:pt x="525" y="72"/>
                  <a:pt x="524" y="72"/>
                </a:cubicBezTo>
                <a:cubicBezTo>
                  <a:pt x="524" y="72"/>
                  <a:pt x="525" y="71"/>
                  <a:pt x="525" y="72"/>
                </a:cubicBezTo>
                <a:close/>
                <a:moveTo>
                  <a:pt x="509" y="73"/>
                </a:moveTo>
                <a:cubicBezTo>
                  <a:pt x="510" y="72"/>
                  <a:pt x="513" y="74"/>
                  <a:pt x="516" y="74"/>
                </a:cubicBezTo>
                <a:cubicBezTo>
                  <a:pt x="517" y="73"/>
                  <a:pt x="522" y="72"/>
                  <a:pt x="523" y="73"/>
                </a:cubicBezTo>
                <a:cubicBezTo>
                  <a:pt x="523" y="75"/>
                  <a:pt x="517" y="75"/>
                  <a:pt x="517" y="75"/>
                </a:cubicBezTo>
                <a:cubicBezTo>
                  <a:pt x="517" y="76"/>
                  <a:pt x="520" y="79"/>
                  <a:pt x="520" y="79"/>
                </a:cubicBezTo>
                <a:cubicBezTo>
                  <a:pt x="522" y="87"/>
                  <a:pt x="509" y="84"/>
                  <a:pt x="506" y="82"/>
                </a:cubicBezTo>
                <a:cubicBezTo>
                  <a:pt x="501" y="80"/>
                  <a:pt x="510" y="81"/>
                  <a:pt x="507" y="77"/>
                </a:cubicBezTo>
                <a:cubicBezTo>
                  <a:pt x="511" y="79"/>
                  <a:pt x="508" y="74"/>
                  <a:pt x="509" y="73"/>
                </a:cubicBezTo>
                <a:close/>
                <a:moveTo>
                  <a:pt x="509" y="61"/>
                </a:moveTo>
                <a:cubicBezTo>
                  <a:pt x="510" y="61"/>
                  <a:pt x="508" y="62"/>
                  <a:pt x="507" y="61"/>
                </a:cubicBezTo>
                <a:cubicBezTo>
                  <a:pt x="507" y="61"/>
                  <a:pt x="509" y="60"/>
                  <a:pt x="509" y="61"/>
                </a:cubicBezTo>
                <a:close/>
                <a:moveTo>
                  <a:pt x="511" y="36"/>
                </a:moveTo>
                <a:cubicBezTo>
                  <a:pt x="511" y="37"/>
                  <a:pt x="509" y="37"/>
                  <a:pt x="509" y="36"/>
                </a:cubicBezTo>
                <a:cubicBezTo>
                  <a:pt x="509" y="35"/>
                  <a:pt x="510" y="35"/>
                  <a:pt x="511" y="36"/>
                </a:cubicBezTo>
                <a:close/>
                <a:moveTo>
                  <a:pt x="509" y="38"/>
                </a:moveTo>
                <a:cubicBezTo>
                  <a:pt x="509" y="40"/>
                  <a:pt x="506" y="39"/>
                  <a:pt x="506" y="38"/>
                </a:cubicBezTo>
                <a:cubicBezTo>
                  <a:pt x="506" y="37"/>
                  <a:pt x="509" y="36"/>
                  <a:pt x="509" y="38"/>
                </a:cubicBezTo>
                <a:close/>
                <a:moveTo>
                  <a:pt x="509" y="50"/>
                </a:moveTo>
                <a:cubicBezTo>
                  <a:pt x="504" y="53"/>
                  <a:pt x="503" y="50"/>
                  <a:pt x="509" y="50"/>
                </a:cubicBezTo>
                <a:close/>
                <a:moveTo>
                  <a:pt x="506" y="53"/>
                </a:moveTo>
                <a:cubicBezTo>
                  <a:pt x="505" y="54"/>
                  <a:pt x="504" y="53"/>
                  <a:pt x="504" y="53"/>
                </a:cubicBezTo>
                <a:cubicBezTo>
                  <a:pt x="504" y="53"/>
                  <a:pt x="506" y="53"/>
                  <a:pt x="506" y="53"/>
                </a:cubicBezTo>
                <a:close/>
                <a:moveTo>
                  <a:pt x="504" y="64"/>
                </a:moveTo>
                <a:cubicBezTo>
                  <a:pt x="503" y="65"/>
                  <a:pt x="502" y="65"/>
                  <a:pt x="501" y="65"/>
                </a:cubicBezTo>
                <a:cubicBezTo>
                  <a:pt x="501" y="64"/>
                  <a:pt x="503" y="63"/>
                  <a:pt x="504" y="64"/>
                </a:cubicBezTo>
                <a:close/>
                <a:moveTo>
                  <a:pt x="501" y="64"/>
                </a:moveTo>
                <a:cubicBezTo>
                  <a:pt x="501" y="64"/>
                  <a:pt x="500" y="65"/>
                  <a:pt x="500" y="64"/>
                </a:cubicBezTo>
                <a:cubicBezTo>
                  <a:pt x="500" y="64"/>
                  <a:pt x="501" y="63"/>
                  <a:pt x="501" y="64"/>
                </a:cubicBezTo>
                <a:close/>
                <a:moveTo>
                  <a:pt x="501" y="123"/>
                </a:moveTo>
                <a:cubicBezTo>
                  <a:pt x="501" y="123"/>
                  <a:pt x="501" y="123"/>
                  <a:pt x="501" y="123"/>
                </a:cubicBezTo>
                <a:cubicBezTo>
                  <a:pt x="502" y="125"/>
                  <a:pt x="499" y="121"/>
                  <a:pt x="501" y="123"/>
                </a:cubicBezTo>
                <a:close/>
                <a:moveTo>
                  <a:pt x="499" y="65"/>
                </a:moveTo>
                <a:cubicBezTo>
                  <a:pt x="501" y="65"/>
                  <a:pt x="497" y="65"/>
                  <a:pt x="499" y="65"/>
                </a:cubicBezTo>
                <a:close/>
                <a:moveTo>
                  <a:pt x="498" y="38"/>
                </a:moveTo>
                <a:cubicBezTo>
                  <a:pt x="498" y="38"/>
                  <a:pt x="497" y="39"/>
                  <a:pt x="497" y="38"/>
                </a:cubicBezTo>
                <a:cubicBezTo>
                  <a:pt x="497" y="38"/>
                  <a:pt x="497" y="37"/>
                  <a:pt x="498" y="38"/>
                </a:cubicBezTo>
                <a:close/>
                <a:moveTo>
                  <a:pt x="497" y="31"/>
                </a:moveTo>
                <a:cubicBezTo>
                  <a:pt x="497" y="32"/>
                  <a:pt x="495" y="32"/>
                  <a:pt x="495" y="31"/>
                </a:cubicBezTo>
                <a:cubicBezTo>
                  <a:pt x="495" y="31"/>
                  <a:pt x="496" y="31"/>
                  <a:pt x="497" y="31"/>
                </a:cubicBezTo>
                <a:close/>
                <a:moveTo>
                  <a:pt x="496" y="40"/>
                </a:moveTo>
                <a:cubicBezTo>
                  <a:pt x="496" y="41"/>
                  <a:pt x="493" y="42"/>
                  <a:pt x="493" y="41"/>
                </a:cubicBezTo>
                <a:cubicBezTo>
                  <a:pt x="492" y="40"/>
                  <a:pt x="495" y="39"/>
                  <a:pt x="496" y="40"/>
                </a:cubicBezTo>
                <a:close/>
                <a:moveTo>
                  <a:pt x="492" y="44"/>
                </a:moveTo>
                <a:cubicBezTo>
                  <a:pt x="493" y="43"/>
                  <a:pt x="494" y="45"/>
                  <a:pt x="492" y="44"/>
                </a:cubicBezTo>
                <a:close/>
                <a:moveTo>
                  <a:pt x="488" y="29"/>
                </a:moveTo>
                <a:cubicBezTo>
                  <a:pt x="489" y="30"/>
                  <a:pt x="486" y="30"/>
                  <a:pt x="486" y="29"/>
                </a:cubicBezTo>
                <a:cubicBezTo>
                  <a:pt x="486" y="28"/>
                  <a:pt x="488" y="28"/>
                  <a:pt x="488" y="29"/>
                </a:cubicBezTo>
                <a:close/>
                <a:moveTo>
                  <a:pt x="487" y="31"/>
                </a:moveTo>
                <a:cubicBezTo>
                  <a:pt x="487" y="31"/>
                  <a:pt x="488" y="31"/>
                  <a:pt x="488" y="31"/>
                </a:cubicBezTo>
                <a:cubicBezTo>
                  <a:pt x="489" y="32"/>
                  <a:pt x="487" y="32"/>
                  <a:pt x="487" y="31"/>
                </a:cubicBezTo>
                <a:close/>
                <a:moveTo>
                  <a:pt x="488" y="40"/>
                </a:moveTo>
                <a:cubicBezTo>
                  <a:pt x="488" y="41"/>
                  <a:pt x="487" y="41"/>
                  <a:pt x="486" y="41"/>
                </a:cubicBezTo>
                <a:cubicBezTo>
                  <a:pt x="486" y="40"/>
                  <a:pt x="487" y="40"/>
                  <a:pt x="488" y="40"/>
                </a:cubicBezTo>
                <a:close/>
                <a:moveTo>
                  <a:pt x="484" y="41"/>
                </a:moveTo>
                <a:cubicBezTo>
                  <a:pt x="485" y="42"/>
                  <a:pt x="483" y="42"/>
                  <a:pt x="483" y="42"/>
                </a:cubicBezTo>
                <a:cubicBezTo>
                  <a:pt x="483" y="41"/>
                  <a:pt x="484" y="41"/>
                  <a:pt x="484" y="41"/>
                </a:cubicBezTo>
                <a:close/>
                <a:moveTo>
                  <a:pt x="483" y="38"/>
                </a:moveTo>
                <a:cubicBezTo>
                  <a:pt x="482" y="37"/>
                  <a:pt x="484" y="38"/>
                  <a:pt x="483" y="38"/>
                </a:cubicBezTo>
                <a:close/>
                <a:moveTo>
                  <a:pt x="483" y="51"/>
                </a:moveTo>
                <a:cubicBezTo>
                  <a:pt x="485" y="47"/>
                  <a:pt x="492" y="43"/>
                  <a:pt x="496" y="48"/>
                </a:cubicBezTo>
                <a:cubicBezTo>
                  <a:pt x="496" y="49"/>
                  <a:pt x="494" y="53"/>
                  <a:pt x="493" y="53"/>
                </a:cubicBezTo>
                <a:cubicBezTo>
                  <a:pt x="493" y="53"/>
                  <a:pt x="491" y="53"/>
                  <a:pt x="490" y="53"/>
                </a:cubicBezTo>
                <a:cubicBezTo>
                  <a:pt x="490" y="53"/>
                  <a:pt x="490" y="54"/>
                  <a:pt x="489" y="54"/>
                </a:cubicBezTo>
                <a:cubicBezTo>
                  <a:pt x="488" y="54"/>
                  <a:pt x="485" y="54"/>
                  <a:pt x="483" y="54"/>
                </a:cubicBezTo>
                <a:cubicBezTo>
                  <a:pt x="483" y="54"/>
                  <a:pt x="483" y="54"/>
                  <a:pt x="482" y="54"/>
                </a:cubicBezTo>
                <a:cubicBezTo>
                  <a:pt x="482" y="53"/>
                  <a:pt x="483" y="52"/>
                  <a:pt x="483" y="51"/>
                </a:cubicBezTo>
                <a:close/>
                <a:moveTo>
                  <a:pt x="482" y="56"/>
                </a:moveTo>
                <a:cubicBezTo>
                  <a:pt x="483" y="57"/>
                  <a:pt x="480" y="57"/>
                  <a:pt x="480" y="57"/>
                </a:cubicBezTo>
                <a:cubicBezTo>
                  <a:pt x="479" y="55"/>
                  <a:pt x="482" y="55"/>
                  <a:pt x="482" y="56"/>
                </a:cubicBezTo>
                <a:close/>
                <a:moveTo>
                  <a:pt x="479" y="43"/>
                </a:moveTo>
                <a:cubicBezTo>
                  <a:pt x="479" y="45"/>
                  <a:pt x="475" y="45"/>
                  <a:pt x="474" y="44"/>
                </a:cubicBezTo>
                <a:cubicBezTo>
                  <a:pt x="474" y="43"/>
                  <a:pt x="478" y="42"/>
                  <a:pt x="479" y="43"/>
                </a:cubicBezTo>
                <a:close/>
                <a:moveTo>
                  <a:pt x="473" y="28"/>
                </a:moveTo>
                <a:cubicBezTo>
                  <a:pt x="472" y="28"/>
                  <a:pt x="474" y="28"/>
                  <a:pt x="473" y="28"/>
                </a:cubicBezTo>
                <a:close/>
                <a:moveTo>
                  <a:pt x="471" y="33"/>
                </a:moveTo>
                <a:cubicBezTo>
                  <a:pt x="471" y="34"/>
                  <a:pt x="470" y="34"/>
                  <a:pt x="469" y="34"/>
                </a:cubicBezTo>
                <a:cubicBezTo>
                  <a:pt x="469" y="33"/>
                  <a:pt x="471" y="32"/>
                  <a:pt x="471" y="33"/>
                </a:cubicBezTo>
                <a:close/>
                <a:moveTo>
                  <a:pt x="467" y="32"/>
                </a:moveTo>
                <a:cubicBezTo>
                  <a:pt x="469" y="31"/>
                  <a:pt x="470" y="33"/>
                  <a:pt x="467" y="32"/>
                </a:cubicBezTo>
                <a:close/>
                <a:moveTo>
                  <a:pt x="467" y="46"/>
                </a:moveTo>
                <a:cubicBezTo>
                  <a:pt x="468" y="44"/>
                  <a:pt x="469" y="47"/>
                  <a:pt x="467" y="46"/>
                </a:cubicBezTo>
                <a:close/>
                <a:moveTo>
                  <a:pt x="467" y="52"/>
                </a:moveTo>
                <a:cubicBezTo>
                  <a:pt x="466" y="52"/>
                  <a:pt x="468" y="53"/>
                  <a:pt x="467" y="52"/>
                </a:cubicBezTo>
                <a:close/>
                <a:moveTo>
                  <a:pt x="467" y="30"/>
                </a:moveTo>
                <a:cubicBezTo>
                  <a:pt x="467" y="30"/>
                  <a:pt x="468" y="31"/>
                  <a:pt x="467" y="31"/>
                </a:cubicBezTo>
                <a:cubicBezTo>
                  <a:pt x="465" y="31"/>
                  <a:pt x="467" y="28"/>
                  <a:pt x="467" y="30"/>
                </a:cubicBezTo>
                <a:close/>
                <a:moveTo>
                  <a:pt x="468" y="38"/>
                </a:moveTo>
                <a:cubicBezTo>
                  <a:pt x="468" y="39"/>
                  <a:pt x="466" y="40"/>
                  <a:pt x="465" y="39"/>
                </a:cubicBezTo>
                <a:cubicBezTo>
                  <a:pt x="465" y="38"/>
                  <a:pt x="467" y="37"/>
                  <a:pt x="468" y="38"/>
                </a:cubicBezTo>
                <a:close/>
                <a:moveTo>
                  <a:pt x="464" y="49"/>
                </a:moveTo>
                <a:cubicBezTo>
                  <a:pt x="463" y="50"/>
                  <a:pt x="462" y="48"/>
                  <a:pt x="462" y="49"/>
                </a:cubicBezTo>
                <a:cubicBezTo>
                  <a:pt x="460" y="46"/>
                  <a:pt x="468" y="49"/>
                  <a:pt x="464" y="49"/>
                </a:cubicBezTo>
                <a:close/>
                <a:moveTo>
                  <a:pt x="463" y="51"/>
                </a:moveTo>
                <a:cubicBezTo>
                  <a:pt x="463" y="51"/>
                  <a:pt x="464" y="51"/>
                  <a:pt x="464" y="51"/>
                </a:cubicBezTo>
                <a:cubicBezTo>
                  <a:pt x="465" y="52"/>
                  <a:pt x="464" y="51"/>
                  <a:pt x="463" y="51"/>
                </a:cubicBezTo>
                <a:close/>
                <a:moveTo>
                  <a:pt x="447" y="79"/>
                </a:moveTo>
                <a:cubicBezTo>
                  <a:pt x="448" y="79"/>
                  <a:pt x="446" y="80"/>
                  <a:pt x="446" y="80"/>
                </a:cubicBezTo>
                <a:cubicBezTo>
                  <a:pt x="446" y="79"/>
                  <a:pt x="446" y="79"/>
                  <a:pt x="447" y="79"/>
                </a:cubicBezTo>
                <a:close/>
                <a:moveTo>
                  <a:pt x="446" y="189"/>
                </a:moveTo>
                <a:cubicBezTo>
                  <a:pt x="446" y="188"/>
                  <a:pt x="448" y="188"/>
                  <a:pt x="448" y="189"/>
                </a:cubicBezTo>
                <a:cubicBezTo>
                  <a:pt x="448" y="190"/>
                  <a:pt x="446" y="190"/>
                  <a:pt x="446" y="189"/>
                </a:cubicBezTo>
                <a:close/>
                <a:moveTo>
                  <a:pt x="449" y="610"/>
                </a:moveTo>
                <a:cubicBezTo>
                  <a:pt x="448" y="610"/>
                  <a:pt x="447" y="610"/>
                  <a:pt x="446" y="610"/>
                </a:cubicBezTo>
                <a:cubicBezTo>
                  <a:pt x="447" y="609"/>
                  <a:pt x="448" y="609"/>
                  <a:pt x="449" y="610"/>
                </a:cubicBezTo>
                <a:close/>
                <a:moveTo>
                  <a:pt x="447" y="145"/>
                </a:moveTo>
                <a:cubicBezTo>
                  <a:pt x="446" y="146"/>
                  <a:pt x="445" y="145"/>
                  <a:pt x="447" y="145"/>
                </a:cubicBezTo>
                <a:close/>
                <a:moveTo>
                  <a:pt x="447" y="126"/>
                </a:moveTo>
                <a:cubicBezTo>
                  <a:pt x="447" y="126"/>
                  <a:pt x="446" y="127"/>
                  <a:pt x="446" y="127"/>
                </a:cubicBezTo>
                <a:cubicBezTo>
                  <a:pt x="446" y="127"/>
                  <a:pt x="446" y="126"/>
                  <a:pt x="447" y="126"/>
                </a:cubicBezTo>
                <a:close/>
                <a:moveTo>
                  <a:pt x="446" y="180"/>
                </a:moveTo>
                <a:cubicBezTo>
                  <a:pt x="446" y="184"/>
                  <a:pt x="439" y="183"/>
                  <a:pt x="438" y="180"/>
                </a:cubicBezTo>
                <a:cubicBezTo>
                  <a:pt x="438" y="178"/>
                  <a:pt x="446" y="176"/>
                  <a:pt x="446" y="180"/>
                </a:cubicBezTo>
                <a:close/>
                <a:moveTo>
                  <a:pt x="441" y="175"/>
                </a:moveTo>
                <a:cubicBezTo>
                  <a:pt x="441" y="173"/>
                  <a:pt x="444" y="173"/>
                  <a:pt x="444" y="174"/>
                </a:cubicBezTo>
                <a:cubicBezTo>
                  <a:pt x="445" y="176"/>
                  <a:pt x="442" y="176"/>
                  <a:pt x="441" y="175"/>
                </a:cubicBezTo>
                <a:close/>
                <a:moveTo>
                  <a:pt x="446" y="135"/>
                </a:moveTo>
                <a:cubicBezTo>
                  <a:pt x="444" y="136"/>
                  <a:pt x="441" y="137"/>
                  <a:pt x="440" y="136"/>
                </a:cubicBezTo>
                <a:cubicBezTo>
                  <a:pt x="442" y="136"/>
                  <a:pt x="444" y="134"/>
                  <a:pt x="446" y="135"/>
                </a:cubicBezTo>
                <a:close/>
                <a:moveTo>
                  <a:pt x="443" y="79"/>
                </a:moveTo>
                <a:cubicBezTo>
                  <a:pt x="444" y="78"/>
                  <a:pt x="445" y="80"/>
                  <a:pt x="443" y="79"/>
                </a:cubicBezTo>
                <a:close/>
                <a:moveTo>
                  <a:pt x="443" y="79"/>
                </a:moveTo>
                <a:cubicBezTo>
                  <a:pt x="442" y="80"/>
                  <a:pt x="440" y="81"/>
                  <a:pt x="439" y="81"/>
                </a:cubicBezTo>
                <a:cubicBezTo>
                  <a:pt x="439" y="79"/>
                  <a:pt x="441" y="80"/>
                  <a:pt x="443" y="79"/>
                </a:cubicBezTo>
                <a:close/>
                <a:moveTo>
                  <a:pt x="438" y="137"/>
                </a:moveTo>
                <a:cubicBezTo>
                  <a:pt x="439" y="137"/>
                  <a:pt x="437" y="138"/>
                  <a:pt x="437" y="138"/>
                </a:cubicBezTo>
                <a:cubicBezTo>
                  <a:pt x="437" y="138"/>
                  <a:pt x="438" y="137"/>
                  <a:pt x="438" y="137"/>
                </a:cubicBezTo>
                <a:close/>
                <a:moveTo>
                  <a:pt x="437" y="228"/>
                </a:moveTo>
                <a:cubicBezTo>
                  <a:pt x="436" y="229"/>
                  <a:pt x="433" y="230"/>
                  <a:pt x="432" y="232"/>
                </a:cubicBezTo>
                <a:cubicBezTo>
                  <a:pt x="433" y="230"/>
                  <a:pt x="435" y="229"/>
                  <a:pt x="437" y="228"/>
                </a:cubicBezTo>
                <a:close/>
                <a:moveTo>
                  <a:pt x="431" y="647"/>
                </a:moveTo>
                <a:cubicBezTo>
                  <a:pt x="432" y="648"/>
                  <a:pt x="430" y="646"/>
                  <a:pt x="431" y="647"/>
                </a:cubicBezTo>
                <a:close/>
                <a:moveTo>
                  <a:pt x="430" y="190"/>
                </a:move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lose/>
                <a:moveTo>
                  <a:pt x="430" y="233"/>
                </a:moveTo>
                <a:cubicBezTo>
                  <a:pt x="428" y="236"/>
                  <a:pt x="427" y="233"/>
                  <a:pt x="430" y="233"/>
                </a:cubicBezTo>
                <a:close/>
                <a:moveTo>
                  <a:pt x="430" y="647"/>
                </a:moveTo>
                <a:cubicBezTo>
                  <a:pt x="430" y="648"/>
                  <a:pt x="428" y="648"/>
                  <a:pt x="428" y="648"/>
                </a:cubicBezTo>
                <a:cubicBezTo>
                  <a:pt x="428" y="647"/>
                  <a:pt x="429" y="647"/>
                  <a:pt x="430" y="647"/>
                </a:cubicBezTo>
                <a:close/>
                <a:moveTo>
                  <a:pt x="427" y="105"/>
                </a:moveTo>
                <a:cubicBezTo>
                  <a:pt x="426" y="104"/>
                  <a:pt x="428" y="106"/>
                  <a:pt x="427" y="105"/>
                </a:cubicBezTo>
                <a:close/>
                <a:moveTo>
                  <a:pt x="426" y="572"/>
                </a:moveTo>
                <a:cubicBezTo>
                  <a:pt x="427" y="571"/>
                  <a:pt x="427" y="574"/>
                  <a:pt x="426" y="573"/>
                </a:cubicBezTo>
                <a:cubicBezTo>
                  <a:pt x="426" y="573"/>
                  <a:pt x="426" y="572"/>
                  <a:pt x="426" y="572"/>
                </a:cubicBezTo>
                <a:close/>
                <a:moveTo>
                  <a:pt x="424" y="210"/>
                </a:moveTo>
                <a:cubicBezTo>
                  <a:pt x="425" y="209"/>
                  <a:pt x="426" y="211"/>
                  <a:pt x="424" y="210"/>
                </a:cubicBezTo>
                <a:close/>
                <a:moveTo>
                  <a:pt x="422" y="80"/>
                </a:moveTo>
                <a:cubicBezTo>
                  <a:pt x="423" y="81"/>
                  <a:pt x="421" y="81"/>
                  <a:pt x="420" y="81"/>
                </a:cubicBezTo>
                <a:cubicBezTo>
                  <a:pt x="420" y="80"/>
                  <a:pt x="422" y="80"/>
                  <a:pt x="422" y="80"/>
                </a:cubicBezTo>
                <a:close/>
                <a:moveTo>
                  <a:pt x="423" y="85"/>
                </a:moveTo>
                <a:cubicBezTo>
                  <a:pt x="423" y="85"/>
                  <a:pt x="420" y="86"/>
                  <a:pt x="420" y="85"/>
                </a:cubicBezTo>
                <a:cubicBezTo>
                  <a:pt x="419" y="85"/>
                  <a:pt x="424" y="83"/>
                  <a:pt x="423" y="85"/>
                </a:cubicBezTo>
                <a:close/>
                <a:moveTo>
                  <a:pt x="421" y="667"/>
                </a:moveTo>
                <a:cubicBezTo>
                  <a:pt x="423" y="666"/>
                  <a:pt x="422" y="668"/>
                  <a:pt x="421" y="667"/>
                </a:cubicBezTo>
                <a:close/>
                <a:moveTo>
                  <a:pt x="419" y="54"/>
                </a:moveTo>
                <a:cubicBezTo>
                  <a:pt x="420" y="54"/>
                  <a:pt x="419" y="55"/>
                  <a:pt x="419" y="55"/>
                </a:cubicBezTo>
                <a:cubicBezTo>
                  <a:pt x="418" y="55"/>
                  <a:pt x="418" y="54"/>
                  <a:pt x="419" y="54"/>
                </a:cubicBezTo>
                <a:close/>
                <a:moveTo>
                  <a:pt x="419" y="61"/>
                </a:moveTo>
                <a:cubicBezTo>
                  <a:pt x="419" y="61"/>
                  <a:pt x="417" y="61"/>
                  <a:pt x="417" y="60"/>
                </a:cubicBezTo>
                <a:cubicBezTo>
                  <a:pt x="417" y="60"/>
                  <a:pt x="418" y="60"/>
                  <a:pt x="419" y="61"/>
                </a:cubicBezTo>
                <a:close/>
                <a:moveTo>
                  <a:pt x="411" y="63"/>
                </a:moveTo>
                <a:cubicBezTo>
                  <a:pt x="411" y="63"/>
                  <a:pt x="410" y="64"/>
                  <a:pt x="410" y="63"/>
                </a:cubicBezTo>
                <a:cubicBezTo>
                  <a:pt x="409" y="63"/>
                  <a:pt x="411" y="62"/>
                  <a:pt x="411" y="63"/>
                </a:cubicBezTo>
                <a:close/>
                <a:moveTo>
                  <a:pt x="408" y="93"/>
                </a:moveTo>
                <a:cubicBezTo>
                  <a:pt x="408" y="94"/>
                  <a:pt x="407" y="94"/>
                  <a:pt x="407" y="94"/>
                </a:cubicBezTo>
                <a:cubicBezTo>
                  <a:pt x="406" y="93"/>
                  <a:pt x="408" y="93"/>
                  <a:pt x="408" y="93"/>
                </a:cubicBezTo>
                <a:close/>
                <a:moveTo>
                  <a:pt x="406" y="125"/>
                </a:moveTo>
                <a:cubicBezTo>
                  <a:pt x="406" y="126"/>
                  <a:pt x="404" y="125"/>
                  <a:pt x="406" y="125"/>
                </a:cubicBezTo>
                <a:close/>
                <a:moveTo>
                  <a:pt x="405" y="97"/>
                </a:moveTo>
                <a:cubicBezTo>
                  <a:pt x="404" y="97"/>
                  <a:pt x="404" y="97"/>
                  <a:pt x="404" y="96"/>
                </a:cubicBezTo>
                <a:cubicBezTo>
                  <a:pt x="403" y="95"/>
                  <a:pt x="406" y="97"/>
                  <a:pt x="405" y="97"/>
                </a:cubicBezTo>
                <a:close/>
                <a:moveTo>
                  <a:pt x="408" y="154"/>
                </a:moveTo>
                <a:cubicBezTo>
                  <a:pt x="406" y="156"/>
                  <a:pt x="402" y="158"/>
                  <a:pt x="399" y="158"/>
                </a:cubicBezTo>
                <a:cubicBezTo>
                  <a:pt x="402" y="157"/>
                  <a:pt x="405" y="156"/>
                  <a:pt x="408" y="154"/>
                </a:cubicBezTo>
                <a:close/>
                <a:moveTo>
                  <a:pt x="399" y="122"/>
                </a:moveTo>
                <a:cubicBezTo>
                  <a:pt x="399" y="122"/>
                  <a:pt x="400" y="121"/>
                  <a:pt x="400" y="122"/>
                </a:cubicBezTo>
                <a:cubicBezTo>
                  <a:pt x="400" y="122"/>
                  <a:pt x="400" y="123"/>
                  <a:pt x="399" y="122"/>
                </a:cubicBezTo>
                <a:close/>
                <a:moveTo>
                  <a:pt x="401" y="71"/>
                </a:moveTo>
                <a:cubicBezTo>
                  <a:pt x="402" y="72"/>
                  <a:pt x="400" y="73"/>
                  <a:pt x="399" y="72"/>
                </a:cubicBezTo>
                <a:cubicBezTo>
                  <a:pt x="399" y="71"/>
                  <a:pt x="401" y="70"/>
                  <a:pt x="401" y="71"/>
                </a:cubicBezTo>
                <a:close/>
                <a:moveTo>
                  <a:pt x="399" y="97"/>
                </a:moveTo>
                <a:cubicBezTo>
                  <a:pt x="399" y="97"/>
                  <a:pt x="398" y="98"/>
                  <a:pt x="397" y="97"/>
                </a:cubicBezTo>
                <a:cubicBezTo>
                  <a:pt x="398" y="97"/>
                  <a:pt x="398" y="97"/>
                  <a:pt x="399" y="97"/>
                </a:cubicBezTo>
                <a:close/>
                <a:moveTo>
                  <a:pt x="398" y="160"/>
                </a:moveTo>
                <a:cubicBezTo>
                  <a:pt x="398" y="160"/>
                  <a:pt x="398" y="159"/>
                  <a:pt x="399" y="159"/>
                </a:cubicBezTo>
                <a:cubicBezTo>
                  <a:pt x="399" y="159"/>
                  <a:pt x="398" y="160"/>
                  <a:pt x="398" y="160"/>
                </a:cubicBezTo>
                <a:close/>
                <a:moveTo>
                  <a:pt x="398" y="169"/>
                </a:moveTo>
                <a:cubicBezTo>
                  <a:pt x="399" y="170"/>
                  <a:pt x="397" y="171"/>
                  <a:pt x="397" y="170"/>
                </a:cubicBezTo>
                <a:cubicBezTo>
                  <a:pt x="397" y="169"/>
                  <a:pt x="398" y="169"/>
                  <a:pt x="398" y="169"/>
                </a:cubicBezTo>
                <a:close/>
                <a:moveTo>
                  <a:pt x="397" y="159"/>
                </a:moveTo>
                <a:cubicBezTo>
                  <a:pt x="397" y="160"/>
                  <a:pt x="395" y="162"/>
                  <a:pt x="395" y="161"/>
                </a:cubicBezTo>
                <a:cubicBezTo>
                  <a:pt x="395" y="160"/>
                  <a:pt x="397" y="160"/>
                  <a:pt x="397" y="159"/>
                </a:cubicBezTo>
                <a:close/>
                <a:moveTo>
                  <a:pt x="395" y="78"/>
                </a:moveTo>
                <a:cubicBezTo>
                  <a:pt x="395" y="78"/>
                  <a:pt x="394" y="78"/>
                  <a:pt x="394" y="78"/>
                </a:cubicBezTo>
                <a:cubicBezTo>
                  <a:pt x="393" y="78"/>
                  <a:pt x="395" y="78"/>
                  <a:pt x="395" y="78"/>
                </a:cubicBezTo>
                <a:close/>
                <a:moveTo>
                  <a:pt x="392" y="104"/>
                </a:moveTo>
                <a:cubicBezTo>
                  <a:pt x="393" y="106"/>
                  <a:pt x="390" y="105"/>
                  <a:pt x="390" y="104"/>
                </a:cubicBezTo>
                <a:cubicBezTo>
                  <a:pt x="390" y="102"/>
                  <a:pt x="392" y="103"/>
                  <a:pt x="392" y="104"/>
                </a:cubicBezTo>
                <a:close/>
                <a:moveTo>
                  <a:pt x="388" y="79"/>
                </a:moveTo>
                <a:cubicBezTo>
                  <a:pt x="387" y="80"/>
                  <a:pt x="386" y="79"/>
                  <a:pt x="385" y="80"/>
                </a:cubicBezTo>
                <a:cubicBezTo>
                  <a:pt x="385" y="79"/>
                  <a:pt x="387" y="79"/>
                  <a:pt x="388" y="79"/>
                </a:cubicBezTo>
                <a:close/>
                <a:moveTo>
                  <a:pt x="385" y="112"/>
                </a:moveTo>
                <a:cubicBezTo>
                  <a:pt x="385" y="112"/>
                  <a:pt x="387" y="111"/>
                  <a:pt x="387" y="112"/>
                </a:cubicBezTo>
                <a:cubicBezTo>
                  <a:pt x="388" y="114"/>
                  <a:pt x="384" y="114"/>
                  <a:pt x="385" y="112"/>
                </a:cubicBezTo>
                <a:close/>
                <a:moveTo>
                  <a:pt x="382" y="113"/>
                </a:moveTo>
                <a:cubicBezTo>
                  <a:pt x="384" y="111"/>
                  <a:pt x="385" y="114"/>
                  <a:pt x="382" y="113"/>
                </a:cubicBezTo>
                <a:close/>
                <a:moveTo>
                  <a:pt x="379" y="110"/>
                </a:moveTo>
                <a:cubicBezTo>
                  <a:pt x="380" y="111"/>
                  <a:pt x="376" y="111"/>
                  <a:pt x="376" y="110"/>
                </a:cubicBezTo>
                <a:cubicBezTo>
                  <a:pt x="375" y="109"/>
                  <a:pt x="378" y="108"/>
                  <a:pt x="379" y="110"/>
                </a:cubicBezTo>
                <a:close/>
                <a:moveTo>
                  <a:pt x="379" y="80"/>
                </a:moveTo>
                <a:cubicBezTo>
                  <a:pt x="379" y="80"/>
                  <a:pt x="377" y="81"/>
                  <a:pt x="377" y="81"/>
                </a:cubicBezTo>
                <a:cubicBezTo>
                  <a:pt x="377" y="80"/>
                  <a:pt x="378" y="80"/>
                  <a:pt x="379" y="80"/>
                </a:cubicBezTo>
                <a:close/>
                <a:moveTo>
                  <a:pt x="376" y="81"/>
                </a:moveTo>
                <a:cubicBezTo>
                  <a:pt x="375" y="81"/>
                  <a:pt x="374" y="81"/>
                  <a:pt x="374" y="81"/>
                </a:cubicBezTo>
                <a:cubicBezTo>
                  <a:pt x="373" y="81"/>
                  <a:pt x="375" y="81"/>
                  <a:pt x="376" y="81"/>
                </a:cubicBezTo>
                <a:close/>
                <a:moveTo>
                  <a:pt x="372" y="76"/>
                </a:moveTo>
                <a:cubicBezTo>
                  <a:pt x="372" y="76"/>
                  <a:pt x="372" y="76"/>
                  <a:pt x="372" y="76"/>
                </a:cubicBezTo>
                <a:cubicBezTo>
                  <a:pt x="372" y="76"/>
                  <a:pt x="371" y="76"/>
                  <a:pt x="371" y="76"/>
                </a:cubicBezTo>
                <a:cubicBezTo>
                  <a:pt x="371" y="76"/>
                  <a:pt x="371" y="76"/>
                  <a:pt x="372" y="76"/>
                </a:cubicBezTo>
                <a:close/>
                <a:moveTo>
                  <a:pt x="363" y="95"/>
                </a:moveTo>
                <a:cubicBezTo>
                  <a:pt x="362" y="96"/>
                  <a:pt x="361" y="94"/>
                  <a:pt x="363" y="95"/>
                </a:cubicBezTo>
                <a:close/>
                <a:moveTo>
                  <a:pt x="362" y="110"/>
                </a:moveTo>
                <a:cubicBezTo>
                  <a:pt x="362" y="112"/>
                  <a:pt x="358" y="112"/>
                  <a:pt x="357" y="111"/>
                </a:cubicBezTo>
                <a:cubicBezTo>
                  <a:pt x="357" y="111"/>
                  <a:pt x="357" y="111"/>
                  <a:pt x="356" y="110"/>
                </a:cubicBezTo>
                <a:cubicBezTo>
                  <a:pt x="357" y="111"/>
                  <a:pt x="355" y="112"/>
                  <a:pt x="355" y="111"/>
                </a:cubicBezTo>
                <a:cubicBezTo>
                  <a:pt x="354" y="110"/>
                  <a:pt x="363" y="106"/>
                  <a:pt x="362" y="110"/>
                </a:cubicBezTo>
                <a:close/>
                <a:moveTo>
                  <a:pt x="357" y="127"/>
                </a:moveTo>
                <a:cubicBezTo>
                  <a:pt x="362" y="124"/>
                  <a:pt x="368" y="124"/>
                  <a:pt x="374" y="121"/>
                </a:cubicBezTo>
                <a:cubicBezTo>
                  <a:pt x="379" y="119"/>
                  <a:pt x="384" y="116"/>
                  <a:pt x="389" y="116"/>
                </a:cubicBezTo>
                <a:cubicBezTo>
                  <a:pt x="389" y="116"/>
                  <a:pt x="390" y="117"/>
                  <a:pt x="390" y="117"/>
                </a:cubicBezTo>
                <a:cubicBezTo>
                  <a:pt x="390" y="118"/>
                  <a:pt x="381" y="121"/>
                  <a:pt x="378" y="122"/>
                </a:cubicBezTo>
                <a:cubicBezTo>
                  <a:pt x="373" y="123"/>
                  <a:pt x="369" y="124"/>
                  <a:pt x="364" y="125"/>
                </a:cubicBezTo>
                <a:cubicBezTo>
                  <a:pt x="363" y="126"/>
                  <a:pt x="357" y="129"/>
                  <a:pt x="355" y="129"/>
                </a:cubicBezTo>
                <a:cubicBezTo>
                  <a:pt x="352" y="129"/>
                  <a:pt x="356" y="127"/>
                  <a:pt x="357" y="127"/>
                </a:cubicBezTo>
                <a:close/>
                <a:moveTo>
                  <a:pt x="357" y="587"/>
                </a:moveTo>
                <a:cubicBezTo>
                  <a:pt x="365" y="583"/>
                  <a:pt x="375" y="580"/>
                  <a:pt x="384" y="576"/>
                </a:cubicBezTo>
                <a:cubicBezTo>
                  <a:pt x="385" y="576"/>
                  <a:pt x="387" y="575"/>
                  <a:pt x="387" y="576"/>
                </a:cubicBezTo>
                <a:cubicBezTo>
                  <a:pt x="388" y="577"/>
                  <a:pt x="384" y="578"/>
                  <a:pt x="386" y="577"/>
                </a:cubicBezTo>
                <a:cubicBezTo>
                  <a:pt x="377" y="581"/>
                  <a:pt x="366" y="585"/>
                  <a:pt x="357" y="587"/>
                </a:cubicBezTo>
                <a:close/>
                <a:moveTo>
                  <a:pt x="376" y="609"/>
                </a:moveTo>
                <a:cubicBezTo>
                  <a:pt x="376" y="610"/>
                  <a:pt x="374" y="610"/>
                  <a:pt x="374" y="610"/>
                </a:cubicBezTo>
                <a:cubicBezTo>
                  <a:pt x="373" y="609"/>
                  <a:pt x="376" y="608"/>
                  <a:pt x="376" y="609"/>
                </a:cubicBezTo>
                <a:close/>
                <a:moveTo>
                  <a:pt x="374" y="600"/>
                </a:moveTo>
                <a:cubicBezTo>
                  <a:pt x="373" y="599"/>
                  <a:pt x="375" y="599"/>
                  <a:pt x="375" y="600"/>
                </a:cubicBezTo>
                <a:cubicBezTo>
                  <a:pt x="375" y="601"/>
                  <a:pt x="374" y="600"/>
                  <a:pt x="374" y="600"/>
                </a:cubicBezTo>
                <a:close/>
                <a:moveTo>
                  <a:pt x="372" y="610"/>
                </a:moveTo>
                <a:cubicBezTo>
                  <a:pt x="371" y="610"/>
                  <a:pt x="373" y="609"/>
                  <a:pt x="373" y="610"/>
                </a:cubicBezTo>
                <a:cubicBezTo>
                  <a:pt x="373" y="610"/>
                  <a:pt x="373" y="611"/>
                  <a:pt x="372" y="610"/>
                </a:cubicBezTo>
                <a:close/>
                <a:moveTo>
                  <a:pt x="364" y="137"/>
                </a:moveTo>
                <a:cubicBezTo>
                  <a:pt x="364" y="138"/>
                  <a:pt x="364" y="137"/>
                  <a:pt x="363" y="138"/>
                </a:cubicBezTo>
                <a:cubicBezTo>
                  <a:pt x="363" y="137"/>
                  <a:pt x="364" y="137"/>
                  <a:pt x="364" y="137"/>
                </a:cubicBezTo>
                <a:close/>
                <a:moveTo>
                  <a:pt x="376" y="167"/>
                </a:moveTo>
                <a:cubicBezTo>
                  <a:pt x="377" y="168"/>
                  <a:pt x="373" y="170"/>
                  <a:pt x="371" y="170"/>
                </a:cubicBezTo>
                <a:cubicBezTo>
                  <a:pt x="371" y="170"/>
                  <a:pt x="368" y="169"/>
                  <a:pt x="367" y="169"/>
                </a:cubicBezTo>
                <a:cubicBezTo>
                  <a:pt x="367" y="168"/>
                  <a:pt x="371" y="165"/>
                  <a:pt x="373" y="168"/>
                </a:cubicBezTo>
                <a:cubicBezTo>
                  <a:pt x="373" y="168"/>
                  <a:pt x="373" y="169"/>
                  <a:pt x="373" y="169"/>
                </a:cubicBezTo>
                <a:cubicBezTo>
                  <a:pt x="374" y="169"/>
                  <a:pt x="375" y="168"/>
                  <a:pt x="376" y="167"/>
                </a:cubicBezTo>
                <a:close/>
                <a:moveTo>
                  <a:pt x="369" y="576"/>
                </a:moveTo>
                <a:cubicBezTo>
                  <a:pt x="369" y="574"/>
                  <a:pt x="371" y="574"/>
                  <a:pt x="369" y="576"/>
                </a:cubicBezTo>
                <a:close/>
                <a:moveTo>
                  <a:pt x="368" y="211"/>
                </a:moveTo>
                <a:cubicBezTo>
                  <a:pt x="367" y="211"/>
                  <a:pt x="368" y="209"/>
                  <a:pt x="369" y="210"/>
                </a:cubicBezTo>
                <a:cubicBezTo>
                  <a:pt x="369" y="210"/>
                  <a:pt x="368" y="211"/>
                  <a:pt x="368" y="211"/>
                </a:cubicBezTo>
                <a:close/>
                <a:moveTo>
                  <a:pt x="368" y="576"/>
                </a:moveTo>
                <a:cubicBezTo>
                  <a:pt x="370" y="575"/>
                  <a:pt x="366" y="578"/>
                  <a:pt x="368" y="576"/>
                </a:cubicBezTo>
                <a:close/>
                <a:moveTo>
                  <a:pt x="379" y="184"/>
                </a:moveTo>
                <a:cubicBezTo>
                  <a:pt x="379" y="183"/>
                  <a:pt x="380" y="182"/>
                  <a:pt x="380" y="183"/>
                </a:cubicBezTo>
                <a:cubicBezTo>
                  <a:pt x="380" y="184"/>
                  <a:pt x="379" y="184"/>
                  <a:pt x="379" y="184"/>
                </a:cubicBezTo>
                <a:close/>
                <a:moveTo>
                  <a:pt x="356" y="609"/>
                </a:moveTo>
                <a:cubicBezTo>
                  <a:pt x="355" y="611"/>
                  <a:pt x="353" y="609"/>
                  <a:pt x="356" y="609"/>
                </a:cubicBezTo>
                <a:close/>
                <a:moveTo>
                  <a:pt x="354" y="556"/>
                </a:moveTo>
                <a:cubicBezTo>
                  <a:pt x="353" y="557"/>
                  <a:pt x="352" y="555"/>
                  <a:pt x="354" y="556"/>
                </a:cubicBezTo>
                <a:close/>
                <a:moveTo>
                  <a:pt x="352" y="532"/>
                </a:moveTo>
                <a:cubicBezTo>
                  <a:pt x="354" y="530"/>
                  <a:pt x="354" y="533"/>
                  <a:pt x="352" y="532"/>
                </a:cubicBezTo>
                <a:close/>
                <a:moveTo>
                  <a:pt x="354" y="674"/>
                </a:moveTo>
                <a:cubicBezTo>
                  <a:pt x="354" y="673"/>
                  <a:pt x="355" y="673"/>
                  <a:pt x="355" y="673"/>
                </a:cubicBezTo>
                <a:cubicBezTo>
                  <a:pt x="355" y="674"/>
                  <a:pt x="354" y="674"/>
                  <a:pt x="354" y="674"/>
                </a:cubicBezTo>
                <a:close/>
                <a:moveTo>
                  <a:pt x="357" y="697"/>
                </a:moveTo>
                <a:cubicBezTo>
                  <a:pt x="357" y="696"/>
                  <a:pt x="359" y="695"/>
                  <a:pt x="359" y="696"/>
                </a:cubicBezTo>
                <a:cubicBezTo>
                  <a:pt x="359" y="697"/>
                  <a:pt x="357" y="698"/>
                  <a:pt x="357" y="697"/>
                </a:cubicBezTo>
                <a:close/>
                <a:moveTo>
                  <a:pt x="357" y="671"/>
                </a:moveTo>
                <a:cubicBezTo>
                  <a:pt x="358" y="671"/>
                  <a:pt x="358" y="671"/>
                  <a:pt x="358" y="672"/>
                </a:cubicBezTo>
                <a:cubicBezTo>
                  <a:pt x="358" y="673"/>
                  <a:pt x="356" y="671"/>
                  <a:pt x="357" y="671"/>
                </a:cubicBezTo>
                <a:close/>
                <a:moveTo>
                  <a:pt x="360" y="643"/>
                </a:moveTo>
                <a:cubicBezTo>
                  <a:pt x="360" y="642"/>
                  <a:pt x="362" y="643"/>
                  <a:pt x="360" y="643"/>
                </a:cubicBezTo>
                <a:close/>
                <a:moveTo>
                  <a:pt x="360" y="630"/>
                </a:moveTo>
                <a:cubicBezTo>
                  <a:pt x="358" y="633"/>
                  <a:pt x="350" y="631"/>
                  <a:pt x="351" y="627"/>
                </a:cubicBezTo>
                <a:cubicBezTo>
                  <a:pt x="352" y="621"/>
                  <a:pt x="365" y="624"/>
                  <a:pt x="360" y="630"/>
                </a:cubicBezTo>
                <a:close/>
                <a:moveTo>
                  <a:pt x="371" y="611"/>
                </a:moveTo>
                <a:cubicBezTo>
                  <a:pt x="368" y="612"/>
                  <a:pt x="365" y="612"/>
                  <a:pt x="362" y="613"/>
                </a:cubicBezTo>
                <a:cubicBezTo>
                  <a:pt x="364" y="612"/>
                  <a:pt x="368" y="611"/>
                  <a:pt x="371" y="611"/>
                </a:cubicBezTo>
                <a:close/>
                <a:moveTo>
                  <a:pt x="363" y="671"/>
                </a:moveTo>
                <a:cubicBezTo>
                  <a:pt x="363" y="671"/>
                  <a:pt x="364" y="671"/>
                  <a:pt x="365" y="671"/>
                </a:cubicBezTo>
                <a:cubicBezTo>
                  <a:pt x="364" y="672"/>
                  <a:pt x="363" y="672"/>
                  <a:pt x="363" y="671"/>
                </a:cubicBezTo>
                <a:close/>
                <a:moveTo>
                  <a:pt x="364" y="691"/>
                </a:moveTo>
                <a:cubicBezTo>
                  <a:pt x="364" y="690"/>
                  <a:pt x="365" y="691"/>
                  <a:pt x="365" y="691"/>
                </a:cubicBezTo>
                <a:cubicBezTo>
                  <a:pt x="366" y="691"/>
                  <a:pt x="364" y="691"/>
                  <a:pt x="364" y="691"/>
                </a:cubicBezTo>
                <a:close/>
                <a:moveTo>
                  <a:pt x="365" y="647"/>
                </a:moveTo>
                <a:cubicBezTo>
                  <a:pt x="365" y="646"/>
                  <a:pt x="366" y="646"/>
                  <a:pt x="366" y="646"/>
                </a:cubicBezTo>
                <a:cubicBezTo>
                  <a:pt x="367" y="647"/>
                  <a:pt x="365" y="647"/>
                  <a:pt x="365" y="647"/>
                </a:cubicBezTo>
                <a:close/>
                <a:moveTo>
                  <a:pt x="370" y="666"/>
                </a:moveTo>
                <a:cubicBezTo>
                  <a:pt x="370" y="664"/>
                  <a:pt x="373" y="665"/>
                  <a:pt x="372" y="666"/>
                </a:cubicBezTo>
                <a:cubicBezTo>
                  <a:pt x="372" y="667"/>
                  <a:pt x="370" y="667"/>
                  <a:pt x="370" y="666"/>
                </a:cubicBezTo>
                <a:close/>
                <a:moveTo>
                  <a:pt x="371" y="691"/>
                </a:moveTo>
                <a:cubicBezTo>
                  <a:pt x="372" y="690"/>
                  <a:pt x="373" y="691"/>
                  <a:pt x="374" y="691"/>
                </a:cubicBezTo>
                <a:cubicBezTo>
                  <a:pt x="374" y="692"/>
                  <a:pt x="372" y="691"/>
                  <a:pt x="371" y="691"/>
                </a:cubicBezTo>
                <a:close/>
                <a:moveTo>
                  <a:pt x="379" y="659"/>
                </a:moveTo>
                <a:cubicBezTo>
                  <a:pt x="379" y="658"/>
                  <a:pt x="377" y="660"/>
                  <a:pt x="377" y="658"/>
                </a:cubicBezTo>
                <a:cubicBezTo>
                  <a:pt x="376" y="657"/>
                  <a:pt x="380" y="657"/>
                  <a:pt x="379" y="659"/>
                </a:cubicBezTo>
                <a:close/>
                <a:moveTo>
                  <a:pt x="381" y="691"/>
                </a:moveTo>
                <a:cubicBezTo>
                  <a:pt x="380" y="691"/>
                  <a:pt x="382" y="690"/>
                  <a:pt x="383" y="691"/>
                </a:cubicBezTo>
                <a:cubicBezTo>
                  <a:pt x="382" y="691"/>
                  <a:pt x="381" y="691"/>
                  <a:pt x="381" y="691"/>
                </a:cubicBezTo>
                <a:close/>
                <a:moveTo>
                  <a:pt x="382" y="658"/>
                </a:moveTo>
                <a:cubicBezTo>
                  <a:pt x="380" y="659"/>
                  <a:pt x="379" y="657"/>
                  <a:pt x="382" y="658"/>
                </a:cubicBezTo>
                <a:close/>
                <a:moveTo>
                  <a:pt x="383" y="691"/>
                </a:moveTo>
                <a:cubicBezTo>
                  <a:pt x="384" y="691"/>
                  <a:pt x="385" y="691"/>
                  <a:pt x="386" y="691"/>
                </a:cubicBezTo>
                <a:cubicBezTo>
                  <a:pt x="386" y="691"/>
                  <a:pt x="384" y="691"/>
                  <a:pt x="383" y="691"/>
                </a:cubicBezTo>
                <a:close/>
                <a:moveTo>
                  <a:pt x="387" y="696"/>
                </a:move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lose/>
                <a:moveTo>
                  <a:pt x="384" y="662"/>
                </a:moveTo>
                <a:cubicBezTo>
                  <a:pt x="384" y="660"/>
                  <a:pt x="388" y="661"/>
                  <a:pt x="388" y="662"/>
                </a:cubicBezTo>
                <a:cubicBezTo>
                  <a:pt x="388" y="663"/>
                  <a:pt x="385" y="664"/>
                  <a:pt x="384" y="662"/>
                </a:cubicBezTo>
                <a:close/>
                <a:moveTo>
                  <a:pt x="398" y="679"/>
                </a:moveTo>
                <a:cubicBezTo>
                  <a:pt x="400" y="678"/>
                  <a:pt x="400" y="680"/>
                  <a:pt x="398" y="679"/>
                </a:cubicBezTo>
                <a:close/>
                <a:moveTo>
                  <a:pt x="401" y="664"/>
                </a:moveTo>
                <a:cubicBezTo>
                  <a:pt x="402" y="662"/>
                  <a:pt x="405" y="663"/>
                  <a:pt x="406" y="663"/>
                </a:cubicBezTo>
                <a:cubicBezTo>
                  <a:pt x="406" y="663"/>
                  <a:pt x="407" y="664"/>
                  <a:pt x="407" y="664"/>
                </a:cubicBezTo>
                <a:cubicBezTo>
                  <a:pt x="406" y="664"/>
                  <a:pt x="408" y="663"/>
                  <a:pt x="409" y="664"/>
                </a:cubicBezTo>
                <a:cubicBezTo>
                  <a:pt x="409" y="665"/>
                  <a:pt x="400" y="667"/>
                  <a:pt x="401" y="664"/>
                </a:cubicBezTo>
                <a:close/>
                <a:moveTo>
                  <a:pt x="411" y="704"/>
                </a:moveTo>
                <a:cubicBezTo>
                  <a:pt x="410" y="704"/>
                  <a:pt x="411" y="704"/>
                  <a:pt x="411" y="704"/>
                </a:cubicBezTo>
                <a:cubicBezTo>
                  <a:pt x="411" y="704"/>
                  <a:pt x="411" y="704"/>
                  <a:pt x="411" y="704"/>
                </a:cubicBezTo>
                <a:close/>
                <a:moveTo>
                  <a:pt x="409" y="648"/>
                </a:moveTo>
                <a:cubicBezTo>
                  <a:pt x="403" y="650"/>
                  <a:pt x="397" y="649"/>
                  <a:pt x="391" y="651"/>
                </a:cubicBezTo>
                <a:cubicBezTo>
                  <a:pt x="386" y="652"/>
                  <a:pt x="381" y="655"/>
                  <a:pt x="376" y="654"/>
                </a:cubicBezTo>
                <a:cubicBezTo>
                  <a:pt x="375" y="654"/>
                  <a:pt x="375" y="653"/>
                  <a:pt x="375" y="653"/>
                </a:cubicBezTo>
                <a:cubicBezTo>
                  <a:pt x="374" y="652"/>
                  <a:pt x="384" y="650"/>
                  <a:pt x="387" y="650"/>
                </a:cubicBezTo>
                <a:cubicBezTo>
                  <a:pt x="393" y="649"/>
                  <a:pt x="396" y="649"/>
                  <a:pt x="401" y="648"/>
                </a:cubicBezTo>
                <a:cubicBezTo>
                  <a:pt x="403" y="648"/>
                  <a:pt x="408" y="646"/>
                  <a:pt x="410" y="646"/>
                </a:cubicBezTo>
                <a:cubicBezTo>
                  <a:pt x="413" y="647"/>
                  <a:pt x="409" y="648"/>
                  <a:pt x="409" y="648"/>
                </a:cubicBezTo>
                <a:close/>
                <a:moveTo>
                  <a:pt x="394" y="589"/>
                </a:moveTo>
                <a:cubicBezTo>
                  <a:pt x="394" y="588"/>
                  <a:pt x="395" y="588"/>
                  <a:pt x="395" y="589"/>
                </a:cubicBezTo>
                <a:cubicBezTo>
                  <a:pt x="395" y="589"/>
                  <a:pt x="394" y="590"/>
                  <a:pt x="394" y="589"/>
                </a:cubicBezTo>
                <a:close/>
                <a:moveTo>
                  <a:pt x="398" y="605"/>
                </a:moveTo>
                <a:cubicBezTo>
                  <a:pt x="398" y="605"/>
                  <a:pt x="399" y="604"/>
                  <a:pt x="399" y="604"/>
                </a:cubicBezTo>
                <a:cubicBezTo>
                  <a:pt x="398" y="604"/>
                  <a:pt x="396" y="605"/>
                  <a:pt x="395" y="605"/>
                </a:cubicBezTo>
                <a:cubicBezTo>
                  <a:pt x="395" y="605"/>
                  <a:pt x="399" y="603"/>
                  <a:pt x="400" y="603"/>
                </a:cubicBezTo>
                <a:cubicBezTo>
                  <a:pt x="401" y="603"/>
                  <a:pt x="404" y="605"/>
                  <a:pt x="404" y="605"/>
                </a:cubicBezTo>
                <a:cubicBezTo>
                  <a:pt x="404" y="606"/>
                  <a:pt x="400" y="608"/>
                  <a:pt x="398" y="605"/>
                </a:cubicBezTo>
                <a:close/>
                <a:moveTo>
                  <a:pt x="403" y="636"/>
                </a:moveTo>
                <a:cubicBezTo>
                  <a:pt x="403" y="636"/>
                  <a:pt x="404" y="637"/>
                  <a:pt x="404" y="636"/>
                </a:cubicBezTo>
                <a:cubicBezTo>
                  <a:pt x="404" y="637"/>
                  <a:pt x="403" y="637"/>
                  <a:pt x="403" y="636"/>
                </a:cubicBezTo>
                <a:close/>
                <a:moveTo>
                  <a:pt x="406" y="193"/>
                </a:moveTo>
                <a:cubicBezTo>
                  <a:pt x="406" y="195"/>
                  <a:pt x="404" y="195"/>
                  <a:pt x="406" y="193"/>
                </a:cubicBezTo>
                <a:close/>
                <a:moveTo>
                  <a:pt x="407" y="192"/>
                </a:moveTo>
                <a:cubicBezTo>
                  <a:pt x="406" y="194"/>
                  <a:pt x="409" y="190"/>
                  <a:pt x="407" y="192"/>
                </a:cubicBezTo>
                <a:close/>
                <a:moveTo>
                  <a:pt x="410" y="563"/>
                </a:moveTo>
                <a:cubicBezTo>
                  <a:pt x="410" y="564"/>
                  <a:pt x="410" y="565"/>
                  <a:pt x="409" y="564"/>
                </a:cubicBezTo>
                <a:cubicBezTo>
                  <a:pt x="408" y="564"/>
                  <a:pt x="409" y="563"/>
                  <a:pt x="410" y="563"/>
                </a:cubicBezTo>
                <a:close/>
                <a:moveTo>
                  <a:pt x="412" y="687"/>
                </a:moveTo>
                <a:cubicBezTo>
                  <a:pt x="414" y="686"/>
                  <a:pt x="414" y="687"/>
                  <a:pt x="412" y="687"/>
                </a:cubicBezTo>
                <a:close/>
                <a:moveTo>
                  <a:pt x="391" y="194"/>
                </a:moveTo>
                <a:cubicBezTo>
                  <a:pt x="391" y="194"/>
                  <a:pt x="389" y="196"/>
                  <a:pt x="388" y="195"/>
                </a:cubicBezTo>
                <a:cubicBezTo>
                  <a:pt x="388" y="194"/>
                  <a:pt x="391" y="193"/>
                  <a:pt x="390" y="194"/>
                </a:cubicBezTo>
                <a:cubicBezTo>
                  <a:pt x="398" y="189"/>
                  <a:pt x="408" y="183"/>
                  <a:pt x="417" y="179"/>
                </a:cubicBezTo>
                <a:cubicBezTo>
                  <a:pt x="409" y="185"/>
                  <a:pt x="400" y="189"/>
                  <a:pt x="391" y="194"/>
                </a:cubicBezTo>
                <a:close/>
                <a:moveTo>
                  <a:pt x="414" y="158"/>
                </a:moveTo>
                <a:cubicBezTo>
                  <a:pt x="415" y="156"/>
                  <a:pt x="417" y="157"/>
                  <a:pt x="414" y="158"/>
                </a:cubicBezTo>
                <a:close/>
                <a:moveTo>
                  <a:pt x="407" y="137"/>
                </a:moveTo>
                <a:cubicBezTo>
                  <a:pt x="409" y="134"/>
                  <a:pt x="417" y="135"/>
                  <a:pt x="417" y="139"/>
                </a:cubicBezTo>
                <a:cubicBezTo>
                  <a:pt x="417" y="145"/>
                  <a:pt x="403" y="144"/>
                  <a:pt x="407" y="137"/>
                </a:cubicBezTo>
                <a:close/>
                <a:moveTo>
                  <a:pt x="418" y="140"/>
                </a:moveTo>
                <a:cubicBezTo>
                  <a:pt x="418" y="139"/>
                  <a:pt x="419" y="142"/>
                  <a:pt x="418" y="140"/>
                </a:cubicBezTo>
                <a:close/>
                <a:moveTo>
                  <a:pt x="420" y="672"/>
                </a:moveTo>
                <a:cubicBezTo>
                  <a:pt x="419" y="672"/>
                  <a:pt x="418" y="672"/>
                  <a:pt x="418" y="672"/>
                </a:cubicBezTo>
                <a:cubicBezTo>
                  <a:pt x="418" y="671"/>
                  <a:pt x="432" y="670"/>
                  <a:pt x="435" y="670"/>
                </a:cubicBezTo>
                <a:cubicBezTo>
                  <a:pt x="437" y="671"/>
                  <a:pt x="433" y="672"/>
                  <a:pt x="432" y="672"/>
                </a:cubicBezTo>
                <a:cubicBezTo>
                  <a:pt x="428" y="672"/>
                  <a:pt x="423" y="673"/>
                  <a:pt x="420" y="672"/>
                </a:cubicBezTo>
                <a:close/>
                <a:moveTo>
                  <a:pt x="425" y="681"/>
                </a:moveTo>
                <a:cubicBezTo>
                  <a:pt x="425" y="681"/>
                  <a:pt x="425" y="680"/>
                  <a:pt x="425" y="680"/>
                </a:cubicBezTo>
                <a:cubicBezTo>
                  <a:pt x="425" y="680"/>
                  <a:pt x="425" y="680"/>
                  <a:pt x="425" y="681"/>
                </a:cubicBezTo>
                <a:cubicBezTo>
                  <a:pt x="425" y="681"/>
                  <a:pt x="425" y="681"/>
                  <a:pt x="425" y="681"/>
                </a:cubicBezTo>
                <a:cubicBezTo>
                  <a:pt x="426" y="681"/>
                  <a:pt x="426" y="681"/>
                  <a:pt x="425" y="681"/>
                </a:cubicBezTo>
                <a:close/>
                <a:moveTo>
                  <a:pt x="429" y="674"/>
                </a:moveTo>
                <a:cubicBezTo>
                  <a:pt x="429" y="674"/>
                  <a:pt x="426" y="674"/>
                  <a:pt x="428" y="673"/>
                </a:cubicBezTo>
                <a:cubicBezTo>
                  <a:pt x="431" y="672"/>
                  <a:pt x="437" y="672"/>
                  <a:pt x="441" y="672"/>
                </a:cubicBezTo>
                <a:cubicBezTo>
                  <a:pt x="438" y="673"/>
                  <a:pt x="433" y="674"/>
                  <a:pt x="429" y="674"/>
                </a:cubicBezTo>
                <a:close/>
                <a:moveTo>
                  <a:pt x="442" y="672"/>
                </a:moveTo>
                <a:cubicBezTo>
                  <a:pt x="444" y="671"/>
                  <a:pt x="448" y="669"/>
                  <a:pt x="452" y="670"/>
                </a:cubicBezTo>
                <a:cubicBezTo>
                  <a:pt x="449" y="671"/>
                  <a:pt x="445" y="671"/>
                  <a:pt x="442" y="672"/>
                </a:cubicBezTo>
                <a:close/>
                <a:moveTo>
                  <a:pt x="449" y="142"/>
                </a:moveTo>
                <a:cubicBezTo>
                  <a:pt x="450" y="141"/>
                  <a:pt x="450" y="141"/>
                  <a:pt x="451" y="142"/>
                </a:cubicBezTo>
                <a:cubicBezTo>
                  <a:pt x="451" y="142"/>
                  <a:pt x="450" y="142"/>
                  <a:pt x="449" y="142"/>
                </a:cubicBezTo>
                <a:close/>
                <a:moveTo>
                  <a:pt x="451" y="148"/>
                </a:moveTo>
                <a:cubicBezTo>
                  <a:pt x="452" y="149"/>
                  <a:pt x="450" y="147"/>
                  <a:pt x="451" y="148"/>
                </a:cubicBezTo>
                <a:close/>
                <a:moveTo>
                  <a:pt x="446" y="79"/>
                </a:moveTo>
                <a:cubicBezTo>
                  <a:pt x="448" y="77"/>
                  <a:pt x="450" y="78"/>
                  <a:pt x="452" y="77"/>
                </a:cubicBezTo>
                <a:cubicBezTo>
                  <a:pt x="451" y="78"/>
                  <a:pt x="448" y="79"/>
                  <a:pt x="446" y="79"/>
                </a:cubicBezTo>
                <a:close/>
                <a:moveTo>
                  <a:pt x="454" y="644"/>
                </a:moveTo>
                <a:cubicBezTo>
                  <a:pt x="454" y="644"/>
                  <a:pt x="454" y="644"/>
                  <a:pt x="454" y="644"/>
                </a:cubicBezTo>
                <a:cubicBezTo>
                  <a:pt x="455" y="642"/>
                  <a:pt x="455" y="647"/>
                  <a:pt x="454" y="644"/>
                </a:cubicBezTo>
                <a:close/>
                <a:moveTo>
                  <a:pt x="449" y="66"/>
                </a:moveTo>
                <a:cubicBezTo>
                  <a:pt x="449" y="66"/>
                  <a:pt x="448" y="65"/>
                  <a:pt x="448" y="65"/>
                </a:cubicBezTo>
                <a:cubicBezTo>
                  <a:pt x="448" y="64"/>
                  <a:pt x="451" y="62"/>
                  <a:pt x="453" y="61"/>
                </a:cubicBezTo>
                <a:cubicBezTo>
                  <a:pt x="451" y="61"/>
                  <a:pt x="450" y="62"/>
                  <a:pt x="448" y="62"/>
                </a:cubicBezTo>
                <a:cubicBezTo>
                  <a:pt x="444" y="62"/>
                  <a:pt x="452" y="60"/>
                  <a:pt x="453" y="60"/>
                </a:cubicBezTo>
                <a:cubicBezTo>
                  <a:pt x="458" y="59"/>
                  <a:pt x="462" y="58"/>
                  <a:pt x="466" y="57"/>
                </a:cubicBezTo>
                <a:cubicBezTo>
                  <a:pt x="468" y="57"/>
                  <a:pt x="475" y="56"/>
                  <a:pt x="475" y="57"/>
                </a:cubicBezTo>
                <a:cubicBezTo>
                  <a:pt x="476" y="58"/>
                  <a:pt x="468" y="59"/>
                  <a:pt x="465" y="59"/>
                </a:cubicBezTo>
                <a:cubicBezTo>
                  <a:pt x="461" y="60"/>
                  <a:pt x="459" y="60"/>
                  <a:pt x="456" y="61"/>
                </a:cubicBezTo>
                <a:cubicBezTo>
                  <a:pt x="458" y="61"/>
                  <a:pt x="461" y="62"/>
                  <a:pt x="460" y="64"/>
                </a:cubicBezTo>
                <a:cubicBezTo>
                  <a:pt x="460" y="69"/>
                  <a:pt x="453" y="68"/>
                  <a:pt x="449" y="66"/>
                </a:cubicBezTo>
                <a:close/>
                <a:moveTo>
                  <a:pt x="467" y="66"/>
                </a:moveTo>
                <a:cubicBezTo>
                  <a:pt x="468" y="65"/>
                  <a:pt x="470" y="62"/>
                  <a:pt x="471" y="63"/>
                </a:cubicBezTo>
                <a:cubicBezTo>
                  <a:pt x="473" y="65"/>
                  <a:pt x="469" y="66"/>
                  <a:pt x="467" y="66"/>
                </a:cubicBezTo>
                <a:close/>
                <a:moveTo>
                  <a:pt x="459" y="100"/>
                </a:moveTo>
                <a:cubicBezTo>
                  <a:pt x="458" y="100"/>
                  <a:pt x="458" y="99"/>
                  <a:pt x="459" y="98"/>
                </a:cubicBezTo>
                <a:cubicBezTo>
                  <a:pt x="461" y="96"/>
                  <a:pt x="462" y="100"/>
                  <a:pt x="459" y="100"/>
                </a:cubicBezTo>
                <a:close/>
                <a:moveTo>
                  <a:pt x="456" y="149"/>
                </a:moveTo>
                <a:cubicBezTo>
                  <a:pt x="456" y="149"/>
                  <a:pt x="460" y="145"/>
                  <a:pt x="461" y="146"/>
                </a:cubicBezTo>
                <a:cubicBezTo>
                  <a:pt x="463" y="148"/>
                  <a:pt x="457" y="150"/>
                  <a:pt x="456" y="149"/>
                </a:cubicBezTo>
                <a:close/>
                <a:moveTo>
                  <a:pt x="462" y="681"/>
                </a:moveTo>
                <a:cubicBezTo>
                  <a:pt x="464" y="680"/>
                  <a:pt x="464" y="682"/>
                  <a:pt x="462" y="681"/>
                </a:cubicBezTo>
                <a:close/>
                <a:moveTo>
                  <a:pt x="464" y="170"/>
                </a:moveTo>
                <a:cubicBezTo>
                  <a:pt x="463" y="171"/>
                  <a:pt x="461" y="171"/>
                  <a:pt x="460" y="171"/>
                </a:cubicBezTo>
                <a:cubicBezTo>
                  <a:pt x="459" y="172"/>
                  <a:pt x="459" y="172"/>
                  <a:pt x="458" y="172"/>
                </a:cubicBezTo>
                <a:cubicBezTo>
                  <a:pt x="459" y="172"/>
                  <a:pt x="459" y="172"/>
                  <a:pt x="460" y="171"/>
                </a:cubicBezTo>
                <a:cubicBezTo>
                  <a:pt x="462" y="170"/>
                  <a:pt x="464" y="168"/>
                  <a:pt x="465" y="168"/>
                </a:cubicBezTo>
                <a:cubicBezTo>
                  <a:pt x="468" y="167"/>
                  <a:pt x="464" y="170"/>
                  <a:pt x="464" y="170"/>
                </a:cubicBezTo>
                <a:close/>
                <a:moveTo>
                  <a:pt x="466" y="68"/>
                </a:moveTo>
                <a:cubicBezTo>
                  <a:pt x="466" y="68"/>
                  <a:pt x="466" y="68"/>
                  <a:pt x="466" y="68"/>
                </a:cubicBezTo>
                <a:cubicBezTo>
                  <a:pt x="467" y="70"/>
                  <a:pt x="464" y="67"/>
                  <a:pt x="466" y="68"/>
                </a:cubicBezTo>
                <a:close/>
                <a:moveTo>
                  <a:pt x="468" y="241"/>
                </a:moveTo>
                <a:cubicBezTo>
                  <a:pt x="468" y="243"/>
                  <a:pt x="465" y="242"/>
                  <a:pt x="468" y="241"/>
                </a:cubicBezTo>
                <a:close/>
                <a:moveTo>
                  <a:pt x="470" y="75"/>
                </a:moveTo>
                <a:cubicBezTo>
                  <a:pt x="470" y="75"/>
                  <a:pt x="470" y="76"/>
                  <a:pt x="470" y="77"/>
                </a:cubicBezTo>
                <a:cubicBezTo>
                  <a:pt x="471" y="77"/>
                  <a:pt x="472" y="75"/>
                  <a:pt x="472" y="75"/>
                </a:cubicBezTo>
                <a:cubicBezTo>
                  <a:pt x="472" y="74"/>
                  <a:pt x="471" y="74"/>
                  <a:pt x="471" y="73"/>
                </a:cubicBezTo>
                <a:cubicBezTo>
                  <a:pt x="471" y="74"/>
                  <a:pt x="470" y="73"/>
                  <a:pt x="471" y="73"/>
                </a:cubicBezTo>
                <a:cubicBezTo>
                  <a:pt x="472" y="72"/>
                  <a:pt x="473" y="73"/>
                  <a:pt x="473" y="73"/>
                </a:cubicBezTo>
                <a:cubicBezTo>
                  <a:pt x="474" y="72"/>
                  <a:pt x="475" y="72"/>
                  <a:pt x="476" y="72"/>
                </a:cubicBezTo>
                <a:cubicBezTo>
                  <a:pt x="477" y="72"/>
                  <a:pt x="481" y="75"/>
                  <a:pt x="478" y="76"/>
                </a:cubicBezTo>
                <a:cubicBezTo>
                  <a:pt x="476" y="77"/>
                  <a:pt x="471" y="78"/>
                  <a:pt x="469" y="77"/>
                </a:cubicBezTo>
                <a:cubicBezTo>
                  <a:pt x="468" y="77"/>
                  <a:pt x="468" y="74"/>
                  <a:pt x="470" y="75"/>
                </a:cubicBezTo>
                <a:close/>
                <a:moveTo>
                  <a:pt x="478" y="117"/>
                </a:moveTo>
                <a:cubicBezTo>
                  <a:pt x="479" y="118"/>
                  <a:pt x="477" y="118"/>
                  <a:pt x="476" y="118"/>
                </a:cubicBezTo>
                <a:cubicBezTo>
                  <a:pt x="476" y="117"/>
                  <a:pt x="478" y="117"/>
                  <a:pt x="478" y="117"/>
                </a:cubicBezTo>
                <a:close/>
                <a:moveTo>
                  <a:pt x="478" y="100"/>
                </a:move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lose/>
                <a:moveTo>
                  <a:pt x="478" y="100"/>
                </a:moveTo>
                <a:cubicBezTo>
                  <a:pt x="479" y="100"/>
                  <a:pt x="478" y="100"/>
                  <a:pt x="478" y="100"/>
                </a:cubicBezTo>
                <a:close/>
                <a:moveTo>
                  <a:pt x="476" y="97"/>
                </a:moveTo>
                <a:cubicBezTo>
                  <a:pt x="475" y="96"/>
                  <a:pt x="478" y="96"/>
                  <a:pt x="478" y="96"/>
                </a:cubicBezTo>
                <a:cubicBezTo>
                  <a:pt x="479" y="96"/>
                  <a:pt x="476" y="97"/>
                  <a:pt x="476" y="97"/>
                </a:cubicBezTo>
                <a:close/>
                <a:moveTo>
                  <a:pt x="474" y="91"/>
                </a:moveTo>
                <a:cubicBezTo>
                  <a:pt x="474" y="90"/>
                  <a:pt x="475" y="90"/>
                  <a:pt x="476" y="90"/>
                </a:cubicBezTo>
                <a:cubicBezTo>
                  <a:pt x="477" y="92"/>
                  <a:pt x="474" y="92"/>
                  <a:pt x="474" y="91"/>
                </a:cubicBezTo>
                <a:close/>
                <a:moveTo>
                  <a:pt x="477" y="107"/>
                </a:moveTo>
                <a:cubicBezTo>
                  <a:pt x="477" y="109"/>
                  <a:pt x="474" y="111"/>
                  <a:pt x="473" y="109"/>
                </a:cubicBezTo>
                <a:cubicBezTo>
                  <a:pt x="469" y="106"/>
                  <a:pt x="477" y="104"/>
                  <a:pt x="477" y="107"/>
                </a:cubicBezTo>
                <a:close/>
                <a:moveTo>
                  <a:pt x="472" y="112"/>
                </a:moveTo>
                <a:cubicBezTo>
                  <a:pt x="475" y="114"/>
                  <a:pt x="468" y="116"/>
                  <a:pt x="470" y="113"/>
                </a:cubicBezTo>
                <a:cubicBezTo>
                  <a:pt x="471" y="112"/>
                  <a:pt x="472" y="112"/>
                  <a:pt x="472" y="112"/>
                </a:cubicBezTo>
                <a:close/>
                <a:moveTo>
                  <a:pt x="475" y="122"/>
                </a:moveTo>
                <a:cubicBezTo>
                  <a:pt x="474" y="122"/>
                  <a:pt x="473" y="123"/>
                  <a:pt x="472" y="123"/>
                </a:cubicBezTo>
                <a:cubicBezTo>
                  <a:pt x="472" y="123"/>
                  <a:pt x="473" y="121"/>
                  <a:pt x="475" y="122"/>
                </a:cubicBezTo>
                <a:close/>
                <a:moveTo>
                  <a:pt x="474" y="123"/>
                </a:moveTo>
                <a:cubicBezTo>
                  <a:pt x="474" y="123"/>
                  <a:pt x="475" y="123"/>
                  <a:pt x="475" y="124"/>
                </a:cubicBezTo>
                <a:cubicBezTo>
                  <a:pt x="475" y="124"/>
                  <a:pt x="474" y="124"/>
                  <a:pt x="474" y="123"/>
                </a:cubicBezTo>
                <a:close/>
                <a:moveTo>
                  <a:pt x="477" y="158"/>
                </a:moveTo>
                <a:cubicBezTo>
                  <a:pt x="477" y="158"/>
                  <a:pt x="476" y="159"/>
                  <a:pt x="475" y="159"/>
                </a:cubicBezTo>
                <a:cubicBezTo>
                  <a:pt x="475" y="159"/>
                  <a:pt x="476" y="158"/>
                  <a:pt x="477" y="158"/>
                </a:cubicBezTo>
                <a:close/>
                <a:moveTo>
                  <a:pt x="476" y="121"/>
                </a:moveTo>
                <a:cubicBezTo>
                  <a:pt x="477" y="121"/>
                  <a:pt x="478" y="119"/>
                  <a:pt x="479" y="120"/>
                </a:cubicBezTo>
                <a:cubicBezTo>
                  <a:pt x="478" y="121"/>
                  <a:pt x="477" y="121"/>
                  <a:pt x="476" y="121"/>
                </a:cubicBezTo>
                <a:close/>
                <a:moveTo>
                  <a:pt x="472" y="165"/>
                </a:moveTo>
                <a:cubicBezTo>
                  <a:pt x="472" y="166"/>
                  <a:pt x="470" y="167"/>
                  <a:pt x="469" y="168"/>
                </a:cubicBezTo>
                <a:cubicBezTo>
                  <a:pt x="469" y="166"/>
                  <a:pt x="471" y="166"/>
                  <a:pt x="472" y="165"/>
                </a:cubicBezTo>
                <a:close/>
                <a:moveTo>
                  <a:pt x="471" y="178"/>
                </a:moveTo>
                <a:cubicBezTo>
                  <a:pt x="471" y="175"/>
                  <a:pt x="476" y="174"/>
                  <a:pt x="477" y="177"/>
                </a:cubicBezTo>
                <a:cubicBezTo>
                  <a:pt x="477" y="181"/>
                  <a:pt x="471" y="180"/>
                  <a:pt x="471" y="178"/>
                </a:cubicBezTo>
                <a:close/>
                <a:moveTo>
                  <a:pt x="472" y="233"/>
                </a:moveTo>
                <a:cubicBezTo>
                  <a:pt x="472" y="232"/>
                  <a:pt x="475" y="230"/>
                  <a:pt x="475" y="232"/>
                </a:cubicBezTo>
                <a:cubicBezTo>
                  <a:pt x="476" y="234"/>
                  <a:pt x="473" y="234"/>
                  <a:pt x="472" y="233"/>
                </a:cubicBezTo>
                <a:close/>
                <a:moveTo>
                  <a:pt x="475" y="180"/>
                </a:moveTo>
                <a:cubicBezTo>
                  <a:pt x="475" y="180"/>
                  <a:pt x="476" y="179"/>
                  <a:pt x="477" y="180"/>
                </a:cubicBezTo>
                <a:cubicBezTo>
                  <a:pt x="478" y="181"/>
                  <a:pt x="475" y="181"/>
                  <a:pt x="475" y="180"/>
                </a:cubicBezTo>
                <a:close/>
                <a:moveTo>
                  <a:pt x="482" y="155"/>
                </a:moveTo>
                <a:cubicBezTo>
                  <a:pt x="482" y="156"/>
                  <a:pt x="480" y="157"/>
                  <a:pt x="479" y="157"/>
                </a:cubicBezTo>
                <a:cubicBezTo>
                  <a:pt x="479" y="156"/>
                  <a:pt x="481" y="156"/>
                  <a:pt x="482" y="155"/>
                </a:cubicBezTo>
                <a:close/>
                <a:moveTo>
                  <a:pt x="479" y="164"/>
                </a:moveTo>
                <a:cubicBezTo>
                  <a:pt x="479" y="162"/>
                  <a:pt x="481" y="163"/>
                  <a:pt x="479" y="164"/>
                </a:cubicBezTo>
                <a:close/>
                <a:moveTo>
                  <a:pt x="479" y="175"/>
                </a:moveTo>
                <a:cubicBezTo>
                  <a:pt x="478" y="174"/>
                  <a:pt x="480" y="173"/>
                  <a:pt x="480" y="174"/>
                </a:cubicBezTo>
                <a:cubicBezTo>
                  <a:pt x="480" y="175"/>
                  <a:pt x="480" y="175"/>
                  <a:pt x="479" y="175"/>
                </a:cubicBezTo>
                <a:close/>
                <a:moveTo>
                  <a:pt x="480" y="164"/>
                </a:moveTo>
                <a:cubicBezTo>
                  <a:pt x="480" y="163"/>
                  <a:pt x="484" y="161"/>
                  <a:pt x="484" y="164"/>
                </a:cubicBezTo>
                <a:cubicBezTo>
                  <a:pt x="484" y="166"/>
                  <a:pt x="480" y="166"/>
                  <a:pt x="480" y="164"/>
                </a:cubicBezTo>
                <a:close/>
                <a:moveTo>
                  <a:pt x="482" y="188"/>
                </a:moveTo>
                <a:cubicBezTo>
                  <a:pt x="482" y="187"/>
                  <a:pt x="483" y="187"/>
                  <a:pt x="484" y="187"/>
                </a:cubicBezTo>
                <a:cubicBezTo>
                  <a:pt x="484" y="187"/>
                  <a:pt x="482" y="189"/>
                  <a:pt x="482" y="188"/>
                </a:cubicBezTo>
                <a:close/>
                <a:moveTo>
                  <a:pt x="487" y="253"/>
                </a:moveTo>
                <a:cubicBezTo>
                  <a:pt x="487" y="255"/>
                  <a:pt x="485" y="254"/>
                  <a:pt x="487" y="253"/>
                </a:cubicBezTo>
                <a:close/>
                <a:moveTo>
                  <a:pt x="484" y="228"/>
                </a:moveTo>
                <a:cubicBezTo>
                  <a:pt x="482" y="226"/>
                  <a:pt x="488" y="223"/>
                  <a:pt x="488" y="227"/>
                </a:cubicBezTo>
                <a:cubicBezTo>
                  <a:pt x="488" y="228"/>
                  <a:pt x="485" y="230"/>
                  <a:pt x="484" y="228"/>
                </a:cubicBezTo>
                <a:close/>
                <a:moveTo>
                  <a:pt x="486" y="208"/>
                </a:moveTo>
                <a:cubicBezTo>
                  <a:pt x="486" y="207"/>
                  <a:pt x="488" y="206"/>
                  <a:pt x="488" y="207"/>
                </a:cubicBezTo>
                <a:cubicBezTo>
                  <a:pt x="488" y="208"/>
                  <a:pt x="487" y="209"/>
                  <a:pt x="486" y="208"/>
                </a:cubicBezTo>
                <a:close/>
                <a:moveTo>
                  <a:pt x="490" y="250"/>
                </a:moveTo>
                <a:cubicBezTo>
                  <a:pt x="490" y="248"/>
                  <a:pt x="492" y="246"/>
                  <a:pt x="493" y="245"/>
                </a:cubicBezTo>
                <a:cubicBezTo>
                  <a:pt x="493" y="246"/>
                  <a:pt x="491" y="248"/>
                  <a:pt x="490" y="250"/>
                </a:cubicBezTo>
                <a:close/>
                <a:moveTo>
                  <a:pt x="494" y="245"/>
                </a:moveTo>
                <a:cubicBezTo>
                  <a:pt x="494" y="244"/>
                  <a:pt x="495" y="243"/>
                  <a:pt x="495" y="243"/>
                </a:cubicBezTo>
                <a:cubicBezTo>
                  <a:pt x="496" y="243"/>
                  <a:pt x="494" y="245"/>
                  <a:pt x="494" y="245"/>
                </a:cubicBezTo>
                <a:close/>
                <a:moveTo>
                  <a:pt x="499" y="230"/>
                </a:moveTo>
                <a:cubicBezTo>
                  <a:pt x="499" y="229"/>
                  <a:pt x="501" y="229"/>
                  <a:pt x="501" y="229"/>
                </a:cubicBezTo>
                <a:cubicBezTo>
                  <a:pt x="502" y="229"/>
                  <a:pt x="500" y="230"/>
                  <a:pt x="499" y="230"/>
                </a:cubicBezTo>
                <a:close/>
                <a:moveTo>
                  <a:pt x="496" y="230"/>
                </a:moveTo>
                <a:cubicBezTo>
                  <a:pt x="496" y="230"/>
                  <a:pt x="491" y="233"/>
                  <a:pt x="492" y="231"/>
                </a:cubicBezTo>
                <a:cubicBezTo>
                  <a:pt x="492" y="230"/>
                  <a:pt x="497" y="229"/>
                  <a:pt x="497" y="229"/>
                </a:cubicBezTo>
                <a:cubicBezTo>
                  <a:pt x="500" y="228"/>
                  <a:pt x="503" y="225"/>
                  <a:pt x="506" y="225"/>
                </a:cubicBezTo>
                <a:cubicBezTo>
                  <a:pt x="505" y="228"/>
                  <a:pt x="498" y="229"/>
                  <a:pt x="496" y="230"/>
                </a:cubicBezTo>
                <a:close/>
                <a:moveTo>
                  <a:pt x="505" y="195"/>
                </a:moveTo>
                <a:cubicBezTo>
                  <a:pt x="505" y="194"/>
                  <a:pt x="507" y="192"/>
                  <a:pt x="508" y="193"/>
                </a:cubicBezTo>
                <a:cubicBezTo>
                  <a:pt x="508" y="194"/>
                  <a:pt x="506" y="196"/>
                  <a:pt x="505" y="195"/>
                </a:cubicBezTo>
                <a:close/>
                <a:moveTo>
                  <a:pt x="507" y="222"/>
                </a:moveTo>
                <a:cubicBezTo>
                  <a:pt x="507" y="222"/>
                  <a:pt x="508" y="222"/>
                  <a:pt x="508" y="222"/>
                </a:cubicBezTo>
                <a:cubicBezTo>
                  <a:pt x="510" y="223"/>
                  <a:pt x="504" y="225"/>
                  <a:pt x="507" y="222"/>
                </a:cubicBezTo>
                <a:close/>
                <a:moveTo>
                  <a:pt x="506" y="190"/>
                </a:moveTo>
                <a:cubicBezTo>
                  <a:pt x="506" y="189"/>
                  <a:pt x="507" y="188"/>
                  <a:pt x="509" y="188"/>
                </a:cubicBezTo>
                <a:cubicBezTo>
                  <a:pt x="508" y="189"/>
                  <a:pt x="507" y="190"/>
                  <a:pt x="506" y="190"/>
                </a:cubicBezTo>
                <a:close/>
                <a:moveTo>
                  <a:pt x="516" y="247"/>
                </a:moveTo>
                <a:cubicBezTo>
                  <a:pt x="514" y="248"/>
                  <a:pt x="511" y="250"/>
                  <a:pt x="509" y="250"/>
                </a:cubicBezTo>
                <a:cubicBezTo>
                  <a:pt x="510" y="249"/>
                  <a:pt x="514" y="248"/>
                  <a:pt x="516" y="247"/>
                </a:cubicBezTo>
                <a:close/>
                <a:moveTo>
                  <a:pt x="512" y="258"/>
                </a:moveTo>
                <a:cubicBezTo>
                  <a:pt x="512" y="255"/>
                  <a:pt x="516" y="256"/>
                  <a:pt x="516" y="257"/>
                </a:cubicBezTo>
                <a:cubicBezTo>
                  <a:pt x="517" y="258"/>
                  <a:pt x="512" y="260"/>
                  <a:pt x="512" y="258"/>
                </a:cubicBezTo>
                <a:close/>
                <a:moveTo>
                  <a:pt x="517" y="268"/>
                </a:moveTo>
                <a:cubicBezTo>
                  <a:pt x="516" y="269"/>
                  <a:pt x="517" y="268"/>
                  <a:pt x="517" y="268"/>
                </a:cubicBezTo>
                <a:cubicBezTo>
                  <a:pt x="517" y="268"/>
                  <a:pt x="517" y="268"/>
                  <a:pt x="517" y="268"/>
                </a:cubicBezTo>
                <a:close/>
                <a:moveTo>
                  <a:pt x="517" y="247"/>
                </a:moveTo>
                <a:cubicBezTo>
                  <a:pt x="517" y="247"/>
                  <a:pt x="517" y="247"/>
                  <a:pt x="517" y="247"/>
                </a:cubicBezTo>
                <a:cubicBezTo>
                  <a:pt x="518" y="247"/>
                  <a:pt x="517" y="247"/>
                  <a:pt x="517" y="247"/>
                </a:cubicBezTo>
                <a:close/>
                <a:moveTo>
                  <a:pt x="518" y="154"/>
                </a:moveTo>
                <a:cubicBezTo>
                  <a:pt x="517" y="151"/>
                  <a:pt x="524" y="153"/>
                  <a:pt x="524" y="154"/>
                </a:cubicBezTo>
                <a:cubicBezTo>
                  <a:pt x="524" y="154"/>
                  <a:pt x="523" y="155"/>
                  <a:pt x="523" y="155"/>
                </a:cubicBezTo>
                <a:cubicBezTo>
                  <a:pt x="523" y="156"/>
                  <a:pt x="522" y="158"/>
                  <a:pt x="521" y="156"/>
                </a:cubicBezTo>
                <a:cubicBezTo>
                  <a:pt x="521" y="156"/>
                  <a:pt x="521" y="155"/>
                  <a:pt x="521" y="155"/>
                </a:cubicBezTo>
                <a:cubicBezTo>
                  <a:pt x="520" y="155"/>
                  <a:pt x="518" y="155"/>
                  <a:pt x="518" y="154"/>
                </a:cubicBezTo>
                <a:close/>
                <a:moveTo>
                  <a:pt x="518" y="188"/>
                </a:moveTo>
                <a:cubicBezTo>
                  <a:pt x="518" y="186"/>
                  <a:pt x="524" y="185"/>
                  <a:pt x="524" y="188"/>
                </a:cubicBezTo>
                <a:cubicBezTo>
                  <a:pt x="524" y="190"/>
                  <a:pt x="519" y="190"/>
                  <a:pt x="518" y="188"/>
                </a:cubicBezTo>
                <a:close/>
                <a:moveTo>
                  <a:pt x="522" y="286"/>
                </a:moveTo>
                <a:cubicBezTo>
                  <a:pt x="522" y="285"/>
                  <a:pt x="522" y="285"/>
                  <a:pt x="522" y="285"/>
                </a:cubicBezTo>
                <a:cubicBezTo>
                  <a:pt x="523" y="285"/>
                  <a:pt x="522" y="286"/>
                  <a:pt x="522" y="286"/>
                </a:cubicBezTo>
                <a:close/>
                <a:moveTo>
                  <a:pt x="521" y="231"/>
                </a:moveTo>
                <a:cubicBezTo>
                  <a:pt x="518" y="232"/>
                  <a:pt x="522" y="229"/>
                  <a:pt x="523" y="228"/>
                </a:cubicBezTo>
                <a:cubicBezTo>
                  <a:pt x="524" y="226"/>
                  <a:pt x="526" y="223"/>
                  <a:pt x="528" y="220"/>
                </a:cubicBezTo>
                <a:cubicBezTo>
                  <a:pt x="528" y="221"/>
                  <a:pt x="527" y="221"/>
                  <a:pt x="527" y="220"/>
                </a:cubicBezTo>
                <a:cubicBezTo>
                  <a:pt x="527" y="220"/>
                  <a:pt x="528" y="220"/>
                  <a:pt x="528" y="220"/>
                </a:cubicBezTo>
                <a:cubicBezTo>
                  <a:pt x="528" y="220"/>
                  <a:pt x="528" y="220"/>
                  <a:pt x="528" y="220"/>
                </a:cubicBezTo>
                <a:cubicBezTo>
                  <a:pt x="529" y="219"/>
                  <a:pt x="529" y="218"/>
                  <a:pt x="530" y="218"/>
                </a:cubicBezTo>
                <a:cubicBezTo>
                  <a:pt x="530" y="218"/>
                  <a:pt x="531" y="218"/>
                  <a:pt x="531" y="218"/>
                </a:cubicBezTo>
                <a:cubicBezTo>
                  <a:pt x="531" y="218"/>
                  <a:pt x="529" y="220"/>
                  <a:pt x="528" y="222"/>
                </a:cubicBezTo>
                <a:cubicBezTo>
                  <a:pt x="527" y="223"/>
                  <a:pt x="523" y="230"/>
                  <a:pt x="521" y="231"/>
                </a:cubicBezTo>
                <a:close/>
                <a:moveTo>
                  <a:pt x="530" y="232"/>
                </a:moveTo>
                <a:cubicBezTo>
                  <a:pt x="530" y="232"/>
                  <a:pt x="530" y="232"/>
                  <a:pt x="531" y="232"/>
                </a:cubicBezTo>
                <a:cubicBezTo>
                  <a:pt x="531" y="232"/>
                  <a:pt x="530" y="233"/>
                  <a:pt x="530" y="232"/>
                </a:cubicBezTo>
                <a:close/>
                <a:moveTo>
                  <a:pt x="530" y="268"/>
                </a:move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lose/>
                <a:moveTo>
                  <a:pt x="530" y="256"/>
                </a:moveTo>
                <a:cubicBezTo>
                  <a:pt x="530" y="256"/>
                  <a:pt x="531" y="255"/>
                  <a:pt x="531" y="256"/>
                </a:cubicBezTo>
                <a:cubicBezTo>
                  <a:pt x="532" y="258"/>
                  <a:pt x="529" y="258"/>
                  <a:pt x="530" y="256"/>
                </a:cubicBezTo>
                <a:close/>
                <a:moveTo>
                  <a:pt x="533" y="312"/>
                </a:moveTo>
                <a:cubicBezTo>
                  <a:pt x="533" y="311"/>
                  <a:pt x="533" y="310"/>
                  <a:pt x="534" y="310"/>
                </a:cubicBezTo>
                <a:cubicBezTo>
                  <a:pt x="536" y="308"/>
                  <a:pt x="535" y="313"/>
                  <a:pt x="533" y="312"/>
                </a:cubicBezTo>
                <a:close/>
                <a:moveTo>
                  <a:pt x="533" y="230"/>
                </a:moveTo>
                <a:cubicBezTo>
                  <a:pt x="534" y="229"/>
                  <a:pt x="535" y="232"/>
                  <a:pt x="533" y="231"/>
                </a:cubicBezTo>
                <a:cubicBezTo>
                  <a:pt x="533" y="231"/>
                  <a:pt x="533" y="230"/>
                  <a:pt x="533" y="230"/>
                </a:cubicBezTo>
                <a:close/>
                <a:moveTo>
                  <a:pt x="531" y="215"/>
                </a:moveTo>
                <a:cubicBezTo>
                  <a:pt x="530" y="213"/>
                  <a:pt x="535" y="211"/>
                  <a:pt x="535" y="214"/>
                </a:cubicBezTo>
                <a:cubicBezTo>
                  <a:pt x="535" y="215"/>
                  <a:pt x="531" y="217"/>
                  <a:pt x="531" y="215"/>
                </a:cubicBezTo>
                <a:close/>
                <a:moveTo>
                  <a:pt x="530" y="135"/>
                </a:moveTo>
                <a:cubicBezTo>
                  <a:pt x="532" y="134"/>
                  <a:pt x="534" y="133"/>
                  <a:pt x="536" y="131"/>
                </a:cubicBezTo>
                <a:cubicBezTo>
                  <a:pt x="535" y="134"/>
                  <a:pt x="532" y="134"/>
                  <a:pt x="530" y="135"/>
                </a:cubicBezTo>
                <a:close/>
                <a:moveTo>
                  <a:pt x="598" y="198"/>
                </a:moveTo>
                <a:cubicBezTo>
                  <a:pt x="598" y="198"/>
                  <a:pt x="597" y="199"/>
                  <a:pt x="597" y="199"/>
                </a:cubicBezTo>
                <a:cubicBezTo>
                  <a:pt x="596" y="198"/>
                  <a:pt x="598" y="198"/>
                  <a:pt x="598" y="198"/>
                </a:cubicBezTo>
                <a:close/>
                <a:moveTo>
                  <a:pt x="596" y="204"/>
                </a:moveTo>
                <a:cubicBezTo>
                  <a:pt x="598" y="202"/>
                  <a:pt x="597" y="205"/>
                  <a:pt x="596" y="205"/>
                </a:cubicBezTo>
                <a:cubicBezTo>
                  <a:pt x="596" y="204"/>
                  <a:pt x="596" y="204"/>
                  <a:pt x="596" y="204"/>
                </a:cubicBezTo>
                <a:close/>
                <a:moveTo>
                  <a:pt x="596" y="235"/>
                </a:moveTo>
                <a:cubicBezTo>
                  <a:pt x="597" y="235"/>
                  <a:pt x="598" y="234"/>
                  <a:pt x="598" y="235"/>
                </a:cubicBezTo>
                <a:cubicBezTo>
                  <a:pt x="601" y="237"/>
                  <a:pt x="594" y="238"/>
                  <a:pt x="596" y="235"/>
                </a:cubicBezTo>
                <a:close/>
                <a:moveTo>
                  <a:pt x="599" y="282"/>
                </a:moveTo>
                <a:cubicBezTo>
                  <a:pt x="598" y="284"/>
                  <a:pt x="597" y="283"/>
                  <a:pt x="599" y="282"/>
                </a:cubicBezTo>
                <a:close/>
                <a:moveTo>
                  <a:pt x="594" y="323"/>
                </a:moveTo>
                <a:cubicBezTo>
                  <a:pt x="594" y="322"/>
                  <a:pt x="595" y="322"/>
                  <a:pt x="595" y="322"/>
                </a:cubicBezTo>
                <a:cubicBezTo>
                  <a:pt x="597" y="323"/>
                  <a:pt x="593" y="325"/>
                  <a:pt x="594" y="323"/>
                </a:cubicBezTo>
                <a:close/>
                <a:moveTo>
                  <a:pt x="596" y="370"/>
                </a:moveTo>
                <a:cubicBezTo>
                  <a:pt x="597" y="370"/>
                  <a:pt x="594" y="371"/>
                  <a:pt x="596" y="370"/>
                </a:cubicBezTo>
                <a:close/>
                <a:moveTo>
                  <a:pt x="594" y="263"/>
                </a:moveTo>
                <a:cubicBezTo>
                  <a:pt x="595" y="262"/>
                  <a:pt x="596" y="264"/>
                  <a:pt x="594" y="263"/>
                </a:cubicBezTo>
                <a:close/>
                <a:moveTo>
                  <a:pt x="594" y="231"/>
                </a:moveTo>
                <a:cubicBezTo>
                  <a:pt x="595" y="231"/>
                  <a:pt x="594" y="232"/>
                  <a:pt x="594" y="231"/>
                </a:cubicBezTo>
                <a:cubicBezTo>
                  <a:pt x="594" y="231"/>
                  <a:pt x="594" y="231"/>
                  <a:pt x="594" y="231"/>
                </a:cubicBezTo>
                <a:close/>
                <a:moveTo>
                  <a:pt x="592" y="198"/>
                </a:moveTo>
                <a:cubicBezTo>
                  <a:pt x="594" y="196"/>
                  <a:pt x="594" y="199"/>
                  <a:pt x="592" y="198"/>
                </a:cubicBezTo>
                <a:close/>
                <a:moveTo>
                  <a:pt x="594" y="244"/>
                </a:moveTo>
                <a:cubicBezTo>
                  <a:pt x="594" y="245"/>
                  <a:pt x="593" y="245"/>
                  <a:pt x="591" y="246"/>
                </a:cubicBezTo>
                <a:cubicBezTo>
                  <a:pt x="592" y="245"/>
                  <a:pt x="593" y="244"/>
                  <a:pt x="594" y="244"/>
                </a:cubicBezTo>
                <a:close/>
                <a:moveTo>
                  <a:pt x="589" y="200"/>
                </a:moveTo>
                <a:cubicBezTo>
                  <a:pt x="590" y="201"/>
                  <a:pt x="588" y="202"/>
                  <a:pt x="588" y="202"/>
                </a:cubicBezTo>
                <a:cubicBezTo>
                  <a:pt x="588" y="201"/>
                  <a:pt x="589" y="201"/>
                  <a:pt x="589" y="200"/>
                </a:cubicBezTo>
                <a:close/>
                <a:moveTo>
                  <a:pt x="591" y="200"/>
                </a:moveTo>
                <a:cubicBezTo>
                  <a:pt x="590" y="203"/>
                  <a:pt x="589" y="206"/>
                  <a:pt x="586" y="208"/>
                </a:cubicBezTo>
                <a:cubicBezTo>
                  <a:pt x="588" y="206"/>
                  <a:pt x="589" y="203"/>
                  <a:pt x="591" y="200"/>
                </a:cubicBezTo>
                <a:close/>
                <a:moveTo>
                  <a:pt x="590" y="339"/>
                </a:moveTo>
                <a:cubicBezTo>
                  <a:pt x="591" y="338"/>
                  <a:pt x="590" y="340"/>
                  <a:pt x="590" y="339"/>
                </a:cubicBezTo>
                <a:close/>
                <a:moveTo>
                  <a:pt x="590" y="246"/>
                </a:moveTo>
                <a:cubicBezTo>
                  <a:pt x="591" y="246"/>
                  <a:pt x="591" y="246"/>
                  <a:pt x="590" y="246"/>
                </a:cubicBezTo>
                <a:close/>
                <a:moveTo>
                  <a:pt x="590" y="246"/>
                </a:moveTo>
                <a:cubicBezTo>
                  <a:pt x="590" y="246"/>
                  <a:pt x="590" y="247"/>
                  <a:pt x="590" y="247"/>
                </a:cubicBezTo>
                <a:cubicBezTo>
                  <a:pt x="590" y="247"/>
                  <a:pt x="590" y="247"/>
                  <a:pt x="590" y="247"/>
                </a:cubicBezTo>
                <a:cubicBezTo>
                  <a:pt x="590" y="247"/>
                  <a:pt x="590" y="247"/>
                  <a:pt x="590" y="246"/>
                </a:cubicBezTo>
                <a:close/>
                <a:moveTo>
                  <a:pt x="587" y="206"/>
                </a:moveTo>
                <a:cubicBezTo>
                  <a:pt x="587" y="206"/>
                  <a:pt x="586" y="205"/>
                  <a:pt x="586" y="205"/>
                </a:cubicBezTo>
                <a:cubicBezTo>
                  <a:pt x="587" y="204"/>
                  <a:pt x="587" y="208"/>
                  <a:pt x="587" y="206"/>
                </a:cubicBezTo>
                <a:close/>
                <a:moveTo>
                  <a:pt x="586" y="210"/>
                </a:moveTo>
                <a:cubicBezTo>
                  <a:pt x="587" y="211"/>
                  <a:pt x="585" y="212"/>
                  <a:pt x="585" y="213"/>
                </a:cubicBezTo>
                <a:cubicBezTo>
                  <a:pt x="584" y="212"/>
                  <a:pt x="586" y="210"/>
                  <a:pt x="586" y="210"/>
                </a:cubicBezTo>
                <a:close/>
                <a:moveTo>
                  <a:pt x="585" y="229"/>
                </a:moveTo>
                <a:cubicBezTo>
                  <a:pt x="586" y="228"/>
                  <a:pt x="585" y="230"/>
                  <a:pt x="584" y="230"/>
                </a:cubicBezTo>
                <a:cubicBezTo>
                  <a:pt x="584" y="230"/>
                  <a:pt x="585" y="229"/>
                  <a:pt x="585" y="229"/>
                </a:cubicBezTo>
                <a:close/>
                <a:moveTo>
                  <a:pt x="584" y="214"/>
                </a:moveTo>
                <a:cubicBezTo>
                  <a:pt x="584" y="212"/>
                  <a:pt x="585" y="214"/>
                  <a:pt x="584" y="214"/>
                </a:cubicBezTo>
                <a:close/>
                <a:moveTo>
                  <a:pt x="583" y="250"/>
                </a:moveTo>
                <a:cubicBezTo>
                  <a:pt x="583" y="250"/>
                  <a:pt x="583" y="251"/>
                  <a:pt x="582" y="251"/>
                </a:cubicBezTo>
                <a:cubicBezTo>
                  <a:pt x="582" y="251"/>
                  <a:pt x="581" y="251"/>
                  <a:pt x="581" y="251"/>
                </a:cubicBezTo>
                <a:cubicBezTo>
                  <a:pt x="582" y="251"/>
                  <a:pt x="583" y="251"/>
                  <a:pt x="583" y="250"/>
                </a:cubicBezTo>
                <a:close/>
                <a:moveTo>
                  <a:pt x="579" y="195"/>
                </a:moveTo>
                <a:cubicBezTo>
                  <a:pt x="578" y="194"/>
                  <a:pt x="581" y="195"/>
                  <a:pt x="579" y="195"/>
                </a:cubicBezTo>
                <a:close/>
                <a:moveTo>
                  <a:pt x="578" y="186"/>
                </a:moveTo>
                <a:cubicBezTo>
                  <a:pt x="578" y="188"/>
                  <a:pt x="573" y="190"/>
                  <a:pt x="572" y="187"/>
                </a:cubicBezTo>
                <a:cubicBezTo>
                  <a:pt x="571" y="184"/>
                  <a:pt x="579" y="182"/>
                  <a:pt x="578" y="186"/>
                </a:cubicBezTo>
                <a:close/>
                <a:moveTo>
                  <a:pt x="576" y="196"/>
                </a:moveTo>
                <a:cubicBezTo>
                  <a:pt x="576" y="196"/>
                  <a:pt x="576" y="196"/>
                  <a:pt x="576" y="196"/>
                </a:cubicBezTo>
                <a:cubicBezTo>
                  <a:pt x="577" y="198"/>
                  <a:pt x="574" y="195"/>
                  <a:pt x="576" y="196"/>
                </a:cubicBezTo>
                <a:close/>
                <a:moveTo>
                  <a:pt x="573" y="191"/>
                </a:moveTo>
                <a:cubicBezTo>
                  <a:pt x="572" y="191"/>
                  <a:pt x="571" y="192"/>
                  <a:pt x="570" y="192"/>
                </a:cubicBezTo>
                <a:cubicBezTo>
                  <a:pt x="570" y="191"/>
                  <a:pt x="573" y="190"/>
                  <a:pt x="573" y="191"/>
                </a:cubicBezTo>
                <a:close/>
                <a:moveTo>
                  <a:pt x="565" y="201"/>
                </a:moveTo>
                <a:cubicBezTo>
                  <a:pt x="565" y="202"/>
                  <a:pt x="563" y="202"/>
                  <a:pt x="563" y="201"/>
                </a:cubicBezTo>
                <a:cubicBezTo>
                  <a:pt x="563" y="200"/>
                  <a:pt x="564" y="200"/>
                  <a:pt x="565" y="201"/>
                </a:cubicBezTo>
                <a:close/>
                <a:moveTo>
                  <a:pt x="569" y="202"/>
                </a:moveTo>
                <a:cubicBezTo>
                  <a:pt x="568" y="201"/>
                  <a:pt x="562" y="207"/>
                  <a:pt x="562" y="205"/>
                </a:cubicBezTo>
                <a:cubicBezTo>
                  <a:pt x="562" y="204"/>
                  <a:pt x="567" y="200"/>
                  <a:pt x="569" y="202"/>
                </a:cubicBezTo>
                <a:close/>
                <a:moveTo>
                  <a:pt x="563" y="247"/>
                </a:moveTo>
                <a:cubicBezTo>
                  <a:pt x="563" y="247"/>
                  <a:pt x="561" y="248"/>
                  <a:pt x="561" y="248"/>
                </a:cubicBezTo>
                <a:cubicBezTo>
                  <a:pt x="560" y="247"/>
                  <a:pt x="562" y="245"/>
                  <a:pt x="563" y="247"/>
                </a:cubicBezTo>
                <a:close/>
                <a:moveTo>
                  <a:pt x="562" y="189"/>
                </a:moveTo>
                <a:cubicBezTo>
                  <a:pt x="563" y="190"/>
                  <a:pt x="560" y="191"/>
                  <a:pt x="560" y="190"/>
                </a:cubicBezTo>
                <a:cubicBezTo>
                  <a:pt x="560" y="189"/>
                  <a:pt x="562" y="189"/>
                  <a:pt x="562" y="189"/>
                </a:cubicBezTo>
                <a:close/>
                <a:moveTo>
                  <a:pt x="560" y="205"/>
                </a:moveTo>
                <a:cubicBezTo>
                  <a:pt x="563" y="203"/>
                  <a:pt x="562" y="209"/>
                  <a:pt x="560" y="207"/>
                </a:cubicBezTo>
                <a:cubicBezTo>
                  <a:pt x="558" y="207"/>
                  <a:pt x="560" y="205"/>
                  <a:pt x="560" y="205"/>
                </a:cubicBezTo>
                <a:close/>
                <a:moveTo>
                  <a:pt x="560" y="264"/>
                </a:moveTo>
                <a:cubicBezTo>
                  <a:pt x="562" y="263"/>
                  <a:pt x="559" y="266"/>
                  <a:pt x="560" y="264"/>
                </a:cubicBezTo>
                <a:cubicBezTo>
                  <a:pt x="560" y="264"/>
                  <a:pt x="560" y="264"/>
                  <a:pt x="560" y="264"/>
                </a:cubicBezTo>
                <a:close/>
                <a:moveTo>
                  <a:pt x="556" y="180"/>
                </a:moveTo>
                <a:cubicBezTo>
                  <a:pt x="557" y="181"/>
                  <a:pt x="555" y="182"/>
                  <a:pt x="555" y="181"/>
                </a:cubicBezTo>
                <a:cubicBezTo>
                  <a:pt x="555" y="181"/>
                  <a:pt x="556" y="181"/>
                  <a:pt x="556" y="180"/>
                </a:cubicBezTo>
                <a:close/>
                <a:moveTo>
                  <a:pt x="554" y="138"/>
                </a:moveTo>
                <a:cubicBezTo>
                  <a:pt x="554" y="138"/>
                  <a:pt x="555" y="138"/>
                  <a:pt x="555" y="138"/>
                </a:cubicBezTo>
                <a:cubicBezTo>
                  <a:pt x="555" y="140"/>
                  <a:pt x="552" y="136"/>
                  <a:pt x="554" y="138"/>
                </a:cubicBezTo>
                <a:close/>
                <a:moveTo>
                  <a:pt x="555" y="219"/>
                </a:moveTo>
                <a:cubicBezTo>
                  <a:pt x="555" y="219"/>
                  <a:pt x="554" y="221"/>
                  <a:pt x="553" y="221"/>
                </a:cubicBezTo>
                <a:cubicBezTo>
                  <a:pt x="553" y="220"/>
                  <a:pt x="554" y="218"/>
                  <a:pt x="555" y="219"/>
                </a:cubicBezTo>
                <a:close/>
                <a:moveTo>
                  <a:pt x="553" y="245"/>
                </a:moveTo>
                <a:cubicBezTo>
                  <a:pt x="554" y="245"/>
                  <a:pt x="552" y="246"/>
                  <a:pt x="552" y="245"/>
                </a:cubicBezTo>
                <a:cubicBezTo>
                  <a:pt x="552" y="244"/>
                  <a:pt x="553" y="244"/>
                  <a:pt x="553" y="245"/>
                </a:cubicBezTo>
                <a:close/>
                <a:moveTo>
                  <a:pt x="552" y="182"/>
                </a:move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lose/>
                <a:moveTo>
                  <a:pt x="552" y="133"/>
                </a:moveTo>
                <a:cubicBezTo>
                  <a:pt x="552" y="133"/>
                  <a:pt x="551" y="135"/>
                  <a:pt x="551" y="134"/>
                </a:cubicBezTo>
                <a:cubicBezTo>
                  <a:pt x="550" y="133"/>
                  <a:pt x="552" y="133"/>
                  <a:pt x="552" y="133"/>
                </a:cubicBezTo>
                <a:close/>
                <a:moveTo>
                  <a:pt x="552" y="158"/>
                </a:moveTo>
                <a:cubicBezTo>
                  <a:pt x="552" y="159"/>
                  <a:pt x="550" y="160"/>
                  <a:pt x="550" y="159"/>
                </a:cubicBezTo>
                <a:cubicBezTo>
                  <a:pt x="550" y="158"/>
                  <a:pt x="551" y="158"/>
                  <a:pt x="552" y="158"/>
                </a:cubicBezTo>
                <a:close/>
                <a:moveTo>
                  <a:pt x="552" y="177"/>
                </a:moveTo>
                <a:cubicBezTo>
                  <a:pt x="552" y="179"/>
                  <a:pt x="548" y="179"/>
                  <a:pt x="548" y="177"/>
                </a:cubicBezTo>
                <a:cubicBezTo>
                  <a:pt x="548" y="176"/>
                  <a:pt x="551" y="175"/>
                  <a:pt x="552" y="177"/>
                </a:cubicBezTo>
                <a:close/>
                <a:moveTo>
                  <a:pt x="547" y="170"/>
                </a:moveTo>
                <a:cubicBezTo>
                  <a:pt x="548" y="170"/>
                  <a:pt x="547" y="171"/>
                  <a:pt x="546" y="171"/>
                </a:cubicBezTo>
                <a:cubicBezTo>
                  <a:pt x="546" y="170"/>
                  <a:pt x="547" y="170"/>
                  <a:pt x="547" y="170"/>
                </a:cubicBezTo>
                <a:close/>
                <a:moveTo>
                  <a:pt x="547" y="166"/>
                </a:moveTo>
                <a:cubicBezTo>
                  <a:pt x="548" y="167"/>
                  <a:pt x="547" y="165"/>
                  <a:pt x="547" y="166"/>
                </a:cubicBezTo>
                <a:close/>
                <a:moveTo>
                  <a:pt x="548" y="133"/>
                </a:moveTo>
                <a:cubicBezTo>
                  <a:pt x="548" y="134"/>
                  <a:pt x="547" y="134"/>
                  <a:pt x="546" y="134"/>
                </a:cubicBezTo>
                <a:cubicBezTo>
                  <a:pt x="546" y="133"/>
                  <a:pt x="547" y="134"/>
                  <a:pt x="548" y="133"/>
                </a:cubicBezTo>
                <a:close/>
                <a:moveTo>
                  <a:pt x="547" y="176"/>
                </a:moveTo>
                <a:cubicBezTo>
                  <a:pt x="547" y="177"/>
                  <a:pt x="545" y="176"/>
                  <a:pt x="547" y="176"/>
                </a:cubicBezTo>
                <a:close/>
                <a:moveTo>
                  <a:pt x="546" y="168"/>
                </a:moveTo>
                <a:cubicBezTo>
                  <a:pt x="546" y="169"/>
                  <a:pt x="544" y="170"/>
                  <a:pt x="544" y="168"/>
                </a:cubicBezTo>
                <a:cubicBezTo>
                  <a:pt x="545" y="168"/>
                  <a:pt x="545" y="168"/>
                  <a:pt x="546" y="168"/>
                </a:cubicBezTo>
                <a:close/>
                <a:moveTo>
                  <a:pt x="545" y="141"/>
                </a:moveTo>
                <a:cubicBezTo>
                  <a:pt x="546" y="143"/>
                  <a:pt x="542" y="142"/>
                  <a:pt x="542" y="141"/>
                </a:cubicBezTo>
                <a:cubicBezTo>
                  <a:pt x="543" y="140"/>
                  <a:pt x="545" y="140"/>
                  <a:pt x="545" y="141"/>
                </a:cubicBezTo>
                <a:close/>
                <a:moveTo>
                  <a:pt x="540" y="150"/>
                </a:moveTo>
                <a:cubicBezTo>
                  <a:pt x="540" y="150"/>
                  <a:pt x="538" y="151"/>
                  <a:pt x="537" y="150"/>
                </a:cubicBezTo>
                <a:cubicBezTo>
                  <a:pt x="537" y="149"/>
                  <a:pt x="539" y="148"/>
                  <a:pt x="540" y="150"/>
                </a:cubicBezTo>
                <a:close/>
                <a:moveTo>
                  <a:pt x="537" y="158"/>
                </a:moveTo>
                <a:cubicBezTo>
                  <a:pt x="537" y="158"/>
                  <a:pt x="538" y="157"/>
                  <a:pt x="538" y="157"/>
                </a:cubicBezTo>
                <a:cubicBezTo>
                  <a:pt x="539" y="157"/>
                  <a:pt x="537" y="159"/>
                  <a:pt x="537" y="158"/>
                </a:cubicBezTo>
                <a:close/>
                <a:moveTo>
                  <a:pt x="538" y="165"/>
                </a:moveTo>
                <a:cubicBezTo>
                  <a:pt x="538" y="165"/>
                  <a:pt x="540" y="163"/>
                  <a:pt x="540" y="165"/>
                </a:cubicBezTo>
                <a:cubicBezTo>
                  <a:pt x="540" y="164"/>
                  <a:pt x="539" y="166"/>
                  <a:pt x="538" y="165"/>
                </a:cubicBezTo>
                <a:close/>
                <a:moveTo>
                  <a:pt x="540" y="214"/>
                </a:moveTo>
                <a:cubicBezTo>
                  <a:pt x="541" y="215"/>
                  <a:pt x="540" y="215"/>
                  <a:pt x="540" y="215"/>
                </a:cubicBezTo>
                <a:cubicBezTo>
                  <a:pt x="539" y="214"/>
                  <a:pt x="540" y="214"/>
                  <a:pt x="540" y="214"/>
                </a:cubicBezTo>
                <a:close/>
                <a:moveTo>
                  <a:pt x="541" y="291"/>
                </a:moveTo>
                <a:cubicBezTo>
                  <a:pt x="540" y="291"/>
                  <a:pt x="539" y="291"/>
                  <a:pt x="540" y="290"/>
                </a:cubicBezTo>
                <a:cubicBezTo>
                  <a:pt x="540" y="289"/>
                  <a:pt x="541" y="290"/>
                  <a:pt x="541" y="291"/>
                </a:cubicBezTo>
                <a:close/>
                <a:moveTo>
                  <a:pt x="541" y="212"/>
                </a:moveTo>
                <a:cubicBezTo>
                  <a:pt x="541" y="212"/>
                  <a:pt x="541" y="212"/>
                  <a:pt x="541" y="212"/>
                </a:cubicBezTo>
                <a:cubicBezTo>
                  <a:pt x="541" y="212"/>
                  <a:pt x="541" y="212"/>
                  <a:pt x="541" y="212"/>
                </a:cubicBezTo>
                <a:cubicBezTo>
                  <a:pt x="540" y="212"/>
                  <a:pt x="540" y="211"/>
                  <a:pt x="541" y="210"/>
                </a:cubicBezTo>
                <a:cubicBezTo>
                  <a:pt x="542" y="209"/>
                  <a:pt x="542" y="210"/>
                  <a:pt x="542" y="211"/>
                </a:cubicBezTo>
                <a:cubicBezTo>
                  <a:pt x="543" y="211"/>
                  <a:pt x="544" y="211"/>
                  <a:pt x="544" y="210"/>
                </a:cubicBezTo>
                <a:cubicBezTo>
                  <a:pt x="545" y="210"/>
                  <a:pt x="550" y="204"/>
                  <a:pt x="551" y="205"/>
                </a:cubicBezTo>
                <a:cubicBezTo>
                  <a:pt x="553" y="207"/>
                  <a:pt x="544" y="211"/>
                  <a:pt x="543" y="212"/>
                </a:cubicBezTo>
                <a:cubicBezTo>
                  <a:pt x="542" y="212"/>
                  <a:pt x="542" y="214"/>
                  <a:pt x="541" y="212"/>
                </a:cubicBezTo>
                <a:close/>
                <a:moveTo>
                  <a:pt x="549" y="242"/>
                </a:moveTo>
                <a:cubicBezTo>
                  <a:pt x="549" y="242"/>
                  <a:pt x="547" y="242"/>
                  <a:pt x="547" y="241"/>
                </a:cubicBezTo>
                <a:cubicBezTo>
                  <a:pt x="547" y="241"/>
                  <a:pt x="549" y="240"/>
                  <a:pt x="549" y="242"/>
                </a:cubicBezTo>
                <a:close/>
                <a:moveTo>
                  <a:pt x="543" y="245"/>
                </a:moveTo>
                <a:cubicBezTo>
                  <a:pt x="544" y="247"/>
                  <a:pt x="541" y="246"/>
                  <a:pt x="543" y="245"/>
                </a:cubicBezTo>
                <a:close/>
                <a:moveTo>
                  <a:pt x="547" y="220"/>
                </a:moveTo>
                <a:cubicBezTo>
                  <a:pt x="546" y="220"/>
                  <a:pt x="546" y="220"/>
                  <a:pt x="546" y="220"/>
                </a:cubicBezTo>
                <a:cubicBezTo>
                  <a:pt x="545" y="220"/>
                  <a:pt x="547" y="219"/>
                  <a:pt x="547" y="220"/>
                </a:cubicBezTo>
                <a:close/>
                <a:moveTo>
                  <a:pt x="546" y="265"/>
                </a:moveTo>
                <a:cubicBezTo>
                  <a:pt x="546" y="265"/>
                  <a:pt x="547" y="264"/>
                  <a:pt x="547" y="264"/>
                </a:cubicBezTo>
                <a:cubicBezTo>
                  <a:pt x="547" y="265"/>
                  <a:pt x="546" y="266"/>
                  <a:pt x="546" y="265"/>
                </a:cubicBezTo>
                <a:close/>
                <a:moveTo>
                  <a:pt x="548" y="300"/>
                </a:moveTo>
                <a:cubicBezTo>
                  <a:pt x="548" y="299"/>
                  <a:pt x="548" y="299"/>
                  <a:pt x="548" y="299"/>
                </a:cubicBezTo>
                <a:cubicBezTo>
                  <a:pt x="549" y="299"/>
                  <a:pt x="548" y="301"/>
                  <a:pt x="548" y="300"/>
                </a:cubicBezTo>
                <a:close/>
                <a:moveTo>
                  <a:pt x="547" y="280"/>
                </a:moveTo>
                <a:cubicBezTo>
                  <a:pt x="549" y="276"/>
                  <a:pt x="551" y="272"/>
                  <a:pt x="552" y="269"/>
                </a:cubicBezTo>
                <a:cubicBezTo>
                  <a:pt x="552" y="271"/>
                  <a:pt x="549" y="278"/>
                  <a:pt x="547" y="280"/>
                </a:cubicBezTo>
                <a:close/>
                <a:moveTo>
                  <a:pt x="553" y="329"/>
                </a:moveTo>
                <a:cubicBezTo>
                  <a:pt x="553" y="329"/>
                  <a:pt x="553" y="329"/>
                  <a:pt x="553" y="329"/>
                </a:cubicBezTo>
                <a:cubicBezTo>
                  <a:pt x="553" y="329"/>
                  <a:pt x="553" y="329"/>
                  <a:pt x="553" y="329"/>
                </a:cubicBezTo>
                <a:close/>
                <a:moveTo>
                  <a:pt x="551" y="261"/>
                </a:moveTo>
                <a:cubicBezTo>
                  <a:pt x="553" y="257"/>
                  <a:pt x="553" y="254"/>
                  <a:pt x="555" y="252"/>
                </a:cubicBezTo>
                <a:cubicBezTo>
                  <a:pt x="554" y="254"/>
                  <a:pt x="553" y="259"/>
                  <a:pt x="551" y="261"/>
                </a:cubicBezTo>
                <a:close/>
                <a:moveTo>
                  <a:pt x="554" y="222"/>
                </a:moveTo>
                <a:cubicBezTo>
                  <a:pt x="555" y="221"/>
                  <a:pt x="556" y="222"/>
                  <a:pt x="554" y="222"/>
                </a:cubicBezTo>
                <a:close/>
                <a:moveTo>
                  <a:pt x="554" y="184"/>
                </a:moveTo>
                <a:cubicBezTo>
                  <a:pt x="554" y="183"/>
                  <a:pt x="556" y="182"/>
                  <a:pt x="556" y="183"/>
                </a:cubicBezTo>
                <a:cubicBezTo>
                  <a:pt x="556" y="185"/>
                  <a:pt x="554" y="185"/>
                  <a:pt x="554" y="184"/>
                </a:cubicBezTo>
                <a:close/>
                <a:moveTo>
                  <a:pt x="557" y="285"/>
                </a:moveTo>
                <a:cubicBezTo>
                  <a:pt x="557" y="283"/>
                  <a:pt x="556" y="286"/>
                  <a:pt x="557" y="285"/>
                </a:cubicBezTo>
                <a:close/>
                <a:moveTo>
                  <a:pt x="560" y="320"/>
                </a:moveTo>
                <a:cubicBezTo>
                  <a:pt x="560" y="321"/>
                  <a:pt x="561" y="319"/>
                  <a:pt x="560" y="320"/>
                </a:cubicBezTo>
                <a:close/>
                <a:moveTo>
                  <a:pt x="557" y="283"/>
                </a:moveTo>
                <a:cubicBezTo>
                  <a:pt x="556" y="281"/>
                  <a:pt x="561" y="279"/>
                  <a:pt x="561" y="281"/>
                </a:cubicBezTo>
                <a:cubicBezTo>
                  <a:pt x="562" y="283"/>
                  <a:pt x="558" y="284"/>
                  <a:pt x="557" y="283"/>
                </a:cubicBezTo>
                <a:close/>
                <a:moveTo>
                  <a:pt x="562" y="258"/>
                </a:moveTo>
                <a:cubicBezTo>
                  <a:pt x="562" y="258"/>
                  <a:pt x="563" y="257"/>
                  <a:pt x="563" y="257"/>
                </a:cubicBezTo>
                <a:cubicBezTo>
                  <a:pt x="564" y="258"/>
                  <a:pt x="561" y="259"/>
                  <a:pt x="562" y="258"/>
                </a:cubicBezTo>
                <a:close/>
                <a:moveTo>
                  <a:pt x="565" y="221"/>
                </a:moveTo>
                <a:cubicBezTo>
                  <a:pt x="564" y="221"/>
                  <a:pt x="564" y="219"/>
                  <a:pt x="565" y="220"/>
                </a:cubicBezTo>
                <a:cubicBezTo>
                  <a:pt x="565" y="220"/>
                  <a:pt x="565" y="221"/>
                  <a:pt x="565" y="221"/>
                </a:cubicBezTo>
                <a:close/>
                <a:moveTo>
                  <a:pt x="566" y="206"/>
                </a:moveTo>
                <a:cubicBezTo>
                  <a:pt x="565" y="211"/>
                  <a:pt x="567" y="204"/>
                  <a:pt x="568" y="203"/>
                </a:cubicBezTo>
                <a:cubicBezTo>
                  <a:pt x="569" y="202"/>
                  <a:pt x="574" y="202"/>
                  <a:pt x="576" y="203"/>
                </a:cubicBezTo>
                <a:cubicBezTo>
                  <a:pt x="579" y="205"/>
                  <a:pt x="577" y="210"/>
                  <a:pt x="574" y="212"/>
                </a:cubicBezTo>
                <a:cubicBezTo>
                  <a:pt x="573" y="213"/>
                  <a:pt x="570" y="213"/>
                  <a:pt x="569" y="213"/>
                </a:cubicBezTo>
                <a:cubicBezTo>
                  <a:pt x="566" y="214"/>
                  <a:pt x="567" y="214"/>
                  <a:pt x="565" y="212"/>
                </a:cubicBezTo>
                <a:cubicBezTo>
                  <a:pt x="562" y="210"/>
                  <a:pt x="562" y="205"/>
                  <a:pt x="566" y="206"/>
                </a:cubicBezTo>
                <a:close/>
                <a:moveTo>
                  <a:pt x="573" y="236"/>
                </a:moveTo>
                <a:cubicBezTo>
                  <a:pt x="575" y="234"/>
                  <a:pt x="572" y="237"/>
                  <a:pt x="573" y="236"/>
                </a:cubicBezTo>
                <a:close/>
                <a:moveTo>
                  <a:pt x="571" y="238"/>
                </a:moveTo>
                <a:cubicBezTo>
                  <a:pt x="573" y="236"/>
                  <a:pt x="569" y="239"/>
                  <a:pt x="571" y="238"/>
                </a:cubicBezTo>
                <a:close/>
                <a:moveTo>
                  <a:pt x="569" y="326"/>
                </a:moveTo>
                <a:cubicBezTo>
                  <a:pt x="568" y="326"/>
                  <a:pt x="569" y="325"/>
                  <a:pt x="569" y="325"/>
                </a:cubicBezTo>
                <a:cubicBezTo>
                  <a:pt x="570" y="324"/>
                  <a:pt x="570" y="327"/>
                  <a:pt x="569" y="326"/>
                </a:cubicBezTo>
                <a:close/>
                <a:moveTo>
                  <a:pt x="567" y="224"/>
                </a:moveTo>
                <a:cubicBezTo>
                  <a:pt x="566" y="223"/>
                  <a:pt x="567" y="222"/>
                  <a:pt x="567" y="222"/>
                </a:cubicBezTo>
                <a:cubicBezTo>
                  <a:pt x="568" y="222"/>
                  <a:pt x="567" y="223"/>
                  <a:pt x="567" y="224"/>
                </a:cubicBezTo>
                <a:close/>
                <a:moveTo>
                  <a:pt x="567" y="311"/>
                </a:moveTo>
                <a:cubicBezTo>
                  <a:pt x="568" y="312"/>
                  <a:pt x="566" y="312"/>
                  <a:pt x="567" y="311"/>
                </a:cubicBezTo>
                <a:close/>
                <a:moveTo>
                  <a:pt x="565" y="280"/>
                </a:moveTo>
                <a:cubicBezTo>
                  <a:pt x="565" y="277"/>
                  <a:pt x="567" y="277"/>
                  <a:pt x="565" y="280"/>
                </a:cubicBezTo>
                <a:close/>
                <a:moveTo>
                  <a:pt x="566" y="411"/>
                </a:moveTo>
                <a:cubicBezTo>
                  <a:pt x="568" y="409"/>
                  <a:pt x="569" y="406"/>
                  <a:pt x="572" y="405"/>
                </a:cubicBezTo>
                <a:cubicBezTo>
                  <a:pt x="570" y="407"/>
                  <a:pt x="568" y="410"/>
                  <a:pt x="566" y="411"/>
                </a:cubicBezTo>
                <a:close/>
                <a:moveTo>
                  <a:pt x="571" y="279"/>
                </a:moveTo>
                <a:cubicBezTo>
                  <a:pt x="571" y="279"/>
                  <a:pt x="573" y="279"/>
                  <a:pt x="572" y="279"/>
                </a:cubicBezTo>
                <a:cubicBezTo>
                  <a:pt x="572" y="280"/>
                  <a:pt x="571" y="280"/>
                  <a:pt x="571" y="279"/>
                </a:cubicBezTo>
                <a:close/>
                <a:moveTo>
                  <a:pt x="573" y="383"/>
                </a:moveTo>
                <a:cubicBezTo>
                  <a:pt x="571" y="382"/>
                  <a:pt x="573" y="380"/>
                  <a:pt x="574" y="379"/>
                </a:cubicBezTo>
                <a:cubicBezTo>
                  <a:pt x="577" y="377"/>
                  <a:pt x="575" y="384"/>
                  <a:pt x="573" y="383"/>
                </a:cubicBezTo>
                <a:close/>
                <a:moveTo>
                  <a:pt x="578" y="218"/>
                </a:moveTo>
                <a:cubicBezTo>
                  <a:pt x="583" y="216"/>
                  <a:pt x="584" y="224"/>
                  <a:pt x="580" y="226"/>
                </a:cubicBezTo>
                <a:cubicBezTo>
                  <a:pt x="573" y="230"/>
                  <a:pt x="572" y="220"/>
                  <a:pt x="578" y="218"/>
                </a:cubicBezTo>
                <a:close/>
                <a:moveTo>
                  <a:pt x="577" y="295"/>
                </a:moveTo>
                <a:cubicBezTo>
                  <a:pt x="577" y="295"/>
                  <a:pt x="577" y="295"/>
                  <a:pt x="577" y="296"/>
                </a:cubicBezTo>
                <a:cubicBezTo>
                  <a:pt x="576" y="296"/>
                  <a:pt x="577" y="295"/>
                  <a:pt x="577" y="295"/>
                </a:cubicBezTo>
                <a:close/>
                <a:moveTo>
                  <a:pt x="577" y="425"/>
                </a:moveTo>
                <a:cubicBezTo>
                  <a:pt x="576" y="426"/>
                  <a:pt x="578" y="423"/>
                  <a:pt x="577" y="425"/>
                </a:cubicBezTo>
                <a:close/>
                <a:moveTo>
                  <a:pt x="577" y="371"/>
                </a:moveTo>
                <a:cubicBezTo>
                  <a:pt x="576" y="370"/>
                  <a:pt x="578" y="370"/>
                  <a:pt x="577" y="371"/>
                </a:cubicBezTo>
                <a:close/>
                <a:moveTo>
                  <a:pt x="577" y="297"/>
                </a:moveTo>
                <a:cubicBezTo>
                  <a:pt x="578" y="296"/>
                  <a:pt x="578" y="297"/>
                  <a:pt x="578" y="297"/>
                </a:cubicBezTo>
                <a:cubicBezTo>
                  <a:pt x="579" y="299"/>
                  <a:pt x="576" y="297"/>
                  <a:pt x="577" y="297"/>
                </a:cubicBezTo>
                <a:close/>
                <a:moveTo>
                  <a:pt x="580" y="277"/>
                </a:moveTo>
                <a:cubicBezTo>
                  <a:pt x="580" y="277"/>
                  <a:pt x="580" y="277"/>
                  <a:pt x="580" y="277"/>
                </a:cubicBezTo>
                <a:cubicBezTo>
                  <a:pt x="581" y="277"/>
                  <a:pt x="579" y="278"/>
                  <a:pt x="580" y="277"/>
                </a:cubicBezTo>
                <a:close/>
                <a:moveTo>
                  <a:pt x="580" y="387"/>
                </a:moveTo>
                <a:cubicBezTo>
                  <a:pt x="580" y="386"/>
                  <a:pt x="582" y="385"/>
                  <a:pt x="582" y="384"/>
                </a:cubicBezTo>
                <a:cubicBezTo>
                  <a:pt x="583" y="385"/>
                  <a:pt x="581" y="386"/>
                  <a:pt x="580" y="387"/>
                </a:cubicBezTo>
                <a:close/>
                <a:moveTo>
                  <a:pt x="578" y="268"/>
                </a:moveTo>
                <a:cubicBezTo>
                  <a:pt x="578" y="266"/>
                  <a:pt x="584" y="266"/>
                  <a:pt x="582" y="269"/>
                </a:cubicBezTo>
                <a:cubicBezTo>
                  <a:pt x="582" y="271"/>
                  <a:pt x="578" y="270"/>
                  <a:pt x="578" y="268"/>
                </a:cubicBezTo>
                <a:close/>
                <a:moveTo>
                  <a:pt x="582" y="302"/>
                </a:moveTo>
                <a:cubicBezTo>
                  <a:pt x="582" y="302"/>
                  <a:pt x="582" y="301"/>
                  <a:pt x="583" y="301"/>
                </a:cubicBezTo>
                <a:cubicBezTo>
                  <a:pt x="585" y="299"/>
                  <a:pt x="584" y="304"/>
                  <a:pt x="582" y="302"/>
                </a:cubicBezTo>
                <a:close/>
                <a:moveTo>
                  <a:pt x="584" y="367"/>
                </a:moveTo>
                <a:cubicBezTo>
                  <a:pt x="584" y="369"/>
                  <a:pt x="582" y="368"/>
                  <a:pt x="584" y="367"/>
                </a:cubicBezTo>
                <a:close/>
                <a:moveTo>
                  <a:pt x="584" y="364"/>
                </a:moveTo>
                <a:cubicBezTo>
                  <a:pt x="584" y="363"/>
                  <a:pt x="584" y="363"/>
                  <a:pt x="585" y="363"/>
                </a:cubicBezTo>
                <a:cubicBezTo>
                  <a:pt x="586" y="363"/>
                  <a:pt x="583" y="365"/>
                  <a:pt x="584" y="364"/>
                </a:cubicBezTo>
                <a:close/>
                <a:moveTo>
                  <a:pt x="585" y="305"/>
                </a:moveTo>
                <a:cubicBezTo>
                  <a:pt x="585" y="305"/>
                  <a:pt x="586" y="304"/>
                  <a:pt x="586" y="305"/>
                </a:cubicBezTo>
                <a:cubicBezTo>
                  <a:pt x="587" y="305"/>
                  <a:pt x="585" y="306"/>
                  <a:pt x="585" y="305"/>
                </a:cubicBezTo>
                <a:close/>
                <a:moveTo>
                  <a:pt x="585" y="289"/>
                </a:moveTo>
                <a:cubicBezTo>
                  <a:pt x="585" y="288"/>
                  <a:pt x="586" y="288"/>
                  <a:pt x="586" y="288"/>
                </a:cubicBezTo>
                <a:cubicBezTo>
                  <a:pt x="586" y="288"/>
                  <a:pt x="585" y="289"/>
                  <a:pt x="585" y="289"/>
                </a:cubicBezTo>
                <a:close/>
                <a:moveTo>
                  <a:pt x="585" y="250"/>
                </a:moveTo>
                <a:cubicBezTo>
                  <a:pt x="586" y="249"/>
                  <a:pt x="587" y="248"/>
                  <a:pt x="589" y="247"/>
                </a:cubicBezTo>
                <a:cubicBezTo>
                  <a:pt x="588" y="248"/>
                  <a:pt x="586" y="249"/>
                  <a:pt x="585" y="250"/>
                </a:cubicBezTo>
                <a:close/>
                <a:moveTo>
                  <a:pt x="590" y="437"/>
                </a:moveTo>
                <a:cubicBezTo>
                  <a:pt x="589" y="435"/>
                  <a:pt x="591" y="433"/>
                  <a:pt x="593" y="431"/>
                </a:cubicBezTo>
                <a:cubicBezTo>
                  <a:pt x="592" y="433"/>
                  <a:pt x="591" y="435"/>
                  <a:pt x="590" y="437"/>
                </a:cubicBezTo>
                <a:close/>
                <a:moveTo>
                  <a:pt x="594" y="251"/>
                </a:moveTo>
                <a:cubicBezTo>
                  <a:pt x="596" y="250"/>
                  <a:pt x="595" y="255"/>
                  <a:pt x="593" y="253"/>
                </a:cubicBezTo>
                <a:cubicBezTo>
                  <a:pt x="593" y="253"/>
                  <a:pt x="593" y="252"/>
                  <a:pt x="594" y="251"/>
                </a:cubicBezTo>
                <a:close/>
                <a:moveTo>
                  <a:pt x="594" y="357"/>
                </a:moveTo>
                <a:cubicBezTo>
                  <a:pt x="594" y="357"/>
                  <a:pt x="594" y="356"/>
                  <a:pt x="595" y="356"/>
                </a:cubicBezTo>
                <a:cubicBezTo>
                  <a:pt x="596" y="357"/>
                  <a:pt x="592" y="359"/>
                  <a:pt x="594" y="357"/>
                </a:cubicBezTo>
                <a:close/>
                <a:moveTo>
                  <a:pt x="595" y="371"/>
                </a:moveTo>
                <a:cubicBezTo>
                  <a:pt x="595" y="372"/>
                  <a:pt x="594" y="373"/>
                  <a:pt x="593" y="373"/>
                </a:cubicBezTo>
                <a:cubicBezTo>
                  <a:pt x="593" y="372"/>
                  <a:pt x="594" y="371"/>
                  <a:pt x="595" y="371"/>
                </a:cubicBezTo>
                <a:close/>
                <a:moveTo>
                  <a:pt x="593" y="429"/>
                </a:move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lose/>
                <a:moveTo>
                  <a:pt x="594" y="472"/>
                </a:moveTo>
                <a:cubicBezTo>
                  <a:pt x="594" y="472"/>
                  <a:pt x="595" y="470"/>
                  <a:pt x="595" y="470"/>
                </a:cubicBezTo>
                <a:cubicBezTo>
                  <a:pt x="596" y="471"/>
                  <a:pt x="594" y="472"/>
                  <a:pt x="594" y="472"/>
                </a:cubicBezTo>
                <a:close/>
                <a:moveTo>
                  <a:pt x="598" y="422"/>
                </a:moveTo>
                <a:cubicBezTo>
                  <a:pt x="598" y="423"/>
                  <a:pt x="596" y="426"/>
                  <a:pt x="594" y="428"/>
                </a:cubicBezTo>
                <a:cubicBezTo>
                  <a:pt x="594" y="425"/>
                  <a:pt x="599" y="418"/>
                  <a:pt x="598" y="422"/>
                </a:cubicBezTo>
                <a:close/>
                <a:moveTo>
                  <a:pt x="595" y="356"/>
                </a:moveTo>
                <a:cubicBezTo>
                  <a:pt x="596" y="355"/>
                  <a:pt x="597" y="354"/>
                  <a:pt x="599" y="353"/>
                </a:cubicBezTo>
                <a:cubicBezTo>
                  <a:pt x="598" y="355"/>
                  <a:pt x="597" y="355"/>
                  <a:pt x="595" y="356"/>
                </a:cubicBezTo>
                <a:close/>
                <a:moveTo>
                  <a:pt x="686" y="310"/>
                </a:moveTo>
                <a:cubicBezTo>
                  <a:pt x="686" y="309"/>
                  <a:pt x="686" y="312"/>
                  <a:pt x="686" y="310"/>
                </a:cubicBezTo>
                <a:close/>
                <a:moveTo>
                  <a:pt x="679" y="298"/>
                </a:moveTo>
                <a:cubicBezTo>
                  <a:pt x="682" y="297"/>
                  <a:pt x="678" y="302"/>
                  <a:pt x="678" y="299"/>
                </a:cubicBezTo>
                <a:cubicBezTo>
                  <a:pt x="678" y="299"/>
                  <a:pt x="678" y="298"/>
                  <a:pt x="679" y="298"/>
                </a:cubicBezTo>
                <a:close/>
                <a:moveTo>
                  <a:pt x="676" y="297"/>
                </a:moveTo>
                <a:cubicBezTo>
                  <a:pt x="677" y="295"/>
                  <a:pt x="676" y="298"/>
                  <a:pt x="676" y="297"/>
                </a:cubicBezTo>
                <a:close/>
                <a:moveTo>
                  <a:pt x="671" y="307"/>
                </a:moveTo>
                <a:cubicBezTo>
                  <a:pt x="671" y="307"/>
                  <a:pt x="672" y="308"/>
                  <a:pt x="671" y="308"/>
                </a:cubicBezTo>
                <a:cubicBezTo>
                  <a:pt x="670" y="309"/>
                  <a:pt x="671" y="307"/>
                  <a:pt x="671" y="307"/>
                </a:cubicBezTo>
                <a:close/>
                <a:moveTo>
                  <a:pt x="672" y="331"/>
                </a:moveTo>
                <a:cubicBezTo>
                  <a:pt x="672" y="331"/>
                  <a:pt x="675" y="326"/>
                  <a:pt x="675" y="328"/>
                </a:cubicBezTo>
                <a:cubicBezTo>
                  <a:pt x="675" y="331"/>
                  <a:pt x="670" y="334"/>
                  <a:pt x="668" y="337"/>
                </a:cubicBezTo>
                <a:cubicBezTo>
                  <a:pt x="669" y="335"/>
                  <a:pt x="671" y="333"/>
                  <a:pt x="672" y="331"/>
                </a:cubicBezTo>
                <a:close/>
                <a:moveTo>
                  <a:pt x="669" y="271"/>
                </a:moveTo>
                <a:cubicBezTo>
                  <a:pt x="668" y="270"/>
                  <a:pt x="671" y="264"/>
                  <a:pt x="672" y="266"/>
                </a:cubicBezTo>
                <a:cubicBezTo>
                  <a:pt x="674" y="267"/>
                  <a:pt x="670" y="270"/>
                  <a:pt x="669" y="271"/>
                </a:cubicBezTo>
                <a:close/>
                <a:moveTo>
                  <a:pt x="674" y="235"/>
                </a:moveTo>
                <a:cubicBezTo>
                  <a:pt x="673" y="236"/>
                  <a:pt x="675" y="233"/>
                  <a:pt x="674" y="235"/>
                </a:cubicBezTo>
                <a:close/>
                <a:moveTo>
                  <a:pt x="676" y="252"/>
                </a:moveTo>
                <a:cubicBezTo>
                  <a:pt x="676" y="250"/>
                  <a:pt x="677" y="251"/>
                  <a:pt x="676" y="252"/>
                </a:cubicBezTo>
                <a:close/>
                <a:moveTo>
                  <a:pt x="673" y="222"/>
                </a:moveTo>
                <a:cubicBezTo>
                  <a:pt x="674" y="221"/>
                  <a:pt x="676" y="222"/>
                  <a:pt x="676" y="222"/>
                </a:cubicBezTo>
                <a:cubicBezTo>
                  <a:pt x="678" y="225"/>
                  <a:pt x="674" y="230"/>
                  <a:pt x="672" y="229"/>
                </a:cubicBezTo>
                <a:cubicBezTo>
                  <a:pt x="669" y="227"/>
                  <a:pt x="671" y="223"/>
                  <a:pt x="673" y="222"/>
                </a:cubicBezTo>
                <a:close/>
                <a:moveTo>
                  <a:pt x="669" y="233"/>
                </a:moveTo>
                <a:cubicBezTo>
                  <a:pt x="669" y="232"/>
                  <a:pt x="670" y="231"/>
                  <a:pt x="670" y="230"/>
                </a:cubicBezTo>
                <a:cubicBezTo>
                  <a:pt x="669" y="230"/>
                  <a:pt x="669" y="230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1" y="229"/>
                </a:cubicBezTo>
                <a:cubicBezTo>
                  <a:pt x="670" y="230"/>
                  <a:pt x="670" y="230"/>
                  <a:pt x="670" y="230"/>
                </a:cubicBezTo>
                <a:cubicBezTo>
                  <a:pt x="670" y="233"/>
                  <a:pt x="669" y="236"/>
                  <a:pt x="668" y="238"/>
                </a:cubicBezTo>
                <a:cubicBezTo>
                  <a:pt x="668" y="237"/>
                  <a:pt x="668" y="235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lose/>
                <a:moveTo>
                  <a:pt x="668" y="231"/>
                </a:moveTo>
                <a:cubicBezTo>
                  <a:pt x="668" y="233"/>
                  <a:pt x="666" y="231"/>
                  <a:pt x="668" y="231"/>
                </a:cubicBezTo>
                <a:close/>
                <a:moveTo>
                  <a:pt x="671" y="249"/>
                </a:moveTo>
                <a:cubicBezTo>
                  <a:pt x="670" y="250"/>
                  <a:pt x="668" y="251"/>
                  <a:pt x="666" y="252"/>
                </a:cubicBezTo>
                <a:cubicBezTo>
                  <a:pt x="667" y="250"/>
                  <a:pt x="669" y="250"/>
                  <a:pt x="671" y="249"/>
                </a:cubicBezTo>
                <a:close/>
                <a:moveTo>
                  <a:pt x="667" y="257"/>
                </a:moveTo>
                <a:cubicBezTo>
                  <a:pt x="667" y="258"/>
                  <a:pt x="666" y="260"/>
                  <a:pt x="665" y="261"/>
                </a:cubicBezTo>
                <a:cubicBezTo>
                  <a:pt x="665" y="259"/>
                  <a:pt x="667" y="259"/>
                  <a:pt x="667" y="257"/>
                </a:cubicBezTo>
                <a:close/>
                <a:moveTo>
                  <a:pt x="666" y="302"/>
                </a:moveTo>
                <a:cubicBezTo>
                  <a:pt x="666" y="302"/>
                  <a:pt x="666" y="302"/>
                  <a:pt x="666" y="301"/>
                </a:cubicBezTo>
                <a:cubicBezTo>
                  <a:pt x="666" y="300"/>
                  <a:pt x="667" y="302"/>
                  <a:pt x="666" y="302"/>
                </a:cubicBezTo>
                <a:close/>
                <a:moveTo>
                  <a:pt x="657" y="233"/>
                </a:moveTo>
                <a:cubicBezTo>
                  <a:pt x="657" y="233"/>
                  <a:pt x="657" y="233"/>
                  <a:pt x="657" y="233"/>
                </a:cubicBezTo>
                <a:cubicBezTo>
                  <a:pt x="657" y="235"/>
                  <a:pt x="655" y="233"/>
                  <a:pt x="657" y="233"/>
                </a:cubicBezTo>
                <a:close/>
                <a:moveTo>
                  <a:pt x="655" y="232"/>
                </a:moveTo>
                <a:cubicBezTo>
                  <a:pt x="656" y="232"/>
                  <a:pt x="656" y="234"/>
                  <a:pt x="655" y="234"/>
                </a:cubicBezTo>
                <a:cubicBezTo>
                  <a:pt x="654" y="233"/>
                  <a:pt x="655" y="232"/>
                  <a:pt x="655" y="232"/>
                </a:cubicBezTo>
                <a:close/>
                <a:moveTo>
                  <a:pt x="655" y="256"/>
                </a:moveTo>
                <a:cubicBezTo>
                  <a:pt x="657" y="254"/>
                  <a:pt x="657" y="259"/>
                  <a:pt x="655" y="259"/>
                </a:cubicBezTo>
                <a:cubicBezTo>
                  <a:pt x="654" y="258"/>
                  <a:pt x="654" y="256"/>
                  <a:pt x="655" y="256"/>
                </a:cubicBezTo>
                <a:close/>
                <a:moveTo>
                  <a:pt x="651" y="231"/>
                </a:moveTo>
                <a:cubicBezTo>
                  <a:pt x="651" y="231"/>
                  <a:pt x="652" y="230"/>
                  <a:pt x="653" y="231"/>
                </a:cubicBezTo>
                <a:cubicBezTo>
                  <a:pt x="654" y="232"/>
                  <a:pt x="650" y="234"/>
                  <a:pt x="651" y="231"/>
                </a:cubicBezTo>
                <a:close/>
                <a:moveTo>
                  <a:pt x="651" y="229"/>
                </a:moveTo>
                <a:cubicBezTo>
                  <a:pt x="651" y="228"/>
                  <a:pt x="650" y="231"/>
                  <a:pt x="651" y="229"/>
                </a:cubicBezTo>
                <a:close/>
                <a:moveTo>
                  <a:pt x="647" y="239"/>
                </a:moveTo>
                <a:cubicBezTo>
                  <a:pt x="648" y="237"/>
                  <a:pt x="650" y="241"/>
                  <a:pt x="647" y="241"/>
                </a:cubicBezTo>
                <a:cubicBezTo>
                  <a:pt x="647" y="240"/>
                  <a:pt x="646" y="239"/>
                  <a:pt x="647" y="239"/>
                </a:cubicBezTo>
                <a:close/>
                <a:moveTo>
                  <a:pt x="649" y="265"/>
                </a:moveTo>
                <a:cubicBezTo>
                  <a:pt x="650" y="264"/>
                  <a:pt x="651" y="260"/>
                  <a:pt x="653" y="260"/>
                </a:cubicBezTo>
                <a:cubicBezTo>
                  <a:pt x="657" y="258"/>
                  <a:pt x="649" y="267"/>
                  <a:pt x="648" y="268"/>
                </a:cubicBezTo>
                <a:cubicBezTo>
                  <a:pt x="650" y="266"/>
                  <a:pt x="648" y="270"/>
                  <a:pt x="647" y="269"/>
                </a:cubicBezTo>
                <a:cubicBezTo>
                  <a:pt x="646" y="269"/>
                  <a:pt x="648" y="266"/>
                  <a:pt x="649" y="265"/>
                </a:cubicBezTo>
                <a:close/>
                <a:moveTo>
                  <a:pt x="652" y="271"/>
                </a:moveTo>
                <a:cubicBezTo>
                  <a:pt x="653" y="272"/>
                  <a:pt x="651" y="272"/>
                  <a:pt x="651" y="272"/>
                </a:cubicBezTo>
                <a:cubicBezTo>
                  <a:pt x="651" y="271"/>
                  <a:pt x="652" y="270"/>
                  <a:pt x="652" y="271"/>
                </a:cubicBezTo>
                <a:close/>
                <a:moveTo>
                  <a:pt x="657" y="273"/>
                </a:moveTo>
                <a:cubicBezTo>
                  <a:pt x="653" y="278"/>
                  <a:pt x="649" y="282"/>
                  <a:pt x="643" y="286"/>
                </a:cubicBezTo>
                <a:cubicBezTo>
                  <a:pt x="648" y="281"/>
                  <a:pt x="652" y="277"/>
                  <a:pt x="657" y="273"/>
                </a:cubicBezTo>
                <a:close/>
                <a:moveTo>
                  <a:pt x="645" y="387"/>
                </a:moveTo>
                <a:cubicBezTo>
                  <a:pt x="645" y="389"/>
                  <a:pt x="643" y="388"/>
                  <a:pt x="645" y="387"/>
                </a:cubicBezTo>
                <a:close/>
                <a:moveTo>
                  <a:pt x="645" y="390"/>
                </a:moveTo>
                <a:cubicBezTo>
                  <a:pt x="645" y="388"/>
                  <a:pt x="644" y="391"/>
                  <a:pt x="645" y="390"/>
                </a:cubicBezTo>
                <a:close/>
                <a:moveTo>
                  <a:pt x="641" y="392"/>
                </a:moveTo>
                <a:cubicBezTo>
                  <a:pt x="642" y="391"/>
                  <a:pt x="642" y="390"/>
                  <a:pt x="643" y="389"/>
                </a:cubicBezTo>
                <a:cubicBezTo>
                  <a:pt x="643" y="390"/>
                  <a:pt x="643" y="391"/>
                  <a:pt x="641" y="392"/>
                </a:cubicBezTo>
                <a:close/>
                <a:moveTo>
                  <a:pt x="642" y="393"/>
                </a:moveTo>
                <a:cubicBezTo>
                  <a:pt x="643" y="393"/>
                  <a:pt x="640" y="395"/>
                  <a:pt x="642" y="393"/>
                </a:cubicBezTo>
                <a:close/>
                <a:moveTo>
                  <a:pt x="643" y="300"/>
                </a:moveTo>
                <a:cubicBezTo>
                  <a:pt x="642" y="300"/>
                  <a:pt x="643" y="299"/>
                  <a:pt x="643" y="299"/>
                </a:cubicBezTo>
                <a:cubicBezTo>
                  <a:pt x="644" y="297"/>
                  <a:pt x="644" y="301"/>
                  <a:pt x="643" y="300"/>
                </a:cubicBezTo>
                <a:close/>
                <a:moveTo>
                  <a:pt x="642" y="297"/>
                </a:moveTo>
                <a:cubicBezTo>
                  <a:pt x="642" y="296"/>
                  <a:pt x="643" y="296"/>
                  <a:pt x="644" y="295"/>
                </a:cubicBezTo>
                <a:cubicBezTo>
                  <a:pt x="644" y="296"/>
                  <a:pt x="643" y="297"/>
                  <a:pt x="642" y="297"/>
                </a:cubicBezTo>
                <a:close/>
                <a:moveTo>
                  <a:pt x="639" y="297"/>
                </a:moveTo>
                <a:cubicBezTo>
                  <a:pt x="638" y="296"/>
                  <a:pt x="644" y="290"/>
                  <a:pt x="645" y="290"/>
                </a:cubicBezTo>
                <a:cubicBezTo>
                  <a:pt x="645" y="289"/>
                  <a:pt x="646" y="289"/>
                  <a:pt x="647" y="289"/>
                </a:cubicBezTo>
                <a:cubicBezTo>
                  <a:pt x="647" y="289"/>
                  <a:pt x="640" y="298"/>
                  <a:pt x="639" y="297"/>
                </a:cubicBezTo>
                <a:close/>
                <a:moveTo>
                  <a:pt x="642" y="298"/>
                </a:moveTo>
                <a:cubicBezTo>
                  <a:pt x="641" y="300"/>
                  <a:pt x="639" y="299"/>
                  <a:pt x="642" y="298"/>
                </a:cubicBezTo>
                <a:close/>
                <a:moveTo>
                  <a:pt x="639" y="303"/>
                </a:moveTo>
                <a:cubicBezTo>
                  <a:pt x="639" y="303"/>
                  <a:pt x="639" y="302"/>
                  <a:pt x="639" y="302"/>
                </a:cubicBezTo>
                <a:cubicBezTo>
                  <a:pt x="641" y="300"/>
                  <a:pt x="640" y="304"/>
                  <a:pt x="639" y="303"/>
                </a:cubicBezTo>
                <a:close/>
                <a:moveTo>
                  <a:pt x="640" y="320"/>
                </a:moveTo>
                <a:cubicBezTo>
                  <a:pt x="640" y="320"/>
                  <a:pt x="639" y="321"/>
                  <a:pt x="639" y="321"/>
                </a:cubicBezTo>
                <a:cubicBezTo>
                  <a:pt x="638" y="321"/>
                  <a:pt x="639" y="320"/>
                  <a:pt x="640" y="320"/>
                </a:cubicBezTo>
                <a:close/>
                <a:moveTo>
                  <a:pt x="638" y="266"/>
                </a:moveTo>
                <a:cubicBezTo>
                  <a:pt x="637" y="266"/>
                  <a:pt x="639" y="265"/>
                  <a:pt x="638" y="264"/>
                </a:cubicBezTo>
                <a:cubicBezTo>
                  <a:pt x="639" y="264"/>
                  <a:pt x="638" y="266"/>
                  <a:pt x="638" y="266"/>
                </a:cubicBezTo>
                <a:close/>
                <a:moveTo>
                  <a:pt x="638" y="268"/>
                </a:moveTo>
                <a:cubicBezTo>
                  <a:pt x="638" y="268"/>
                  <a:pt x="638" y="269"/>
                  <a:pt x="638" y="269"/>
                </a:cubicBezTo>
                <a:cubicBezTo>
                  <a:pt x="638" y="269"/>
                  <a:pt x="638" y="269"/>
                  <a:pt x="638" y="269"/>
                </a:cubicBezTo>
                <a:cubicBezTo>
                  <a:pt x="638" y="269"/>
                  <a:pt x="638" y="269"/>
                  <a:pt x="638" y="268"/>
                </a:cubicBezTo>
                <a:close/>
                <a:moveTo>
                  <a:pt x="642" y="286"/>
                </a:moveTo>
                <a:cubicBezTo>
                  <a:pt x="642" y="287"/>
                  <a:pt x="639" y="289"/>
                  <a:pt x="638" y="290"/>
                </a:cubicBezTo>
                <a:cubicBezTo>
                  <a:pt x="638" y="288"/>
                  <a:pt x="641" y="288"/>
                  <a:pt x="642" y="286"/>
                </a:cubicBezTo>
                <a:close/>
                <a:moveTo>
                  <a:pt x="644" y="234"/>
                </a:moveTo>
                <a:cubicBezTo>
                  <a:pt x="643" y="235"/>
                  <a:pt x="643" y="234"/>
                  <a:pt x="644" y="234"/>
                </a:cubicBezTo>
                <a:close/>
                <a:moveTo>
                  <a:pt x="643" y="251"/>
                </a:moveTo>
                <a:cubicBezTo>
                  <a:pt x="643" y="252"/>
                  <a:pt x="642" y="253"/>
                  <a:pt x="642" y="253"/>
                </a:cubicBezTo>
                <a:cubicBezTo>
                  <a:pt x="642" y="253"/>
                  <a:pt x="642" y="251"/>
                  <a:pt x="643" y="251"/>
                </a:cubicBezTo>
                <a:close/>
                <a:moveTo>
                  <a:pt x="645" y="254"/>
                </a:moveTo>
                <a:cubicBezTo>
                  <a:pt x="643" y="257"/>
                  <a:pt x="641" y="258"/>
                  <a:pt x="638" y="260"/>
                </a:cubicBezTo>
                <a:cubicBezTo>
                  <a:pt x="640" y="258"/>
                  <a:pt x="642" y="256"/>
                  <a:pt x="645" y="254"/>
                </a:cubicBezTo>
                <a:close/>
                <a:moveTo>
                  <a:pt x="640" y="225"/>
                </a:moveTo>
                <a:cubicBezTo>
                  <a:pt x="640" y="225"/>
                  <a:pt x="640" y="225"/>
                  <a:pt x="640" y="225"/>
                </a:cubicBezTo>
                <a:cubicBezTo>
                  <a:pt x="640" y="225"/>
                  <a:pt x="640" y="225"/>
                  <a:pt x="640" y="226"/>
                </a:cubicBezTo>
                <a:cubicBezTo>
                  <a:pt x="640" y="226"/>
                  <a:pt x="640" y="226"/>
                  <a:pt x="640" y="225"/>
                </a:cubicBezTo>
                <a:close/>
                <a:moveTo>
                  <a:pt x="640" y="241"/>
                </a:moveTo>
                <a:cubicBezTo>
                  <a:pt x="641" y="243"/>
                  <a:pt x="638" y="244"/>
                  <a:pt x="638" y="242"/>
                </a:cubicBezTo>
                <a:cubicBezTo>
                  <a:pt x="637" y="241"/>
                  <a:pt x="640" y="239"/>
                  <a:pt x="640" y="241"/>
                </a:cubicBezTo>
                <a:close/>
                <a:moveTo>
                  <a:pt x="638" y="290"/>
                </a:moveTo>
                <a:cubicBezTo>
                  <a:pt x="639" y="291"/>
                  <a:pt x="635" y="292"/>
                  <a:pt x="636" y="290"/>
                </a:cubicBezTo>
                <a:cubicBezTo>
                  <a:pt x="637" y="289"/>
                  <a:pt x="637" y="289"/>
                  <a:pt x="638" y="290"/>
                </a:cubicBezTo>
                <a:close/>
                <a:moveTo>
                  <a:pt x="637" y="302"/>
                </a:move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lose/>
                <a:moveTo>
                  <a:pt x="632" y="265"/>
                </a:moveTo>
                <a:cubicBezTo>
                  <a:pt x="633" y="264"/>
                  <a:pt x="635" y="262"/>
                  <a:pt x="636" y="262"/>
                </a:cubicBezTo>
                <a:cubicBezTo>
                  <a:pt x="636" y="262"/>
                  <a:pt x="634" y="265"/>
                  <a:pt x="632" y="265"/>
                </a:cubicBezTo>
                <a:close/>
                <a:moveTo>
                  <a:pt x="637" y="219"/>
                </a:moveTo>
                <a:cubicBezTo>
                  <a:pt x="637" y="221"/>
                  <a:pt x="634" y="221"/>
                  <a:pt x="634" y="219"/>
                </a:cubicBezTo>
                <a:cubicBezTo>
                  <a:pt x="634" y="218"/>
                  <a:pt x="636" y="217"/>
                  <a:pt x="637" y="219"/>
                </a:cubicBezTo>
                <a:close/>
                <a:moveTo>
                  <a:pt x="633" y="221"/>
                </a:moveTo>
                <a:cubicBezTo>
                  <a:pt x="633" y="221"/>
                  <a:pt x="635" y="221"/>
                  <a:pt x="634" y="222"/>
                </a:cubicBezTo>
                <a:cubicBezTo>
                  <a:pt x="634" y="222"/>
                  <a:pt x="632" y="222"/>
                  <a:pt x="633" y="221"/>
                </a:cubicBezTo>
                <a:close/>
                <a:moveTo>
                  <a:pt x="633" y="253"/>
                </a:moveTo>
                <a:cubicBezTo>
                  <a:pt x="633" y="254"/>
                  <a:pt x="632" y="254"/>
                  <a:pt x="631" y="254"/>
                </a:cubicBezTo>
                <a:cubicBezTo>
                  <a:pt x="631" y="253"/>
                  <a:pt x="632" y="252"/>
                  <a:pt x="633" y="253"/>
                </a:cubicBezTo>
                <a:close/>
                <a:moveTo>
                  <a:pt x="630" y="260"/>
                </a:moveTo>
                <a:cubicBezTo>
                  <a:pt x="630" y="260"/>
                  <a:pt x="630" y="260"/>
                  <a:pt x="630" y="261"/>
                </a:cubicBezTo>
                <a:cubicBezTo>
                  <a:pt x="630" y="261"/>
                  <a:pt x="630" y="261"/>
                  <a:pt x="630" y="261"/>
                </a:cubicBezTo>
                <a:cubicBezTo>
                  <a:pt x="630" y="261"/>
                  <a:pt x="630" y="260"/>
                  <a:pt x="630" y="260"/>
                </a:cubicBezTo>
                <a:close/>
                <a:moveTo>
                  <a:pt x="632" y="277"/>
                </a:moveTo>
                <a:cubicBezTo>
                  <a:pt x="634" y="279"/>
                  <a:pt x="631" y="281"/>
                  <a:pt x="629" y="281"/>
                </a:cubicBezTo>
                <a:cubicBezTo>
                  <a:pt x="629" y="280"/>
                  <a:pt x="631" y="277"/>
                  <a:pt x="632" y="277"/>
                </a:cubicBezTo>
                <a:close/>
                <a:moveTo>
                  <a:pt x="632" y="347"/>
                </a:moveTo>
                <a:cubicBezTo>
                  <a:pt x="632" y="347"/>
                  <a:pt x="632" y="346"/>
                  <a:pt x="632" y="346"/>
                </a:cubicBezTo>
                <a:cubicBezTo>
                  <a:pt x="633" y="344"/>
                  <a:pt x="632" y="348"/>
                  <a:pt x="632" y="347"/>
                </a:cubicBezTo>
                <a:close/>
                <a:moveTo>
                  <a:pt x="630" y="294"/>
                </a:moveTo>
                <a:cubicBezTo>
                  <a:pt x="630" y="295"/>
                  <a:pt x="629" y="295"/>
                  <a:pt x="629" y="295"/>
                </a:cubicBezTo>
                <a:cubicBezTo>
                  <a:pt x="629" y="295"/>
                  <a:pt x="629" y="294"/>
                  <a:pt x="630" y="294"/>
                </a:cubicBezTo>
                <a:close/>
                <a:moveTo>
                  <a:pt x="627" y="314"/>
                </a:moveTo>
                <a:cubicBezTo>
                  <a:pt x="627" y="314"/>
                  <a:pt x="628" y="314"/>
                  <a:pt x="628" y="314"/>
                </a:cubicBezTo>
                <a:cubicBezTo>
                  <a:pt x="629" y="315"/>
                  <a:pt x="627" y="315"/>
                  <a:pt x="627" y="314"/>
                </a:cubicBezTo>
                <a:close/>
                <a:moveTo>
                  <a:pt x="628" y="256"/>
                </a:moveTo>
                <a:cubicBezTo>
                  <a:pt x="628" y="254"/>
                  <a:pt x="627" y="257"/>
                  <a:pt x="628" y="256"/>
                </a:cubicBezTo>
                <a:close/>
                <a:moveTo>
                  <a:pt x="626" y="201"/>
                </a:moveTo>
                <a:cubicBezTo>
                  <a:pt x="624" y="200"/>
                  <a:pt x="625" y="198"/>
                  <a:pt x="626" y="198"/>
                </a:cubicBezTo>
                <a:cubicBezTo>
                  <a:pt x="629" y="196"/>
                  <a:pt x="628" y="201"/>
                  <a:pt x="626" y="201"/>
                </a:cubicBezTo>
                <a:close/>
                <a:moveTo>
                  <a:pt x="625" y="187"/>
                </a:moveTo>
                <a:cubicBezTo>
                  <a:pt x="625" y="186"/>
                  <a:pt x="626" y="186"/>
                  <a:pt x="626" y="186"/>
                </a:cubicBezTo>
                <a:cubicBezTo>
                  <a:pt x="627" y="187"/>
                  <a:pt x="624" y="188"/>
                  <a:pt x="625" y="187"/>
                </a:cubicBezTo>
                <a:close/>
                <a:moveTo>
                  <a:pt x="622" y="226"/>
                </a:moveTo>
                <a:cubicBezTo>
                  <a:pt x="617" y="226"/>
                  <a:pt x="619" y="218"/>
                  <a:pt x="621" y="217"/>
                </a:cubicBezTo>
                <a:cubicBezTo>
                  <a:pt x="629" y="212"/>
                  <a:pt x="628" y="227"/>
                  <a:pt x="622" y="226"/>
                </a:cubicBezTo>
                <a:close/>
                <a:moveTo>
                  <a:pt x="619" y="233"/>
                </a:moveTo>
                <a:cubicBezTo>
                  <a:pt x="618" y="232"/>
                  <a:pt x="623" y="228"/>
                  <a:pt x="624" y="228"/>
                </a:cubicBezTo>
                <a:cubicBezTo>
                  <a:pt x="628" y="226"/>
                  <a:pt x="620" y="234"/>
                  <a:pt x="619" y="233"/>
                </a:cubicBezTo>
                <a:close/>
                <a:moveTo>
                  <a:pt x="625" y="235"/>
                </a:moveTo>
                <a:cubicBezTo>
                  <a:pt x="625" y="236"/>
                  <a:pt x="623" y="237"/>
                  <a:pt x="623" y="236"/>
                </a:cubicBezTo>
                <a:cubicBezTo>
                  <a:pt x="622" y="235"/>
                  <a:pt x="624" y="234"/>
                  <a:pt x="625" y="235"/>
                </a:cubicBezTo>
                <a:close/>
                <a:moveTo>
                  <a:pt x="622" y="357"/>
                </a:move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lose/>
                <a:moveTo>
                  <a:pt x="608" y="328"/>
                </a:moveTo>
                <a:cubicBezTo>
                  <a:pt x="608" y="327"/>
                  <a:pt x="611" y="326"/>
                  <a:pt x="612" y="324"/>
                </a:cubicBezTo>
                <a:cubicBezTo>
                  <a:pt x="615" y="321"/>
                  <a:pt x="617" y="315"/>
                  <a:pt x="621" y="313"/>
                </a:cubicBezTo>
                <a:cubicBezTo>
                  <a:pt x="621" y="317"/>
                  <a:pt x="615" y="319"/>
                  <a:pt x="614" y="322"/>
                </a:cubicBezTo>
                <a:cubicBezTo>
                  <a:pt x="613" y="324"/>
                  <a:pt x="610" y="329"/>
                  <a:pt x="607" y="331"/>
                </a:cubicBezTo>
                <a:cubicBezTo>
                  <a:pt x="607" y="331"/>
                  <a:pt x="607" y="333"/>
                  <a:pt x="606" y="332"/>
                </a:cubicBezTo>
                <a:cubicBezTo>
                  <a:pt x="605" y="331"/>
                  <a:pt x="608" y="328"/>
                  <a:pt x="608" y="328"/>
                </a:cubicBezTo>
                <a:close/>
                <a:moveTo>
                  <a:pt x="605" y="271"/>
                </a:moveTo>
                <a:cubicBezTo>
                  <a:pt x="604" y="270"/>
                  <a:pt x="605" y="269"/>
                  <a:pt x="605" y="269"/>
                </a:cubicBezTo>
                <a:cubicBezTo>
                  <a:pt x="608" y="267"/>
                  <a:pt x="606" y="272"/>
                  <a:pt x="605" y="271"/>
                </a:cubicBezTo>
                <a:close/>
                <a:moveTo>
                  <a:pt x="609" y="243"/>
                </a:moveTo>
                <a:cubicBezTo>
                  <a:pt x="608" y="242"/>
                  <a:pt x="610" y="241"/>
                  <a:pt x="611" y="243"/>
                </a:cubicBezTo>
                <a:cubicBezTo>
                  <a:pt x="611" y="244"/>
                  <a:pt x="609" y="244"/>
                  <a:pt x="609" y="243"/>
                </a:cubicBezTo>
                <a:close/>
                <a:moveTo>
                  <a:pt x="611" y="305"/>
                </a:moveTo>
                <a:cubicBezTo>
                  <a:pt x="610" y="306"/>
                  <a:pt x="611" y="304"/>
                  <a:pt x="611" y="305"/>
                </a:cubicBezTo>
                <a:close/>
                <a:moveTo>
                  <a:pt x="613" y="298"/>
                </a:moveTo>
                <a:cubicBezTo>
                  <a:pt x="613" y="298"/>
                  <a:pt x="613" y="298"/>
                  <a:pt x="613" y="298"/>
                </a:cubicBezTo>
                <a:cubicBezTo>
                  <a:pt x="614" y="295"/>
                  <a:pt x="613" y="300"/>
                  <a:pt x="613" y="298"/>
                </a:cubicBezTo>
                <a:close/>
                <a:moveTo>
                  <a:pt x="617" y="261"/>
                </a:moveTo>
                <a:cubicBezTo>
                  <a:pt x="617" y="262"/>
                  <a:pt x="616" y="262"/>
                  <a:pt x="615" y="263"/>
                </a:cubicBezTo>
                <a:cubicBezTo>
                  <a:pt x="615" y="262"/>
                  <a:pt x="616" y="261"/>
                  <a:pt x="617" y="261"/>
                </a:cubicBezTo>
                <a:close/>
                <a:moveTo>
                  <a:pt x="616" y="238"/>
                </a:moveTo>
                <a:cubicBezTo>
                  <a:pt x="616" y="238"/>
                  <a:pt x="616" y="239"/>
                  <a:pt x="615" y="239"/>
                </a:cubicBezTo>
                <a:cubicBezTo>
                  <a:pt x="615" y="238"/>
                  <a:pt x="615" y="238"/>
                  <a:pt x="616" y="238"/>
                </a:cubicBezTo>
                <a:close/>
                <a:moveTo>
                  <a:pt x="618" y="309"/>
                </a:moveTo>
                <a:cubicBezTo>
                  <a:pt x="618" y="309"/>
                  <a:pt x="618" y="308"/>
                  <a:pt x="618" y="308"/>
                </a:cubicBezTo>
                <a:cubicBezTo>
                  <a:pt x="619" y="306"/>
                  <a:pt x="618" y="311"/>
                  <a:pt x="618" y="309"/>
                </a:cubicBezTo>
                <a:close/>
                <a:moveTo>
                  <a:pt x="618" y="295"/>
                </a:moveTo>
                <a:cubicBezTo>
                  <a:pt x="619" y="293"/>
                  <a:pt x="618" y="296"/>
                  <a:pt x="618" y="295"/>
                </a:cubicBezTo>
                <a:close/>
                <a:moveTo>
                  <a:pt x="620" y="301"/>
                </a:moveTo>
                <a:cubicBezTo>
                  <a:pt x="619" y="302"/>
                  <a:pt x="621" y="300"/>
                  <a:pt x="620" y="301"/>
                </a:cubicBezTo>
                <a:close/>
                <a:moveTo>
                  <a:pt x="621" y="333"/>
                </a:moveTo>
                <a:cubicBezTo>
                  <a:pt x="620" y="335"/>
                  <a:pt x="619" y="336"/>
                  <a:pt x="618" y="337"/>
                </a:cubicBezTo>
                <a:cubicBezTo>
                  <a:pt x="619" y="336"/>
                  <a:pt x="620" y="334"/>
                  <a:pt x="621" y="333"/>
                </a:cubicBezTo>
                <a:close/>
                <a:moveTo>
                  <a:pt x="622" y="194"/>
                </a:moveTo>
                <a:cubicBezTo>
                  <a:pt x="621" y="194"/>
                  <a:pt x="622" y="192"/>
                  <a:pt x="623" y="193"/>
                </a:cubicBezTo>
                <a:cubicBezTo>
                  <a:pt x="623" y="194"/>
                  <a:pt x="622" y="195"/>
                  <a:pt x="622" y="194"/>
                </a:cubicBezTo>
                <a:close/>
                <a:moveTo>
                  <a:pt x="619" y="192"/>
                </a:moveTo>
                <a:cubicBezTo>
                  <a:pt x="619" y="192"/>
                  <a:pt x="619" y="192"/>
                  <a:pt x="620" y="191"/>
                </a:cubicBezTo>
                <a:cubicBezTo>
                  <a:pt x="620" y="192"/>
                  <a:pt x="620" y="192"/>
                  <a:pt x="620" y="192"/>
                </a:cubicBezTo>
                <a:cubicBezTo>
                  <a:pt x="621" y="191"/>
                  <a:pt x="622" y="190"/>
                  <a:pt x="623" y="190"/>
                </a:cubicBezTo>
                <a:cubicBezTo>
                  <a:pt x="622" y="192"/>
                  <a:pt x="620" y="193"/>
                  <a:pt x="617" y="194"/>
                </a:cubicBezTo>
                <a:cubicBezTo>
                  <a:pt x="618" y="193"/>
                  <a:pt x="618" y="193"/>
                  <a:pt x="619" y="192"/>
                </a:cubicBezTo>
                <a:close/>
                <a:moveTo>
                  <a:pt x="615" y="194"/>
                </a:moveTo>
                <a:cubicBezTo>
                  <a:pt x="616" y="194"/>
                  <a:pt x="617" y="193"/>
                  <a:pt x="617" y="194"/>
                </a:cubicBezTo>
                <a:cubicBezTo>
                  <a:pt x="618" y="195"/>
                  <a:pt x="613" y="196"/>
                  <a:pt x="615" y="194"/>
                </a:cubicBezTo>
                <a:close/>
                <a:moveTo>
                  <a:pt x="612" y="214"/>
                </a:moveTo>
                <a:cubicBezTo>
                  <a:pt x="613" y="215"/>
                  <a:pt x="612" y="215"/>
                  <a:pt x="611" y="214"/>
                </a:cubicBezTo>
                <a:cubicBezTo>
                  <a:pt x="611" y="214"/>
                  <a:pt x="612" y="213"/>
                  <a:pt x="612" y="214"/>
                </a:cubicBezTo>
                <a:close/>
                <a:moveTo>
                  <a:pt x="609" y="203"/>
                </a:moveTo>
                <a:cubicBezTo>
                  <a:pt x="611" y="201"/>
                  <a:pt x="611" y="205"/>
                  <a:pt x="609" y="205"/>
                </a:cubicBezTo>
                <a:cubicBezTo>
                  <a:pt x="609" y="204"/>
                  <a:pt x="609" y="204"/>
                  <a:pt x="609" y="203"/>
                </a:cubicBezTo>
                <a:close/>
                <a:moveTo>
                  <a:pt x="609" y="219"/>
                </a:moveTo>
                <a:cubicBezTo>
                  <a:pt x="612" y="218"/>
                  <a:pt x="616" y="215"/>
                  <a:pt x="620" y="214"/>
                </a:cubicBezTo>
                <a:cubicBezTo>
                  <a:pt x="617" y="216"/>
                  <a:pt x="611" y="220"/>
                  <a:pt x="608" y="221"/>
                </a:cubicBezTo>
                <a:cubicBezTo>
                  <a:pt x="609" y="221"/>
                  <a:pt x="607" y="222"/>
                  <a:pt x="607" y="221"/>
                </a:cubicBezTo>
                <a:cubicBezTo>
                  <a:pt x="606" y="220"/>
                  <a:pt x="609" y="220"/>
                  <a:pt x="609" y="219"/>
                </a:cubicBezTo>
                <a:close/>
                <a:moveTo>
                  <a:pt x="610" y="253"/>
                </a:moveTo>
                <a:cubicBezTo>
                  <a:pt x="610" y="255"/>
                  <a:pt x="605" y="256"/>
                  <a:pt x="605" y="255"/>
                </a:cubicBezTo>
                <a:cubicBezTo>
                  <a:pt x="604" y="252"/>
                  <a:pt x="610" y="249"/>
                  <a:pt x="610" y="253"/>
                </a:cubicBezTo>
                <a:close/>
                <a:moveTo>
                  <a:pt x="602" y="194"/>
                </a:moveTo>
                <a:cubicBezTo>
                  <a:pt x="602" y="194"/>
                  <a:pt x="603" y="194"/>
                  <a:pt x="603" y="194"/>
                </a:cubicBezTo>
                <a:cubicBezTo>
                  <a:pt x="604" y="196"/>
                  <a:pt x="601" y="196"/>
                  <a:pt x="602" y="194"/>
                </a:cubicBezTo>
                <a:close/>
                <a:moveTo>
                  <a:pt x="604" y="256"/>
                </a:moveTo>
                <a:cubicBezTo>
                  <a:pt x="604" y="257"/>
                  <a:pt x="606" y="258"/>
                  <a:pt x="606" y="259"/>
                </a:cubicBezTo>
                <a:cubicBezTo>
                  <a:pt x="605" y="261"/>
                  <a:pt x="604" y="259"/>
                  <a:pt x="603" y="260"/>
                </a:cubicBezTo>
                <a:cubicBezTo>
                  <a:pt x="601" y="262"/>
                  <a:pt x="602" y="267"/>
                  <a:pt x="600" y="270"/>
                </a:cubicBezTo>
                <a:cubicBezTo>
                  <a:pt x="600" y="265"/>
                  <a:pt x="602" y="261"/>
                  <a:pt x="604" y="256"/>
                </a:cubicBezTo>
                <a:close/>
                <a:moveTo>
                  <a:pt x="600" y="272"/>
                </a:moveTo>
                <a:cubicBezTo>
                  <a:pt x="600" y="271"/>
                  <a:pt x="602" y="269"/>
                  <a:pt x="603" y="271"/>
                </a:cubicBezTo>
                <a:cubicBezTo>
                  <a:pt x="603" y="273"/>
                  <a:pt x="601" y="273"/>
                  <a:pt x="600" y="272"/>
                </a:cubicBezTo>
                <a:close/>
                <a:moveTo>
                  <a:pt x="601" y="310"/>
                </a:moveTo>
                <a:cubicBezTo>
                  <a:pt x="600" y="310"/>
                  <a:pt x="601" y="310"/>
                  <a:pt x="601" y="310"/>
                </a:cubicBezTo>
                <a:cubicBezTo>
                  <a:pt x="602" y="310"/>
                  <a:pt x="601" y="310"/>
                  <a:pt x="601" y="310"/>
                </a:cubicBezTo>
                <a:close/>
                <a:moveTo>
                  <a:pt x="602" y="303"/>
                </a:moveTo>
                <a:cubicBezTo>
                  <a:pt x="602" y="302"/>
                  <a:pt x="603" y="302"/>
                  <a:pt x="603" y="302"/>
                </a:cubicBezTo>
                <a:cubicBezTo>
                  <a:pt x="604" y="302"/>
                  <a:pt x="602" y="304"/>
                  <a:pt x="602" y="303"/>
                </a:cubicBezTo>
                <a:close/>
                <a:moveTo>
                  <a:pt x="607" y="416"/>
                </a:moveTo>
                <a:cubicBezTo>
                  <a:pt x="607" y="415"/>
                  <a:pt x="607" y="415"/>
                  <a:pt x="608" y="414"/>
                </a:cubicBezTo>
                <a:cubicBezTo>
                  <a:pt x="607" y="415"/>
                  <a:pt x="607" y="416"/>
                  <a:pt x="607" y="416"/>
                </a:cubicBezTo>
                <a:close/>
                <a:moveTo>
                  <a:pt x="608" y="393"/>
                </a:moveTo>
                <a:cubicBezTo>
                  <a:pt x="608" y="392"/>
                  <a:pt x="609" y="391"/>
                  <a:pt x="610" y="390"/>
                </a:cubicBezTo>
                <a:cubicBezTo>
                  <a:pt x="610" y="390"/>
                  <a:pt x="609" y="392"/>
                  <a:pt x="608" y="393"/>
                </a:cubicBezTo>
                <a:close/>
                <a:moveTo>
                  <a:pt x="600" y="353"/>
                </a:moveTo>
                <a:cubicBezTo>
                  <a:pt x="601" y="350"/>
                  <a:pt x="607" y="346"/>
                  <a:pt x="610" y="343"/>
                </a:cubicBezTo>
                <a:cubicBezTo>
                  <a:pt x="608" y="347"/>
                  <a:pt x="603" y="350"/>
                  <a:pt x="600" y="353"/>
                </a:cubicBezTo>
                <a:close/>
                <a:moveTo>
                  <a:pt x="611" y="388"/>
                </a:moveTo>
                <a:cubicBezTo>
                  <a:pt x="610" y="388"/>
                  <a:pt x="612" y="387"/>
                  <a:pt x="611" y="388"/>
                </a:cubicBezTo>
                <a:close/>
                <a:moveTo>
                  <a:pt x="612" y="387"/>
                </a:moveTo>
                <a:cubicBezTo>
                  <a:pt x="612" y="386"/>
                  <a:pt x="612" y="386"/>
                  <a:pt x="613" y="385"/>
                </a:cubicBezTo>
                <a:cubicBezTo>
                  <a:pt x="613" y="386"/>
                  <a:pt x="612" y="387"/>
                  <a:pt x="612" y="387"/>
                </a:cubicBezTo>
                <a:close/>
                <a:moveTo>
                  <a:pt x="611" y="344"/>
                </a:moveTo>
                <a:cubicBezTo>
                  <a:pt x="612" y="342"/>
                  <a:pt x="613" y="341"/>
                  <a:pt x="616" y="339"/>
                </a:cubicBezTo>
                <a:cubicBezTo>
                  <a:pt x="614" y="341"/>
                  <a:pt x="613" y="343"/>
                  <a:pt x="611" y="344"/>
                </a:cubicBezTo>
                <a:close/>
                <a:moveTo>
                  <a:pt x="615" y="357"/>
                </a:moveTo>
                <a:cubicBezTo>
                  <a:pt x="615" y="357"/>
                  <a:pt x="616" y="356"/>
                  <a:pt x="617" y="356"/>
                </a:cubicBezTo>
                <a:cubicBezTo>
                  <a:pt x="616" y="357"/>
                  <a:pt x="615" y="357"/>
                  <a:pt x="615" y="357"/>
                </a:cubicBezTo>
                <a:close/>
                <a:moveTo>
                  <a:pt x="617" y="539"/>
                </a:moveTo>
                <a:cubicBezTo>
                  <a:pt x="616" y="539"/>
                  <a:pt x="617" y="537"/>
                  <a:pt x="618" y="537"/>
                </a:cubicBezTo>
                <a:cubicBezTo>
                  <a:pt x="618" y="538"/>
                  <a:pt x="617" y="539"/>
                  <a:pt x="617" y="539"/>
                </a:cubicBezTo>
                <a:close/>
                <a:moveTo>
                  <a:pt x="618" y="445"/>
                </a:moveTo>
                <a:cubicBezTo>
                  <a:pt x="617" y="445"/>
                  <a:pt x="618" y="443"/>
                  <a:pt x="618" y="443"/>
                </a:cubicBezTo>
                <a:cubicBezTo>
                  <a:pt x="620" y="441"/>
                  <a:pt x="619" y="446"/>
                  <a:pt x="618" y="445"/>
                </a:cubicBezTo>
                <a:close/>
                <a:moveTo>
                  <a:pt x="619" y="557"/>
                </a:moveTo>
                <a:cubicBezTo>
                  <a:pt x="619" y="557"/>
                  <a:pt x="619" y="556"/>
                  <a:pt x="619" y="557"/>
                </a:cubicBezTo>
                <a:cubicBezTo>
                  <a:pt x="620" y="557"/>
                  <a:pt x="619" y="558"/>
                  <a:pt x="619" y="557"/>
                </a:cubicBezTo>
                <a:close/>
                <a:moveTo>
                  <a:pt x="619" y="347"/>
                </a:moveTo>
                <a:cubicBezTo>
                  <a:pt x="618" y="347"/>
                  <a:pt x="619" y="345"/>
                  <a:pt x="619" y="345"/>
                </a:cubicBezTo>
                <a:cubicBezTo>
                  <a:pt x="621" y="342"/>
                  <a:pt x="620" y="348"/>
                  <a:pt x="619" y="347"/>
                </a:cubicBezTo>
                <a:close/>
                <a:moveTo>
                  <a:pt x="620" y="435"/>
                </a:moveTo>
                <a:cubicBezTo>
                  <a:pt x="621" y="434"/>
                  <a:pt x="619" y="437"/>
                  <a:pt x="620" y="435"/>
                </a:cubicBezTo>
                <a:close/>
                <a:moveTo>
                  <a:pt x="623" y="526"/>
                </a:moveTo>
                <a:cubicBezTo>
                  <a:pt x="624" y="527"/>
                  <a:pt x="622" y="529"/>
                  <a:pt x="621" y="530"/>
                </a:cubicBezTo>
                <a:cubicBezTo>
                  <a:pt x="621" y="529"/>
                  <a:pt x="623" y="527"/>
                  <a:pt x="623" y="526"/>
                </a:cubicBezTo>
                <a:close/>
                <a:moveTo>
                  <a:pt x="622" y="561"/>
                </a:moveTo>
                <a:cubicBezTo>
                  <a:pt x="621" y="560"/>
                  <a:pt x="622" y="558"/>
                  <a:pt x="622" y="558"/>
                </a:cubicBezTo>
                <a:cubicBezTo>
                  <a:pt x="625" y="555"/>
                  <a:pt x="624" y="562"/>
                  <a:pt x="622" y="561"/>
                </a:cubicBezTo>
                <a:close/>
                <a:moveTo>
                  <a:pt x="624" y="492"/>
                </a:moveTo>
                <a:cubicBezTo>
                  <a:pt x="624" y="490"/>
                  <a:pt x="623" y="493"/>
                  <a:pt x="624" y="492"/>
                </a:cubicBezTo>
                <a:close/>
                <a:moveTo>
                  <a:pt x="625" y="381"/>
                </a:moveTo>
                <a:cubicBezTo>
                  <a:pt x="625" y="381"/>
                  <a:pt x="624" y="381"/>
                  <a:pt x="624" y="381"/>
                </a:cubicBezTo>
                <a:cubicBezTo>
                  <a:pt x="625" y="379"/>
                  <a:pt x="626" y="381"/>
                  <a:pt x="625" y="381"/>
                </a:cubicBezTo>
                <a:close/>
                <a:moveTo>
                  <a:pt x="624" y="254"/>
                </a:moveTo>
                <a:cubicBezTo>
                  <a:pt x="624" y="254"/>
                  <a:pt x="625" y="253"/>
                  <a:pt x="625" y="253"/>
                </a:cubicBezTo>
                <a:cubicBezTo>
                  <a:pt x="626" y="252"/>
                  <a:pt x="625" y="255"/>
                  <a:pt x="624" y="254"/>
                </a:cubicBezTo>
                <a:close/>
                <a:moveTo>
                  <a:pt x="626" y="488"/>
                </a:moveTo>
                <a:cubicBezTo>
                  <a:pt x="626" y="488"/>
                  <a:pt x="627" y="486"/>
                  <a:pt x="627" y="486"/>
                </a:cubicBezTo>
                <a:cubicBezTo>
                  <a:pt x="627" y="487"/>
                  <a:pt x="626" y="487"/>
                  <a:pt x="626" y="488"/>
                </a:cubicBezTo>
                <a:close/>
                <a:moveTo>
                  <a:pt x="628" y="522"/>
                </a:moveTo>
                <a:cubicBezTo>
                  <a:pt x="626" y="521"/>
                  <a:pt x="628" y="521"/>
                  <a:pt x="628" y="522"/>
                </a:cubicBezTo>
                <a:close/>
                <a:moveTo>
                  <a:pt x="633" y="526"/>
                </a:moveTo>
                <a:cubicBezTo>
                  <a:pt x="634" y="528"/>
                  <a:pt x="631" y="529"/>
                  <a:pt x="633" y="526"/>
                </a:cubicBezTo>
                <a:close/>
                <a:moveTo>
                  <a:pt x="628" y="417"/>
                </a:moveTo>
                <a:cubicBezTo>
                  <a:pt x="630" y="415"/>
                  <a:pt x="631" y="410"/>
                  <a:pt x="634" y="409"/>
                </a:cubicBezTo>
                <a:cubicBezTo>
                  <a:pt x="633" y="409"/>
                  <a:pt x="631" y="417"/>
                  <a:pt x="628" y="417"/>
                </a:cubicBezTo>
                <a:close/>
                <a:moveTo>
                  <a:pt x="633" y="310"/>
                </a:moveTo>
                <a:cubicBezTo>
                  <a:pt x="632" y="309"/>
                  <a:pt x="634" y="305"/>
                  <a:pt x="634" y="305"/>
                </a:cubicBezTo>
                <a:cubicBezTo>
                  <a:pt x="638" y="302"/>
                  <a:pt x="636" y="311"/>
                  <a:pt x="633" y="310"/>
                </a:cubicBezTo>
                <a:close/>
                <a:moveTo>
                  <a:pt x="637" y="496"/>
                </a:moveTo>
                <a:cubicBezTo>
                  <a:pt x="636" y="497"/>
                  <a:pt x="637" y="495"/>
                  <a:pt x="637" y="496"/>
                </a:cubicBezTo>
                <a:close/>
                <a:moveTo>
                  <a:pt x="637" y="495"/>
                </a:moveTo>
                <a:cubicBezTo>
                  <a:pt x="635" y="495"/>
                  <a:pt x="637" y="490"/>
                  <a:pt x="638" y="490"/>
                </a:cubicBezTo>
                <a:cubicBezTo>
                  <a:pt x="640" y="489"/>
                  <a:pt x="639" y="496"/>
                  <a:pt x="637" y="495"/>
                </a:cubicBezTo>
                <a:close/>
                <a:moveTo>
                  <a:pt x="638" y="424"/>
                </a:move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lose/>
                <a:moveTo>
                  <a:pt x="634" y="368"/>
                </a:moveTo>
                <a:cubicBezTo>
                  <a:pt x="637" y="365"/>
                  <a:pt x="639" y="361"/>
                  <a:pt x="643" y="358"/>
                </a:cubicBezTo>
                <a:cubicBezTo>
                  <a:pt x="641" y="362"/>
                  <a:pt x="638" y="365"/>
                  <a:pt x="634" y="368"/>
                </a:cubicBezTo>
                <a:close/>
                <a:moveTo>
                  <a:pt x="641" y="395"/>
                </a:moveTo>
                <a:cubicBezTo>
                  <a:pt x="641" y="395"/>
                  <a:pt x="641" y="395"/>
                  <a:pt x="641" y="395"/>
                </a:cubicBezTo>
                <a:cubicBezTo>
                  <a:pt x="641" y="395"/>
                  <a:pt x="641" y="394"/>
                  <a:pt x="641" y="395"/>
                </a:cubicBezTo>
                <a:close/>
                <a:moveTo>
                  <a:pt x="640" y="430"/>
                </a:moveTo>
                <a:cubicBezTo>
                  <a:pt x="640" y="430"/>
                  <a:pt x="640" y="428"/>
                  <a:pt x="642" y="428"/>
                </a:cubicBezTo>
                <a:cubicBezTo>
                  <a:pt x="643" y="427"/>
                  <a:pt x="644" y="427"/>
                  <a:pt x="645" y="428"/>
                </a:cubicBezTo>
                <a:cubicBezTo>
                  <a:pt x="648" y="432"/>
                  <a:pt x="641" y="434"/>
                  <a:pt x="640" y="430"/>
                </a:cubicBezTo>
                <a:close/>
                <a:moveTo>
                  <a:pt x="645" y="387"/>
                </a:moveTo>
                <a:cubicBezTo>
                  <a:pt x="645" y="386"/>
                  <a:pt x="645" y="385"/>
                  <a:pt x="646" y="385"/>
                </a:cubicBezTo>
                <a:cubicBezTo>
                  <a:pt x="646" y="386"/>
                  <a:pt x="646" y="386"/>
                  <a:pt x="645" y="387"/>
                </a:cubicBezTo>
                <a:close/>
                <a:moveTo>
                  <a:pt x="647" y="552"/>
                </a:moveTo>
                <a:cubicBezTo>
                  <a:pt x="646" y="553"/>
                  <a:pt x="648" y="551"/>
                  <a:pt x="647" y="552"/>
                </a:cubicBezTo>
                <a:close/>
                <a:moveTo>
                  <a:pt x="647" y="429"/>
                </a:moveTo>
                <a:cubicBezTo>
                  <a:pt x="648" y="428"/>
                  <a:pt x="645" y="431"/>
                  <a:pt x="647" y="429"/>
                </a:cubicBezTo>
                <a:close/>
                <a:moveTo>
                  <a:pt x="646" y="388"/>
                </a:moveTo>
                <a:cubicBezTo>
                  <a:pt x="646" y="387"/>
                  <a:pt x="647" y="386"/>
                  <a:pt x="647" y="385"/>
                </a:cubicBezTo>
                <a:cubicBezTo>
                  <a:pt x="647" y="386"/>
                  <a:pt x="647" y="387"/>
                  <a:pt x="646" y="388"/>
                </a:cubicBezTo>
                <a:close/>
                <a:moveTo>
                  <a:pt x="646" y="385"/>
                </a:moveTo>
                <a:cubicBezTo>
                  <a:pt x="647" y="384"/>
                  <a:pt x="647" y="383"/>
                  <a:pt x="648" y="383"/>
                </a:cubicBezTo>
                <a:cubicBezTo>
                  <a:pt x="648" y="384"/>
                  <a:pt x="647" y="384"/>
                  <a:pt x="646" y="385"/>
                </a:cubicBezTo>
                <a:close/>
                <a:moveTo>
                  <a:pt x="647" y="345"/>
                </a:moveTo>
                <a:cubicBezTo>
                  <a:pt x="646" y="345"/>
                  <a:pt x="647" y="344"/>
                  <a:pt x="647" y="344"/>
                </a:cubicBezTo>
                <a:cubicBezTo>
                  <a:pt x="648" y="342"/>
                  <a:pt x="648" y="345"/>
                  <a:pt x="647" y="345"/>
                </a:cubicBezTo>
                <a:close/>
                <a:moveTo>
                  <a:pt x="648" y="529"/>
                </a:moveTo>
                <a:cubicBezTo>
                  <a:pt x="647" y="529"/>
                  <a:pt x="648" y="528"/>
                  <a:pt x="648" y="528"/>
                </a:cubicBezTo>
                <a:cubicBezTo>
                  <a:pt x="649" y="528"/>
                  <a:pt x="648" y="529"/>
                  <a:pt x="648" y="529"/>
                </a:cubicBezTo>
                <a:close/>
                <a:moveTo>
                  <a:pt x="648" y="382"/>
                </a:moveTo>
                <a:cubicBezTo>
                  <a:pt x="649" y="381"/>
                  <a:pt x="647" y="383"/>
                  <a:pt x="648" y="382"/>
                </a:cubicBezTo>
                <a:close/>
                <a:moveTo>
                  <a:pt x="650" y="335"/>
                </a:moveTo>
                <a:cubicBezTo>
                  <a:pt x="647" y="337"/>
                  <a:pt x="652" y="333"/>
                  <a:pt x="650" y="335"/>
                </a:cubicBezTo>
                <a:close/>
                <a:moveTo>
                  <a:pt x="651" y="357"/>
                </a:moveTo>
                <a:cubicBezTo>
                  <a:pt x="651" y="355"/>
                  <a:pt x="650" y="358"/>
                  <a:pt x="651" y="357"/>
                </a:cubicBezTo>
                <a:close/>
                <a:moveTo>
                  <a:pt x="651" y="299"/>
                </a:moveTo>
                <a:cubicBezTo>
                  <a:pt x="649" y="299"/>
                  <a:pt x="651" y="296"/>
                  <a:pt x="652" y="298"/>
                </a:cubicBezTo>
                <a:cubicBezTo>
                  <a:pt x="652" y="298"/>
                  <a:pt x="651" y="299"/>
                  <a:pt x="651" y="299"/>
                </a:cubicBezTo>
                <a:close/>
                <a:moveTo>
                  <a:pt x="651" y="291"/>
                </a:moveTo>
                <a:cubicBezTo>
                  <a:pt x="651" y="291"/>
                  <a:pt x="652" y="291"/>
                  <a:pt x="652" y="291"/>
                </a:cubicBezTo>
                <a:cubicBezTo>
                  <a:pt x="652" y="292"/>
                  <a:pt x="651" y="291"/>
                  <a:pt x="651" y="291"/>
                </a:cubicBezTo>
                <a:close/>
                <a:moveTo>
                  <a:pt x="652" y="333"/>
                </a:moveTo>
                <a:cubicBezTo>
                  <a:pt x="652" y="331"/>
                  <a:pt x="654" y="331"/>
                  <a:pt x="654" y="330"/>
                </a:cubicBezTo>
                <a:cubicBezTo>
                  <a:pt x="654" y="331"/>
                  <a:pt x="653" y="332"/>
                  <a:pt x="652" y="333"/>
                </a:cubicBezTo>
                <a:close/>
                <a:moveTo>
                  <a:pt x="654" y="302"/>
                </a:moveTo>
                <a:cubicBezTo>
                  <a:pt x="655" y="302"/>
                  <a:pt x="654" y="302"/>
                  <a:pt x="654" y="302"/>
                </a:cubicBezTo>
                <a:cubicBezTo>
                  <a:pt x="655" y="304"/>
                  <a:pt x="652" y="302"/>
                  <a:pt x="654" y="302"/>
                </a:cubicBezTo>
                <a:close/>
                <a:moveTo>
                  <a:pt x="654" y="370"/>
                </a:moveTo>
                <a:cubicBezTo>
                  <a:pt x="654" y="369"/>
                  <a:pt x="656" y="369"/>
                  <a:pt x="655" y="370"/>
                </a:cubicBezTo>
                <a:cubicBezTo>
                  <a:pt x="655" y="370"/>
                  <a:pt x="654" y="370"/>
                  <a:pt x="654" y="370"/>
                </a:cubicBezTo>
                <a:close/>
                <a:moveTo>
                  <a:pt x="648" y="287"/>
                </a:moveTo>
                <a:cubicBezTo>
                  <a:pt x="651" y="284"/>
                  <a:pt x="653" y="280"/>
                  <a:pt x="658" y="277"/>
                </a:cubicBezTo>
                <a:cubicBezTo>
                  <a:pt x="657" y="281"/>
                  <a:pt x="652" y="285"/>
                  <a:pt x="648" y="287"/>
                </a:cubicBezTo>
                <a:close/>
                <a:moveTo>
                  <a:pt x="657" y="286"/>
                </a:moveTo>
                <a:cubicBezTo>
                  <a:pt x="657" y="285"/>
                  <a:pt x="658" y="285"/>
                  <a:pt x="658" y="285"/>
                </a:cubicBezTo>
                <a:cubicBezTo>
                  <a:pt x="659" y="286"/>
                  <a:pt x="656" y="287"/>
                  <a:pt x="657" y="286"/>
                </a:cubicBezTo>
                <a:close/>
                <a:moveTo>
                  <a:pt x="658" y="318"/>
                </a:moveTo>
                <a:cubicBezTo>
                  <a:pt x="659" y="317"/>
                  <a:pt x="657" y="319"/>
                  <a:pt x="658" y="318"/>
                </a:cubicBezTo>
                <a:close/>
                <a:moveTo>
                  <a:pt x="658" y="348"/>
                </a:moveTo>
                <a:cubicBezTo>
                  <a:pt x="659" y="347"/>
                  <a:pt x="656" y="349"/>
                  <a:pt x="658" y="348"/>
                </a:cubicBezTo>
                <a:close/>
                <a:moveTo>
                  <a:pt x="658" y="477"/>
                </a:moveTo>
                <a:cubicBezTo>
                  <a:pt x="658" y="476"/>
                  <a:pt x="658" y="476"/>
                  <a:pt x="658" y="476"/>
                </a:cubicBezTo>
                <a:cubicBezTo>
                  <a:pt x="659" y="474"/>
                  <a:pt x="660" y="477"/>
                  <a:pt x="658" y="477"/>
                </a:cubicBezTo>
                <a:close/>
                <a:moveTo>
                  <a:pt x="658" y="376"/>
                </a:moveTo>
                <a:cubicBezTo>
                  <a:pt x="657" y="375"/>
                  <a:pt x="658" y="373"/>
                  <a:pt x="658" y="373"/>
                </a:cubicBezTo>
                <a:cubicBezTo>
                  <a:pt x="661" y="371"/>
                  <a:pt x="661" y="376"/>
                  <a:pt x="658" y="376"/>
                </a:cubicBezTo>
                <a:close/>
                <a:moveTo>
                  <a:pt x="660" y="413"/>
                </a:moveTo>
                <a:cubicBezTo>
                  <a:pt x="660" y="412"/>
                  <a:pt x="661" y="412"/>
                  <a:pt x="660" y="413"/>
                </a:cubicBezTo>
                <a:close/>
                <a:moveTo>
                  <a:pt x="658" y="347"/>
                </a:moveTo>
                <a:cubicBezTo>
                  <a:pt x="659" y="345"/>
                  <a:pt x="660" y="343"/>
                  <a:pt x="662" y="342"/>
                </a:cubicBezTo>
                <a:cubicBezTo>
                  <a:pt x="662" y="342"/>
                  <a:pt x="660" y="346"/>
                  <a:pt x="658" y="347"/>
                </a:cubicBezTo>
                <a:close/>
                <a:moveTo>
                  <a:pt x="663" y="312"/>
                </a:moveTo>
                <a:cubicBezTo>
                  <a:pt x="663" y="312"/>
                  <a:pt x="664" y="313"/>
                  <a:pt x="663" y="313"/>
                </a:cubicBezTo>
                <a:cubicBezTo>
                  <a:pt x="662" y="314"/>
                  <a:pt x="661" y="312"/>
                  <a:pt x="662" y="312"/>
                </a:cubicBezTo>
                <a:cubicBezTo>
                  <a:pt x="662" y="312"/>
                  <a:pt x="662" y="312"/>
                  <a:pt x="662" y="312"/>
                </a:cubicBezTo>
                <a:cubicBezTo>
                  <a:pt x="662" y="311"/>
                  <a:pt x="662" y="311"/>
                  <a:pt x="661" y="311"/>
                </a:cubicBezTo>
                <a:cubicBezTo>
                  <a:pt x="660" y="310"/>
                  <a:pt x="664" y="308"/>
                  <a:pt x="664" y="310"/>
                </a:cubicBezTo>
                <a:cubicBezTo>
                  <a:pt x="664" y="311"/>
                  <a:pt x="664" y="311"/>
                  <a:pt x="663" y="312"/>
                </a:cubicBezTo>
                <a:close/>
                <a:moveTo>
                  <a:pt x="662" y="277"/>
                </a:moveTo>
                <a:cubicBezTo>
                  <a:pt x="661" y="279"/>
                  <a:pt x="662" y="276"/>
                  <a:pt x="662" y="277"/>
                </a:cubicBezTo>
                <a:close/>
                <a:moveTo>
                  <a:pt x="662" y="261"/>
                </a:moveTo>
                <a:cubicBezTo>
                  <a:pt x="662" y="261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ubicBezTo>
                  <a:pt x="662" y="260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lose/>
                <a:moveTo>
                  <a:pt x="664" y="309"/>
                </a:moveTo>
                <a:cubicBezTo>
                  <a:pt x="663" y="309"/>
                  <a:pt x="663" y="308"/>
                  <a:pt x="664" y="308"/>
                </a:cubicBezTo>
                <a:cubicBezTo>
                  <a:pt x="664" y="307"/>
                  <a:pt x="665" y="309"/>
                  <a:pt x="664" y="309"/>
                </a:cubicBezTo>
                <a:close/>
                <a:moveTo>
                  <a:pt x="664" y="258"/>
                </a:moveTo>
                <a:cubicBezTo>
                  <a:pt x="664" y="260"/>
                  <a:pt x="662" y="259"/>
                  <a:pt x="664" y="258"/>
                </a:cubicBezTo>
                <a:close/>
                <a:moveTo>
                  <a:pt x="665" y="262"/>
                </a:moveTo>
                <a:cubicBezTo>
                  <a:pt x="663" y="263"/>
                  <a:pt x="666" y="260"/>
                  <a:pt x="665" y="262"/>
                </a:cubicBezTo>
                <a:close/>
                <a:moveTo>
                  <a:pt x="663" y="233"/>
                </a:moveTo>
                <a:cubicBezTo>
                  <a:pt x="665" y="234"/>
                  <a:pt x="663" y="240"/>
                  <a:pt x="660" y="239"/>
                </a:cubicBezTo>
                <a:cubicBezTo>
                  <a:pt x="657" y="239"/>
                  <a:pt x="659" y="230"/>
                  <a:pt x="663" y="233"/>
                </a:cubicBezTo>
                <a:cubicBezTo>
                  <a:pt x="662" y="232"/>
                  <a:pt x="662" y="229"/>
                  <a:pt x="664" y="230"/>
                </a:cubicBezTo>
                <a:cubicBezTo>
                  <a:pt x="666" y="230"/>
                  <a:pt x="665" y="234"/>
                  <a:pt x="663" y="233"/>
                </a:cubicBezTo>
                <a:close/>
                <a:moveTo>
                  <a:pt x="665" y="341"/>
                </a:moveTo>
                <a:cubicBezTo>
                  <a:pt x="665" y="340"/>
                  <a:pt x="667" y="338"/>
                  <a:pt x="668" y="337"/>
                </a:cubicBezTo>
                <a:cubicBezTo>
                  <a:pt x="667" y="339"/>
                  <a:pt x="667" y="340"/>
                  <a:pt x="665" y="341"/>
                </a:cubicBezTo>
                <a:close/>
                <a:moveTo>
                  <a:pt x="668" y="481"/>
                </a:moveTo>
                <a:cubicBezTo>
                  <a:pt x="668" y="481"/>
                  <a:pt x="668" y="480"/>
                  <a:pt x="668" y="481"/>
                </a:cubicBezTo>
                <a:cubicBezTo>
                  <a:pt x="669" y="481"/>
                  <a:pt x="668" y="482"/>
                  <a:pt x="668" y="481"/>
                </a:cubicBezTo>
                <a:close/>
                <a:moveTo>
                  <a:pt x="671" y="391"/>
                </a:moveTo>
                <a:cubicBezTo>
                  <a:pt x="671" y="390"/>
                  <a:pt x="672" y="389"/>
                  <a:pt x="672" y="388"/>
                </a:cubicBezTo>
                <a:cubicBezTo>
                  <a:pt x="673" y="389"/>
                  <a:pt x="672" y="391"/>
                  <a:pt x="671" y="391"/>
                </a:cubicBezTo>
                <a:close/>
                <a:moveTo>
                  <a:pt x="673" y="387"/>
                </a:moveTo>
                <a:cubicBezTo>
                  <a:pt x="673" y="385"/>
                  <a:pt x="675" y="383"/>
                  <a:pt x="675" y="381"/>
                </a:cubicBezTo>
                <a:cubicBezTo>
                  <a:pt x="676" y="383"/>
                  <a:pt x="674" y="385"/>
                  <a:pt x="673" y="387"/>
                </a:cubicBezTo>
                <a:close/>
                <a:moveTo>
                  <a:pt x="683" y="314"/>
                </a:moveTo>
                <a:cubicBezTo>
                  <a:pt x="681" y="318"/>
                  <a:pt x="678" y="322"/>
                  <a:pt x="676" y="326"/>
                </a:cubicBezTo>
                <a:cubicBezTo>
                  <a:pt x="678" y="322"/>
                  <a:pt x="679" y="317"/>
                  <a:pt x="683" y="314"/>
                </a:cubicBezTo>
                <a:close/>
                <a:moveTo>
                  <a:pt x="678" y="432"/>
                </a:moveTo>
                <a:cubicBezTo>
                  <a:pt x="678" y="434"/>
                  <a:pt x="676" y="433"/>
                  <a:pt x="678" y="432"/>
                </a:cubicBezTo>
                <a:close/>
                <a:moveTo>
                  <a:pt x="682" y="426"/>
                </a:moveTo>
                <a:cubicBezTo>
                  <a:pt x="681" y="426"/>
                  <a:pt x="681" y="425"/>
                  <a:pt x="682" y="424"/>
                </a:cubicBezTo>
                <a:cubicBezTo>
                  <a:pt x="683" y="423"/>
                  <a:pt x="684" y="427"/>
                  <a:pt x="682" y="426"/>
                </a:cubicBezTo>
                <a:close/>
                <a:moveTo>
                  <a:pt x="683" y="451"/>
                </a:moveTo>
                <a:cubicBezTo>
                  <a:pt x="683" y="450"/>
                  <a:pt x="685" y="451"/>
                  <a:pt x="683" y="451"/>
                </a:cubicBezTo>
                <a:close/>
                <a:moveTo>
                  <a:pt x="683" y="486"/>
                </a:moveTo>
                <a:cubicBezTo>
                  <a:pt x="684" y="486"/>
                  <a:pt x="682" y="487"/>
                  <a:pt x="683" y="486"/>
                </a:cubicBezTo>
                <a:close/>
                <a:moveTo>
                  <a:pt x="685" y="289"/>
                </a:moveTo>
                <a:cubicBezTo>
                  <a:pt x="686" y="289"/>
                  <a:pt x="684" y="290"/>
                  <a:pt x="684" y="290"/>
                </a:cubicBezTo>
                <a:cubicBezTo>
                  <a:pt x="684" y="290"/>
                  <a:pt x="685" y="290"/>
                  <a:pt x="685" y="289"/>
                </a:cubicBezTo>
                <a:close/>
                <a:moveTo>
                  <a:pt x="685" y="345"/>
                </a:moveTo>
                <a:cubicBezTo>
                  <a:pt x="684" y="344"/>
                  <a:pt x="685" y="344"/>
                  <a:pt x="685" y="343"/>
                </a:cubicBezTo>
                <a:cubicBezTo>
                  <a:pt x="686" y="343"/>
                  <a:pt x="685" y="345"/>
                  <a:pt x="685" y="345"/>
                </a:cubicBezTo>
                <a:close/>
                <a:moveTo>
                  <a:pt x="686" y="342"/>
                </a:moveTo>
                <a:cubicBezTo>
                  <a:pt x="685" y="341"/>
                  <a:pt x="686" y="341"/>
                  <a:pt x="686" y="340"/>
                </a:cubicBezTo>
                <a:cubicBezTo>
                  <a:pt x="687" y="340"/>
                  <a:pt x="686" y="342"/>
                  <a:pt x="686" y="342"/>
                </a:cubicBezTo>
                <a:close/>
                <a:moveTo>
                  <a:pt x="687" y="340"/>
                </a:moveTo>
                <a:cubicBezTo>
                  <a:pt x="686" y="339"/>
                  <a:pt x="687" y="337"/>
                  <a:pt x="688" y="336"/>
                </a:cubicBezTo>
                <a:cubicBezTo>
                  <a:pt x="688" y="337"/>
                  <a:pt x="687" y="339"/>
                  <a:pt x="687" y="340"/>
                </a:cubicBezTo>
                <a:close/>
                <a:moveTo>
                  <a:pt x="688" y="329"/>
                </a:moveTo>
                <a:cubicBezTo>
                  <a:pt x="688" y="329"/>
                  <a:pt x="688" y="329"/>
                  <a:pt x="688" y="329"/>
                </a:cubicBezTo>
                <a:cubicBezTo>
                  <a:pt x="688" y="329"/>
                  <a:pt x="687" y="330"/>
                  <a:pt x="688" y="329"/>
                </a:cubicBezTo>
                <a:close/>
                <a:moveTo>
                  <a:pt x="688" y="284"/>
                </a:moveTo>
                <a:cubicBezTo>
                  <a:pt x="689" y="283"/>
                  <a:pt x="686" y="286"/>
                  <a:pt x="688" y="284"/>
                </a:cubicBezTo>
                <a:close/>
                <a:moveTo>
                  <a:pt x="693" y="290"/>
                </a:moveTo>
                <a:cubicBezTo>
                  <a:pt x="697" y="288"/>
                  <a:pt x="695" y="297"/>
                  <a:pt x="692" y="296"/>
                </a:cubicBezTo>
                <a:cubicBezTo>
                  <a:pt x="690" y="295"/>
                  <a:pt x="692" y="291"/>
                  <a:pt x="693" y="290"/>
                </a:cubicBezTo>
                <a:close/>
                <a:moveTo>
                  <a:pt x="691" y="285"/>
                </a:moveTo>
                <a:cubicBezTo>
                  <a:pt x="691" y="286"/>
                  <a:pt x="692" y="284"/>
                  <a:pt x="691" y="285"/>
                </a:cubicBezTo>
                <a:close/>
                <a:moveTo>
                  <a:pt x="689" y="285"/>
                </a:moveTo>
                <a:cubicBezTo>
                  <a:pt x="690" y="285"/>
                  <a:pt x="690" y="284"/>
                  <a:pt x="691" y="284"/>
                </a:cubicBezTo>
                <a:cubicBezTo>
                  <a:pt x="693" y="285"/>
                  <a:pt x="688" y="288"/>
                  <a:pt x="689" y="285"/>
                </a:cubicBezTo>
                <a:close/>
                <a:moveTo>
                  <a:pt x="689" y="316"/>
                </a:moveTo>
                <a:cubicBezTo>
                  <a:pt x="690" y="317"/>
                  <a:pt x="688" y="316"/>
                  <a:pt x="689" y="316"/>
                </a:cubicBezTo>
                <a:close/>
                <a:moveTo>
                  <a:pt x="689" y="395"/>
                </a:moveTo>
                <a:cubicBezTo>
                  <a:pt x="689" y="395"/>
                  <a:pt x="689" y="394"/>
                  <a:pt x="689" y="394"/>
                </a:cubicBezTo>
                <a:cubicBezTo>
                  <a:pt x="690" y="394"/>
                  <a:pt x="688" y="397"/>
                  <a:pt x="689" y="395"/>
                </a:cubicBezTo>
                <a:close/>
                <a:moveTo>
                  <a:pt x="690" y="404"/>
                </a:moveTo>
                <a:cubicBezTo>
                  <a:pt x="690" y="403"/>
                  <a:pt x="691" y="404"/>
                  <a:pt x="691" y="404"/>
                </a:cubicBezTo>
                <a:cubicBezTo>
                  <a:pt x="691" y="405"/>
                  <a:pt x="689" y="405"/>
                  <a:pt x="690" y="404"/>
                </a:cubicBezTo>
                <a:close/>
                <a:moveTo>
                  <a:pt x="691" y="343"/>
                </a:moveTo>
                <a:cubicBezTo>
                  <a:pt x="691" y="342"/>
                  <a:pt x="691" y="341"/>
                  <a:pt x="691" y="341"/>
                </a:cubicBezTo>
                <a:cubicBezTo>
                  <a:pt x="692" y="340"/>
                  <a:pt x="692" y="343"/>
                  <a:pt x="691" y="343"/>
                </a:cubicBezTo>
                <a:close/>
                <a:moveTo>
                  <a:pt x="692" y="394"/>
                </a:moveTo>
                <a:cubicBezTo>
                  <a:pt x="691" y="395"/>
                  <a:pt x="693" y="393"/>
                  <a:pt x="692" y="394"/>
                </a:cubicBezTo>
                <a:close/>
                <a:moveTo>
                  <a:pt x="692" y="300"/>
                </a:moveTo>
                <a:cubicBezTo>
                  <a:pt x="690" y="300"/>
                  <a:pt x="691" y="299"/>
                  <a:pt x="692" y="298"/>
                </a:cubicBezTo>
                <a:cubicBezTo>
                  <a:pt x="693" y="297"/>
                  <a:pt x="693" y="300"/>
                  <a:pt x="692" y="300"/>
                </a:cubicBezTo>
                <a:close/>
                <a:moveTo>
                  <a:pt x="694" y="330"/>
                </a:moveTo>
                <a:cubicBezTo>
                  <a:pt x="695" y="329"/>
                  <a:pt x="695" y="332"/>
                  <a:pt x="694" y="331"/>
                </a:cubicBezTo>
                <a:cubicBezTo>
                  <a:pt x="693" y="331"/>
                  <a:pt x="694" y="330"/>
                  <a:pt x="694" y="330"/>
                </a:cubicBezTo>
                <a:close/>
                <a:moveTo>
                  <a:pt x="694" y="454"/>
                </a:moveTo>
                <a:cubicBezTo>
                  <a:pt x="694" y="454"/>
                  <a:pt x="694" y="454"/>
                  <a:pt x="695" y="454"/>
                </a:cubicBezTo>
                <a:cubicBezTo>
                  <a:pt x="696" y="454"/>
                  <a:pt x="693" y="455"/>
                  <a:pt x="694" y="454"/>
                </a:cubicBezTo>
                <a:close/>
                <a:moveTo>
                  <a:pt x="696" y="312"/>
                </a:moveTo>
                <a:cubicBezTo>
                  <a:pt x="694" y="313"/>
                  <a:pt x="694" y="308"/>
                  <a:pt x="695" y="307"/>
                </a:cubicBezTo>
                <a:cubicBezTo>
                  <a:pt x="700" y="304"/>
                  <a:pt x="697" y="312"/>
                  <a:pt x="696" y="312"/>
                </a:cubicBezTo>
                <a:close/>
                <a:moveTo>
                  <a:pt x="699" y="327"/>
                </a:moveTo>
                <a:cubicBezTo>
                  <a:pt x="699" y="327"/>
                  <a:pt x="700" y="326"/>
                  <a:pt x="700" y="326"/>
                </a:cubicBezTo>
                <a:cubicBezTo>
                  <a:pt x="702" y="327"/>
                  <a:pt x="698" y="329"/>
                  <a:pt x="699" y="327"/>
                </a:cubicBezTo>
                <a:close/>
                <a:moveTo>
                  <a:pt x="702" y="431"/>
                </a:moveTo>
                <a:cubicBezTo>
                  <a:pt x="702" y="430"/>
                  <a:pt x="704" y="429"/>
                  <a:pt x="704" y="428"/>
                </a:cubicBezTo>
                <a:cubicBezTo>
                  <a:pt x="704" y="429"/>
                  <a:pt x="704" y="431"/>
                  <a:pt x="702" y="431"/>
                </a:cubicBezTo>
                <a:close/>
                <a:moveTo>
                  <a:pt x="704" y="427"/>
                </a:moveTo>
                <a:cubicBezTo>
                  <a:pt x="705" y="425"/>
                  <a:pt x="705" y="423"/>
                  <a:pt x="706" y="421"/>
                </a:cubicBezTo>
                <a:cubicBezTo>
                  <a:pt x="707" y="422"/>
                  <a:pt x="705" y="426"/>
                  <a:pt x="704" y="427"/>
                </a:cubicBezTo>
                <a:close/>
                <a:moveTo>
                  <a:pt x="706" y="392"/>
                </a:moveTo>
                <a:cubicBezTo>
                  <a:pt x="706" y="393"/>
                  <a:pt x="706" y="393"/>
                  <a:pt x="706" y="392"/>
                </a:cubicBezTo>
                <a:close/>
                <a:moveTo>
                  <a:pt x="709" y="396"/>
                </a:moveTo>
                <a:cubicBezTo>
                  <a:pt x="710" y="397"/>
                  <a:pt x="708" y="397"/>
                  <a:pt x="709" y="396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r>
              <a:rPr lang="en-ID" b="1" dirty="0">
                <a:solidFill>
                  <a:schemeClr val="bg1"/>
                </a:solidFill>
              </a:rPr>
              <a:t>LOREM IPSUM</a:t>
            </a:r>
          </a:p>
        </p:txBody>
      </p:sp>
      <p:sp>
        <p:nvSpPr>
          <p:cNvPr id="24" name="Freeform 97">
            <a:extLst>
              <a:ext uri="{FF2B5EF4-FFF2-40B4-BE49-F238E27FC236}">
                <a16:creationId xmlns="" xmlns:a16="http://schemas.microsoft.com/office/drawing/2014/main" id="{3B793873-6DA9-439E-BC45-ADD3002E30C8}"/>
              </a:ext>
            </a:extLst>
          </p:cNvPr>
          <p:cNvSpPr>
            <a:spLocks noEditPoints="1"/>
          </p:cNvSpPr>
          <p:nvPr/>
        </p:nvSpPr>
        <p:spPr bwMode="auto">
          <a:xfrm>
            <a:off x="3571033" y="1408942"/>
            <a:ext cx="2119312" cy="2119312"/>
          </a:xfrm>
          <a:custGeom>
            <a:avLst/>
            <a:gdLst>
              <a:gd name="T0" fmla="*/ 677 w 714"/>
              <a:gd name="T1" fmla="*/ 212 h 715"/>
              <a:gd name="T2" fmla="*/ 626 w 714"/>
              <a:gd name="T3" fmla="*/ 179 h 715"/>
              <a:gd name="T4" fmla="*/ 573 w 714"/>
              <a:gd name="T5" fmla="*/ 139 h 715"/>
              <a:gd name="T6" fmla="*/ 553 w 714"/>
              <a:gd name="T7" fmla="*/ 94 h 715"/>
              <a:gd name="T8" fmla="*/ 516 w 714"/>
              <a:gd name="T9" fmla="*/ 53 h 715"/>
              <a:gd name="T10" fmla="*/ 421 w 714"/>
              <a:gd name="T11" fmla="*/ 60 h 715"/>
              <a:gd name="T12" fmla="*/ 429 w 714"/>
              <a:gd name="T13" fmla="*/ 26 h 715"/>
              <a:gd name="T14" fmla="*/ 22 w 714"/>
              <a:gd name="T15" fmla="*/ 436 h 715"/>
              <a:gd name="T16" fmla="*/ 39 w 714"/>
              <a:gd name="T17" fmla="*/ 451 h 715"/>
              <a:gd name="T18" fmla="*/ 60 w 714"/>
              <a:gd name="T19" fmla="*/ 465 h 715"/>
              <a:gd name="T20" fmla="*/ 108 w 714"/>
              <a:gd name="T21" fmla="*/ 446 h 715"/>
              <a:gd name="T22" fmla="*/ 102 w 714"/>
              <a:gd name="T23" fmla="*/ 508 h 715"/>
              <a:gd name="T24" fmla="*/ 146 w 714"/>
              <a:gd name="T25" fmla="*/ 552 h 715"/>
              <a:gd name="T26" fmla="*/ 190 w 714"/>
              <a:gd name="T27" fmla="*/ 596 h 715"/>
              <a:gd name="T28" fmla="*/ 214 w 714"/>
              <a:gd name="T29" fmla="*/ 647 h 715"/>
              <a:gd name="T30" fmla="*/ 296 w 714"/>
              <a:gd name="T31" fmla="*/ 709 h 715"/>
              <a:gd name="T32" fmla="*/ 684 w 714"/>
              <a:gd name="T33" fmla="*/ 227 h 715"/>
              <a:gd name="T34" fmla="*/ 434 w 714"/>
              <a:gd name="T35" fmla="*/ 24 h 715"/>
              <a:gd name="T36" fmla="*/ 9 w 714"/>
              <a:gd name="T37" fmla="*/ 371 h 715"/>
              <a:gd name="T38" fmla="*/ 37 w 714"/>
              <a:gd name="T39" fmla="*/ 344 h 715"/>
              <a:gd name="T40" fmla="*/ 45 w 714"/>
              <a:gd name="T41" fmla="*/ 192 h 715"/>
              <a:gd name="T42" fmla="*/ 64 w 714"/>
              <a:gd name="T43" fmla="*/ 419 h 715"/>
              <a:gd name="T44" fmla="*/ 84 w 714"/>
              <a:gd name="T45" fmla="*/ 332 h 715"/>
              <a:gd name="T46" fmla="*/ 87 w 714"/>
              <a:gd name="T47" fmla="*/ 502 h 715"/>
              <a:gd name="T48" fmla="*/ 234 w 714"/>
              <a:gd name="T49" fmla="*/ 679 h 715"/>
              <a:gd name="T50" fmla="*/ 287 w 714"/>
              <a:gd name="T51" fmla="*/ 641 h 715"/>
              <a:gd name="T52" fmla="*/ 303 w 714"/>
              <a:gd name="T53" fmla="*/ 67 h 715"/>
              <a:gd name="T54" fmla="*/ 270 w 714"/>
              <a:gd name="T55" fmla="*/ 571 h 715"/>
              <a:gd name="T56" fmla="*/ 246 w 714"/>
              <a:gd name="T57" fmla="*/ 640 h 715"/>
              <a:gd name="T58" fmla="*/ 249 w 714"/>
              <a:gd name="T59" fmla="*/ 640 h 715"/>
              <a:gd name="T60" fmla="*/ 227 w 714"/>
              <a:gd name="T61" fmla="*/ 527 h 715"/>
              <a:gd name="T62" fmla="*/ 209 w 714"/>
              <a:gd name="T63" fmla="*/ 468 h 715"/>
              <a:gd name="T64" fmla="*/ 178 w 714"/>
              <a:gd name="T65" fmla="*/ 383 h 715"/>
              <a:gd name="T66" fmla="*/ 165 w 714"/>
              <a:gd name="T67" fmla="*/ 345 h 715"/>
              <a:gd name="T68" fmla="*/ 156 w 714"/>
              <a:gd name="T69" fmla="*/ 435 h 715"/>
              <a:gd name="T70" fmla="*/ 132 w 714"/>
              <a:gd name="T71" fmla="*/ 280 h 715"/>
              <a:gd name="T72" fmla="*/ 123 w 714"/>
              <a:gd name="T73" fmla="*/ 474 h 715"/>
              <a:gd name="T74" fmla="*/ 154 w 714"/>
              <a:gd name="T75" fmla="*/ 484 h 715"/>
              <a:gd name="T76" fmla="*/ 189 w 714"/>
              <a:gd name="T77" fmla="*/ 398 h 715"/>
              <a:gd name="T78" fmla="*/ 235 w 714"/>
              <a:gd name="T79" fmla="*/ 592 h 715"/>
              <a:gd name="T80" fmla="*/ 277 w 714"/>
              <a:gd name="T81" fmla="*/ 700 h 715"/>
              <a:gd name="T82" fmla="*/ 335 w 714"/>
              <a:gd name="T83" fmla="*/ 131 h 715"/>
              <a:gd name="T84" fmla="*/ 522 w 714"/>
              <a:gd name="T85" fmla="*/ 181 h 715"/>
              <a:gd name="T86" fmla="*/ 480 w 714"/>
              <a:gd name="T87" fmla="*/ 95 h 715"/>
              <a:gd name="T88" fmla="*/ 502 w 714"/>
              <a:gd name="T89" fmla="*/ 132 h 715"/>
              <a:gd name="T90" fmla="*/ 509 w 714"/>
              <a:gd name="T91" fmla="*/ 36 h 715"/>
              <a:gd name="T92" fmla="*/ 462 w 714"/>
              <a:gd name="T93" fmla="*/ 49 h 715"/>
              <a:gd name="T94" fmla="*/ 406 w 714"/>
              <a:gd name="T95" fmla="*/ 125 h 715"/>
              <a:gd name="T96" fmla="*/ 372 w 714"/>
              <a:gd name="T97" fmla="*/ 610 h 715"/>
              <a:gd name="T98" fmla="*/ 398 w 714"/>
              <a:gd name="T99" fmla="*/ 679 h 715"/>
              <a:gd name="T100" fmla="*/ 454 w 714"/>
              <a:gd name="T101" fmla="*/ 644 h 715"/>
              <a:gd name="T102" fmla="*/ 469 w 714"/>
              <a:gd name="T103" fmla="*/ 168 h 715"/>
              <a:gd name="T104" fmla="*/ 522 w 714"/>
              <a:gd name="T105" fmla="*/ 285 h 715"/>
              <a:gd name="T106" fmla="*/ 585 w 714"/>
              <a:gd name="T107" fmla="*/ 213 h 715"/>
              <a:gd name="T108" fmla="*/ 544 w 714"/>
              <a:gd name="T109" fmla="*/ 168 h 715"/>
              <a:gd name="T110" fmla="*/ 573 w 714"/>
              <a:gd name="T111" fmla="*/ 236 h 715"/>
              <a:gd name="T112" fmla="*/ 595 w 714"/>
              <a:gd name="T113" fmla="*/ 470 h 715"/>
              <a:gd name="T114" fmla="*/ 651 w 714"/>
              <a:gd name="T115" fmla="*/ 272 h 715"/>
              <a:gd name="T116" fmla="*/ 630 w 714"/>
              <a:gd name="T117" fmla="*/ 261 h 715"/>
              <a:gd name="T118" fmla="*/ 615 w 714"/>
              <a:gd name="T119" fmla="*/ 194 h 715"/>
              <a:gd name="T120" fmla="*/ 625 w 714"/>
              <a:gd name="T121" fmla="*/ 381 h 715"/>
              <a:gd name="T122" fmla="*/ 658 w 714"/>
              <a:gd name="T123" fmla="*/ 277 h 715"/>
              <a:gd name="T124" fmla="*/ 686 w 714"/>
              <a:gd name="T125" fmla="*/ 342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14" h="715">
                <a:moveTo>
                  <a:pt x="710" y="304"/>
                </a:moveTo>
                <a:cubicBezTo>
                  <a:pt x="710" y="305"/>
                  <a:pt x="710" y="305"/>
                  <a:pt x="709" y="305"/>
                </a:cubicBezTo>
                <a:cubicBezTo>
                  <a:pt x="709" y="304"/>
                  <a:pt x="710" y="303"/>
                  <a:pt x="710" y="303"/>
                </a:cubicBezTo>
                <a:cubicBezTo>
                  <a:pt x="710" y="303"/>
                  <a:pt x="710" y="303"/>
                  <a:pt x="710" y="303"/>
                </a:cubicBezTo>
                <a:cubicBezTo>
                  <a:pt x="709" y="297"/>
                  <a:pt x="708" y="292"/>
                  <a:pt x="707" y="286"/>
                </a:cubicBezTo>
                <a:cubicBezTo>
                  <a:pt x="707" y="287"/>
                  <a:pt x="707" y="288"/>
                  <a:pt x="706" y="290"/>
                </a:cubicBezTo>
                <a:cubicBezTo>
                  <a:pt x="706" y="289"/>
                  <a:pt x="707" y="289"/>
                  <a:pt x="707" y="289"/>
                </a:cubicBezTo>
                <a:cubicBezTo>
                  <a:pt x="707" y="290"/>
                  <a:pt x="706" y="290"/>
                  <a:pt x="706" y="290"/>
                </a:cubicBezTo>
                <a:cubicBezTo>
                  <a:pt x="706" y="292"/>
                  <a:pt x="706" y="294"/>
                  <a:pt x="705" y="295"/>
                </a:cubicBezTo>
                <a:cubicBezTo>
                  <a:pt x="703" y="298"/>
                  <a:pt x="703" y="301"/>
                  <a:pt x="703" y="301"/>
                </a:cubicBezTo>
                <a:cubicBezTo>
                  <a:pt x="702" y="302"/>
                  <a:pt x="700" y="300"/>
                  <a:pt x="699" y="300"/>
                </a:cubicBezTo>
                <a:cubicBezTo>
                  <a:pt x="697" y="301"/>
                  <a:pt x="697" y="303"/>
                  <a:pt x="696" y="300"/>
                </a:cubicBezTo>
                <a:cubicBezTo>
                  <a:pt x="696" y="299"/>
                  <a:pt x="696" y="301"/>
                  <a:pt x="695" y="298"/>
                </a:cubicBezTo>
                <a:cubicBezTo>
                  <a:pt x="695" y="297"/>
                  <a:pt x="697" y="291"/>
                  <a:pt x="700" y="292"/>
                </a:cubicBezTo>
                <a:cubicBezTo>
                  <a:pt x="701" y="293"/>
                  <a:pt x="702" y="295"/>
                  <a:pt x="703" y="292"/>
                </a:cubicBezTo>
                <a:cubicBezTo>
                  <a:pt x="703" y="291"/>
                  <a:pt x="703" y="290"/>
                  <a:pt x="703" y="289"/>
                </a:cubicBezTo>
                <a:cubicBezTo>
                  <a:pt x="703" y="287"/>
                  <a:pt x="705" y="284"/>
                  <a:pt x="706" y="282"/>
                </a:cubicBezTo>
                <a:cubicBezTo>
                  <a:pt x="705" y="276"/>
                  <a:pt x="704" y="270"/>
                  <a:pt x="702" y="264"/>
                </a:cubicBezTo>
                <a:cubicBezTo>
                  <a:pt x="701" y="268"/>
                  <a:pt x="695" y="273"/>
                  <a:pt x="691" y="270"/>
                </a:cubicBezTo>
                <a:cubicBezTo>
                  <a:pt x="691" y="271"/>
                  <a:pt x="691" y="270"/>
                  <a:pt x="690" y="270"/>
                </a:cubicBezTo>
                <a:cubicBezTo>
                  <a:pt x="690" y="270"/>
                  <a:pt x="690" y="270"/>
                  <a:pt x="690" y="270"/>
                </a:cubicBezTo>
                <a:cubicBezTo>
                  <a:pt x="690" y="271"/>
                  <a:pt x="690" y="270"/>
                  <a:pt x="690" y="270"/>
                </a:cubicBezTo>
                <a:cubicBezTo>
                  <a:pt x="690" y="270"/>
                  <a:pt x="690" y="270"/>
                  <a:pt x="690" y="269"/>
                </a:cubicBezTo>
                <a:cubicBezTo>
                  <a:pt x="689" y="270"/>
                  <a:pt x="688" y="271"/>
                  <a:pt x="688" y="271"/>
                </a:cubicBezTo>
                <a:cubicBezTo>
                  <a:pt x="686" y="270"/>
                  <a:pt x="686" y="273"/>
                  <a:pt x="685" y="274"/>
                </a:cubicBezTo>
                <a:cubicBezTo>
                  <a:pt x="684" y="274"/>
                  <a:pt x="682" y="273"/>
                  <a:pt x="682" y="275"/>
                </a:cubicBezTo>
                <a:cubicBezTo>
                  <a:pt x="681" y="270"/>
                  <a:pt x="674" y="279"/>
                  <a:pt x="674" y="281"/>
                </a:cubicBezTo>
                <a:cubicBezTo>
                  <a:pt x="675" y="280"/>
                  <a:pt x="681" y="280"/>
                  <a:pt x="680" y="280"/>
                </a:cubicBezTo>
                <a:cubicBezTo>
                  <a:pt x="680" y="280"/>
                  <a:pt x="681" y="280"/>
                  <a:pt x="681" y="280"/>
                </a:cubicBezTo>
                <a:cubicBezTo>
                  <a:pt x="681" y="280"/>
                  <a:pt x="681" y="280"/>
                  <a:pt x="681" y="280"/>
                </a:cubicBezTo>
                <a:cubicBezTo>
                  <a:pt x="681" y="279"/>
                  <a:pt x="682" y="278"/>
                  <a:pt x="682" y="279"/>
                </a:cubicBezTo>
                <a:cubicBezTo>
                  <a:pt x="684" y="280"/>
                  <a:pt x="681" y="280"/>
                  <a:pt x="681" y="281"/>
                </a:cubicBezTo>
                <a:cubicBezTo>
                  <a:pt x="681" y="282"/>
                  <a:pt x="681" y="282"/>
                  <a:pt x="681" y="282"/>
                </a:cubicBezTo>
                <a:cubicBezTo>
                  <a:pt x="682" y="282"/>
                  <a:pt x="683" y="282"/>
                  <a:pt x="683" y="284"/>
                </a:cubicBezTo>
                <a:cubicBezTo>
                  <a:pt x="683" y="284"/>
                  <a:pt x="683" y="284"/>
                  <a:pt x="683" y="284"/>
                </a:cubicBezTo>
                <a:cubicBezTo>
                  <a:pt x="683" y="284"/>
                  <a:pt x="684" y="285"/>
                  <a:pt x="684" y="286"/>
                </a:cubicBezTo>
                <a:cubicBezTo>
                  <a:pt x="684" y="286"/>
                  <a:pt x="681" y="289"/>
                  <a:pt x="681" y="290"/>
                </a:cubicBezTo>
                <a:cubicBezTo>
                  <a:pt x="680" y="290"/>
                  <a:pt x="679" y="295"/>
                  <a:pt x="678" y="295"/>
                </a:cubicBezTo>
                <a:cubicBezTo>
                  <a:pt x="676" y="295"/>
                  <a:pt x="679" y="293"/>
                  <a:pt x="677" y="292"/>
                </a:cubicBezTo>
                <a:cubicBezTo>
                  <a:pt x="677" y="291"/>
                  <a:pt x="675" y="293"/>
                  <a:pt x="674" y="293"/>
                </a:cubicBezTo>
                <a:cubicBezTo>
                  <a:pt x="673" y="292"/>
                  <a:pt x="674" y="291"/>
                  <a:pt x="673" y="290"/>
                </a:cubicBezTo>
                <a:cubicBezTo>
                  <a:pt x="673" y="290"/>
                  <a:pt x="671" y="292"/>
                  <a:pt x="670" y="290"/>
                </a:cubicBezTo>
                <a:cubicBezTo>
                  <a:pt x="669" y="288"/>
                  <a:pt x="672" y="289"/>
                  <a:pt x="672" y="288"/>
                </a:cubicBezTo>
                <a:cubicBezTo>
                  <a:pt x="672" y="287"/>
                  <a:pt x="671" y="287"/>
                  <a:pt x="671" y="287"/>
                </a:cubicBezTo>
                <a:cubicBezTo>
                  <a:pt x="671" y="286"/>
                  <a:pt x="672" y="285"/>
                  <a:pt x="672" y="283"/>
                </a:cubicBezTo>
                <a:cubicBezTo>
                  <a:pt x="672" y="283"/>
                  <a:pt x="672" y="282"/>
                  <a:pt x="672" y="282"/>
                </a:cubicBezTo>
                <a:cubicBezTo>
                  <a:pt x="673" y="279"/>
                  <a:pt x="678" y="276"/>
                  <a:pt x="677" y="271"/>
                </a:cubicBezTo>
                <a:cubicBezTo>
                  <a:pt x="676" y="270"/>
                  <a:pt x="675" y="271"/>
                  <a:pt x="674" y="272"/>
                </a:cubicBezTo>
                <a:cubicBezTo>
                  <a:pt x="675" y="269"/>
                  <a:pt x="676" y="260"/>
                  <a:pt x="681" y="259"/>
                </a:cubicBezTo>
                <a:cubicBezTo>
                  <a:pt x="681" y="259"/>
                  <a:pt x="684" y="259"/>
                  <a:pt x="685" y="259"/>
                </a:cubicBezTo>
                <a:cubicBezTo>
                  <a:pt x="685" y="259"/>
                  <a:pt x="686" y="260"/>
                  <a:pt x="687" y="261"/>
                </a:cubicBezTo>
                <a:cubicBezTo>
                  <a:pt x="687" y="261"/>
                  <a:pt x="687" y="261"/>
                  <a:pt x="688" y="261"/>
                </a:cubicBezTo>
                <a:cubicBezTo>
                  <a:pt x="688" y="261"/>
                  <a:pt x="688" y="261"/>
                  <a:pt x="688" y="261"/>
                </a:cubicBezTo>
                <a:cubicBezTo>
                  <a:pt x="688" y="262"/>
                  <a:pt x="688" y="262"/>
                  <a:pt x="689" y="262"/>
                </a:cubicBezTo>
                <a:cubicBezTo>
                  <a:pt x="690" y="261"/>
                  <a:pt x="691" y="259"/>
                  <a:pt x="692" y="258"/>
                </a:cubicBezTo>
                <a:cubicBezTo>
                  <a:pt x="691" y="257"/>
                  <a:pt x="690" y="258"/>
                  <a:pt x="689" y="259"/>
                </a:cubicBezTo>
                <a:cubicBezTo>
                  <a:pt x="689" y="258"/>
                  <a:pt x="689" y="258"/>
                  <a:pt x="689" y="258"/>
                </a:cubicBezTo>
                <a:cubicBezTo>
                  <a:pt x="688" y="258"/>
                  <a:pt x="687" y="258"/>
                  <a:pt x="687" y="257"/>
                </a:cubicBezTo>
                <a:cubicBezTo>
                  <a:pt x="686" y="256"/>
                  <a:pt x="688" y="256"/>
                  <a:pt x="688" y="256"/>
                </a:cubicBezTo>
                <a:cubicBezTo>
                  <a:pt x="689" y="254"/>
                  <a:pt x="687" y="255"/>
                  <a:pt x="688" y="253"/>
                </a:cubicBezTo>
                <a:cubicBezTo>
                  <a:pt x="689" y="252"/>
                  <a:pt x="692" y="252"/>
                  <a:pt x="692" y="251"/>
                </a:cubicBezTo>
                <a:cubicBezTo>
                  <a:pt x="692" y="251"/>
                  <a:pt x="692" y="250"/>
                  <a:pt x="692" y="250"/>
                </a:cubicBezTo>
                <a:cubicBezTo>
                  <a:pt x="692" y="250"/>
                  <a:pt x="691" y="249"/>
                  <a:pt x="691" y="249"/>
                </a:cubicBezTo>
                <a:cubicBezTo>
                  <a:pt x="691" y="249"/>
                  <a:pt x="692" y="247"/>
                  <a:pt x="691" y="246"/>
                </a:cubicBezTo>
                <a:cubicBezTo>
                  <a:pt x="690" y="245"/>
                  <a:pt x="690" y="246"/>
                  <a:pt x="690" y="246"/>
                </a:cubicBezTo>
                <a:cubicBezTo>
                  <a:pt x="689" y="246"/>
                  <a:pt x="688" y="242"/>
                  <a:pt x="688" y="242"/>
                </a:cubicBezTo>
                <a:cubicBezTo>
                  <a:pt x="689" y="240"/>
                  <a:pt x="691" y="242"/>
                  <a:pt x="693" y="241"/>
                </a:cubicBezTo>
                <a:cubicBezTo>
                  <a:pt x="692" y="241"/>
                  <a:pt x="693" y="239"/>
                  <a:pt x="694" y="239"/>
                </a:cubicBezTo>
                <a:cubicBezTo>
                  <a:pt x="693" y="235"/>
                  <a:pt x="691" y="231"/>
                  <a:pt x="690" y="227"/>
                </a:cubicBezTo>
                <a:cubicBezTo>
                  <a:pt x="690" y="227"/>
                  <a:pt x="689" y="227"/>
                  <a:pt x="689" y="227"/>
                </a:cubicBezTo>
                <a:cubicBezTo>
                  <a:pt x="688" y="227"/>
                  <a:pt x="689" y="225"/>
                  <a:pt x="688" y="224"/>
                </a:cubicBezTo>
                <a:cubicBezTo>
                  <a:pt x="688" y="223"/>
                  <a:pt x="688" y="223"/>
                  <a:pt x="688" y="223"/>
                </a:cubicBezTo>
                <a:cubicBezTo>
                  <a:pt x="688" y="222"/>
                  <a:pt x="688" y="222"/>
                  <a:pt x="688" y="221"/>
                </a:cubicBezTo>
                <a:cubicBezTo>
                  <a:pt x="685" y="222"/>
                  <a:pt x="682" y="222"/>
                  <a:pt x="681" y="222"/>
                </a:cubicBezTo>
                <a:cubicBezTo>
                  <a:pt x="679" y="222"/>
                  <a:pt x="680" y="219"/>
                  <a:pt x="678" y="220"/>
                </a:cubicBezTo>
                <a:cubicBezTo>
                  <a:pt x="680" y="218"/>
                  <a:pt x="676" y="218"/>
                  <a:pt x="676" y="216"/>
                </a:cubicBezTo>
                <a:cubicBezTo>
                  <a:pt x="675" y="215"/>
                  <a:pt x="677" y="215"/>
                  <a:pt x="677" y="215"/>
                </a:cubicBezTo>
                <a:cubicBezTo>
                  <a:pt x="678" y="214"/>
                  <a:pt x="676" y="213"/>
                  <a:pt x="677" y="212"/>
                </a:cubicBezTo>
                <a:cubicBezTo>
                  <a:pt x="677" y="212"/>
                  <a:pt x="677" y="212"/>
                  <a:pt x="677" y="212"/>
                </a:cubicBezTo>
                <a:cubicBezTo>
                  <a:pt x="676" y="212"/>
                  <a:pt x="675" y="210"/>
                  <a:pt x="675" y="209"/>
                </a:cubicBezTo>
                <a:cubicBezTo>
                  <a:pt x="674" y="209"/>
                  <a:pt x="674" y="209"/>
                  <a:pt x="673" y="209"/>
                </a:cubicBezTo>
                <a:cubicBezTo>
                  <a:pt x="674" y="210"/>
                  <a:pt x="674" y="210"/>
                  <a:pt x="674" y="211"/>
                </a:cubicBezTo>
                <a:cubicBezTo>
                  <a:pt x="674" y="212"/>
                  <a:pt x="674" y="212"/>
                  <a:pt x="673" y="213"/>
                </a:cubicBezTo>
                <a:cubicBezTo>
                  <a:pt x="673" y="214"/>
                  <a:pt x="673" y="214"/>
                  <a:pt x="673" y="215"/>
                </a:cubicBezTo>
                <a:cubicBezTo>
                  <a:pt x="673" y="215"/>
                  <a:pt x="673" y="215"/>
                  <a:pt x="673" y="215"/>
                </a:cubicBezTo>
                <a:cubicBezTo>
                  <a:pt x="673" y="215"/>
                  <a:pt x="672" y="216"/>
                  <a:pt x="672" y="216"/>
                </a:cubicBezTo>
                <a:cubicBezTo>
                  <a:pt x="671" y="217"/>
                  <a:pt x="669" y="218"/>
                  <a:pt x="669" y="220"/>
                </a:cubicBezTo>
                <a:cubicBezTo>
                  <a:pt x="670" y="217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7" y="219"/>
                </a:cubicBezTo>
                <a:cubicBezTo>
                  <a:pt x="668" y="220"/>
                  <a:pt x="668" y="224"/>
                  <a:pt x="667" y="225"/>
                </a:cubicBezTo>
                <a:cubicBezTo>
                  <a:pt x="667" y="225"/>
                  <a:pt x="667" y="224"/>
                  <a:pt x="666" y="224"/>
                </a:cubicBezTo>
                <a:cubicBezTo>
                  <a:pt x="665" y="225"/>
                  <a:pt x="663" y="228"/>
                  <a:pt x="660" y="228"/>
                </a:cubicBezTo>
                <a:cubicBezTo>
                  <a:pt x="661" y="226"/>
                  <a:pt x="663" y="226"/>
                  <a:pt x="663" y="225"/>
                </a:cubicBezTo>
                <a:cubicBezTo>
                  <a:pt x="663" y="224"/>
                  <a:pt x="662" y="225"/>
                  <a:pt x="661" y="224"/>
                </a:cubicBezTo>
                <a:cubicBezTo>
                  <a:pt x="660" y="223"/>
                  <a:pt x="662" y="219"/>
                  <a:pt x="665" y="218"/>
                </a:cubicBezTo>
                <a:cubicBezTo>
                  <a:pt x="665" y="217"/>
                  <a:pt x="665" y="216"/>
                  <a:pt x="665" y="216"/>
                </a:cubicBezTo>
                <a:cubicBezTo>
                  <a:pt x="665" y="215"/>
                  <a:pt x="664" y="215"/>
                  <a:pt x="664" y="215"/>
                </a:cubicBezTo>
                <a:cubicBezTo>
                  <a:pt x="663" y="217"/>
                  <a:pt x="661" y="218"/>
                  <a:pt x="660" y="220"/>
                </a:cubicBezTo>
                <a:cubicBezTo>
                  <a:pt x="660" y="221"/>
                  <a:pt x="661" y="222"/>
                  <a:pt x="660" y="223"/>
                </a:cubicBezTo>
                <a:cubicBezTo>
                  <a:pt x="660" y="223"/>
                  <a:pt x="659" y="224"/>
                  <a:pt x="659" y="225"/>
                </a:cubicBezTo>
                <a:cubicBezTo>
                  <a:pt x="659" y="226"/>
                  <a:pt x="661" y="225"/>
                  <a:pt x="660" y="226"/>
                </a:cubicBezTo>
                <a:cubicBezTo>
                  <a:pt x="660" y="227"/>
                  <a:pt x="659" y="228"/>
                  <a:pt x="659" y="227"/>
                </a:cubicBezTo>
                <a:cubicBezTo>
                  <a:pt x="658" y="227"/>
                  <a:pt x="658" y="225"/>
                  <a:pt x="657" y="224"/>
                </a:cubicBezTo>
                <a:cubicBezTo>
                  <a:pt x="657" y="223"/>
                  <a:pt x="656" y="224"/>
                  <a:pt x="655" y="223"/>
                </a:cubicBezTo>
                <a:cubicBezTo>
                  <a:pt x="653" y="223"/>
                  <a:pt x="653" y="221"/>
                  <a:pt x="650" y="224"/>
                </a:cubicBezTo>
                <a:cubicBezTo>
                  <a:pt x="653" y="220"/>
                  <a:pt x="649" y="222"/>
                  <a:pt x="648" y="221"/>
                </a:cubicBezTo>
                <a:cubicBezTo>
                  <a:pt x="648" y="222"/>
                  <a:pt x="647" y="215"/>
                  <a:pt x="647" y="215"/>
                </a:cubicBezTo>
                <a:cubicBezTo>
                  <a:pt x="647" y="214"/>
                  <a:pt x="648" y="211"/>
                  <a:pt x="648" y="209"/>
                </a:cubicBezTo>
                <a:cubicBezTo>
                  <a:pt x="648" y="210"/>
                  <a:pt x="648" y="210"/>
                  <a:pt x="647" y="210"/>
                </a:cubicBezTo>
                <a:cubicBezTo>
                  <a:pt x="647" y="210"/>
                  <a:pt x="647" y="209"/>
                  <a:pt x="648" y="208"/>
                </a:cubicBezTo>
                <a:cubicBezTo>
                  <a:pt x="648" y="208"/>
                  <a:pt x="648" y="208"/>
                  <a:pt x="648" y="208"/>
                </a:cubicBezTo>
                <a:cubicBezTo>
                  <a:pt x="647" y="208"/>
                  <a:pt x="647" y="209"/>
                  <a:pt x="647" y="209"/>
                </a:cubicBezTo>
                <a:cubicBezTo>
                  <a:pt x="647" y="209"/>
                  <a:pt x="647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4" y="211"/>
                  <a:pt x="639" y="212"/>
                  <a:pt x="635" y="212"/>
                </a:cubicBezTo>
                <a:cubicBezTo>
                  <a:pt x="635" y="213"/>
                  <a:pt x="635" y="214"/>
                  <a:pt x="635" y="214"/>
                </a:cubicBezTo>
                <a:cubicBezTo>
                  <a:pt x="634" y="214"/>
                  <a:pt x="634" y="213"/>
                  <a:pt x="634" y="212"/>
                </a:cubicBezTo>
                <a:cubicBezTo>
                  <a:pt x="633" y="212"/>
                  <a:pt x="633" y="212"/>
                  <a:pt x="633" y="212"/>
                </a:cubicBezTo>
                <a:cubicBezTo>
                  <a:pt x="633" y="211"/>
                  <a:pt x="633" y="210"/>
                  <a:pt x="635" y="210"/>
                </a:cubicBezTo>
                <a:cubicBezTo>
                  <a:pt x="634" y="210"/>
                  <a:pt x="634" y="209"/>
                  <a:pt x="634" y="209"/>
                </a:cubicBezTo>
                <a:cubicBezTo>
                  <a:pt x="633" y="208"/>
                  <a:pt x="634" y="207"/>
                  <a:pt x="635" y="206"/>
                </a:cubicBezTo>
                <a:cubicBezTo>
                  <a:pt x="634" y="205"/>
                  <a:pt x="634" y="204"/>
                  <a:pt x="635" y="203"/>
                </a:cubicBezTo>
                <a:cubicBezTo>
                  <a:pt x="636" y="203"/>
                  <a:pt x="636" y="203"/>
                  <a:pt x="637" y="203"/>
                </a:cubicBezTo>
                <a:cubicBezTo>
                  <a:pt x="637" y="202"/>
                  <a:pt x="636" y="202"/>
                  <a:pt x="635" y="203"/>
                </a:cubicBezTo>
                <a:cubicBezTo>
                  <a:pt x="634" y="203"/>
                  <a:pt x="632" y="206"/>
                  <a:pt x="632" y="206"/>
                </a:cubicBezTo>
                <a:cubicBezTo>
                  <a:pt x="632" y="207"/>
                  <a:pt x="632" y="207"/>
                  <a:pt x="633" y="207"/>
                </a:cubicBezTo>
                <a:cubicBezTo>
                  <a:pt x="629" y="209"/>
                  <a:pt x="629" y="201"/>
                  <a:pt x="631" y="201"/>
                </a:cubicBezTo>
                <a:cubicBezTo>
                  <a:pt x="631" y="201"/>
                  <a:pt x="632" y="203"/>
                  <a:pt x="632" y="203"/>
                </a:cubicBezTo>
                <a:cubicBezTo>
                  <a:pt x="633" y="203"/>
                  <a:pt x="636" y="199"/>
                  <a:pt x="638" y="198"/>
                </a:cubicBezTo>
                <a:cubicBezTo>
                  <a:pt x="638" y="198"/>
                  <a:pt x="638" y="197"/>
                  <a:pt x="639" y="197"/>
                </a:cubicBezTo>
                <a:cubicBezTo>
                  <a:pt x="639" y="196"/>
                  <a:pt x="637" y="195"/>
                  <a:pt x="637" y="194"/>
                </a:cubicBezTo>
                <a:cubicBezTo>
                  <a:pt x="637" y="193"/>
                  <a:pt x="639" y="193"/>
                  <a:pt x="639" y="193"/>
                </a:cubicBezTo>
                <a:cubicBezTo>
                  <a:pt x="639" y="192"/>
                  <a:pt x="640" y="189"/>
                  <a:pt x="639" y="189"/>
                </a:cubicBezTo>
                <a:cubicBezTo>
                  <a:pt x="639" y="188"/>
                  <a:pt x="637" y="189"/>
                  <a:pt x="638" y="190"/>
                </a:cubicBezTo>
                <a:cubicBezTo>
                  <a:pt x="638" y="190"/>
                  <a:pt x="636" y="188"/>
                  <a:pt x="637" y="187"/>
                </a:cubicBezTo>
                <a:cubicBezTo>
                  <a:pt x="637" y="187"/>
                  <a:pt x="637" y="187"/>
                  <a:pt x="637" y="187"/>
                </a:cubicBezTo>
                <a:cubicBezTo>
                  <a:pt x="637" y="186"/>
                  <a:pt x="637" y="186"/>
                  <a:pt x="636" y="186"/>
                </a:cubicBezTo>
                <a:cubicBezTo>
                  <a:pt x="636" y="187"/>
                  <a:pt x="636" y="188"/>
                  <a:pt x="636" y="188"/>
                </a:cubicBezTo>
                <a:cubicBezTo>
                  <a:pt x="636" y="188"/>
                  <a:pt x="636" y="188"/>
                  <a:pt x="637" y="188"/>
                </a:cubicBezTo>
                <a:cubicBezTo>
                  <a:pt x="637" y="189"/>
                  <a:pt x="637" y="189"/>
                  <a:pt x="636" y="189"/>
                </a:cubicBezTo>
                <a:cubicBezTo>
                  <a:pt x="637" y="190"/>
                  <a:pt x="636" y="191"/>
                  <a:pt x="635" y="190"/>
                </a:cubicBezTo>
                <a:cubicBezTo>
                  <a:pt x="635" y="190"/>
                  <a:pt x="635" y="190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4" y="190"/>
                  <a:pt x="633" y="190"/>
                  <a:pt x="632" y="189"/>
                </a:cubicBezTo>
                <a:cubicBezTo>
                  <a:pt x="631" y="188"/>
                  <a:pt x="631" y="186"/>
                  <a:pt x="632" y="185"/>
                </a:cubicBezTo>
                <a:cubicBezTo>
                  <a:pt x="632" y="185"/>
                  <a:pt x="632" y="185"/>
                  <a:pt x="631" y="185"/>
                </a:cubicBezTo>
                <a:cubicBezTo>
                  <a:pt x="630" y="186"/>
                  <a:pt x="632" y="185"/>
                  <a:pt x="631" y="184"/>
                </a:cubicBezTo>
                <a:cubicBezTo>
                  <a:pt x="630" y="184"/>
                  <a:pt x="630" y="185"/>
                  <a:pt x="630" y="185"/>
                </a:cubicBezTo>
                <a:cubicBezTo>
                  <a:pt x="629" y="185"/>
                  <a:pt x="630" y="185"/>
                  <a:pt x="630" y="185"/>
                </a:cubicBezTo>
                <a:cubicBezTo>
                  <a:pt x="629" y="185"/>
                  <a:pt x="629" y="186"/>
                  <a:pt x="628" y="185"/>
                </a:cubicBezTo>
                <a:cubicBezTo>
                  <a:pt x="625" y="185"/>
                  <a:pt x="628" y="181"/>
                  <a:pt x="626" y="179"/>
                </a:cubicBezTo>
                <a:cubicBezTo>
                  <a:pt x="625" y="180"/>
                  <a:pt x="624" y="180"/>
                  <a:pt x="624" y="180"/>
                </a:cubicBezTo>
                <a:cubicBezTo>
                  <a:pt x="623" y="181"/>
                  <a:pt x="623" y="182"/>
                  <a:pt x="623" y="183"/>
                </a:cubicBezTo>
                <a:cubicBezTo>
                  <a:pt x="624" y="184"/>
                  <a:pt x="625" y="185"/>
                  <a:pt x="624" y="186"/>
                </a:cubicBezTo>
                <a:cubicBezTo>
                  <a:pt x="624" y="191"/>
                  <a:pt x="618" y="190"/>
                  <a:pt x="617" y="188"/>
                </a:cubicBezTo>
                <a:cubicBezTo>
                  <a:pt x="616" y="188"/>
                  <a:pt x="615" y="188"/>
                  <a:pt x="615" y="189"/>
                </a:cubicBezTo>
                <a:cubicBezTo>
                  <a:pt x="615" y="189"/>
                  <a:pt x="616" y="188"/>
                  <a:pt x="615" y="188"/>
                </a:cubicBezTo>
                <a:cubicBezTo>
                  <a:pt x="614" y="189"/>
                  <a:pt x="612" y="190"/>
                  <a:pt x="610" y="190"/>
                </a:cubicBezTo>
                <a:cubicBezTo>
                  <a:pt x="609" y="191"/>
                  <a:pt x="607" y="191"/>
                  <a:pt x="607" y="191"/>
                </a:cubicBezTo>
                <a:cubicBezTo>
                  <a:pt x="607" y="190"/>
                  <a:pt x="608" y="190"/>
                  <a:pt x="609" y="189"/>
                </a:cubicBezTo>
                <a:cubicBezTo>
                  <a:pt x="609" y="189"/>
                  <a:pt x="608" y="189"/>
                  <a:pt x="608" y="189"/>
                </a:cubicBezTo>
                <a:cubicBezTo>
                  <a:pt x="608" y="188"/>
                  <a:pt x="607" y="187"/>
                  <a:pt x="607" y="186"/>
                </a:cubicBezTo>
                <a:cubicBezTo>
                  <a:pt x="606" y="186"/>
                  <a:pt x="604" y="186"/>
                  <a:pt x="605" y="183"/>
                </a:cubicBezTo>
                <a:cubicBezTo>
                  <a:pt x="606" y="181"/>
                  <a:pt x="605" y="180"/>
                  <a:pt x="605" y="179"/>
                </a:cubicBezTo>
                <a:cubicBezTo>
                  <a:pt x="605" y="179"/>
                  <a:pt x="606" y="178"/>
                  <a:pt x="605" y="177"/>
                </a:cubicBezTo>
                <a:cubicBezTo>
                  <a:pt x="604" y="179"/>
                  <a:pt x="603" y="181"/>
                  <a:pt x="601" y="183"/>
                </a:cubicBezTo>
                <a:cubicBezTo>
                  <a:pt x="604" y="184"/>
                  <a:pt x="606" y="186"/>
                  <a:pt x="602" y="189"/>
                </a:cubicBezTo>
                <a:cubicBezTo>
                  <a:pt x="602" y="189"/>
                  <a:pt x="601" y="189"/>
                  <a:pt x="600" y="190"/>
                </a:cubicBezTo>
                <a:cubicBezTo>
                  <a:pt x="602" y="190"/>
                  <a:pt x="602" y="194"/>
                  <a:pt x="599" y="193"/>
                </a:cubicBezTo>
                <a:cubicBezTo>
                  <a:pt x="598" y="192"/>
                  <a:pt x="599" y="191"/>
                  <a:pt x="599" y="191"/>
                </a:cubicBezTo>
                <a:cubicBezTo>
                  <a:pt x="600" y="190"/>
                  <a:pt x="600" y="190"/>
                  <a:pt x="600" y="190"/>
                </a:cubicBezTo>
                <a:cubicBezTo>
                  <a:pt x="598" y="190"/>
                  <a:pt x="596" y="191"/>
                  <a:pt x="595" y="192"/>
                </a:cubicBezTo>
                <a:cubicBezTo>
                  <a:pt x="593" y="194"/>
                  <a:pt x="594" y="195"/>
                  <a:pt x="592" y="194"/>
                </a:cubicBezTo>
                <a:cubicBezTo>
                  <a:pt x="592" y="193"/>
                  <a:pt x="591" y="192"/>
                  <a:pt x="590" y="193"/>
                </a:cubicBezTo>
                <a:cubicBezTo>
                  <a:pt x="590" y="193"/>
                  <a:pt x="587" y="198"/>
                  <a:pt x="587" y="195"/>
                </a:cubicBezTo>
                <a:cubicBezTo>
                  <a:pt x="587" y="194"/>
                  <a:pt x="588" y="194"/>
                  <a:pt x="588" y="194"/>
                </a:cubicBezTo>
                <a:cubicBezTo>
                  <a:pt x="587" y="193"/>
                  <a:pt x="584" y="194"/>
                  <a:pt x="583" y="193"/>
                </a:cubicBezTo>
                <a:cubicBezTo>
                  <a:pt x="583" y="192"/>
                  <a:pt x="587" y="190"/>
                  <a:pt x="584" y="189"/>
                </a:cubicBezTo>
                <a:cubicBezTo>
                  <a:pt x="583" y="188"/>
                  <a:pt x="583" y="188"/>
                  <a:pt x="583" y="188"/>
                </a:cubicBezTo>
                <a:cubicBezTo>
                  <a:pt x="583" y="188"/>
                  <a:pt x="583" y="188"/>
                  <a:pt x="583" y="187"/>
                </a:cubicBezTo>
                <a:cubicBezTo>
                  <a:pt x="584" y="186"/>
                  <a:pt x="584" y="185"/>
                  <a:pt x="583" y="185"/>
                </a:cubicBezTo>
                <a:cubicBezTo>
                  <a:pt x="582" y="186"/>
                  <a:pt x="581" y="186"/>
                  <a:pt x="580" y="185"/>
                </a:cubicBezTo>
                <a:cubicBezTo>
                  <a:pt x="580" y="184"/>
                  <a:pt x="581" y="184"/>
                  <a:pt x="581" y="183"/>
                </a:cubicBezTo>
                <a:cubicBezTo>
                  <a:pt x="582" y="183"/>
                  <a:pt x="582" y="183"/>
                  <a:pt x="582" y="183"/>
                </a:cubicBezTo>
                <a:cubicBezTo>
                  <a:pt x="581" y="182"/>
                  <a:pt x="580" y="182"/>
                  <a:pt x="579" y="182"/>
                </a:cubicBezTo>
                <a:cubicBezTo>
                  <a:pt x="578" y="181"/>
                  <a:pt x="580" y="179"/>
                  <a:pt x="580" y="178"/>
                </a:cubicBezTo>
                <a:cubicBezTo>
                  <a:pt x="578" y="176"/>
                  <a:pt x="577" y="179"/>
                  <a:pt x="574" y="179"/>
                </a:cubicBezTo>
                <a:cubicBezTo>
                  <a:pt x="574" y="179"/>
                  <a:pt x="572" y="177"/>
                  <a:pt x="570" y="179"/>
                </a:cubicBezTo>
                <a:cubicBezTo>
                  <a:pt x="569" y="180"/>
                  <a:pt x="571" y="182"/>
                  <a:pt x="568" y="184"/>
                </a:cubicBezTo>
                <a:cubicBezTo>
                  <a:pt x="567" y="184"/>
                  <a:pt x="562" y="186"/>
                  <a:pt x="562" y="185"/>
                </a:cubicBezTo>
                <a:cubicBezTo>
                  <a:pt x="561" y="184"/>
                  <a:pt x="563" y="184"/>
                  <a:pt x="563" y="184"/>
                </a:cubicBezTo>
                <a:cubicBezTo>
                  <a:pt x="564" y="182"/>
                  <a:pt x="562" y="180"/>
                  <a:pt x="562" y="181"/>
                </a:cubicBezTo>
                <a:cubicBezTo>
                  <a:pt x="563" y="179"/>
                  <a:pt x="565" y="179"/>
                  <a:pt x="565" y="178"/>
                </a:cubicBezTo>
                <a:cubicBezTo>
                  <a:pt x="565" y="178"/>
                  <a:pt x="565" y="178"/>
                  <a:pt x="564" y="178"/>
                </a:cubicBezTo>
                <a:cubicBezTo>
                  <a:pt x="564" y="177"/>
                  <a:pt x="565" y="177"/>
                  <a:pt x="565" y="177"/>
                </a:cubicBezTo>
                <a:cubicBezTo>
                  <a:pt x="565" y="176"/>
                  <a:pt x="564" y="174"/>
                  <a:pt x="565" y="173"/>
                </a:cubicBezTo>
                <a:cubicBezTo>
                  <a:pt x="565" y="173"/>
                  <a:pt x="565" y="173"/>
                  <a:pt x="565" y="173"/>
                </a:cubicBezTo>
                <a:cubicBezTo>
                  <a:pt x="565" y="173"/>
                  <a:pt x="565" y="172"/>
                  <a:pt x="565" y="172"/>
                </a:cubicBezTo>
                <a:cubicBezTo>
                  <a:pt x="564" y="172"/>
                  <a:pt x="564" y="171"/>
                  <a:pt x="566" y="170"/>
                </a:cubicBezTo>
                <a:cubicBezTo>
                  <a:pt x="566" y="170"/>
                  <a:pt x="566" y="170"/>
                  <a:pt x="566" y="170"/>
                </a:cubicBezTo>
                <a:cubicBezTo>
                  <a:pt x="566" y="170"/>
                  <a:pt x="565" y="170"/>
                  <a:pt x="565" y="170"/>
                </a:cubicBezTo>
                <a:cubicBezTo>
                  <a:pt x="564" y="170"/>
                  <a:pt x="563" y="170"/>
                  <a:pt x="563" y="169"/>
                </a:cubicBezTo>
                <a:cubicBezTo>
                  <a:pt x="562" y="169"/>
                  <a:pt x="562" y="169"/>
                  <a:pt x="562" y="169"/>
                </a:cubicBezTo>
                <a:cubicBezTo>
                  <a:pt x="562" y="169"/>
                  <a:pt x="562" y="168"/>
                  <a:pt x="563" y="167"/>
                </a:cubicBezTo>
                <a:cubicBezTo>
                  <a:pt x="563" y="167"/>
                  <a:pt x="563" y="166"/>
                  <a:pt x="562" y="166"/>
                </a:cubicBezTo>
                <a:cubicBezTo>
                  <a:pt x="563" y="165"/>
                  <a:pt x="566" y="165"/>
                  <a:pt x="568" y="164"/>
                </a:cubicBezTo>
                <a:cubicBezTo>
                  <a:pt x="567" y="165"/>
                  <a:pt x="568" y="167"/>
                  <a:pt x="569" y="165"/>
                </a:cubicBezTo>
                <a:cubicBezTo>
                  <a:pt x="571" y="164"/>
                  <a:pt x="569" y="164"/>
                  <a:pt x="569" y="164"/>
                </a:cubicBezTo>
                <a:cubicBezTo>
                  <a:pt x="569" y="164"/>
                  <a:pt x="570" y="163"/>
                  <a:pt x="569" y="162"/>
                </a:cubicBezTo>
                <a:cubicBezTo>
                  <a:pt x="569" y="162"/>
                  <a:pt x="569" y="162"/>
                  <a:pt x="569" y="162"/>
                </a:cubicBezTo>
                <a:cubicBezTo>
                  <a:pt x="567" y="163"/>
                  <a:pt x="565" y="164"/>
                  <a:pt x="563" y="163"/>
                </a:cubicBezTo>
                <a:cubicBezTo>
                  <a:pt x="563" y="163"/>
                  <a:pt x="563" y="163"/>
                  <a:pt x="563" y="164"/>
                </a:cubicBezTo>
                <a:cubicBezTo>
                  <a:pt x="563" y="164"/>
                  <a:pt x="564" y="164"/>
                  <a:pt x="564" y="164"/>
                </a:cubicBezTo>
                <a:cubicBezTo>
                  <a:pt x="563" y="165"/>
                  <a:pt x="563" y="164"/>
                  <a:pt x="563" y="163"/>
                </a:cubicBezTo>
                <a:cubicBezTo>
                  <a:pt x="562" y="163"/>
                  <a:pt x="562" y="162"/>
                  <a:pt x="562" y="161"/>
                </a:cubicBezTo>
                <a:cubicBezTo>
                  <a:pt x="562" y="160"/>
                  <a:pt x="564" y="158"/>
                  <a:pt x="567" y="158"/>
                </a:cubicBezTo>
                <a:cubicBezTo>
                  <a:pt x="566" y="157"/>
                  <a:pt x="565" y="156"/>
                  <a:pt x="566" y="155"/>
                </a:cubicBezTo>
                <a:cubicBezTo>
                  <a:pt x="566" y="153"/>
                  <a:pt x="570" y="153"/>
                  <a:pt x="569" y="152"/>
                </a:cubicBezTo>
                <a:cubicBezTo>
                  <a:pt x="570" y="152"/>
                  <a:pt x="572" y="151"/>
                  <a:pt x="574" y="151"/>
                </a:cubicBezTo>
                <a:cubicBezTo>
                  <a:pt x="576" y="153"/>
                  <a:pt x="575" y="153"/>
                  <a:pt x="579" y="152"/>
                </a:cubicBezTo>
                <a:cubicBezTo>
                  <a:pt x="579" y="152"/>
                  <a:pt x="580" y="151"/>
                  <a:pt x="581" y="151"/>
                </a:cubicBezTo>
                <a:cubicBezTo>
                  <a:pt x="584" y="150"/>
                  <a:pt x="583" y="150"/>
                  <a:pt x="582" y="148"/>
                </a:cubicBezTo>
                <a:cubicBezTo>
                  <a:pt x="584" y="150"/>
                  <a:pt x="583" y="148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0" y="147"/>
                  <a:pt x="580" y="147"/>
                </a:cubicBezTo>
                <a:cubicBezTo>
                  <a:pt x="580" y="147"/>
                  <a:pt x="579" y="149"/>
                  <a:pt x="578" y="148"/>
                </a:cubicBezTo>
                <a:cubicBezTo>
                  <a:pt x="577" y="147"/>
                  <a:pt x="581" y="144"/>
                  <a:pt x="577" y="144"/>
                </a:cubicBezTo>
                <a:cubicBezTo>
                  <a:pt x="583" y="142"/>
                  <a:pt x="575" y="140"/>
                  <a:pt x="573" y="139"/>
                </a:cubicBezTo>
                <a:cubicBezTo>
                  <a:pt x="572" y="138"/>
                  <a:pt x="571" y="137"/>
                  <a:pt x="570" y="135"/>
                </a:cubicBezTo>
                <a:cubicBezTo>
                  <a:pt x="570" y="135"/>
                  <a:pt x="569" y="134"/>
                  <a:pt x="569" y="134"/>
                </a:cubicBezTo>
                <a:cubicBezTo>
                  <a:pt x="569" y="134"/>
                  <a:pt x="569" y="134"/>
                  <a:pt x="569" y="133"/>
                </a:cubicBezTo>
                <a:cubicBezTo>
                  <a:pt x="569" y="133"/>
                  <a:pt x="568" y="132"/>
                  <a:pt x="568" y="132"/>
                </a:cubicBezTo>
                <a:cubicBezTo>
                  <a:pt x="567" y="132"/>
                  <a:pt x="567" y="132"/>
                  <a:pt x="567" y="132"/>
                </a:cubicBezTo>
                <a:cubicBezTo>
                  <a:pt x="567" y="132"/>
                  <a:pt x="566" y="133"/>
                  <a:pt x="566" y="133"/>
                </a:cubicBezTo>
                <a:cubicBezTo>
                  <a:pt x="566" y="134"/>
                  <a:pt x="564" y="135"/>
                  <a:pt x="563" y="135"/>
                </a:cubicBezTo>
                <a:cubicBezTo>
                  <a:pt x="562" y="135"/>
                  <a:pt x="561" y="134"/>
                  <a:pt x="561" y="133"/>
                </a:cubicBezTo>
                <a:cubicBezTo>
                  <a:pt x="560" y="134"/>
                  <a:pt x="559" y="134"/>
                  <a:pt x="558" y="134"/>
                </a:cubicBezTo>
                <a:cubicBezTo>
                  <a:pt x="557" y="134"/>
                  <a:pt x="559" y="133"/>
                  <a:pt x="560" y="133"/>
                </a:cubicBezTo>
                <a:cubicBezTo>
                  <a:pt x="560" y="132"/>
                  <a:pt x="560" y="131"/>
                  <a:pt x="561" y="131"/>
                </a:cubicBezTo>
                <a:cubicBezTo>
                  <a:pt x="560" y="131"/>
                  <a:pt x="558" y="131"/>
                  <a:pt x="557" y="131"/>
                </a:cubicBezTo>
                <a:cubicBezTo>
                  <a:pt x="557" y="131"/>
                  <a:pt x="557" y="131"/>
                  <a:pt x="557" y="131"/>
                </a:cubicBezTo>
                <a:cubicBezTo>
                  <a:pt x="558" y="131"/>
                  <a:pt x="559" y="131"/>
                  <a:pt x="559" y="132"/>
                </a:cubicBezTo>
                <a:cubicBezTo>
                  <a:pt x="558" y="132"/>
                  <a:pt x="557" y="132"/>
                  <a:pt x="556" y="132"/>
                </a:cubicBezTo>
                <a:cubicBezTo>
                  <a:pt x="555" y="132"/>
                  <a:pt x="555" y="132"/>
                  <a:pt x="555" y="133"/>
                </a:cubicBezTo>
                <a:cubicBezTo>
                  <a:pt x="556" y="133"/>
                  <a:pt x="555" y="135"/>
                  <a:pt x="554" y="134"/>
                </a:cubicBezTo>
                <a:cubicBezTo>
                  <a:pt x="553" y="135"/>
                  <a:pt x="552" y="135"/>
                  <a:pt x="552" y="135"/>
                </a:cubicBezTo>
                <a:cubicBezTo>
                  <a:pt x="552" y="134"/>
                  <a:pt x="552" y="134"/>
                  <a:pt x="553" y="133"/>
                </a:cubicBezTo>
                <a:cubicBezTo>
                  <a:pt x="552" y="133"/>
                  <a:pt x="551" y="131"/>
                  <a:pt x="553" y="132"/>
                </a:cubicBezTo>
                <a:cubicBezTo>
                  <a:pt x="553" y="132"/>
                  <a:pt x="553" y="132"/>
                  <a:pt x="553" y="132"/>
                </a:cubicBezTo>
                <a:cubicBezTo>
                  <a:pt x="553" y="133"/>
                  <a:pt x="553" y="133"/>
                  <a:pt x="553" y="133"/>
                </a:cubicBezTo>
                <a:cubicBezTo>
                  <a:pt x="554" y="133"/>
                  <a:pt x="554" y="132"/>
                  <a:pt x="554" y="132"/>
                </a:cubicBezTo>
                <a:cubicBezTo>
                  <a:pt x="553" y="132"/>
                  <a:pt x="552" y="131"/>
                  <a:pt x="552" y="131"/>
                </a:cubicBezTo>
                <a:cubicBezTo>
                  <a:pt x="552" y="131"/>
                  <a:pt x="553" y="131"/>
                  <a:pt x="555" y="131"/>
                </a:cubicBezTo>
                <a:cubicBezTo>
                  <a:pt x="554" y="130"/>
                  <a:pt x="554" y="130"/>
                  <a:pt x="554" y="130"/>
                </a:cubicBezTo>
                <a:cubicBezTo>
                  <a:pt x="553" y="130"/>
                  <a:pt x="552" y="131"/>
                  <a:pt x="552" y="131"/>
                </a:cubicBezTo>
                <a:cubicBezTo>
                  <a:pt x="551" y="130"/>
                  <a:pt x="550" y="127"/>
                  <a:pt x="548" y="129"/>
                </a:cubicBezTo>
                <a:cubicBezTo>
                  <a:pt x="548" y="130"/>
                  <a:pt x="549" y="131"/>
                  <a:pt x="549" y="130"/>
                </a:cubicBezTo>
                <a:cubicBezTo>
                  <a:pt x="549" y="131"/>
                  <a:pt x="549" y="131"/>
                  <a:pt x="549" y="131"/>
                </a:cubicBezTo>
                <a:cubicBezTo>
                  <a:pt x="549" y="131"/>
                  <a:pt x="549" y="131"/>
                  <a:pt x="550" y="131"/>
                </a:cubicBezTo>
                <a:cubicBezTo>
                  <a:pt x="551" y="131"/>
                  <a:pt x="549" y="133"/>
                  <a:pt x="549" y="132"/>
                </a:cubicBezTo>
                <a:cubicBezTo>
                  <a:pt x="549" y="132"/>
                  <a:pt x="549" y="132"/>
                  <a:pt x="549" y="132"/>
                </a:cubicBezTo>
                <a:cubicBezTo>
                  <a:pt x="548" y="133"/>
                  <a:pt x="544" y="131"/>
                  <a:pt x="543" y="131"/>
                </a:cubicBezTo>
                <a:cubicBezTo>
                  <a:pt x="545" y="130"/>
                  <a:pt x="543" y="130"/>
                  <a:pt x="542" y="129"/>
                </a:cubicBezTo>
                <a:cubicBezTo>
                  <a:pt x="540" y="130"/>
                  <a:pt x="539" y="131"/>
                  <a:pt x="537" y="132"/>
                </a:cubicBezTo>
                <a:cubicBezTo>
                  <a:pt x="538" y="130"/>
                  <a:pt x="540" y="129"/>
                  <a:pt x="542" y="129"/>
                </a:cubicBezTo>
                <a:cubicBezTo>
                  <a:pt x="541" y="128"/>
                  <a:pt x="541" y="127"/>
                  <a:pt x="541" y="127"/>
                </a:cubicBezTo>
                <a:cubicBezTo>
                  <a:pt x="542" y="125"/>
                  <a:pt x="546" y="126"/>
                  <a:pt x="546" y="124"/>
                </a:cubicBezTo>
                <a:cubicBezTo>
                  <a:pt x="547" y="123"/>
                  <a:pt x="545" y="124"/>
                  <a:pt x="545" y="124"/>
                </a:cubicBezTo>
                <a:cubicBezTo>
                  <a:pt x="546" y="122"/>
                  <a:pt x="547" y="121"/>
                  <a:pt x="545" y="120"/>
                </a:cubicBezTo>
                <a:cubicBezTo>
                  <a:pt x="545" y="120"/>
                  <a:pt x="540" y="120"/>
                  <a:pt x="538" y="120"/>
                </a:cubicBezTo>
                <a:cubicBezTo>
                  <a:pt x="536" y="120"/>
                  <a:pt x="534" y="121"/>
                  <a:pt x="531" y="119"/>
                </a:cubicBezTo>
                <a:cubicBezTo>
                  <a:pt x="534" y="119"/>
                  <a:pt x="535" y="117"/>
                  <a:pt x="537" y="117"/>
                </a:cubicBezTo>
                <a:cubicBezTo>
                  <a:pt x="537" y="117"/>
                  <a:pt x="537" y="116"/>
                  <a:pt x="537" y="116"/>
                </a:cubicBezTo>
                <a:cubicBezTo>
                  <a:pt x="537" y="116"/>
                  <a:pt x="537" y="117"/>
                  <a:pt x="537" y="117"/>
                </a:cubicBezTo>
                <a:cubicBezTo>
                  <a:pt x="538" y="116"/>
                  <a:pt x="538" y="116"/>
                  <a:pt x="539" y="116"/>
                </a:cubicBezTo>
                <a:cubicBezTo>
                  <a:pt x="542" y="115"/>
                  <a:pt x="545" y="118"/>
                  <a:pt x="548" y="117"/>
                </a:cubicBezTo>
                <a:cubicBezTo>
                  <a:pt x="548" y="117"/>
                  <a:pt x="551" y="114"/>
                  <a:pt x="552" y="114"/>
                </a:cubicBezTo>
                <a:cubicBezTo>
                  <a:pt x="553" y="114"/>
                  <a:pt x="554" y="115"/>
                  <a:pt x="554" y="114"/>
                </a:cubicBezTo>
                <a:cubicBezTo>
                  <a:pt x="553" y="114"/>
                  <a:pt x="553" y="113"/>
                  <a:pt x="553" y="113"/>
                </a:cubicBezTo>
                <a:cubicBezTo>
                  <a:pt x="553" y="113"/>
                  <a:pt x="552" y="113"/>
                  <a:pt x="552" y="113"/>
                </a:cubicBezTo>
                <a:cubicBezTo>
                  <a:pt x="552" y="114"/>
                  <a:pt x="551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8" y="114"/>
                  <a:pt x="547" y="114"/>
                  <a:pt x="547" y="114"/>
                </a:cubicBezTo>
                <a:cubicBezTo>
                  <a:pt x="547" y="114"/>
                  <a:pt x="547" y="113"/>
                  <a:pt x="547" y="113"/>
                </a:cubicBezTo>
                <a:cubicBezTo>
                  <a:pt x="547" y="112"/>
                  <a:pt x="548" y="111"/>
                  <a:pt x="549" y="110"/>
                </a:cubicBezTo>
                <a:cubicBezTo>
                  <a:pt x="550" y="110"/>
                  <a:pt x="552" y="111"/>
                  <a:pt x="552" y="112"/>
                </a:cubicBezTo>
                <a:cubicBezTo>
                  <a:pt x="552" y="112"/>
                  <a:pt x="552" y="112"/>
                  <a:pt x="553" y="112"/>
                </a:cubicBezTo>
                <a:cubicBezTo>
                  <a:pt x="552" y="111"/>
                  <a:pt x="554" y="110"/>
                  <a:pt x="555" y="111"/>
                </a:cubicBezTo>
                <a:cubicBezTo>
                  <a:pt x="555" y="110"/>
                  <a:pt x="555" y="110"/>
                  <a:pt x="554" y="109"/>
                </a:cubicBezTo>
                <a:cubicBezTo>
                  <a:pt x="554" y="110"/>
                  <a:pt x="554" y="110"/>
                  <a:pt x="554" y="110"/>
                </a:cubicBezTo>
                <a:cubicBezTo>
                  <a:pt x="554" y="110"/>
                  <a:pt x="554" y="109"/>
                  <a:pt x="554" y="109"/>
                </a:cubicBezTo>
                <a:cubicBezTo>
                  <a:pt x="553" y="108"/>
                  <a:pt x="550" y="108"/>
                  <a:pt x="549" y="107"/>
                </a:cubicBezTo>
                <a:cubicBezTo>
                  <a:pt x="550" y="106"/>
                  <a:pt x="551" y="106"/>
                  <a:pt x="550" y="105"/>
                </a:cubicBezTo>
                <a:cubicBezTo>
                  <a:pt x="549" y="106"/>
                  <a:pt x="546" y="106"/>
                  <a:pt x="548" y="104"/>
                </a:cubicBezTo>
                <a:cubicBezTo>
                  <a:pt x="548" y="104"/>
                  <a:pt x="548" y="104"/>
                  <a:pt x="548" y="104"/>
                </a:cubicBezTo>
                <a:cubicBezTo>
                  <a:pt x="548" y="104"/>
                  <a:pt x="547" y="103"/>
                  <a:pt x="547" y="103"/>
                </a:cubicBezTo>
                <a:cubicBezTo>
                  <a:pt x="545" y="104"/>
                  <a:pt x="543" y="105"/>
                  <a:pt x="541" y="106"/>
                </a:cubicBezTo>
                <a:cubicBezTo>
                  <a:pt x="537" y="107"/>
                  <a:pt x="541" y="104"/>
                  <a:pt x="543" y="103"/>
                </a:cubicBezTo>
                <a:cubicBezTo>
                  <a:pt x="544" y="103"/>
                  <a:pt x="546" y="102"/>
                  <a:pt x="548" y="101"/>
                </a:cubicBezTo>
                <a:cubicBezTo>
                  <a:pt x="548" y="101"/>
                  <a:pt x="548" y="101"/>
                  <a:pt x="548" y="100"/>
                </a:cubicBezTo>
                <a:cubicBezTo>
                  <a:pt x="549" y="100"/>
                  <a:pt x="549" y="100"/>
                  <a:pt x="550" y="100"/>
                </a:cubicBezTo>
                <a:cubicBezTo>
                  <a:pt x="552" y="99"/>
                  <a:pt x="553" y="99"/>
                  <a:pt x="554" y="98"/>
                </a:cubicBezTo>
                <a:cubicBezTo>
                  <a:pt x="555" y="97"/>
                  <a:pt x="555" y="95"/>
                  <a:pt x="555" y="94"/>
                </a:cubicBezTo>
                <a:cubicBezTo>
                  <a:pt x="554" y="95"/>
                  <a:pt x="554" y="94"/>
                  <a:pt x="553" y="94"/>
                </a:cubicBezTo>
                <a:cubicBezTo>
                  <a:pt x="553" y="94"/>
                  <a:pt x="553" y="94"/>
                  <a:pt x="553" y="94"/>
                </a:cubicBezTo>
                <a:cubicBezTo>
                  <a:pt x="553" y="94"/>
                  <a:pt x="553" y="94"/>
                  <a:pt x="552" y="94"/>
                </a:cubicBezTo>
                <a:cubicBezTo>
                  <a:pt x="552" y="94"/>
                  <a:pt x="550" y="93"/>
                  <a:pt x="550" y="93"/>
                </a:cubicBezTo>
                <a:cubicBezTo>
                  <a:pt x="550" y="93"/>
                  <a:pt x="550" y="93"/>
                  <a:pt x="550" y="92"/>
                </a:cubicBezTo>
                <a:cubicBezTo>
                  <a:pt x="549" y="91"/>
                  <a:pt x="551" y="90"/>
                  <a:pt x="552" y="90"/>
                </a:cubicBezTo>
                <a:cubicBezTo>
                  <a:pt x="552" y="89"/>
                  <a:pt x="552" y="89"/>
                  <a:pt x="553" y="88"/>
                </a:cubicBezTo>
                <a:cubicBezTo>
                  <a:pt x="553" y="88"/>
                  <a:pt x="553" y="88"/>
                  <a:pt x="553" y="88"/>
                </a:cubicBezTo>
                <a:cubicBezTo>
                  <a:pt x="552" y="87"/>
                  <a:pt x="550" y="87"/>
                  <a:pt x="549" y="87"/>
                </a:cubicBezTo>
                <a:cubicBezTo>
                  <a:pt x="548" y="87"/>
                  <a:pt x="546" y="87"/>
                  <a:pt x="546" y="86"/>
                </a:cubicBezTo>
                <a:cubicBezTo>
                  <a:pt x="545" y="86"/>
                  <a:pt x="544" y="85"/>
                  <a:pt x="544" y="84"/>
                </a:cubicBezTo>
                <a:cubicBezTo>
                  <a:pt x="543" y="85"/>
                  <a:pt x="542" y="85"/>
                  <a:pt x="542" y="84"/>
                </a:cubicBezTo>
                <a:cubicBezTo>
                  <a:pt x="541" y="84"/>
                  <a:pt x="540" y="82"/>
                  <a:pt x="542" y="81"/>
                </a:cubicBezTo>
                <a:cubicBezTo>
                  <a:pt x="542" y="81"/>
                  <a:pt x="542" y="81"/>
                  <a:pt x="542" y="81"/>
                </a:cubicBezTo>
                <a:cubicBezTo>
                  <a:pt x="541" y="80"/>
                  <a:pt x="542" y="80"/>
                  <a:pt x="542" y="79"/>
                </a:cubicBezTo>
                <a:cubicBezTo>
                  <a:pt x="541" y="80"/>
                  <a:pt x="540" y="80"/>
                  <a:pt x="539" y="80"/>
                </a:cubicBezTo>
                <a:cubicBezTo>
                  <a:pt x="539" y="80"/>
                  <a:pt x="538" y="81"/>
                  <a:pt x="539" y="82"/>
                </a:cubicBezTo>
                <a:cubicBezTo>
                  <a:pt x="538" y="82"/>
                  <a:pt x="536" y="83"/>
                  <a:pt x="535" y="84"/>
                </a:cubicBezTo>
                <a:cubicBezTo>
                  <a:pt x="534" y="85"/>
                  <a:pt x="533" y="85"/>
                  <a:pt x="532" y="86"/>
                </a:cubicBezTo>
                <a:cubicBezTo>
                  <a:pt x="532" y="86"/>
                  <a:pt x="532" y="87"/>
                  <a:pt x="532" y="87"/>
                </a:cubicBezTo>
                <a:cubicBezTo>
                  <a:pt x="531" y="87"/>
                  <a:pt x="530" y="86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8" y="87"/>
                </a:cubicBezTo>
                <a:cubicBezTo>
                  <a:pt x="527" y="87"/>
                  <a:pt x="527" y="88"/>
                  <a:pt x="526" y="88"/>
                </a:cubicBezTo>
                <a:cubicBezTo>
                  <a:pt x="526" y="88"/>
                  <a:pt x="526" y="87"/>
                  <a:pt x="526" y="87"/>
                </a:cubicBezTo>
                <a:cubicBezTo>
                  <a:pt x="525" y="85"/>
                  <a:pt x="521" y="83"/>
                  <a:pt x="520" y="81"/>
                </a:cubicBezTo>
                <a:cubicBezTo>
                  <a:pt x="520" y="79"/>
                  <a:pt x="524" y="78"/>
                  <a:pt x="525" y="76"/>
                </a:cubicBezTo>
                <a:cubicBezTo>
                  <a:pt x="526" y="76"/>
                  <a:pt x="524" y="74"/>
                  <a:pt x="525" y="74"/>
                </a:cubicBezTo>
                <a:cubicBezTo>
                  <a:pt x="526" y="73"/>
                  <a:pt x="526" y="75"/>
                  <a:pt x="527" y="75"/>
                </a:cubicBezTo>
                <a:cubicBezTo>
                  <a:pt x="528" y="76"/>
                  <a:pt x="533" y="76"/>
                  <a:pt x="535" y="76"/>
                </a:cubicBezTo>
                <a:cubicBezTo>
                  <a:pt x="536" y="76"/>
                  <a:pt x="537" y="76"/>
                  <a:pt x="538" y="77"/>
                </a:cubicBezTo>
                <a:cubicBezTo>
                  <a:pt x="539" y="75"/>
                  <a:pt x="543" y="75"/>
                  <a:pt x="543" y="74"/>
                </a:cubicBezTo>
                <a:cubicBezTo>
                  <a:pt x="544" y="74"/>
                  <a:pt x="542" y="74"/>
                  <a:pt x="542" y="73"/>
                </a:cubicBezTo>
                <a:cubicBezTo>
                  <a:pt x="543" y="73"/>
                  <a:pt x="544" y="73"/>
                  <a:pt x="545" y="74"/>
                </a:cubicBezTo>
                <a:cubicBezTo>
                  <a:pt x="547" y="73"/>
                  <a:pt x="550" y="72"/>
                  <a:pt x="553" y="72"/>
                </a:cubicBezTo>
                <a:cubicBezTo>
                  <a:pt x="552" y="71"/>
                  <a:pt x="552" y="70"/>
                  <a:pt x="551" y="70"/>
                </a:cubicBezTo>
                <a:cubicBezTo>
                  <a:pt x="551" y="70"/>
                  <a:pt x="550" y="71"/>
                  <a:pt x="550" y="71"/>
                </a:cubicBezTo>
                <a:cubicBezTo>
                  <a:pt x="550" y="71"/>
                  <a:pt x="547" y="70"/>
                  <a:pt x="545" y="69"/>
                </a:cubicBezTo>
                <a:cubicBezTo>
                  <a:pt x="544" y="69"/>
                  <a:pt x="543" y="69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2" y="67"/>
                  <a:pt x="543" y="66"/>
                  <a:pt x="542" y="66"/>
                </a:cubicBezTo>
                <a:cubicBezTo>
                  <a:pt x="540" y="64"/>
                  <a:pt x="537" y="66"/>
                  <a:pt x="535" y="66"/>
                </a:cubicBezTo>
                <a:cubicBezTo>
                  <a:pt x="535" y="66"/>
                  <a:pt x="534" y="65"/>
                  <a:pt x="534" y="65"/>
                </a:cubicBezTo>
                <a:cubicBezTo>
                  <a:pt x="534" y="65"/>
                  <a:pt x="534" y="65"/>
                  <a:pt x="534" y="65"/>
                </a:cubicBezTo>
                <a:cubicBezTo>
                  <a:pt x="534" y="67"/>
                  <a:pt x="529" y="69"/>
                  <a:pt x="528" y="68"/>
                </a:cubicBezTo>
                <a:cubicBezTo>
                  <a:pt x="527" y="66"/>
                  <a:pt x="528" y="64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2"/>
                  <a:pt x="529" y="62"/>
                </a:cubicBezTo>
                <a:cubicBezTo>
                  <a:pt x="529" y="62"/>
                  <a:pt x="529" y="62"/>
                  <a:pt x="529" y="62"/>
                </a:cubicBezTo>
                <a:cubicBezTo>
                  <a:pt x="528" y="62"/>
                  <a:pt x="527" y="63"/>
                  <a:pt x="526" y="63"/>
                </a:cubicBezTo>
                <a:cubicBezTo>
                  <a:pt x="526" y="63"/>
                  <a:pt x="526" y="63"/>
                  <a:pt x="526" y="63"/>
                </a:cubicBezTo>
                <a:cubicBezTo>
                  <a:pt x="526" y="64"/>
                  <a:pt x="526" y="64"/>
                  <a:pt x="526" y="65"/>
                </a:cubicBezTo>
                <a:cubicBezTo>
                  <a:pt x="525" y="66"/>
                  <a:pt x="522" y="66"/>
                  <a:pt x="520" y="68"/>
                </a:cubicBezTo>
                <a:cubicBezTo>
                  <a:pt x="519" y="69"/>
                  <a:pt x="517" y="72"/>
                  <a:pt x="515" y="72"/>
                </a:cubicBezTo>
                <a:cubicBezTo>
                  <a:pt x="514" y="71"/>
                  <a:pt x="514" y="70"/>
                  <a:pt x="513" y="70"/>
                </a:cubicBezTo>
                <a:cubicBezTo>
                  <a:pt x="513" y="69"/>
                  <a:pt x="513" y="70"/>
                  <a:pt x="512" y="70"/>
                </a:cubicBezTo>
                <a:cubicBezTo>
                  <a:pt x="511" y="71"/>
                  <a:pt x="510" y="70"/>
                  <a:pt x="510" y="69"/>
                </a:cubicBezTo>
                <a:cubicBezTo>
                  <a:pt x="509" y="69"/>
                  <a:pt x="508" y="69"/>
                  <a:pt x="508" y="68"/>
                </a:cubicBezTo>
                <a:cubicBezTo>
                  <a:pt x="508" y="68"/>
                  <a:pt x="509" y="67"/>
                  <a:pt x="510" y="66"/>
                </a:cubicBezTo>
                <a:cubicBezTo>
                  <a:pt x="510" y="65"/>
                  <a:pt x="511" y="65"/>
                  <a:pt x="512" y="66"/>
                </a:cubicBezTo>
                <a:cubicBezTo>
                  <a:pt x="513" y="67"/>
                  <a:pt x="513" y="66"/>
                  <a:pt x="513" y="65"/>
                </a:cubicBezTo>
                <a:cubicBezTo>
                  <a:pt x="512" y="64"/>
                  <a:pt x="511" y="64"/>
                  <a:pt x="511" y="63"/>
                </a:cubicBezTo>
                <a:cubicBezTo>
                  <a:pt x="511" y="63"/>
                  <a:pt x="511" y="62"/>
                  <a:pt x="513" y="61"/>
                </a:cubicBezTo>
                <a:cubicBezTo>
                  <a:pt x="511" y="61"/>
                  <a:pt x="510" y="60"/>
                  <a:pt x="509" y="59"/>
                </a:cubicBezTo>
                <a:cubicBezTo>
                  <a:pt x="509" y="59"/>
                  <a:pt x="510" y="56"/>
                  <a:pt x="511" y="55"/>
                </a:cubicBezTo>
                <a:cubicBezTo>
                  <a:pt x="512" y="54"/>
                  <a:pt x="515" y="54"/>
                  <a:pt x="515" y="53"/>
                </a:cubicBezTo>
                <a:cubicBezTo>
                  <a:pt x="515" y="53"/>
                  <a:pt x="514" y="53"/>
                  <a:pt x="514" y="53"/>
                </a:cubicBezTo>
                <a:cubicBezTo>
                  <a:pt x="514" y="53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2" y="54"/>
                  <a:pt x="511" y="55"/>
                  <a:pt x="510" y="54"/>
                </a:cubicBezTo>
                <a:cubicBezTo>
                  <a:pt x="510" y="54"/>
                  <a:pt x="510" y="53"/>
                  <a:pt x="510" y="53"/>
                </a:cubicBezTo>
                <a:cubicBezTo>
                  <a:pt x="510" y="53"/>
                  <a:pt x="510" y="53"/>
                  <a:pt x="510" y="53"/>
                </a:cubicBezTo>
                <a:cubicBezTo>
                  <a:pt x="510" y="53"/>
                  <a:pt x="510" y="52"/>
                  <a:pt x="510" y="52"/>
                </a:cubicBezTo>
                <a:cubicBezTo>
                  <a:pt x="510" y="52"/>
                  <a:pt x="510" y="52"/>
                  <a:pt x="510" y="52"/>
                </a:cubicBezTo>
                <a:cubicBezTo>
                  <a:pt x="511" y="51"/>
                  <a:pt x="513" y="51"/>
                  <a:pt x="513" y="52"/>
                </a:cubicBezTo>
                <a:cubicBezTo>
                  <a:pt x="515" y="52"/>
                  <a:pt x="517" y="52"/>
                  <a:pt x="516" y="53"/>
                </a:cubicBezTo>
                <a:cubicBezTo>
                  <a:pt x="516" y="53"/>
                  <a:pt x="515" y="54"/>
                  <a:pt x="515" y="54"/>
                </a:cubicBezTo>
                <a:cubicBezTo>
                  <a:pt x="516" y="54"/>
                  <a:pt x="517" y="54"/>
                  <a:pt x="517" y="54"/>
                </a:cubicBezTo>
                <a:cubicBezTo>
                  <a:pt x="518" y="54"/>
                  <a:pt x="519" y="55"/>
                  <a:pt x="520" y="55"/>
                </a:cubicBezTo>
                <a:cubicBezTo>
                  <a:pt x="521" y="55"/>
                  <a:pt x="522" y="55"/>
                  <a:pt x="522" y="56"/>
                </a:cubicBezTo>
                <a:cubicBezTo>
                  <a:pt x="522" y="57"/>
                  <a:pt x="522" y="57"/>
                  <a:pt x="521" y="57"/>
                </a:cubicBezTo>
                <a:cubicBezTo>
                  <a:pt x="521" y="57"/>
                  <a:pt x="521" y="58"/>
                  <a:pt x="521" y="58"/>
                </a:cubicBezTo>
                <a:cubicBezTo>
                  <a:pt x="522" y="57"/>
                  <a:pt x="523" y="57"/>
                  <a:pt x="525" y="58"/>
                </a:cubicBezTo>
                <a:cubicBezTo>
                  <a:pt x="525" y="59"/>
                  <a:pt x="524" y="59"/>
                  <a:pt x="524" y="59"/>
                </a:cubicBezTo>
                <a:cubicBezTo>
                  <a:pt x="525" y="59"/>
                  <a:pt x="526" y="58"/>
                  <a:pt x="528" y="58"/>
                </a:cubicBezTo>
                <a:cubicBezTo>
                  <a:pt x="528" y="58"/>
                  <a:pt x="528" y="57"/>
                  <a:pt x="528" y="57"/>
                </a:cubicBezTo>
                <a:cubicBezTo>
                  <a:pt x="528" y="57"/>
                  <a:pt x="527" y="57"/>
                  <a:pt x="527" y="56"/>
                </a:cubicBezTo>
                <a:cubicBezTo>
                  <a:pt x="527" y="54"/>
                  <a:pt x="532" y="55"/>
                  <a:pt x="530" y="57"/>
                </a:cubicBezTo>
                <a:cubicBezTo>
                  <a:pt x="530" y="57"/>
                  <a:pt x="530" y="57"/>
                  <a:pt x="530" y="57"/>
                </a:cubicBezTo>
                <a:cubicBezTo>
                  <a:pt x="531" y="56"/>
                  <a:pt x="533" y="55"/>
                  <a:pt x="533" y="55"/>
                </a:cubicBezTo>
                <a:cubicBezTo>
                  <a:pt x="532" y="54"/>
                  <a:pt x="530" y="55"/>
                  <a:pt x="529" y="54"/>
                </a:cubicBezTo>
                <a:cubicBezTo>
                  <a:pt x="529" y="53"/>
                  <a:pt x="532" y="51"/>
                  <a:pt x="532" y="51"/>
                </a:cubicBezTo>
                <a:cubicBezTo>
                  <a:pt x="532" y="51"/>
                  <a:pt x="532" y="50"/>
                  <a:pt x="532" y="50"/>
                </a:cubicBezTo>
                <a:cubicBezTo>
                  <a:pt x="530" y="52"/>
                  <a:pt x="527" y="52"/>
                  <a:pt x="525" y="52"/>
                </a:cubicBezTo>
                <a:cubicBezTo>
                  <a:pt x="523" y="51"/>
                  <a:pt x="522" y="48"/>
                  <a:pt x="521" y="48"/>
                </a:cubicBezTo>
                <a:cubicBezTo>
                  <a:pt x="520" y="48"/>
                  <a:pt x="518" y="48"/>
                  <a:pt x="516" y="49"/>
                </a:cubicBezTo>
                <a:cubicBezTo>
                  <a:pt x="517" y="48"/>
                  <a:pt x="518" y="48"/>
                  <a:pt x="519" y="47"/>
                </a:cubicBezTo>
                <a:cubicBezTo>
                  <a:pt x="519" y="47"/>
                  <a:pt x="520" y="47"/>
                  <a:pt x="520" y="47"/>
                </a:cubicBezTo>
                <a:cubicBezTo>
                  <a:pt x="521" y="46"/>
                  <a:pt x="521" y="46"/>
                  <a:pt x="521" y="45"/>
                </a:cubicBezTo>
                <a:cubicBezTo>
                  <a:pt x="520" y="45"/>
                  <a:pt x="520" y="45"/>
                  <a:pt x="519" y="45"/>
                </a:cubicBezTo>
                <a:cubicBezTo>
                  <a:pt x="519" y="44"/>
                  <a:pt x="520" y="44"/>
                  <a:pt x="521" y="44"/>
                </a:cubicBezTo>
                <a:cubicBezTo>
                  <a:pt x="521" y="44"/>
                  <a:pt x="521" y="44"/>
                  <a:pt x="521" y="44"/>
                </a:cubicBezTo>
                <a:cubicBezTo>
                  <a:pt x="521" y="43"/>
                  <a:pt x="521" y="41"/>
                  <a:pt x="521" y="40"/>
                </a:cubicBezTo>
                <a:cubicBezTo>
                  <a:pt x="521" y="40"/>
                  <a:pt x="520" y="40"/>
                  <a:pt x="520" y="40"/>
                </a:cubicBezTo>
                <a:cubicBezTo>
                  <a:pt x="520" y="40"/>
                  <a:pt x="520" y="40"/>
                  <a:pt x="520" y="40"/>
                </a:cubicBezTo>
                <a:cubicBezTo>
                  <a:pt x="520" y="40"/>
                  <a:pt x="520" y="40"/>
                  <a:pt x="520" y="39"/>
                </a:cubicBezTo>
                <a:cubicBezTo>
                  <a:pt x="520" y="39"/>
                  <a:pt x="520" y="39"/>
                  <a:pt x="520" y="39"/>
                </a:cubicBezTo>
                <a:cubicBezTo>
                  <a:pt x="510" y="34"/>
                  <a:pt x="501" y="30"/>
                  <a:pt x="491" y="26"/>
                </a:cubicBezTo>
                <a:cubicBezTo>
                  <a:pt x="491" y="26"/>
                  <a:pt x="489" y="27"/>
                  <a:pt x="489" y="27"/>
                </a:cubicBezTo>
                <a:cubicBezTo>
                  <a:pt x="489" y="26"/>
                  <a:pt x="489" y="26"/>
                  <a:pt x="490" y="26"/>
                </a:cubicBezTo>
                <a:cubicBezTo>
                  <a:pt x="487" y="24"/>
                  <a:pt x="483" y="23"/>
                  <a:pt x="480" y="22"/>
                </a:cubicBezTo>
                <a:cubicBezTo>
                  <a:pt x="480" y="22"/>
                  <a:pt x="480" y="22"/>
                  <a:pt x="480" y="22"/>
                </a:cubicBezTo>
                <a:cubicBezTo>
                  <a:pt x="478" y="22"/>
                  <a:pt x="476" y="25"/>
                  <a:pt x="474" y="25"/>
                </a:cubicBezTo>
                <a:cubicBezTo>
                  <a:pt x="472" y="25"/>
                  <a:pt x="473" y="25"/>
                  <a:pt x="471" y="25"/>
                </a:cubicBezTo>
                <a:cubicBezTo>
                  <a:pt x="471" y="25"/>
                  <a:pt x="469" y="26"/>
                  <a:pt x="468" y="27"/>
                </a:cubicBezTo>
                <a:cubicBezTo>
                  <a:pt x="467" y="27"/>
                  <a:pt x="464" y="29"/>
                  <a:pt x="464" y="29"/>
                </a:cubicBezTo>
                <a:cubicBezTo>
                  <a:pt x="462" y="30"/>
                  <a:pt x="464" y="30"/>
                  <a:pt x="462" y="30"/>
                </a:cubicBezTo>
                <a:cubicBezTo>
                  <a:pt x="461" y="30"/>
                  <a:pt x="461" y="30"/>
                  <a:pt x="460" y="30"/>
                </a:cubicBezTo>
                <a:cubicBezTo>
                  <a:pt x="461" y="30"/>
                  <a:pt x="461" y="30"/>
                  <a:pt x="461" y="30"/>
                </a:cubicBezTo>
                <a:cubicBezTo>
                  <a:pt x="462" y="31"/>
                  <a:pt x="459" y="32"/>
                  <a:pt x="459" y="31"/>
                </a:cubicBezTo>
                <a:cubicBezTo>
                  <a:pt x="459" y="31"/>
                  <a:pt x="458" y="32"/>
                  <a:pt x="458" y="32"/>
                </a:cubicBezTo>
                <a:cubicBezTo>
                  <a:pt x="458" y="32"/>
                  <a:pt x="458" y="33"/>
                  <a:pt x="458" y="33"/>
                </a:cubicBezTo>
                <a:cubicBezTo>
                  <a:pt x="461" y="34"/>
                  <a:pt x="463" y="32"/>
                  <a:pt x="461" y="36"/>
                </a:cubicBezTo>
                <a:cubicBezTo>
                  <a:pt x="461" y="37"/>
                  <a:pt x="462" y="37"/>
                  <a:pt x="461" y="37"/>
                </a:cubicBezTo>
                <a:cubicBezTo>
                  <a:pt x="460" y="39"/>
                  <a:pt x="459" y="37"/>
                  <a:pt x="459" y="36"/>
                </a:cubicBezTo>
                <a:cubicBezTo>
                  <a:pt x="458" y="37"/>
                  <a:pt x="458" y="38"/>
                  <a:pt x="460" y="39"/>
                </a:cubicBezTo>
                <a:cubicBezTo>
                  <a:pt x="460" y="39"/>
                  <a:pt x="457" y="39"/>
                  <a:pt x="456" y="39"/>
                </a:cubicBezTo>
                <a:cubicBezTo>
                  <a:pt x="456" y="39"/>
                  <a:pt x="454" y="36"/>
                  <a:pt x="453" y="35"/>
                </a:cubicBezTo>
                <a:cubicBezTo>
                  <a:pt x="452" y="35"/>
                  <a:pt x="451" y="36"/>
                  <a:pt x="451" y="36"/>
                </a:cubicBezTo>
                <a:cubicBezTo>
                  <a:pt x="449" y="37"/>
                  <a:pt x="446" y="38"/>
                  <a:pt x="444" y="39"/>
                </a:cubicBezTo>
                <a:cubicBezTo>
                  <a:pt x="443" y="40"/>
                  <a:pt x="443" y="40"/>
                  <a:pt x="442" y="40"/>
                </a:cubicBezTo>
                <a:cubicBezTo>
                  <a:pt x="441" y="40"/>
                  <a:pt x="440" y="41"/>
                  <a:pt x="439" y="41"/>
                </a:cubicBezTo>
                <a:cubicBezTo>
                  <a:pt x="437" y="42"/>
                  <a:pt x="435" y="43"/>
                  <a:pt x="432" y="44"/>
                </a:cubicBezTo>
                <a:cubicBezTo>
                  <a:pt x="433" y="44"/>
                  <a:pt x="433" y="44"/>
                  <a:pt x="433" y="44"/>
                </a:cubicBezTo>
                <a:cubicBezTo>
                  <a:pt x="433" y="44"/>
                  <a:pt x="433" y="44"/>
                  <a:pt x="432" y="44"/>
                </a:cubicBezTo>
                <a:cubicBezTo>
                  <a:pt x="432" y="44"/>
                  <a:pt x="431" y="44"/>
                  <a:pt x="431" y="44"/>
                </a:cubicBezTo>
                <a:cubicBezTo>
                  <a:pt x="430" y="44"/>
                  <a:pt x="427" y="45"/>
                  <a:pt x="427" y="46"/>
                </a:cubicBezTo>
                <a:cubicBezTo>
                  <a:pt x="427" y="46"/>
                  <a:pt x="433" y="44"/>
                  <a:pt x="432" y="48"/>
                </a:cubicBezTo>
                <a:cubicBezTo>
                  <a:pt x="432" y="49"/>
                  <a:pt x="431" y="49"/>
                  <a:pt x="431" y="49"/>
                </a:cubicBezTo>
                <a:cubicBezTo>
                  <a:pt x="435" y="49"/>
                  <a:pt x="440" y="49"/>
                  <a:pt x="444" y="50"/>
                </a:cubicBezTo>
                <a:cubicBezTo>
                  <a:pt x="444" y="47"/>
                  <a:pt x="436" y="48"/>
                  <a:pt x="436" y="45"/>
                </a:cubicBezTo>
                <a:cubicBezTo>
                  <a:pt x="436" y="42"/>
                  <a:pt x="442" y="45"/>
                  <a:pt x="444" y="43"/>
                </a:cubicBezTo>
                <a:cubicBezTo>
                  <a:pt x="445" y="43"/>
                  <a:pt x="444" y="42"/>
                  <a:pt x="445" y="42"/>
                </a:cubicBezTo>
                <a:cubicBezTo>
                  <a:pt x="446" y="42"/>
                  <a:pt x="449" y="43"/>
                  <a:pt x="448" y="41"/>
                </a:cubicBezTo>
                <a:cubicBezTo>
                  <a:pt x="448" y="38"/>
                  <a:pt x="459" y="43"/>
                  <a:pt x="460" y="46"/>
                </a:cubicBezTo>
                <a:cubicBezTo>
                  <a:pt x="460" y="48"/>
                  <a:pt x="459" y="52"/>
                  <a:pt x="458" y="52"/>
                </a:cubicBezTo>
                <a:cubicBezTo>
                  <a:pt x="458" y="53"/>
                  <a:pt x="452" y="54"/>
                  <a:pt x="452" y="54"/>
                </a:cubicBezTo>
                <a:cubicBezTo>
                  <a:pt x="451" y="53"/>
                  <a:pt x="449" y="53"/>
                  <a:pt x="448" y="53"/>
                </a:cubicBezTo>
                <a:cubicBezTo>
                  <a:pt x="449" y="53"/>
                  <a:pt x="449" y="53"/>
                  <a:pt x="449" y="54"/>
                </a:cubicBezTo>
                <a:cubicBezTo>
                  <a:pt x="450" y="55"/>
                  <a:pt x="450" y="57"/>
                  <a:pt x="450" y="58"/>
                </a:cubicBezTo>
                <a:cubicBezTo>
                  <a:pt x="447" y="62"/>
                  <a:pt x="436" y="61"/>
                  <a:pt x="432" y="59"/>
                </a:cubicBezTo>
                <a:cubicBezTo>
                  <a:pt x="432" y="60"/>
                  <a:pt x="432" y="61"/>
                  <a:pt x="432" y="62"/>
                </a:cubicBezTo>
                <a:cubicBezTo>
                  <a:pt x="431" y="65"/>
                  <a:pt x="423" y="63"/>
                  <a:pt x="423" y="60"/>
                </a:cubicBezTo>
                <a:cubicBezTo>
                  <a:pt x="423" y="61"/>
                  <a:pt x="421" y="60"/>
                  <a:pt x="421" y="60"/>
                </a:cubicBezTo>
                <a:cubicBezTo>
                  <a:pt x="421" y="59"/>
                  <a:pt x="423" y="59"/>
                  <a:pt x="423" y="60"/>
                </a:cubicBezTo>
                <a:cubicBezTo>
                  <a:pt x="424" y="58"/>
                  <a:pt x="427" y="58"/>
                  <a:pt x="429" y="58"/>
                </a:cubicBezTo>
                <a:cubicBezTo>
                  <a:pt x="430" y="58"/>
                  <a:pt x="431" y="57"/>
                  <a:pt x="432" y="55"/>
                </a:cubicBezTo>
                <a:cubicBezTo>
                  <a:pt x="432" y="55"/>
                  <a:pt x="432" y="53"/>
                  <a:pt x="432" y="54"/>
                </a:cubicBezTo>
                <a:cubicBezTo>
                  <a:pt x="432" y="53"/>
                  <a:pt x="434" y="52"/>
                  <a:pt x="435" y="52"/>
                </a:cubicBezTo>
                <a:cubicBezTo>
                  <a:pt x="435" y="50"/>
                  <a:pt x="431" y="50"/>
                  <a:pt x="429" y="50"/>
                </a:cubicBezTo>
                <a:cubicBezTo>
                  <a:pt x="427" y="50"/>
                  <a:pt x="423" y="49"/>
                  <a:pt x="422" y="48"/>
                </a:cubicBezTo>
                <a:cubicBezTo>
                  <a:pt x="422" y="48"/>
                  <a:pt x="422" y="47"/>
                  <a:pt x="422" y="47"/>
                </a:cubicBezTo>
                <a:cubicBezTo>
                  <a:pt x="422" y="47"/>
                  <a:pt x="421" y="47"/>
                  <a:pt x="421" y="48"/>
                </a:cubicBezTo>
                <a:cubicBezTo>
                  <a:pt x="420" y="48"/>
                  <a:pt x="419" y="49"/>
                  <a:pt x="417" y="50"/>
                </a:cubicBezTo>
                <a:cubicBezTo>
                  <a:pt x="417" y="50"/>
                  <a:pt x="416" y="50"/>
                  <a:pt x="416" y="51"/>
                </a:cubicBezTo>
                <a:cubicBezTo>
                  <a:pt x="418" y="53"/>
                  <a:pt x="416" y="54"/>
                  <a:pt x="414" y="54"/>
                </a:cubicBezTo>
                <a:cubicBezTo>
                  <a:pt x="413" y="54"/>
                  <a:pt x="412" y="54"/>
                  <a:pt x="412" y="54"/>
                </a:cubicBezTo>
                <a:cubicBezTo>
                  <a:pt x="412" y="54"/>
                  <a:pt x="412" y="54"/>
                  <a:pt x="412" y="53"/>
                </a:cubicBezTo>
                <a:cubicBezTo>
                  <a:pt x="411" y="53"/>
                  <a:pt x="411" y="53"/>
                  <a:pt x="411" y="53"/>
                </a:cubicBezTo>
                <a:cubicBezTo>
                  <a:pt x="410" y="53"/>
                  <a:pt x="410" y="53"/>
                  <a:pt x="410" y="53"/>
                </a:cubicBezTo>
                <a:cubicBezTo>
                  <a:pt x="409" y="53"/>
                  <a:pt x="409" y="54"/>
                  <a:pt x="409" y="54"/>
                </a:cubicBezTo>
                <a:cubicBezTo>
                  <a:pt x="408" y="55"/>
                  <a:pt x="407" y="54"/>
                  <a:pt x="407" y="55"/>
                </a:cubicBezTo>
                <a:cubicBezTo>
                  <a:pt x="406" y="55"/>
                  <a:pt x="405" y="56"/>
                  <a:pt x="404" y="57"/>
                </a:cubicBezTo>
                <a:cubicBezTo>
                  <a:pt x="404" y="57"/>
                  <a:pt x="404" y="58"/>
                  <a:pt x="402" y="58"/>
                </a:cubicBezTo>
                <a:cubicBezTo>
                  <a:pt x="401" y="59"/>
                  <a:pt x="401" y="59"/>
                  <a:pt x="400" y="60"/>
                </a:cubicBezTo>
                <a:cubicBezTo>
                  <a:pt x="396" y="62"/>
                  <a:pt x="392" y="63"/>
                  <a:pt x="388" y="64"/>
                </a:cubicBezTo>
                <a:cubicBezTo>
                  <a:pt x="387" y="65"/>
                  <a:pt x="387" y="65"/>
                  <a:pt x="387" y="65"/>
                </a:cubicBezTo>
                <a:cubicBezTo>
                  <a:pt x="387" y="65"/>
                  <a:pt x="388" y="65"/>
                  <a:pt x="388" y="65"/>
                </a:cubicBezTo>
                <a:cubicBezTo>
                  <a:pt x="389" y="65"/>
                  <a:pt x="391" y="66"/>
                  <a:pt x="392" y="67"/>
                </a:cubicBezTo>
                <a:cubicBezTo>
                  <a:pt x="392" y="67"/>
                  <a:pt x="393" y="68"/>
                  <a:pt x="392" y="68"/>
                </a:cubicBezTo>
                <a:cubicBezTo>
                  <a:pt x="393" y="69"/>
                  <a:pt x="394" y="70"/>
                  <a:pt x="393" y="71"/>
                </a:cubicBezTo>
                <a:cubicBezTo>
                  <a:pt x="393" y="78"/>
                  <a:pt x="380" y="78"/>
                  <a:pt x="374" y="76"/>
                </a:cubicBezTo>
                <a:cubicBezTo>
                  <a:pt x="373" y="75"/>
                  <a:pt x="371" y="73"/>
                  <a:pt x="370" y="72"/>
                </a:cubicBezTo>
                <a:cubicBezTo>
                  <a:pt x="368" y="73"/>
                  <a:pt x="366" y="74"/>
                  <a:pt x="366" y="73"/>
                </a:cubicBezTo>
                <a:cubicBezTo>
                  <a:pt x="365" y="72"/>
                  <a:pt x="367" y="71"/>
                  <a:pt x="369" y="70"/>
                </a:cubicBezTo>
                <a:cubicBezTo>
                  <a:pt x="369" y="70"/>
                  <a:pt x="369" y="70"/>
                  <a:pt x="369" y="70"/>
                </a:cubicBezTo>
                <a:cubicBezTo>
                  <a:pt x="368" y="69"/>
                  <a:pt x="366" y="69"/>
                  <a:pt x="366" y="69"/>
                </a:cubicBezTo>
                <a:cubicBezTo>
                  <a:pt x="366" y="67"/>
                  <a:pt x="370" y="65"/>
                  <a:pt x="374" y="64"/>
                </a:cubicBezTo>
                <a:cubicBezTo>
                  <a:pt x="369" y="65"/>
                  <a:pt x="362" y="65"/>
                  <a:pt x="358" y="66"/>
                </a:cubicBezTo>
                <a:cubicBezTo>
                  <a:pt x="358" y="66"/>
                  <a:pt x="351" y="68"/>
                  <a:pt x="351" y="67"/>
                </a:cubicBezTo>
                <a:cubicBezTo>
                  <a:pt x="350" y="66"/>
                  <a:pt x="356" y="66"/>
                  <a:pt x="357" y="65"/>
                </a:cubicBezTo>
                <a:cubicBezTo>
                  <a:pt x="363" y="65"/>
                  <a:pt x="372" y="62"/>
                  <a:pt x="379" y="62"/>
                </a:cubicBezTo>
                <a:cubicBezTo>
                  <a:pt x="379" y="62"/>
                  <a:pt x="379" y="62"/>
                  <a:pt x="379" y="62"/>
                </a:cubicBezTo>
                <a:cubicBezTo>
                  <a:pt x="379" y="62"/>
                  <a:pt x="380" y="62"/>
                  <a:pt x="379" y="62"/>
                </a:cubicBezTo>
                <a:cubicBezTo>
                  <a:pt x="379" y="63"/>
                  <a:pt x="379" y="63"/>
                  <a:pt x="378" y="63"/>
                </a:cubicBezTo>
                <a:cubicBezTo>
                  <a:pt x="379" y="63"/>
                  <a:pt x="381" y="63"/>
                  <a:pt x="382" y="63"/>
                </a:cubicBezTo>
                <a:cubicBezTo>
                  <a:pt x="382" y="62"/>
                  <a:pt x="383" y="61"/>
                  <a:pt x="383" y="61"/>
                </a:cubicBezTo>
                <a:cubicBezTo>
                  <a:pt x="384" y="61"/>
                  <a:pt x="384" y="62"/>
                  <a:pt x="384" y="62"/>
                </a:cubicBezTo>
                <a:cubicBezTo>
                  <a:pt x="385" y="61"/>
                  <a:pt x="385" y="60"/>
                  <a:pt x="386" y="60"/>
                </a:cubicBezTo>
                <a:cubicBezTo>
                  <a:pt x="387" y="59"/>
                  <a:pt x="389" y="59"/>
                  <a:pt x="390" y="59"/>
                </a:cubicBezTo>
                <a:cubicBezTo>
                  <a:pt x="392" y="58"/>
                  <a:pt x="393" y="57"/>
                  <a:pt x="395" y="56"/>
                </a:cubicBezTo>
                <a:cubicBezTo>
                  <a:pt x="396" y="56"/>
                  <a:pt x="396" y="56"/>
                  <a:pt x="396" y="56"/>
                </a:cubicBezTo>
                <a:cubicBezTo>
                  <a:pt x="398" y="55"/>
                  <a:pt x="399" y="53"/>
                  <a:pt x="400" y="52"/>
                </a:cubicBezTo>
                <a:cubicBezTo>
                  <a:pt x="401" y="52"/>
                  <a:pt x="402" y="53"/>
                  <a:pt x="402" y="52"/>
                </a:cubicBezTo>
                <a:cubicBezTo>
                  <a:pt x="404" y="52"/>
                  <a:pt x="405" y="51"/>
                  <a:pt x="407" y="50"/>
                </a:cubicBezTo>
                <a:cubicBezTo>
                  <a:pt x="409" y="50"/>
                  <a:pt x="411" y="48"/>
                  <a:pt x="411" y="48"/>
                </a:cubicBezTo>
                <a:cubicBezTo>
                  <a:pt x="412" y="48"/>
                  <a:pt x="412" y="49"/>
                  <a:pt x="412" y="49"/>
                </a:cubicBezTo>
                <a:cubicBezTo>
                  <a:pt x="413" y="48"/>
                  <a:pt x="413" y="48"/>
                  <a:pt x="413" y="47"/>
                </a:cubicBezTo>
                <a:cubicBezTo>
                  <a:pt x="414" y="47"/>
                  <a:pt x="414" y="48"/>
                  <a:pt x="415" y="48"/>
                </a:cubicBezTo>
                <a:cubicBezTo>
                  <a:pt x="415" y="47"/>
                  <a:pt x="415" y="47"/>
                  <a:pt x="416" y="46"/>
                </a:cubicBezTo>
                <a:cubicBezTo>
                  <a:pt x="416" y="46"/>
                  <a:pt x="416" y="47"/>
                  <a:pt x="417" y="47"/>
                </a:cubicBezTo>
                <a:cubicBezTo>
                  <a:pt x="417" y="47"/>
                  <a:pt x="417" y="46"/>
                  <a:pt x="418" y="45"/>
                </a:cubicBezTo>
                <a:cubicBezTo>
                  <a:pt x="419" y="45"/>
                  <a:pt x="419" y="46"/>
                  <a:pt x="420" y="45"/>
                </a:cubicBezTo>
                <a:cubicBezTo>
                  <a:pt x="420" y="45"/>
                  <a:pt x="420" y="44"/>
                  <a:pt x="421" y="44"/>
                </a:cubicBezTo>
                <a:cubicBezTo>
                  <a:pt x="422" y="43"/>
                  <a:pt x="424" y="43"/>
                  <a:pt x="425" y="42"/>
                </a:cubicBezTo>
                <a:cubicBezTo>
                  <a:pt x="427" y="40"/>
                  <a:pt x="432" y="39"/>
                  <a:pt x="435" y="36"/>
                </a:cubicBezTo>
                <a:cubicBezTo>
                  <a:pt x="438" y="35"/>
                  <a:pt x="441" y="33"/>
                  <a:pt x="444" y="32"/>
                </a:cubicBezTo>
                <a:cubicBezTo>
                  <a:pt x="444" y="32"/>
                  <a:pt x="443" y="32"/>
                  <a:pt x="443" y="32"/>
                </a:cubicBezTo>
                <a:cubicBezTo>
                  <a:pt x="440" y="31"/>
                  <a:pt x="439" y="28"/>
                  <a:pt x="438" y="28"/>
                </a:cubicBezTo>
                <a:cubicBezTo>
                  <a:pt x="437" y="28"/>
                  <a:pt x="437" y="28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5" y="30"/>
                  <a:pt x="434" y="30"/>
                  <a:pt x="433" y="31"/>
                </a:cubicBezTo>
                <a:cubicBezTo>
                  <a:pt x="432" y="31"/>
                  <a:pt x="431" y="31"/>
                  <a:pt x="431" y="30"/>
                </a:cubicBezTo>
                <a:cubicBezTo>
                  <a:pt x="431" y="30"/>
                  <a:pt x="431" y="30"/>
                  <a:pt x="431" y="30"/>
                </a:cubicBezTo>
                <a:cubicBezTo>
                  <a:pt x="430" y="30"/>
                  <a:pt x="430" y="31"/>
                  <a:pt x="429" y="31"/>
                </a:cubicBezTo>
                <a:cubicBezTo>
                  <a:pt x="428" y="32"/>
                  <a:pt x="425" y="32"/>
                  <a:pt x="424" y="31"/>
                </a:cubicBezTo>
                <a:cubicBezTo>
                  <a:pt x="424" y="31"/>
                  <a:pt x="425" y="30"/>
                  <a:pt x="426" y="30"/>
                </a:cubicBezTo>
                <a:cubicBezTo>
                  <a:pt x="426" y="30"/>
                  <a:pt x="425" y="29"/>
                  <a:pt x="425" y="29"/>
                </a:cubicBezTo>
                <a:cubicBezTo>
                  <a:pt x="424" y="30"/>
                  <a:pt x="423" y="30"/>
                  <a:pt x="423" y="30"/>
                </a:cubicBezTo>
                <a:cubicBezTo>
                  <a:pt x="418" y="29"/>
                  <a:pt x="416" y="25"/>
                  <a:pt x="419" y="23"/>
                </a:cubicBezTo>
                <a:cubicBezTo>
                  <a:pt x="421" y="21"/>
                  <a:pt x="429" y="22"/>
                  <a:pt x="429" y="26"/>
                </a:cubicBezTo>
                <a:cubicBezTo>
                  <a:pt x="429" y="29"/>
                  <a:pt x="428" y="27"/>
                  <a:pt x="431" y="27"/>
                </a:cubicBezTo>
                <a:cubicBezTo>
                  <a:pt x="434" y="26"/>
                  <a:pt x="435" y="27"/>
                  <a:pt x="436" y="25"/>
                </a:cubicBezTo>
                <a:cubicBezTo>
                  <a:pt x="439" y="21"/>
                  <a:pt x="442" y="21"/>
                  <a:pt x="446" y="22"/>
                </a:cubicBezTo>
                <a:cubicBezTo>
                  <a:pt x="446" y="21"/>
                  <a:pt x="448" y="21"/>
                  <a:pt x="449" y="22"/>
                </a:cubicBezTo>
                <a:cubicBezTo>
                  <a:pt x="450" y="22"/>
                  <a:pt x="450" y="21"/>
                  <a:pt x="451" y="21"/>
                </a:cubicBezTo>
                <a:cubicBezTo>
                  <a:pt x="452" y="22"/>
                  <a:pt x="451" y="23"/>
                  <a:pt x="450" y="24"/>
                </a:cubicBezTo>
                <a:cubicBezTo>
                  <a:pt x="451" y="25"/>
                  <a:pt x="452" y="26"/>
                  <a:pt x="452" y="28"/>
                </a:cubicBezTo>
                <a:cubicBezTo>
                  <a:pt x="451" y="28"/>
                  <a:pt x="451" y="29"/>
                  <a:pt x="451" y="30"/>
                </a:cubicBezTo>
                <a:cubicBezTo>
                  <a:pt x="451" y="29"/>
                  <a:pt x="451" y="29"/>
                  <a:pt x="452" y="29"/>
                </a:cubicBezTo>
                <a:cubicBezTo>
                  <a:pt x="453" y="29"/>
                  <a:pt x="455" y="29"/>
                  <a:pt x="457" y="29"/>
                </a:cubicBezTo>
                <a:cubicBezTo>
                  <a:pt x="458" y="28"/>
                  <a:pt x="458" y="27"/>
                  <a:pt x="460" y="27"/>
                </a:cubicBezTo>
                <a:cubicBezTo>
                  <a:pt x="461" y="26"/>
                  <a:pt x="463" y="26"/>
                  <a:pt x="465" y="26"/>
                </a:cubicBezTo>
                <a:cubicBezTo>
                  <a:pt x="463" y="25"/>
                  <a:pt x="462" y="25"/>
                  <a:pt x="460" y="25"/>
                </a:cubicBezTo>
                <a:cubicBezTo>
                  <a:pt x="462" y="25"/>
                  <a:pt x="462" y="23"/>
                  <a:pt x="461" y="23"/>
                </a:cubicBezTo>
                <a:cubicBezTo>
                  <a:pt x="461" y="23"/>
                  <a:pt x="462" y="21"/>
                  <a:pt x="463" y="20"/>
                </a:cubicBezTo>
                <a:cubicBezTo>
                  <a:pt x="464" y="20"/>
                  <a:pt x="465" y="20"/>
                  <a:pt x="466" y="20"/>
                </a:cubicBezTo>
                <a:cubicBezTo>
                  <a:pt x="466" y="20"/>
                  <a:pt x="467" y="20"/>
                  <a:pt x="468" y="20"/>
                </a:cubicBezTo>
                <a:cubicBezTo>
                  <a:pt x="468" y="21"/>
                  <a:pt x="467" y="21"/>
                  <a:pt x="466" y="21"/>
                </a:cubicBezTo>
                <a:cubicBezTo>
                  <a:pt x="468" y="22"/>
                  <a:pt x="468" y="23"/>
                  <a:pt x="468" y="24"/>
                </a:cubicBezTo>
                <a:cubicBezTo>
                  <a:pt x="469" y="23"/>
                  <a:pt x="470" y="23"/>
                  <a:pt x="471" y="22"/>
                </a:cubicBezTo>
                <a:cubicBezTo>
                  <a:pt x="471" y="22"/>
                  <a:pt x="470" y="22"/>
                  <a:pt x="470" y="21"/>
                </a:cubicBezTo>
                <a:cubicBezTo>
                  <a:pt x="469" y="20"/>
                  <a:pt x="471" y="19"/>
                  <a:pt x="473" y="19"/>
                </a:cubicBezTo>
                <a:cubicBezTo>
                  <a:pt x="473" y="19"/>
                  <a:pt x="473" y="19"/>
                  <a:pt x="473" y="19"/>
                </a:cubicBezTo>
                <a:cubicBezTo>
                  <a:pt x="456" y="13"/>
                  <a:pt x="438" y="9"/>
                  <a:pt x="419" y="5"/>
                </a:cubicBezTo>
                <a:cubicBezTo>
                  <a:pt x="427" y="10"/>
                  <a:pt x="416" y="16"/>
                  <a:pt x="410" y="12"/>
                </a:cubicBezTo>
                <a:cubicBezTo>
                  <a:pt x="408" y="10"/>
                  <a:pt x="409" y="9"/>
                  <a:pt x="407" y="7"/>
                </a:cubicBezTo>
                <a:cubicBezTo>
                  <a:pt x="408" y="6"/>
                  <a:pt x="410" y="5"/>
                  <a:pt x="412" y="4"/>
                </a:cubicBezTo>
                <a:cubicBezTo>
                  <a:pt x="408" y="4"/>
                  <a:pt x="405" y="3"/>
                  <a:pt x="401" y="3"/>
                </a:cubicBezTo>
                <a:cubicBezTo>
                  <a:pt x="401" y="3"/>
                  <a:pt x="401" y="3"/>
                  <a:pt x="401" y="3"/>
                </a:cubicBezTo>
                <a:cubicBezTo>
                  <a:pt x="398" y="2"/>
                  <a:pt x="396" y="2"/>
                  <a:pt x="393" y="2"/>
                </a:cubicBezTo>
                <a:cubicBezTo>
                  <a:pt x="392" y="6"/>
                  <a:pt x="385" y="4"/>
                  <a:pt x="382" y="1"/>
                </a:cubicBezTo>
                <a:cubicBezTo>
                  <a:pt x="374" y="0"/>
                  <a:pt x="366" y="0"/>
                  <a:pt x="357" y="0"/>
                </a:cubicBezTo>
                <a:cubicBezTo>
                  <a:pt x="343" y="0"/>
                  <a:pt x="328" y="1"/>
                  <a:pt x="314" y="3"/>
                </a:cubicBezTo>
                <a:cubicBezTo>
                  <a:pt x="314" y="3"/>
                  <a:pt x="314" y="3"/>
                  <a:pt x="315" y="3"/>
                </a:cubicBezTo>
                <a:cubicBezTo>
                  <a:pt x="315" y="3"/>
                  <a:pt x="315" y="3"/>
                  <a:pt x="315" y="3"/>
                </a:cubicBezTo>
                <a:cubicBezTo>
                  <a:pt x="315" y="4"/>
                  <a:pt x="314" y="3"/>
                  <a:pt x="314" y="3"/>
                </a:cubicBezTo>
                <a:cubicBezTo>
                  <a:pt x="138" y="24"/>
                  <a:pt x="1" y="173"/>
                  <a:pt x="0" y="354"/>
                </a:cubicBezTo>
                <a:cubicBezTo>
                  <a:pt x="0" y="354"/>
                  <a:pt x="0" y="353"/>
                  <a:pt x="1" y="353"/>
                </a:cubicBezTo>
                <a:cubicBezTo>
                  <a:pt x="1" y="353"/>
                  <a:pt x="2" y="356"/>
                  <a:pt x="1" y="356"/>
                </a:cubicBezTo>
                <a:cubicBezTo>
                  <a:pt x="0" y="357"/>
                  <a:pt x="0" y="356"/>
                  <a:pt x="0" y="356"/>
                </a:cubicBezTo>
                <a:cubicBezTo>
                  <a:pt x="0" y="356"/>
                  <a:pt x="0" y="357"/>
                  <a:pt x="0" y="357"/>
                </a:cubicBezTo>
                <a:cubicBezTo>
                  <a:pt x="0" y="375"/>
                  <a:pt x="1" y="392"/>
                  <a:pt x="4" y="409"/>
                </a:cubicBezTo>
                <a:cubicBezTo>
                  <a:pt x="4" y="409"/>
                  <a:pt x="4" y="409"/>
                  <a:pt x="4" y="409"/>
                </a:cubicBezTo>
                <a:cubicBezTo>
                  <a:pt x="5" y="409"/>
                  <a:pt x="5" y="412"/>
                  <a:pt x="5" y="412"/>
                </a:cubicBezTo>
                <a:cubicBezTo>
                  <a:pt x="4" y="413"/>
                  <a:pt x="4" y="413"/>
                  <a:pt x="4" y="413"/>
                </a:cubicBezTo>
                <a:cubicBezTo>
                  <a:pt x="5" y="418"/>
                  <a:pt x="6" y="424"/>
                  <a:pt x="7" y="429"/>
                </a:cubicBezTo>
                <a:cubicBezTo>
                  <a:pt x="8" y="429"/>
                  <a:pt x="8" y="429"/>
                  <a:pt x="8" y="429"/>
                </a:cubicBezTo>
                <a:cubicBezTo>
                  <a:pt x="9" y="430"/>
                  <a:pt x="8" y="430"/>
                  <a:pt x="7" y="431"/>
                </a:cubicBezTo>
                <a:cubicBezTo>
                  <a:pt x="8" y="433"/>
                  <a:pt x="8" y="435"/>
                  <a:pt x="9" y="438"/>
                </a:cubicBezTo>
                <a:cubicBezTo>
                  <a:pt x="9" y="438"/>
                  <a:pt x="9" y="438"/>
                  <a:pt x="9" y="438"/>
                </a:cubicBezTo>
                <a:cubicBezTo>
                  <a:pt x="9" y="440"/>
                  <a:pt x="10" y="441"/>
                  <a:pt x="10" y="443"/>
                </a:cubicBezTo>
                <a:cubicBezTo>
                  <a:pt x="10" y="443"/>
                  <a:pt x="10" y="443"/>
                  <a:pt x="10" y="442"/>
                </a:cubicBezTo>
                <a:cubicBezTo>
                  <a:pt x="10" y="442"/>
                  <a:pt x="10" y="442"/>
                  <a:pt x="10" y="441"/>
                </a:cubicBezTo>
                <a:cubicBezTo>
                  <a:pt x="10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2" y="441"/>
                  <a:pt x="13" y="440"/>
                  <a:pt x="14" y="440"/>
                </a:cubicBezTo>
                <a:cubicBezTo>
                  <a:pt x="14" y="439"/>
                  <a:pt x="15" y="438"/>
                  <a:pt x="16" y="439"/>
                </a:cubicBezTo>
                <a:cubicBezTo>
                  <a:pt x="17" y="439"/>
                  <a:pt x="17" y="439"/>
                  <a:pt x="18" y="440"/>
                </a:cubicBezTo>
                <a:cubicBezTo>
                  <a:pt x="20" y="443"/>
                  <a:pt x="19" y="438"/>
                  <a:pt x="18" y="438"/>
                </a:cubicBezTo>
                <a:cubicBezTo>
                  <a:pt x="18" y="438"/>
                  <a:pt x="18" y="438"/>
                  <a:pt x="17" y="437"/>
                </a:cubicBezTo>
                <a:cubicBezTo>
                  <a:pt x="17" y="437"/>
                  <a:pt x="17" y="437"/>
                  <a:pt x="17" y="436"/>
                </a:cubicBezTo>
                <a:cubicBezTo>
                  <a:pt x="17" y="435"/>
                  <a:pt x="17" y="432"/>
                  <a:pt x="17" y="431"/>
                </a:cubicBezTo>
                <a:cubicBezTo>
                  <a:pt x="17" y="433"/>
                  <a:pt x="18" y="434"/>
                  <a:pt x="19" y="435"/>
                </a:cubicBezTo>
                <a:cubicBezTo>
                  <a:pt x="19" y="435"/>
                  <a:pt x="19" y="435"/>
                  <a:pt x="19" y="435"/>
                </a:cubicBezTo>
                <a:cubicBezTo>
                  <a:pt x="20" y="435"/>
                  <a:pt x="19" y="436"/>
                  <a:pt x="19" y="436"/>
                </a:cubicBezTo>
                <a:cubicBezTo>
                  <a:pt x="19" y="437"/>
                  <a:pt x="19" y="437"/>
                  <a:pt x="19" y="438"/>
                </a:cubicBezTo>
                <a:cubicBezTo>
                  <a:pt x="20" y="437"/>
                  <a:pt x="19" y="435"/>
                  <a:pt x="21" y="434"/>
                </a:cubicBezTo>
                <a:cubicBezTo>
                  <a:pt x="20" y="436"/>
                  <a:pt x="20" y="437"/>
                  <a:pt x="21" y="438"/>
                </a:cubicBezTo>
                <a:cubicBezTo>
                  <a:pt x="21" y="438"/>
                  <a:pt x="22" y="438"/>
                  <a:pt x="22" y="438"/>
                </a:cubicBezTo>
                <a:cubicBezTo>
                  <a:pt x="22" y="438"/>
                  <a:pt x="22" y="438"/>
                  <a:pt x="22" y="438"/>
                </a:cubicBezTo>
                <a:cubicBezTo>
                  <a:pt x="23" y="438"/>
                  <a:pt x="23" y="438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3" y="435"/>
                  <a:pt x="23" y="434"/>
                  <a:pt x="23" y="434"/>
                </a:cubicBezTo>
                <a:cubicBezTo>
                  <a:pt x="23" y="433"/>
                  <a:pt x="22" y="433"/>
                  <a:pt x="21" y="434"/>
                </a:cubicBezTo>
                <a:cubicBezTo>
                  <a:pt x="20" y="434"/>
                  <a:pt x="20" y="435"/>
                  <a:pt x="19" y="434"/>
                </a:cubicBezTo>
                <a:cubicBezTo>
                  <a:pt x="19" y="434"/>
                  <a:pt x="19" y="434"/>
                  <a:pt x="19" y="433"/>
                </a:cubicBezTo>
                <a:cubicBezTo>
                  <a:pt x="19" y="433"/>
                  <a:pt x="19" y="433"/>
                  <a:pt x="19" y="433"/>
                </a:cubicBezTo>
                <a:cubicBezTo>
                  <a:pt x="18" y="433"/>
                  <a:pt x="19" y="431"/>
                  <a:pt x="18" y="429"/>
                </a:cubicBezTo>
                <a:cubicBezTo>
                  <a:pt x="17" y="430"/>
                  <a:pt x="16" y="429"/>
                  <a:pt x="16" y="426"/>
                </a:cubicBezTo>
                <a:cubicBezTo>
                  <a:pt x="16" y="426"/>
                  <a:pt x="16" y="426"/>
                  <a:pt x="16" y="426"/>
                </a:cubicBezTo>
                <a:cubicBezTo>
                  <a:pt x="16" y="427"/>
                  <a:pt x="14" y="432"/>
                  <a:pt x="15" y="433"/>
                </a:cubicBezTo>
                <a:cubicBezTo>
                  <a:pt x="15" y="433"/>
                  <a:pt x="16" y="437"/>
                  <a:pt x="14" y="435"/>
                </a:cubicBezTo>
                <a:cubicBezTo>
                  <a:pt x="12" y="434"/>
                  <a:pt x="15" y="429"/>
                  <a:pt x="15" y="426"/>
                </a:cubicBezTo>
                <a:cubicBezTo>
                  <a:pt x="14" y="426"/>
                  <a:pt x="14" y="426"/>
                  <a:pt x="14" y="425"/>
                </a:cubicBezTo>
                <a:cubicBezTo>
                  <a:pt x="13" y="424"/>
                  <a:pt x="14" y="424"/>
                  <a:pt x="14" y="423"/>
                </a:cubicBezTo>
                <a:cubicBezTo>
                  <a:pt x="14" y="423"/>
                  <a:pt x="14" y="422"/>
                  <a:pt x="15" y="422"/>
                </a:cubicBezTo>
                <a:cubicBezTo>
                  <a:pt x="14" y="421"/>
                  <a:pt x="13" y="422"/>
                  <a:pt x="12" y="421"/>
                </a:cubicBezTo>
                <a:cubicBezTo>
                  <a:pt x="13" y="421"/>
                  <a:pt x="11" y="419"/>
                  <a:pt x="11" y="420"/>
                </a:cubicBezTo>
                <a:cubicBezTo>
                  <a:pt x="11" y="417"/>
                  <a:pt x="14" y="417"/>
                  <a:pt x="15" y="419"/>
                </a:cubicBezTo>
                <a:cubicBezTo>
                  <a:pt x="14" y="418"/>
                  <a:pt x="16" y="419"/>
                  <a:pt x="17" y="418"/>
                </a:cubicBezTo>
                <a:cubicBezTo>
                  <a:pt x="16" y="418"/>
                  <a:pt x="17" y="413"/>
                  <a:pt x="19" y="413"/>
                </a:cubicBezTo>
                <a:cubicBezTo>
                  <a:pt x="19" y="413"/>
                  <a:pt x="18" y="416"/>
                  <a:pt x="19" y="417"/>
                </a:cubicBezTo>
                <a:cubicBezTo>
                  <a:pt x="19" y="417"/>
                  <a:pt x="19" y="417"/>
                  <a:pt x="19" y="417"/>
                </a:cubicBezTo>
                <a:cubicBezTo>
                  <a:pt x="19" y="417"/>
                  <a:pt x="19" y="416"/>
                  <a:pt x="20" y="417"/>
                </a:cubicBezTo>
                <a:cubicBezTo>
                  <a:pt x="20" y="417"/>
                  <a:pt x="21" y="418"/>
                  <a:pt x="20" y="419"/>
                </a:cubicBezTo>
                <a:cubicBezTo>
                  <a:pt x="20" y="419"/>
                  <a:pt x="20" y="419"/>
                  <a:pt x="20" y="419"/>
                </a:cubicBezTo>
                <a:cubicBezTo>
                  <a:pt x="21" y="419"/>
                  <a:pt x="20" y="420"/>
                  <a:pt x="19" y="420"/>
                </a:cubicBezTo>
                <a:cubicBezTo>
                  <a:pt x="17" y="421"/>
                  <a:pt x="19" y="421"/>
                  <a:pt x="20" y="422"/>
                </a:cubicBezTo>
                <a:cubicBezTo>
                  <a:pt x="20" y="422"/>
                  <a:pt x="20" y="422"/>
                  <a:pt x="21" y="422"/>
                </a:cubicBezTo>
                <a:cubicBezTo>
                  <a:pt x="21" y="422"/>
                  <a:pt x="21" y="422"/>
                  <a:pt x="21" y="422"/>
                </a:cubicBezTo>
                <a:cubicBezTo>
                  <a:pt x="22" y="423"/>
                  <a:pt x="22" y="423"/>
                  <a:pt x="22" y="424"/>
                </a:cubicBezTo>
                <a:cubicBezTo>
                  <a:pt x="22" y="424"/>
                  <a:pt x="23" y="423"/>
                  <a:pt x="24" y="423"/>
                </a:cubicBezTo>
                <a:cubicBezTo>
                  <a:pt x="25" y="423"/>
                  <a:pt x="24" y="425"/>
                  <a:pt x="26" y="425"/>
                </a:cubicBezTo>
                <a:cubicBezTo>
                  <a:pt x="26" y="425"/>
                  <a:pt x="26" y="425"/>
                  <a:pt x="26" y="425"/>
                </a:cubicBezTo>
                <a:cubicBezTo>
                  <a:pt x="27" y="422"/>
                  <a:pt x="30" y="417"/>
                  <a:pt x="26" y="418"/>
                </a:cubicBezTo>
                <a:cubicBezTo>
                  <a:pt x="29" y="416"/>
                  <a:pt x="25" y="414"/>
                  <a:pt x="24" y="414"/>
                </a:cubicBezTo>
                <a:cubicBezTo>
                  <a:pt x="23" y="412"/>
                  <a:pt x="25" y="415"/>
                  <a:pt x="25" y="414"/>
                </a:cubicBezTo>
                <a:cubicBezTo>
                  <a:pt x="27" y="413"/>
                  <a:pt x="24" y="411"/>
                  <a:pt x="24" y="408"/>
                </a:cubicBezTo>
                <a:cubicBezTo>
                  <a:pt x="24" y="408"/>
                  <a:pt x="26" y="406"/>
                  <a:pt x="26" y="406"/>
                </a:cubicBezTo>
                <a:cubicBezTo>
                  <a:pt x="27" y="404"/>
                  <a:pt x="24" y="405"/>
                  <a:pt x="27" y="404"/>
                </a:cubicBezTo>
                <a:cubicBezTo>
                  <a:pt x="29" y="404"/>
                  <a:pt x="29" y="400"/>
                  <a:pt x="30" y="399"/>
                </a:cubicBezTo>
                <a:cubicBezTo>
                  <a:pt x="30" y="399"/>
                  <a:pt x="34" y="398"/>
                  <a:pt x="34" y="396"/>
                </a:cubicBezTo>
                <a:cubicBezTo>
                  <a:pt x="30" y="400"/>
                  <a:pt x="28" y="395"/>
                  <a:pt x="29" y="394"/>
                </a:cubicBezTo>
                <a:cubicBezTo>
                  <a:pt x="29" y="394"/>
                  <a:pt x="28" y="391"/>
                  <a:pt x="31" y="391"/>
                </a:cubicBezTo>
                <a:cubicBezTo>
                  <a:pt x="33" y="390"/>
                  <a:pt x="32" y="391"/>
                  <a:pt x="34" y="389"/>
                </a:cubicBezTo>
                <a:cubicBezTo>
                  <a:pt x="35" y="388"/>
                  <a:pt x="34" y="396"/>
                  <a:pt x="35" y="396"/>
                </a:cubicBezTo>
                <a:cubicBezTo>
                  <a:pt x="36" y="398"/>
                  <a:pt x="36" y="395"/>
                  <a:pt x="37" y="398"/>
                </a:cubicBezTo>
                <a:cubicBezTo>
                  <a:pt x="38" y="404"/>
                  <a:pt x="42" y="414"/>
                  <a:pt x="34" y="417"/>
                </a:cubicBezTo>
                <a:cubicBezTo>
                  <a:pt x="32" y="418"/>
                  <a:pt x="31" y="417"/>
                  <a:pt x="30" y="418"/>
                </a:cubicBezTo>
                <a:cubicBezTo>
                  <a:pt x="28" y="420"/>
                  <a:pt x="28" y="422"/>
                  <a:pt x="27" y="425"/>
                </a:cubicBezTo>
                <a:cubicBezTo>
                  <a:pt x="27" y="425"/>
                  <a:pt x="27" y="425"/>
                  <a:pt x="27" y="425"/>
                </a:cubicBezTo>
                <a:cubicBezTo>
                  <a:pt x="28" y="425"/>
                  <a:pt x="27" y="426"/>
                  <a:pt x="28" y="427"/>
                </a:cubicBezTo>
                <a:cubicBezTo>
                  <a:pt x="28" y="427"/>
                  <a:pt x="29" y="427"/>
                  <a:pt x="30" y="427"/>
                </a:cubicBezTo>
                <a:cubicBezTo>
                  <a:pt x="30" y="426"/>
                  <a:pt x="30" y="426"/>
                  <a:pt x="31" y="426"/>
                </a:cubicBezTo>
                <a:cubicBezTo>
                  <a:pt x="31" y="426"/>
                  <a:pt x="31" y="426"/>
                  <a:pt x="31" y="427"/>
                </a:cubicBezTo>
                <a:cubicBezTo>
                  <a:pt x="31" y="427"/>
                  <a:pt x="32" y="427"/>
                  <a:pt x="32" y="427"/>
                </a:cubicBezTo>
                <a:cubicBezTo>
                  <a:pt x="32" y="428"/>
                  <a:pt x="31" y="430"/>
                  <a:pt x="33" y="429"/>
                </a:cubicBezTo>
                <a:cubicBezTo>
                  <a:pt x="33" y="430"/>
                  <a:pt x="33" y="432"/>
                  <a:pt x="33" y="433"/>
                </a:cubicBezTo>
                <a:cubicBezTo>
                  <a:pt x="33" y="433"/>
                  <a:pt x="33" y="433"/>
                  <a:pt x="33" y="433"/>
                </a:cubicBezTo>
                <a:cubicBezTo>
                  <a:pt x="34" y="433"/>
                  <a:pt x="36" y="432"/>
                  <a:pt x="35" y="432"/>
                </a:cubicBezTo>
                <a:cubicBezTo>
                  <a:pt x="36" y="432"/>
                  <a:pt x="35" y="435"/>
                  <a:pt x="34" y="436"/>
                </a:cubicBezTo>
                <a:cubicBezTo>
                  <a:pt x="34" y="437"/>
                  <a:pt x="34" y="437"/>
                  <a:pt x="35" y="437"/>
                </a:cubicBezTo>
                <a:cubicBezTo>
                  <a:pt x="34" y="437"/>
                  <a:pt x="38" y="431"/>
                  <a:pt x="39" y="435"/>
                </a:cubicBezTo>
                <a:cubicBezTo>
                  <a:pt x="39" y="434"/>
                  <a:pt x="39" y="434"/>
                  <a:pt x="39" y="434"/>
                </a:cubicBezTo>
                <a:cubicBezTo>
                  <a:pt x="39" y="434"/>
                  <a:pt x="41" y="432"/>
                  <a:pt x="41" y="432"/>
                </a:cubicBezTo>
                <a:cubicBezTo>
                  <a:pt x="43" y="433"/>
                  <a:pt x="41" y="437"/>
                  <a:pt x="40" y="439"/>
                </a:cubicBezTo>
                <a:cubicBezTo>
                  <a:pt x="42" y="439"/>
                  <a:pt x="43" y="440"/>
                  <a:pt x="42" y="441"/>
                </a:cubicBezTo>
                <a:cubicBezTo>
                  <a:pt x="42" y="441"/>
                  <a:pt x="42" y="442"/>
                  <a:pt x="42" y="442"/>
                </a:cubicBezTo>
                <a:cubicBezTo>
                  <a:pt x="42" y="442"/>
                  <a:pt x="42" y="443"/>
                  <a:pt x="41" y="443"/>
                </a:cubicBezTo>
                <a:cubicBezTo>
                  <a:pt x="41" y="443"/>
                  <a:pt x="40" y="444"/>
                  <a:pt x="40" y="444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5"/>
                  <a:pt x="39" y="447"/>
                  <a:pt x="38" y="448"/>
                </a:cubicBezTo>
                <a:cubicBezTo>
                  <a:pt x="38" y="449"/>
                  <a:pt x="38" y="449"/>
                  <a:pt x="38" y="450"/>
                </a:cubicBezTo>
                <a:cubicBezTo>
                  <a:pt x="38" y="450"/>
                  <a:pt x="38" y="450"/>
                  <a:pt x="39" y="450"/>
                </a:cubicBezTo>
                <a:cubicBezTo>
                  <a:pt x="39" y="449"/>
                  <a:pt x="40" y="448"/>
                  <a:pt x="41" y="447"/>
                </a:cubicBezTo>
                <a:cubicBezTo>
                  <a:pt x="41" y="448"/>
                  <a:pt x="40" y="450"/>
                  <a:pt x="39" y="451"/>
                </a:cubicBezTo>
                <a:cubicBezTo>
                  <a:pt x="39" y="451"/>
                  <a:pt x="39" y="451"/>
                  <a:pt x="39" y="451"/>
                </a:cubicBezTo>
                <a:cubicBezTo>
                  <a:pt x="39" y="451"/>
                  <a:pt x="40" y="451"/>
                  <a:pt x="40" y="451"/>
                </a:cubicBezTo>
                <a:cubicBezTo>
                  <a:pt x="40" y="451"/>
                  <a:pt x="39" y="452"/>
                  <a:pt x="39" y="451"/>
                </a:cubicBezTo>
                <a:cubicBezTo>
                  <a:pt x="38" y="453"/>
                  <a:pt x="35" y="455"/>
                  <a:pt x="35" y="457"/>
                </a:cubicBezTo>
                <a:cubicBezTo>
                  <a:pt x="35" y="456"/>
                  <a:pt x="35" y="456"/>
                  <a:pt x="35" y="456"/>
                </a:cubicBezTo>
                <a:cubicBezTo>
                  <a:pt x="36" y="456"/>
                  <a:pt x="36" y="458"/>
                  <a:pt x="36" y="459"/>
                </a:cubicBezTo>
                <a:cubicBezTo>
                  <a:pt x="36" y="459"/>
                  <a:pt x="37" y="459"/>
                  <a:pt x="37" y="460"/>
                </a:cubicBezTo>
                <a:cubicBezTo>
                  <a:pt x="37" y="461"/>
                  <a:pt x="35" y="463"/>
                  <a:pt x="34" y="463"/>
                </a:cubicBezTo>
                <a:cubicBezTo>
                  <a:pt x="34" y="463"/>
                  <a:pt x="34" y="462"/>
                  <a:pt x="34" y="462"/>
                </a:cubicBezTo>
                <a:cubicBezTo>
                  <a:pt x="34" y="462"/>
                  <a:pt x="34" y="462"/>
                  <a:pt x="34" y="462"/>
                </a:cubicBezTo>
                <a:cubicBezTo>
                  <a:pt x="34" y="462"/>
                  <a:pt x="33" y="463"/>
                  <a:pt x="33" y="463"/>
                </a:cubicBezTo>
                <a:cubicBezTo>
                  <a:pt x="31" y="462"/>
                  <a:pt x="33" y="461"/>
                  <a:pt x="34" y="461"/>
                </a:cubicBezTo>
                <a:cubicBezTo>
                  <a:pt x="34" y="461"/>
                  <a:pt x="34" y="460"/>
                  <a:pt x="33" y="460"/>
                </a:cubicBezTo>
                <a:cubicBezTo>
                  <a:pt x="33" y="460"/>
                  <a:pt x="33" y="460"/>
                  <a:pt x="33" y="461"/>
                </a:cubicBezTo>
                <a:cubicBezTo>
                  <a:pt x="32" y="462"/>
                  <a:pt x="31" y="461"/>
                  <a:pt x="32" y="460"/>
                </a:cubicBezTo>
                <a:cubicBezTo>
                  <a:pt x="29" y="460"/>
                  <a:pt x="23" y="461"/>
                  <a:pt x="24" y="461"/>
                </a:cubicBezTo>
                <a:cubicBezTo>
                  <a:pt x="23" y="461"/>
                  <a:pt x="21" y="469"/>
                  <a:pt x="21" y="464"/>
                </a:cubicBezTo>
                <a:cubicBezTo>
                  <a:pt x="21" y="464"/>
                  <a:pt x="21" y="465"/>
                  <a:pt x="20" y="465"/>
                </a:cubicBezTo>
                <a:cubicBezTo>
                  <a:pt x="20" y="465"/>
                  <a:pt x="20" y="465"/>
                  <a:pt x="20" y="465"/>
                </a:cubicBezTo>
                <a:cubicBezTo>
                  <a:pt x="20" y="465"/>
                  <a:pt x="20" y="466"/>
                  <a:pt x="19" y="465"/>
                </a:cubicBezTo>
                <a:cubicBezTo>
                  <a:pt x="19" y="465"/>
                  <a:pt x="19" y="466"/>
                  <a:pt x="19" y="466"/>
                </a:cubicBezTo>
                <a:cubicBezTo>
                  <a:pt x="19" y="467"/>
                  <a:pt x="18" y="465"/>
                  <a:pt x="18" y="465"/>
                </a:cubicBezTo>
                <a:cubicBezTo>
                  <a:pt x="17" y="464"/>
                  <a:pt x="17" y="464"/>
                  <a:pt x="16" y="464"/>
                </a:cubicBezTo>
                <a:cubicBezTo>
                  <a:pt x="16" y="464"/>
                  <a:pt x="16" y="463"/>
                  <a:pt x="16" y="463"/>
                </a:cubicBezTo>
                <a:cubicBezTo>
                  <a:pt x="17" y="466"/>
                  <a:pt x="17" y="468"/>
                  <a:pt x="18" y="470"/>
                </a:cubicBezTo>
                <a:cubicBezTo>
                  <a:pt x="18" y="471"/>
                  <a:pt x="19" y="471"/>
                  <a:pt x="18" y="471"/>
                </a:cubicBezTo>
                <a:cubicBezTo>
                  <a:pt x="18" y="472"/>
                  <a:pt x="19" y="472"/>
                  <a:pt x="19" y="472"/>
                </a:cubicBezTo>
                <a:cubicBezTo>
                  <a:pt x="19" y="472"/>
                  <a:pt x="19" y="472"/>
                  <a:pt x="19" y="471"/>
                </a:cubicBezTo>
                <a:cubicBezTo>
                  <a:pt x="20" y="470"/>
                  <a:pt x="21" y="470"/>
                  <a:pt x="22" y="469"/>
                </a:cubicBezTo>
                <a:cubicBezTo>
                  <a:pt x="21" y="468"/>
                  <a:pt x="22" y="466"/>
                  <a:pt x="23" y="467"/>
                </a:cubicBezTo>
                <a:cubicBezTo>
                  <a:pt x="24" y="467"/>
                  <a:pt x="24" y="468"/>
                  <a:pt x="23" y="469"/>
                </a:cubicBezTo>
                <a:cubicBezTo>
                  <a:pt x="23" y="469"/>
                  <a:pt x="23" y="469"/>
                  <a:pt x="24" y="469"/>
                </a:cubicBezTo>
                <a:cubicBezTo>
                  <a:pt x="24" y="469"/>
                  <a:pt x="24" y="469"/>
                  <a:pt x="24" y="469"/>
                </a:cubicBezTo>
                <a:cubicBezTo>
                  <a:pt x="26" y="468"/>
                  <a:pt x="28" y="469"/>
                  <a:pt x="29" y="470"/>
                </a:cubicBezTo>
                <a:cubicBezTo>
                  <a:pt x="29" y="470"/>
                  <a:pt x="30" y="470"/>
                  <a:pt x="30" y="470"/>
                </a:cubicBezTo>
                <a:cubicBezTo>
                  <a:pt x="30" y="470"/>
                  <a:pt x="30" y="470"/>
                  <a:pt x="30" y="470"/>
                </a:cubicBezTo>
                <a:cubicBezTo>
                  <a:pt x="30" y="470"/>
                  <a:pt x="31" y="471"/>
                  <a:pt x="30" y="471"/>
                </a:cubicBezTo>
                <a:cubicBezTo>
                  <a:pt x="32" y="472"/>
                  <a:pt x="33" y="475"/>
                  <a:pt x="33" y="477"/>
                </a:cubicBezTo>
                <a:cubicBezTo>
                  <a:pt x="33" y="477"/>
                  <a:pt x="32" y="480"/>
                  <a:pt x="31" y="480"/>
                </a:cubicBezTo>
                <a:cubicBezTo>
                  <a:pt x="31" y="480"/>
                  <a:pt x="30" y="479"/>
                  <a:pt x="30" y="480"/>
                </a:cubicBezTo>
                <a:cubicBezTo>
                  <a:pt x="30" y="480"/>
                  <a:pt x="30" y="480"/>
                  <a:pt x="30" y="480"/>
                </a:cubicBezTo>
                <a:cubicBezTo>
                  <a:pt x="29" y="480"/>
                  <a:pt x="29" y="481"/>
                  <a:pt x="29" y="481"/>
                </a:cubicBezTo>
                <a:cubicBezTo>
                  <a:pt x="29" y="481"/>
                  <a:pt x="30" y="481"/>
                  <a:pt x="30" y="482"/>
                </a:cubicBezTo>
                <a:cubicBezTo>
                  <a:pt x="30" y="482"/>
                  <a:pt x="29" y="483"/>
                  <a:pt x="28" y="482"/>
                </a:cubicBezTo>
                <a:cubicBezTo>
                  <a:pt x="28" y="482"/>
                  <a:pt x="28" y="482"/>
                  <a:pt x="28" y="482"/>
                </a:cubicBezTo>
                <a:cubicBezTo>
                  <a:pt x="28" y="483"/>
                  <a:pt x="28" y="484"/>
                  <a:pt x="28" y="485"/>
                </a:cubicBezTo>
                <a:cubicBezTo>
                  <a:pt x="29" y="485"/>
                  <a:pt x="31" y="483"/>
                  <a:pt x="32" y="485"/>
                </a:cubicBezTo>
                <a:cubicBezTo>
                  <a:pt x="29" y="485"/>
                  <a:pt x="31" y="486"/>
                  <a:pt x="31" y="489"/>
                </a:cubicBezTo>
                <a:cubicBezTo>
                  <a:pt x="31" y="493"/>
                  <a:pt x="30" y="491"/>
                  <a:pt x="32" y="488"/>
                </a:cubicBezTo>
                <a:cubicBezTo>
                  <a:pt x="33" y="487"/>
                  <a:pt x="33" y="489"/>
                  <a:pt x="35" y="487"/>
                </a:cubicBezTo>
                <a:cubicBezTo>
                  <a:pt x="35" y="486"/>
                  <a:pt x="35" y="484"/>
                  <a:pt x="35" y="482"/>
                </a:cubicBezTo>
                <a:cubicBezTo>
                  <a:pt x="35" y="482"/>
                  <a:pt x="35" y="482"/>
                  <a:pt x="35" y="482"/>
                </a:cubicBezTo>
                <a:cubicBezTo>
                  <a:pt x="35" y="481"/>
                  <a:pt x="35" y="481"/>
                  <a:pt x="35" y="480"/>
                </a:cubicBezTo>
                <a:cubicBezTo>
                  <a:pt x="35" y="482"/>
                  <a:pt x="31" y="480"/>
                  <a:pt x="33" y="479"/>
                </a:cubicBezTo>
                <a:cubicBezTo>
                  <a:pt x="33" y="479"/>
                  <a:pt x="33" y="479"/>
                  <a:pt x="34" y="478"/>
                </a:cubicBezTo>
                <a:cubicBezTo>
                  <a:pt x="34" y="477"/>
                  <a:pt x="35" y="474"/>
                  <a:pt x="36" y="473"/>
                </a:cubicBezTo>
                <a:cubicBezTo>
                  <a:pt x="36" y="470"/>
                  <a:pt x="37" y="470"/>
                  <a:pt x="36" y="473"/>
                </a:cubicBezTo>
                <a:cubicBezTo>
                  <a:pt x="36" y="475"/>
                  <a:pt x="36" y="477"/>
                  <a:pt x="35" y="478"/>
                </a:cubicBezTo>
                <a:cubicBezTo>
                  <a:pt x="37" y="477"/>
                  <a:pt x="35" y="476"/>
                  <a:pt x="36" y="475"/>
                </a:cubicBezTo>
                <a:cubicBezTo>
                  <a:pt x="36" y="474"/>
                  <a:pt x="38" y="473"/>
                  <a:pt x="39" y="472"/>
                </a:cubicBezTo>
                <a:cubicBezTo>
                  <a:pt x="39" y="472"/>
                  <a:pt x="39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39" y="469"/>
                  <a:pt x="43" y="469"/>
                  <a:pt x="42" y="470"/>
                </a:cubicBezTo>
                <a:cubicBezTo>
                  <a:pt x="43" y="470"/>
                  <a:pt x="43" y="470"/>
                  <a:pt x="43" y="470"/>
                </a:cubicBezTo>
                <a:cubicBezTo>
                  <a:pt x="43" y="470"/>
                  <a:pt x="44" y="470"/>
                  <a:pt x="44" y="471"/>
                </a:cubicBezTo>
                <a:cubicBezTo>
                  <a:pt x="44" y="471"/>
                  <a:pt x="44" y="471"/>
                  <a:pt x="44" y="471"/>
                </a:cubicBezTo>
                <a:cubicBezTo>
                  <a:pt x="44" y="471"/>
                  <a:pt x="45" y="473"/>
                  <a:pt x="46" y="474"/>
                </a:cubicBezTo>
                <a:cubicBezTo>
                  <a:pt x="46" y="474"/>
                  <a:pt x="47" y="474"/>
                  <a:pt x="47" y="474"/>
                </a:cubicBezTo>
                <a:cubicBezTo>
                  <a:pt x="47" y="474"/>
                  <a:pt x="47" y="475"/>
                  <a:pt x="47" y="475"/>
                </a:cubicBezTo>
                <a:cubicBezTo>
                  <a:pt x="47" y="475"/>
                  <a:pt x="48" y="475"/>
                  <a:pt x="48" y="474"/>
                </a:cubicBezTo>
                <a:cubicBezTo>
                  <a:pt x="48" y="474"/>
                  <a:pt x="48" y="473"/>
                  <a:pt x="48" y="473"/>
                </a:cubicBezTo>
                <a:cubicBezTo>
                  <a:pt x="49" y="473"/>
                  <a:pt x="56" y="472"/>
                  <a:pt x="53" y="470"/>
                </a:cubicBezTo>
                <a:cubicBezTo>
                  <a:pt x="52" y="470"/>
                  <a:pt x="52" y="471"/>
                  <a:pt x="52" y="471"/>
                </a:cubicBezTo>
                <a:cubicBezTo>
                  <a:pt x="52" y="471"/>
                  <a:pt x="52" y="470"/>
                  <a:pt x="51" y="470"/>
                </a:cubicBezTo>
                <a:cubicBezTo>
                  <a:pt x="50" y="470"/>
                  <a:pt x="49" y="472"/>
                  <a:pt x="48" y="472"/>
                </a:cubicBezTo>
                <a:cubicBezTo>
                  <a:pt x="50" y="471"/>
                  <a:pt x="48" y="468"/>
                  <a:pt x="49" y="467"/>
                </a:cubicBezTo>
                <a:cubicBezTo>
                  <a:pt x="51" y="467"/>
                  <a:pt x="53" y="470"/>
                  <a:pt x="55" y="470"/>
                </a:cubicBezTo>
                <a:cubicBezTo>
                  <a:pt x="58" y="469"/>
                  <a:pt x="59" y="467"/>
                  <a:pt x="60" y="465"/>
                </a:cubicBezTo>
                <a:cubicBezTo>
                  <a:pt x="59" y="466"/>
                  <a:pt x="57" y="466"/>
                  <a:pt x="56" y="465"/>
                </a:cubicBezTo>
                <a:cubicBezTo>
                  <a:pt x="55" y="466"/>
                  <a:pt x="54" y="467"/>
                  <a:pt x="53" y="465"/>
                </a:cubicBezTo>
                <a:cubicBezTo>
                  <a:pt x="52" y="463"/>
                  <a:pt x="48" y="460"/>
                  <a:pt x="50" y="458"/>
                </a:cubicBezTo>
                <a:cubicBezTo>
                  <a:pt x="53" y="455"/>
                  <a:pt x="58" y="451"/>
                  <a:pt x="59" y="445"/>
                </a:cubicBezTo>
                <a:cubicBezTo>
                  <a:pt x="55" y="450"/>
                  <a:pt x="54" y="444"/>
                  <a:pt x="59" y="443"/>
                </a:cubicBezTo>
                <a:cubicBezTo>
                  <a:pt x="58" y="445"/>
                  <a:pt x="60" y="444"/>
                  <a:pt x="61" y="445"/>
                </a:cubicBezTo>
                <a:cubicBezTo>
                  <a:pt x="61" y="445"/>
                  <a:pt x="61" y="446"/>
                  <a:pt x="61" y="446"/>
                </a:cubicBezTo>
                <a:cubicBezTo>
                  <a:pt x="61" y="446"/>
                  <a:pt x="61" y="446"/>
                  <a:pt x="61" y="446"/>
                </a:cubicBezTo>
                <a:cubicBezTo>
                  <a:pt x="63" y="446"/>
                  <a:pt x="60" y="450"/>
                  <a:pt x="60" y="447"/>
                </a:cubicBezTo>
                <a:cubicBezTo>
                  <a:pt x="60" y="447"/>
                  <a:pt x="60" y="447"/>
                  <a:pt x="60" y="447"/>
                </a:cubicBezTo>
                <a:cubicBezTo>
                  <a:pt x="60" y="448"/>
                  <a:pt x="59" y="448"/>
                  <a:pt x="59" y="449"/>
                </a:cubicBezTo>
                <a:cubicBezTo>
                  <a:pt x="59" y="452"/>
                  <a:pt x="59" y="456"/>
                  <a:pt x="60" y="459"/>
                </a:cubicBezTo>
                <a:cubicBezTo>
                  <a:pt x="61" y="459"/>
                  <a:pt x="61" y="459"/>
                  <a:pt x="62" y="460"/>
                </a:cubicBezTo>
                <a:cubicBezTo>
                  <a:pt x="62" y="460"/>
                  <a:pt x="62" y="460"/>
                  <a:pt x="62" y="461"/>
                </a:cubicBezTo>
                <a:cubicBezTo>
                  <a:pt x="63" y="462"/>
                  <a:pt x="64" y="461"/>
                  <a:pt x="66" y="457"/>
                </a:cubicBezTo>
                <a:cubicBezTo>
                  <a:pt x="67" y="464"/>
                  <a:pt x="71" y="455"/>
                  <a:pt x="70" y="453"/>
                </a:cubicBezTo>
                <a:cubicBezTo>
                  <a:pt x="70" y="453"/>
                  <a:pt x="68" y="453"/>
                  <a:pt x="68" y="452"/>
                </a:cubicBezTo>
                <a:cubicBezTo>
                  <a:pt x="67" y="452"/>
                  <a:pt x="68" y="449"/>
                  <a:pt x="68" y="447"/>
                </a:cubicBezTo>
                <a:cubicBezTo>
                  <a:pt x="69" y="446"/>
                  <a:pt x="73" y="440"/>
                  <a:pt x="72" y="445"/>
                </a:cubicBezTo>
                <a:cubicBezTo>
                  <a:pt x="71" y="446"/>
                  <a:pt x="71" y="448"/>
                  <a:pt x="71" y="449"/>
                </a:cubicBezTo>
                <a:cubicBezTo>
                  <a:pt x="72" y="449"/>
                  <a:pt x="72" y="449"/>
                  <a:pt x="71" y="449"/>
                </a:cubicBezTo>
                <a:cubicBezTo>
                  <a:pt x="71" y="449"/>
                  <a:pt x="71" y="449"/>
                  <a:pt x="71" y="449"/>
                </a:cubicBezTo>
                <a:cubicBezTo>
                  <a:pt x="71" y="450"/>
                  <a:pt x="71" y="452"/>
                  <a:pt x="71" y="453"/>
                </a:cubicBezTo>
                <a:cubicBezTo>
                  <a:pt x="71" y="455"/>
                  <a:pt x="70" y="457"/>
                  <a:pt x="70" y="458"/>
                </a:cubicBezTo>
                <a:cubicBezTo>
                  <a:pt x="70" y="458"/>
                  <a:pt x="70" y="458"/>
                  <a:pt x="71" y="459"/>
                </a:cubicBezTo>
                <a:cubicBezTo>
                  <a:pt x="71" y="459"/>
                  <a:pt x="72" y="459"/>
                  <a:pt x="72" y="460"/>
                </a:cubicBezTo>
                <a:cubicBezTo>
                  <a:pt x="71" y="460"/>
                  <a:pt x="71" y="460"/>
                  <a:pt x="71" y="460"/>
                </a:cubicBezTo>
                <a:cubicBezTo>
                  <a:pt x="71" y="461"/>
                  <a:pt x="72" y="461"/>
                  <a:pt x="72" y="461"/>
                </a:cubicBezTo>
                <a:cubicBezTo>
                  <a:pt x="74" y="461"/>
                  <a:pt x="74" y="453"/>
                  <a:pt x="73" y="450"/>
                </a:cubicBezTo>
                <a:cubicBezTo>
                  <a:pt x="73" y="450"/>
                  <a:pt x="73" y="451"/>
                  <a:pt x="73" y="450"/>
                </a:cubicBezTo>
                <a:cubicBezTo>
                  <a:pt x="72" y="450"/>
                  <a:pt x="73" y="449"/>
                  <a:pt x="73" y="449"/>
                </a:cubicBezTo>
                <a:cubicBezTo>
                  <a:pt x="73" y="449"/>
                  <a:pt x="73" y="449"/>
                  <a:pt x="73" y="449"/>
                </a:cubicBezTo>
                <a:cubicBezTo>
                  <a:pt x="73" y="449"/>
                  <a:pt x="74" y="448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5"/>
                  <a:pt x="74" y="442"/>
                  <a:pt x="75" y="442"/>
                </a:cubicBezTo>
                <a:cubicBezTo>
                  <a:pt x="78" y="440"/>
                  <a:pt x="73" y="455"/>
                  <a:pt x="78" y="450"/>
                </a:cubicBezTo>
                <a:cubicBezTo>
                  <a:pt x="79" y="450"/>
                  <a:pt x="83" y="445"/>
                  <a:pt x="83" y="445"/>
                </a:cubicBezTo>
                <a:cubicBezTo>
                  <a:pt x="82" y="444"/>
                  <a:pt x="81" y="445"/>
                  <a:pt x="80" y="445"/>
                </a:cubicBezTo>
                <a:cubicBezTo>
                  <a:pt x="78" y="444"/>
                  <a:pt x="79" y="441"/>
                  <a:pt x="80" y="441"/>
                </a:cubicBezTo>
                <a:cubicBezTo>
                  <a:pt x="82" y="440"/>
                  <a:pt x="82" y="442"/>
                  <a:pt x="83" y="442"/>
                </a:cubicBezTo>
                <a:cubicBezTo>
                  <a:pt x="85" y="441"/>
                  <a:pt x="85" y="439"/>
                  <a:pt x="86" y="437"/>
                </a:cubicBezTo>
                <a:cubicBezTo>
                  <a:pt x="86" y="438"/>
                  <a:pt x="85" y="438"/>
                  <a:pt x="85" y="438"/>
                </a:cubicBezTo>
                <a:cubicBezTo>
                  <a:pt x="85" y="437"/>
                  <a:pt x="86" y="437"/>
                  <a:pt x="86" y="437"/>
                </a:cubicBezTo>
                <a:cubicBezTo>
                  <a:pt x="86" y="435"/>
                  <a:pt x="87" y="434"/>
                  <a:pt x="88" y="432"/>
                </a:cubicBezTo>
                <a:cubicBezTo>
                  <a:pt x="90" y="430"/>
                  <a:pt x="91" y="426"/>
                  <a:pt x="91" y="426"/>
                </a:cubicBezTo>
                <a:cubicBezTo>
                  <a:pt x="91" y="426"/>
                  <a:pt x="93" y="428"/>
                  <a:pt x="95" y="428"/>
                </a:cubicBezTo>
                <a:cubicBezTo>
                  <a:pt x="97" y="428"/>
                  <a:pt x="96" y="426"/>
                  <a:pt x="97" y="428"/>
                </a:cubicBezTo>
                <a:cubicBezTo>
                  <a:pt x="97" y="430"/>
                  <a:pt x="98" y="428"/>
                  <a:pt x="98" y="430"/>
                </a:cubicBezTo>
                <a:cubicBezTo>
                  <a:pt x="98" y="432"/>
                  <a:pt x="95" y="437"/>
                  <a:pt x="92" y="435"/>
                </a:cubicBezTo>
                <a:cubicBezTo>
                  <a:pt x="91" y="435"/>
                  <a:pt x="91" y="433"/>
                  <a:pt x="89" y="435"/>
                </a:cubicBezTo>
                <a:cubicBezTo>
                  <a:pt x="89" y="436"/>
                  <a:pt x="90" y="437"/>
                  <a:pt x="89" y="439"/>
                </a:cubicBezTo>
                <a:cubicBezTo>
                  <a:pt x="88" y="441"/>
                  <a:pt x="84" y="445"/>
                  <a:pt x="83" y="448"/>
                </a:cubicBezTo>
                <a:cubicBezTo>
                  <a:pt x="82" y="450"/>
                  <a:pt x="83" y="453"/>
                  <a:pt x="81" y="456"/>
                </a:cubicBezTo>
                <a:cubicBezTo>
                  <a:pt x="80" y="458"/>
                  <a:pt x="75" y="461"/>
                  <a:pt x="75" y="463"/>
                </a:cubicBezTo>
                <a:cubicBezTo>
                  <a:pt x="75" y="463"/>
                  <a:pt x="76" y="464"/>
                  <a:pt x="76" y="464"/>
                </a:cubicBezTo>
                <a:cubicBezTo>
                  <a:pt x="77" y="464"/>
                  <a:pt x="77" y="464"/>
                  <a:pt x="77" y="464"/>
                </a:cubicBezTo>
                <a:cubicBezTo>
                  <a:pt x="77" y="465"/>
                  <a:pt x="77" y="465"/>
                  <a:pt x="77" y="465"/>
                </a:cubicBezTo>
                <a:cubicBezTo>
                  <a:pt x="79" y="466"/>
                  <a:pt x="83" y="467"/>
                  <a:pt x="86" y="467"/>
                </a:cubicBezTo>
                <a:cubicBezTo>
                  <a:pt x="86" y="467"/>
                  <a:pt x="86" y="466"/>
                  <a:pt x="86" y="466"/>
                </a:cubicBezTo>
                <a:cubicBezTo>
                  <a:pt x="86" y="465"/>
                  <a:pt x="86" y="465"/>
                  <a:pt x="86" y="464"/>
                </a:cubicBezTo>
                <a:cubicBezTo>
                  <a:pt x="87" y="460"/>
                  <a:pt x="94" y="456"/>
                  <a:pt x="98" y="458"/>
                </a:cubicBezTo>
                <a:cubicBezTo>
                  <a:pt x="98" y="458"/>
                  <a:pt x="98" y="459"/>
                  <a:pt x="99" y="459"/>
                </a:cubicBezTo>
                <a:cubicBezTo>
                  <a:pt x="99" y="459"/>
                  <a:pt x="99" y="459"/>
                  <a:pt x="99" y="459"/>
                </a:cubicBezTo>
                <a:cubicBezTo>
                  <a:pt x="100" y="458"/>
                  <a:pt x="99" y="459"/>
                  <a:pt x="99" y="459"/>
                </a:cubicBezTo>
                <a:cubicBezTo>
                  <a:pt x="99" y="459"/>
                  <a:pt x="99" y="459"/>
                  <a:pt x="99" y="460"/>
                </a:cubicBezTo>
                <a:cubicBezTo>
                  <a:pt x="100" y="459"/>
                  <a:pt x="101" y="459"/>
                  <a:pt x="101" y="458"/>
                </a:cubicBezTo>
                <a:cubicBezTo>
                  <a:pt x="103" y="459"/>
                  <a:pt x="103" y="456"/>
                  <a:pt x="105" y="456"/>
                </a:cubicBezTo>
                <a:cubicBezTo>
                  <a:pt x="106" y="455"/>
                  <a:pt x="108" y="458"/>
                  <a:pt x="108" y="455"/>
                </a:cubicBezTo>
                <a:cubicBezTo>
                  <a:pt x="108" y="460"/>
                  <a:pt x="116" y="452"/>
                  <a:pt x="116" y="451"/>
                </a:cubicBezTo>
                <a:cubicBezTo>
                  <a:pt x="116" y="451"/>
                  <a:pt x="110" y="450"/>
                  <a:pt x="110" y="450"/>
                </a:cubicBezTo>
                <a:cubicBezTo>
                  <a:pt x="110" y="450"/>
                  <a:pt x="110" y="450"/>
                  <a:pt x="110" y="450"/>
                </a:cubicBezTo>
                <a:cubicBezTo>
                  <a:pt x="110" y="451"/>
                  <a:pt x="110" y="451"/>
                  <a:pt x="110" y="451"/>
                </a:cubicBezTo>
                <a:cubicBezTo>
                  <a:pt x="109" y="451"/>
                  <a:pt x="109" y="452"/>
                  <a:pt x="108" y="451"/>
                </a:cubicBezTo>
                <a:cubicBezTo>
                  <a:pt x="107" y="450"/>
                  <a:pt x="109" y="450"/>
                  <a:pt x="110" y="449"/>
                </a:cubicBezTo>
                <a:cubicBezTo>
                  <a:pt x="110" y="449"/>
                  <a:pt x="110" y="449"/>
                  <a:pt x="109" y="449"/>
                </a:cubicBezTo>
                <a:cubicBezTo>
                  <a:pt x="109" y="449"/>
                  <a:pt x="108" y="448"/>
                  <a:pt x="108" y="447"/>
                </a:cubicBezTo>
                <a:cubicBezTo>
                  <a:pt x="108" y="447"/>
                  <a:pt x="108" y="446"/>
                  <a:pt x="108" y="446"/>
                </a:cubicBezTo>
                <a:cubicBezTo>
                  <a:pt x="108" y="446"/>
                  <a:pt x="108" y="445"/>
                  <a:pt x="108" y="444"/>
                </a:cubicBezTo>
                <a:cubicBezTo>
                  <a:pt x="108" y="444"/>
                  <a:pt x="110" y="441"/>
                  <a:pt x="111" y="441"/>
                </a:cubicBezTo>
                <a:cubicBezTo>
                  <a:pt x="112" y="440"/>
                  <a:pt x="114" y="435"/>
                  <a:pt x="115" y="436"/>
                </a:cubicBezTo>
                <a:cubicBezTo>
                  <a:pt x="116" y="436"/>
                  <a:pt x="114" y="438"/>
                  <a:pt x="115" y="439"/>
                </a:cubicBezTo>
                <a:cubicBezTo>
                  <a:pt x="115" y="440"/>
                  <a:pt x="117" y="439"/>
                  <a:pt x="118" y="439"/>
                </a:cubicBezTo>
                <a:cubicBezTo>
                  <a:pt x="119" y="439"/>
                  <a:pt x="118" y="441"/>
                  <a:pt x="119" y="442"/>
                </a:cubicBezTo>
                <a:cubicBezTo>
                  <a:pt x="119" y="441"/>
                  <a:pt x="121" y="440"/>
                  <a:pt x="122" y="442"/>
                </a:cubicBezTo>
                <a:cubicBezTo>
                  <a:pt x="122" y="444"/>
                  <a:pt x="120" y="443"/>
                  <a:pt x="120" y="444"/>
                </a:cubicBezTo>
                <a:cubicBezTo>
                  <a:pt x="119" y="444"/>
                  <a:pt x="120" y="445"/>
                  <a:pt x="120" y="445"/>
                </a:cubicBezTo>
                <a:cubicBezTo>
                  <a:pt x="121" y="446"/>
                  <a:pt x="119" y="447"/>
                  <a:pt x="118" y="448"/>
                </a:cubicBezTo>
                <a:cubicBezTo>
                  <a:pt x="118" y="449"/>
                  <a:pt x="119" y="450"/>
                  <a:pt x="119" y="450"/>
                </a:cubicBezTo>
                <a:cubicBezTo>
                  <a:pt x="117" y="453"/>
                  <a:pt x="112" y="455"/>
                  <a:pt x="113" y="460"/>
                </a:cubicBezTo>
                <a:cubicBezTo>
                  <a:pt x="113" y="461"/>
                  <a:pt x="114" y="460"/>
                  <a:pt x="115" y="460"/>
                </a:cubicBezTo>
                <a:cubicBezTo>
                  <a:pt x="114" y="463"/>
                  <a:pt x="112" y="471"/>
                  <a:pt x="107" y="472"/>
                </a:cubicBezTo>
                <a:cubicBezTo>
                  <a:pt x="106" y="472"/>
                  <a:pt x="104" y="471"/>
                  <a:pt x="103" y="471"/>
                </a:cubicBezTo>
                <a:cubicBezTo>
                  <a:pt x="102" y="471"/>
                  <a:pt x="102" y="470"/>
                  <a:pt x="101" y="469"/>
                </a:cubicBezTo>
                <a:cubicBezTo>
                  <a:pt x="101" y="469"/>
                  <a:pt x="100" y="469"/>
                  <a:pt x="100" y="468"/>
                </a:cubicBezTo>
                <a:cubicBezTo>
                  <a:pt x="100" y="468"/>
                  <a:pt x="100" y="468"/>
                  <a:pt x="100" y="468"/>
                </a:cubicBezTo>
                <a:cubicBezTo>
                  <a:pt x="100" y="468"/>
                  <a:pt x="100" y="467"/>
                  <a:pt x="99" y="467"/>
                </a:cubicBezTo>
                <a:cubicBezTo>
                  <a:pt x="98" y="468"/>
                  <a:pt x="96" y="470"/>
                  <a:pt x="95" y="470"/>
                </a:cubicBezTo>
                <a:cubicBezTo>
                  <a:pt x="96" y="472"/>
                  <a:pt x="98" y="470"/>
                  <a:pt x="99" y="470"/>
                </a:cubicBezTo>
                <a:cubicBezTo>
                  <a:pt x="98" y="471"/>
                  <a:pt x="98" y="471"/>
                  <a:pt x="98" y="472"/>
                </a:cubicBezTo>
                <a:cubicBezTo>
                  <a:pt x="99" y="472"/>
                  <a:pt x="100" y="472"/>
                  <a:pt x="100" y="472"/>
                </a:cubicBezTo>
                <a:cubicBezTo>
                  <a:pt x="101" y="473"/>
                  <a:pt x="99" y="473"/>
                  <a:pt x="99" y="473"/>
                </a:cubicBezTo>
                <a:cubicBezTo>
                  <a:pt x="98" y="475"/>
                  <a:pt x="100" y="474"/>
                  <a:pt x="99" y="476"/>
                </a:cubicBezTo>
                <a:cubicBezTo>
                  <a:pt x="98" y="478"/>
                  <a:pt x="95" y="477"/>
                  <a:pt x="94" y="478"/>
                </a:cubicBezTo>
                <a:cubicBezTo>
                  <a:pt x="94" y="478"/>
                  <a:pt x="94" y="478"/>
                  <a:pt x="94" y="479"/>
                </a:cubicBezTo>
                <a:cubicBezTo>
                  <a:pt x="95" y="479"/>
                  <a:pt x="95" y="479"/>
                  <a:pt x="96" y="479"/>
                </a:cubicBezTo>
                <a:cubicBezTo>
                  <a:pt x="96" y="480"/>
                  <a:pt x="94" y="481"/>
                  <a:pt x="95" y="483"/>
                </a:cubicBezTo>
                <a:cubicBezTo>
                  <a:pt x="95" y="483"/>
                  <a:pt x="96" y="483"/>
                  <a:pt x="96" y="483"/>
                </a:cubicBezTo>
                <a:cubicBezTo>
                  <a:pt x="96" y="483"/>
                  <a:pt x="97" y="487"/>
                  <a:pt x="97" y="487"/>
                </a:cubicBezTo>
                <a:cubicBezTo>
                  <a:pt x="96" y="489"/>
                  <a:pt x="94" y="487"/>
                  <a:pt x="92" y="488"/>
                </a:cubicBezTo>
                <a:cubicBezTo>
                  <a:pt x="93" y="488"/>
                  <a:pt x="90" y="490"/>
                  <a:pt x="90" y="490"/>
                </a:cubicBezTo>
                <a:cubicBezTo>
                  <a:pt x="90" y="491"/>
                  <a:pt x="91" y="491"/>
                  <a:pt x="91" y="492"/>
                </a:cubicBezTo>
                <a:cubicBezTo>
                  <a:pt x="90" y="495"/>
                  <a:pt x="89" y="494"/>
                  <a:pt x="89" y="497"/>
                </a:cubicBezTo>
                <a:cubicBezTo>
                  <a:pt x="89" y="498"/>
                  <a:pt x="86" y="502"/>
                  <a:pt x="84" y="502"/>
                </a:cubicBezTo>
                <a:cubicBezTo>
                  <a:pt x="80" y="502"/>
                  <a:pt x="82" y="494"/>
                  <a:pt x="76" y="496"/>
                </a:cubicBezTo>
                <a:cubicBezTo>
                  <a:pt x="75" y="491"/>
                  <a:pt x="70" y="501"/>
                  <a:pt x="69" y="501"/>
                </a:cubicBezTo>
                <a:cubicBezTo>
                  <a:pt x="69" y="501"/>
                  <a:pt x="69" y="501"/>
                  <a:pt x="69" y="501"/>
                </a:cubicBezTo>
                <a:cubicBezTo>
                  <a:pt x="69" y="501"/>
                  <a:pt x="69" y="502"/>
                  <a:pt x="68" y="501"/>
                </a:cubicBezTo>
                <a:cubicBezTo>
                  <a:pt x="68" y="501"/>
                  <a:pt x="68" y="501"/>
                  <a:pt x="68" y="501"/>
                </a:cubicBezTo>
                <a:cubicBezTo>
                  <a:pt x="68" y="500"/>
                  <a:pt x="69" y="500"/>
                  <a:pt x="69" y="501"/>
                </a:cubicBezTo>
                <a:cubicBezTo>
                  <a:pt x="69" y="499"/>
                  <a:pt x="73" y="494"/>
                  <a:pt x="68" y="496"/>
                </a:cubicBezTo>
                <a:cubicBezTo>
                  <a:pt x="67" y="497"/>
                  <a:pt x="69" y="499"/>
                  <a:pt x="68" y="500"/>
                </a:cubicBezTo>
                <a:cubicBezTo>
                  <a:pt x="67" y="501"/>
                  <a:pt x="64" y="500"/>
                  <a:pt x="62" y="500"/>
                </a:cubicBezTo>
                <a:cubicBezTo>
                  <a:pt x="62" y="500"/>
                  <a:pt x="61" y="504"/>
                  <a:pt x="61" y="505"/>
                </a:cubicBezTo>
                <a:cubicBezTo>
                  <a:pt x="62" y="506"/>
                  <a:pt x="63" y="506"/>
                  <a:pt x="62" y="508"/>
                </a:cubicBezTo>
                <a:cubicBezTo>
                  <a:pt x="62" y="508"/>
                  <a:pt x="62" y="507"/>
                  <a:pt x="63" y="507"/>
                </a:cubicBezTo>
                <a:cubicBezTo>
                  <a:pt x="62" y="508"/>
                  <a:pt x="62" y="509"/>
                  <a:pt x="65" y="508"/>
                </a:cubicBezTo>
                <a:cubicBezTo>
                  <a:pt x="63" y="511"/>
                  <a:pt x="60" y="511"/>
                  <a:pt x="61" y="514"/>
                </a:cubicBezTo>
                <a:cubicBezTo>
                  <a:pt x="61" y="514"/>
                  <a:pt x="67" y="516"/>
                  <a:pt x="66" y="517"/>
                </a:cubicBezTo>
                <a:cubicBezTo>
                  <a:pt x="70" y="515"/>
                  <a:pt x="64" y="513"/>
                  <a:pt x="65" y="510"/>
                </a:cubicBezTo>
                <a:cubicBezTo>
                  <a:pt x="66" y="507"/>
                  <a:pt x="68" y="514"/>
                  <a:pt x="69" y="514"/>
                </a:cubicBezTo>
                <a:cubicBezTo>
                  <a:pt x="70" y="515"/>
                  <a:pt x="69" y="514"/>
                  <a:pt x="70" y="514"/>
                </a:cubicBezTo>
                <a:cubicBezTo>
                  <a:pt x="72" y="513"/>
                  <a:pt x="73" y="516"/>
                  <a:pt x="74" y="514"/>
                </a:cubicBezTo>
                <a:cubicBezTo>
                  <a:pt x="74" y="514"/>
                  <a:pt x="71" y="514"/>
                  <a:pt x="72" y="512"/>
                </a:cubicBezTo>
                <a:cubicBezTo>
                  <a:pt x="73" y="511"/>
                  <a:pt x="75" y="513"/>
                  <a:pt x="75" y="513"/>
                </a:cubicBezTo>
                <a:cubicBezTo>
                  <a:pt x="76" y="513"/>
                  <a:pt x="77" y="513"/>
                  <a:pt x="78" y="514"/>
                </a:cubicBezTo>
                <a:cubicBezTo>
                  <a:pt x="78" y="513"/>
                  <a:pt x="78" y="513"/>
                  <a:pt x="78" y="513"/>
                </a:cubicBezTo>
                <a:cubicBezTo>
                  <a:pt x="78" y="513"/>
                  <a:pt x="78" y="514"/>
                  <a:pt x="78" y="515"/>
                </a:cubicBezTo>
                <a:cubicBezTo>
                  <a:pt x="78" y="517"/>
                  <a:pt x="78" y="519"/>
                  <a:pt x="78" y="520"/>
                </a:cubicBezTo>
                <a:cubicBezTo>
                  <a:pt x="78" y="520"/>
                  <a:pt x="78" y="520"/>
                  <a:pt x="78" y="520"/>
                </a:cubicBezTo>
                <a:cubicBezTo>
                  <a:pt x="79" y="520"/>
                  <a:pt x="78" y="519"/>
                  <a:pt x="79" y="519"/>
                </a:cubicBezTo>
                <a:cubicBezTo>
                  <a:pt x="80" y="520"/>
                  <a:pt x="80" y="520"/>
                  <a:pt x="81" y="520"/>
                </a:cubicBezTo>
                <a:cubicBezTo>
                  <a:pt x="81" y="518"/>
                  <a:pt x="82" y="515"/>
                  <a:pt x="82" y="515"/>
                </a:cubicBezTo>
                <a:cubicBezTo>
                  <a:pt x="84" y="514"/>
                  <a:pt x="85" y="516"/>
                  <a:pt x="86" y="514"/>
                </a:cubicBezTo>
                <a:cubicBezTo>
                  <a:pt x="86" y="513"/>
                  <a:pt x="84" y="512"/>
                  <a:pt x="84" y="511"/>
                </a:cubicBezTo>
                <a:cubicBezTo>
                  <a:pt x="84" y="511"/>
                  <a:pt x="83" y="509"/>
                  <a:pt x="84" y="509"/>
                </a:cubicBezTo>
                <a:cubicBezTo>
                  <a:pt x="82" y="509"/>
                  <a:pt x="80" y="511"/>
                  <a:pt x="80" y="510"/>
                </a:cubicBezTo>
                <a:cubicBezTo>
                  <a:pt x="79" y="510"/>
                  <a:pt x="80" y="508"/>
                  <a:pt x="81" y="507"/>
                </a:cubicBezTo>
                <a:cubicBezTo>
                  <a:pt x="82" y="510"/>
                  <a:pt x="84" y="506"/>
                  <a:pt x="85" y="505"/>
                </a:cubicBezTo>
                <a:cubicBezTo>
                  <a:pt x="86" y="504"/>
                  <a:pt x="89" y="504"/>
                  <a:pt x="89" y="504"/>
                </a:cubicBezTo>
                <a:cubicBezTo>
                  <a:pt x="90" y="503"/>
                  <a:pt x="88" y="501"/>
                  <a:pt x="90" y="501"/>
                </a:cubicBezTo>
                <a:cubicBezTo>
                  <a:pt x="91" y="501"/>
                  <a:pt x="90" y="502"/>
                  <a:pt x="90" y="502"/>
                </a:cubicBezTo>
                <a:cubicBezTo>
                  <a:pt x="91" y="503"/>
                  <a:pt x="93" y="501"/>
                  <a:pt x="94" y="502"/>
                </a:cubicBezTo>
                <a:cubicBezTo>
                  <a:pt x="95" y="502"/>
                  <a:pt x="94" y="504"/>
                  <a:pt x="94" y="505"/>
                </a:cubicBezTo>
                <a:cubicBezTo>
                  <a:pt x="94" y="506"/>
                  <a:pt x="94" y="507"/>
                  <a:pt x="94" y="508"/>
                </a:cubicBezTo>
                <a:cubicBezTo>
                  <a:pt x="97" y="507"/>
                  <a:pt x="101" y="507"/>
                  <a:pt x="102" y="508"/>
                </a:cubicBezTo>
                <a:cubicBezTo>
                  <a:pt x="103" y="509"/>
                  <a:pt x="101" y="511"/>
                  <a:pt x="104" y="510"/>
                </a:cubicBezTo>
                <a:cubicBezTo>
                  <a:pt x="102" y="512"/>
                  <a:pt x="106" y="513"/>
                  <a:pt x="106" y="514"/>
                </a:cubicBezTo>
                <a:cubicBezTo>
                  <a:pt x="106" y="515"/>
                  <a:pt x="104" y="516"/>
                  <a:pt x="104" y="516"/>
                </a:cubicBezTo>
                <a:cubicBezTo>
                  <a:pt x="104" y="516"/>
                  <a:pt x="105" y="517"/>
                  <a:pt x="104" y="518"/>
                </a:cubicBezTo>
                <a:cubicBezTo>
                  <a:pt x="104" y="518"/>
                  <a:pt x="104" y="518"/>
                  <a:pt x="104" y="518"/>
                </a:cubicBezTo>
                <a:cubicBezTo>
                  <a:pt x="105" y="519"/>
                  <a:pt x="106" y="520"/>
                  <a:pt x="106" y="522"/>
                </a:cubicBezTo>
                <a:cubicBezTo>
                  <a:pt x="106" y="522"/>
                  <a:pt x="107" y="522"/>
                  <a:pt x="107" y="522"/>
                </a:cubicBezTo>
                <a:cubicBezTo>
                  <a:pt x="107" y="521"/>
                  <a:pt x="106" y="521"/>
                  <a:pt x="106" y="520"/>
                </a:cubicBezTo>
                <a:cubicBezTo>
                  <a:pt x="106" y="519"/>
                  <a:pt x="107" y="518"/>
                  <a:pt x="108" y="518"/>
                </a:cubicBezTo>
                <a:cubicBezTo>
                  <a:pt x="108" y="517"/>
                  <a:pt x="108" y="517"/>
                  <a:pt x="109" y="516"/>
                </a:cubicBezTo>
                <a:cubicBezTo>
                  <a:pt x="109" y="516"/>
                  <a:pt x="108" y="516"/>
                  <a:pt x="108" y="516"/>
                </a:cubicBezTo>
                <a:cubicBezTo>
                  <a:pt x="108" y="515"/>
                  <a:pt x="109" y="515"/>
                  <a:pt x="109" y="515"/>
                </a:cubicBezTo>
                <a:cubicBezTo>
                  <a:pt x="111" y="514"/>
                  <a:pt x="112" y="513"/>
                  <a:pt x="113" y="512"/>
                </a:cubicBezTo>
                <a:cubicBezTo>
                  <a:pt x="112" y="514"/>
                  <a:pt x="115" y="514"/>
                  <a:pt x="115" y="514"/>
                </a:cubicBezTo>
                <a:cubicBezTo>
                  <a:pt x="115" y="514"/>
                  <a:pt x="116" y="514"/>
                  <a:pt x="116" y="514"/>
                </a:cubicBezTo>
                <a:cubicBezTo>
                  <a:pt x="116" y="514"/>
                  <a:pt x="116" y="514"/>
                  <a:pt x="116" y="514"/>
                </a:cubicBezTo>
                <a:cubicBezTo>
                  <a:pt x="115" y="514"/>
                  <a:pt x="115" y="513"/>
                  <a:pt x="115" y="513"/>
                </a:cubicBezTo>
                <a:cubicBezTo>
                  <a:pt x="114" y="512"/>
                  <a:pt x="115" y="508"/>
                  <a:pt x="115" y="507"/>
                </a:cubicBezTo>
                <a:cubicBezTo>
                  <a:pt x="116" y="507"/>
                  <a:pt x="116" y="508"/>
                  <a:pt x="117" y="508"/>
                </a:cubicBezTo>
                <a:cubicBezTo>
                  <a:pt x="118" y="507"/>
                  <a:pt x="120" y="504"/>
                  <a:pt x="123" y="505"/>
                </a:cubicBezTo>
                <a:cubicBezTo>
                  <a:pt x="122" y="507"/>
                  <a:pt x="120" y="506"/>
                  <a:pt x="120" y="507"/>
                </a:cubicBezTo>
                <a:cubicBezTo>
                  <a:pt x="119" y="508"/>
                  <a:pt x="121" y="508"/>
                  <a:pt x="121" y="508"/>
                </a:cubicBezTo>
                <a:cubicBezTo>
                  <a:pt x="122" y="510"/>
                  <a:pt x="120" y="514"/>
                  <a:pt x="117" y="514"/>
                </a:cubicBezTo>
                <a:cubicBezTo>
                  <a:pt x="117" y="515"/>
                  <a:pt x="117" y="516"/>
                  <a:pt x="116" y="517"/>
                </a:cubicBezTo>
                <a:cubicBezTo>
                  <a:pt x="117" y="517"/>
                  <a:pt x="117" y="517"/>
                  <a:pt x="117" y="517"/>
                </a:cubicBezTo>
                <a:cubicBezTo>
                  <a:pt x="118" y="515"/>
                  <a:pt x="121" y="515"/>
                  <a:pt x="122" y="513"/>
                </a:cubicBezTo>
                <a:cubicBezTo>
                  <a:pt x="122" y="512"/>
                  <a:pt x="122" y="511"/>
                  <a:pt x="122" y="510"/>
                </a:cubicBezTo>
                <a:cubicBezTo>
                  <a:pt x="122" y="510"/>
                  <a:pt x="123" y="509"/>
                  <a:pt x="123" y="508"/>
                </a:cubicBezTo>
                <a:cubicBezTo>
                  <a:pt x="123" y="507"/>
                  <a:pt x="122" y="508"/>
                  <a:pt x="122" y="507"/>
                </a:cubicBezTo>
                <a:cubicBezTo>
                  <a:pt x="123" y="506"/>
                  <a:pt x="124" y="505"/>
                  <a:pt x="124" y="506"/>
                </a:cubicBezTo>
                <a:cubicBezTo>
                  <a:pt x="125" y="506"/>
                  <a:pt x="124" y="508"/>
                  <a:pt x="125" y="510"/>
                </a:cubicBezTo>
                <a:cubicBezTo>
                  <a:pt x="125" y="510"/>
                  <a:pt x="127" y="510"/>
                  <a:pt x="128" y="510"/>
                </a:cubicBezTo>
                <a:cubicBezTo>
                  <a:pt x="129" y="511"/>
                  <a:pt x="129" y="513"/>
                  <a:pt x="132" y="511"/>
                </a:cubicBezTo>
                <a:cubicBezTo>
                  <a:pt x="129" y="514"/>
                  <a:pt x="133" y="512"/>
                  <a:pt x="134" y="513"/>
                </a:cubicBezTo>
                <a:cubicBezTo>
                  <a:pt x="133" y="513"/>
                  <a:pt x="134" y="519"/>
                  <a:pt x="134" y="520"/>
                </a:cubicBezTo>
                <a:cubicBezTo>
                  <a:pt x="134" y="521"/>
                  <a:pt x="132" y="523"/>
                  <a:pt x="132" y="525"/>
                </a:cubicBezTo>
                <a:cubicBezTo>
                  <a:pt x="132" y="525"/>
                  <a:pt x="133" y="524"/>
                  <a:pt x="133" y="524"/>
                </a:cubicBezTo>
                <a:cubicBezTo>
                  <a:pt x="133" y="525"/>
                  <a:pt x="133" y="525"/>
                  <a:pt x="132" y="526"/>
                </a:cubicBezTo>
                <a:cubicBezTo>
                  <a:pt x="132" y="526"/>
                  <a:pt x="132" y="526"/>
                  <a:pt x="132" y="527"/>
                </a:cubicBezTo>
                <a:cubicBezTo>
                  <a:pt x="133" y="526"/>
                  <a:pt x="133" y="526"/>
                  <a:pt x="133" y="526"/>
                </a:cubicBezTo>
                <a:cubicBezTo>
                  <a:pt x="133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6" y="524"/>
                  <a:pt x="142" y="524"/>
                  <a:pt x="145" y="524"/>
                </a:cubicBezTo>
                <a:cubicBezTo>
                  <a:pt x="145" y="523"/>
                  <a:pt x="146" y="522"/>
                  <a:pt x="146" y="522"/>
                </a:cubicBezTo>
                <a:cubicBezTo>
                  <a:pt x="147" y="522"/>
                  <a:pt x="147" y="523"/>
                  <a:pt x="147" y="524"/>
                </a:cubicBezTo>
                <a:cubicBezTo>
                  <a:pt x="147" y="524"/>
                  <a:pt x="148" y="524"/>
                  <a:pt x="148" y="525"/>
                </a:cubicBezTo>
                <a:cubicBezTo>
                  <a:pt x="148" y="526"/>
                  <a:pt x="147" y="526"/>
                  <a:pt x="145" y="527"/>
                </a:cubicBezTo>
                <a:cubicBezTo>
                  <a:pt x="146" y="527"/>
                  <a:pt x="146" y="527"/>
                  <a:pt x="146" y="527"/>
                </a:cubicBezTo>
                <a:cubicBezTo>
                  <a:pt x="146" y="529"/>
                  <a:pt x="146" y="530"/>
                  <a:pt x="145" y="530"/>
                </a:cubicBezTo>
                <a:cubicBezTo>
                  <a:pt x="145" y="531"/>
                  <a:pt x="145" y="532"/>
                  <a:pt x="144" y="533"/>
                </a:cubicBezTo>
                <a:cubicBezTo>
                  <a:pt x="144" y="533"/>
                  <a:pt x="143" y="533"/>
                  <a:pt x="142" y="533"/>
                </a:cubicBezTo>
                <a:cubicBezTo>
                  <a:pt x="142" y="534"/>
                  <a:pt x="143" y="534"/>
                  <a:pt x="144" y="533"/>
                </a:cubicBezTo>
                <a:cubicBezTo>
                  <a:pt x="145" y="533"/>
                  <a:pt x="147" y="530"/>
                  <a:pt x="147" y="530"/>
                </a:cubicBezTo>
                <a:cubicBezTo>
                  <a:pt x="148" y="530"/>
                  <a:pt x="148" y="529"/>
                  <a:pt x="147" y="529"/>
                </a:cubicBezTo>
                <a:cubicBezTo>
                  <a:pt x="151" y="528"/>
                  <a:pt x="150" y="537"/>
                  <a:pt x="148" y="535"/>
                </a:cubicBezTo>
                <a:cubicBezTo>
                  <a:pt x="148" y="535"/>
                  <a:pt x="147" y="533"/>
                  <a:pt x="147" y="533"/>
                </a:cubicBezTo>
                <a:cubicBezTo>
                  <a:pt x="146" y="533"/>
                  <a:pt x="143" y="537"/>
                  <a:pt x="141" y="538"/>
                </a:cubicBezTo>
                <a:cubicBezTo>
                  <a:pt x="140" y="538"/>
                  <a:pt x="140" y="538"/>
                  <a:pt x="139" y="539"/>
                </a:cubicBezTo>
                <a:cubicBezTo>
                  <a:pt x="140" y="540"/>
                  <a:pt x="141" y="541"/>
                  <a:pt x="140" y="542"/>
                </a:cubicBezTo>
                <a:cubicBezTo>
                  <a:pt x="140" y="542"/>
                  <a:pt x="139" y="543"/>
                  <a:pt x="139" y="543"/>
                </a:cubicBezTo>
                <a:cubicBezTo>
                  <a:pt x="139" y="543"/>
                  <a:pt x="138" y="546"/>
                  <a:pt x="138" y="547"/>
                </a:cubicBezTo>
                <a:cubicBezTo>
                  <a:pt x="138" y="547"/>
                  <a:pt x="140" y="546"/>
                  <a:pt x="139" y="546"/>
                </a:cubicBezTo>
                <a:cubicBezTo>
                  <a:pt x="139" y="546"/>
                  <a:pt x="141" y="548"/>
                  <a:pt x="140" y="549"/>
                </a:cubicBezTo>
                <a:cubicBezTo>
                  <a:pt x="140" y="549"/>
                  <a:pt x="140" y="549"/>
                  <a:pt x="139" y="549"/>
                </a:cubicBezTo>
                <a:cubicBezTo>
                  <a:pt x="140" y="549"/>
                  <a:pt x="140" y="550"/>
                  <a:pt x="141" y="550"/>
                </a:cubicBezTo>
                <a:cubicBezTo>
                  <a:pt x="141" y="549"/>
                  <a:pt x="141" y="548"/>
                  <a:pt x="142" y="548"/>
                </a:cubicBezTo>
                <a:cubicBezTo>
                  <a:pt x="141" y="548"/>
                  <a:pt x="141" y="548"/>
                  <a:pt x="140" y="548"/>
                </a:cubicBezTo>
                <a:cubicBezTo>
                  <a:pt x="140" y="547"/>
                  <a:pt x="140" y="547"/>
                  <a:pt x="141" y="547"/>
                </a:cubicBezTo>
                <a:cubicBezTo>
                  <a:pt x="141" y="546"/>
                  <a:pt x="142" y="544"/>
                  <a:pt x="142" y="546"/>
                </a:cubicBezTo>
                <a:cubicBezTo>
                  <a:pt x="143" y="546"/>
                  <a:pt x="142" y="546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3" y="546"/>
                  <a:pt x="144" y="546"/>
                  <a:pt x="145" y="548"/>
                </a:cubicBezTo>
                <a:cubicBezTo>
                  <a:pt x="146" y="549"/>
                  <a:pt x="145" y="550"/>
                  <a:pt x="145" y="551"/>
                </a:cubicBezTo>
                <a:cubicBezTo>
                  <a:pt x="145" y="551"/>
                  <a:pt x="145" y="551"/>
                  <a:pt x="145" y="551"/>
                </a:cubicBezTo>
                <a:cubicBezTo>
                  <a:pt x="147" y="551"/>
                  <a:pt x="145" y="551"/>
                  <a:pt x="146" y="552"/>
                </a:cubicBezTo>
                <a:cubicBezTo>
                  <a:pt x="146" y="552"/>
                  <a:pt x="146" y="552"/>
                  <a:pt x="147" y="552"/>
                </a:cubicBezTo>
                <a:cubicBezTo>
                  <a:pt x="147" y="552"/>
                  <a:pt x="147" y="552"/>
                  <a:pt x="147" y="552"/>
                </a:cubicBezTo>
                <a:cubicBezTo>
                  <a:pt x="147" y="551"/>
                  <a:pt x="148" y="551"/>
                  <a:pt x="148" y="551"/>
                </a:cubicBezTo>
                <a:cubicBezTo>
                  <a:pt x="151" y="552"/>
                  <a:pt x="148" y="556"/>
                  <a:pt x="149" y="558"/>
                </a:cubicBezTo>
                <a:cubicBezTo>
                  <a:pt x="150" y="558"/>
                  <a:pt x="152" y="558"/>
                  <a:pt x="152" y="557"/>
                </a:cubicBezTo>
                <a:cubicBezTo>
                  <a:pt x="153" y="557"/>
                  <a:pt x="153" y="556"/>
                  <a:pt x="154" y="555"/>
                </a:cubicBezTo>
                <a:cubicBezTo>
                  <a:pt x="152" y="554"/>
                  <a:pt x="152" y="553"/>
                  <a:pt x="152" y="551"/>
                </a:cubicBezTo>
                <a:cubicBezTo>
                  <a:pt x="154" y="547"/>
                  <a:pt x="159" y="548"/>
                  <a:pt x="160" y="551"/>
                </a:cubicBezTo>
                <a:cubicBezTo>
                  <a:pt x="161" y="551"/>
                  <a:pt x="161" y="551"/>
                  <a:pt x="162" y="550"/>
                </a:cubicBezTo>
                <a:cubicBezTo>
                  <a:pt x="161" y="550"/>
                  <a:pt x="161" y="551"/>
                  <a:pt x="161" y="551"/>
                </a:cubicBezTo>
                <a:cubicBezTo>
                  <a:pt x="163" y="550"/>
                  <a:pt x="165" y="549"/>
                  <a:pt x="167" y="550"/>
                </a:cubicBezTo>
                <a:cubicBezTo>
                  <a:pt x="169" y="549"/>
                  <a:pt x="170" y="549"/>
                  <a:pt x="170" y="549"/>
                </a:cubicBezTo>
                <a:cubicBezTo>
                  <a:pt x="171" y="550"/>
                  <a:pt x="170" y="550"/>
                  <a:pt x="168" y="551"/>
                </a:cubicBezTo>
                <a:cubicBezTo>
                  <a:pt x="168" y="551"/>
                  <a:pt x="169" y="551"/>
                  <a:pt x="169" y="551"/>
                </a:cubicBezTo>
                <a:cubicBezTo>
                  <a:pt x="169" y="552"/>
                  <a:pt x="169" y="553"/>
                  <a:pt x="169" y="554"/>
                </a:cubicBezTo>
                <a:cubicBezTo>
                  <a:pt x="171" y="554"/>
                  <a:pt x="172" y="555"/>
                  <a:pt x="171" y="557"/>
                </a:cubicBezTo>
                <a:cubicBezTo>
                  <a:pt x="170" y="559"/>
                  <a:pt x="171" y="560"/>
                  <a:pt x="171" y="561"/>
                </a:cubicBezTo>
                <a:cubicBezTo>
                  <a:pt x="171" y="561"/>
                  <a:pt x="170" y="562"/>
                  <a:pt x="170" y="563"/>
                </a:cubicBezTo>
                <a:cubicBezTo>
                  <a:pt x="172" y="561"/>
                  <a:pt x="173" y="559"/>
                  <a:pt x="175" y="558"/>
                </a:cubicBezTo>
                <a:cubicBezTo>
                  <a:pt x="173" y="556"/>
                  <a:pt x="171" y="554"/>
                  <a:pt x="175" y="552"/>
                </a:cubicBezTo>
                <a:cubicBezTo>
                  <a:pt x="175" y="551"/>
                  <a:pt x="176" y="551"/>
                  <a:pt x="177" y="551"/>
                </a:cubicBezTo>
                <a:cubicBezTo>
                  <a:pt x="175" y="551"/>
                  <a:pt x="176" y="547"/>
                  <a:pt x="178" y="548"/>
                </a:cubicBezTo>
                <a:cubicBezTo>
                  <a:pt x="179" y="549"/>
                  <a:pt x="178" y="550"/>
                  <a:pt x="178" y="550"/>
                </a:cubicBezTo>
                <a:cubicBezTo>
                  <a:pt x="177" y="551"/>
                  <a:pt x="177" y="551"/>
                  <a:pt x="177" y="551"/>
                </a:cubicBezTo>
                <a:cubicBezTo>
                  <a:pt x="179" y="551"/>
                  <a:pt x="181" y="550"/>
                  <a:pt x="182" y="550"/>
                </a:cubicBezTo>
                <a:cubicBezTo>
                  <a:pt x="184" y="548"/>
                  <a:pt x="183" y="547"/>
                  <a:pt x="185" y="549"/>
                </a:cubicBezTo>
                <a:cubicBezTo>
                  <a:pt x="186" y="549"/>
                  <a:pt x="186" y="550"/>
                  <a:pt x="188" y="549"/>
                </a:cubicBezTo>
                <a:cubicBezTo>
                  <a:pt x="188" y="549"/>
                  <a:pt x="191" y="545"/>
                  <a:pt x="191" y="548"/>
                </a:cubicBezTo>
                <a:cubicBezTo>
                  <a:pt x="191" y="549"/>
                  <a:pt x="189" y="549"/>
                  <a:pt x="189" y="549"/>
                </a:cubicBezTo>
                <a:cubicBezTo>
                  <a:pt x="190" y="550"/>
                  <a:pt x="194" y="550"/>
                  <a:pt x="194" y="550"/>
                </a:cubicBezTo>
                <a:cubicBezTo>
                  <a:pt x="194" y="551"/>
                  <a:pt x="190" y="553"/>
                  <a:pt x="192" y="555"/>
                </a:cubicBezTo>
                <a:cubicBezTo>
                  <a:pt x="193" y="555"/>
                  <a:pt x="194" y="555"/>
                  <a:pt x="194" y="555"/>
                </a:cubicBezTo>
                <a:cubicBezTo>
                  <a:pt x="194" y="555"/>
                  <a:pt x="193" y="556"/>
                  <a:pt x="193" y="556"/>
                </a:cubicBezTo>
                <a:cubicBezTo>
                  <a:pt x="192" y="558"/>
                  <a:pt x="192" y="558"/>
                  <a:pt x="193" y="558"/>
                </a:cubicBezTo>
                <a:cubicBezTo>
                  <a:pt x="194" y="558"/>
                  <a:pt x="195" y="558"/>
                  <a:pt x="196" y="559"/>
                </a:cubicBezTo>
                <a:cubicBezTo>
                  <a:pt x="196" y="560"/>
                  <a:pt x="195" y="560"/>
                  <a:pt x="194" y="560"/>
                </a:cubicBezTo>
                <a:cubicBezTo>
                  <a:pt x="194" y="561"/>
                  <a:pt x="194" y="561"/>
                  <a:pt x="194" y="561"/>
                </a:cubicBezTo>
                <a:cubicBezTo>
                  <a:pt x="194" y="562"/>
                  <a:pt x="196" y="561"/>
                  <a:pt x="196" y="562"/>
                </a:cubicBezTo>
                <a:cubicBezTo>
                  <a:pt x="197" y="563"/>
                  <a:pt x="195" y="565"/>
                  <a:pt x="195" y="566"/>
                </a:cubicBezTo>
                <a:cubicBezTo>
                  <a:pt x="197" y="568"/>
                  <a:pt x="199" y="565"/>
                  <a:pt x="201" y="566"/>
                </a:cubicBezTo>
                <a:cubicBezTo>
                  <a:pt x="201" y="566"/>
                  <a:pt x="203" y="568"/>
                  <a:pt x="205" y="566"/>
                </a:cubicBezTo>
                <a:cubicBezTo>
                  <a:pt x="206" y="565"/>
                  <a:pt x="204" y="563"/>
                  <a:pt x="208" y="562"/>
                </a:cubicBezTo>
                <a:cubicBezTo>
                  <a:pt x="209" y="561"/>
                  <a:pt x="214" y="560"/>
                  <a:pt x="214" y="562"/>
                </a:cubicBezTo>
                <a:cubicBezTo>
                  <a:pt x="214" y="563"/>
                  <a:pt x="213" y="562"/>
                  <a:pt x="212" y="563"/>
                </a:cubicBezTo>
                <a:cubicBezTo>
                  <a:pt x="211" y="563"/>
                  <a:pt x="213" y="566"/>
                  <a:pt x="213" y="566"/>
                </a:cubicBezTo>
                <a:cubicBezTo>
                  <a:pt x="212" y="567"/>
                  <a:pt x="210" y="567"/>
                  <a:pt x="210" y="568"/>
                </a:cubicBezTo>
                <a:cubicBezTo>
                  <a:pt x="210" y="568"/>
                  <a:pt x="210" y="568"/>
                  <a:pt x="210" y="568"/>
                </a:cubicBezTo>
                <a:cubicBezTo>
                  <a:pt x="210" y="569"/>
                  <a:pt x="210" y="569"/>
                  <a:pt x="210" y="569"/>
                </a:cubicBezTo>
                <a:cubicBezTo>
                  <a:pt x="210" y="570"/>
                  <a:pt x="211" y="572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10" y="574"/>
                  <a:pt x="210" y="575"/>
                  <a:pt x="208" y="576"/>
                </a:cubicBezTo>
                <a:cubicBezTo>
                  <a:pt x="208" y="576"/>
                  <a:pt x="208" y="576"/>
                  <a:pt x="208" y="576"/>
                </a:cubicBezTo>
                <a:cubicBezTo>
                  <a:pt x="208" y="576"/>
                  <a:pt x="209" y="576"/>
                  <a:pt x="209" y="576"/>
                </a:cubicBezTo>
                <a:cubicBezTo>
                  <a:pt x="210" y="576"/>
                  <a:pt x="210" y="576"/>
                  <a:pt x="211" y="577"/>
                </a:cubicBezTo>
                <a:cubicBezTo>
                  <a:pt x="211" y="577"/>
                  <a:pt x="212" y="577"/>
                  <a:pt x="212" y="577"/>
                </a:cubicBezTo>
                <a:cubicBezTo>
                  <a:pt x="212" y="578"/>
                  <a:pt x="211" y="578"/>
                  <a:pt x="211" y="579"/>
                </a:cubicBezTo>
                <a:cubicBezTo>
                  <a:pt x="211" y="579"/>
                  <a:pt x="211" y="580"/>
                  <a:pt x="211" y="580"/>
                </a:cubicBezTo>
                <a:cubicBezTo>
                  <a:pt x="210" y="581"/>
                  <a:pt x="207" y="580"/>
                  <a:pt x="205" y="581"/>
                </a:cubicBezTo>
                <a:cubicBezTo>
                  <a:pt x="206" y="580"/>
                  <a:pt x="206" y="578"/>
                  <a:pt x="204" y="580"/>
                </a:cubicBezTo>
                <a:cubicBezTo>
                  <a:pt x="202" y="581"/>
                  <a:pt x="204" y="581"/>
                  <a:pt x="204" y="582"/>
                </a:cubicBezTo>
                <a:cubicBezTo>
                  <a:pt x="204" y="582"/>
                  <a:pt x="203" y="582"/>
                  <a:pt x="204" y="583"/>
                </a:cubicBezTo>
                <a:cubicBezTo>
                  <a:pt x="204" y="583"/>
                  <a:pt x="204" y="583"/>
                  <a:pt x="204" y="583"/>
                </a:cubicBezTo>
                <a:cubicBezTo>
                  <a:pt x="206" y="582"/>
                  <a:pt x="208" y="582"/>
                  <a:pt x="210" y="583"/>
                </a:cubicBezTo>
                <a:cubicBezTo>
                  <a:pt x="209" y="583"/>
                  <a:pt x="209" y="582"/>
                  <a:pt x="209" y="582"/>
                </a:cubicBezTo>
                <a:cubicBezTo>
                  <a:pt x="209" y="582"/>
                  <a:pt x="209" y="582"/>
                  <a:pt x="209" y="582"/>
                </a:cubicBezTo>
                <a:cubicBezTo>
                  <a:pt x="210" y="581"/>
                  <a:pt x="210" y="582"/>
                  <a:pt x="210" y="583"/>
                </a:cubicBezTo>
                <a:cubicBezTo>
                  <a:pt x="210" y="583"/>
                  <a:pt x="211" y="584"/>
                  <a:pt x="210" y="585"/>
                </a:cubicBezTo>
                <a:cubicBezTo>
                  <a:pt x="210" y="586"/>
                  <a:pt x="208" y="588"/>
                  <a:pt x="205" y="588"/>
                </a:cubicBezTo>
                <a:cubicBezTo>
                  <a:pt x="206" y="588"/>
                  <a:pt x="206" y="590"/>
                  <a:pt x="206" y="591"/>
                </a:cubicBezTo>
                <a:cubicBezTo>
                  <a:pt x="205" y="592"/>
                  <a:pt x="201" y="592"/>
                  <a:pt x="202" y="593"/>
                </a:cubicBezTo>
                <a:cubicBezTo>
                  <a:pt x="201" y="593"/>
                  <a:pt x="199" y="594"/>
                  <a:pt x="198" y="593"/>
                </a:cubicBezTo>
                <a:cubicBezTo>
                  <a:pt x="195" y="591"/>
                  <a:pt x="196" y="591"/>
                  <a:pt x="192" y="592"/>
                </a:cubicBezTo>
                <a:cubicBezTo>
                  <a:pt x="192" y="592"/>
                  <a:pt x="191" y="592"/>
                  <a:pt x="190" y="592"/>
                </a:cubicBezTo>
                <a:cubicBezTo>
                  <a:pt x="188" y="592"/>
                  <a:pt x="189" y="593"/>
                  <a:pt x="189" y="595"/>
                </a:cubicBezTo>
                <a:cubicBezTo>
                  <a:pt x="187" y="593"/>
                  <a:pt x="188" y="595"/>
                  <a:pt x="189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1" y="597"/>
                  <a:pt x="191" y="596"/>
                </a:cubicBezTo>
                <a:cubicBezTo>
                  <a:pt x="190" y="597"/>
                  <a:pt x="192" y="594"/>
                  <a:pt x="193" y="596"/>
                </a:cubicBezTo>
                <a:cubicBezTo>
                  <a:pt x="193" y="596"/>
                  <a:pt x="190" y="600"/>
                  <a:pt x="193" y="600"/>
                </a:cubicBezTo>
                <a:cubicBezTo>
                  <a:pt x="187" y="601"/>
                  <a:pt x="195" y="604"/>
                  <a:pt x="197" y="605"/>
                </a:cubicBezTo>
                <a:cubicBezTo>
                  <a:pt x="198" y="606"/>
                  <a:pt x="198" y="608"/>
                  <a:pt x="198" y="609"/>
                </a:cubicBezTo>
                <a:cubicBezTo>
                  <a:pt x="199" y="610"/>
                  <a:pt x="200" y="610"/>
                  <a:pt x="199" y="611"/>
                </a:cubicBezTo>
                <a:cubicBezTo>
                  <a:pt x="199" y="611"/>
                  <a:pt x="199" y="611"/>
                  <a:pt x="199" y="611"/>
                </a:cubicBezTo>
                <a:cubicBezTo>
                  <a:pt x="200" y="612"/>
                  <a:pt x="200" y="613"/>
                  <a:pt x="201" y="613"/>
                </a:cubicBezTo>
                <a:cubicBezTo>
                  <a:pt x="201" y="613"/>
                  <a:pt x="201" y="613"/>
                  <a:pt x="202" y="613"/>
                </a:cubicBezTo>
                <a:cubicBezTo>
                  <a:pt x="202" y="613"/>
                  <a:pt x="202" y="613"/>
                  <a:pt x="202" y="612"/>
                </a:cubicBezTo>
                <a:cubicBezTo>
                  <a:pt x="203" y="611"/>
                  <a:pt x="204" y="611"/>
                  <a:pt x="206" y="611"/>
                </a:cubicBezTo>
                <a:cubicBezTo>
                  <a:pt x="207" y="611"/>
                  <a:pt x="208" y="612"/>
                  <a:pt x="208" y="613"/>
                </a:cubicBezTo>
                <a:cubicBezTo>
                  <a:pt x="209" y="613"/>
                  <a:pt x="209" y="612"/>
                  <a:pt x="211" y="612"/>
                </a:cubicBezTo>
                <a:cubicBezTo>
                  <a:pt x="211" y="613"/>
                  <a:pt x="210" y="613"/>
                  <a:pt x="208" y="613"/>
                </a:cubicBezTo>
                <a:cubicBezTo>
                  <a:pt x="208" y="614"/>
                  <a:pt x="208" y="615"/>
                  <a:pt x="207" y="615"/>
                </a:cubicBezTo>
                <a:cubicBezTo>
                  <a:pt x="209" y="616"/>
                  <a:pt x="211" y="616"/>
                  <a:pt x="211" y="616"/>
                </a:cubicBezTo>
                <a:cubicBezTo>
                  <a:pt x="211" y="616"/>
                  <a:pt x="211" y="616"/>
                  <a:pt x="212" y="616"/>
                </a:cubicBezTo>
                <a:cubicBezTo>
                  <a:pt x="211" y="615"/>
                  <a:pt x="210" y="615"/>
                  <a:pt x="209" y="615"/>
                </a:cubicBezTo>
                <a:cubicBezTo>
                  <a:pt x="210" y="614"/>
                  <a:pt x="211" y="614"/>
                  <a:pt x="213" y="615"/>
                </a:cubicBezTo>
                <a:cubicBezTo>
                  <a:pt x="213" y="614"/>
                  <a:pt x="213" y="614"/>
                  <a:pt x="213" y="614"/>
                </a:cubicBezTo>
                <a:cubicBezTo>
                  <a:pt x="213" y="614"/>
                  <a:pt x="214" y="612"/>
                  <a:pt x="215" y="613"/>
                </a:cubicBezTo>
                <a:cubicBezTo>
                  <a:pt x="216" y="612"/>
                  <a:pt x="216" y="612"/>
                  <a:pt x="217" y="613"/>
                </a:cubicBezTo>
                <a:cubicBezTo>
                  <a:pt x="217" y="613"/>
                  <a:pt x="216" y="613"/>
                  <a:pt x="216" y="614"/>
                </a:cubicBezTo>
                <a:cubicBezTo>
                  <a:pt x="216" y="614"/>
                  <a:pt x="217" y="616"/>
                  <a:pt x="216" y="615"/>
                </a:cubicBezTo>
                <a:cubicBezTo>
                  <a:pt x="216" y="615"/>
                  <a:pt x="215" y="615"/>
                  <a:pt x="215" y="615"/>
                </a:cubicBezTo>
                <a:cubicBezTo>
                  <a:pt x="215" y="614"/>
                  <a:pt x="215" y="614"/>
                  <a:pt x="215" y="614"/>
                </a:cubicBezTo>
                <a:cubicBezTo>
                  <a:pt x="215" y="614"/>
                  <a:pt x="214" y="615"/>
                  <a:pt x="214" y="615"/>
                </a:cubicBezTo>
                <a:cubicBezTo>
                  <a:pt x="215" y="615"/>
                  <a:pt x="216" y="616"/>
                  <a:pt x="216" y="616"/>
                </a:cubicBezTo>
                <a:cubicBezTo>
                  <a:pt x="216" y="617"/>
                  <a:pt x="215" y="616"/>
                  <a:pt x="214" y="616"/>
                </a:cubicBezTo>
                <a:cubicBezTo>
                  <a:pt x="214" y="616"/>
                  <a:pt x="214" y="617"/>
                  <a:pt x="214" y="617"/>
                </a:cubicBezTo>
                <a:cubicBezTo>
                  <a:pt x="215" y="617"/>
                  <a:pt x="216" y="616"/>
                  <a:pt x="216" y="616"/>
                </a:cubicBezTo>
                <a:cubicBezTo>
                  <a:pt x="217" y="617"/>
                  <a:pt x="218" y="620"/>
                  <a:pt x="220" y="618"/>
                </a:cubicBezTo>
                <a:cubicBezTo>
                  <a:pt x="220" y="618"/>
                  <a:pt x="219" y="617"/>
                  <a:pt x="219" y="617"/>
                </a:cubicBezTo>
                <a:cubicBezTo>
                  <a:pt x="219" y="617"/>
                  <a:pt x="219" y="617"/>
                  <a:pt x="219" y="617"/>
                </a:cubicBezTo>
                <a:cubicBezTo>
                  <a:pt x="219" y="617"/>
                  <a:pt x="219" y="617"/>
                  <a:pt x="218" y="617"/>
                </a:cubicBezTo>
                <a:cubicBezTo>
                  <a:pt x="218" y="616"/>
                  <a:pt x="219" y="615"/>
                  <a:pt x="220" y="616"/>
                </a:cubicBezTo>
                <a:cubicBezTo>
                  <a:pt x="220" y="616"/>
                  <a:pt x="220" y="616"/>
                  <a:pt x="220" y="616"/>
                </a:cubicBezTo>
                <a:cubicBezTo>
                  <a:pt x="221" y="615"/>
                  <a:pt x="224" y="617"/>
                  <a:pt x="225" y="617"/>
                </a:cubicBezTo>
                <a:cubicBezTo>
                  <a:pt x="223" y="618"/>
                  <a:pt x="225" y="619"/>
                  <a:pt x="226" y="620"/>
                </a:cubicBezTo>
                <a:cubicBezTo>
                  <a:pt x="227" y="619"/>
                  <a:pt x="229" y="618"/>
                  <a:pt x="231" y="618"/>
                </a:cubicBezTo>
                <a:cubicBezTo>
                  <a:pt x="230" y="619"/>
                  <a:pt x="228" y="620"/>
                  <a:pt x="226" y="620"/>
                </a:cubicBezTo>
                <a:cubicBezTo>
                  <a:pt x="227" y="621"/>
                  <a:pt x="227" y="621"/>
                  <a:pt x="226" y="622"/>
                </a:cubicBezTo>
                <a:cubicBezTo>
                  <a:pt x="225" y="624"/>
                  <a:pt x="222" y="622"/>
                  <a:pt x="221" y="624"/>
                </a:cubicBezTo>
                <a:cubicBezTo>
                  <a:pt x="220" y="624"/>
                  <a:pt x="222" y="624"/>
                  <a:pt x="222" y="624"/>
                </a:cubicBezTo>
                <a:cubicBezTo>
                  <a:pt x="221" y="626"/>
                  <a:pt x="219" y="627"/>
                  <a:pt x="222" y="628"/>
                </a:cubicBezTo>
                <a:cubicBezTo>
                  <a:pt x="222" y="628"/>
                  <a:pt x="227" y="629"/>
                  <a:pt x="228" y="629"/>
                </a:cubicBezTo>
                <a:cubicBezTo>
                  <a:pt x="231" y="629"/>
                  <a:pt x="233" y="629"/>
                  <a:pt x="235" y="631"/>
                </a:cubicBezTo>
                <a:cubicBezTo>
                  <a:pt x="232" y="631"/>
                  <a:pt x="231" y="632"/>
                  <a:pt x="228" y="633"/>
                </a:cubicBezTo>
                <a:cubicBezTo>
                  <a:pt x="228" y="633"/>
                  <a:pt x="229" y="633"/>
                  <a:pt x="229" y="633"/>
                </a:cubicBezTo>
                <a:cubicBezTo>
                  <a:pt x="229" y="633"/>
                  <a:pt x="228" y="633"/>
                  <a:pt x="228" y="633"/>
                </a:cubicBezTo>
                <a:cubicBezTo>
                  <a:pt x="228" y="633"/>
                  <a:pt x="228" y="633"/>
                  <a:pt x="227" y="633"/>
                </a:cubicBezTo>
                <a:cubicBezTo>
                  <a:pt x="224" y="633"/>
                  <a:pt x="221" y="630"/>
                  <a:pt x="218" y="630"/>
                </a:cubicBezTo>
                <a:cubicBezTo>
                  <a:pt x="218" y="630"/>
                  <a:pt x="215" y="633"/>
                  <a:pt x="214" y="633"/>
                </a:cubicBezTo>
                <a:cubicBezTo>
                  <a:pt x="213" y="633"/>
                  <a:pt x="212" y="632"/>
                  <a:pt x="212" y="633"/>
                </a:cubicBezTo>
                <a:cubicBezTo>
                  <a:pt x="212" y="633"/>
                  <a:pt x="213" y="633"/>
                  <a:pt x="213" y="634"/>
                </a:cubicBezTo>
                <a:cubicBezTo>
                  <a:pt x="213" y="634"/>
                  <a:pt x="213" y="634"/>
                  <a:pt x="214" y="634"/>
                </a:cubicBezTo>
                <a:cubicBezTo>
                  <a:pt x="214" y="633"/>
                  <a:pt x="215" y="633"/>
                  <a:pt x="216" y="633"/>
                </a:cubicBezTo>
                <a:cubicBezTo>
                  <a:pt x="216" y="633"/>
                  <a:pt x="217" y="633"/>
                  <a:pt x="217" y="633"/>
                </a:cubicBezTo>
                <a:cubicBezTo>
                  <a:pt x="217" y="633"/>
                  <a:pt x="217" y="633"/>
                  <a:pt x="217" y="633"/>
                </a:cubicBezTo>
                <a:cubicBezTo>
                  <a:pt x="218" y="633"/>
                  <a:pt x="219" y="633"/>
                  <a:pt x="219" y="634"/>
                </a:cubicBezTo>
                <a:cubicBezTo>
                  <a:pt x="219" y="634"/>
                  <a:pt x="219" y="635"/>
                  <a:pt x="218" y="635"/>
                </a:cubicBezTo>
                <a:cubicBezTo>
                  <a:pt x="218" y="636"/>
                  <a:pt x="217" y="637"/>
                  <a:pt x="216" y="637"/>
                </a:cubicBezTo>
                <a:cubicBezTo>
                  <a:pt x="215" y="637"/>
                  <a:pt x="213" y="636"/>
                  <a:pt x="213" y="635"/>
                </a:cubicBezTo>
                <a:cubicBezTo>
                  <a:pt x="213" y="635"/>
                  <a:pt x="213" y="635"/>
                  <a:pt x="213" y="635"/>
                </a:cubicBezTo>
                <a:cubicBezTo>
                  <a:pt x="213" y="636"/>
                  <a:pt x="211" y="636"/>
                  <a:pt x="210" y="636"/>
                </a:cubicBezTo>
                <a:cubicBezTo>
                  <a:pt x="210" y="636"/>
                  <a:pt x="210" y="637"/>
                  <a:pt x="211" y="637"/>
                </a:cubicBezTo>
                <a:cubicBezTo>
                  <a:pt x="211" y="637"/>
                  <a:pt x="211" y="637"/>
                  <a:pt x="211" y="637"/>
                </a:cubicBezTo>
                <a:cubicBezTo>
                  <a:pt x="212" y="637"/>
                  <a:pt x="211" y="637"/>
                  <a:pt x="211" y="637"/>
                </a:cubicBezTo>
                <a:cubicBezTo>
                  <a:pt x="212" y="639"/>
                  <a:pt x="215" y="640"/>
                  <a:pt x="216" y="641"/>
                </a:cubicBezTo>
                <a:cubicBezTo>
                  <a:pt x="214" y="641"/>
                  <a:pt x="214" y="642"/>
                  <a:pt x="214" y="642"/>
                </a:cubicBezTo>
                <a:cubicBezTo>
                  <a:pt x="216" y="641"/>
                  <a:pt x="219" y="642"/>
                  <a:pt x="216" y="643"/>
                </a:cubicBezTo>
                <a:cubicBezTo>
                  <a:pt x="216" y="643"/>
                  <a:pt x="216" y="644"/>
                  <a:pt x="216" y="644"/>
                </a:cubicBezTo>
                <a:cubicBezTo>
                  <a:pt x="216" y="644"/>
                  <a:pt x="217" y="644"/>
                  <a:pt x="217" y="645"/>
                </a:cubicBezTo>
                <a:cubicBezTo>
                  <a:pt x="219" y="644"/>
                  <a:pt x="222" y="643"/>
                  <a:pt x="224" y="643"/>
                </a:cubicBezTo>
                <a:cubicBezTo>
                  <a:pt x="228" y="642"/>
                  <a:pt x="223" y="645"/>
                  <a:pt x="221" y="645"/>
                </a:cubicBezTo>
                <a:cubicBezTo>
                  <a:pt x="220" y="645"/>
                  <a:pt x="218" y="646"/>
                  <a:pt x="216" y="646"/>
                </a:cubicBezTo>
                <a:cubicBezTo>
                  <a:pt x="216" y="647"/>
                  <a:pt x="216" y="647"/>
                  <a:pt x="215" y="647"/>
                </a:cubicBezTo>
                <a:cubicBezTo>
                  <a:pt x="215" y="647"/>
                  <a:pt x="214" y="647"/>
                  <a:pt x="214" y="647"/>
                </a:cubicBezTo>
                <a:cubicBezTo>
                  <a:pt x="212" y="648"/>
                  <a:pt x="211" y="648"/>
                  <a:pt x="210" y="649"/>
                </a:cubicBezTo>
                <a:cubicBezTo>
                  <a:pt x="209" y="650"/>
                  <a:pt x="208" y="651"/>
                  <a:pt x="208" y="652"/>
                </a:cubicBezTo>
                <a:cubicBezTo>
                  <a:pt x="209" y="652"/>
                  <a:pt x="209" y="652"/>
                  <a:pt x="210" y="653"/>
                </a:cubicBezTo>
                <a:cubicBezTo>
                  <a:pt x="210" y="653"/>
                  <a:pt x="210" y="653"/>
                  <a:pt x="210" y="653"/>
                </a:cubicBezTo>
                <a:cubicBezTo>
                  <a:pt x="210" y="653"/>
                  <a:pt x="210" y="653"/>
                  <a:pt x="211" y="653"/>
                </a:cubicBezTo>
                <a:cubicBezTo>
                  <a:pt x="211" y="653"/>
                  <a:pt x="213" y="654"/>
                  <a:pt x="213" y="654"/>
                </a:cubicBezTo>
                <a:cubicBezTo>
                  <a:pt x="213" y="654"/>
                  <a:pt x="213" y="655"/>
                  <a:pt x="213" y="655"/>
                </a:cubicBezTo>
                <a:cubicBezTo>
                  <a:pt x="213" y="656"/>
                  <a:pt x="212" y="657"/>
                  <a:pt x="210" y="657"/>
                </a:cubicBezTo>
                <a:cubicBezTo>
                  <a:pt x="210" y="658"/>
                  <a:pt x="210" y="658"/>
                  <a:pt x="209" y="659"/>
                </a:cubicBezTo>
                <a:cubicBezTo>
                  <a:pt x="209" y="659"/>
                  <a:pt x="209" y="659"/>
                  <a:pt x="209" y="659"/>
                </a:cubicBezTo>
                <a:cubicBezTo>
                  <a:pt x="210" y="660"/>
                  <a:pt x="212" y="660"/>
                  <a:pt x="213" y="660"/>
                </a:cubicBezTo>
                <a:cubicBezTo>
                  <a:pt x="214" y="660"/>
                  <a:pt x="216" y="660"/>
                  <a:pt x="216" y="661"/>
                </a:cubicBezTo>
                <a:cubicBezTo>
                  <a:pt x="217" y="662"/>
                  <a:pt x="218" y="663"/>
                  <a:pt x="218" y="663"/>
                </a:cubicBezTo>
                <a:cubicBezTo>
                  <a:pt x="218" y="663"/>
                  <a:pt x="219" y="663"/>
                  <a:pt x="220" y="664"/>
                </a:cubicBezTo>
                <a:cubicBezTo>
                  <a:pt x="221" y="665"/>
                  <a:pt x="221" y="667"/>
                  <a:pt x="219" y="667"/>
                </a:cubicBezTo>
                <a:cubicBezTo>
                  <a:pt x="219" y="667"/>
                  <a:pt x="219" y="667"/>
                  <a:pt x="219" y="667"/>
                </a:cubicBezTo>
                <a:cubicBezTo>
                  <a:pt x="219" y="668"/>
                  <a:pt x="219" y="668"/>
                  <a:pt x="219" y="669"/>
                </a:cubicBezTo>
                <a:cubicBezTo>
                  <a:pt x="220" y="669"/>
                  <a:pt x="221" y="668"/>
                  <a:pt x="222" y="669"/>
                </a:cubicBezTo>
                <a:cubicBezTo>
                  <a:pt x="222" y="668"/>
                  <a:pt x="223" y="667"/>
                  <a:pt x="223" y="667"/>
                </a:cubicBezTo>
                <a:cubicBezTo>
                  <a:pt x="223" y="667"/>
                  <a:pt x="225" y="666"/>
                  <a:pt x="226" y="666"/>
                </a:cubicBezTo>
                <a:cubicBezTo>
                  <a:pt x="227" y="664"/>
                  <a:pt x="228" y="664"/>
                  <a:pt x="229" y="664"/>
                </a:cubicBezTo>
                <a:cubicBezTo>
                  <a:pt x="230" y="664"/>
                  <a:pt x="229" y="663"/>
                  <a:pt x="230" y="663"/>
                </a:cubicBezTo>
                <a:cubicBezTo>
                  <a:pt x="231" y="662"/>
                  <a:pt x="232" y="664"/>
                  <a:pt x="232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4" y="663"/>
                </a:cubicBezTo>
                <a:cubicBezTo>
                  <a:pt x="235" y="664"/>
                  <a:pt x="235" y="662"/>
                  <a:pt x="236" y="663"/>
                </a:cubicBezTo>
                <a:cubicBezTo>
                  <a:pt x="236" y="663"/>
                  <a:pt x="235" y="664"/>
                  <a:pt x="235" y="664"/>
                </a:cubicBezTo>
                <a:cubicBezTo>
                  <a:pt x="236" y="665"/>
                  <a:pt x="241" y="668"/>
                  <a:pt x="241" y="670"/>
                </a:cubicBezTo>
                <a:cubicBezTo>
                  <a:pt x="241" y="672"/>
                  <a:pt x="236" y="672"/>
                  <a:pt x="235" y="674"/>
                </a:cubicBezTo>
                <a:cubicBezTo>
                  <a:pt x="235" y="675"/>
                  <a:pt x="236" y="676"/>
                  <a:pt x="235" y="677"/>
                </a:cubicBezTo>
                <a:cubicBezTo>
                  <a:pt x="233" y="677"/>
                  <a:pt x="234" y="675"/>
                  <a:pt x="233" y="675"/>
                </a:cubicBezTo>
                <a:cubicBezTo>
                  <a:pt x="232" y="674"/>
                  <a:pt x="227" y="674"/>
                  <a:pt x="225" y="673"/>
                </a:cubicBezTo>
                <a:cubicBezTo>
                  <a:pt x="225" y="673"/>
                  <a:pt x="224" y="672"/>
                  <a:pt x="223" y="672"/>
                </a:cubicBezTo>
                <a:cubicBezTo>
                  <a:pt x="221" y="673"/>
                  <a:pt x="217" y="673"/>
                  <a:pt x="217" y="674"/>
                </a:cubicBezTo>
                <a:cubicBezTo>
                  <a:pt x="216" y="674"/>
                  <a:pt x="218" y="674"/>
                  <a:pt x="218" y="675"/>
                </a:cubicBezTo>
                <a:cubicBezTo>
                  <a:pt x="217" y="675"/>
                  <a:pt x="216" y="674"/>
                  <a:pt x="215" y="674"/>
                </a:cubicBezTo>
                <a:cubicBezTo>
                  <a:pt x="213" y="674"/>
                  <a:pt x="210" y="675"/>
                  <a:pt x="207" y="675"/>
                </a:cubicBezTo>
                <a:cubicBezTo>
                  <a:pt x="208" y="676"/>
                  <a:pt x="208" y="677"/>
                  <a:pt x="208" y="677"/>
                </a:cubicBezTo>
                <a:cubicBezTo>
                  <a:pt x="209" y="677"/>
                  <a:pt x="209" y="676"/>
                  <a:pt x="209" y="676"/>
                </a:cubicBezTo>
                <a:cubicBezTo>
                  <a:pt x="210" y="676"/>
                  <a:pt x="212" y="677"/>
                  <a:pt x="214" y="679"/>
                </a:cubicBezTo>
                <a:cubicBezTo>
                  <a:pt x="215" y="679"/>
                  <a:pt x="216" y="679"/>
                  <a:pt x="216" y="679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7" y="681"/>
                  <a:pt x="216" y="682"/>
                  <a:pt x="216" y="682"/>
                </a:cubicBezTo>
                <a:cubicBezTo>
                  <a:pt x="218" y="684"/>
                  <a:pt x="222" y="683"/>
                  <a:pt x="224" y="683"/>
                </a:cubicBezTo>
                <a:cubicBezTo>
                  <a:pt x="224" y="683"/>
                  <a:pt x="224" y="684"/>
                  <a:pt x="225" y="684"/>
                </a:cubicBezTo>
                <a:cubicBezTo>
                  <a:pt x="225" y="684"/>
                  <a:pt x="225" y="684"/>
                  <a:pt x="225" y="684"/>
                </a:cubicBezTo>
                <a:cubicBezTo>
                  <a:pt x="225" y="683"/>
                  <a:pt x="230" y="681"/>
                  <a:pt x="231" y="682"/>
                </a:cubicBezTo>
                <a:cubicBezTo>
                  <a:pt x="232" y="684"/>
                  <a:pt x="231" y="686"/>
                  <a:pt x="229" y="686"/>
                </a:cubicBezTo>
                <a:cubicBezTo>
                  <a:pt x="229" y="686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30" y="688"/>
                  <a:pt x="231" y="688"/>
                  <a:pt x="232" y="687"/>
                </a:cubicBezTo>
                <a:cubicBezTo>
                  <a:pt x="232" y="687"/>
                  <a:pt x="232" y="687"/>
                  <a:pt x="232" y="687"/>
                </a:cubicBezTo>
                <a:cubicBezTo>
                  <a:pt x="232" y="687"/>
                  <a:pt x="233" y="686"/>
                  <a:pt x="233" y="686"/>
                </a:cubicBezTo>
                <a:cubicBezTo>
                  <a:pt x="234" y="685"/>
                  <a:pt x="237" y="685"/>
                  <a:pt x="239" y="683"/>
                </a:cubicBezTo>
                <a:cubicBezTo>
                  <a:pt x="240" y="682"/>
                  <a:pt x="243" y="680"/>
                  <a:pt x="244" y="680"/>
                </a:cubicBezTo>
                <a:cubicBezTo>
                  <a:pt x="245" y="681"/>
                  <a:pt x="245" y="682"/>
                  <a:pt x="246" y="683"/>
                </a:cubicBezTo>
                <a:cubicBezTo>
                  <a:pt x="246" y="683"/>
                  <a:pt x="246" y="682"/>
                  <a:pt x="247" y="682"/>
                </a:cubicBezTo>
                <a:cubicBezTo>
                  <a:pt x="248" y="682"/>
                  <a:pt x="249" y="683"/>
                  <a:pt x="249" y="684"/>
                </a:cubicBezTo>
                <a:cubicBezTo>
                  <a:pt x="250" y="684"/>
                  <a:pt x="251" y="684"/>
                  <a:pt x="251" y="685"/>
                </a:cubicBezTo>
                <a:cubicBezTo>
                  <a:pt x="251" y="685"/>
                  <a:pt x="250" y="686"/>
                  <a:pt x="249" y="686"/>
                </a:cubicBezTo>
                <a:cubicBezTo>
                  <a:pt x="248" y="687"/>
                  <a:pt x="247" y="688"/>
                  <a:pt x="246" y="686"/>
                </a:cubicBezTo>
                <a:cubicBezTo>
                  <a:pt x="246" y="685"/>
                  <a:pt x="246" y="686"/>
                  <a:pt x="246" y="687"/>
                </a:cubicBezTo>
                <a:cubicBezTo>
                  <a:pt x="247" y="688"/>
                  <a:pt x="248" y="688"/>
                  <a:pt x="248" y="689"/>
                </a:cubicBezTo>
                <a:cubicBezTo>
                  <a:pt x="248" y="690"/>
                  <a:pt x="247" y="690"/>
                  <a:pt x="245" y="691"/>
                </a:cubicBezTo>
                <a:cubicBezTo>
                  <a:pt x="247" y="692"/>
                  <a:pt x="248" y="693"/>
                  <a:pt x="248" y="694"/>
                </a:cubicBezTo>
                <a:cubicBezTo>
                  <a:pt x="248" y="694"/>
                  <a:pt x="247" y="696"/>
                  <a:pt x="246" y="697"/>
                </a:cubicBezTo>
                <a:cubicBezTo>
                  <a:pt x="252" y="699"/>
                  <a:pt x="257" y="700"/>
                  <a:pt x="263" y="702"/>
                </a:cubicBezTo>
                <a:cubicBezTo>
                  <a:pt x="263" y="702"/>
                  <a:pt x="263" y="702"/>
                  <a:pt x="264" y="701"/>
                </a:cubicBezTo>
                <a:cubicBezTo>
                  <a:pt x="264" y="701"/>
                  <a:pt x="265" y="702"/>
                  <a:pt x="266" y="702"/>
                </a:cubicBezTo>
                <a:cubicBezTo>
                  <a:pt x="267" y="702"/>
                  <a:pt x="267" y="701"/>
                  <a:pt x="268" y="701"/>
                </a:cubicBezTo>
                <a:cubicBezTo>
                  <a:pt x="269" y="701"/>
                  <a:pt x="271" y="702"/>
                  <a:pt x="273" y="702"/>
                </a:cubicBezTo>
                <a:cubicBezTo>
                  <a:pt x="274" y="703"/>
                  <a:pt x="274" y="702"/>
                  <a:pt x="274" y="703"/>
                </a:cubicBezTo>
                <a:cubicBezTo>
                  <a:pt x="275" y="703"/>
                  <a:pt x="274" y="704"/>
                  <a:pt x="274" y="705"/>
                </a:cubicBezTo>
                <a:cubicBezTo>
                  <a:pt x="281" y="707"/>
                  <a:pt x="289" y="708"/>
                  <a:pt x="296" y="709"/>
                </a:cubicBezTo>
                <a:cubicBezTo>
                  <a:pt x="297" y="708"/>
                  <a:pt x="297" y="708"/>
                  <a:pt x="298" y="707"/>
                </a:cubicBezTo>
                <a:cubicBezTo>
                  <a:pt x="298" y="707"/>
                  <a:pt x="304" y="707"/>
                  <a:pt x="305" y="707"/>
                </a:cubicBezTo>
                <a:cubicBezTo>
                  <a:pt x="306" y="707"/>
                  <a:pt x="307" y="708"/>
                  <a:pt x="308" y="708"/>
                </a:cubicBezTo>
                <a:cubicBezTo>
                  <a:pt x="307" y="708"/>
                  <a:pt x="307" y="708"/>
                  <a:pt x="307" y="707"/>
                </a:cubicBezTo>
                <a:cubicBezTo>
                  <a:pt x="306" y="706"/>
                  <a:pt x="306" y="704"/>
                  <a:pt x="307" y="703"/>
                </a:cubicBezTo>
                <a:cubicBezTo>
                  <a:pt x="311" y="699"/>
                  <a:pt x="321" y="702"/>
                  <a:pt x="325" y="704"/>
                </a:cubicBezTo>
                <a:cubicBezTo>
                  <a:pt x="325" y="703"/>
                  <a:pt x="325" y="703"/>
                  <a:pt x="325" y="702"/>
                </a:cubicBezTo>
                <a:cubicBezTo>
                  <a:pt x="326" y="699"/>
                  <a:pt x="334" y="701"/>
                  <a:pt x="334" y="704"/>
                </a:cubicBezTo>
                <a:cubicBezTo>
                  <a:pt x="334" y="704"/>
                  <a:pt x="336" y="705"/>
                  <a:pt x="336" y="705"/>
                </a:cubicBezTo>
                <a:cubicBezTo>
                  <a:pt x="336" y="706"/>
                  <a:pt x="334" y="706"/>
                  <a:pt x="334" y="705"/>
                </a:cubicBezTo>
                <a:cubicBezTo>
                  <a:pt x="333" y="706"/>
                  <a:pt x="330" y="707"/>
                  <a:pt x="328" y="706"/>
                </a:cubicBezTo>
                <a:cubicBezTo>
                  <a:pt x="327" y="706"/>
                  <a:pt x="325" y="706"/>
                  <a:pt x="324" y="708"/>
                </a:cubicBezTo>
                <a:cubicBezTo>
                  <a:pt x="324" y="708"/>
                  <a:pt x="324" y="710"/>
                  <a:pt x="324" y="710"/>
                </a:cubicBezTo>
                <a:cubicBezTo>
                  <a:pt x="323" y="711"/>
                  <a:pt x="321" y="711"/>
                  <a:pt x="321" y="711"/>
                </a:cubicBezTo>
                <a:cubicBezTo>
                  <a:pt x="321" y="712"/>
                  <a:pt x="322" y="713"/>
                  <a:pt x="323" y="713"/>
                </a:cubicBezTo>
                <a:cubicBezTo>
                  <a:pt x="328" y="713"/>
                  <a:pt x="334" y="714"/>
                  <a:pt x="339" y="714"/>
                </a:cubicBezTo>
                <a:cubicBezTo>
                  <a:pt x="338" y="712"/>
                  <a:pt x="340" y="712"/>
                  <a:pt x="342" y="712"/>
                </a:cubicBezTo>
                <a:cubicBezTo>
                  <a:pt x="342" y="712"/>
                  <a:pt x="343" y="712"/>
                  <a:pt x="344" y="712"/>
                </a:cubicBezTo>
                <a:cubicBezTo>
                  <a:pt x="344" y="712"/>
                  <a:pt x="344" y="713"/>
                  <a:pt x="344" y="713"/>
                </a:cubicBezTo>
                <a:cubicBezTo>
                  <a:pt x="344" y="713"/>
                  <a:pt x="345" y="713"/>
                  <a:pt x="345" y="714"/>
                </a:cubicBezTo>
                <a:cubicBezTo>
                  <a:pt x="345" y="714"/>
                  <a:pt x="346" y="714"/>
                  <a:pt x="346" y="714"/>
                </a:cubicBezTo>
                <a:cubicBezTo>
                  <a:pt x="346" y="713"/>
                  <a:pt x="347" y="712"/>
                  <a:pt x="347" y="712"/>
                </a:cubicBezTo>
                <a:cubicBezTo>
                  <a:pt x="348" y="712"/>
                  <a:pt x="349" y="712"/>
                  <a:pt x="349" y="712"/>
                </a:cubicBezTo>
                <a:cubicBezTo>
                  <a:pt x="350" y="712"/>
                  <a:pt x="351" y="711"/>
                  <a:pt x="352" y="711"/>
                </a:cubicBezTo>
                <a:cubicBezTo>
                  <a:pt x="352" y="710"/>
                  <a:pt x="352" y="710"/>
                  <a:pt x="354" y="709"/>
                </a:cubicBezTo>
                <a:cubicBezTo>
                  <a:pt x="355" y="709"/>
                  <a:pt x="355" y="708"/>
                  <a:pt x="357" y="708"/>
                </a:cubicBezTo>
                <a:cubicBezTo>
                  <a:pt x="360" y="707"/>
                  <a:pt x="365" y="706"/>
                  <a:pt x="369" y="705"/>
                </a:cubicBezTo>
                <a:cubicBezTo>
                  <a:pt x="370" y="705"/>
                  <a:pt x="370" y="705"/>
                  <a:pt x="370" y="705"/>
                </a:cubicBezTo>
                <a:cubicBezTo>
                  <a:pt x="370" y="705"/>
                  <a:pt x="369" y="705"/>
                  <a:pt x="369" y="705"/>
                </a:cubicBezTo>
                <a:cubicBezTo>
                  <a:pt x="368" y="705"/>
                  <a:pt x="367" y="704"/>
                  <a:pt x="366" y="702"/>
                </a:cubicBezTo>
                <a:cubicBezTo>
                  <a:pt x="365" y="702"/>
                  <a:pt x="365" y="702"/>
                  <a:pt x="365" y="701"/>
                </a:cubicBezTo>
                <a:cubicBezTo>
                  <a:pt x="365" y="700"/>
                  <a:pt x="364" y="699"/>
                  <a:pt x="365" y="698"/>
                </a:cubicBezTo>
                <a:cubicBezTo>
                  <a:pt x="366" y="692"/>
                  <a:pt x="379" y="693"/>
                  <a:pt x="384" y="696"/>
                </a:cubicBezTo>
                <a:cubicBezTo>
                  <a:pt x="386" y="697"/>
                  <a:pt x="387" y="699"/>
                  <a:pt x="388" y="701"/>
                </a:cubicBezTo>
                <a:cubicBezTo>
                  <a:pt x="390" y="700"/>
                  <a:pt x="392" y="699"/>
                  <a:pt x="392" y="700"/>
                </a:cubicBezTo>
                <a:cubicBezTo>
                  <a:pt x="393" y="701"/>
                  <a:pt x="391" y="702"/>
                  <a:pt x="389" y="702"/>
                </a:cubicBezTo>
                <a:cubicBezTo>
                  <a:pt x="389" y="702"/>
                  <a:pt x="389" y="702"/>
                  <a:pt x="389" y="702"/>
                </a:cubicBezTo>
                <a:cubicBezTo>
                  <a:pt x="390" y="703"/>
                  <a:pt x="391" y="704"/>
                  <a:pt x="391" y="704"/>
                </a:cubicBezTo>
                <a:cubicBezTo>
                  <a:pt x="391" y="706"/>
                  <a:pt x="387" y="707"/>
                  <a:pt x="383" y="708"/>
                </a:cubicBezTo>
                <a:cubicBezTo>
                  <a:pt x="388" y="708"/>
                  <a:pt x="395" y="708"/>
                  <a:pt x="399" y="708"/>
                </a:cubicBezTo>
                <a:cubicBezTo>
                  <a:pt x="399" y="708"/>
                  <a:pt x="406" y="707"/>
                  <a:pt x="406" y="708"/>
                </a:cubicBezTo>
                <a:cubicBezTo>
                  <a:pt x="407" y="710"/>
                  <a:pt x="401" y="709"/>
                  <a:pt x="400" y="709"/>
                </a:cubicBezTo>
                <a:cubicBezTo>
                  <a:pt x="394" y="709"/>
                  <a:pt x="384" y="709"/>
                  <a:pt x="378" y="709"/>
                </a:cubicBezTo>
                <a:cubicBezTo>
                  <a:pt x="378" y="709"/>
                  <a:pt x="377" y="709"/>
                  <a:pt x="377" y="709"/>
                </a:cubicBezTo>
                <a:cubicBezTo>
                  <a:pt x="377" y="709"/>
                  <a:pt x="377" y="709"/>
                  <a:pt x="377" y="708"/>
                </a:cubicBezTo>
                <a:cubicBezTo>
                  <a:pt x="378" y="708"/>
                  <a:pt x="378" y="708"/>
                  <a:pt x="379" y="708"/>
                </a:cubicBezTo>
                <a:cubicBezTo>
                  <a:pt x="377" y="708"/>
                  <a:pt x="376" y="708"/>
                  <a:pt x="375" y="708"/>
                </a:cubicBezTo>
                <a:cubicBezTo>
                  <a:pt x="374" y="708"/>
                  <a:pt x="374" y="709"/>
                  <a:pt x="373" y="709"/>
                </a:cubicBezTo>
                <a:cubicBezTo>
                  <a:pt x="373" y="709"/>
                  <a:pt x="372" y="709"/>
                  <a:pt x="372" y="709"/>
                </a:cubicBezTo>
                <a:cubicBezTo>
                  <a:pt x="372" y="709"/>
                  <a:pt x="371" y="710"/>
                  <a:pt x="370" y="710"/>
                </a:cubicBezTo>
                <a:cubicBezTo>
                  <a:pt x="369" y="710"/>
                  <a:pt x="367" y="710"/>
                  <a:pt x="366" y="711"/>
                </a:cubicBezTo>
                <a:cubicBezTo>
                  <a:pt x="364" y="711"/>
                  <a:pt x="363" y="712"/>
                  <a:pt x="361" y="713"/>
                </a:cubicBezTo>
                <a:cubicBezTo>
                  <a:pt x="360" y="713"/>
                  <a:pt x="360" y="713"/>
                  <a:pt x="360" y="713"/>
                </a:cubicBezTo>
                <a:cubicBezTo>
                  <a:pt x="359" y="713"/>
                  <a:pt x="358" y="714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554" y="715"/>
                  <a:pt x="714" y="555"/>
                  <a:pt x="714" y="357"/>
                </a:cubicBezTo>
                <a:cubicBezTo>
                  <a:pt x="714" y="339"/>
                  <a:pt x="713" y="322"/>
                  <a:pt x="710" y="304"/>
                </a:cubicBezTo>
                <a:close/>
                <a:moveTo>
                  <a:pt x="703" y="277"/>
                </a:moveTo>
                <a:cubicBezTo>
                  <a:pt x="704" y="277"/>
                  <a:pt x="703" y="279"/>
                  <a:pt x="702" y="279"/>
                </a:cubicBezTo>
                <a:cubicBezTo>
                  <a:pt x="702" y="278"/>
                  <a:pt x="703" y="278"/>
                  <a:pt x="703" y="277"/>
                </a:cubicBezTo>
                <a:close/>
                <a:moveTo>
                  <a:pt x="702" y="292"/>
                </a:moveTo>
                <a:cubicBezTo>
                  <a:pt x="702" y="292"/>
                  <a:pt x="702" y="292"/>
                  <a:pt x="702" y="292"/>
                </a:cubicBezTo>
                <a:cubicBezTo>
                  <a:pt x="702" y="292"/>
                  <a:pt x="701" y="293"/>
                  <a:pt x="701" y="293"/>
                </a:cubicBezTo>
                <a:cubicBezTo>
                  <a:pt x="701" y="293"/>
                  <a:pt x="701" y="292"/>
                  <a:pt x="702" y="292"/>
                </a:cubicBezTo>
                <a:close/>
                <a:moveTo>
                  <a:pt x="699" y="271"/>
                </a:moveTo>
                <a:cubicBezTo>
                  <a:pt x="697" y="274"/>
                  <a:pt x="700" y="270"/>
                  <a:pt x="699" y="271"/>
                </a:cubicBezTo>
                <a:close/>
                <a:moveTo>
                  <a:pt x="681" y="279"/>
                </a:moveTo>
                <a:cubicBezTo>
                  <a:pt x="681" y="277"/>
                  <a:pt x="683" y="278"/>
                  <a:pt x="681" y="279"/>
                </a:cubicBezTo>
                <a:close/>
                <a:moveTo>
                  <a:pt x="682" y="275"/>
                </a:moveTo>
                <a:cubicBezTo>
                  <a:pt x="683" y="276"/>
                  <a:pt x="681" y="277"/>
                  <a:pt x="682" y="275"/>
                </a:cubicBezTo>
                <a:close/>
                <a:moveTo>
                  <a:pt x="686" y="247"/>
                </a:moveTo>
                <a:cubicBezTo>
                  <a:pt x="687" y="248"/>
                  <a:pt x="687" y="250"/>
                  <a:pt x="687" y="252"/>
                </a:cubicBezTo>
                <a:cubicBezTo>
                  <a:pt x="686" y="251"/>
                  <a:pt x="686" y="249"/>
                  <a:pt x="686" y="247"/>
                </a:cubicBezTo>
                <a:close/>
                <a:moveTo>
                  <a:pt x="680" y="254"/>
                </a:moveTo>
                <a:cubicBezTo>
                  <a:pt x="680" y="255"/>
                  <a:pt x="681" y="252"/>
                  <a:pt x="680" y="254"/>
                </a:cubicBezTo>
                <a:close/>
                <a:moveTo>
                  <a:pt x="684" y="227"/>
                </a:moveTo>
                <a:cubicBezTo>
                  <a:pt x="687" y="230"/>
                  <a:pt x="682" y="233"/>
                  <a:pt x="680" y="234"/>
                </a:cubicBezTo>
                <a:cubicBezTo>
                  <a:pt x="678" y="231"/>
                  <a:pt x="681" y="225"/>
                  <a:pt x="684" y="227"/>
                </a:cubicBezTo>
                <a:close/>
                <a:moveTo>
                  <a:pt x="634" y="190"/>
                </a:moveTo>
                <a:cubicBezTo>
                  <a:pt x="634" y="190"/>
                  <a:pt x="634" y="191"/>
                  <a:pt x="634" y="191"/>
                </a:cubicBezTo>
                <a:cubicBezTo>
                  <a:pt x="635" y="194"/>
                  <a:pt x="630" y="192"/>
                  <a:pt x="634" y="190"/>
                </a:cubicBezTo>
                <a:close/>
                <a:moveTo>
                  <a:pt x="574" y="146"/>
                </a:moveTo>
                <a:cubicBezTo>
                  <a:pt x="575" y="147"/>
                  <a:pt x="573" y="147"/>
                  <a:pt x="573" y="146"/>
                </a:cubicBezTo>
                <a:cubicBezTo>
                  <a:pt x="572" y="146"/>
                  <a:pt x="574" y="145"/>
                  <a:pt x="574" y="146"/>
                </a:cubicBezTo>
                <a:close/>
                <a:moveTo>
                  <a:pt x="571" y="138"/>
                </a:moveTo>
                <a:cubicBezTo>
                  <a:pt x="571" y="138"/>
                  <a:pt x="571" y="138"/>
                  <a:pt x="571" y="138"/>
                </a:cubicBezTo>
                <a:cubicBezTo>
                  <a:pt x="572" y="140"/>
                  <a:pt x="569" y="137"/>
                  <a:pt x="571" y="138"/>
                </a:cubicBezTo>
                <a:close/>
                <a:moveTo>
                  <a:pt x="566" y="136"/>
                </a:moveTo>
                <a:cubicBezTo>
                  <a:pt x="566" y="137"/>
                  <a:pt x="564" y="137"/>
                  <a:pt x="564" y="137"/>
                </a:cubicBezTo>
                <a:cubicBezTo>
                  <a:pt x="564" y="136"/>
                  <a:pt x="566" y="135"/>
                  <a:pt x="566" y="136"/>
                </a:cubicBezTo>
                <a:close/>
                <a:moveTo>
                  <a:pt x="562" y="145"/>
                </a:moveTo>
                <a:cubicBezTo>
                  <a:pt x="563" y="146"/>
                  <a:pt x="562" y="146"/>
                  <a:pt x="562" y="146"/>
                </a:cubicBezTo>
                <a:cubicBezTo>
                  <a:pt x="561" y="145"/>
                  <a:pt x="562" y="145"/>
                  <a:pt x="562" y="145"/>
                </a:cubicBezTo>
                <a:close/>
                <a:moveTo>
                  <a:pt x="549" y="88"/>
                </a:moveTo>
                <a:cubicBezTo>
                  <a:pt x="549" y="88"/>
                  <a:pt x="549" y="88"/>
                  <a:pt x="549" y="88"/>
                </a:cubicBezTo>
                <a:cubicBezTo>
                  <a:pt x="549" y="88"/>
                  <a:pt x="549" y="88"/>
                  <a:pt x="549" y="88"/>
                </a:cubicBezTo>
                <a:close/>
                <a:moveTo>
                  <a:pt x="549" y="88"/>
                </a:moveTo>
                <a:cubicBezTo>
                  <a:pt x="549" y="88"/>
                  <a:pt x="548" y="88"/>
                  <a:pt x="549" y="88"/>
                </a:cubicBezTo>
                <a:close/>
                <a:moveTo>
                  <a:pt x="549" y="90"/>
                </a:moveTo>
                <a:cubicBezTo>
                  <a:pt x="549" y="91"/>
                  <a:pt x="548" y="91"/>
                  <a:pt x="548" y="91"/>
                </a:cubicBezTo>
                <a:cubicBezTo>
                  <a:pt x="548" y="91"/>
                  <a:pt x="549" y="90"/>
                  <a:pt x="549" y="90"/>
                </a:cubicBezTo>
                <a:close/>
                <a:moveTo>
                  <a:pt x="547" y="89"/>
                </a:moveTo>
                <a:cubicBezTo>
                  <a:pt x="546" y="89"/>
                  <a:pt x="546" y="90"/>
                  <a:pt x="545" y="90"/>
                </a:cubicBezTo>
                <a:cubicBezTo>
                  <a:pt x="546" y="90"/>
                  <a:pt x="544" y="88"/>
                  <a:pt x="544" y="88"/>
                </a:cubicBezTo>
                <a:cubicBezTo>
                  <a:pt x="545" y="87"/>
                  <a:pt x="547" y="87"/>
                  <a:pt x="547" y="89"/>
                </a:cubicBezTo>
                <a:close/>
                <a:moveTo>
                  <a:pt x="540" y="94"/>
                </a:moveTo>
                <a:cubicBezTo>
                  <a:pt x="541" y="94"/>
                  <a:pt x="539" y="94"/>
                  <a:pt x="539" y="94"/>
                </a:cubicBezTo>
                <a:cubicBezTo>
                  <a:pt x="539" y="93"/>
                  <a:pt x="540" y="93"/>
                  <a:pt x="540" y="94"/>
                </a:cubicBezTo>
                <a:close/>
                <a:moveTo>
                  <a:pt x="540" y="97"/>
                </a:moveTo>
                <a:cubicBezTo>
                  <a:pt x="540" y="96"/>
                  <a:pt x="538" y="98"/>
                  <a:pt x="539" y="97"/>
                </a:cubicBezTo>
                <a:cubicBezTo>
                  <a:pt x="539" y="96"/>
                  <a:pt x="542" y="93"/>
                  <a:pt x="544" y="93"/>
                </a:cubicBezTo>
                <a:cubicBezTo>
                  <a:pt x="546" y="93"/>
                  <a:pt x="549" y="94"/>
                  <a:pt x="548" y="96"/>
                </a:cubicBezTo>
                <a:cubicBezTo>
                  <a:pt x="548" y="98"/>
                  <a:pt x="544" y="100"/>
                  <a:pt x="542" y="100"/>
                </a:cubicBezTo>
                <a:cubicBezTo>
                  <a:pt x="541" y="100"/>
                  <a:pt x="540" y="99"/>
                  <a:pt x="540" y="99"/>
                </a:cubicBezTo>
                <a:cubicBezTo>
                  <a:pt x="539" y="99"/>
                  <a:pt x="538" y="101"/>
                  <a:pt x="538" y="99"/>
                </a:cubicBezTo>
                <a:cubicBezTo>
                  <a:pt x="538" y="99"/>
                  <a:pt x="540" y="97"/>
                  <a:pt x="540" y="97"/>
                </a:cubicBezTo>
                <a:close/>
                <a:moveTo>
                  <a:pt x="535" y="95"/>
                </a:moveTo>
                <a:cubicBezTo>
                  <a:pt x="536" y="96"/>
                  <a:pt x="533" y="95"/>
                  <a:pt x="535" y="95"/>
                </a:cubicBezTo>
                <a:close/>
                <a:moveTo>
                  <a:pt x="535" y="97"/>
                </a:moveTo>
                <a:cubicBezTo>
                  <a:pt x="535" y="97"/>
                  <a:pt x="535" y="96"/>
                  <a:pt x="535" y="96"/>
                </a:cubicBezTo>
                <a:cubicBezTo>
                  <a:pt x="535" y="97"/>
                  <a:pt x="536" y="97"/>
                  <a:pt x="535" y="97"/>
                </a:cubicBezTo>
                <a:close/>
                <a:moveTo>
                  <a:pt x="534" y="111"/>
                </a:moveTo>
                <a:cubicBezTo>
                  <a:pt x="534" y="110"/>
                  <a:pt x="535" y="109"/>
                  <a:pt x="536" y="110"/>
                </a:cubicBezTo>
                <a:cubicBezTo>
                  <a:pt x="537" y="111"/>
                  <a:pt x="535" y="111"/>
                  <a:pt x="534" y="111"/>
                </a:cubicBezTo>
                <a:close/>
                <a:moveTo>
                  <a:pt x="535" y="84"/>
                </a:moveTo>
                <a:cubicBezTo>
                  <a:pt x="538" y="83"/>
                  <a:pt x="536" y="88"/>
                  <a:pt x="534" y="87"/>
                </a:cubicBezTo>
                <a:cubicBezTo>
                  <a:pt x="532" y="86"/>
                  <a:pt x="534" y="85"/>
                  <a:pt x="535" y="84"/>
                </a:cubicBezTo>
                <a:close/>
                <a:moveTo>
                  <a:pt x="545" y="73"/>
                </a:moveTo>
                <a:cubicBezTo>
                  <a:pt x="544" y="74"/>
                  <a:pt x="544" y="72"/>
                  <a:pt x="545" y="73"/>
                </a:cubicBezTo>
                <a:close/>
                <a:moveTo>
                  <a:pt x="541" y="72"/>
                </a:moveTo>
                <a:cubicBezTo>
                  <a:pt x="540" y="73"/>
                  <a:pt x="539" y="73"/>
                  <a:pt x="537" y="73"/>
                </a:cubicBezTo>
                <a:cubicBezTo>
                  <a:pt x="539" y="73"/>
                  <a:pt x="539" y="71"/>
                  <a:pt x="541" y="72"/>
                </a:cubicBezTo>
                <a:close/>
                <a:moveTo>
                  <a:pt x="534" y="73"/>
                </a:moveTo>
                <a:cubicBezTo>
                  <a:pt x="534" y="74"/>
                  <a:pt x="532" y="75"/>
                  <a:pt x="532" y="74"/>
                </a:cubicBezTo>
                <a:cubicBezTo>
                  <a:pt x="531" y="74"/>
                  <a:pt x="534" y="73"/>
                  <a:pt x="534" y="73"/>
                </a:cubicBezTo>
                <a:close/>
                <a:moveTo>
                  <a:pt x="531" y="74"/>
                </a:moveTo>
                <a:cubicBezTo>
                  <a:pt x="532" y="75"/>
                  <a:pt x="530" y="74"/>
                  <a:pt x="530" y="74"/>
                </a:cubicBezTo>
                <a:cubicBezTo>
                  <a:pt x="529" y="73"/>
                  <a:pt x="531" y="73"/>
                  <a:pt x="531" y="74"/>
                </a:cubicBezTo>
                <a:close/>
                <a:moveTo>
                  <a:pt x="458" y="41"/>
                </a:moveTo>
                <a:cubicBezTo>
                  <a:pt x="458" y="42"/>
                  <a:pt x="458" y="42"/>
                  <a:pt x="458" y="42"/>
                </a:cubicBezTo>
                <a:cubicBezTo>
                  <a:pt x="458" y="41"/>
                  <a:pt x="457" y="40"/>
                  <a:pt x="458" y="41"/>
                </a:cubicBezTo>
                <a:close/>
                <a:moveTo>
                  <a:pt x="421" y="34"/>
                </a:moveTo>
                <a:cubicBezTo>
                  <a:pt x="420" y="34"/>
                  <a:pt x="420" y="33"/>
                  <a:pt x="421" y="34"/>
                </a:cubicBezTo>
                <a:close/>
                <a:moveTo>
                  <a:pt x="421" y="29"/>
                </a:moveTo>
                <a:cubicBezTo>
                  <a:pt x="422" y="30"/>
                  <a:pt x="420" y="30"/>
                  <a:pt x="420" y="30"/>
                </a:cubicBezTo>
                <a:cubicBezTo>
                  <a:pt x="419" y="29"/>
                  <a:pt x="421" y="29"/>
                  <a:pt x="421" y="29"/>
                </a:cubicBezTo>
                <a:close/>
                <a:moveTo>
                  <a:pt x="461" y="19"/>
                </a:moveTo>
                <a:cubicBezTo>
                  <a:pt x="461" y="20"/>
                  <a:pt x="458" y="20"/>
                  <a:pt x="458" y="19"/>
                </a:cubicBezTo>
                <a:cubicBezTo>
                  <a:pt x="457" y="18"/>
                  <a:pt x="461" y="17"/>
                  <a:pt x="461" y="19"/>
                </a:cubicBezTo>
                <a:close/>
                <a:moveTo>
                  <a:pt x="456" y="20"/>
                </a:moveTo>
                <a:cubicBezTo>
                  <a:pt x="457" y="21"/>
                  <a:pt x="454" y="22"/>
                  <a:pt x="454" y="20"/>
                </a:cubicBezTo>
                <a:cubicBezTo>
                  <a:pt x="454" y="20"/>
                  <a:pt x="456" y="20"/>
                  <a:pt x="456" y="20"/>
                </a:cubicBezTo>
                <a:close/>
                <a:moveTo>
                  <a:pt x="455" y="23"/>
                </a:moveTo>
                <a:cubicBezTo>
                  <a:pt x="456" y="24"/>
                  <a:pt x="453" y="23"/>
                  <a:pt x="453" y="23"/>
                </a:cubicBezTo>
                <a:cubicBezTo>
                  <a:pt x="453" y="22"/>
                  <a:pt x="455" y="22"/>
                  <a:pt x="455" y="23"/>
                </a:cubicBezTo>
                <a:close/>
                <a:moveTo>
                  <a:pt x="434" y="24"/>
                </a:moveTo>
                <a:cubicBezTo>
                  <a:pt x="434" y="25"/>
                  <a:pt x="430" y="24"/>
                  <a:pt x="430" y="23"/>
                </a:cubicBezTo>
                <a:cubicBezTo>
                  <a:pt x="430" y="22"/>
                  <a:pt x="433" y="22"/>
                  <a:pt x="434" y="24"/>
                </a:cubicBezTo>
                <a:close/>
                <a:moveTo>
                  <a:pt x="427" y="20"/>
                </a:moveTo>
                <a:cubicBezTo>
                  <a:pt x="427" y="21"/>
                  <a:pt x="425" y="20"/>
                  <a:pt x="425" y="20"/>
                </a:cubicBezTo>
                <a:cubicBezTo>
                  <a:pt x="425" y="20"/>
                  <a:pt x="427" y="19"/>
                  <a:pt x="427" y="20"/>
                </a:cubicBezTo>
                <a:close/>
                <a:moveTo>
                  <a:pt x="418" y="41"/>
                </a:moveTo>
                <a:cubicBezTo>
                  <a:pt x="418" y="41"/>
                  <a:pt x="418" y="40"/>
                  <a:pt x="418" y="40"/>
                </a:cubicBezTo>
                <a:cubicBezTo>
                  <a:pt x="416" y="39"/>
                  <a:pt x="420" y="40"/>
                  <a:pt x="418" y="41"/>
                </a:cubicBezTo>
                <a:close/>
                <a:moveTo>
                  <a:pt x="415" y="43"/>
                </a:moveTo>
                <a:cubicBezTo>
                  <a:pt x="416" y="44"/>
                  <a:pt x="414" y="44"/>
                  <a:pt x="414" y="44"/>
                </a:cubicBezTo>
                <a:cubicBezTo>
                  <a:pt x="414" y="44"/>
                  <a:pt x="414" y="43"/>
                  <a:pt x="415" y="43"/>
                </a:cubicBezTo>
                <a:close/>
                <a:moveTo>
                  <a:pt x="388" y="45"/>
                </a:moveTo>
                <a:cubicBezTo>
                  <a:pt x="388" y="43"/>
                  <a:pt x="393" y="43"/>
                  <a:pt x="393" y="45"/>
                </a:cubicBezTo>
                <a:cubicBezTo>
                  <a:pt x="393" y="48"/>
                  <a:pt x="388" y="46"/>
                  <a:pt x="388" y="45"/>
                </a:cubicBezTo>
                <a:close/>
                <a:moveTo>
                  <a:pt x="394" y="10"/>
                </a:moveTo>
                <a:cubicBezTo>
                  <a:pt x="394" y="11"/>
                  <a:pt x="393" y="11"/>
                  <a:pt x="392" y="11"/>
                </a:cubicBezTo>
                <a:cubicBezTo>
                  <a:pt x="393" y="10"/>
                  <a:pt x="394" y="10"/>
                  <a:pt x="394" y="10"/>
                </a:cubicBezTo>
                <a:close/>
                <a:moveTo>
                  <a:pt x="389" y="10"/>
                </a:moveTo>
                <a:cubicBezTo>
                  <a:pt x="391" y="9"/>
                  <a:pt x="391" y="12"/>
                  <a:pt x="389" y="10"/>
                </a:cubicBezTo>
                <a:close/>
                <a:moveTo>
                  <a:pt x="387" y="32"/>
                </a:moveTo>
                <a:cubicBezTo>
                  <a:pt x="393" y="30"/>
                  <a:pt x="399" y="30"/>
                  <a:pt x="404" y="30"/>
                </a:cubicBezTo>
                <a:cubicBezTo>
                  <a:pt x="399" y="31"/>
                  <a:pt x="391" y="32"/>
                  <a:pt x="384" y="33"/>
                </a:cubicBezTo>
                <a:cubicBezTo>
                  <a:pt x="379" y="35"/>
                  <a:pt x="386" y="32"/>
                  <a:pt x="387" y="32"/>
                </a:cubicBezTo>
                <a:close/>
                <a:moveTo>
                  <a:pt x="380" y="25"/>
                </a:moveTo>
                <a:cubicBezTo>
                  <a:pt x="381" y="24"/>
                  <a:pt x="382" y="26"/>
                  <a:pt x="380" y="25"/>
                </a:cubicBezTo>
                <a:close/>
                <a:moveTo>
                  <a:pt x="355" y="52"/>
                </a:moveTo>
                <a:cubicBezTo>
                  <a:pt x="355" y="51"/>
                  <a:pt x="357" y="50"/>
                  <a:pt x="357" y="51"/>
                </a:cubicBezTo>
                <a:cubicBezTo>
                  <a:pt x="358" y="53"/>
                  <a:pt x="356" y="52"/>
                  <a:pt x="355" y="52"/>
                </a:cubicBezTo>
                <a:close/>
                <a:moveTo>
                  <a:pt x="375" y="42"/>
                </a:move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lose/>
                <a:moveTo>
                  <a:pt x="371" y="6"/>
                </a:moveTo>
                <a:cubicBezTo>
                  <a:pt x="372" y="5"/>
                  <a:pt x="373" y="7"/>
                  <a:pt x="371" y="6"/>
                </a:cubicBezTo>
                <a:close/>
                <a:moveTo>
                  <a:pt x="367" y="52"/>
                </a:moveTo>
                <a:cubicBezTo>
                  <a:pt x="366" y="53"/>
                  <a:pt x="365" y="53"/>
                  <a:pt x="364" y="53"/>
                </a:cubicBezTo>
                <a:cubicBezTo>
                  <a:pt x="365" y="52"/>
                  <a:pt x="366" y="52"/>
                  <a:pt x="367" y="52"/>
                </a:cubicBezTo>
                <a:close/>
                <a:moveTo>
                  <a:pt x="360" y="41"/>
                </a:moveTo>
                <a:cubicBezTo>
                  <a:pt x="358" y="42"/>
                  <a:pt x="354" y="43"/>
                  <a:pt x="351" y="41"/>
                </a:cubicBezTo>
                <a:cubicBezTo>
                  <a:pt x="351" y="40"/>
                  <a:pt x="360" y="41"/>
                  <a:pt x="360" y="41"/>
                </a:cubicBezTo>
                <a:close/>
                <a:moveTo>
                  <a:pt x="2" y="391"/>
                </a:moveTo>
                <a:cubicBezTo>
                  <a:pt x="2" y="392"/>
                  <a:pt x="2" y="389"/>
                  <a:pt x="2" y="391"/>
                </a:cubicBezTo>
                <a:close/>
                <a:moveTo>
                  <a:pt x="2" y="338"/>
                </a:moveTo>
                <a:cubicBezTo>
                  <a:pt x="1" y="339"/>
                  <a:pt x="1" y="336"/>
                  <a:pt x="2" y="337"/>
                </a:cubicBezTo>
                <a:cubicBezTo>
                  <a:pt x="2" y="337"/>
                  <a:pt x="2" y="337"/>
                  <a:pt x="2" y="338"/>
                </a:cubicBezTo>
                <a:close/>
                <a:moveTo>
                  <a:pt x="6" y="411"/>
                </a:moveTo>
                <a:cubicBezTo>
                  <a:pt x="7" y="410"/>
                  <a:pt x="8" y="410"/>
                  <a:pt x="6" y="411"/>
                </a:cubicBezTo>
                <a:close/>
                <a:moveTo>
                  <a:pt x="7" y="377"/>
                </a:moveTo>
                <a:cubicBezTo>
                  <a:pt x="8" y="377"/>
                  <a:pt x="8" y="378"/>
                  <a:pt x="7" y="379"/>
                </a:cubicBezTo>
                <a:cubicBezTo>
                  <a:pt x="6" y="380"/>
                  <a:pt x="7" y="377"/>
                  <a:pt x="7" y="377"/>
                </a:cubicBezTo>
                <a:close/>
                <a:moveTo>
                  <a:pt x="7" y="415"/>
                </a:moveTo>
                <a:cubicBezTo>
                  <a:pt x="7" y="416"/>
                  <a:pt x="7" y="413"/>
                  <a:pt x="8" y="414"/>
                </a:cubicBezTo>
                <a:cubicBezTo>
                  <a:pt x="9" y="414"/>
                  <a:pt x="8" y="415"/>
                  <a:pt x="7" y="415"/>
                </a:cubicBezTo>
                <a:close/>
                <a:moveTo>
                  <a:pt x="7" y="368"/>
                </a:moveTo>
                <a:cubicBezTo>
                  <a:pt x="6" y="367"/>
                  <a:pt x="7" y="364"/>
                  <a:pt x="8" y="363"/>
                </a:cubicBezTo>
                <a:cubicBezTo>
                  <a:pt x="8" y="365"/>
                  <a:pt x="7" y="366"/>
                  <a:pt x="7" y="368"/>
                </a:cubicBezTo>
                <a:close/>
                <a:moveTo>
                  <a:pt x="13" y="438"/>
                </a:moveTo>
                <a:cubicBezTo>
                  <a:pt x="13" y="438"/>
                  <a:pt x="13" y="439"/>
                  <a:pt x="13" y="439"/>
                </a:cubicBezTo>
                <a:cubicBezTo>
                  <a:pt x="13" y="441"/>
                  <a:pt x="12" y="437"/>
                  <a:pt x="13" y="438"/>
                </a:cubicBezTo>
                <a:close/>
                <a:moveTo>
                  <a:pt x="12" y="423"/>
                </a:moveTo>
                <a:cubicBezTo>
                  <a:pt x="13" y="423"/>
                  <a:pt x="11" y="425"/>
                  <a:pt x="12" y="423"/>
                </a:cubicBezTo>
                <a:close/>
                <a:moveTo>
                  <a:pt x="15" y="295"/>
                </a:moveTo>
                <a:cubicBezTo>
                  <a:pt x="15" y="298"/>
                  <a:pt x="13" y="296"/>
                  <a:pt x="15" y="295"/>
                </a:cubicBezTo>
                <a:close/>
                <a:moveTo>
                  <a:pt x="13" y="368"/>
                </a:moveTo>
                <a:cubicBezTo>
                  <a:pt x="14" y="368"/>
                  <a:pt x="13" y="369"/>
                  <a:pt x="13" y="369"/>
                </a:cubicBezTo>
                <a:cubicBezTo>
                  <a:pt x="12" y="370"/>
                  <a:pt x="12" y="367"/>
                  <a:pt x="13" y="368"/>
                </a:cubicBezTo>
                <a:close/>
                <a:moveTo>
                  <a:pt x="12" y="352"/>
                </a:moveTo>
                <a:cubicBezTo>
                  <a:pt x="11" y="353"/>
                  <a:pt x="11" y="350"/>
                  <a:pt x="12" y="351"/>
                </a:cubicBezTo>
                <a:cubicBezTo>
                  <a:pt x="13" y="351"/>
                  <a:pt x="12" y="352"/>
                  <a:pt x="12" y="352"/>
                </a:cubicBezTo>
                <a:close/>
                <a:moveTo>
                  <a:pt x="10" y="333"/>
                </a:moveTo>
                <a:cubicBezTo>
                  <a:pt x="12" y="332"/>
                  <a:pt x="14" y="337"/>
                  <a:pt x="12" y="338"/>
                </a:cubicBezTo>
                <a:cubicBezTo>
                  <a:pt x="9" y="339"/>
                  <a:pt x="9" y="334"/>
                  <a:pt x="10" y="333"/>
                </a:cubicBezTo>
                <a:close/>
                <a:moveTo>
                  <a:pt x="10" y="355"/>
                </a:moveTo>
                <a:cubicBezTo>
                  <a:pt x="9" y="356"/>
                  <a:pt x="10" y="353"/>
                  <a:pt x="10" y="353"/>
                </a:cubicBezTo>
                <a:cubicBezTo>
                  <a:pt x="11" y="354"/>
                  <a:pt x="10" y="355"/>
                  <a:pt x="10" y="355"/>
                </a:cubicBezTo>
                <a:close/>
                <a:moveTo>
                  <a:pt x="9" y="371"/>
                </a:moveTo>
                <a:cubicBezTo>
                  <a:pt x="8" y="372"/>
                  <a:pt x="8" y="369"/>
                  <a:pt x="9" y="370"/>
                </a:cubicBezTo>
                <a:cubicBezTo>
                  <a:pt x="9" y="370"/>
                  <a:pt x="9" y="371"/>
                  <a:pt x="9" y="371"/>
                </a:cubicBezTo>
                <a:close/>
                <a:moveTo>
                  <a:pt x="9" y="359"/>
                </a:moveTo>
                <a:cubicBezTo>
                  <a:pt x="8" y="359"/>
                  <a:pt x="9" y="357"/>
                  <a:pt x="10" y="357"/>
                </a:cubicBezTo>
                <a:cubicBezTo>
                  <a:pt x="9" y="358"/>
                  <a:pt x="9" y="358"/>
                  <a:pt x="9" y="359"/>
                </a:cubicBezTo>
                <a:close/>
                <a:moveTo>
                  <a:pt x="10" y="438"/>
                </a:moveTo>
                <a:cubicBezTo>
                  <a:pt x="9" y="439"/>
                  <a:pt x="10" y="436"/>
                  <a:pt x="11" y="436"/>
                </a:cubicBezTo>
                <a:cubicBezTo>
                  <a:pt x="12" y="437"/>
                  <a:pt x="11" y="437"/>
                  <a:pt x="10" y="438"/>
                </a:cubicBezTo>
                <a:close/>
                <a:moveTo>
                  <a:pt x="10" y="424"/>
                </a:moveTo>
                <a:cubicBezTo>
                  <a:pt x="9" y="425"/>
                  <a:pt x="10" y="422"/>
                  <a:pt x="11" y="423"/>
                </a:cubicBezTo>
                <a:cubicBezTo>
                  <a:pt x="12" y="424"/>
                  <a:pt x="11" y="424"/>
                  <a:pt x="10" y="424"/>
                </a:cubicBezTo>
                <a:close/>
                <a:moveTo>
                  <a:pt x="11" y="386"/>
                </a:moveTo>
                <a:cubicBezTo>
                  <a:pt x="10" y="386"/>
                  <a:pt x="10" y="387"/>
                  <a:pt x="10" y="385"/>
                </a:cubicBezTo>
                <a:cubicBezTo>
                  <a:pt x="10" y="383"/>
                  <a:pt x="14" y="374"/>
                  <a:pt x="14" y="374"/>
                </a:cubicBezTo>
                <a:cubicBezTo>
                  <a:pt x="16" y="374"/>
                  <a:pt x="13" y="377"/>
                  <a:pt x="13" y="378"/>
                </a:cubicBezTo>
                <a:cubicBezTo>
                  <a:pt x="12" y="381"/>
                  <a:pt x="14" y="385"/>
                  <a:pt x="11" y="386"/>
                </a:cubicBezTo>
                <a:close/>
                <a:moveTo>
                  <a:pt x="14" y="394"/>
                </a:moveTo>
                <a:cubicBezTo>
                  <a:pt x="13" y="396"/>
                  <a:pt x="14" y="393"/>
                  <a:pt x="14" y="393"/>
                </a:cubicBezTo>
                <a:cubicBezTo>
                  <a:pt x="15" y="393"/>
                  <a:pt x="15" y="394"/>
                  <a:pt x="14" y="394"/>
                </a:cubicBezTo>
                <a:close/>
                <a:moveTo>
                  <a:pt x="15" y="388"/>
                </a:moveTo>
                <a:cubicBezTo>
                  <a:pt x="14" y="388"/>
                  <a:pt x="15" y="387"/>
                  <a:pt x="15" y="387"/>
                </a:cubicBezTo>
                <a:cubicBezTo>
                  <a:pt x="15" y="387"/>
                  <a:pt x="15" y="388"/>
                  <a:pt x="15" y="388"/>
                </a:cubicBezTo>
                <a:close/>
                <a:moveTo>
                  <a:pt x="15" y="300"/>
                </a:moveTo>
                <a:cubicBezTo>
                  <a:pt x="16" y="302"/>
                  <a:pt x="14" y="301"/>
                  <a:pt x="15" y="300"/>
                </a:cubicBezTo>
                <a:close/>
                <a:moveTo>
                  <a:pt x="16" y="366"/>
                </a:moveTo>
                <a:cubicBezTo>
                  <a:pt x="15" y="367"/>
                  <a:pt x="17" y="364"/>
                  <a:pt x="16" y="366"/>
                </a:cubicBezTo>
                <a:close/>
                <a:moveTo>
                  <a:pt x="17" y="380"/>
                </a:moveTo>
                <a:cubicBezTo>
                  <a:pt x="16" y="381"/>
                  <a:pt x="16" y="379"/>
                  <a:pt x="17" y="379"/>
                </a:cubicBezTo>
                <a:cubicBezTo>
                  <a:pt x="17" y="378"/>
                  <a:pt x="17" y="380"/>
                  <a:pt x="17" y="380"/>
                </a:cubicBezTo>
                <a:close/>
                <a:moveTo>
                  <a:pt x="27" y="420"/>
                </a:move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lose/>
                <a:moveTo>
                  <a:pt x="23" y="346"/>
                </a:moveTo>
                <a:cubicBezTo>
                  <a:pt x="23" y="346"/>
                  <a:pt x="23" y="347"/>
                  <a:pt x="23" y="347"/>
                </a:cubicBezTo>
                <a:cubicBezTo>
                  <a:pt x="22" y="347"/>
                  <a:pt x="22" y="346"/>
                  <a:pt x="23" y="346"/>
                </a:cubicBezTo>
                <a:close/>
                <a:moveTo>
                  <a:pt x="19" y="405"/>
                </a:moveTo>
                <a:cubicBezTo>
                  <a:pt x="19" y="405"/>
                  <a:pt x="18" y="404"/>
                  <a:pt x="18" y="404"/>
                </a:cubicBezTo>
                <a:cubicBezTo>
                  <a:pt x="18" y="404"/>
                  <a:pt x="20" y="404"/>
                  <a:pt x="19" y="405"/>
                </a:cubicBezTo>
                <a:close/>
                <a:moveTo>
                  <a:pt x="20" y="406"/>
                </a:moveTo>
                <a:cubicBezTo>
                  <a:pt x="19" y="406"/>
                  <a:pt x="20" y="405"/>
                  <a:pt x="20" y="404"/>
                </a:cubicBezTo>
                <a:cubicBezTo>
                  <a:pt x="21" y="404"/>
                  <a:pt x="20" y="405"/>
                  <a:pt x="20" y="406"/>
                </a:cubicBezTo>
                <a:close/>
                <a:moveTo>
                  <a:pt x="20" y="360"/>
                </a:moveTo>
                <a:cubicBezTo>
                  <a:pt x="19" y="359"/>
                  <a:pt x="21" y="359"/>
                  <a:pt x="20" y="360"/>
                </a:cubicBezTo>
                <a:close/>
                <a:moveTo>
                  <a:pt x="22" y="268"/>
                </a:moveTo>
                <a:cubicBezTo>
                  <a:pt x="23" y="268"/>
                  <a:pt x="22" y="270"/>
                  <a:pt x="22" y="271"/>
                </a:cubicBezTo>
                <a:cubicBezTo>
                  <a:pt x="19" y="273"/>
                  <a:pt x="19" y="267"/>
                  <a:pt x="22" y="268"/>
                </a:cubicBezTo>
                <a:close/>
                <a:moveTo>
                  <a:pt x="21" y="397"/>
                </a:moveTo>
                <a:cubicBezTo>
                  <a:pt x="21" y="396"/>
                  <a:pt x="22" y="397"/>
                  <a:pt x="22" y="398"/>
                </a:cubicBezTo>
                <a:cubicBezTo>
                  <a:pt x="21" y="399"/>
                  <a:pt x="20" y="397"/>
                  <a:pt x="21" y="397"/>
                </a:cubicBezTo>
                <a:close/>
                <a:moveTo>
                  <a:pt x="21" y="415"/>
                </a:moveTo>
                <a:cubicBezTo>
                  <a:pt x="22" y="416"/>
                  <a:pt x="21" y="417"/>
                  <a:pt x="21" y="415"/>
                </a:cubicBezTo>
                <a:close/>
                <a:moveTo>
                  <a:pt x="21" y="413"/>
                </a:moveTo>
                <a:cubicBezTo>
                  <a:pt x="21" y="413"/>
                  <a:pt x="23" y="413"/>
                  <a:pt x="23" y="413"/>
                </a:cubicBezTo>
                <a:cubicBezTo>
                  <a:pt x="23" y="414"/>
                  <a:pt x="20" y="414"/>
                  <a:pt x="21" y="413"/>
                </a:cubicBezTo>
                <a:close/>
                <a:moveTo>
                  <a:pt x="24" y="367"/>
                </a:moveTo>
                <a:cubicBezTo>
                  <a:pt x="25" y="368"/>
                  <a:pt x="23" y="369"/>
                  <a:pt x="24" y="367"/>
                </a:cubicBezTo>
                <a:close/>
                <a:moveTo>
                  <a:pt x="24" y="412"/>
                </a:moveTo>
                <a:cubicBezTo>
                  <a:pt x="24" y="413"/>
                  <a:pt x="24" y="410"/>
                  <a:pt x="24" y="412"/>
                </a:cubicBezTo>
                <a:close/>
                <a:moveTo>
                  <a:pt x="25" y="401"/>
                </a:moveTo>
                <a:cubicBezTo>
                  <a:pt x="24" y="402"/>
                  <a:pt x="24" y="400"/>
                  <a:pt x="24" y="399"/>
                </a:cubicBezTo>
                <a:cubicBezTo>
                  <a:pt x="25" y="399"/>
                  <a:pt x="25" y="401"/>
                  <a:pt x="25" y="401"/>
                </a:cubicBezTo>
                <a:close/>
                <a:moveTo>
                  <a:pt x="27" y="397"/>
                </a:moveTo>
                <a:cubicBezTo>
                  <a:pt x="27" y="398"/>
                  <a:pt x="28" y="396"/>
                  <a:pt x="27" y="397"/>
                </a:cubicBezTo>
                <a:close/>
                <a:moveTo>
                  <a:pt x="25" y="343"/>
                </a:moveTo>
                <a:cubicBezTo>
                  <a:pt x="23" y="342"/>
                  <a:pt x="25" y="340"/>
                  <a:pt x="25" y="338"/>
                </a:cubicBezTo>
                <a:cubicBezTo>
                  <a:pt x="25" y="340"/>
                  <a:pt x="26" y="339"/>
                  <a:pt x="27" y="340"/>
                </a:cubicBezTo>
                <a:cubicBezTo>
                  <a:pt x="29" y="342"/>
                  <a:pt x="26" y="345"/>
                  <a:pt x="25" y="343"/>
                </a:cubicBezTo>
                <a:close/>
                <a:moveTo>
                  <a:pt x="31" y="233"/>
                </a:moveTo>
                <a:cubicBezTo>
                  <a:pt x="30" y="234"/>
                  <a:pt x="30" y="231"/>
                  <a:pt x="30" y="231"/>
                </a:cubicBezTo>
                <a:cubicBezTo>
                  <a:pt x="32" y="231"/>
                  <a:pt x="31" y="233"/>
                  <a:pt x="31" y="233"/>
                </a:cubicBezTo>
                <a:close/>
                <a:moveTo>
                  <a:pt x="33" y="290"/>
                </a:moveTo>
                <a:cubicBezTo>
                  <a:pt x="32" y="291"/>
                  <a:pt x="32" y="288"/>
                  <a:pt x="33" y="289"/>
                </a:cubicBezTo>
                <a:cubicBezTo>
                  <a:pt x="34" y="289"/>
                  <a:pt x="33" y="290"/>
                  <a:pt x="33" y="290"/>
                </a:cubicBezTo>
                <a:close/>
                <a:moveTo>
                  <a:pt x="34" y="385"/>
                </a:moveTo>
                <a:cubicBezTo>
                  <a:pt x="33" y="386"/>
                  <a:pt x="34" y="383"/>
                  <a:pt x="35" y="383"/>
                </a:cubicBezTo>
                <a:cubicBezTo>
                  <a:pt x="35" y="384"/>
                  <a:pt x="34" y="385"/>
                  <a:pt x="34" y="385"/>
                </a:cubicBezTo>
                <a:close/>
                <a:moveTo>
                  <a:pt x="36" y="305"/>
                </a:moveTo>
                <a:cubicBezTo>
                  <a:pt x="35" y="307"/>
                  <a:pt x="37" y="303"/>
                  <a:pt x="36" y="305"/>
                </a:cubicBezTo>
                <a:close/>
                <a:moveTo>
                  <a:pt x="37" y="344"/>
                </a:moveTo>
                <a:cubicBezTo>
                  <a:pt x="37" y="344"/>
                  <a:pt x="38" y="344"/>
                  <a:pt x="38" y="344"/>
                </a:cubicBezTo>
                <a:cubicBezTo>
                  <a:pt x="38" y="345"/>
                  <a:pt x="37" y="345"/>
                  <a:pt x="37" y="344"/>
                </a:cubicBezTo>
                <a:close/>
                <a:moveTo>
                  <a:pt x="29" y="469"/>
                </a:moveTo>
                <a:cubicBezTo>
                  <a:pt x="25" y="471"/>
                  <a:pt x="25" y="463"/>
                  <a:pt x="29" y="464"/>
                </a:cubicBezTo>
                <a:cubicBezTo>
                  <a:pt x="31" y="464"/>
                  <a:pt x="31" y="468"/>
                  <a:pt x="29" y="469"/>
                </a:cubicBezTo>
                <a:close/>
                <a:moveTo>
                  <a:pt x="34" y="484"/>
                </a:moveTo>
                <a:cubicBezTo>
                  <a:pt x="34" y="485"/>
                  <a:pt x="34" y="485"/>
                  <a:pt x="33" y="485"/>
                </a:cubicBezTo>
                <a:cubicBezTo>
                  <a:pt x="32" y="486"/>
                  <a:pt x="33" y="483"/>
                  <a:pt x="34" y="484"/>
                </a:cubicBezTo>
                <a:close/>
                <a:moveTo>
                  <a:pt x="36" y="466"/>
                </a:moveTo>
                <a:cubicBezTo>
                  <a:pt x="34" y="467"/>
                  <a:pt x="34" y="464"/>
                  <a:pt x="35" y="463"/>
                </a:cubicBezTo>
                <a:cubicBezTo>
                  <a:pt x="36" y="463"/>
                  <a:pt x="37" y="465"/>
                  <a:pt x="36" y="466"/>
                </a:cubicBezTo>
                <a:close/>
                <a:moveTo>
                  <a:pt x="38" y="455"/>
                </a:moveTo>
                <a:cubicBezTo>
                  <a:pt x="38" y="455"/>
                  <a:pt x="38" y="456"/>
                  <a:pt x="38" y="456"/>
                </a:cubicBezTo>
                <a:cubicBezTo>
                  <a:pt x="37" y="458"/>
                  <a:pt x="36" y="454"/>
                  <a:pt x="38" y="455"/>
                </a:cubicBezTo>
                <a:close/>
                <a:moveTo>
                  <a:pt x="38" y="461"/>
                </a:moveTo>
                <a:cubicBezTo>
                  <a:pt x="36" y="462"/>
                  <a:pt x="38" y="459"/>
                  <a:pt x="39" y="459"/>
                </a:cubicBezTo>
                <a:cubicBezTo>
                  <a:pt x="39" y="460"/>
                  <a:pt x="38" y="461"/>
                  <a:pt x="38" y="461"/>
                </a:cubicBezTo>
                <a:close/>
                <a:moveTo>
                  <a:pt x="66" y="337"/>
                </a:moveTo>
                <a:cubicBezTo>
                  <a:pt x="66" y="337"/>
                  <a:pt x="66" y="338"/>
                  <a:pt x="66" y="338"/>
                </a:cubicBezTo>
                <a:cubicBezTo>
                  <a:pt x="65" y="339"/>
                  <a:pt x="65" y="336"/>
                  <a:pt x="66" y="337"/>
                </a:cubicBezTo>
                <a:close/>
                <a:moveTo>
                  <a:pt x="66" y="380"/>
                </a:moveTo>
                <a:cubicBezTo>
                  <a:pt x="67" y="380"/>
                  <a:pt x="67" y="382"/>
                  <a:pt x="66" y="382"/>
                </a:cubicBezTo>
                <a:cubicBezTo>
                  <a:pt x="65" y="384"/>
                  <a:pt x="65" y="379"/>
                  <a:pt x="66" y="380"/>
                </a:cubicBezTo>
                <a:close/>
                <a:moveTo>
                  <a:pt x="63" y="330"/>
                </a:moveTo>
                <a:cubicBezTo>
                  <a:pt x="62" y="331"/>
                  <a:pt x="64" y="329"/>
                  <a:pt x="63" y="330"/>
                </a:cubicBezTo>
                <a:close/>
                <a:moveTo>
                  <a:pt x="64" y="346"/>
                </a:moveTo>
                <a:cubicBezTo>
                  <a:pt x="66" y="346"/>
                  <a:pt x="65" y="351"/>
                  <a:pt x="62" y="351"/>
                </a:cubicBezTo>
                <a:cubicBezTo>
                  <a:pt x="62" y="351"/>
                  <a:pt x="62" y="345"/>
                  <a:pt x="64" y="346"/>
                </a:cubicBezTo>
                <a:close/>
                <a:moveTo>
                  <a:pt x="64" y="393"/>
                </a:moveTo>
                <a:cubicBezTo>
                  <a:pt x="64" y="392"/>
                  <a:pt x="65" y="394"/>
                  <a:pt x="64" y="393"/>
                </a:cubicBezTo>
                <a:close/>
                <a:moveTo>
                  <a:pt x="61" y="364"/>
                </a:moveTo>
                <a:cubicBezTo>
                  <a:pt x="61" y="362"/>
                  <a:pt x="62" y="363"/>
                  <a:pt x="61" y="364"/>
                </a:cubicBezTo>
                <a:close/>
                <a:moveTo>
                  <a:pt x="61" y="403"/>
                </a:moveTo>
                <a:cubicBezTo>
                  <a:pt x="61" y="403"/>
                  <a:pt x="61" y="403"/>
                  <a:pt x="62" y="403"/>
                </a:cubicBezTo>
                <a:cubicBezTo>
                  <a:pt x="63" y="402"/>
                  <a:pt x="61" y="403"/>
                  <a:pt x="61" y="403"/>
                </a:cubicBezTo>
                <a:close/>
                <a:moveTo>
                  <a:pt x="61" y="365"/>
                </a:moveTo>
                <a:cubicBezTo>
                  <a:pt x="61" y="366"/>
                  <a:pt x="59" y="365"/>
                  <a:pt x="61" y="365"/>
                </a:cubicBezTo>
                <a:close/>
                <a:moveTo>
                  <a:pt x="58" y="357"/>
                </a:moveTo>
                <a:cubicBezTo>
                  <a:pt x="59" y="357"/>
                  <a:pt x="58" y="359"/>
                  <a:pt x="58" y="359"/>
                </a:cubicBezTo>
                <a:cubicBezTo>
                  <a:pt x="56" y="361"/>
                  <a:pt x="55" y="356"/>
                  <a:pt x="58" y="357"/>
                </a:cubicBezTo>
                <a:close/>
                <a:moveTo>
                  <a:pt x="56" y="405"/>
                </a:moveTo>
                <a:cubicBezTo>
                  <a:pt x="56" y="405"/>
                  <a:pt x="56" y="406"/>
                  <a:pt x="56" y="406"/>
                </a:cubicBezTo>
                <a:cubicBezTo>
                  <a:pt x="55" y="407"/>
                  <a:pt x="55" y="405"/>
                  <a:pt x="56" y="405"/>
                </a:cubicBezTo>
                <a:close/>
                <a:moveTo>
                  <a:pt x="54" y="374"/>
                </a:moveTo>
                <a:cubicBezTo>
                  <a:pt x="55" y="374"/>
                  <a:pt x="55" y="375"/>
                  <a:pt x="54" y="375"/>
                </a:cubicBezTo>
                <a:cubicBezTo>
                  <a:pt x="53" y="376"/>
                  <a:pt x="53" y="374"/>
                  <a:pt x="54" y="374"/>
                </a:cubicBezTo>
                <a:close/>
                <a:moveTo>
                  <a:pt x="49" y="398"/>
                </a:moveTo>
                <a:cubicBezTo>
                  <a:pt x="51" y="396"/>
                  <a:pt x="52" y="393"/>
                  <a:pt x="54" y="390"/>
                </a:cubicBezTo>
                <a:cubicBezTo>
                  <a:pt x="53" y="393"/>
                  <a:pt x="51" y="396"/>
                  <a:pt x="49" y="398"/>
                </a:cubicBezTo>
                <a:close/>
                <a:moveTo>
                  <a:pt x="51" y="408"/>
                </a:moveTo>
                <a:cubicBezTo>
                  <a:pt x="50" y="407"/>
                  <a:pt x="52" y="406"/>
                  <a:pt x="52" y="407"/>
                </a:cubicBezTo>
                <a:cubicBezTo>
                  <a:pt x="54" y="408"/>
                  <a:pt x="52" y="410"/>
                  <a:pt x="51" y="408"/>
                </a:cubicBezTo>
                <a:close/>
                <a:moveTo>
                  <a:pt x="46" y="404"/>
                </a:moveTo>
                <a:cubicBezTo>
                  <a:pt x="46" y="404"/>
                  <a:pt x="47" y="400"/>
                  <a:pt x="48" y="399"/>
                </a:cubicBezTo>
                <a:cubicBezTo>
                  <a:pt x="48" y="400"/>
                  <a:pt x="47" y="404"/>
                  <a:pt x="46" y="404"/>
                </a:cubicBezTo>
                <a:close/>
                <a:moveTo>
                  <a:pt x="47" y="409"/>
                </a:moveTo>
                <a:cubicBezTo>
                  <a:pt x="48" y="408"/>
                  <a:pt x="47" y="410"/>
                  <a:pt x="47" y="409"/>
                </a:cubicBezTo>
                <a:close/>
                <a:moveTo>
                  <a:pt x="48" y="392"/>
                </a:moveTo>
                <a:cubicBezTo>
                  <a:pt x="46" y="393"/>
                  <a:pt x="46" y="388"/>
                  <a:pt x="49" y="389"/>
                </a:cubicBezTo>
                <a:cubicBezTo>
                  <a:pt x="50" y="389"/>
                  <a:pt x="49" y="392"/>
                  <a:pt x="48" y="392"/>
                </a:cubicBezTo>
                <a:close/>
                <a:moveTo>
                  <a:pt x="53" y="323"/>
                </a:moveTo>
                <a:cubicBezTo>
                  <a:pt x="54" y="323"/>
                  <a:pt x="54" y="325"/>
                  <a:pt x="53" y="325"/>
                </a:cubicBezTo>
                <a:cubicBezTo>
                  <a:pt x="52" y="326"/>
                  <a:pt x="52" y="323"/>
                  <a:pt x="53" y="323"/>
                </a:cubicBezTo>
                <a:close/>
                <a:moveTo>
                  <a:pt x="50" y="354"/>
                </a:moveTo>
                <a:cubicBezTo>
                  <a:pt x="53" y="355"/>
                  <a:pt x="51" y="360"/>
                  <a:pt x="50" y="360"/>
                </a:cubicBezTo>
                <a:cubicBezTo>
                  <a:pt x="45" y="362"/>
                  <a:pt x="47" y="352"/>
                  <a:pt x="50" y="354"/>
                </a:cubicBezTo>
                <a:close/>
                <a:moveTo>
                  <a:pt x="47" y="328"/>
                </a:moveTo>
                <a:cubicBezTo>
                  <a:pt x="47" y="328"/>
                  <a:pt x="48" y="328"/>
                  <a:pt x="48" y="327"/>
                </a:cubicBezTo>
                <a:cubicBezTo>
                  <a:pt x="49" y="327"/>
                  <a:pt x="49" y="328"/>
                  <a:pt x="47" y="328"/>
                </a:cubicBezTo>
                <a:close/>
                <a:moveTo>
                  <a:pt x="48" y="267"/>
                </a:moveTo>
                <a:cubicBezTo>
                  <a:pt x="47" y="267"/>
                  <a:pt x="47" y="267"/>
                  <a:pt x="47" y="266"/>
                </a:cubicBezTo>
                <a:cubicBezTo>
                  <a:pt x="47" y="266"/>
                  <a:pt x="49" y="266"/>
                  <a:pt x="48" y="267"/>
                </a:cubicBezTo>
                <a:close/>
                <a:moveTo>
                  <a:pt x="46" y="377"/>
                </a:moveTo>
                <a:cubicBezTo>
                  <a:pt x="45" y="378"/>
                  <a:pt x="45" y="376"/>
                  <a:pt x="46" y="376"/>
                </a:cubicBezTo>
                <a:cubicBezTo>
                  <a:pt x="47" y="376"/>
                  <a:pt x="46" y="377"/>
                  <a:pt x="46" y="377"/>
                </a:cubicBezTo>
                <a:close/>
                <a:moveTo>
                  <a:pt x="45" y="192"/>
                </a:moveTo>
                <a:cubicBezTo>
                  <a:pt x="46" y="192"/>
                  <a:pt x="46" y="193"/>
                  <a:pt x="46" y="193"/>
                </a:cubicBezTo>
                <a:cubicBezTo>
                  <a:pt x="44" y="195"/>
                  <a:pt x="44" y="191"/>
                  <a:pt x="45" y="192"/>
                </a:cubicBezTo>
                <a:close/>
                <a:moveTo>
                  <a:pt x="45" y="207"/>
                </a:moveTo>
                <a:cubicBezTo>
                  <a:pt x="46" y="207"/>
                  <a:pt x="45" y="208"/>
                  <a:pt x="45" y="209"/>
                </a:cubicBezTo>
                <a:cubicBezTo>
                  <a:pt x="44" y="210"/>
                  <a:pt x="44" y="207"/>
                  <a:pt x="45" y="207"/>
                </a:cubicBezTo>
                <a:close/>
                <a:moveTo>
                  <a:pt x="44" y="360"/>
                </a:moveTo>
                <a:cubicBezTo>
                  <a:pt x="45" y="361"/>
                  <a:pt x="44" y="363"/>
                  <a:pt x="44" y="363"/>
                </a:cubicBezTo>
                <a:cubicBezTo>
                  <a:pt x="42" y="364"/>
                  <a:pt x="43" y="360"/>
                  <a:pt x="44" y="360"/>
                </a:cubicBezTo>
                <a:close/>
                <a:moveTo>
                  <a:pt x="43" y="227"/>
                </a:moveTo>
                <a:cubicBezTo>
                  <a:pt x="43" y="227"/>
                  <a:pt x="43" y="228"/>
                  <a:pt x="43" y="228"/>
                </a:cubicBezTo>
                <a:cubicBezTo>
                  <a:pt x="42" y="229"/>
                  <a:pt x="43" y="226"/>
                  <a:pt x="43" y="227"/>
                </a:cubicBezTo>
                <a:close/>
                <a:moveTo>
                  <a:pt x="40" y="322"/>
                </a:moveTo>
                <a:cubicBezTo>
                  <a:pt x="41" y="320"/>
                  <a:pt x="39" y="322"/>
                  <a:pt x="40" y="322"/>
                </a:cubicBezTo>
                <a:close/>
                <a:moveTo>
                  <a:pt x="36" y="429"/>
                </a:moveTo>
                <a:cubicBezTo>
                  <a:pt x="35" y="431"/>
                  <a:pt x="35" y="428"/>
                  <a:pt x="36" y="428"/>
                </a:cubicBezTo>
                <a:cubicBezTo>
                  <a:pt x="36" y="429"/>
                  <a:pt x="36" y="429"/>
                  <a:pt x="36" y="429"/>
                </a:cubicBezTo>
                <a:close/>
                <a:moveTo>
                  <a:pt x="35" y="428"/>
                </a:moveTo>
                <a:cubicBezTo>
                  <a:pt x="34" y="427"/>
                  <a:pt x="36" y="425"/>
                  <a:pt x="36" y="426"/>
                </a:cubicBezTo>
                <a:cubicBezTo>
                  <a:pt x="37" y="428"/>
                  <a:pt x="35" y="429"/>
                  <a:pt x="35" y="428"/>
                </a:cubicBezTo>
                <a:close/>
                <a:moveTo>
                  <a:pt x="38" y="424"/>
                </a:moveTo>
                <a:cubicBezTo>
                  <a:pt x="35" y="427"/>
                  <a:pt x="33" y="418"/>
                  <a:pt x="37" y="417"/>
                </a:cubicBezTo>
                <a:cubicBezTo>
                  <a:pt x="35" y="420"/>
                  <a:pt x="39" y="419"/>
                  <a:pt x="39" y="420"/>
                </a:cubicBezTo>
                <a:cubicBezTo>
                  <a:pt x="39" y="421"/>
                  <a:pt x="39" y="423"/>
                  <a:pt x="38" y="424"/>
                </a:cubicBezTo>
                <a:close/>
                <a:moveTo>
                  <a:pt x="40" y="358"/>
                </a:moveTo>
                <a:cubicBezTo>
                  <a:pt x="38" y="358"/>
                  <a:pt x="41" y="356"/>
                  <a:pt x="40" y="357"/>
                </a:cubicBezTo>
                <a:cubicBezTo>
                  <a:pt x="40" y="357"/>
                  <a:pt x="40" y="358"/>
                  <a:pt x="40" y="358"/>
                </a:cubicBezTo>
                <a:close/>
                <a:moveTo>
                  <a:pt x="41" y="431"/>
                </a:moveTo>
                <a:cubicBezTo>
                  <a:pt x="42" y="430"/>
                  <a:pt x="43" y="432"/>
                  <a:pt x="41" y="431"/>
                </a:cubicBezTo>
                <a:close/>
                <a:moveTo>
                  <a:pt x="42" y="382"/>
                </a:moveTo>
                <a:cubicBezTo>
                  <a:pt x="42" y="380"/>
                  <a:pt x="43" y="381"/>
                  <a:pt x="44" y="380"/>
                </a:cubicBezTo>
                <a:cubicBezTo>
                  <a:pt x="44" y="379"/>
                  <a:pt x="44" y="378"/>
                  <a:pt x="46" y="378"/>
                </a:cubicBezTo>
                <a:cubicBezTo>
                  <a:pt x="50" y="378"/>
                  <a:pt x="48" y="384"/>
                  <a:pt x="45" y="385"/>
                </a:cubicBezTo>
                <a:cubicBezTo>
                  <a:pt x="43" y="385"/>
                  <a:pt x="41" y="385"/>
                  <a:pt x="42" y="382"/>
                </a:cubicBezTo>
                <a:close/>
                <a:moveTo>
                  <a:pt x="44" y="391"/>
                </a:moveTo>
                <a:cubicBezTo>
                  <a:pt x="43" y="392"/>
                  <a:pt x="45" y="389"/>
                  <a:pt x="44" y="391"/>
                </a:cubicBezTo>
                <a:close/>
                <a:moveTo>
                  <a:pt x="42" y="449"/>
                </a:moveTo>
                <a:cubicBezTo>
                  <a:pt x="42" y="450"/>
                  <a:pt x="43" y="447"/>
                  <a:pt x="42" y="449"/>
                </a:cubicBezTo>
                <a:close/>
                <a:moveTo>
                  <a:pt x="44" y="465"/>
                </a:moveTo>
                <a:cubicBezTo>
                  <a:pt x="45" y="464"/>
                  <a:pt x="43" y="466"/>
                  <a:pt x="44" y="465"/>
                </a:cubicBezTo>
                <a:close/>
                <a:moveTo>
                  <a:pt x="45" y="462"/>
                </a:moveTo>
                <a:cubicBezTo>
                  <a:pt x="45" y="462"/>
                  <a:pt x="45" y="462"/>
                  <a:pt x="46" y="462"/>
                </a:cubicBezTo>
                <a:cubicBezTo>
                  <a:pt x="46" y="462"/>
                  <a:pt x="46" y="462"/>
                  <a:pt x="46" y="462"/>
                </a:cubicBezTo>
                <a:cubicBezTo>
                  <a:pt x="46" y="462"/>
                  <a:pt x="45" y="462"/>
                  <a:pt x="45" y="462"/>
                </a:cubicBezTo>
                <a:close/>
                <a:moveTo>
                  <a:pt x="43" y="445"/>
                </a:moveTo>
                <a:cubicBezTo>
                  <a:pt x="43" y="443"/>
                  <a:pt x="45" y="441"/>
                  <a:pt x="47" y="439"/>
                </a:cubicBezTo>
                <a:cubicBezTo>
                  <a:pt x="47" y="442"/>
                  <a:pt x="44" y="443"/>
                  <a:pt x="43" y="445"/>
                </a:cubicBezTo>
                <a:close/>
                <a:moveTo>
                  <a:pt x="46" y="434"/>
                </a:moveTo>
                <a:cubicBezTo>
                  <a:pt x="46" y="434"/>
                  <a:pt x="47" y="433"/>
                  <a:pt x="46" y="434"/>
                </a:cubicBezTo>
                <a:cubicBezTo>
                  <a:pt x="46" y="434"/>
                  <a:pt x="46" y="434"/>
                  <a:pt x="46" y="434"/>
                </a:cubicBezTo>
                <a:close/>
                <a:moveTo>
                  <a:pt x="47" y="432"/>
                </a:moveTo>
                <a:cubicBezTo>
                  <a:pt x="48" y="430"/>
                  <a:pt x="50" y="431"/>
                  <a:pt x="47" y="432"/>
                </a:cubicBezTo>
                <a:close/>
                <a:moveTo>
                  <a:pt x="50" y="418"/>
                </a:moveTo>
                <a:cubicBezTo>
                  <a:pt x="50" y="419"/>
                  <a:pt x="52" y="419"/>
                  <a:pt x="51" y="420"/>
                </a:cubicBezTo>
                <a:cubicBezTo>
                  <a:pt x="52" y="419"/>
                  <a:pt x="48" y="420"/>
                  <a:pt x="49" y="421"/>
                </a:cubicBezTo>
                <a:cubicBezTo>
                  <a:pt x="48" y="420"/>
                  <a:pt x="48" y="419"/>
                  <a:pt x="49" y="418"/>
                </a:cubicBezTo>
                <a:cubicBezTo>
                  <a:pt x="47" y="418"/>
                  <a:pt x="45" y="417"/>
                  <a:pt x="45" y="416"/>
                </a:cubicBezTo>
                <a:cubicBezTo>
                  <a:pt x="44" y="413"/>
                  <a:pt x="47" y="411"/>
                  <a:pt x="49" y="410"/>
                </a:cubicBezTo>
                <a:cubicBezTo>
                  <a:pt x="49" y="410"/>
                  <a:pt x="49" y="409"/>
                  <a:pt x="49" y="409"/>
                </a:cubicBezTo>
                <a:cubicBezTo>
                  <a:pt x="50" y="409"/>
                  <a:pt x="51" y="411"/>
                  <a:pt x="51" y="411"/>
                </a:cubicBezTo>
                <a:cubicBezTo>
                  <a:pt x="53" y="412"/>
                  <a:pt x="52" y="407"/>
                  <a:pt x="54" y="407"/>
                </a:cubicBezTo>
                <a:cubicBezTo>
                  <a:pt x="56" y="408"/>
                  <a:pt x="54" y="410"/>
                  <a:pt x="54" y="411"/>
                </a:cubicBezTo>
                <a:cubicBezTo>
                  <a:pt x="54" y="413"/>
                  <a:pt x="55" y="413"/>
                  <a:pt x="53" y="414"/>
                </a:cubicBezTo>
                <a:cubicBezTo>
                  <a:pt x="52" y="415"/>
                  <a:pt x="51" y="418"/>
                  <a:pt x="50" y="418"/>
                </a:cubicBezTo>
                <a:close/>
                <a:moveTo>
                  <a:pt x="58" y="443"/>
                </a:moveTo>
                <a:cubicBezTo>
                  <a:pt x="57" y="444"/>
                  <a:pt x="57" y="442"/>
                  <a:pt x="58" y="441"/>
                </a:cubicBezTo>
                <a:cubicBezTo>
                  <a:pt x="59" y="441"/>
                  <a:pt x="58" y="442"/>
                  <a:pt x="58" y="443"/>
                </a:cubicBezTo>
                <a:close/>
                <a:moveTo>
                  <a:pt x="59" y="440"/>
                </a:moveTo>
                <a:cubicBezTo>
                  <a:pt x="57" y="441"/>
                  <a:pt x="59" y="437"/>
                  <a:pt x="60" y="439"/>
                </a:cubicBezTo>
                <a:cubicBezTo>
                  <a:pt x="60" y="439"/>
                  <a:pt x="59" y="440"/>
                  <a:pt x="59" y="440"/>
                </a:cubicBezTo>
                <a:close/>
                <a:moveTo>
                  <a:pt x="63" y="454"/>
                </a:moveTo>
                <a:cubicBezTo>
                  <a:pt x="64" y="455"/>
                  <a:pt x="62" y="456"/>
                  <a:pt x="63" y="454"/>
                </a:cubicBezTo>
                <a:close/>
                <a:moveTo>
                  <a:pt x="60" y="436"/>
                </a:moveTo>
                <a:cubicBezTo>
                  <a:pt x="60" y="435"/>
                  <a:pt x="64" y="434"/>
                  <a:pt x="64" y="437"/>
                </a:cubicBezTo>
                <a:cubicBezTo>
                  <a:pt x="64" y="439"/>
                  <a:pt x="58" y="440"/>
                  <a:pt x="60" y="436"/>
                </a:cubicBezTo>
                <a:close/>
                <a:moveTo>
                  <a:pt x="63" y="432"/>
                </a:moveTo>
                <a:cubicBezTo>
                  <a:pt x="62" y="431"/>
                  <a:pt x="64" y="430"/>
                  <a:pt x="63" y="432"/>
                </a:cubicBezTo>
                <a:close/>
                <a:moveTo>
                  <a:pt x="64" y="427"/>
                </a:moveTo>
                <a:cubicBezTo>
                  <a:pt x="64" y="427"/>
                  <a:pt x="64" y="428"/>
                  <a:pt x="64" y="428"/>
                </a:cubicBezTo>
                <a:cubicBezTo>
                  <a:pt x="63" y="429"/>
                  <a:pt x="63" y="426"/>
                  <a:pt x="64" y="427"/>
                </a:cubicBezTo>
                <a:close/>
                <a:moveTo>
                  <a:pt x="64" y="419"/>
                </a:moveTo>
                <a:cubicBezTo>
                  <a:pt x="62" y="420"/>
                  <a:pt x="59" y="423"/>
                  <a:pt x="58" y="424"/>
                </a:cubicBezTo>
                <a:cubicBezTo>
                  <a:pt x="57" y="426"/>
                  <a:pt x="56" y="428"/>
                  <a:pt x="54" y="429"/>
                </a:cubicBezTo>
                <a:cubicBezTo>
                  <a:pt x="57" y="423"/>
                  <a:pt x="63" y="418"/>
                  <a:pt x="66" y="413"/>
                </a:cubicBezTo>
                <a:cubicBezTo>
                  <a:pt x="69" y="409"/>
                  <a:pt x="65" y="417"/>
                  <a:pt x="64" y="419"/>
                </a:cubicBezTo>
                <a:close/>
                <a:moveTo>
                  <a:pt x="66" y="423"/>
                </a:moveTo>
                <a:cubicBezTo>
                  <a:pt x="66" y="423"/>
                  <a:pt x="65" y="423"/>
                  <a:pt x="65" y="423"/>
                </a:cubicBezTo>
                <a:cubicBezTo>
                  <a:pt x="64" y="423"/>
                  <a:pt x="66" y="422"/>
                  <a:pt x="66" y="423"/>
                </a:cubicBezTo>
                <a:close/>
                <a:moveTo>
                  <a:pt x="67" y="443"/>
                </a:moveTo>
                <a:cubicBezTo>
                  <a:pt x="67" y="443"/>
                  <a:pt x="67" y="443"/>
                  <a:pt x="67" y="443"/>
                </a:cubicBezTo>
                <a:cubicBezTo>
                  <a:pt x="67" y="441"/>
                  <a:pt x="69" y="445"/>
                  <a:pt x="67" y="443"/>
                </a:cubicBezTo>
                <a:close/>
                <a:moveTo>
                  <a:pt x="67" y="430"/>
                </a:moveTo>
                <a:cubicBezTo>
                  <a:pt x="67" y="431"/>
                  <a:pt x="66" y="432"/>
                  <a:pt x="66" y="431"/>
                </a:cubicBezTo>
                <a:cubicBezTo>
                  <a:pt x="62" y="428"/>
                  <a:pt x="71" y="428"/>
                  <a:pt x="67" y="430"/>
                </a:cubicBezTo>
                <a:close/>
                <a:moveTo>
                  <a:pt x="68" y="358"/>
                </a:moveTo>
                <a:cubicBezTo>
                  <a:pt x="65" y="360"/>
                  <a:pt x="65" y="354"/>
                  <a:pt x="67" y="355"/>
                </a:cubicBezTo>
                <a:cubicBezTo>
                  <a:pt x="69" y="355"/>
                  <a:pt x="68" y="357"/>
                  <a:pt x="68" y="358"/>
                </a:cubicBezTo>
                <a:close/>
                <a:moveTo>
                  <a:pt x="80" y="396"/>
                </a:moveTo>
                <a:cubicBezTo>
                  <a:pt x="79" y="397"/>
                  <a:pt x="80" y="395"/>
                  <a:pt x="80" y="396"/>
                </a:cubicBezTo>
                <a:close/>
                <a:moveTo>
                  <a:pt x="76" y="428"/>
                </a:moveTo>
                <a:cubicBezTo>
                  <a:pt x="76" y="428"/>
                  <a:pt x="76" y="428"/>
                  <a:pt x="76" y="428"/>
                </a:cubicBezTo>
                <a:cubicBezTo>
                  <a:pt x="77" y="427"/>
                  <a:pt x="76" y="428"/>
                  <a:pt x="76" y="428"/>
                </a:cubicBezTo>
                <a:close/>
                <a:moveTo>
                  <a:pt x="76" y="353"/>
                </a:moveTo>
                <a:cubicBezTo>
                  <a:pt x="76" y="355"/>
                  <a:pt x="75" y="355"/>
                  <a:pt x="75" y="356"/>
                </a:cubicBezTo>
                <a:cubicBezTo>
                  <a:pt x="74" y="355"/>
                  <a:pt x="76" y="354"/>
                  <a:pt x="76" y="353"/>
                </a:cubicBezTo>
                <a:close/>
                <a:moveTo>
                  <a:pt x="75" y="387"/>
                </a:moveTo>
                <a:cubicBezTo>
                  <a:pt x="74" y="387"/>
                  <a:pt x="77" y="386"/>
                  <a:pt x="75" y="387"/>
                </a:cubicBezTo>
                <a:close/>
                <a:moveTo>
                  <a:pt x="73" y="290"/>
                </a:moveTo>
                <a:cubicBezTo>
                  <a:pt x="73" y="291"/>
                  <a:pt x="73" y="292"/>
                  <a:pt x="72" y="293"/>
                </a:cubicBezTo>
                <a:cubicBezTo>
                  <a:pt x="72" y="292"/>
                  <a:pt x="73" y="290"/>
                  <a:pt x="73" y="290"/>
                </a:cubicBezTo>
                <a:close/>
                <a:moveTo>
                  <a:pt x="69" y="327"/>
                </a:moveTo>
                <a:cubicBezTo>
                  <a:pt x="69" y="326"/>
                  <a:pt x="71" y="325"/>
                  <a:pt x="72" y="324"/>
                </a:cubicBezTo>
                <a:cubicBezTo>
                  <a:pt x="72" y="326"/>
                  <a:pt x="70" y="326"/>
                  <a:pt x="69" y="327"/>
                </a:cubicBezTo>
                <a:close/>
                <a:moveTo>
                  <a:pt x="72" y="428"/>
                </a:moveTo>
                <a:cubicBezTo>
                  <a:pt x="70" y="430"/>
                  <a:pt x="71" y="426"/>
                  <a:pt x="72" y="427"/>
                </a:cubicBezTo>
                <a:cubicBezTo>
                  <a:pt x="73" y="427"/>
                  <a:pt x="73" y="428"/>
                  <a:pt x="72" y="428"/>
                </a:cubicBezTo>
                <a:close/>
                <a:moveTo>
                  <a:pt x="72" y="367"/>
                </a:moveTo>
                <a:cubicBezTo>
                  <a:pt x="72" y="367"/>
                  <a:pt x="72" y="368"/>
                  <a:pt x="72" y="368"/>
                </a:cubicBezTo>
                <a:cubicBezTo>
                  <a:pt x="71" y="369"/>
                  <a:pt x="71" y="366"/>
                  <a:pt x="72" y="367"/>
                </a:cubicBezTo>
                <a:close/>
                <a:moveTo>
                  <a:pt x="73" y="356"/>
                </a:moveTo>
                <a:cubicBezTo>
                  <a:pt x="70" y="358"/>
                  <a:pt x="71" y="351"/>
                  <a:pt x="73" y="352"/>
                </a:cubicBezTo>
                <a:cubicBezTo>
                  <a:pt x="75" y="353"/>
                  <a:pt x="73" y="356"/>
                  <a:pt x="73" y="356"/>
                </a:cubicBezTo>
                <a:close/>
                <a:moveTo>
                  <a:pt x="75" y="401"/>
                </a:moveTo>
                <a:cubicBezTo>
                  <a:pt x="73" y="402"/>
                  <a:pt x="73" y="397"/>
                  <a:pt x="75" y="398"/>
                </a:cubicBezTo>
                <a:cubicBezTo>
                  <a:pt x="76" y="399"/>
                  <a:pt x="76" y="400"/>
                  <a:pt x="75" y="401"/>
                </a:cubicBezTo>
                <a:close/>
                <a:moveTo>
                  <a:pt x="76" y="434"/>
                </a:moveTo>
                <a:cubicBezTo>
                  <a:pt x="77" y="432"/>
                  <a:pt x="79" y="430"/>
                  <a:pt x="80" y="429"/>
                </a:cubicBezTo>
                <a:cubicBezTo>
                  <a:pt x="79" y="431"/>
                  <a:pt x="78" y="432"/>
                  <a:pt x="76" y="434"/>
                </a:cubicBezTo>
                <a:close/>
                <a:moveTo>
                  <a:pt x="81" y="418"/>
                </a:moveTo>
                <a:cubicBezTo>
                  <a:pt x="80" y="418"/>
                  <a:pt x="82" y="417"/>
                  <a:pt x="81" y="418"/>
                </a:cubicBezTo>
                <a:close/>
                <a:moveTo>
                  <a:pt x="81" y="339"/>
                </a:moveTo>
                <a:cubicBezTo>
                  <a:pt x="80" y="339"/>
                  <a:pt x="81" y="337"/>
                  <a:pt x="82" y="337"/>
                </a:cubicBezTo>
                <a:cubicBezTo>
                  <a:pt x="82" y="338"/>
                  <a:pt x="81" y="338"/>
                  <a:pt x="81" y="339"/>
                </a:cubicBezTo>
                <a:close/>
                <a:moveTo>
                  <a:pt x="87" y="450"/>
                </a:moveTo>
                <a:cubicBezTo>
                  <a:pt x="87" y="450"/>
                  <a:pt x="88" y="449"/>
                  <a:pt x="89" y="449"/>
                </a:cubicBezTo>
                <a:cubicBezTo>
                  <a:pt x="89" y="449"/>
                  <a:pt x="88" y="450"/>
                  <a:pt x="87" y="450"/>
                </a:cubicBezTo>
                <a:close/>
                <a:moveTo>
                  <a:pt x="90" y="457"/>
                </a:moveTo>
                <a:cubicBezTo>
                  <a:pt x="90" y="457"/>
                  <a:pt x="90" y="457"/>
                  <a:pt x="90" y="456"/>
                </a:cubicBezTo>
                <a:cubicBezTo>
                  <a:pt x="92" y="455"/>
                  <a:pt x="91" y="456"/>
                  <a:pt x="90" y="457"/>
                </a:cubicBezTo>
                <a:close/>
                <a:moveTo>
                  <a:pt x="91" y="435"/>
                </a:moveTo>
                <a:cubicBezTo>
                  <a:pt x="89" y="437"/>
                  <a:pt x="92" y="434"/>
                  <a:pt x="91" y="435"/>
                </a:cubicBezTo>
                <a:close/>
                <a:moveTo>
                  <a:pt x="109" y="452"/>
                </a:moveTo>
                <a:cubicBezTo>
                  <a:pt x="109" y="453"/>
                  <a:pt x="108" y="452"/>
                  <a:pt x="109" y="452"/>
                </a:cubicBezTo>
                <a:close/>
                <a:moveTo>
                  <a:pt x="104" y="235"/>
                </a:moveTo>
                <a:cubicBezTo>
                  <a:pt x="103" y="236"/>
                  <a:pt x="105" y="234"/>
                  <a:pt x="104" y="235"/>
                </a:cubicBezTo>
                <a:close/>
                <a:moveTo>
                  <a:pt x="100" y="336"/>
                </a:moveTo>
                <a:cubicBezTo>
                  <a:pt x="101" y="335"/>
                  <a:pt x="101" y="335"/>
                  <a:pt x="100" y="336"/>
                </a:cubicBezTo>
                <a:close/>
                <a:moveTo>
                  <a:pt x="98" y="332"/>
                </a:moveTo>
                <a:cubicBezTo>
                  <a:pt x="97" y="331"/>
                  <a:pt x="100" y="331"/>
                  <a:pt x="98" y="332"/>
                </a:cubicBezTo>
                <a:close/>
                <a:moveTo>
                  <a:pt x="96" y="215"/>
                </a:moveTo>
                <a:cubicBezTo>
                  <a:pt x="97" y="215"/>
                  <a:pt x="97" y="216"/>
                  <a:pt x="96" y="217"/>
                </a:cubicBezTo>
                <a:cubicBezTo>
                  <a:pt x="95" y="219"/>
                  <a:pt x="95" y="214"/>
                  <a:pt x="96" y="215"/>
                </a:cubicBezTo>
                <a:close/>
                <a:moveTo>
                  <a:pt x="87" y="329"/>
                </a:moveTo>
                <a:cubicBezTo>
                  <a:pt x="87" y="330"/>
                  <a:pt x="86" y="330"/>
                  <a:pt x="86" y="331"/>
                </a:cubicBezTo>
                <a:cubicBezTo>
                  <a:pt x="85" y="331"/>
                  <a:pt x="86" y="329"/>
                  <a:pt x="87" y="329"/>
                </a:cubicBezTo>
                <a:close/>
                <a:moveTo>
                  <a:pt x="85" y="293"/>
                </a:moveTo>
                <a:cubicBezTo>
                  <a:pt x="85" y="293"/>
                  <a:pt x="85" y="294"/>
                  <a:pt x="85" y="294"/>
                </a:cubicBezTo>
                <a:cubicBezTo>
                  <a:pt x="83" y="296"/>
                  <a:pt x="83" y="291"/>
                  <a:pt x="85" y="293"/>
                </a:cubicBezTo>
                <a:close/>
                <a:moveTo>
                  <a:pt x="84" y="332"/>
                </a:moveTo>
                <a:cubicBezTo>
                  <a:pt x="86" y="333"/>
                  <a:pt x="84" y="335"/>
                  <a:pt x="82" y="336"/>
                </a:cubicBezTo>
                <a:cubicBezTo>
                  <a:pt x="83" y="334"/>
                  <a:pt x="85" y="333"/>
                  <a:pt x="84" y="332"/>
                </a:cubicBezTo>
                <a:close/>
                <a:moveTo>
                  <a:pt x="83" y="441"/>
                </a:moveTo>
                <a:cubicBezTo>
                  <a:pt x="82" y="442"/>
                  <a:pt x="84" y="440"/>
                  <a:pt x="83" y="441"/>
                </a:cubicBezTo>
                <a:close/>
                <a:moveTo>
                  <a:pt x="84" y="423"/>
                </a:moveTo>
                <a:cubicBezTo>
                  <a:pt x="83" y="424"/>
                  <a:pt x="84" y="421"/>
                  <a:pt x="85" y="422"/>
                </a:cubicBezTo>
                <a:cubicBezTo>
                  <a:pt x="86" y="422"/>
                  <a:pt x="85" y="423"/>
                  <a:pt x="84" y="423"/>
                </a:cubicBezTo>
                <a:close/>
                <a:moveTo>
                  <a:pt x="88" y="356"/>
                </a:moveTo>
                <a:cubicBezTo>
                  <a:pt x="86" y="358"/>
                  <a:pt x="87" y="353"/>
                  <a:pt x="88" y="354"/>
                </a:cubicBezTo>
                <a:cubicBezTo>
                  <a:pt x="89" y="355"/>
                  <a:pt x="88" y="356"/>
                  <a:pt x="88" y="356"/>
                </a:cubicBezTo>
                <a:close/>
                <a:moveTo>
                  <a:pt x="96" y="325"/>
                </a:moveTo>
                <a:cubicBezTo>
                  <a:pt x="96" y="326"/>
                  <a:pt x="95" y="326"/>
                  <a:pt x="94" y="328"/>
                </a:cubicBezTo>
                <a:cubicBezTo>
                  <a:pt x="92" y="330"/>
                  <a:pt x="89" y="335"/>
                  <a:pt x="87" y="340"/>
                </a:cubicBezTo>
                <a:cubicBezTo>
                  <a:pt x="85" y="344"/>
                  <a:pt x="85" y="347"/>
                  <a:pt x="83" y="350"/>
                </a:cubicBezTo>
                <a:cubicBezTo>
                  <a:pt x="83" y="350"/>
                  <a:pt x="82" y="350"/>
                  <a:pt x="82" y="350"/>
                </a:cubicBezTo>
                <a:cubicBezTo>
                  <a:pt x="81" y="350"/>
                  <a:pt x="84" y="344"/>
                  <a:pt x="85" y="342"/>
                </a:cubicBezTo>
                <a:cubicBezTo>
                  <a:pt x="86" y="339"/>
                  <a:pt x="87" y="337"/>
                  <a:pt x="89" y="334"/>
                </a:cubicBezTo>
                <a:cubicBezTo>
                  <a:pt x="90" y="332"/>
                  <a:pt x="93" y="329"/>
                  <a:pt x="93" y="326"/>
                </a:cubicBezTo>
                <a:cubicBezTo>
                  <a:pt x="93" y="326"/>
                  <a:pt x="92" y="325"/>
                  <a:pt x="92" y="324"/>
                </a:cubicBezTo>
                <a:cubicBezTo>
                  <a:pt x="92" y="320"/>
                  <a:pt x="99" y="320"/>
                  <a:pt x="96" y="325"/>
                </a:cubicBezTo>
                <a:close/>
                <a:moveTo>
                  <a:pt x="96" y="227"/>
                </a:moveTo>
                <a:cubicBezTo>
                  <a:pt x="97" y="227"/>
                  <a:pt x="97" y="228"/>
                  <a:pt x="97" y="229"/>
                </a:cubicBezTo>
                <a:cubicBezTo>
                  <a:pt x="96" y="230"/>
                  <a:pt x="96" y="227"/>
                  <a:pt x="96" y="227"/>
                </a:cubicBezTo>
                <a:close/>
                <a:moveTo>
                  <a:pt x="98" y="402"/>
                </a:moveTo>
                <a:cubicBezTo>
                  <a:pt x="98" y="402"/>
                  <a:pt x="98" y="402"/>
                  <a:pt x="97" y="402"/>
                </a:cubicBezTo>
                <a:cubicBezTo>
                  <a:pt x="95" y="401"/>
                  <a:pt x="100" y="400"/>
                  <a:pt x="98" y="402"/>
                </a:cubicBezTo>
                <a:close/>
                <a:moveTo>
                  <a:pt x="99" y="416"/>
                </a:moveTo>
                <a:cubicBezTo>
                  <a:pt x="101" y="416"/>
                  <a:pt x="100" y="421"/>
                  <a:pt x="99" y="422"/>
                </a:cubicBezTo>
                <a:cubicBezTo>
                  <a:pt x="94" y="424"/>
                  <a:pt x="98" y="416"/>
                  <a:pt x="99" y="416"/>
                </a:cubicBezTo>
                <a:close/>
                <a:moveTo>
                  <a:pt x="101" y="433"/>
                </a:moveTo>
                <a:cubicBezTo>
                  <a:pt x="103" y="434"/>
                  <a:pt x="100" y="438"/>
                  <a:pt x="100" y="439"/>
                </a:cubicBezTo>
                <a:cubicBezTo>
                  <a:pt x="94" y="441"/>
                  <a:pt x="98" y="431"/>
                  <a:pt x="101" y="433"/>
                </a:cubicBezTo>
                <a:close/>
                <a:moveTo>
                  <a:pt x="100" y="444"/>
                </a:moveTo>
                <a:cubicBezTo>
                  <a:pt x="101" y="443"/>
                  <a:pt x="99" y="445"/>
                  <a:pt x="100" y="444"/>
                </a:cubicBezTo>
                <a:close/>
                <a:moveTo>
                  <a:pt x="102" y="444"/>
                </a:moveTo>
                <a:cubicBezTo>
                  <a:pt x="102" y="445"/>
                  <a:pt x="101" y="445"/>
                  <a:pt x="101" y="445"/>
                </a:cubicBezTo>
                <a:cubicBezTo>
                  <a:pt x="99" y="443"/>
                  <a:pt x="104" y="442"/>
                  <a:pt x="102" y="444"/>
                </a:cubicBezTo>
                <a:close/>
                <a:moveTo>
                  <a:pt x="102" y="431"/>
                </a:moveTo>
                <a:cubicBezTo>
                  <a:pt x="100" y="432"/>
                  <a:pt x="100" y="428"/>
                  <a:pt x="102" y="429"/>
                </a:cubicBezTo>
                <a:cubicBezTo>
                  <a:pt x="103" y="429"/>
                  <a:pt x="103" y="430"/>
                  <a:pt x="102" y="431"/>
                </a:cubicBezTo>
                <a:close/>
                <a:moveTo>
                  <a:pt x="103" y="445"/>
                </a:moveTo>
                <a:cubicBezTo>
                  <a:pt x="102" y="447"/>
                  <a:pt x="105" y="444"/>
                  <a:pt x="103" y="445"/>
                </a:cubicBezTo>
                <a:close/>
                <a:moveTo>
                  <a:pt x="104" y="399"/>
                </a:moveTo>
                <a:cubicBezTo>
                  <a:pt x="103" y="399"/>
                  <a:pt x="103" y="397"/>
                  <a:pt x="104" y="398"/>
                </a:cubicBezTo>
                <a:cubicBezTo>
                  <a:pt x="104" y="398"/>
                  <a:pt x="104" y="399"/>
                  <a:pt x="104" y="399"/>
                </a:cubicBezTo>
                <a:close/>
                <a:moveTo>
                  <a:pt x="104" y="288"/>
                </a:moveTo>
                <a:cubicBezTo>
                  <a:pt x="103" y="290"/>
                  <a:pt x="105" y="287"/>
                  <a:pt x="104" y="288"/>
                </a:cubicBezTo>
                <a:close/>
                <a:moveTo>
                  <a:pt x="105" y="307"/>
                </a:moveTo>
                <a:cubicBezTo>
                  <a:pt x="104" y="306"/>
                  <a:pt x="106" y="303"/>
                  <a:pt x="107" y="302"/>
                </a:cubicBezTo>
                <a:cubicBezTo>
                  <a:pt x="107" y="304"/>
                  <a:pt x="106" y="306"/>
                  <a:pt x="105" y="307"/>
                </a:cubicBezTo>
                <a:close/>
                <a:moveTo>
                  <a:pt x="106" y="414"/>
                </a:moveTo>
                <a:cubicBezTo>
                  <a:pt x="106" y="413"/>
                  <a:pt x="108" y="413"/>
                  <a:pt x="106" y="414"/>
                </a:cubicBezTo>
                <a:close/>
                <a:moveTo>
                  <a:pt x="108" y="455"/>
                </a:moveTo>
                <a:cubicBezTo>
                  <a:pt x="107" y="454"/>
                  <a:pt x="109" y="454"/>
                  <a:pt x="108" y="455"/>
                </a:cubicBezTo>
                <a:close/>
                <a:moveTo>
                  <a:pt x="107" y="441"/>
                </a:moveTo>
                <a:cubicBezTo>
                  <a:pt x="106" y="441"/>
                  <a:pt x="108" y="440"/>
                  <a:pt x="108" y="440"/>
                </a:cubicBezTo>
                <a:cubicBezTo>
                  <a:pt x="108" y="440"/>
                  <a:pt x="107" y="440"/>
                  <a:pt x="107" y="441"/>
                </a:cubicBezTo>
                <a:close/>
                <a:moveTo>
                  <a:pt x="108" y="388"/>
                </a:moveTo>
                <a:cubicBezTo>
                  <a:pt x="107" y="390"/>
                  <a:pt x="107" y="386"/>
                  <a:pt x="108" y="387"/>
                </a:cubicBezTo>
                <a:cubicBezTo>
                  <a:pt x="109" y="387"/>
                  <a:pt x="108" y="388"/>
                  <a:pt x="108" y="388"/>
                </a:cubicBezTo>
                <a:close/>
                <a:moveTo>
                  <a:pt x="109" y="420"/>
                </a:moveTo>
                <a:cubicBezTo>
                  <a:pt x="109" y="421"/>
                  <a:pt x="109" y="418"/>
                  <a:pt x="109" y="420"/>
                </a:cubicBezTo>
                <a:close/>
                <a:moveTo>
                  <a:pt x="108" y="301"/>
                </a:moveTo>
                <a:cubicBezTo>
                  <a:pt x="107" y="300"/>
                  <a:pt x="108" y="298"/>
                  <a:pt x="110" y="298"/>
                </a:cubicBezTo>
                <a:cubicBezTo>
                  <a:pt x="110" y="299"/>
                  <a:pt x="108" y="300"/>
                  <a:pt x="108" y="301"/>
                </a:cubicBezTo>
                <a:close/>
                <a:moveTo>
                  <a:pt x="110" y="401"/>
                </a:moveTo>
                <a:cubicBezTo>
                  <a:pt x="110" y="401"/>
                  <a:pt x="110" y="401"/>
                  <a:pt x="110" y="401"/>
                </a:cubicBezTo>
                <a:cubicBezTo>
                  <a:pt x="110" y="401"/>
                  <a:pt x="110" y="400"/>
                  <a:pt x="110" y="401"/>
                </a:cubicBezTo>
                <a:close/>
                <a:moveTo>
                  <a:pt x="69" y="513"/>
                </a:moveTo>
                <a:cubicBezTo>
                  <a:pt x="69" y="513"/>
                  <a:pt x="70" y="512"/>
                  <a:pt x="70" y="512"/>
                </a:cubicBezTo>
                <a:cubicBezTo>
                  <a:pt x="70" y="513"/>
                  <a:pt x="69" y="513"/>
                  <a:pt x="69" y="513"/>
                </a:cubicBezTo>
                <a:close/>
                <a:moveTo>
                  <a:pt x="73" y="498"/>
                </a:moveTo>
                <a:cubicBezTo>
                  <a:pt x="73" y="497"/>
                  <a:pt x="74" y="496"/>
                  <a:pt x="75" y="496"/>
                </a:cubicBezTo>
                <a:cubicBezTo>
                  <a:pt x="75" y="497"/>
                  <a:pt x="74" y="498"/>
                  <a:pt x="73" y="498"/>
                </a:cubicBezTo>
                <a:close/>
                <a:moveTo>
                  <a:pt x="76" y="499"/>
                </a:moveTo>
                <a:cubicBezTo>
                  <a:pt x="76" y="500"/>
                  <a:pt x="77" y="498"/>
                  <a:pt x="76" y="499"/>
                </a:cubicBezTo>
                <a:close/>
                <a:moveTo>
                  <a:pt x="87" y="502"/>
                </a:moveTo>
                <a:cubicBezTo>
                  <a:pt x="86" y="500"/>
                  <a:pt x="89" y="499"/>
                  <a:pt x="87" y="502"/>
                </a:cubicBezTo>
                <a:close/>
                <a:moveTo>
                  <a:pt x="100" y="477"/>
                </a:moveTo>
                <a:cubicBezTo>
                  <a:pt x="101" y="479"/>
                  <a:pt x="100" y="481"/>
                  <a:pt x="100" y="483"/>
                </a:cubicBezTo>
                <a:cubicBezTo>
                  <a:pt x="99" y="481"/>
                  <a:pt x="99" y="479"/>
                  <a:pt x="100" y="477"/>
                </a:cubicBezTo>
                <a:close/>
                <a:moveTo>
                  <a:pt x="100" y="502"/>
                </a:moveTo>
                <a:cubicBezTo>
                  <a:pt x="97" y="499"/>
                  <a:pt x="102" y="497"/>
                  <a:pt x="104" y="496"/>
                </a:cubicBezTo>
                <a:cubicBezTo>
                  <a:pt x="105" y="499"/>
                  <a:pt x="102" y="505"/>
                  <a:pt x="100" y="502"/>
                </a:cubicBezTo>
                <a:close/>
                <a:moveTo>
                  <a:pt x="144" y="546"/>
                </a:moveTo>
                <a:cubicBezTo>
                  <a:pt x="143" y="546"/>
                  <a:pt x="144" y="546"/>
                  <a:pt x="144" y="545"/>
                </a:cubicBezTo>
                <a:cubicBezTo>
                  <a:pt x="143" y="542"/>
                  <a:pt x="147" y="545"/>
                  <a:pt x="144" y="546"/>
                </a:cubicBezTo>
                <a:close/>
                <a:moveTo>
                  <a:pt x="196" y="598"/>
                </a:moveTo>
                <a:cubicBezTo>
                  <a:pt x="196" y="598"/>
                  <a:pt x="198" y="597"/>
                  <a:pt x="198" y="598"/>
                </a:cubicBezTo>
                <a:cubicBezTo>
                  <a:pt x="198" y="599"/>
                  <a:pt x="197" y="599"/>
                  <a:pt x="196" y="598"/>
                </a:cubicBezTo>
                <a:close/>
                <a:moveTo>
                  <a:pt x="199" y="607"/>
                </a:moveTo>
                <a:cubicBezTo>
                  <a:pt x="198" y="607"/>
                  <a:pt x="198" y="607"/>
                  <a:pt x="198" y="607"/>
                </a:cubicBezTo>
                <a:cubicBezTo>
                  <a:pt x="198" y="605"/>
                  <a:pt x="200" y="608"/>
                  <a:pt x="199" y="607"/>
                </a:cubicBezTo>
                <a:close/>
                <a:moveTo>
                  <a:pt x="203" y="609"/>
                </a:moveTo>
                <a:cubicBezTo>
                  <a:pt x="203" y="608"/>
                  <a:pt x="205" y="608"/>
                  <a:pt x="205" y="609"/>
                </a:cubicBezTo>
                <a:cubicBezTo>
                  <a:pt x="205" y="609"/>
                  <a:pt x="203" y="610"/>
                  <a:pt x="203" y="609"/>
                </a:cubicBezTo>
                <a:close/>
                <a:moveTo>
                  <a:pt x="208" y="600"/>
                </a:moveTo>
                <a:cubicBezTo>
                  <a:pt x="207" y="600"/>
                  <a:pt x="209" y="600"/>
                  <a:pt x="209" y="600"/>
                </a:cubicBezTo>
                <a:cubicBezTo>
                  <a:pt x="209" y="601"/>
                  <a:pt x="208" y="601"/>
                  <a:pt x="208" y="600"/>
                </a:cubicBezTo>
                <a:close/>
                <a:moveTo>
                  <a:pt x="226" y="627"/>
                </a:moveTo>
                <a:cubicBezTo>
                  <a:pt x="225" y="627"/>
                  <a:pt x="223" y="627"/>
                  <a:pt x="224" y="625"/>
                </a:cubicBezTo>
                <a:cubicBezTo>
                  <a:pt x="225" y="624"/>
                  <a:pt x="229" y="624"/>
                  <a:pt x="229" y="625"/>
                </a:cubicBezTo>
                <a:cubicBezTo>
                  <a:pt x="229" y="626"/>
                  <a:pt x="229" y="626"/>
                  <a:pt x="228" y="627"/>
                </a:cubicBezTo>
                <a:cubicBezTo>
                  <a:pt x="229" y="627"/>
                  <a:pt x="229" y="627"/>
                  <a:pt x="229" y="627"/>
                </a:cubicBezTo>
                <a:cubicBezTo>
                  <a:pt x="228" y="628"/>
                  <a:pt x="227" y="628"/>
                  <a:pt x="226" y="627"/>
                </a:cubicBezTo>
                <a:close/>
                <a:moveTo>
                  <a:pt x="229" y="628"/>
                </a:moveTo>
                <a:cubicBezTo>
                  <a:pt x="229" y="628"/>
                  <a:pt x="231" y="628"/>
                  <a:pt x="231" y="628"/>
                </a:cubicBezTo>
                <a:cubicBezTo>
                  <a:pt x="231" y="629"/>
                  <a:pt x="229" y="628"/>
                  <a:pt x="229" y="628"/>
                </a:cubicBezTo>
                <a:close/>
                <a:moveTo>
                  <a:pt x="228" y="653"/>
                </a:moveTo>
                <a:cubicBezTo>
                  <a:pt x="228" y="653"/>
                  <a:pt x="228" y="653"/>
                  <a:pt x="228" y="653"/>
                </a:cubicBezTo>
                <a:cubicBezTo>
                  <a:pt x="228" y="653"/>
                  <a:pt x="228" y="652"/>
                  <a:pt x="228" y="653"/>
                </a:cubicBezTo>
                <a:close/>
                <a:moveTo>
                  <a:pt x="213" y="659"/>
                </a:moveTo>
                <a:cubicBezTo>
                  <a:pt x="213" y="659"/>
                  <a:pt x="213" y="659"/>
                  <a:pt x="213" y="659"/>
                </a:cubicBezTo>
                <a:cubicBezTo>
                  <a:pt x="213" y="659"/>
                  <a:pt x="213" y="659"/>
                  <a:pt x="213" y="659"/>
                </a:cubicBezTo>
                <a:close/>
                <a:moveTo>
                  <a:pt x="213" y="659"/>
                </a:moveTo>
                <a:cubicBezTo>
                  <a:pt x="214" y="659"/>
                  <a:pt x="213" y="659"/>
                  <a:pt x="213" y="659"/>
                </a:cubicBezTo>
                <a:close/>
                <a:moveTo>
                  <a:pt x="213" y="657"/>
                </a:moveTo>
                <a:cubicBezTo>
                  <a:pt x="213" y="656"/>
                  <a:pt x="214" y="656"/>
                  <a:pt x="214" y="656"/>
                </a:cubicBezTo>
                <a:cubicBezTo>
                  <a:pt x="215" y="657"/>
                  <a:pt x="214" y="657"/>
                  <a:pt x="213" y="657"/>
                </a:cubicBezTo>
                <a:close/>
                <a:moveTo>
                  <a:pt x="216" y="659"/>
                </a:moveTo>
                <a:cubicBezTo>
                  <a:pt x="216" y="658"/>
                  <a:pt x="216" y="657"/>
                  <a:pt x="217" y="658"/>
                </a:cubicBezTo>
                <a:cubicBezTo>
                  <a:pt x="216" y="658"/>
                  <a:pt x="218" y="660"/>
                  <a:pt x="218" y="660"/>
                </a:cubicBezTo>
                <a:cubicBezTo>
                  <a:pt x="217" y="661"/>
                  <a:pt x="215" y="661"/>
                  <a:pt x="216" y="659"/>
                </a:cubicBezTo>
                <a:close/>
                <a:moveTo>
                  <a:pt x="223" y="655"/>
                </a:moveTo>
                <a:cubicBezTo>
                  <a:pt x="222" y="654"/>
                  <a:pt x="224" y="654"/>
                  <a:pt x="224" y="655"/>
                </a:cubicBezTo>
                <a:cubicBezTo>
                  <a:pt x="224" y="655"/>
                  <a:pt x="223" y="655"/>
                  <a:pt x="223" y="655"/>
                </a:cubicBezTo>
                <a:close/>
                <a:moveTo>
                  <a:pt x="218" y="655"/>
                </a:moveTo>
                <a:cubicBezTo>
                  <a:pt x="217" y="655"/>
                  <a:pt x="214" y="653"/>
                  <a:pt x="215" y="651"/>
                </a:cubicBezTo>
                <a:cubicBezTo>
                  <a:pt x="216" y="650"/>
                  <a:pt x="220" y="648"/>
                  <a:pt x="222" y="648"/>
                </a:cubicBezTo>
                <a:cubicBezTo>
                  <a:pt x="223" y="649"/>
                  <a:pt x="224" y="649"/>
                  <a:pt x="224" y="650"/>
                </a:cubicBezTo>
                <a:cubicBezTo>
                  <a:pt x="224" y="650"/>
                  <a:pt x="226" y="648"/>
                  <a:pt x="225" y="650"/>
                </a:cubicBezTo>
                <a:cubicBezTo>
                  <a:pt x="225" y="650"/>
                  <a:pt x="223" y="651"/>
                  <a:pt x="223" y="652"/>
                </a:cubicBezTo>
                <a:cubicBezTo>
                  <a:pt x="224" y="652"/>
                  <a:pt x="225" y="651"/>
                  <a:pt x="225" y="652"/>
                </a:cubicBezTo>
                <a:cubicBezTo>
                  <a:pt x="224" y="652"/>
                  <a:pt x="221" y="655"/>
                  <a:pt x="218" y="655"/>
                </a:cubicBezTo>
                <a:close/>
                <a:moveTo>
                  <a:pt x="227" y="665"/>
                </a:moveTo>
                <a:cubicBezTo>
                  <a:pt x="223" y="666"/>
                  <a:pt x="226" y="661"/>
                  <a:pt x="228" y="662"/>
                </a:cubicBezTo>
                <a:cubicBezTo>
                  <a:pt x="229" y="664"/>
                  <a:pt x="228" y="664"/>
                  <a:pt x="227" y="665"/>
                </a:cubicBezTo>
                <a:close/>
                <a:moveTo>
                  <a:pt x="228" y="654"/>
                </a:moveTo>
                <a:cubicBezTo>
                  <a:pt x="227" y="653"/>
                  <a:pt x="230" y="655"/>
                  <a:pt x="228" y="654"/>
                </a:cubicBezTo>
                <a:close/>
                <a:moveTo>
                  <a:pt x="229" y="639"/>
                </a:moveTo>
                <a:cubicBezTo>
                  <a:pt x="228" y="638"/>
                  <a:pt x="231" y="638"/>
                  <a:pt x="231" y="639"/>
                </a:cubicBezTo>
                <a:cubicBezTo>
                  <a:pt x="231" y="639"/>
                  <a:pt x="230" y="640"/>
                  <a:pt x="229" y="639"/>
                </a:cubicBezTo>
                <a:close/>
                <a:moveTo>
                  <a:pt x="215" y="675"/>
                </a:moveTo>
                <a:cubicBezTo>
                  <a:pt x="216" y="673"/>
                  <a:pt x="216" y="675"/>
                  <a:pt x="215" y="675"/>
                </a:cubicBezTo>
                <a:close/>
                <a:moveTo>
                  <a:pt x="219" y="676"/>
                </a:moveTo>
                <a:cubicBezTo>
                  <a:pt x="220" y="675"/>
                  <a:pt x="221" y="676"/>
                  <a:pt x="223" y="676"/>
                </a:cubicBezTo>
                <a:cubicBezTo>
                  <a:pt x="221" y="676"/>
                  <a:pt x="220" y="677"/>
                  <a:pt x="219" y="676"/>
                </a:cubicBezTo>
                <a:close/>
                <a:moveTo>
                  <a:pt x="226" y="676"/>
                </a:moveTo>
                <a:cubicBezTo>
                  <a:pt x="226" y="675"/>
                  <a:pt x="228" y="675"/>
                  <a:pt x="228" y="675"/>
                </a:cubicBezTo>
                <a:cubicBezTo>
                  <a:pt x="228" y="676"/>
                  <a:pt x="226" y="676"/>
                  <a:pt x="226" y="676"/>
                </a:cubicBezTo>
                <a:close/>
                <a:moveTo>
                  <a:pt x="229" y="676"/>
                </a:moveTo>
                <a:cubicBezTo>
                  <a:pt x="229" y="675"/>
                  <a:pt x="230" y="676"/>
                  <a:pt x="230" y="676"/>
                </a:cubicBezTo>
                <a:cubicBezTo>
                  <a:pt x="230" y="676"/>
                  <a:pt x="229" y="677"/>
                  <a:pt x="229" y="676"/>
                </a:cubicBezTo>
                <a:close/>
                <a:moveTo>
                  <a:pt x="234" y="679"/>
                </a:moveTo>
                <a:cubicBezTo>
                  <a:pt x="234" y="678"/>
                  <a:pt x="235" y="678"/>
                  <a:pt x="235" y="678"/>
                </a:cubicBezTo>
                <a:cubicBezTo>
                  <a:pt x="236" y="679"/>
                  <a:pt x="234" y="679"/>
                  <a:pt x="234" y="679"/>
                </a:cubicBezTo>
                <a:close/>
                <a:moveTo>
                  <a:pt x="248" y="692"/>
                </a:moveTo>
                <a:cubicBezTo>
                  <a:pt x="248" y="691"/>
                  <a:pt x="250" y="691"/>
                  <a:pt x="250" y="691"/>
                </a:cubicBezTo>
                <a:cubicBezTo>
                  <a:pt x="251" y="692"/>
                  <a:pt x="249" y="692"/>
                  <a:pt x="248" y="692"/>
                </a:cubicBezTo>
                <a:close/>
                <a:moveTo>
                  <a:pt x="349" y="41"/>
                </a:moveTo>
                <a:cubicBezTo>
                  <a:pt x="348" y="41"/>
                  <a:pt x="345" y="42"/>
                  <a:pt x="344" y="41"/>
                </a:cubicBezTo>
                <a:cubicBezTo>
                  <a:pt x="344" y="40"/>
                  <a:pt x="348" y="40"/>
                  <a:pt x="349" y="41"/>
                </a:cubicBezTo>
                <a:close/>
                <a:moveTo>
                  <a:pt x="343" y="7"/>
                </a:moveTo>
                <a:cubicBezTo>
                  <a:pt x="344" y="6"/>
                  <a:pt x="345" y="8"/>
                  <a:pt x="343" y="7"/>
                </a:cubicBezTo>
                <a:close/>
                <a:moveTo>
                  <a:pt x="342" y="38"/>
                </a:moveTo>
                <a:cubicBezTo>
                  <a:pt x="341" y="38"/>
                  <a:pt x="340" y="37"/>
                  <a:pt x="339" y="38"/>
                </a:cubicBezTo>
                <a:cubicBezTo>
                  <a:pt x="339" y="37"/>
                  <a:pt x="341" y="37"/>
                  <a:pt x="342" y="38"/>
                </a:cubicBezTo>
                <a:close/>
                <a:moveTo>
                  <a:pt x="335" y="37"/>
                </a:moveTo>
                <a:cubicBezTo>
                  <a:pt x="336" y="36"/>
                  <a:pt x="337" y="39"/>
                  <a:pt x="335" y="37"/>
                </a:cubicBezTo>
                <a:close/>
                <a:moveTo>
                  <a:pt x="336" y="97"/>
                </a:move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5" y="96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lose/>
                <a:moveTo>
                  <a:pt x="316" y="49"/>
                </a:moveTo>
                <a:cubicBezTo>
                  <a:pt x="316" y="49"/>
                  <a:pt x="313" y="50"/>
                  <a:pt x="313" y="49"/>
                </a:cubicBezTo>
                <a:cubicBezTo>
                  <a:pt x="312" y="49"/>
                  <a:pt x="315" y="48"/>
                  <a:pt x="316" y="49"/>
                </a:cubicBezTo>
                <a:close/>
                <a:moveTo>
                  <a:pt x="321" y="108"/>
                </a:moveTo>
                <a:cubicBezTo>
                  <a:pt x="319" y="109"/>
                  <a:pt x="315" y="112"/>
                  <a:pt x="311" y="111"/>
                </a:cubicBezTo>
                <a:cubicBezTo>
                  <a:pt x="314" y="109"/>
                  <a:pt x="317" y="109"/>
                  <a:pt x="321" y="108"/>
                </a:cubicBezTo>
                <a:close/>
                <a:moveTo>
                  <a:pt x="320" y="636"/>
                </a:moveTo>
                <a:cubicBezTo>
                  <a:pt x="319" y="636"/>
                  <a:pt x="320" y="635"/>
                  <a:pt x="320" y="635"/>
                </a:cubicBezTo>
                <a:cubicBezTo>
                  <a:pt x="321" y="635"/>
                  <a:pt x="320" y="636"/>
                  <a:pt x="320" y="636"/>
                </a:cubicBezTo>
                <a:close/>
                <a:moveTo>
                  <a:pt x="319" y="620"/>
                </a:moveTo>
                <a:cubicBezTo>
                  <a:pt x="319" y="620"/>
                  <a:pt x="318" y="620"/>
                  <a:pt x="317" y="620"/>
                </a:cubicBezTo>
                <a:cubicBezTo>
                  <a:pt x="318" y="620"/>
                  <a:pt x="319" y="619"/>
                  <a:pt x="319" y="620"/>
                </a:cubicBezTo>
                <a:close/>
                <a:moveTo>
                  <a:pt x="318" y="614"/>
                </a:moveTo>
                <a:cubicBezTo>
                  <a:pt x="317" y="613"/>
                  <a:pt x="319" y="615"/>
                  <a:pt x="318" y="614"/>
                </a:cubicBezTo>
                <a:close/>
                <a:moveTo>
                  <a:pt x="313" y="137"/>
                </a:moveTo>
                <a:cubicBezTo>
                  <a:pt x="312" y="140"/>
                  <a:pt x="312" y="135"/>
                  <a:pt x="312" y="137"/>
                </a:cubicBezTo>
                <a:cubicBezTo>
                  <a:pt x="312" y="137"/>
                  <a:pt x="313" y="137"/>
                  <a:pt x="313" y="137"/>
                </a:cubicBezTo>
                <a:close/>
                <a:moveTo>
                  <a:pt x="311" y="41"/>
                </a:moveTo>
                <a:cubicBezTo>
                  <a:pt x="310" y="42"/>
                  <a:pt x="309" y="40"/>
                  <a:pt x="311" y="41"/>
                </a:cubicBezTo>
                <a:close/>
                <a:moveTo>
                  <a:pt x="309" y="527"/>
                </a:moveTo>
                <a:cubicBezTo>
                  <a:pt x="309" y="528"/>
                  <a:pt x="306" y="529"/>
                  <a:pt x="306" y="527"/>
                </a:cubicBezTo>
                <a:cubicBezTo>
                  <a:pt x="306" y="525"/>
                  <a:pt x="309" y="526"/>
                  <a:pt x="309" y="527"/>
                </a:cubicBezTo>
                <a:close/>
                <a:moveTo>
                  <a:pt x="307" y="61"/>
                </a:moveTo>
                <a:cubicBezTo>
                  <a:pt x="306" y="60"/>
                  <a:pt x="308" y="61"/>
                  <a:pt x="307" y="61"/>
                </a:cubicBezTo>
                <a:close/>
                <a:moveTo>
                  <a:pt x="293" y="53"/>
                </a:moveTo>
                <a:cubicBezTo>
                  <a:pt x="298" y="52"/>
                  <a:pt x="304" y="52"/>
                  <a:pt x="309" y="51"/>
                </a:cubicBezTo>
                <a:cubicBezTo>
                  <a:pt x="304" y="53"/>
                  <a:pt x="299" y="53"/>
                  <a:pt x="293" y="53"/>
                </a:cubicBezTo>
                <a:close/>
                <a:moveTo>
                  <a:pt x="282" y="662"/>
                </a:moveTo>
                <a:cubicBezTo>
                  <a:pt x="281" y="662"/>
                  <a:pt x="279" y="663"/>
                  <a:pt x="277" y="663"/>
                </a:cubicBezTo>
                <a:cubicBezTo>
                  <a:pt x="279" y="662"/>
                  <a:pt x="281" y="661"/>
                  <a:pt x="282" y="662"/>
                </a:cubicBezTo>
                <a:close/>
                <a:moveTo>
                  <a:pt x="278" y="582"/>
                </a:moveTo>
                <a:cubicBezTo>
                  <a:pt x="278" y="581"/>
                  <a:pt x="280" y="581"/>
                  <a:pt x="279" y="582"/>
                </a:cubicBezTo>
                <a:cubicBezTo>
                  <a:pt x="279" y="582"/>
                  <a:pt x="279" y="582"/>
                  <a:pt x="278" y="582"/>
                </a:cubicBezTo>
                <a:close/>
                <a:moveTo>
                  <a:pt x="282" y="582"/>
                </a:moveTo>
                <a:cubicBezTo>
                  <a:pt x="282" y="582"/>
                  <a:pt x="280" y="583"/>
                  <a:pt x="280" y="581"/>
                </a:cubicBezTo>
                <a:cubicBezTo>
                  <a:pt x="280" y="580"/>
                  <a:pt x="282" y="581"/>
                  <a:pt x="282" y="582"/>
                </a:cubicBezTo>
                <a:close/>
                <a:moveTo>
                  <a:pt x="281" y="574"/>
                </a:moveTo>
                <a:cubicBezTo>
                  <a:pt x="281" y="575"/>
                  <a:pt x="280" y="575"/>
                  <a:pt x="280" y="574"/>
                </a:cubicBezTo>
                <a:cubicBezTo>
                  <a:pt x="279" y="574"/>
                  <a:pt x="281" y="573"/>
                  <a:pt x="281" y="574"/>
                </a:cubicBezTo>
                <a:close/>
                <a:moveTo>
                  <a:pt x="294" y="551"/>
                </a:moveTo>
                <a:cubicBezTo>
                  <a:pt x="291" y="553"/>
                  <a:pt x="287" y="555"/>
                  <a:pt x="285" y="556"/>
                </a:cubicBezTo>
                <a:cubicBezTo>
                  <a:pt x="285" y="556"/>
                  <a:pt x="283" y="557"/>
                  <a:pt x="284" y="556"/>
                </a:cubicBezTo>
                <a:cubicBezTo>
                  <a:pt x="286" y="553"/>
                  <a:pt x="291" y="553"/>
                  <a:pt x="294" y="551"/>
                </a:cubicBezTo>
                <a:close/>
                <a:moveTo>
                  <a:pt x="286" y="536"/>
                </a:moveTo>
                <a:cubicBezTo>
                  <a:pt x="286" y="535"/>
                  <a:pt x="286" y="536"/>
                  <a:pt x="286" y="536"/>
                </a:cubicBezTo>
                <a:cubicBezTo>
                  <a:pt x="285" y="536"/>
                  <a:pt x="286" y="535"/>
                  <a:pt x="286" y="536"/>
                </a:cubicBezTo>
                <a:close/>
                <a:moveTo>
                  <a:pt x="287" y="536"/>
                </a:moveTo>
                <a:cubicBezTo>
                  <a:pt x="287" y="534"/>
                  <a:pt x="289" y="534"/>
                  <a:pt x="289" y="536"/>
                </a:cubicBezTo>
                <a:cubicBezTo>
                  <a:pt x="289" y="537"/>
                  <a:pt x="287" y="536"/>
                  <a:pt x="287" y="536"/>
                </a:cubicBezTo>
                <a:close/>
                <a:moveTo>
                  <a:pt x="290" y="512"/>
                </a:moveTo>
                <a:cubicBezTo>
                  <a:pt x="291" y="510"/>
                  <a:pt x="293" y="509"/>
                  <a:pt x="294" y="508"/>
                </a:cubicBezTo>
                <a:cubicBezTo>
                  <a:pt x="294" y="509"/>
                  <a:pt x="292" y="510"/>
                  <a:pt x="290" y="512"/>
                </a:cubicBezTo>
                <a:close/>
                <a:moveTo>
                  <a:pt x="290" y="550"/>
                </a:moveTo>
                <a:cubicBezTo>
                  <a:pt x="290" y="549"/>
                  <a:pt x="291" y="548"/>
                  <a:pt x="292" y="549"/>
                </a:cubicBezTo>
                <a:cubicBezTo>
                  <a:pt x="292" y="550"/>
                  <a:pt x="290" y="551"/>
                  <a:pt x="290" y="550"/>
                </a:cubicBezTo>
                <a:close/>
                <a:moveTo>
                  <a:pt x="287" y="638"/>
                </a:moveTo>
                <a:cubicBezTo>
                  <a:pt x="288" y="637"/>
                  <a:pt x="289" y="637"/>
                  <a:pt x="290" y="637"/>
                </a:cubicBezTo>
                <a:cubicBezTo>
                  <a:pt x="289" y="637"/>
                  <a:pt x="288" y="638"/>
                  <a:pt x="287" y="638"/>
                </a:cubicBezTo>
                <a:close/>
                <a:moveTo>
                  <a:pt x="290" y="640"/>
                </a:moveTo>
                <a:cubicBezTo>
                  <a:pt x="289" y="641"/>
                  <a:pt x="288" y="640"/>
                  <a:pt x="287" y="641"/>
                </a:cubicBezTo>
                <a:cubicBezTo>
                  <a:pt x="287" y="640"/>
                  <a:pt x="289" y="639"/>
                  <a:pt x="290" y="640"/>
                </a:cubicBezTo>
                <a:close/>
                <a:moveTo>
                  <a:pt x="292" y="594"/>
                </a:moveTo>
                <a:cubicBezTo>
                  <a:pt x="292" y="595"/>
                  <a:pt x="288" y="596"/>
                  <a:pt x="288" y="593"/>
                </a:cubicBezTo>
                <a:cubicBezTo>
                  <a:pt x="288" y="591"/>
                  <a:pt x="292" y="592"/>
                  <a:pt x="292" y="594"/>
                </a:cubicBezTo>
                <a:close/>
                <a:moveTo>
                  <a:pt x="288" y="573"/>
                </a:moveTo>
                <a:cubicBezTo>
                  <a:pt x="288" y="572"/>
                  <a:pt x="290" y="571"/>
                  <a:pt x="291" y="571"/>
                </a:cubicBezTo>
                <a:cubicBezTo>
                  <a:pt x="290" y="572"/>
                  <a:pt x="289" y="572"/>
                  <a:pt x="288" y="573"/>
                </a:cubicBezTo>
                <a:close/>
                <a:moveTo>
                  <a:pt x="292" y="571"/>
                </a:moveTo>
                <a:cubicBezTo>
                  <a:pt x="292" y="570"/>
                  <a:pt x="293" y="569"/>
                  <a:pt x="294" y="570"/>
                </a:cubicBezTo>
                <a:cubicBezTo>
                  <a:pt x="294" y="571"/>
                  <a:pt x="292" y="571"/>
                  <a:pt x="292" y="571"/>
                </a:cubicBezTo>
                <a:close/>
                <a:moveTo>
                  <a:pt x="293" y="594"/>
                </a:moveTo>
                <a:cubicBezTo>
                  <a:pt x="293" y="596"/>
                  <a:pt x="291" y="595"/>
                  <a:pt x="293" y="594"/>
                </a:cubicBezTo>
                <a:close/>
                <a:moveTo>
                  <a:pt x="291" y="595"/>
                </a:moveTo>
                <a:cubicBezTo>
                  <a:pt x="290" y="597"/>
                  <a:pt x="288" y="596"/>
                  <a:pt x="291" y="595"/>
                </a:cubicBezTo>
                <a:close/>
                <a:moveTo>
                  <a:pt x="290" y="625"/>
                </a:moveTo>
                <a:cubicBezTo>
                  <a:pt x="291" y="626"/>
                  <a:pt x="290" y="625"/>
                  <a:pt x="290" y="625"/>
                </a:cubicBezTo>
                <a:cubicBezTo>
                  <a:pt x="290" y="625"/>
                  <a:pt x="290" y="625"/>
                  <a:pt x="290" y="625"/>
                </a:cubicBezTo>
                <a:close/>
                <a:moveTo>
                  <a:pt x="289" y="602"/>
                </a:moveTo>
                <a:cubicBezTo>
                  <a:pt x="289" y="601"/>
                  <a:pt x="292" y="601"/>
                  <a:pt x="293" y="601"/>
                </a:cubicBezTo>
                <a:cubicBezTo>
                  <a:pt x="292" y="602"/>
                  <a:pt x="290" y="602"/>
                  <a:pt x="289" y="602"/>
                </a:cubicBezTo>
                <a:close/>
                <a:moveTo>
                  <a:pt x="291" y="634"/>
                </a:moveTo>
                <a:cubicBezTo>
                  <a:pt x="292" y="634"/>
                  <a:pt x="293" y="634"/>
                  <a:pt x="292" y="635"/>
                </a:cubicBezTo>
                <a:cubicBezTo>
                  <a:pt x="292" y="636"/>
                  <a:pt x="291" y="635"/>
                  <a:pt x="291" y="634"/>
                </a:cubicBezTo>
                <a:close/>
                <a:moveTo>
                  <a:pt x="295" y="635"/>
                </a:moveTo>
                <a:cubicBezTo>
                  <a:pt x="294" y="636"/>
                  <a:pt x="293" y="637"/>
                  <a:pt x="291" y="636"/>
                </a:cubicBezTo>
                <a:cubicBezTo>
                  <a:pt x="292" y="636"/>
                  <a:pt x="294" y="636"/>
                  <a:pt x="295" y="635"/>
                </a:cubicBezTo>
                <a:close/>
                <a:moveTo>
                  <a:pt x="293" y="583"/>
                </a:moveTo>
                <a:cubicBezTo>
                  <a:pt x="293" y="583"/>
                  <a:pt x="294" y="583"/>
                  <a:pt x="294" y="583"/>
                </a:cubicBezTo>
                <a:cubicBezTo>
                  <a:pt x="295" y="584"/>
                  <a:pt x="293" y="585"/>
                  <a:pt x="293" y="583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538"/>
                </a:moveTo>
                <a:cubicBezTo>
                  <a:pt x="283" y="538"/>
                  <a:pt x="284" y="537"/>
                  <a:pt x="284" y="537"/>
                </a:cubicBezTo>
                <a:cubicBezTo>
                  <a:pt x="285" y="537"/>
                  <a:pt x="284" y="538"/>
                  <a:pt x="284" y="538"/>
                </a:cubicBezTo>
                <a:close/>
                <a:moveTo>
                  <a:pt x="285" y="588"/>
                </a:moveTo>
                <a:cubicBezTo>
                  <a:pt x="284" y="589"/>
                  <a:pt x="283" y="589"/>
                  <a:pt x="282" y="590"/>
                </a:cubicBezTo>
                <a:cubicBezTo>
                  <a:pt x="282" y="590"/>
                  <a:pt x="284" y="588"/>
                  <a:pt x="285" y="588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612"/>
                </a:moveTo>
                <a:cubicBezTo>
                  <a:pt x="281" y="614"/>
                  <a:pt x="281" y="612"/>
                  <a:pt x="284" y="612"/>
                </a:cubicBezTo>
                <a:close/>
                <a:moveTo>
                  <a:pt x="283" y="648"/>
                </a:moveTo>
                <a:cubicBezTo>
                  <a:pt x="284" y="645"/>
                  <a:pt x="286" y="647"/>
                  <a:pt x="283" y="648"/>
                </a:cubicBezTo>
                <a:close/>
                <a:moveTo>
                  <a:pt x="287" y="661"/>
                </a:moveTo>
                <a:cubicBezTo>
                  <a:pt x="287" y="661"/>
                  <a:pt x="285" y="662"/>
                  <a:pt x="284" y="662"/>
                </a:cubicBezTo>
                <a:cubicBezTo>
                  <a:pt x="284" y="661"/>
                  <a:pt x="287" y="660"/>
                  <a:pt x="287" y="661"/>
                </a:cubicBezTo>
                <a:close/>
                <a:moveTo>
                  <a:pt x="288" y="667"/>
                </a:moveTo>
                <a:cubicBezTo>
                  <a:pt x="288" y="668"/>
                  <a:pt x="286" y="668"/>
                  <a:pt x="286" y="667"/>
                </a:cubicBezTo>
                <a:cubicBezTo>
                  <a:pt x="285" y="666"/>
                  <a:pt x="288" y="666"/>
                  <a:pt x="288" y="667"/>
                </a:cubicBezTo>
                <a:close/>
                <a:moveTo>
                  <a:pt x="287" y="650"/>
                </a:moveTo>
                <a:cubicBezTo>
                  <a:pt x="287" y="648"/>
                  <a:pt x="290" y="647"/>
                  <a:pt x="291" y="649"/>
                </a:cubicBezTo>
                <a:cubicBezTo>
                  <a:pt x="295" y="653"/>
                  <a:pt x="286" y="654"/>
                  <a:pt x="287" y="650"/>
                </a:cubicBezTo>
                <a:close/>
                <a:moveTo>
                  <a:pt x="292" y="691"/>
                </a:moveTo>
                <a:cubicBezTo>
                  <a:pt x="292" y="691"/>
                  <a:pt x="292" y="691"/>
                  <a:pt x="292" y="691"/>
                </a:cubicBezTo>
                <a:cubicBezTo>
                  <a:pt x="292" y="689"/>
                  <a:pt x="294" y="692"/>
                  <a:pt x="292" y="691"/>
                </a:cubicBezTo>
                <a:close/>
                <a:moveTo>
                  <a:pt x="292" y="646"/>
                </a:moveTo>
                <a:cubicBezTo>
                  <a:pt x="290" y="644"/>
                  <a:pt x="297" y="643"/>
                  <a:pt x="294" y="646"/>
                </a:cubicBezTo>
                <a:cubicBezTo>
                  <a:pt x="294" y="646"/>
                  <a:pt x="293" y="646"/>
                  <a:pt x="292" y="646"/>
                </a:cubicBezTo>
                <a:close/>
                <a:moveTo>
                  <a:pt x="294" y="600"/>
                </a:moveTo>
                <a:cubicBezTo>
                  <a:pt x="294" y="600"/>
                  <a:pt x="296" y="599"/>
                  <a:pt x="297" y="599"/>
                </a:cubicBezTo>
                <a:cubicBezTo>
                  <a:pt x="296" y="600"/>
                  <a:pt x="295" y="600"/>
                  <a:pt x="294" y="600"/>
                </a:cubicBezTo>
                <a:close/>
                <a:moveTo>
                  <a:pt x="293" y="530"/>
                </a:moveTo>
                <a:cubicBezTo>
                  <a:pt x="294" y="529"/>
                  <a:pt x="296" y="528"/>
                  <a:pt x="297" y="530"/>
                </a:cubicBezTo>
                <a:cubicBezTo>
                  <a:pt x="298" y="532"/>
                  <a:pt x="293" y="534"/>
                  <a:pt x="293" y="530"/>
                </a:cubicBezTo>
                <a:close/>
                <a:moveTo>
                  <a:pt x="303" y="581"/>
                </a:moveTo>
                <a:cubicBezTo>
                  <a:pt x="303" y="584"/>
                  <a:pt x="298" y="584"/>
                  <a:pt x="297" y="581"/>
                </a:cubicBezTo>
                <a:cubicBezTo>
                  <a:pt x="297" y="578"/>
                  <a:pt x="303" y="579"/>
                  <a:pt x="303" y="581"/>
                </a:cubicBezTo>
                <a:close/>
                <a:moveTo>
                  <a:pt x="298" y="504"/>
                </a:moveTo>
                <a:cubicBezTo>
                  <a:pt x="298" y="503"/>
                  <a:pt x="300" y="504"/>
                  <a:pt x="298" y="504"/>
                </a:cubicBezTo>
                <a:close/>
                <a:moveTo>
                  <a:pt x="300" y="102"/>
                </a:moveTo>
                <a:cubicBezTo>
                  <a:pt x="298" y="103"/>
                  <a:pt x="297" y="101"/>
                  <a:pt x="300" y="102"/>
                </a:cubicBezTo>
                <a:close/>
                <a:moveTo>
                  <a:pt x="299" y="578"/>
                </a:moveTo>
                <a:cubicBezTo>
                  <a:pt x="299" y="578"/>
                  <a:pt x="298" y="579"/>
                  <a:pt x="298" y="578"/>
                </a:cubicBezTo>
                <a:cubicBezTo>
                  <a:pt x="297" y="577"/>
                  <a:pt x="300" y="577"/>
                  <a:pt x="299" y="578"/>
                </a:cubicBezTo>
                <a:close/>
                <a:moveTo>
                  <a:pt x="303" y="67"/>
                </a:moveTo>
                <a:cubicBezTo>
                  <a:pt x="302" y="69"/>
                  <a:pt x="302" y="67"/>
                  <a:pt x="303" y="67"/>
                </a:cubicBezTo>
                <a:close/>
                <a:moveTo>
                  <a:pt x="304" y="592"/>
                </a:moveTo>
                <a:cubicBezTo>
                  <a:pt x="304" y="593"/>
                  <a:pt x="301" y="593"/>
                  <a:pt x="300" y="594"/>
                </a:cubicBezTo>
                <a:cubicBezTo>
                  <a:pt x="301" y="593"/>
                  <a:pt x="303" y="592"/>
                  <a:pt x="304" y="592"/>
                </a:cubicBezTo>
                <a:close/>
                <a:moveTo>
                  <a:pt x="304" y="660"/>
                </a:moveTo>
                <a:cubicBezTo>
                  <a:pt x="304" y="661"/>
                  <a:pt x="304" y="662"/>
                  <a:pt x="304" y="662"/>
                </a:cubicBezTo>
                <a:cubicBezTo>
                  <a:pt x="302" y="664"/>
                  <a:pt x="301" y="659"/>
                  <a:pt x="304" y="660"/>
                </a:cubicBezTo>
                <a:close/>
                <a:moveTo>
                  <a:pt x="308" y="41"/>
                </a:moveTo>
                <a:cubicBezTo>
                  <a:pt x="308" y="41"/>
                  <a:pt x="307" y="42"/>
                  <a:pt x="307" y="42"/>
                </a:cubicBezTo>
                <a:cubicBezTo>
                  <a:pt x="306" y="42"/>
                  <a:pt x="307" y="41"/>
                  <a:pt x="308" y="41"/>
                </a:cubicBezTo>
                <a:close/>
                <a:moveTo>
                  <a:pt x="298" y="26"/>
                </a:moveTo>
                <a:cubicBezTo>
                  <a:pt x="300" y="25"/>
                  <a:pt x="300" y="27"/>
                  <a:pt x="298" y="26"/>
                </a:cubicBezTo>
                <a:close/>
                <a:moveTo>
                  <a:pt x="299" y="30"/>
                </a:moveTo>
                <a:cubicBezTo>
                  <a:pt x="297" y="31"/>
                  <a:pt x="295" y="30"/>
                  <a:pt x="293" y="30"/>
                </a:cubicBezTo>
                <a:cubicBezTo>
                  <a:pt x="295" y="29"/>
                  <a:pt x="297" y="29"/>
                  <a:pt x="299" y="30"/>
                </a:cubicBezTo>
                <a:close/>
                <a:moveTo>
                  <a:pt x="291" y="53"/>
                </a:moveTo>
                <a:cubicBezTo>
                  <a:pt x="287" y="54"/>
                  <a:pt x="283" y="55"/>
                  <a:pt x="279" y="55"/>
                </a:cubicBezTo>
                <a:cubicBezTo>
                  <a:pt x="283" y="54"/>
                  <a:pt x="287" y="53"/>
                  <a:pt x="291" y="53"/>
                </a:cubicBezTo>
                <a:close/>
                <a:moveTo>
                  <a:pt x="288" y="513"/>
                </a:moveTo>
                <a:cubicBezTo>
                  <a:pt x="287" y="513"/>
                  <a:pt x="290" y="512"/>
                  <a:pt x="289" y="512"/>
                </a:cubicBezTo>
                <a:cubicBezTo>
                  <a:pt x="290" y="512"/>
                  <a:pt x="289" y="514"/>
                  <a:pt x="288" y="513"/>
                </a:cubicBezTo>
                <a:close/>
                <a:moveTo>
                  <a:pt x="282" y="526"/>
                </a:moveTo>
                <a:cubicBezTo>
                  <a:pt x="282" y="526"/>
                  <a:pt x="281" y="527"/>
                  <a:pt x="280" y="526"/>
                </a:cubicBezTo>
                <a:cubicBezTo>
                  <a:pt x="280" y="526"/>
                  <a:pt x="282" y="525"/>
                  <a:pt x="282" y="526"/>
                </a:cubicBezTo>
                <a:close/>
                <a:moveTo>
                  <a:pt x="286" y="526"/>
                </a:moveTo>
                <a:cubicBezTo>
                  <a:pt x="286" y="526"/>
                  <a:pt x="291" y="524"/>
                  <a:pt x="290" y="526"/>
                </a:cubicBezTo>
                <a:cubicBezTo>
                  <a:pt x="290" y="527"/>
                  <a:pt x="285" y="527"/>
                  <a:pt x="284" y="527"/>
                </a:cubicBezTo>
                <a:cubicBezTo>
                  <a:pt x="281" y="527"/>
                  <a:pt x="278" y="530"/>
                  <a:pt x="275" y="529"/>
                </a:cubicBezTo>
                <a:cubicBezTo>
                  <a:pt x="276" y="527"/>
                  <a:pt x="284" y="527"/>
                  <a:pt x="286" y="526"/>
                </a:cubicBezTo>
                <a:close/>
                <a:moveTo>
                  <a:pt x="277" y="694"/>
                </a:moveTo>
                <a:cubicBezTo>
                  <a:pt x="277" y="695"/>
                  <a:pt x="275" y="695"/>
                  <a:pt x="275" y="694"/>
                </a:cubicBezTo>
                <a:cubicBezTo>
                  <a:pt x="275" y="693"/>
                  <a:pt x="277" y="694"/>
                  <a:pt x="277" y="694"/>
                </a:cubicBezTo>
                <a:close/>
                <a:moveTo>
                  <a:pt x="266" y="653"/>
                </a:moveTo>
                <a:cubicBezTo>
                  <a:pt x="266" y="653"/>
                  <a:pt x="266" y="652"/>
                  <a:pt x="266" y="651"/>
                </a:cubicBezTo>
                <a:cubicBezTo>
                  <a:pt x="267" y="648"/>
                  <a:pt x="270" y="649"/>
                  <a:pt x="271" y="650"/>
                </a:cubicBezTo>
                <a:cubicBezTo>
                  <a:pt x="271" y="650"/>
                  <a:pt x="271" y="650"/>
                  <a:pt x="271" y="650"/>
                </a:cubicBezTo>
                <a:cubicBezTo>
                  <a:pt x="271" y="650"/>
                  <a:pt x="271" y="650"/>
                  <a:pt x="272" y="650"/>
                </a:cubicBezTo>
                <a:cubicBezTo>
                  <a:pt x="275" y="651"/>
                  <a:pt x="270" y="659"/>
                  <a:pt x="266" y="653"/>
                </a:cubicBezTo>
                <a:close/>
                <a:moveTo>
                  <a:pt x="268" y="657"/>
                </a:moveTo>
                <a:cubicBezTo>
                  <a:pt x="267" y="656"/>
                  <a:pt x="269" y="657"/>
                  <a:pt x="268" y="657"/>
                </a:cubicBezTo>
                <a:close/>
                <a:moveTo>
                  <a:pt x="264" y="633"/>
                </a:moveTo>
                <a:cubicBezTo>
                  <a:pt x="263" y="633"/>
                  <a:pt x="264" y="632"/>
                  <a:pt x="265" y="632"/>
                </a:cubicBezTo>
                <a:cubicBezTo>
                  <a:pt x="265" y="633"/>
                  <a:pt x="264" y="632"/>
                  <a:pt x="264" y="633"/>
                </a:cubicBezTo>
                <a:close/>
                <a:moveTo>
                  <a:pt x="263" y="663"/>
                </a:moveTo>
                <a:cubicBezTo>
                  <a:pt x="265" y="662"/>
                  <a:pt x="265" y="664"/>
                  <a:pt x="263" y="663"/>
                </a:cubicBezTo>
                <a:close/>
                <a:moveTo>
                  <a:pt x="265" y="623"/>
                </a:moveTo>
                <a:cubicBezTo>
                  <a:pt x="267" y="623"/>
                  <a:pt x="269" y="624"/>
                  <a:pt x="269" y="627"/>
                </a:cubicBezTo>
                <a:cubicBezTo>
                  <a:pt x="268" y="625"/>
                  <a:pt x="267" y="628"/>
                  <a:pt x="265" y="629"/>
                </a:cubicBezTo>
                <a:cubicBezTo>
                  <a:pt x="258" y="631"/>
                  <a:pt x="258" y="621"/>
                  <a:pt x="265" y="623"/>
                </a:cubicBezTo>
                <a:close/>
                <a:moveTo>
                  <a:pt x="271" y="560"/>
                </a:moveTo>
                <a:cubicBezTo>
                  <a:pt x="272" y="561"/>
                  <a:pt x="269" y="562"/>
                  <a:pt x="269" y="561"/>
                </a:cubicBezTo>
                <a:cubicBezTo>
                  <a:pt x="269" y="560"/>
                  <a:pt x="271" y="559"/>
                  <a:pt x="271" y="560"/>
                </a:cubicBezTo>
                <a:close/>
                <a:moveTo>
                  <a:pt x="271" y="507"/>
                </a:moveTo>
                <a:cubicBezTo>
                  <a:pt x="271" y="505"/>
                  <a:pt x="271" y="509"/>
                  <a:pt x="271" y="507"/>
                </a:cubicBezTo>
                <a:close/>
                <a:moveTo>
                  <a:pt x="273" y="532"/>
                </a:moveTo>
                <a:cubicBezTo>
                  <a:pt x="273" y="532"/>
                  <a:pt x="273" y="533"/>
                  <a:pt x="273" y="533"/>
                </a:cubicBezTo>
                <a:cubicBezTo>
                  <a:pt x="270" y="531"/>
                  <a:pt x="277" y="530"/>
                  <a:pt x="273" y="532"/>
                </a:cubicBezTo>
                <a:close/>
                <a:moveTo>
                  <a:pt x="273" y="556"/>
                </a:moveTo>
                <a:cubicBezTo>
                  <a:pt x="273" y="555"/>
                  <a:pt x="274" y="555"/>
                  <a:pt x="274" y="555"/>
                </a:cubicBezTo>
                <a:cubicBezTo>
                  <a:pt x="277" y="555"/>
                  <a:pt x="274" y="558"/>
                  <a:pt x="273" y="556"/>
                </a:cubicBezTo>
                <a:close/>
                <a:moveTo>
                  <a:pt x="270" y="624"/>
                </a:moveTo>
                <a:cubicBezTo>
                  <a:pt x="270" y="624"/>
                  <a:pt x="269" y="624"/>
                  <a:pt x="269" y="624"/>
                </a:cubicBezTo>
                <a:cubicBezTo>
                  <a:pt x="269" y="623"/>
                  <a:pt x="271" y="623"/>
                  <a:pt x="270" y="624"/>
                </a:cubicBezTo>
                <a:close/>
                <a:moveTo>
                  <a:pt x="266" y="617"/>
                </a:moveTo>
                <a:cubicBezTo>
                  <a:pt x="266" y="615"/>
                  <a:pt x="269" y="616"/>
                  <a:pt x="269" y="617"/>
                </a:cubicBezTo>
                <a:cubicBezTo>
                  <a:pt x="269" y="618"/>
                  <a:pt x="267" y="618"/>
                  <a:pt x="266" y="617"/>
                </a:cubicBezTo>
                <a:close/>
                <a:moveTo>
                  <a:pt x="271" y="647"/>
                </a:moveTo>
                <a:cubicBezTo>
                  <a:pt x="271" y="648"/>
                  <a:pt x="269" y="648"/>
                  <a:pt x="269" y="647"/>
                </a:cubicBezTo>
                <a:cubicBezTo>
                  <a:pt x="269" y="647"/>
                  <a:pt x="270" y="646"/>
                  <a:pt x="271" y="647"/>
                </a:cubicBezTo>
                <a:close/>
                <a:moveTo>
                  <a:pt x="270" y="628"/>
                </a:moveTo>
                <a:cubicBezTo>
                  <a:pt x="270" y="627"/>
                  <a:pt x="273" y="626"/>
                  <a:pt x="273" y="628"/>
                </a:cubicBezTo>
                <a:cubicBezTo>
                  <a:pt x="273" y="628"/>
                  <a:pt x="270" y="630"/>
                  <a:pt x="270" y="628"/>
                </a:cubicBezTo>
                <a:close/>
                <a:moveTo>
                  <a:pt x="273" y="613"/>
                </a:moveTo>
                <a:cubicBezTo>
                  <a:pt x="273" y="614"/>
                  <a:pt x="271" y="614"/>
                  <a:pt x="271" y="614"/>
                </a:cubicBezTo>
                <a:cubicBezTo>
                  <a:pt x="270" y="613"/>
                  <a:pt x="272" y="613"/>
                  <a:pt x="273" y="613"/>
                </a:cubicBezTo>
                <a:close/>
                <a:moveTo>
                  <a:pt x="270" y="571"/>
                </a:moveTo>
                <a:cubicBezTo>
                  <a:pt x="270" y="571"/>
                  <a:pt x="270" y="571"/>
                  <a:pt x="270" y="571"/>
                </a:cubicBezTo>
                <a:cubicBezTo>
                  <a:pt x="270" y="569"/>
                  <a:pt x="272" y="572"/>
                  <a:pt x="270" y="571"/>
                </a:cubicBezTo>
                <a:close/>
                <a:moveTo>
                  <a:pt x="271" y="564"/>
                </a:moveTo>
                <a:cubicBezTo>
                  <a:pt x="269" y="565"/>
                  <a:pt x="268" y="566"/>
                  <a:pt x="267" y="566"/>
                </a:cubicBezTo>
                <a:cubicBezTo>
                  <a:pt x="268" y="565"/>
                  <a:pt x="269" y="564"/>
                  <a:pt x="271" y="564"/>
                </a:cubicBezTo>
                <a:close/>
                <a:moveTo>
                  <a:pt x="271" y="572"/>
                </a:moveTo>
                <a:cubicBezTo>
                  <a:pt x="269" y="573"/>
                  <a:pt x="269" y="574"/>
                  <a:pt x="271" y="574"/>
                </a:cubicBezTo>
                <a:cubicBezTo>
                  <a:pt x="270" y="576"/>
                  <a:pt x="266" y="579"/>
                  <a:pt x="263" y="577"/>
                </a:cubicBezTo>
                <a:cubicBezTo>
                  <a:pt x="258" y="573"/>
                  <a:pt x="266" y="568"/>
                  <a:pt x="271" y="572"/>
                </a:cubicBezTo>
                <a:close/>
                <a:moveTo>
                  <a:pt x="264" y="612"/>
                </a:moveTo>
                <a:cubicBezTo>
                  <a:pt x="265" y="612"/>
                  <a:pt x="263" y="612"/>
                  <a:pt x="263" y="612"/>
                </a:cubicBezTo>
                <a:cubicBezTo>
                  <a:pt x="263" y="611"/>
                  <a:pt x="264" y="611"/>
                  <a:pt x="264" y="612"/>
                </a:cubicBezTo>
                <a:close/>
                <a:moveTo>
                  <a:pt x="266" y="632"/>
                </a:moveTo>
                <a:cubicBezTo>
                  <a:pt x="266" y="632"/>
                  <a:pt x="266" y="632"/>
                  <a:pt x="266" y="632"/>
                </a:cubicBezTo>
                <a:cubicBezTo>
                  <a:pt x="265" y="630"/>
                  <a:pt x="268" y="633"/>
                  <a:pt x="266" y="632"/>
                </a:cubicBezTo>
                <a:close/>
                <a:moveTo>
                  <a:pt x="276" y="663"/>
                </a:moveTo>
                <a:cubicBezTo>
                  <a:pt x="274" y="664"/>
                  <a:pt x="273" y="665"/>
                  <a:pt x="271" y="665"/>
                </a:cubicBezTo>
                <a:cubicBezTo>
                  <a:pt x="272" y="663"/>
                  <a:pt x="274" y="663"/>
                  <a:pt x="276" y="663"/>
                </a:cubicBezTo>
                <a:close/>
                <a:moveTo>
                  <a:pt x="270" y="486"/>
                </a:moveTo>
                <a:cubicBezTo>
                  <a:pt x="270" y="486"/>
                  <a:pt x="270" y="486"/>
                  <a:pt x="270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0" y="485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lose/>
                <a:moveTo>
                  <a:pt x="274" y="496"/>
                </a:moveTo>
                <a:cubicBezTo>
                  <a:pt x="274" y="499"/>
                  <a:pt x="269" y="498"/>
                  <a:pt x="269" y="496"/>
                </a:cubicBezTo>
                <a:cubicBezTo>
                  <a:pt x="269" y="496"/>
                  <a:pt x="274" y="494"/>
                  <a:pt x="274" y="496"/>
                </a:cubicBezTo>
                <a:close/>
                <a:moveTo>
                  <a:pt x="276" y="504"/>
                </a:moveTo>
                <a:cubicBezTo>
                  <a:pt x="274" y="506"/>
                  <a:pt x="271" y="506"/>
                  <a:pt x="269" y="507"/>
                </a:cubicBezTo>
                <a:cubicBezTo>
                  <a:pt x="270" y="506"/>
                  <a:pt x="274" y="504"/>
                  <a:pt x="276" y="504"/>
                </a:cubicBezTo>
                <a:close/>
                <a:moveTo>
                  <a:pt x="268" y="467"/>
                </a:moveTo>
                <a:cubicBezTo>
                  <a:pt x="268" y="468"/>
                  <a:pt x="268" y="468"/>
                  <a:pt x="267" y="468"/>
                </a:cubicBezTo>
                <a:cubicBezTo>
                  <a:pt x="267" y="468"/>
                  <a:pt x="268" y="467"/>
                  <a:pt x="268" y="467"/>
                </a:cubicBezTo>
                <a:close/>
                <a:moveTo>
                  <a:pt x="267" y="506"/>
                </a:moveTo>
                <a:cubicBezTo>
                  <a:pt x="268" y="506"/>
                  <a:pt x="267" y="507"/>
                  <a:pt x="267" y="507"/>
                </a:cubicBezTo>
                <a:cubicBezTo>
                  <a:pt x="266" y="506"/>
                  <a:pt x="267" y="506"/>
                  <a:pt x="267" y="506"/>
                </a:cubicBezTo>
                <a:close/>
                <a:moveTo>
                  <a:pt x="264" y="562"/>
                </a:moveTo>
                <a:cubicBezTo>
                  <a:pt x="265" y="562"/>
                  <a:pt x="262" y="562"/>
                  <a:pt x="262" y="562"/>
                </a:cubicBezTo>
                <a:cubicBezTo>
                  <a:pt x="262" y="562"/>
                  <a:pt x="264" y="561"/>
                  <a:pt x="264" y="562"/>
                </a:cubicBezTo>
                <a:close/>
                <a:moveTo>
                  <a:pt x="262" y="562"/>
                </a:moveTo>
                <a:cubicBezTo>
                  <a:pt x="261" y="563"/>
                  <a:pt x="260" y="561"/>
                  <a:pt x="262" y="562"/>
                </a:cubicBezTo>
                <a:close/>
                <a:moveTo>
                  <a:pt x="260" y="440"/>
                </a:moveTo>
                <a:cubicBezTo>
                  <a:pt x="261" y="440"/>
                  <a:pt x="260" y="441"/>
                  <a:pt x="260" y="441"/>
                </a:cubicBezTo>
                <a:cubicBezTo>
                  <a:pt x="257" y="443"/>
                  <a:pt x="259" y="439"/>
                  <a:pt x="260" y="440"/>
                </a:cubicBezTo>
                <a:close/>
                <a:moveTo>
                  <a:pt x="257" y="484"/>
                </a:moveTo>
                <a:cubicBezTo>
                  <a:pt x="257" y="484"/>
                  <a:pt x="257" y="483"/>
                  <a:pt x="257" y="483"/>
                </a:cubicBezTo>
                <a:cubicBezTo>
                  <a:pt x="257" y="484"/>
                  <a:pt x="257" y="484"/>
                  <a:pt x="257" y="484"/>
                </a:cubicBezTo>
                <a:cubicBezTo>
                  <a:pt x="257" y="484"/>
                  <a:pt x="257" y="484"/>
                  <a:pt x="257" y="484"/>
                </a:cubicBezTo>
                <a:close/>
                <a:moveTo>
                  <a:pt x="256" y="495"/>
                </a:moveTo>
                <a:cubicBezTo>
                  <a:pt x="255" y="496"/>
                  <a:pt x="255" y="496"/>
                  <a:pt x="254" y="495"/>
                </a:cubicBezTo>
                <a:cubicBezTo>
                  <a:pt x="254" y="494"/>
                  <a:pt x="257" y="494"/>
                  <a:pt x="256" y="495"/>
                </a:cubicBezTo>
                <a:close/>
                <a:moveTo>
                  <a:pt x="252" y="519"/>
                </a:moveTo>
                <a:cubicBezTo>
                  <a:pt x="252" y="519"/>
                  <a:pt x="252" y="520"/>
                  <a:pt x="252" y="520"/>
                </a:cubicBezTo>
                <a:cubicBezTo>
                  <a:pt x="251" y="519"/>
                  <a:pt x="252" y="518"/>
                  <a:pt x="252" y="519"/>
                </a:cubicBezTo>
                <a:close/>
                <a:moveTo>
                  <a:pt x="250" y="460"/>
                </a:moveTo>
                <a:cubicBezTo>
                  <a:pt x="251" y="459"/>
                  <a:pt x="251" y="460"/>
                  <a:pt x="251" y="461"/>
                </a:cubicBezTo>
                <a:cubicBezTo>
                  <a:pt x="250" y="462"/>
                  <a:pt x="249" y="460"/>
                  <a:pt x="250" y="460"/>
                </a:cubicBezTo>
                <a:close/>
                <a:moveTo>
                  <a:pt x="253" y="530"/>
                </a:moveTo>
                <a:cubicBezTo>
                  <a:pt x="254" y="528"/>
                  <a:pt x="259" y="522"/>
                  <a:pt x="261" y="522"/>
                </a:cubicBezTo>
                <a:cubicBezTo>
                  <a:pt x="264" y="521"/>
                  <a:pt x="260" y="524"/>
                  <a:pt x="259" y="524"/>
                </a:cubicBezTo>
                <a:cubicBezTo>
                  <a:pt x="257" y="526"/>
                  <a:pt x="255" y="529"/>
                  <a:pt x="253" y="531"/>
                </a:cubicBezTo>
                <a:cubicBezTo>
                  <a:pt x="253" y="531"/>
                  <a:pt x="253" y="531"/>
                  <a:pt x="253" y="531"/>
                </a:cubicBezTo>
                <a:cubicBezTo>
                  <a:pt x="253" y="531"/>
                  <a:pt x="253" y="532"/>
                  <a:pt x="252" y="532"/>
                </a:cubicBezTo>
                <a:cubicBezTo>
                  <a:pt x="252" y="532"/>
                  <a:pt x="252" y="532"/>
                  <a:pt x="252" y="532"/>
                </a:cubicBezTo>
                <a:cubicBezTo>
                  <a:pt x="251" y="533"/>
                  <a:pt x="251" y="533"/>
                  <a:pt x="250" y="534"/>
                </a:cubicBezTo>
                <a:cubicBezTo>
                  <a:pt x="250" y="534"/>
                  <a:pt x="249" y="533"/>
                  <a:pt x="249" y="533"/>
                </a:cubicBezTo>
                <a:cubicBezTo>
                  <a:pt x="249" y="533"/>
                  <a:pt x="251" y="531"/>
                  <a:pt x="253" y="530"/>
                </a:cubicBezTo>
                <a:close/>
                <a:moveTo>
                  <a:pt x="253" y="640"/>
                </a:moveTo>
                <a:cubicBezTo>
                  <a:pt x="253" y="638"/>
                  <a:pt x="257" y="638"/>
                  <a:pt x="258" y="639"/>
                </a:cubicBezTo>
                <a:cubicBezTo>
                  <a:pt x="259" y="641"/>
                  <a:pt x="254" y="642"/>
                  <a:pt x="253" y="640"/>
                </a:cubicBezTo>
                <a:close/>
                <a:moveTo>
                  <a:pt x="255" y="652"/>
                </a:moveTo>
                <a:cubicBezTo>
                  <a:pt x="256" y="653"/>
                  <a:pt x="254" y="653"/>
                  <a:pt x="254" y="652"/>
                </a:cubicBezTo>
                <a:cubicBezTo>
                  <a:pt x="253" y="651"/>
                  <a:pt x="255" y="651"/>
                  <a:pt x="255" y="652"/>
                </a:cubicBezTo>
                <a:close/>
                <a:moveTo>
                  <a:pt x="240" y="645"/>
                </a:moveTo>
                <a:cubicBezTo>
                  <a:pt x="238" y="644"/>
                  <a:pt x="237" y="642"/>
                  <a:pt x="239" y="640"/>
                </a:cubicBezTo>
                <a:cubicBezTo>
                  <a:pt x="240" y="639"/>
                  <a:pt x="242" y="639"/>
                  <a:pt x="244" y="639"/>
                </a:cubicBezTo>
                <a:cubicBezTo>
                  <a:pt x="245" y="639"/>
                  <a:pt x="247" y="639"/>
                  <a:pt x="247" y="640"/>
                </a:cubicBezTo>
                <a:cubicBezTo>
                  <a:pt x="247" y="640"/>
                  <a:pt x="247" y="640"/>
                  <a:pt x="246" y="640"/>
                </a:cubicBezTo>
                <a:cubicBezTo>
                  <a:pt x="246" y="640"/>
                  <a:pt x="247" y="640"/>
                  <a:pt x="247" y="640"/>
                </a:cubicBezTo>
                <a:cubicBezTo>
                  <a:pt x="247" y="640"/>
                  <a:pt x="247" y="641"/>
                  <a:pt x="247" y="641"/>
                </a:cubicBezTo>
                <a:cubicBezTo>
                  <a:pt x="248" y="642"/>
                  <a:pt x="242" y="646"/>
                  <a:pt x="240" y="645"/>
                </a:cubicBezTo>
                <a:close/>
                <a:moveTo>
                  <a:pt x="241" y="660"/>
                </a:moveTo>
                <a:cubicBezTo>
                  <a:pt x="240" y="661"/>
                  <a:pt x="239" y="660"/>
                  <a:pt x="240" y="659"/>
                </a:cubicBezTo>
                <a:cubicBezTo>
                  <a:pt x="240" y="659"/>
                  <a:pt x="242" y="659"/>
                  <a:pt x="241" y="660"/>
                </a:cubicBezTo>
                <a:close/>
                <a:moveTo>
                  <a:pt x="250" y="593"/>
                </a:moveTo>
                <a:cubicBezTo>
                  <a:pt x="247" y="595"/>
                  <a:pt x="244" y="594"/>
                  <a:pt x="240" y="596"/>
                </a:cubicBezTo>
                <a:cubicBezTo>
                  <a:pt x="243" y="594"/>
                  <a:pt x="247" y="594"/>
                  <a:pt x="250" y="593"/>
                </a:cubicBezTo>
                <a:close/>
                <a:moveTo>
                  <a:pt x="245" y="578"/>
                </a:moveTo>
                <a:cubicBezTo>
                  <a:pt x="246" y="579"/>
                  <a:pt x="245" y="579"/>
                  <a:pt x="245" y="579"/>
                </a:cubicBezTo>
                <a:cubicBezTo>
                  <a:pt x="243" y="581"/>
                  <a:pt x="244" y="577"/>
                  <a:pt x="245" y="578"/>
                </a:cubicBezTo>
                <a:close/>
                <a:moveTo>
                  <a:pt x="253" y="551"/>
                </a:moveTo>
                <a:cubicBezTo>
                  <a:pt x="254" y="550"/>
                  <a:pt x="255" y="549"/>
                  <a:pt x="257" y="549"/>
                </a:cubicBezTo>
                <a:cubicBezTo>
                  <a:pt x="256" y="550"/>
                  <a:pt x="254" y="551"/>
                  <a:pt x="253" y="551"/>
                </a:cubicBezTo>
                <a:close/>
                <a:moveTo>
                  <a:pt x="255" y="555"/>
                </a:moveTo>
                <a:cubicBezTo>
                  <a:pt x="253" y="557"/>
                  <a:pt x="254" y="552"/>
                  <a:pt x="256" y="554"/>
                </a:cubicBezTo>
                <a:cubicBezTo>
                  <a:pt x="257" y="554"/>
                  <a:pt x="256" y="555"/>
                  <a:pt x="255" y="555"/>
                </a:cubicBezTo>
                <a:close/>
                <a:moveTo>
                  <a:pt x="258" y="564"/>
                </a:moveTo>
                <a:cubicBezTo>
                  <a:pt x="258" y="566"/>
                  <a:pt x="252" y="567"/>
                  <a:pt x="252" y="564"/>
                </a:cubicBezTo>
                <a:cubicBezTo>
                  <a:pt x="252" y="561"/>
                  <a:pt x="258" y="562"/>
                  <a:pt x="258" y="564"/>
                </a:cubicBezTo>
                <a:close/>
                <a:moveTo>
                  <a:pt x="257" y="589"/>
                </a:moveTo>
                <a:cubicBezTo>
                  <a:pt x="256" y="590"/>
                  <a:pt x="258" y="588"/>
                  <a:pt x="257" y="589"/>
                </a:cubicBezTo>
                <a:close/>
                <a:moveTo>
                  <a:pt x="254" y="619"/>
                </a:moveTo>
                <a:cubicBezTo>
                  <a:pt x="254" y="619"/>
                  <a:pt x="253" y="619"/>
                  <a:pt x="254" y="619"/>
                </a:cubicBezTo>
                <a:close/>
                <a:moveTo>
                  <a:pt x="254" y="612"/>
                </a:moveTo>
                <a:cubicBezTo>
                  <a:pt x="254" y="612"/>
                  <a:pt x="254" y="613"/>
                  <a:pt x="254" y="613"/>
                </a:cubicBezTo>
                <a:cubicBezTo>
                  <a:pt x="253" y="613"/>
                  <a:pt x="254" y="612"/>
                  <a:pt x="254" y="612"/>
                </a:cubicBezTo>
                <a:close/>
                <a:moveTo>
                  <a:pt x="254" y="619"/>
                </a:moveTo>
                <a:cubicBezTo>
                  <a:pt x="257" y="616"/>
                  <a:pt x="255" y="621"/>
                  <a:pt x="254" y="620"/>
                </a:cubicBezTo>
                <a:cubicBezTo>
                  <a:pt x="254" y="620"/>
                  <a:pt x="254" y="619"/>
                  <a:pt x="254" y="619"/>
                </a:cubicBezTo>
                <a:close/>
                <a:moveTo>
                  <a:pt x="253" y="608"/>
                </a:moveTo>
                <a:cubicBezTo>
                  <a:pt x="250" y="609"/>
                  <a:pt x="255" y="604"/>
                  <a:pt x="257" y="605"/>
                </a:cubicBezTo>
                <a:cubicBezTo>
                  <a:pt x="256" y="605"/>
                  <a:pt x="254" y="607"/>
                  <a:pt x="253" y="608"/>
                </a:cubicBezTo>
                <a:close/>
                <a:moveTo>
                  <a:pt x="255" y="600"/>
                </a:moveTo>
                <a:cubicBezTo>
                  <a:pt x="254" y="602"/>
                  <a:pt x="252" y="601"/>
                  <a:pt x="255" y="600"/>
                </a:cubicBezTo>
                <a:close/>
                <a:moveTo>
                  <a:pt x="256" y="599"/>
                </a:moveTo>
                <a:cubicBezTo>
                  <a:pt x="255" y="599"/>
                  <a:pt x="256" y="598"/>
                  <a:pt x="256" y="599"/>
                </a:cubicBezTo>
                <a:cubicBezTo>
                  <a:pt x="256" y="599"/>
                  <a:pt x="256" y="599"/>
                  <a:pt x="256" y="599"/>
                </a:cubicBezTo>
                <a:close/>
                <a:moveTo>
                  <a:pt x="253" y="571"/>
                </a:moveTo>
                <a:cubicBezTo>
                  <a:pt x="253" y="571"/>
                  <a:pt x="252" y="572"/>
                  <a:pt x="252" y="571"/>
                </a:cubicBezTo>
                <a:cubicBezTo>
                  <a:pt x="251" y="570"/>
                  <a:pt x="253" y="570"/>
                  <a:pt x="253" y="571"/>
                </a:cubicBezTo>
                <a:close/>
                <a:moveTo>
                  <a:pt x="251" y="558"/>
                </a:moveTo>
                <a:cubicBezTo>
                  <a:pt x="251" y="557"/>
                  <a:pt x="253" y="556"/>
                  <a:pt x="253" y="557"/>
                </a:cubicBezTo>
                <a:cubicBezTo>
                  <a:pt x="253" y="558"/>
                  <a:pt x="252" y="558"/>
                  <a:pt x="251" y="558"/>
                </a:cubicBezTo>
                <a:close/>
                <a:moveTo>
                  <a:pt x="246" y="555"/>
                </a:moveTo>
                <a:cubicBezTo>
                  <a:pt x="247" y="553"/>
                  <a:pt x="251" y="552"/>
                  <a:pt x="253" y="551"/>
                </a:cubicBezTo>
                <a:cubicBezTo>
                  <a:pt x="251" y="553"/>
                  <a:pt x="248" y="554"/>
                  <a:pt x="246" y="555"/>
                </a:cubicBezTo>
                <a:close/>
                <a:moveTo>
                  <a:pt x="245" y="613"/>
                </a:moveTo>
                <a:cubicBezTo>
                  <a:pt x="244" y="615"/>
                  <a:pt x="242" y="615"/>
                  <a:pt x="240" y="615"/>
                </a:cubicBezTo>
                <a:cubicBezTo>
                  <a:pt x="241" y="614"/>
                  <a:pt x="243" y="613"/>
                  <a:pt x="244" y="613"/>
                </a:cubicBezTo>
                <a:cubicBezTo>
                  <a:pt x="244" y="613"/>
                  <a:pt x="243" y="613"/>
                  <a:pt x="244" y="612"/>
                </a:cubicBezTo>
                <a:cubicBezTo>
                  <a:pt x="244" y="611"/>
                  <a:pt x="247" y="612"/>
                  <a:pt x="247" y="612"/>
                </a:cubicBezTo>
                <a:cubicBezTo>
                  <a:pt x="247" y="613"/>
                  <a:pt x="246" y="613"/>
                  <a:pt x="245" y="613"/>
                </a:cubicBezTo>
                <a:cubicBezTo>
                  <a:pt x="245" y="613"/>
                  <a:pt x="245" y="613"/>
                  <a:pt x="245" y="613"/>
                </a:cubicBezTo>
                <a:close/>
                <a:moveTo>
                  <a:pt x="241" y="634"/>
                </a:moveTo>
                <a:cubicBezTo>
                  <a:pt x="241" y="634"/>
                  <a:pt x="241" y="634"/>
                  <a:pt x="242" y="634"/>
                </a:cubicBezTo>
                <a:cubicBezTo>
                  <a:pt x="242" y="634"/>
                  <a:pt x="242" y="635"/>
                  <a:pt x="241" y="634"/>
                </a:cubicBezTo>
                <a:close/>
                <a:moveTo>
                  <a:pt x="240" y="485"/>
                </a:moveTo>
                <a:cubicBezTo>
                  <a:pt x="240" y="485"/>
                  <a:pt x="241" y="484"/>
                  <a:pt x="241" y="484"/>
                </a:cubicBezTo>
                <a:cubicBezTo>
                  <a:pt x="241" y="485"/>
                  <a:pt x="240" y="485"/>
                  <a:pt x="240" y="485"/>
                </a:cubicBezTo>
                <a:close/>
                <a:moveTo>
                  <a:pt x="240" y="535"/>
                </a:moveTo>
                <a:cubicBezTo>
                  <a:pt x="240" y="535"/>
                  <a:pt x="240" y="535"/>
                  <a:pt x="239" y="535"/>
                </a:cubicBezTo>
                <a:cubicBezTo>
                  <a:pt x="239" y="535"/>
                  <a:pt x="240" y="534"/>
                  <a:pt x="240" y="535"/>
                </a:cubicBezTo>
                <a:close/>
                <a:moveTo>
                  <a:pt x="243" y="647"/>
                </a:moveTo>
                <a:cubicBezTo>
                  <a:pt x="243" y="646"/>
                  <a:pt x="244" y="647"/>
                  <a:pt x="243" y="647"/>
                </a:cubicBezTo>
                <a:close/>
                <a:moveTo>
                  <a:pt x="243" y="664"/>
                </a:moveTo>
                <a:cubicBezTo>
                  <a:pt x="242" y="665"/>
                  <a:pt x="242" y="663"/>
                  <a:pt x="243" y="664"/>
                </a:cubicBezTo>
                <a:close/>
                <a:moveTo>
                  <a:pt x="244" y="665"/>
                </a:moveTo>
                <a:cubicBezTo>
                  <a:pt x="244" y="666"/>
                  <a:pt x="243" y="666"/>
                  <a:pt x="243" y="666"/>
                </a:cubicBezTo>
                <a:cubicBezTo>
                  <a:pt x="242" y="665"/>
                  <a:pt x="244" y="665"/>
                  <a:pt x="244" y="665"/>
                </a:cubicBezTo>
                <a:close/>
                <a:moveTo>
                  <a:pt x="244" y="658"/>
                </a:moveTo>
                <a:cubicBezTo>
                  <a:pt x="244" y="656"/>
                  <a:pt x="249" y="657"/>
                  <a:pt x="247" y="659"/>
                </a:cubicBezTo>
                <a:cubicBezTo>
                  <a:pt x="247" y="660"/>
                  <a:pt x="244" y="659"/>
                  <a:pt x="244" y="658"/>
                </a:cubicBezTo>
                <a:close/>
                <a:moveTo>
                  <a:pt x="248" y="619"/>
                </a:moveTo>
                <a:cubicBezTo>
                  <a:pt x="246" y="620"/>
                  <a:pt x="246" y="618"/>
                  <a:pt x="248" y="619"/>
                </a:cubicBezTo>
                <a:close/>
                <a:moveTo>
                  <a:pt x="249" y="639"/>
                </a:moveTo>
                <a:cubicBezTo>
                  <a:pt x="250" y="640"/>
                  <a:pt x="249" y="640"/>
                  <a:pt x="249" y="640"/>
                </a:cubicBezTo>
                <a:cubicBezTo>
                  <a:pt x="247" y="642"/>
                  <a:pt x="248" y="638"/>
                  <a:pt x="249" y="639"/>
                </a:cubicBezTo>
                <a:close/>
                <a:moveTo>
                  <a:pt x="249" y="606"/>
                </a:moveTo>
                <a:cubicBezTo>
                  <a:pt x="248" y="605"/>
                  <a:pt x="251" y="605"/>
                  <a:pt x="251" y="605"/>
                </a:cubicBezTo>
                <a:cubicBezTo>
                  <a:pt x="251" y="606"/>
                  <a:pt x="249" y="606"/>
                  <a:pt x="249" y="606"/>
                </a:cubicBezTo>
                <a:close/>
                <a:moveTo>
                  <a:pt x="247" y="598"/>
                </a:moveTo>
                <a:cubicBezTo>
                  <a:pt x="247" y="598"/>
                  <a:pt x="248" y="596"/>
                  <a:pt x="248" y="596"/>
                </a:cubicBezTo>
                <a:cubicBezTo>
                  <a:pt x="249" y="595"/>
                  <a:pt x="250" y="594"/>
                  <a:pt x="251" y="596"/>
                </a:cubicBezTo>
                <a:cubicBezTo>
                  <a:pt x="251" y="596"/>
                  <a:pt x="251" y="596"/>
                  <a:pt x="250" y="597"/>
                </a:cubicBezTo>
                <a:cubicBezTo>
                  <a:pt x="251" y="597"/>
                  <a:pt x="253" y="598"/>
                  <a:pt x="253" y="598"/>
                </a:cubicBezTo>
                <a:cubicBezTo>
                  <a:pt x="254" y="602"/>
                  <a:pt x="247" y="599"/>
                  <a:pt x="247" y="598"/>
                </a:cubicBezTo>
                <a:close/>
                <a:moveTo>
                  <a:pt x="253" y="601"/>
                </a:moveTo>
                <a:cubicBezTo>
                  <a:pt x="253" y="602"/>
                  <a:pt x="252" y="602"/>
                  <a:pt x="251" y="602"/>
                </a:cubicBezTo>
                <a:cubicBezTo>
                  <a:pt x="251" y="602"/>
                  <a:pt x="252" y="601"/>
                  <a:pt x="253" y="601"/>
                </a:cubicBezTo>
                <a:close/>
                <a:moveTo>
                  <a:pt x="253" y="609"/>
                </a:moveTo>
                <a:cubicBezTo>
                  <a:pt x="254" y="609"/>
                  <a:pt x="252" y="610"/>
                  <a:pt x="252" y="610"/>
                </a:cubicBezTo>
                <a:cubicBezTo>
                  <a:pt x="251" y="609"/>
                  <a:pt x="253" y="608"/>
                  <a:pt x="253" y="609"/>
                </a:cubicBezTo>
                <a:close/>
                <a:moveTo>
                  <a:pt x="254" y="650"/>
                </a:moveTo>
                <a:cubicBezTo>
                  <a:pt x="253" y="652"/>
                  <a:pt x="252" y="649"/>
                  <a:pt x="254" y="650"/>
                </a:cubicBezTo>
                <a:close/>
                <a:moveTo>
                  <a:pt x="256" y="592"/>
                </a:moveTo>
                <a:cubicBezTo>
                  <a:pt x="255" y="590"/>
                  <a:pt x="259" y="590"/>
                  <a:pt x="260" y="591"/>
                </a:cubicBezTo>
                <a:cubicBezTo>
                  <a:pt x="260" y="592"/>
                  <a:pt x="256" y="594"/>
                  <a:pt x="256" y="592"/>
                </a:cubicBezTo>
                <a:close/>
                <a:moveTo>
                  <a:pt x="249" y="520"/>
                </a:moveTo>
                <a:cubicBezTo>
                  <a:pt x="249" y="520"/>
                  <a:pt x="249" y="521"/>
                  <a:pt x="249" y="521"/>
                </a:cubicBezTo>
                <a:cubicBezTo>
                  <a:pt x="248" y="522"/>
                  <a:pt x="248" y="519"/>
                  <a:pt x="249" y="520"/>
                </a:cubicBezTo>
                <a:close/>
                <a:moveTo>
                  <a:pt x="249" y="536"/>
                </a:moveTo>
                <a:cubicBezTo>
                  <a:pt x="249" y="538"/>
                  <a:pt x="244" y="540"/>
                  <a:pt x="244" y="536"/>
                </a:cubicBezTo>
                <a:cubicBezTo>
                  <a:pt x="244" y="535"/>
                  <a:pt x="249" y="534"/>
                  <a:pt x="249" y="536"/>
                </a:cubicBezTo>
                <a:close/>
                <a:moveTo>
                  <a:pt x="244" y="450"/>
                </a:moveTo>
                <a:cubicBezTo>
                  <a:pt x="244" y="450"/>
                  <a:pt x="244" y="450"/>
                  <a:pt x="244" y="450"/>
                </a:cubicBezTo>
                <a:cubicBezTo>
                  <a:pt x="243" y="450"/>
                  <a:pt x="244" y="449"/>
                  <a:pt x="244" y="450"/>
                </a:cubicBezTo>
                <a:close/>
                <a:moveTo>
                  <a:pt x="243" y="420"/>
                </a:moveTo>
                <a:cubicBezTo>
                  <a:pt x="243" y="420"/>
                  <a:pt x="243" y="420"/>
                  <a:pt x="243" y="420"/>
                </a:cubicBezTo>
                <a:cubicBezTo>
                  <a:pt x="244" y="420"/>
                  <a:pt x="244" y="420"/>
                  <a:pt x="243" y="420"/>
                </a:cubicBezTo>
                <a:close/>
                <a:moveTo>
                  <a:pt x="241" y="504"/>
                </a:moveTo>
                <a:cubicBezTo>
                  <a:pt x="240" y="502"/>
                  <a:pt x="243" y="504"/>
                  <a:pt x="241" y="504"/>
                </a:cubicBezTo>
                <a:close/>
                <a:moveTo>
                  <a:pt x="235" y="479"/>
                </a:moveTo>
                <a:cubicBezTo>
                  <a:pt x="236" y="477"/>
                  <a:pt x="240" y="471"/>
                  <a:pt x="242" y="470"/>
                </a:cubicBezTo>
                <a:cubicBezTo>
                  <a:pt x="240" y="473"/>
                  <a:pt x="238" y="476"/>
                  <a:pt x="235" y="479"/>
                </a:cubicBezTo>
                <a:close/>
                <a:moveTo>
                  <a:pt x="236" y="507"/>
                </a:moveTo>
                <a:cubicBezTo>
                  <a:pt x="236" y="508"/>
                  <a:pt x="235" y="508"/>
                  <a:pt x="235" y="507"/>
                </a:cubicBezTo>
                <a:cubicBezTo>
                  <a:pt x="235" y="506"/>
                  <a:pt x="236" y="507"/>
                  <a:pt x="236" y="507"/>
                </a:cubicBezTo>
                <a:close/>
                <a:moveTo>
                  <a:pt x="242" y="337"/>
                </a:moveTo>
                <a:cubicBezTo>
                  <a:pt x="240" y="339"/>
                  <a:pt x="238" y="341"/>
                  <a:pt x="235" y="343"/>
                </a:cubicBezTo>
                <a:cubicBezTo>
                  <a:pt x="237" y="341"/>
                  <a:pt x="240" y="338"/>
                  <a:pt x="242" y="337"/>
                </a:cubicBezTo>
                <a:close/>
                <a:moveTo>
                  <a:pt x="235" y="428"/>
                </a:moveTo>
                <a:cubicBezTo>
                  <a:pt x="235" y="427"/>
                  <a:pt x="234" y="429"/>
                  <a:pt x="235" y="428"/>
                </a:cubicBezTo>
                <a:close/>
                <a:moveTo>
                  <a:pt x="236" y="488"/>
                </a:moveTo>
                <a:cubicBezTo>
                  <a:pt x="233" y="491"/>
                  <a:pt x="233" y="494"/>
                  <a:pt x="230" y="496"/>
                </a:cubicBezTo>
                <a:cubicBezTo>
                  <a:pt x="231" y="494"/>
                  <a:pt x="233" y="489"/>
                  <a:pt x="236" y="488"/>
                </a:cubicBezTo>
                <a:close/>
                <a:moveTo>
                  <a:pt x="235" y="529"/>
                </a:moveTo>
                <a:cubicBezTo>
                  <a:pt x="235" y="529"/>
                  <a:pt x="234" y="529"/>
                  <a:pt x="234" y="529"/>
                </a:cubicBezTo>
                <a:cubicBezTo>
                  <a:pt x="234" y="528"/>
                  <a:pt x="235" y="529"/>
                  <a:pt x="235" y="529"/>
                </a:cubicBezTo>
                <a:close/>
                <a:moveTo>
                  <a:pt x="232" y="503"/>
                </a:moveTo>
                <a:cubicBezTo>
                  <a:pt x="232" y="504"/>
                  <a:pt x="231" y="504"/>
                  <a:pt x="231" y="504"/>
                </a:cubicBezTo>
                <a:cubicBezTo>
                  <a:pt x="231" y="503"/>
                  <a:pt x="232" y="502"/>
                  <a:pt x="232" y="503"/>
                </a:cubicBezTo>
                <a:close/>
                <a:moveTo>
                  <a:pt x="233" y="322"/>
                </a:moveTo>
                <a:cubicBezTo>
                  <a:pt x="234" y="320"/>
                  <a:pt x="232" y="323"/>
                  <a:pt x="233" y="322"/>
                </a:cubicBezTo>
                <a:close/>
                <a:moveTo>
                  <a:pt x="233" y="463"/>
                </a:moveTo>
                <a:cubicBezTo>
                  <a:pt x="232" y="465"/>
                  <a:pt x="234" y="462"/>
                  <a:pt x="233" y="463"/>
                </a:cubicBezTo>
                <a:close/>
                <a:moveTo>
                  <a:pt x="232" y="465"/>
                </a:moveTo>
                <a:cubicBezTo>
                  <a:pt x="233" y="467"/>
                  <a:pt x="229" y="469"/>
                  <a:pt x="228" y="466"/>
                </a:cubicBezTo>
                <a:cubicBezTo>
                  <a:pt x="228" y="464"/>
                  <a:pt x="231" y="463"/>
                  <a:pt x="232" y="465"/>
                </a:cubicBezTo>
                <a:close/>
                <a:moveTo>
                  <a:pt x="231" y="364"/>
                </a:moveTo>
                <a:cubicBezTo>
                  <a:pt x="232" y="365"/>
                  <a:pt x="230" y="367"/>
                  <a:pt x="230" y="367"/>
                </a:cubicBezTo>
                <a:cubicBezTo>
                  <a:pt x="226" y="369"/>
                  <a:pt x="229" y="363"/>
                  <a:pt x="231" y="364"/>
                </a:cubicBezTo>
                <a:close/>
                <a:moveTo>
                  <a:pt x="227" y="421"/>
                </a:moveTo>
                <a:cubicBezTo>
                  <a:pt x="228" y="421"/>
                  <a:pt x="227" y="422"/>
                  <a:pt x="227" y="422"/>
                </a:cubicBezTo>
                <a:cubicBezTo>
                  <a:pt x="225" y="423"/>
                  <a:pt x="226" y="420"/>
                  <a:pt x="227" y="421"/>
                </a:cubicBezTo>
                <a:close/>
                <a:moveTo>
                  <a:pt x="227" y="484"/>
                </a:moveTo>
                <a:cubicBezTo>
                  <a:pt x="225" y="484"/>
                  <a:pt x="228" y="482"/>
                  <a:pt x="227" y="483"/>
                </a:cubicBezTo>
                <a:cubicBezTo>
                  <a:pt x="227" y="483"/>
                  <a:pt x="227" y="484"/>
                  <a:pt x="227" y="484"/>
                </a:cubicBezTo>
                <a:close/>
                <a:moveTo>
                  <a:pt x="227" y="436"/>
                </a:moveTo>
                <a:cubicBezTo>
                  <a:pt x="226" y="435"/>
                  <a:pt x="228" y="435"/>
                  <a:pt x="227" y="436"/>
                </a:cubicBezTo>
                <a:close/>
                <a:moveTo>
                  <a:pt x="227" y="526"/>
                </a:moveTo>
                <a:cubicBezTo>
                  <a:pt x="226" y="527"/>
                  <a:pt x="225" y="526"/>
                  <a:pt x="227" y="526"/>
                </a:cubicBezTo>
                <a:close/>
                <a:moveTo>
                  <a:pt x="227" y="527"/>
                </a:moveTo>
                <a:cubicBezTo>
                  <a:pt x="228" y="528"/>
                  <a:pt x="226" y="529"/>
                  <a:pt x="226" y="529"/>
                </a:cubicBezTo>
                <a:cubicBezTo>
                  <a:pt x="225" y="529"/>
                  <a:pt x="227" y="527"/>
                  <a:pt x="227" y="527"/>
                </a:cubicBezTo>
                <a:close/>
                <a:moveTo>
                  <a:pt x="225" y="375"/>
                </a:moveTo>
                <a:cubicBezTo>
                  <a:pt x="227" y="376"/>
                  <a:pt x="225" y="376"/>
                  <a:pt x="225" y="375"/>
                </a:cubicBezTo>
                <a:close/>
                <a:moveTo>
                  <a:pt x="224" y="359"/>
                </a:moveTo>
                <a:cubicBezTo>
                  <a:pt x="224" y="360"/>
                  <a:pt x="223" y="360"/>
                  <a:pt x="223" y="361"/>
                </a:cubicBezTo>
                <a:cubicBezTo>
                  <a:pt x="222" y="360"/>
                  <a:pt x="224" y="360"/>
                  <a:pt x="224" y="359"/>
                </a:cubicBezTo>
                <a:close/>
                <a:moveTo>
                  <a:pt x="222" y="500"/>
                </a:moveTo>
                <a:cubicBezTo>
                  <a:pt x="222" y="499"/>
                  <a:pt x="223" y="499"/>
                  <a:pt x="224" y="499"/>
                </a:cubicBezTo>
                <a:cubicBezTo>
                  <a:pt x="224" y="500"/>
                  <a:pt x="222" y="501"/>
                  <a:pt x="222" y="500"/>
                </a:cubicBezTo>
                <a:close/>
                <a:moveTo>
                  <a:pt x="222" y="564"/>
                </a:moveTo>
                <a:cubicBezTo>
                  <a:pt x="222" y="565"/>
                  <a:pt x="219" y="565"/>
                  <a:pt x="219" y="564"/>
                </a:cubicBezTo>
                <a:cubicBezTo>
                  <a:pt x="219" y="562"/>
                  <a:pt x="222" y="563"/>
                  <a:pt x="222" y="564"/>
                </a:cubicBezTo>
                <a:close/>
                <a:moveTo>
                  <a:pt x="224" y="489"/>
                </a:moveTo>
                <a:cubicBezTo>
                  <a:pt x="224" y="489"/>
                  <a:pt x="223" y="490"/>
                  <a:pt x="223" y="490"/>
                </a:cubicBezTo>
                <a:cubicBezTo>
                  <a:pt x="222" y="489"/>
                  <a:pt x="225" y="488"/>
                  <a:pt x="224" y="489"/>
                </a:cubicBezTo>
                <a:close/>
                <a:moveTo>
                  <a:pt x="224" y="467"/>
                </a:moveTo>
                <a:cubicBezTo>
                  <a:pt x="224" y="470"/>
                  <a:pt x="222" y="469"/>
                  <a:pt x="224" y="467"/>
                </a:cubicBezTo>
                <a:close/>
                <a:moveTo>
                  <a:pt x="223" y="272"/>
                </a:moveTo>
                <a:cubicBezTo>
                  <a:pt x="223" y="273"/>
                  <a:pt x="222" y="274"/>
                  <a:pt x="221" y="275"/>
                </a:cubicBezTo>
                <a:cubicBezTo>
                  <a:pt x="221" y="273"/>
                  <a:pt x="222" y="273"/>
                  <a:pt x="223" y="272"/>
                </a:cubicBezTo>
                <a:close/>
                <a:moveTo>
                  <a:pt x="222" y="308"/>
                </a:moveTo>
                <a:cubicBezTo>
                  <a:pt x="222" y="310"/>
                  <a:pt x="220" y="312"/>
                  <a:pt x="218" y="313"/>
                </a:cubicBezTo>
                <a:cubicBezTo>
                  <a:pt x="220" y="312"/>
                  <a:pt x="220" y="310"/>
                  <a:pt x="222" y="308"/>
                </a:cubicBezTo>
                <a:close/>
                <a:moveTo>
                  <a:pt x="218" y="378"/>
                </a:moveTo>
                <a:cubicBezTo>
                  <a:pt x="218" y="376"/>
                  <a:pt x="220" y="378"/>
                  <a:pt x="218" y="378"/>
                </a:cubicBezTo>
                <a:close/>
                <a:moveTo>
                  <a:pt x="218" y="467"/>
                </a:moveTo>
                <a:cubicBezTo>
                  <a:pt x="218" y="467"/>
                  <a:pt x="217" y="467"/>
                  <a:pt x="217" y="466"/>
                </a:cubicBezTo>
                <a:cubicBezTo>
                  <a:pt x="217" y="466"/>
                  <a:pt x="218" y="466"/>
                  <a:pt x="218" y="467"/>
                </a:cubicBezTo>
                <a:close/>
                <a:moveTo>
                  <a:pt x="217" y="315"/>
                </a:move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lose/>
                <a:moveTo>
                  <a:pt x="218" y="382"/>
                </a:moveTo>
                <a:cubicBezTo>
                  <a:pt x="217" y="382"/>
                  <a:pt x="217" y="382"/>
                  <a:pt x="217" y="382"/>
                </a:cubicBezTo>
                <a:cubicBezTo>
                  <a:pt x="216" y="381"/>
                  <a:pt x="219" y="380"/>
                  <a:pt x="218" y="382"/>
                </a:cubicBezTo>
                <a:close/>
                <a:moveTo>
                  <a:pt x="212" y="322"/>
                </a:moveTo>
                <a:cubicBezTo>
                  <a:pt x="212" y="321"/>
                  <a:pt x="215" y="318"/>
                  <a:pt x="216" y="316"/>
                </a:cubicBezTo>
                <a:cubicBezTo>
                  <a:pt x="216" y="319"/>
                  <a:pt x="210" y="325"/>
                  <a:pt x="212" y="322"/>
                </a:cubicBezTo>
                <a:close/>
                <a:moveTo>
                  <a:pt x="215" y="450"/>
                </a:moveTo>
                <a:cubicBezTo>
                  <a:pt x="215" y="450"/>
                  <a:pt x="215" y="450"/>
                  <a:pt x="215" y="450"/>
                </a:cubicBezTo>
                <a:cubicBezTo>
                  <a:pt x="215" y="450"/>
                  <a:pt x="215" y="450"/>
                  <a:pt x="215" y="450"/>
                </a:cubicBezTo>
                <a:close/>
                <a:moveTo>
                  <a:pt x="214" y="449"/>
                </a:moveTo>
                <a:cubicBezTo>
                  <a:pt x="214" y="449"/>
                  <a:pt x="214" y="448"/>
                  <a:pt x="214" y="448"/>
                </a:cubicBezTo>
                <a:cubicBezTo>
                  <a:pt x="214" y="446"/>
                  <a:pt x="216" y="448"/>
                  <a:pt x="214" y="449"/>
                </a:cubicBezTo>
                <a:close/>
                <a:moveTo>
                  <a:pt x="214" y="524"/>
                </a:moveTo>
                <a:cubicBezTo>
                  <a:pt x="213" y="523"/>
                  <a:pt x="214" y="523"/>
                  <a:pt x="215" y="522"/>
                </a:cubicBezTo>
                <a:cubicBezTo>
                  <a:pt x="215" y="523"/>
                  <a:pt x="214" y="523"/>
                  <a:pt x="214" y="524"/>
                </a:cubicBezTo>
                <a:close/>
                <a:moveTo>
                  <a:pt x="212" y="508"/>
                </a:moveTo>
                <a:cubicBezTo>
                  <a:pt x="210" y="509"/>
                  <a:pt x="214" y="507"/>
                  <a:pt x="212" y="508"/>
                </a:cubicBezTo>
                <a:close/>
                <a:moveTo>
                  <a:pt x="202" y="518"/>
                </a:moveTo>
                <a:cubicBezTo>
                  <a:pt x="210" y="516"/>
                  <a:pt x="209" y="525"/>
                  <a:pt x="203" y="526"/>
                </a:cubicBezTo>
                <a:cubicBezTo>
                  <a:pt x="198" y="527"/>
                  <a:pt x="197" y="520"/>
                  <a:pt x="202" y="518"/>
                </a:cubicBezTo>
                <a:close/>
                <a:moveTo>
                  <a:pt x="201" y="548"/>
                </a:moveTo>
                <a:cubicBezTo>
                  <a:pt x="201" y="548"/>
                  <a:pt x="201" y="548"/>
                  <a:pt x="201" y="548"/>
                </a:cubicBezTo>
                <a:cubicBezTo>
                  <a:pt x="201" y="546"/>
                  <a:pt x="203" y="550"/>
                  <a:pt x="201" y="548"/>
                </a:cubicBezTo>
                <a:close/>
                <a:moveTo>
                  <a:pt x="199" y="549"/>
                </a:moveTo>
                <a:cubicBezTo>
                  <a:pt x="199" y="551"/>
                  <a:pt x="197" y="549"/>
                  <a:pt x="199" y="549"/>
                </a:cubicBezTo>
                <a:close/>
                <a:moveTo>
                  <a:pt x="200" y="494"/>
                </a:moveTo>
                <a:cubicBezTo>
                  <a:pt x="199" y="495"/>
                  <a:pt x="198" y="496"/>
                  <a:pt x="196" y="496"/>
                </a:cubicBezTo>
                <a:cubicBezTo>
                  <a:pt x="197" y="495"/>
                  <a:pt x="199" y="495"/>
                  <a:pt x="200" y="494"/>
                </a:cubicBezTo>
                <a:close/>
                <a:moveTo>
                  <a:pt x="202" y="420"/>
                </a:moveTo>
                <a:cubicBezTo>
                  <a:pt x="201" y="421"/>
                  <a:pt x="201" y="421"/>
                  <a:pt x="200" y="421"/>
                </a:cubicBezTo>
                <a:cubicBezTo>
                  <a:pt x="199" y="420"/>
                  <a:pt x="203" y="418"/>
                  <a:pt x="202" y="420"/>
                </a:cubicBezTo>
                <a:close/>
                <a:moveTo>
                  <a:pt x="203" y="493"/>
                </a:moveTo>
                <a:cubicBezTo>
                  <a:pt x="204" y="493"/>
                  <a:pt x="204" y="493"/>
                  <a:pt x="204" y="493"/>
                </a:cubicBezTo>
                <a:cubicBezTo>
                  <a:pt x="204" y="493"/>
                  <a:pt x="200" y="494"/>
                  <a:pt x="203" y="493"/>
                </a:cubicBezTo>
                <a:close/>
                <a:moveTo>
                  <a:pt x="206" y="456"/>
                </a:moveTo>
                <a:cubicBezTo>
                  <a:pt x="206" y="456"/>
                  <a:pt x="205" y="456"/>
                  <a:pt x="205" y="456"/>
                </a:cubicBezTo>
                <a:cubicBezTo>
                  <a:pt x="204" y="456"/>
                  <a:pt x="206" y="455"/>
                  <a:pt x="206" y="456"/>
                </a:cubicBezTo>
                <a:close/>
                <a:moveTo>
                  <a:pt x="206" y="475"/>
                </a:moveTo>
                <a:cubicBezTo>
                  <a:pt x="206" y="473"/>
                  <a:pt x="210" y="475"/>
                  <a:pt x="210" y="477"/>
                </a:cubicBezTo>
                <a:cubicBezTo>
                  <a:pt x="209" y="479"/>
                  <a:pt x="204" y="479"/>
                  <a:pt x="206" y="475"/>
                </a:cubicBezTo>
                <a:close/>
                <a:moveTo>
                  <a:pt x="208" y="439"/>
                </a:moveTo>
                <a:cubicBezTo>
                  <a:pt x="208" y="440"/>
                  <a:pt x="207" y="440"/>
                  <a:pt x="207" y="440"/>
                </a:cubicBezTo>
                <a:cubicBezTo>
                  <a:pt x="207" y="439"/>
                  <a:pt x="208" y="439"/>
                  <a:pt x="208" y="439"/>
                </a:cubicBezTo>
                <a:close/>
                <a:moveTo>
                  <a:pt x="208" y="405"/>
                </a:moveTo>
                <a:cubicBezTo>
                  <a:pt x="207" y="406"/>
                  <a:pt x="208" y="404"/>
                  <a:pt x="208" y="405"/>
                </a:cubicBezTo>
                <a:close/>
                <a:moveTo>
                  <a:pt x="209" y="467"/>
                </a:moveTo>
                <a:cubicBezTo>
                  <a:pt x="209" y="467"/>
                  <a:pt x="209" y="468"/>
                  <a:pt x="209" y="468"/>
                </a:cubicBezTo>
                <a:cubicBezTo>
                  <a:pt x="208" y="467"/>
                  <a:pt x="210" y="466"/>
                  <a:pt x="209" y="467"/>
                </a:cubicBezTo>
                <a:close/>
                <a:moveTo>
                  <a:pt x="210" y="509"/>
                </a:moveTo>
                <a:cubicBezTo>
                  <a:pt x="208" y="511"/>
                  <a:pt x="211" y="508"/>
                  <a:pt x="210" y="509"/>
                </a:cubicBezTo>
                <a:close/>
                <a:moveTo>
                  <a:pt x="210" y="444"/>
                </a:moveTo>
                <a:cubicBezTo>
                  <a:pt x="207" y="445"/>
                  <a:pt x="209" y="441"/>
                  <a:pt x="210" y="443"/>
                </a:cubicBezTo>
                <a:cubicBezTo>
                  <a:pt x="211" y="443"/>
                  <a:pt x="210" y="443"/>
                  <a:pt x="210" y="444"/>
                </a:cubicBezTo>
                <a:close/>
                <a:moveTo>
                  <a:pt x="210" y="185"/>
                </a:moveTo>
                <a:cubicBezTo>
                  <a:pt x="210" y="185"/>
                  <a:pt x="210" y="185"/>
                  <a:pt x="210" y="185"/>
                </a:cubicBezTo>
                <a:cubicBezTo>
                  <a:pt x="209" y="185"/>
                  <a:pt x="211" y="184"/>
                  <a:pt x="210" y="185"/>
                </a:cubicBezTo>
                <a:close/>
                <a:moveTo>
                  <a:pt x="210" y="203"/>
                </a:moveTo>
                <a:cubicBezTo>
                  <a:pt x="211" y="203"/>
                  <a:pt x="209" y="205"/>
                  <a:pt x="209" y="205"/>
                </a:cubicBezTo>
                <a:cubicBezTo>
                  <a:pt x="209" y="204"/>
                  <a:pt x="209" y="204"/>
                  <a:pt x="210" y="203"/>
                </a:cubicBezTo>
                <a:close/>
                <a:moveTo>
                  <a:pt x="210" y="371"/>
                </a:moveTo>
                <a:cubicBezTo>
                  <a:pt x="209" y="372"/>
                  <a:pt x="209" y="372"/>
                  <a:pt x="208" y="372"/>
                </a:cubicBezTo>
                <a:cubicBezTo>
                  <a:pt x="208" y="372"/>
                  <a:pt x="208" y="371"/>
                  <a:pt x="210" y="371"/>
                </a:cubicBezTo>
                <a:close/>
                <a:moveTo>
                  <a:pt x="208" y="181"/>
                </a:moveTo>
                <a:cubicBezTo>
                  <a:pt x="209" y="181"/>
                  <a:pt x="207" y="184"/>
                  <a:pt x="207" y="184"/>
                </a:cubicBezTo>
                <a:cubicBezTo>
                  <a:pt x="204" y="186"/>
                  <a:pt x="206" y="180"/>
                  <a:pt x="208" y="181"/>
                </a:cubicBezTo>
                <a:close/>
                <a:moveTo>
                  <a:pt x="207" y="374"/>
                </a:moveTo>
                <a:cubicBezTo>
                  <a:pt x="206" y="373"/>
                  <a:pt x="208" y="373"/>
                  <a:pt x="207" y="374"/>
                </a:cubicBezTo>
                <a:close/>
                <a:moveTo>
                  <a:pt x="207" y="387"/>
                </a:moveTo>
                <a:cubicBezTo>
                  <a:pt x="206" y="387"/>
                  <a:pt x="206" y="388"/>
                  <a:pt x="206" y="387"/>
                </a:cubicBezTo>
                <a:cubicBezTo>
                  <a:pt x="205" y="386"/>
                  <a:pt x="209" y="385"/>
                  <a:pt x="207" y="387"/>
                </a:cubicBezTo>
                <a:close/>
                <a:moveTo>
                  <a:pt x="204" y="211"/>
                </a:moveTo>
                <a:cubicBezTo>
                  <a:pt x="204" y="213"/>
                  <a:pt x="202" y="214"/>
                  <a:pt x="201" y="216"/>
                </a:cubicBezTo>
                <a:cubicBezTo>
                  <a:pt x="201" y="214"/>
                  <a:pt x="203" y="213"/>
                  <a:pt x="204" y="211"/>
                </a:cubicBezTo>
                <a:close/>
                <a:moveTo>
                  <a:pt x="202" y="326"/>
                </a:moveTo>
                <a:cubicBezTo>
                  <a:pt x="202" y="327"/>
                  <a:pt x="202" y="328"/>
                  <a:pt x="201" y="328"/>
                </a:cubicBezTo>
                <a:cubicBezTo>
                  <a:pt x="201" y="327"/>
                  <a:pt x="202" y="327"/>
                  <a:pt x="202" y="326"/>
                </a:cubicBezTo>
                <a:close/>
                <a:moveTo>
                  <a:pt x="205" y="387"/>
                </a:moveTo>
                <a:cubicBezTo>
                  <a:pt x="205" y="388"/>
                  <a:pt x="203" y="389"/>
                  <a:pt x="201" y="390"/>
                </a:cubicBezTo>
                <a:cubicBezTo>
                  <a:pt x="202" y="388"/>
                  <a:pt x="204" y="388"/>
                  <a:pt x="205" y="387"/>
                </a:cubicBezTo>
                <a:close/>
                <a:moveTo>
                  <a:pt x="196" y="218"/>
                </a:moveTo>
                <a:cubicBezTo>
                  <a:pt x="198" y="219"/>
                  <a:pt x="196" y="220"/>
                  <a:pt x="196" y="218"/>
                </a:cubicBezTo>
                <a:close/>
                <a:moveTo>
                  <a:pt x="196" y="249"/>
                </a:moveTo>
                <a:cubicBezTo>
                  <a:pt x="195" y="251"/>
                  <a:pt x="197" y="248"/>
                  <a:pt x="196" y="249"/>
                </a:cubicBezTo>
                <a:close/>
                <a:moveTo>
                  <a:pt x="198" y="349"/>
                </a:moveTo>
                <a:cubicBezTo>
                  <a:pt x="198" y="350"/>
                  <a:pt x="196" y="351"/>
                  <a:pt x="196" y="352"/>
                </a:cubicBezTo>
                <a:cubicBezTo>
                  <a:pt x="195" y="351"/>
                  <a:pt x="197" y="350"/>
                  <a:pt x="198" y="349"/>
                </a:cubicBezTo>
                <a:close/>
                <a:moveTo>
                  <a:pt x="196" y="296"/>
                </a:moveTo>
                <a:cubicBezTo>
                  <a:pt x="196" y="296"/>
                  <a:pt x="195" y="298"/>
                  <a:pt x="195" y="298"/>
                </a:cubicBezTo>
                <a:cubicBezTo>
                  <a:pt x="193" y="300"/>
                  <a:pt x="194" y="295"/>
                  <a:pt x="196" y="296"/>
                </a:cubicBezTo>
                <a:close/>
                <a:moveTo>
                  <a:pt x="194" y="353"/>
                </a:moveTo>
                <a:cubicBezTo>
                  <a:pt x="195" y="354"/>
                  <a:pt x="193" y="354"/>
                  <a:pt x="194" y="353"/>
                </a:cubicBezTo>
                <a:close/>
                <a:moveTo>
                  <a:pt x="192" y="213"/>
                </a:moveTo>
                <a:cubicBezTo>
                  <a:pt x="192" y="212"/>
                  <a:pt x="194" y="211"/>
                  <a:pt x="192" y="213"/>
                </a:cubicBezTo>
                <a:close/>
                <a:moveTo>
                  <a:pt x="193" y="252"/>
                </a:moveTo>
                <a:cubicBezTo>
                  <a:pt x="194" y="253"/>
                  <a:pt x="193" y="254"/>
                  <a:pt x="192" y="254"/>
                </a:cubicBezTo>
                <a:cubicBezTo>
                  <a:pt x="192" y="253"/>
                  <a:pt x="193" y="253"/>
                  <a:pt x="193" y="252"/>
                </a:cubicBezTo>
                <a:close/>
                <a:moveTo>
                  <a:pt x="193" y="354"/>
                </a:moveTo>
                <a:cubicBezTo>
                  <a:pt x="193" y="355"/>
                  <a:pt x="193" y="356"/>
                  <a:pt x="192" y="356"/>
                </a:cubicBezTo>
                <a:cubicBezTo>
                  <a:pt x="192" y="355"/>
                  <a:pt x="193" y="355"/>
                  <a:pt x="193" y="354"/>
                </a:cubicBezTo>
                <a:close/>
                <a:moveTo>
                  <a:pt x="192" y="305"/>
                </a:moveTo>
                <a:cubicBezTo>
                  <a:pt x="190" y="307"/>
                  <a:pt x="193" y="304"/>
                  <a:pt x="192" y="305"/>
                </a:cubicBezTo>
                <a:close/>
                <a:moveTo>
                  <a:pt x="188" y="397"/>
                </a:moveTo>
                <a:cubicBezTo>
                  <a:pt x="187" y="398"/>
                  <a:pt x="185" y="400"/>
                  <a:pt x="183" y="401"/>
                </a:cubicBezTo>
                <a:cubicBezTo>
                  <a:pt x="184" y="399"/>
                  <a:pt x="186" y="398"/>
                  <a:pt x="188" y="397"/>
                </a:cubicBezTo>
                <a:close/>
                <a:moveTo>
                  <a:pt x="184" y="384"/>
                </a:moveTo>
                <a:cubicBezTo>
                  <a:pt x="185" y="384"/>
                  <a:pt x="185" y="383"/>
                  <a:pt x="186" y="383"/>
                </a:cubicBezTo>
                <a:cubicBezTo>
                  <a:pt x="185" y="384"/>
                  <a:pt x="185" y="384"/>
                  <a:pt x="184" y="384"/>
                </a:cubicBezTo>
                <a:close/>
                <a:moveTo>
                  <a:pt x="184" y="243"/>
                </a:moveTo>
                <a:cubicBezTo>
                  <a:pt x="185" y="242"/>
                  <a:pt x="183" y="244"/>
                  <a:pt x="184" y="243"/>
                </a:cubicBezTo>
                <a:close/>
                <a:moveTo>
                  <a:pt x="182" y="186"/>
                </a:moveTo>
                <a:cubicBezTo>
                  <a:pt x="182" y="185"/>
                  <a:pt x="181" y="187"/>
                  <a:pt x="182" y="186"/>
                </a:cubicBezTo>
                <a:close/>
                <a:moveTo>
                  <a:pt x="184" y="243"/>
                </a:moveTo>
                <a:cubicBezTo>
                  <a:pt x="185" y="244"/>
                  <a:pt x="183" y="249"/>
                  <a:pt x="182" y="249"/>
                </a:cubicBezTo>
                <a:cubicBezTo>
                  <a:pt x="180" y="249"/>
                  <a:pt x="182" y="243"/>
                  <a:pt x="184" y="243"/>
                </a:cubicBezTo>
                <a:close/>
                <a:moveTo>
                  <a:pt x="177" y="208"/>
                </a:moveTo>
                <a:cubicBezTo>
                  <a:pt x="178" y="209"/>
                  <a:pt x="177" y="209"/>
                  <a:pt x="177" y="210"/>
                </a:cubicBezTo>
                <a:cubicBezTo>
                  <a:pt x="176" y="210"/>
                  <a:pt x="177" y="209"/>
                  <a:pt x="177" y="208"/>
                </a:cubicBezTo>
                <a:close/>
                <a:moveTo>
                  <a:pt x="182" y="322"/>
                </a:moveTo>
                <a:cubicBezTo>
                  <a:pt x="179" y="324"/>
                  <a:pt x="177" y="329"/>
                  <a:pt x="175" y="329"/>
                </a:cubicBezTo>
                <a:cubicBezTo>
                  <a:pt x="175" y="329"/>
                  <a:pt x="179" y="322"/>
                  <a:pt x="182" y="322"/>
                </a:cubicBezTo>
                <a:close/>
                <a:moveTo>
                  <a:pt x="180" y="403"/>
                </a:moveTo>
                <a:cubicBezTo>
                  <a:pt x="179" y="404"/>
                  <a:pt x="178" y="406"/>
                  <a:pt x="176" y="406"/>
                </a:cubicBezTo>
                <a:cubicBezTo>
                  <a:pt x="177" y="405"/>
                  <a:pt x="179" y="404"/>
                  <a:pt x="180" y="403"/>
                </a:cubicBezTo>
                <a:close/>
                <a:moveTo>
                  <a:pt x="178" y="383"/>
                </a:move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2"/>
                  <a:pt x="178" y="382"/>
                </a:cubicBezTo>
                <a:cubicBezTo>
                  <a:pt x="178" y="382"/>
                  <a:pt x="178" y="382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lose/>
                <a:moveTo>
                  <a:pt x="181" y="393"/>
                </a:moveTo>
                <a:cubicBezTo>
                  <a:pt x="181" y="393"/>
                  <a:pt x="180" y="395"/>
                  <a:pt x="180" y="395"/>
                </a:cubicBezTo>
                <a:cubicBezTo>
                  <a:pt x="178" y="397"/>
                  <a:pt x="179" y="392"/>
                  <a:pt x="181" y="393"/>
                </a:cubicBezTo>
                <a:close/>
                <a:moveTo>
                  <a:pt x="179" y="358"/>
                </a:moveTo>
                <a:cubicBezTo>
                  <a:pt x="179" y="358"/>
                  <a:pt x="180" y="359"/>
                  <a:pt x="180" y="359"/>
                </a:cubicBezTo>
                <a:cubicBezTo>
                  <a:pt x="180" y="360"/>
                  <a:pt x="178" y="359"/>
                  <a:pt x="179" y="358"/>
                </a:cubicBezTo>
                <a:close/>
                <a:moveTo>
                  <a:pt x="182" y="418"/>
                </a:moveTo>
                <a:cubicBezTo>
                  <a:pt x="183" y="416"/>
                  <a:pt x="187" y="412"/>
                  <a:pt x="190" y="410"/>
                </a:cubicBezTo>
                <a:cubicBezTo>
                  <a:pt x="190" y="410"/>
                  <a:pt x="190" y="408"/>
                  <a:pt x="191" y="409"/>
                </a:cubicBezTo>
                <a:cubicBezTo>
                  <a:pt x="192" y="410"/>
                  <a:pt x="189" y="414"/>
                  <a:pt x="189" y="414"/>
                </a:cubicBezTo>
                <a:cubicBezTo>
                  <a:pt x="188" y="415"/>
                  <a:pt x="186" y="415"/>
                  <a:pt x="184" y="417"/>
                </a:cubicBezTo>
                <a:cubicBezTo>
                  <a:pt x="180" y="419"/>
                  <a:pt x="178" y="424"/>
                  <a:pt x="174" y="426"/>
                </a:cubicBezTo>
                <a:cubicBezTo>
                  <a:pt x="174" y="422"/>
                  <a:pt x="180" y="421"/>
                  <a:pt x="182" y="418"/>
                </a:cubicBezTo>
                <a:close/>
                <a:moveTo>
                  <a:pt x="193" y="479"/>
                </a:moveTo>
                <a:cubicBezTo>
                  <a:pt x="192" y="481"/>
                  <a:pt x="192" y="479"/>
                  <a:pt x="193" y="479"/>
                </a:cubicBezTo>
                <a:close/>
                <a:moveTo>
                  <a:pt x="193" y="432"/>
                </a:moveTo>
                <a:cubicBezTo>
                  <a:pt x="194" y="432"/>
                  <a:pt x="193" y="433"/>
                  <a:pt x="193" y="432"/>
                </a:cubicBezTo>
                <a:cubicBezTo>
                  <a:pt x="192" y="432"/>
                  <a:pt x="193" y="432"/>
                  <a:pt x="193" y="432"/>
                </a:cubicBezTo>
                <a:close/>
                <a:moveTo>
                  <a:pt x="191" y="460"/>
                </a:moveTo>
                <a:cubicBezTo>
                  <a:pt x="192" y="458"/>
                  <a:pt x="193" y="460"/>
                  <a:pt x="191" y="460"/>
                </a:cubicBezTo>
                <a:close/>
                <a:moveTo>
                  <a:pt x="193" y="489"/>
                </a:moveTo>
                <a:cubicBezTo>
                  <a:pt x="193" y="490"/>
                  <a:pt x="192" y="491"/>
                  <a:pt x="191" y="491"/>
                </a:cubicBezTo>
                <a:cubicBezTo>
                  <a:pt x="189" y="492"/>
                  <a:pt x="191" y="487"/>
                  <a:pt x="193" y="489"/>
                </a:cubicBezTo>
                <a:close/>
                <a:moveTo>
                  <a:pt x="190" y="440"/>
                </a:moveTo>
                <a:cubicBezTo>
                  <a:pt x="189" y="439"/>
                  <a:pt x="191" y="438"/>
                  <a:pt x="191" y="439"/>
                </a:cubicBezTo>
                <a:cubicBezTo>
                  <a:pt x="191" y="439"/>
                  <a:pt x="190" y="440"/>
                  <a:pt x="190" y="440"/>
                </a:cubicBezTo>
                <a:close/>
                <a:moveTo>
                  <a:pt x="189" y="511"/>
                </a:moveTo>
                <a:cubicBezTo>
                  <a:pt x="189" y="511"/>
                  <a:pt x="189" y="512"/>
                  <a:pt x="188" y="511"/>
                </a:cubicBezTo>
                <a:cubicBezTo>
                  <a:pt x="188" y="511"/>
                  <a:pt x="189" y="510"/>
                  <a:pt x="189" y="511"/>
                </a:cubicBezTo>
                <a:close/>
                <a:moveTo>
                  <a:pt x="186" y="470"/>
                </a:moveTo>
                <a:cubicBezTo>
                  <a:pt x="185" y="469"/>
                  <a:pt x="188" y="469"/>
                  <a:pt x="188" y="470"/>
                </a:cubicBezTo>
                <a:cubicBezTo>
                  <a:pt x="189" y="471"/>
                  <a:pt x="186" y="472"/>
                  <a:pt x="186" y="470"/>
                </a:cubicBezTo>
                <a:close/>
                <a:moveTo>
                  <a:pt x="184" y="470"/>
                </a:moveTo>
                <a:cubicBezTo>
                  <a:pt x="185" y="471"/>
                  <a:pt x="184" y="472"/>
                  <a:pt x="183" y="472"/>
                </a:cubicBezTo>
                <a:cubicBezTo>
                  <a:pt x="180" y="474"/>
                  <a:pt x="182" y="469"/>
                  <a:pt x="184" y="470"/>
                </a:cubicBezTo>
                <a:close/>
                <a:moveTo>
                  <a:pt x="183" y="435"/>
                </a:moveTo>
                <a:cubicBezTo>
                  <a:pt x="183" y="434"/>
                  <a:pt x="182" y="436"/>
                  <a:pt x="183" y="435"/>
                </a:cubicBezTo>
                <a:close/>
                <a:moveTo>
                  <a:pt x="180" y="443"/>
                </a:moveTo>
                <a:cubicBezTo>
                  <a:pt x="180" y="443"/>
                  <a:pt x="179" y="443"/>
                  <a:pt x="179" y="443"/>
                </a:cubicBezTo>
                <a:cubicBezTo>
                  <a:pt x="178" y="445"/>
                  <a:pt x="180" y="440"/>
                  <a:pt x="180" y="443"/>
                </a:cubicBezTo>
                <a:close/>
                <a:moveTo>
                  <a:pt x="174" y="445"/>
                </a:moveTo>
                <a:cubicBezTo>
                  <a:pt x="173" y="446"/>
                  <a:pt x="174" y="444"/>
                  <a:pt x="174" y="445"/>
                </a:cubicBezTo>
                <a:close/>
                <a:moveTo>
                  <a:pt x="173" y="182"/>
                </a:moveTo>
                <a:cubicBezTo>
                  <a:pt x="172" y="182"/>
                  <a:pt x="174" y="180"/>
                  <a:pt x="173" y="182"/>
                </a:cubicBezTo>
                <a:close/>
                <a:moveTo>
                  <a:pt x="173" y="438"/>
                </a:moveTo>
                <a:cubicBezTo>
                  <a:pt x="174" y="437"/>
                  <a:pt x="172" y="440"/>
                  <a:pt x="173" y="438"/>
                </a:cubicBezTo>
                <a:close/>
                <a:moveTo>
                  <a:pt x="173" y="477"/>
                </a:moveTo>
                <a:cubicBezTo>
                  <a:pt x="172" y="478"/>
                  <a:pt x="172" y="478"/>
                  <a:pt x="170" y="478"/>
                </a:cubicBezTo>
                <a:cubicBezTo>
                  <a:pt x="171" y="478"/>
                  <a:pt x="171" y="477"/>
                  <a:pt x="173" y="477"/>
                </a:cubicBezTo>
                <a:close/>
                <a:moveTo>
                  <a:pt x="173" y="314"/>
                </a:move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lose/>
                <a:moveTo>
                  <a:pt x="171" y="307"/>
                </a:moveTo>
                <a:cubicBezTo>
                  <a:pt x="171" y="308"/>
                  <a:pt x="171" y="309"/>
                  <a:pt x="169" y="310"/>
                </a:cubicBezTo>
                <a:cubicBezTo>
                  <a:pt x="168" y="310"/>
                  <a:pt x="167" y="310"/>
                  <a:pt x="166" y="309"/>
                </a:cubicBezTo>
                <a:cubicBezTo>
                  <a:pt x="164" y="305"/>
                  <a:pt x="171" y="303"/>
                  <a:pt x="171" y="307"/>
                </a:cubicBezTo>
                <a:close/>
                <a:moveTo>
                  <a:pt x="168" y="501"/>
                </a:moveTo>
                <a:cubicBezTo>
                  <a:pt x="168" y="501"/>
                  <a:pt x="168" y="501"/>
                  <a:pt x="169" y="501"/>
                </a:cubicBezTo>
                <a:cubicBezTo>
                  <a:pt x="169" y="501"/>
                  <a:pt x="168" y="502"/>
                  <a:pt x="168" y="501"/>
                </a:cubicBezTo>
                <a:close/>
                <a:moveTo>
                  <a:pt x="166" y="342"/>
                </a:moveTo>
                <a:cubicBezTo>
                  <a:pt x="166" y="342"/>
                  <a:pt x="166" y="342"/>
                  <a:pt x="166" y="342"/>
                </a:cubicBezTo>
                <a:cubicBezTo>
                  <a:pt x="166" y="342"/>
                  <a:pt x="166" y="343"/>
                  <a:pt x="165" y="343"/>
                </a:cubicBezTo>
                <a:cubicBezTo>
                  <a:pt x="165" y="343"/>
                  <a:pt x="165" y="343"/>
                  <a:pt x="165" y="343"/>
                </a:cubicBezTo>
                <a:cubicBezTo>
                  <a:pt x="165" y="343"/>
                  <a:pt x="166" y="342"/>
                  <a:pt x="166" y="342"/>
                </a:cubicBezTo>
                <a:close/>
                <a:moveTo>
                  <a:pt x="165" y="307"/>
                </a:moveTo>
                <a:cubicBezTo>
                  <a:pt x="163" y="308"/>
                  <a:pt x="167" y="306"/>
                  <a:pt x="165" y="307"/>
                </a:cubicBezTo>
                <a:close/>
                <a:moveTo>
                  <a:pt x="164" y="344"/>
                </a:moveTo>
                <a:cubicBezTo>
                  <a:pt x="163" y="344"/>
                  <a:pt x="166" y="342"/>
                  <a:pt x="164" y="344"/>
                </a:cubicBezTo>
                <a:close/>
                <a:moveTo>
                  <a:pt x="165" y="345"/>
                </a:moveTo>
                <a:cubicBezTo>
                  <a:pt x="164" y="346"/>
                  <a:pt x="164" y="347"/>
                  <a:pt x="162" y="347"/>
                </a:cubicBezTo>
                <a:cubicBezTo>
                  <a:pt x="163" y="347"/>
                  <a:pt x="163" y="346"/>
                  <a:pt x="165" y="345"/>
                </a:cubicBezTo>
                <a:close/>
                <a:moveTo>
                  <a:pt x="161" y="347"/>
                </a:moveTo>
                <a:cubicBezTo>
                  <a:pt x="160" y="348"/>
                  <a:pt x="162" y="346"/>
                  <a:pt x="161" y="347"/>
                </a:cubicBezTo>
                <a:close/>
                <a:moveTo>
                  <a:pt x="160" y="350"/>
                </a:moveTo>
                <a:cubicBezTo>
                  <a:pt x="161" y="348"/>
                  <a:pt x="162" y="349"/>
                  <a:pt x="160" y="350"/>
                </a:cubicBezTo>
                <a:close/>
                <a:moveTo>
                  <a:pt x="168" y="370"/>
                </a:moveTo>
                <a:cubicBezTo>
                  <a:pt x="165" y="373"/>
                  <a:pt x="163" y="376"/>
                  <a:pt x="158" y="378"/>
                </a:cubicBezTo>
                <a:cubicBezTo>
                  <a:pt x="161" y="375"/>
                  <a:pt x="164" y="372"/>
                  <a:pt x="168" y="370"/>
                </a:cubicBezTo>
                <a:close/>
                <a:moveTo>
                  <a:pt x="167" y="392"/>
                </a:moveTo>
                <a:cubicBezTo>
                  <a:pt x="166" y="393"/>
                  <a:pt x="168" y="390"/>
                  <a:pt x="167" y="391"/>
                </a:cubicBezTo>
                <a:cubicBezTo>
                  <a:pt x="167" y="391"/>
                  <a:pt x="167" y="392"/>
                  <a:pt x="167" y="392"/>
                </a:cubicBezTo>
                <a:close/>
                <a:moveTo>
                  <a:pt x="168" y="424"/>
                </a:moveTo>
                <a:cubicBezTo>
                  <a:pt x="168" y="424"/>
                  <a:pt x="167" y="424"/>
                  <a:pt x="167" y="424"/>
                </a:cubicBezTo>
                <a:cubicBezTo>
                  <a:pt x="166" y="423"/>
                  <a:pt x="168" y="423"/>
                  <a:pt x="168" y="424"/>
                </a:cubicBezTo>
                <a:close/>
                <a:moveTo>
                  <a:pt x="161" y="457"/>
                </a:moveTo>
                <a:cubicBezTo>
                  <a:pt x="161" y="458"/>
                  <a:pt x="158" y="461"/>
                  <a:pt x="157" y="460"/>
                </a:cubicBezTo>
                <a:cubicBezTo>
                  <a:pt x="156" y="458"/>
                  <a:pt x="159" y="456"/>
                  <a:pt x="161" y="457"/>
                </a:cubicBezTo>
                <a:close/>
                <a:moveTo>
                  <a:pt x="157" y="477"/>
                </a:move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lose/>
                <a:moveTo>
                  <a:pt x="161" y="502"/>
                </a:moveTo>
                <a:cubicBezTo>
                  <a:pt x="161" y="503"/>
                  <a:pt x="159" y="504"/>
                  <a:pt x="159" y="503"/>
                </a:cubicBezTo>
                <a:cubicBezTo>
                  <a:pt x="159" y="502"/>
                  <a:pt x="160" y="501"/>
                  <a:pt x="161" y="502"/>
                </a:cubicBezTo>
                <a:close/>
                <a:moveTo>
                  <a:pt x="159" y="482"/>
                </a:moveTo>
                <a:cubicBezTo>
                  <a:pt x="158" y="483"/>
                  <a:pt x="160" y="481"/>
                  <a:pt x="159" y="482"/>
                </a:cubicBezTo>
                <a:close/>
                <a:moveTo>
                  <a:pt x="162" y="484"/>
                </a:moveTo>
                <a:cubicBezTo>
                  <a:pt x="163" y="484"/>
                  <a:pt x="162" y="485"/>
                  <a:pt x="161" y="485"/>
                </a:cubicBezTo>
                <a:cubicBezTo>
                  <a:pt x="160" y="486"/>
                  <a:pt x="161" y="483"/>
                  <a:pt x="162" y="484"/>
                </a:cubicBezTo>
                <a:close/>
                <a:moveTo>
                  <a:pt x="161" y="428"/>
                </a:moveTo>
                <a:cubicBezTo>
                  <a:pt x="162" y="429"/>
                  <a:pt x="160" y="432"/>
                  <a:pt x="160" y="432"/>
                </a:cubicBezTo>
                <a:cubicBezTo>
                  <a:pt x="155" y="435"/>
                  <a:pt x="158" y="426"/>
                  <a:pt x="161" y="428"/>
                </a:cubicBezTo>
                <a:close/>
                <a:moveTo>
                  <a:pt x="164" y="506"/>
                </a:moveTo>
                <a:cubicBezTo>
                  <a:pt x="165" y="507"/>
                  <a:pt x="160" y="510"/>
                  <a:pt x="159" y="510"/>
                </a:cubicBezTo>
                <a:cubicBezTo>
                  <a:pt x="154" y="511"/>
                  <a:pt x="163" y="505"/>
                  <a:pt x="164" y="506"/>
                </a:cubicBezTo>
                <a:close/>
                <a:moveTo>
                  <a:pt x="163" y="443"/>
                </a:moveTo>
                <a:cubicBezTo>
                  <a:pt x="163" y="443"/>
                  <a:pt x="163" y="444"/>
                  <a:pt x="162" y="444"/>
                </a:cubicBezTo>
                <a:cubicBezTo>
                  <a:pt x="162" y="443"/>
                  <a:pt x="163" y="443"/>
                  <a:pt x="163" y="443"/>
                </a:cubicBezTo>
                <a:close/>
                <a:moveTo>
                  <a:pt x="159" y="351"/>
                </a:moveTo>
                <a:cubicBezTo>
                  <a:pt x="159" y="351"/>
                  <a:pt x="159" y="350"/>
                  <a:pt x="160" y="350"/>
                </a:cubicBezTo>
                <a:cubicBezTo>
                  <a:pt x="160" y="350"/>
                  <a:pt x="160" y="351"/>
                  <a:pt x="159" y="351"/>
                </a:cubicBezTo>
                <a:close/>
                <a:moveTo>
                  <a:pt x="160" y="259"/>
                </a:moveTo>
                <a:cubicBezTo>
                  <a:pt x="160" y="259"/>
                  <a:pt x="160" y="260"/>
                  <a:pt x="160" y="260"/>
                </a:cubicBezTo>
                <a:cubicBezTo>
                  <a:pt x="159" y="261"/>
                  <a:pt x="158" y="258"/>
                  <a:pt x="160" y="259"/>
                </a:cubicBezTo>
                <a:close/>
                <a:moveTo>
                  <a:pt x="160" y="349"/>
                </a:moveTo>
                <a:cubicBezTo>
                  <a:pt x="159" y="350"/>
                  <a:pt x="159" y="350"/>
                  <a:pt x="158" y="351"/>
                </a:cubicBezTo>
                <a:cubicBezTo>
                  <a:pt x="158" y="350"/>
                  <a:pt x="159" y="349"/>
                  <a:pt x="160" y="349"/>
                </a:cubicBezTo>
                <a:close/>
                <a:moveTo>
                  <a:pt x="159" y="352"/>
                </a:moveTo>
                <a:cubicBezTo>
                  <a:pt x="158" y="352"/>
                  <a:pt x="158" y="353"/>
                  <a:pt x="157" y="353"/>
                </a:cubicBezTo>
                <a:cubicBezTo>
                  <a:pt x="157" y="352"/>
                  <a:pt x="158" y="352"/>
                  <a:pt x="159" y="352"/>
                </a:cubicBezTo>
                <a:close/>
                <a:moveTo>
                  <a:pt x="156" y="354"/>
                </a:moveTo>
                <a:cubicBezTo>
                  <a:pt x="155" y="355"/>
                  <a:pt x="158" y="353"/>
                  <a:pt x="156" y="354"/>
                </a:cubicBezTo>
                <a:close/>
                <a:moveTo>
                  <a:pt x="157" y="415"/>
                </a:moveTo>
                <a:cubicBezTo>
                  <a:pt x="158" y="416"/>
                  <a:pt x="157" y="417"/>
                  <a:pt x="156" y="417"/>
                </a:cubicBezTo>
                <a:cubicBezTo>
                  <a:pt x="156" y="416"/>
                  <a:pt x="157" y="416"/>
                  <a:pt x="157" y="415"/>
                </a:cubicBezTo>
                <a:close/>
                <a:moveTo>
                  <a:pt x="133" y="461"/>
                </a:moveTo>
                <a:cubicBezTo>
                  <a:pt x="137" y="457"/>
                  <a:pt x="142" y="453"/>
                  <a:pt x="148" y="450"/>
                </a:cubicBezTo>
                <a:cubicBezTo>
                  <a:pt x="143" y="454"/>
                  <a:pt x="138" y="457"/>
                  <a:pt x="133" y="461"/>
                </a:cubicBezTo>
                <a:close/>
                <a:moveTo>
                  <a:pt x="138" y="463"/>
                </a:moveTo>
                <a:cubicBezTo>
                  <a:pt x="138" y="464"/>
                  <a:pt x="137" y="464"/>
                  <a:pt x="137" y="463"/>
                </a:cubicBezTo>
                <a:cubicBezTo>
                  <a:pt x="136" y="462"/>
                  <a:pt x="138" y="463"/>
                  <a:pt x="138" y="463"/>
                </a:cubicBezTo>
                <a:close/>
                <a:moveTo>
                  <a:pt x="147" y="446"/>
                </a:moveTo>
                <a:cubicBezTo>
                  <a:pt x="146" y="446"/>
                  <a:pt x="145" y="447"/>
                  <a:pt x="145" y="447"/>
                </a:cubicBezTo>
                <a:cubicBezTo>
                  <a:pt x="144" y="446"/>
                  <a:pt x="152" y="439"/>
                  <a:pt x="153" y="440"/>
                </a:cubicBezTo>
                <a:cubicBezTo>
                  <a:pt x="154" y="440"/>
                  <a:pt x="147" y="446"/>
                  <a:pt x="147" y="446"/>
                </a:cubicBezTo>
                <a:close/>
                <a:moveTo>
                  <a:pt x="148" y="401"/>
                </a:moveTo>
                <a:cubicBezTo>
                  <a:pt x="151" y="399"/>
                  <a:pt x="146" y="402"/>
                  <a:pt x="148" y="401"/>
                </a:cubicBezTo>
                <a:close/>
                <a:moveTo>
                  <a:pt x="150" y="439"/>
                </a:moveTo>
                <a:cubicBezTo>
                  <a:pt x="150" y="440"/>
                  <a:pt x="149" y="440"/>
                  <a:pt x="148" y="440"/>
                </a:cubicBezTo>
                <a:cubicBezTo>
                  <a:pt x="148" y="439"/>
                  <a:pt x="149" y="439"/>
                  <a:pt x="150" y="439"/>
                </a:cubicBezTo>
                <a:close/>
                <a:moveTo>
                  <a:pt x="151" y="379"/>
                </a:moveTo>
                <a:cubicBezTo>
                  <a:pt x="150" y="380"/>
                  <a:pt x="151" y="378"/>
                  <a:pt x="151" y="379"/>
                </a:cubicBezTo>
                <a:close/>
                <a:moveTo>
                  <a:pt x="153" y="447"/>
                </a:moveTo>
                <a:cubicBezTo>
                  <a:pt x="153" y="449"/>
                  <a:pt x="150" y="449"/>
                  <a:pt x="149" y="450"/>
                </a:cubicBezTo>
                <a:cubicBezTo>
                  <a:pt x="149" y="449"/>
                  <a:pt x="152" y="448"/>
                  <a:pt x="153" y="447"/>
                </a:cubicBezTo>
                <a:close/>
                <a:moveTo>
                  <a:pt x="156" y="472"/>
                </a:moveTo>
                <a:cubicBezTo>
                  <a:pt x="155" y="473"/>
                  <a:pt x="152" y="475"/>
                  <a:pt x="151" y="475"/>
                </a:cubicBezTo>
                <a:cubicBezTo>
                  <a:pt x="151" y="475"/>
                  <a:pt x="154" y="471"/>
                  <a:pt x="156" y="472"/>
                </a:cubicBezTo>
                <a:close/>
                <a:moveTo>
                  <a:pt x="156" y="435"/>
                </a:moveTo>
                <a:cubicBezTo>
                  <a:pt x="156" y="435"/>
                  <a:pt x="156" y="435"/>
                  <a:pt x="157" y="435"/>
                </a:cubicBezTo>
                <a:cubicBezTo>
                  <a:pt x="156" y="435"/>
                  <a:pt x="156" y="435"/>
                  <a:pt x="156" y="435"/>
                </a:cubicBezTo>
                <a:cubicBezTo>
                  <a:pt x="156" y="435"/>
                  <a:pt x="156" y="435"/>
                  <a:pt x="156" y="435"/>
                </a:cubicBezTo>
                <a:close/>
                <a:moveTo>
                  <a:pt x="155" y="447"/>
                </a:moveTo>
                <a:cubicBezTo>
                  <a:pt x="155" y="447"/>
                  <a:pt x="154" y="448"/>
                  <a:pt x="154" y="447"/>
                </a:cubicBezTo>
                <a:cubicBezTo>
                  <a:pt x="153" y="446"/>
                  <a:pt x="156" y="445"/>
                  <a:pt x="155" y="447"/>
                </a:cubicBezTo>
                <a:close/>
                <a:moveTo>
                  <a:pt x="155" y="434"/>
                </a:moveTo>
                <a:cubicBezTo>
                  <a:pt x="155" y="434"/>
                  <a:pt x="154" y="435"/>
                  <a:pt x="154" y="435"/>
                </a:cubicBezTo>
                <a:cubicBezTo>
                  <a:pt x="152" y="437"/>
                  <a:pt x="153" y="432"/>
                  <a:pt x="155" y="434"/>
                </a:cubicBezTo>
                <a:close/>
                <a:moveTo>
                  <a:pt x="152" y="391"/>
                </a:moveTo>
                <a:cubicBezTo>
                  <a:pt x="153" y="391"/>
                  <a:pt x="152" y="392"/>
                  <a:pt x="152" y="392"/>
                </a:cubicBezTo>
                <a:cubicBezTo>
                  <a:pt x="151" y="393"/>
                  <a:pt x="151" y="390"/>
                  <a:pt x="152" y="391"/>
                </a:cubicBezTo>
                <a:close/>
                <a:moveTo>
                  <a:pt x="151" y="438"/>
                </a:moveTo>
                <a:cubicBezTo>
                  <a:pt x="152" y="436"/>
                  <a:pt x="154" y="438"/>
                  <a:pt x="151" y="438"/>
                </a:cubicBezTo>
                <a:close/>
                <a:moveTo>
                  <a:pt x="151" y="253"/>
                </a:moveTo>
                <a:cubicBezTo>
                  <a:pt x="151" y="253"/>
                  <a:pt x="151" y="254"/>
                  <a:pt x="150" y="254"/>
                </a:cubicBezTo>
                <a:cubicBezTo>
                  <a:pt x="150" y="253"/>
                  <a:pt x="151" y="252"/>
                  <a:pt x="151" y="253"/>
                </a:cubicBezTo>
                <a:close/>
                <a:moveTo>
                  <a:pt x="150" y="436"/>
                </a:moveTo>
                <a:cubicBezTo>
                  <a:pt x="151" y="436"/>
                  <a:pt x="150" y="437"/>
                  <a:pt x="150" y="437"/>
                </a:cubicBezTo>
                <a:cubicBezTo>
                  <a:pt x="149" y="439"/>
                  <a:pt x="149" y="435"/>
                  <a:pt x="150" y="436"/>
                </a:cubicBezTo>
                <a:close/>
                <a:moveTo>
                  <a:pt x="149" y="322"/>
                </a:moveTo>
                <a:cubicBezTo>
                  <a:pt x="149" y="323"/>
                  <a:pt x="148" y="322"/>
                  <a:pt x="149" y="322"/>
                </a:cubicBezTo>
                <a:close/>
                <a:moveTo>
                  <a:pt x="149" y="365"/>
                </a:moveTo>
                <a:cubicBezTo>
                  <a:pt x="149" y="366"/>
                  <a:pt x="147" y="366"/>
                  <a:pt x="148" y="365"/>
                </a:cubicBezTo>
                <a:cubicBezTo>
                  <a:pt x="148" y="365"/>
                  <a:pt x="149" y="365"/>
                  <a:pt x="149" y="365"/>
                </a:cubicBezTo>
                <a:close/>
                <a:moveTo>
                  <a:pt x="147" y="197"/>
                </a:moveTo>
                <a:cubicBezTo>
                  <a:pt x="146" y="198"/>
                  <a:pt x="146" y="198"/>
                  <a:pt x="145" y="197"/>
                </a:cubicBezTo>
                <a:cubicBezTo>
                  <a:pt x="142" y="194"/>
                  <a:pt x="150" y="194"/>
                  <a:pt x="147" y="197"/>
                </a:cubicBezTo>
                <a:close/>
                <a:moveTo>
                  <a:pt x="145" y="359"/>
                </a:moveTo>
                <a:cubicBezTo>
                  <a:pt x="147" y="359"/>
                  <a:pt x="145" y="362"/>
                  <a:pt x="145" y="362"/>
                </a:cubicBezTo>
                <a:cubicBezTo>
                  <a:pt x="143" y="363"/>
                  <a:pt x="143" y="358"/>
                  <a:pt x="145" y="359"/>
                </a:cubicBezTo>
                <a:close/>
                <a:moveTo>
                  <a:pt x="145" y="402"/>
                </a:moveTo>
                <a:cubicBezTo>
                  <a:pt x="145" y="404"/>
                  <a:pt x="144" y="404"/>
                  <a:pt x="143" y="405"/>
                </a:cubicBezTo>
                <a:cubicBezTo>
                  <a:pt x="143" y="404"/>
                  <a:pt x="144" y="403"/>
                  <a:pt x="145" y="402"/>
                </a:cubicBezTo>
                <a:close/>
                <a:moveTo>
                  <a:pt x="132" y="456"/>
                </a:moveTo>
                <a:cubicBezTo>
                  <a:pt x="134" y="453"/>
                  <a:pt x="139" y="450"/>
                  <a:pt x="143" y="448"/>
                </a:cubicBezTo>
                <a:cubicBezTo>
                  <a:pt x="139" y="451"/>
                  <a:pt x="137" y="455"/>
                  <a:pt x="132" y="456"/>
                </a:cubicBezTo>
                <a:close/>
                <a:moveTo>
                  <a:pt x="131" y="395"/>
                </a:moveTo>
                <a:cubicBezTo>
                  <a:pt x="132" y="394"/>
                  <a:pt x="132" y="393"/>
                  <a:pt x="134" y="393"/>
                </a:cubicBezTo>
                <a:cubicBezTo>
                  <a:pt x="134" y="393"/>
                  <a:pt x="132" y="395"/>
                  <a:pt x="131" y="395"/>
                </a:cubicBezTo>
                <a:close/>
                <a:moveTo>
                  <a:pt x="134" y="448"/>
                </a:moveTo>
                <a:cubicBezTo>
                  <a:pt x="134" y="448"/>
                  <a:pt x="133" y="449"/>
                  <a:pt x="133" y="448"/>
                </a:cubicBezTo>
                <a:cubicBezTo>
                  <a:pt x="132" y="447"/>
                  <a:pt x="135" y="447"/>
                  <a:pt x="134" y="448"/>
                </a:cubicBezTo>
                <a:close/>
                <a:moveTo>
                  <a:pt x="132" y="422"/>
                </a:moveTo>
                <a:cubicBezTo>
                  <a:pt x="131" y="421"/>
                  <a:pt x="131" y="420"/>
                  <a:pt x="132" y="420"/>
                </a:cubicBezTo>
                <a:cubicBezTo>
                  <a:pt x="133" y="420"/>
                  <a:pt x="134" y="421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5" y="424"/>
                  <a:pt x="130" y="426"/>
                  <a:pt x="130" y="423"/>
                </a:cubicBezTo>
                <a:cubicBezTo>
                  <a:pt x="130" y="422"/>
                  <a:pt x="131" y="422"/>
                  <a:pt x="132" y="422"/>
                </a:cubicBezTo>
                <a:close/>
                <a:moveTo>
                  <a:pt x="138" y="416"/>
                </a:moveTo>
                <a:cubicBezTo>
                  <a:pt x="137" y="417"/>
                  <a:pt x="139" y="415"/>
                  <a:pt x="138" y="416"/>
                </a:cubicBezTo>
                <a:close/>
                <a:moveTo>
                  <a:pt x="139" y="433"/>
                </a:moveTo>
                <a:cubicBezTo>
                  <a:pt x="139" y="432"/>
                  <a:pt x="139" y="432"/>
                  <a:pt x="139" y="432"/>
                </a:cubicBezTo>
                <a:cubicBezTo>
                  <a:pt x="139" y="430"/>
                  <a:pt x="141" y="433"/>
                  <a:pt x="139" y="433"/>
                </a:cubicBezTo>
                <a:close/>
                <a:moveTo>
                  <a:pt x="140" y="443"/>
                </a:moveTo>
                <a:cubicBezTo>
                  <a:pt x="140" y="443"/>
                  <a:pt x="141" y="443"/>
                  <a:pt x="141" y="444"/>
                </a:cubicBezTo>
                <a:cubicBezTo>
                  <a:pt x="141" y="444"/>
                  <a:pt x="140" y="444"/>
                  <a:pt x="140" y="443"/>
                </a:cubicBezTo>
                <a:close/>
                <a:moveTo>
                  <a:pt x="142" y="387"/>
                </a:moveTo>
                <a:cubicBezTo>
                  <a:pt x="141" y="387"/>
                  <a:pt x="144" y="386"/>
                  <a:pt x="142" y="387"/>
                </a:cubicBezTo>
                <a:close/>
                <a:moveTo>
                  <a:pt x="142" y="436"/>
                </a:moveTo>
                <a:cubicBezTo>
                  <a:pt x="143" y="436"/>
                  <a:pt x="142" y="439"/>
                  <a:pt x="141" y="437"/>
                </a:cubicBezTo>
                <a:cubicBezTo>
                  <a:pt x="141" y="436"/>
                  <a:pt x="142" y="436"/>
                  <a:pt x="142" y="436"/>
                </a:cubicBezTo>
                <a:close/>
                <a:moveTo>
                  <a:pt x="142" y="387"/>
                </a:moveTo>
                <a:cubicBezTo>
                  <a:pt x="141" y="389"/>
                  <a:pt x="139" y="391"/>
                  <a:pt x="137" y="392"/>
                </a:cubicBezTo>
                <a:cubicBezTo>
                  <a:pt x="137" y="392"/>
                  <a:pt x="139" y="388"/>
                  <a:pt x="142" y="387"/>
                </a:cubicBezTo>
                <a:close/>
                <a:moveTo>
                  <a:pt x="136" y="246"/>
                </a:moveTo>
                <a:cubicBezTo>
                  <a:pt x="135" y="246"/>
                  <a:pt x="137" y="245"/>
                  <a:pt x="136" y="246"/>
                </a:cubicBezTo>
                <a:close/>
                <a:moveTo>
                  <a:pt x="134" y="301"/>
                </a:moveTo>
                <a:cubicBezTo>
                  <a:pt x="134" y="298"/>
                  <a:pt x="136" y="300"/>
                  <a:pt x="134" y="301"/>
                </a:cubicBezTo>
                <a:close/>
                <a:moveTo>
                  <a:pt x="135" y="342"/>
                </a:moveTo>
                <a:cubicBezTo>
                  <a:pt x="135" y="343"/>
                  <a:pt x="134" y="344"/>
                  <a:pt x="134" y="345"/>
                </a:cubicBezTo>
                <a:cubicBezTo>
                  <a:pt x="133" y="344"/>
                  <a:pt x="134" y="342"/>
                  <a:pt x="135" y="342"/>
                </a:cubicBezTo>
                <a:close/>
                <a:moveTo>
                  <a:pt x="129" y="351"/>
                </a:moveTo>
                <a:cubicBezTo>
                  <a:pt x="129" y="350"/>
                  <a:pt x="132" y="348"/>
                  <a:pt x="132" y="346"/>
                </a:cubicBezTo>
                <a:cubicBezTo>
                  <a:pt x="133" y="347"/>
                  <a:pt x="130" y="349"/>
                  <a:pt x="129" y="351"/>
                </a:cubicBezTo>
                <a:close/>
                <a:moveTo>
                  <a:pt x="132" y="280"/>
                </a:moveTo>
                <a:cubicBezTo>
                  <a:pt x="132" y="282"/>
                  <a:pt x="130" y="281"/>
                  <a:pt x="132" y="280"/>
                </a:cubicBezTo>
                <a:close/>
                <a:moveTo>
                  <a:pt x="129" y="305"/>
                </a:moveTo>
                <a:cubicBezTo>
                  <a:pt x="131" y="306"/>
                  <a:pt x="130" y="307"/>
                  <a:pt x="129" y="307"/>
                </a:cubicBezTo>
                <a:cubicBezTo>
                  <a:pt x="127" y="309"/>
                  <a:pt x="128" y="305"/>
                  <a:pt x="129" y="305"/>
                </a:cubicBezTo>
                <a:close/>
                <a:moveTo>
                  <a:pt x="118" y="327"/>
                </a:moveTo>
                <a:cubicBezTo>
                  <a:pt x="118" y="327"/>
                  <a:pt x="117" y="327"/>
                  <a:pt x="117" y="326"/>
                </a:cubicBezTo>
                <a:cubicBezTo>
                  <a:pt x="117" y="326"/>
                  <a:pt x="119" y="326"/>
                  <a:pt x="118" y="327"/>
                </a:cubicBezTo>
                <a:close/>
                <a:moveTo>
                  <a:pt x="118" y="336"/>
                </a:moveTo>
                <a:cubicBezTo>
                  <a:pt x="118" y="336"/>
                  <a:pt x="118" y="337"/>
                  <a:pt x="117" y="336"/>
                </a:cubicBezTo>
                <a:cubicBezTo>
                  <a:pt x="117" y="336"/>
                  <a:pt x="119" y="334"/>
                  <a:pt x="118" y="336"/>
                </a:cubicBezTo>
                <a:close/>
                <a:moveTo>
                  <a:pt x="115" y="336"/>
                </a:moveTo>
                <a:cubicBezTo>
                  <a:pt x="116" y="335"/>
                  <a:pt x="114" y="337"/>
                  <a:pt x="115" y="336"/>
                </a:cubicBezTo>
                <a:close/>
                <a:moveTo>
                  <a:pt x="115" y="386"/>
                </a:moveTo>
                <a:cubicBezTo>
                  <a:pt x="116" y="387"/>
                  <a:pt x="115" y="387"/>
                  <a:pt x="114" y="387"/>
                </a:cubicBezTo>
                <a:cubicBezTo>
                  <a:pt x="114" y="388"/>
                  <a:pt x="115" y="386"/>
                  <a:pt x="115" y="386"/>
                </a:cubicBezTo>
                <a:close/>
                <a:moveTo>
                  <a:pt x="114" y="388"/>
                </a:moveTo>
                <a:cubicBezTo>
                  <a:pt x="114" y="389"/>
                  <a:pt x="113" y="389"/>
                  <a:pt x="113" y="390"/>
                </a:cubicBezTo>
                <a:cubicBezTo>
                  <a:pt x="112" y="390"/>
                  <a:pt x="113" y="388"/>
                  <a:pt x="114" y="388"/>
                </a:cubicBezTo>
                <a:close/>
                <a:moveTo>
                  <a:pt x="111" y="394"/>
                </a:moveTo>
                <a:cubicBezTo>
                  <a:pt x="110" y="393"/>
                  <a:pt x="112" y="392"/>
                  <a:pt x="112" y="391"/>
                </a:cubicBezTo>
                <a:cubicBezTo>
                  <a:pt x="113" y="392"/>
                  <a:pt x="111" y="393"/>
                  <a:pt x="111" y="394"/>
                </a:cubicBezTo>
                <a:close/>
                <a:moveTo>
                  <a:pt x="112" y="243"/>
                </a:moveTo>
                <a:cubicBezTo>
                  <a:pt x="111" y="245"/>
                  <a:pt x="111" y="241"/>
                  <a:pt x="112" y="242"/>
                </a:cubicBezTo>
                <a:cubicBezTo>
                  <a:pt x="113" y="242"/>
                  <a:pt x="112" y="243"/>
                  <a:pt x="112" y="243"/>
                </a:cubicBezTo>
                <a:close/>
                <a:moveTo>
                  <a:pt x="115" y="433"/>
                </a:moveTo>
                <a:cubicBezTo>
                  <a:pt x="111" y="434"/>
                  <a:pt x="116" y="429"/>
                  <a:pt x="116" y="432"/>
                </a:cubicBezTo>
                <a:cubicBezTo>
                  <a:pt x="116" y="432"/>
                  <a:pt x="115" y="433"/>
                  <a:pt x="115" y="433"/>
                </a:cubicBezTo>
                <a:close/>
                <a:moveTo>
                  <a:pt x="116" y="435"/>
                </a:moveTo>
                <a:cubicBezTo>
                  <a:pt x="115" y="436"/>
                  <a:pt x="117" y="434"/>
                  <a:pt x="116" y="435"/>
                </a:cubicBezTo>
                <a:close/>
                <a:moveTo>
                  <a:pt x="113" y="417"/>
                </a:moveTo>
                <a:cubicBezTo>
                  <a:pt x="115" y="413"/>
                  <a:pt x="118" y="409"/>
                  <a:pt x="121" y="406"/>
                </a:cubicBezTo>
                <a:cubicBezTo>
                  <a:pt x="119" y="410"/>
                  <a:pt x="117" y="414"/>
                  <a:pt x="113" y="417"/>
                </a:cubicBezTo>
                <a:close/>
                <a:moveTo>
                  <a:pt x="121" y="276"/>
                </a:moveTo>
                <a:cubicBezTo>
                  <a:pt x="121" y="276"/>
                  <a:pt x="121" y="277"/>
                  <a:pt x="121" y="277"/>
                </a:cubicBezTo>
                <a:cubicBezTo>
                  <a:pt x="120" y="276"/>
                  <a:pt x="122" y="275"/>
                  <a:pt x="121" y="276"/>
                </a:cubicBezTo>
                <a:close/>
                <a:moveTo>
                  <a:pt x="122" y="193"/>
                </a:moveTo>
                <a:cubicBezTo>
                  <a:pt x="123" y="193"/>
                  <a:pt x="123" y="195"/>
                  <a:pt x="122" y="195"/>
                </a:cubicBezTo>
                <a:cubicBezTo>
                  <a:pt x="121" y="197"/>
                  <a:pt x="121" y="192"/>
                  <a:pt x="122" y="193"/>
                </a:cubicBezTo>
                <a:close/>
                <a:moveTo>
                  <a:pt x="122" y="472"/>
                </a:moveTo>
                <a:cubicBezTo>
                  <a:pt x="122" y="473"/>
                  <a:pt x="121" y="474"/>
                  <a:pt x="120" y="475"/>
                </a:cubicBezTo>
                <a:cubicBezTo>
                  <a:pt x="120" y="474"/>
                  <a:pt x="121" y="472"/>
                  <a:pt x="122" y="472"/>
                </a:cubicBezTo>
                <a:close/>
                <a:moveTo>
                  <a:pt x="120" y="461"/>
                </a:moveTo>
                <a:cubicBezTo>
                  <a:pt x="121" y="463"/>
                  <a:pt x="118" y="467"/>
                  <a:pt x="116" y="466"/>
                </a:cubicBezTo>
                <a:cubicBezTo>
                  <a:pt x="115" y="464"/>
                  <a:pt x="119" y="462"/>
                  <a:pt x="120" y="461"/>
                </a:cubicBezTo>
                <a:close/>
                <a:moveTo>
                  <a:pt x="111" y="479"/>
                </a:moveTo>
                <a:cubicBezTo>
                  <a:pt x="110" y="481"/>
                  <a:pt x="109" y="480"/>
                  <a:pt x="111" y="479"/>
                </a:cubicBezTo>
                <a:close/>
                <a:moveTo>
                  <a:pt x="110" y="496"/>
                </a:moveTo>
                <a:cubicBezTo>
                  <a:pt x="111" y="495"/>
                  <a:pt x="109" y="497"/>
                  <a:pt x="110" y="496"/>
                </a:cubicBezTo>
                <a:close/>
                <a:moveTo>
                  <a:pt x="107" y="477"/>
                </a:moveTo>
                <a:cubicBezTo>
                  <a:pt x="107" y="476"/>
                  <a:pt x="106" y="478"/>
                  <a:pt x="107" y="477"/>
                </a:cubicBezTo>
                <a:close/>
                <a:moveTo>
                  <a:pt x="109" y="509"/>
                </a:moveTo>
                <a:cubicBezTo>
                  <a:pt x="108" y="510"/>
                  <a:pt x="107" y="509"/>
                  <a:pt x="106" y="508"/>
                </a:cubicBezTo>
                <a:cubicBezTo>
                  <a:pt x="104" y="505"/>
                  <a:pt x="110" y="501"/>
                  <a:pt x="111" y="503"/>
                </a:cubicBezTo>
                <a:cubicBezTo>
                  <a:pt x="114" y="504"/>
                  <a:pt x="111" y="509"/>
                  <a:pt x="109" y="509"/>
                </a:cubicBezTo>
                <a:close/>
                <a:moveTo>
                  <a:pt x="115" y="501"/>
                </a:moveTo>
                <a:cubicBezTo>
                  <a:pt x="115" y="499"/>
                  <a:pt x="117" y="501"/>
                  <a:pt x="115" y="501"/>
                </a:cubicBezTo>
                <a:close/>
                <a:moveTo>
                  <a:pt x="115" y="498"/>
                </a:moveTo>
                <a:cubicBezTo>
                  <a:pt x="115" y="498"/>
                  <a:pt x="115" y="498"/>
                  <a:pt x="115" y="498"/>
                </a:cubicBezTo>
                <a:cubicBezTo>
                  <a:pt x="115" y="499"/>
                  <a:pt x="115" y="499"/>
                  <a:pt x="115" y="499"/>
                </a:cubicBezTo>
                <a:cubicBezTo>
                  <a:pt x="114" y="500"/>
                  <a:pt x="114" y="500"/>
                  <a:pt x="114" y="501"/>
                </a:cubicBezTo>
                <a:cubicBezTo>
                  <a:pt x="114" y="501"/>
                  <a:pt x="114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1"/>
                  <a:pt x="113" y="501"/>
                </a:cubicBezTo>
                <a:cubicBezTo>
                  <a:pt x="114" y="499"/>
                  <a:pt x="115" y="496"/>
                  <a:pt x="116" y="494"/>
                </a:cubicBezTo>
                <a:cubicBezTo>
                  <a:pt x="116" y="495"/>
                  <a:pt x="116" y="497"/>
                  <a:pt x="115" y="498"/>
                </a:cubicBezTo>
                <a:close/>
                <a:moveTo>
                  <a:pt x="115" y="482"/>
                </a:moveTo>
                <a:cubicBezTo>
                  <a:pt x="116" y="481"/>
                  <a:pt x="118" y="481"/>
                  <a:pt x="120" y="480"/>
                </a:cubicBezTo>
                <a:cubicBezTo>
                  <a:pt x="119" y="482"/>
                  <a:pt x="117" y="482"/>
                  <a:pt x="115" y="482"/>
                </a:cubicBezTo>
                <a:close/>
                <a:moveTo>
                  <a:pt x="121" y="500"/>
                </a:moveTo>
                <a:cubicBezTo>
                  <a:pt x="122" y="501"/>
                  <a:pt x="121" y="503"/>
                  <a:pt x="119" y="503"/>
                </a:cubicBezTo>
                <a:cubicBezTo>
                  <a:pt x="117" y="502"/>
                  <a:pt x="119" y="499"/>
                  <a:pt x="121" y="500"/>
                </a:cubicBezTo>
                <a:cubicBezTo>
                  <a:pt x="119" y="498"/>
                  <a:pt x="121" y="493"/>
                  <a:pt x="124" y="494"/>
                </a:cubicBezTo>
                <a:cubicBezTo>
                  <a:pt x="128" y="495"/>
                  <a:pt x="124" y="503"/>
                  <a:pt x="121" y="500"/>
                </a:cubicBezTo>
                <a:close/>
                <a:moveTo>
                  <a:pt x="123" y="425"/>
                </a:moveTo>
                <a:cubicBezTo>
                  <a:pt x="123" y="425"/>
                  <a:pt x="123" y="424"/>
                  <a:pt x="124" y="424"/>
                </a:cubicBezTo>
                <a:cubicBezTo>
                  <a:pt x="124" y="424"/>
                  <a:pt x="123" y="425"/>
                  <a:pt x="123" y="425"/>
                </a:cubicBezTo>
                <a:close/>
                <a:moveTo>
                  <a:pt x="123" y="474"/>
                </a:moveTo>
                <a:cubicBezTo>
                  <a:pt x="123" y="472"/>
                  <a:pt x="125" y="474"/>
                  <a:pt x="123" y="474"/>
                </a:cubicBezTo>
                <a:close/>
                <a:moveTo>
                  <a:pt x="123" y="471"/>
                </a:moveTo>
                <a:cubicBezTo>
                  <a:pt x="125" y="469"/>
                  <a:pt x="122" y="472"/>
                  <a:pt x="123" y="471"/>
                </a:cubicBezTo>
                <a:close/>
                <a:moveTo>
                  <a:pt x="126" y="472"/>
                </a:moveTo>
                <a:cubicBezTo>
                  <a:pt x="126" y="472"/>
                  <a:pt x="126" y="472"/>
                  <a:pt x="126" y="472"/>
                </a:cubicBezTo>
                <a:cubicBezTo>
                  <a:pt x="125" y="472"/>
                  <a:pt x="125" y="473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lose/>
                <a:moveTo>
                  <a:pt x="127" y="431"/>
                </a:moveTo>
                <a:cubicBezTo>
                  <a:pt x="127" y="431"/>
                  <a:pt x="128" y="431"/>
                  <a:pt x="127" y="432"/>
                </a:cubicBezTo>
                <a:cubicBezTo>
                  <a:pt x="127" y="433"/>
                  <a:pt x="126" y="431"/>
                  <a:pt x="127" y="431"/>
                </a:cubicBezTo>
                <a:close/>
                <a:moveTo>
                  <a:pt x="127" y="501"/>
                </a:moveTo>
                <a:cubicBezTo>
                  <a:pt x="127" y="500"/>
                  <a:pt x="127" y="500"/>
                  <a:pt x="127" y="500"/>
                </a:cubicBezTo>
                <a:cubicBezTo>
                  <a:pt x="127" y="498"/>
                  <a:pt x="129" y="501"/>
                  <a:pt x="127" y="501"/>
                </a:cubicBezTo>
                <a:close/>
                <a:moveTo>
                  <a:pt x="128" y="501"/>
                </a:moveTo>
                <a:cubicBezTo>
                  <a:pt x="127" y="502"/>
                  <a:pt x="128" y="499"/>
                  <a:pt x="129" y="500"/>
                </a:cubicBezTo>
                <a:cubicBezTo>
                  <a:pt x="130" y="501"/>
                  <a:pt x="129" y="501"/>
                  <a:pt x="128" y="501"/>
                </a:cubicBezTo>
                <a:close/>
                <a:moveTo>
                  <a:pt x="128" y="456"/>
                </a:moveTo>
                <a:cubicBezTo>
                  <a:pt x="129" y="455"/>
                  <a:pt x="127" y="457"/>
                  <a:pt x="128" y="456"/>
                </a:cubicBezTo>
                <a:close/>
                <a:moveTo>
                  <a:pt x="125" y="401"/>
                </a:moveTo>
                <a:cubicBezTo>
                  <a:pt x="125" y="401"/>
                  <a:pt x="122" y="406"/>
                  <a:pt x="123" y="403"/>
                </a:cubicBezTo>
                <a:cubicBezTo>
                  <a:pt x="123" y="401"/>
                  <a:pt x="128" y="398"/>
                  <a:pt x="130" y="396"/>
                </a:cubicBezTo>
                <a:cubicBezTo>
                  <a:pt x="129" y="398"/>
                  <a:pt x="127" y="399"/>
                  <a:pt x="125" y="401"/>
                </a:cubicBezTo>
                <a:close/>
                <a:moveTo>
                  <a:pt x="131" y="424"/>
                </a:moveTo>
                <a:cubicBezTo>
                  <a:pt x="131" y="424"/>
                  <a:pt x="131" y="425"/>
                  <a:pt x="130" y="426"/>
                </a:cubicBezTo>
                <a:cubicBezTo>
                  <a:pt x="130" y="426"/>
                  <a:pt x="130" y="424"/>
                  <a:pt x="131" y="424"/>
                </a:cubicBezTo>
                <a:close/>
                <a:moveTo>
                  <a:pt x="131" y="503"/>
                </a:moveTo>
                <a:cubicBezTo>
                  <a:pt x="129" y="502"/>
                  <a:pt x="134" y="500"/>
                  <a:pt x="132" y="503"/>
                </a:cubicBezTo>
                <a:cubicBezTo>
                  <a:pt x="132" y="503"/>
                  <a:pt x="131" y="504"/>
                  <a:pt x="131" y="503"/>
                </a:cubicBezTo>
                <a:close/>
                <a:moveTo>
                  <a:pt x="132" y="505"/>
                </a:moveTo>
                <a:cubicBezTo>
                  <a:pt x="132" y="506"/>
                  <a:pt x="133" y="504"/>
                  <a:pt x="132" y="505"/>
                </a:cubicBezTo>
                <a:close/>
                <a:moveTo>
                  <a:pt x="132" y="478"/>
                </a:moveTo>
                <a:cubicBezTo>
                  <a:pt x="130" y="480"/>
                  <a:pt x="130" y="474"/>
                  <a:pt x="132" y="475"/>
                </a:cubicBezTo>
                <a:cubicBezTo>
                  <a:pt x="134" y="476"/>
                  <a:pt x="133" y="478"/>
                  <a:pt x="132" y="478"/>
                </a:cubicBezTo>
                <a:close/>
                <a:moveTo>
                  <a:pt x="138" y="496"/>
                </a:moveTo>
                <a:cubicBezTo>
                  <a:pt x="136" y="498"/>
                  <a:pt x="135" y="493"/>
                  <a:pt x="137" y="494"/>
                </a:cubicBezTo>
                <a:cubicBezTo>
                  <a:pt x="138" y="494"/>
                  <a:pt x="138" y="496"/>
                  <a:pt x="138" y="496"/>
                </a:cubicBezTo>
                <a:close/>
                <a:moveTo>
                  <a:pt x="140" y="501"/>
                </a:moveTo>
                <a:cubicBezTo>
                  <a:pt x="141" y="500"/>
                  <a:pt x="141" y="502"/>
                  <a:pt x="140" y="501"/>
                </a:cubicBezTo>
                <a:close/>
                <a:moveTo>
                  <a:pt x="139" y="469"/>
                </a:moveTo>
                <a:cubicBezTo>
                  <a:pt x="138" y="471"/>
                  <a:pt x="136" y="474"/>
                  <a:pt x="135" y="475"/>
                </a:cubicBezTo>
                <a:cubicBezTo>
                  <a:pt x="130" y="476"/>
                  <a:pt x="139" y="468"/>
                  <a:pt x="141" y="467"/>
                </a:cubicBezTo>
                <a:cubicBezTo>
                  <a:pt x="138" y="469"/>
                  <a:pt x="141" y="465"/>
                  <a:pt x="142" y="466"/>
                </a:cubicBezTo>
                <a:cubicBezTo>
                  <a:pt x="143" y="467"/>
                  <a:pt x="140" y="469"/>
                  <a:pt x="139" y="469"/>
                </a:cubicBezTo>
                <a:close/>
                <a:moveTo>
                  <a:pt x="143" y="510"/>
                </a:moveTo>
                <a:cubicBezTo>
                  <a:pt x="142" y="510"/>
                  <a:pt x="142" y="511"/>
                  <a:pt x="142" y="511"/>
                </a:cubicBezTo>
                <a:cubicBezTo>
                  <a:pt x="143" y="510"/>
                  <a:pt x="143" y="509"/>
                  <a:pt x="143" y="510"/>
                </a:cubicBezTo>
                <a:close/>
                <a:moveTo>
                  <a:pt x="143" y="484"/>
                </a:moveTo>
                <a:cubicBezTo>
                  <a:pt x="143" y="484"/>
                  <a:pt x="144" y="483"/>
                  <a:pt x="144" y="483"/>
                </a:cubicBezTo>
                <a:cubicBezTo>
                  <a:pt x="144" y="483"/>
                  <a:pt x="144" y="484"/>
                  <a:pt x="143" y="484"/>
                </a:cubicBezTo>
                <a:close/>
                <a:moveTo>
                  <a:pt x="144" y="494"/>
                </a:moveTo>
                <a:cubicBezTo>
                  <a:pt x="144" y="493"/>
                  <a:pt x="147" y="493"/>
                  <a:pt x="147" y="494"/>
                </a:cubicBezTo>
                <a:cubicBezTo>
                  <a:pt x="147" y="495"/>
                  <a:pt x="144" y="497"/>
                  <a:pt x="144" y="494"/>
                </a:cubicBezTo>
                <a:close/>
                <a:moveTo>
                  <a:pt x="145" y="517"/>
                </a:moveTo>
                <a:cubicBezTo>
                  <a:pt x="144" y="515"/>
                  <a:pt x="148" y="516"/>
                  <a:pt x="148" y="517"/>
                </a:cubicBezTo>
                <a:cubicBezTo>
                  <a:pt x="147" y="518"/>
                  <a:pt x="145" y="519"/>
                  <a:pt x="145" y="517"/>
                </a:cubicBezTo>
                <a:close/>
                <a:moveTo>
                  <a:pt x="142" y="481"/>
                </a:moveTo>
                <a:cubicBezTo>
                  <a:pt x="144" y="479"/>
                  <a:pt x="146" y="477"/>
                  <a:pt x="149" y="476"/>
                </a:cubicBezTo>
                <a:cubicBezTo>
                  <a:pt x="147" y="478"/>
                  <a:pt x="145" y="480"/>
                  <a:pt x="142" y="481"/>
                </a:cubicBezTo>
                <a:close/>
                <a:moveTo>
                  <a:pt x="149" y="515"/>
                </a:moveTo>
                <a:cubicBezTo>
                  <a:pt x="149" y="515"/>
                  <a:pt x="147" y="515"/>
                  <a:pt x="148" y="514"/>
                </a:cubicBezTo>
                <a:cubicBezTo>
                  <a:pt x="148" y="514"/>
                  <a:pt x="150" y="515"/>
                  <a:pt x="149" y="515"/>
                </a:cubicBezTo>
                <a:close/>
                <a:moveTo>
                  <a:pt x="150" y="472"/>
                </a:moveTo>
                <a:cubicBezTo>
                  <a:pt x="149" y="472"/>
                  <a:pt x="150" y="470"/>
                  <a:pt x="150" y="470"/>
                </a:cubicBezTo>
                <a:cubicBezTo>
                  <a:pt x="151" y="471"/>
                  <a:pt x="149" y="472"/>
                  <a:pt x="150" y="472"/>
                </a:cubicBezTo>
                <a:close/>
                <a:moveTo>
                  <a:pt x="150" y="468"/>
                </a:moveTo>
                <a:cubicBezTo>
                  <a:pt x="150" y="468"/>
                  <a:pt x="150" y="468"/>
                  <a:pt x="151" y="468"/>
                </a:cubicBezTo>
                <a:cubicBezTo>
                  <a:pt x="151" y="468"/>
                  <a:pt x="151" y="467"/>
                  <a:pt x="151" y="467"/>
                </a:cubicBezTo>
                <a:cubicBezTo>
                  <a:pt x="151" y="467"/>
                  <a:pt x="151" y="467"/>
                  <a:pt x="151" y="467"/>
                </a:cubicBezTo>
                <a:cubicBezTo>
                  <a:pt x="151" y="468"/>
                  <a:pt x="151" y="468"/>
                  <a:pt x="151" y="468"/>
                </a:cubicBezTo>
                <a:cubicBezTo>
                  <a:pt x="150" y="468"/>
                  <a:pt x="150" y="468"/>
                  <a:pt x="150" y="468"/>
                </a:cubicBezTo>
                <a:close/>
                <a:moveTo>
                  <a:pt x="152" y="551"/>
                </a:moveTo>
                <a:cubicBezTo>
                  <a:pt x="151" y="551"/>
                  <a:pt x="151" y="551"/>
                  <a:pt x="151" y="551"/>
                </a:cubicBezTo>
                <a:cubicBezTo>
                  <a:pt x="150" y="550"/>
                  <a:pt x="153" y="549"/>
                  <a:pt x="152" y="551"/>
                </a:cubicBezTo>
                <a:close/>
                <a:moveTo>
                  <a:pt x="152" y="540"/>
                </a:moveTo>
                <a:cubicBezTo>
                  <a:pt x="150" y="541"/>
                  <a:pt x="150" y="536"/>
                  <a:pt x="153" y="537"/>
                </a:cubicBezTo>
                <a:cubicBezTo>
                  <a:pt x="154" y="537"/>
                  <a:pt x="153" y="539"/>
                  <a:pt x="152" y="540"/>
                </a:cubicBezTo>
                <a:close/>
                <a:moveTo>
                  <a:pt x="154" y="484"/>
                </a:moveTo>
                <a:cubicBezTo>
                  <a:pt x="153" y="483"/>
                  <a:pt x="155" y="483"/>
                  <a:pt x="155" y="484"/>
                </a:cubicBezTo>
                <a:cubicBezTo>
                  <a:pt x="155" y="484"/>
                  <a:pt x="154" y="485"/>
                  <a:pt x="154" y="484"/>
                </a:cubicBezTo>
                <a:close/>
                <a:moveTo>
                  <a:pt x="158" y="546"/>
                </a:moveTo>
                <a:cubicBezTo>
                  <a:pt x="158" y="546"/>
                  <a:pt x="158" y="547"/>
                  <a:pt x="158" y="547"/>
                </a:cubicBezTo>
                <a:cubicBezTo>
                  <a:pt x="158" y="547"/>
                  <a:pt x="158" y="547"/>
                  <a:pt x="158" y="547"/>
                </a:cubicBezTo>
                <a:cubicBezTo>
                  <a:pt x="157" y="547"/>
                  <a:pt x="155" y="548"/>
                  <a:pt x="154" y="548"/>
                </a:cubicBezTo>
                <a:cubicBezTo>
                  <a:pt x="155" y="546"/>
                  <a:pt x="158" y="546"/>
                  <a:pt x="160" y="545"/>
                </a:cubicBezTo>
                <a:cubicBezTo>
                  <a:pt x="160" y="545"/>
                  <a:pt x="159" y="546"/>
                  <a:pt x="158" y="546"/>
                </a:cubicBezTo>
                <a:close/>
                <a:moveTo>
                  <a:pt x="155" y="544"/>
                </a:moveTo>
                <a:cubicBezTo>
                  <a:pt x="155" y="544"/>
                  <a:pt x="156" y="543"/>
                  <a:pt x="156" y="544"/>
                </a:cubicBezTo>
                <a:cubicBezTo>
                  <a:pt x="156" y="544"/>
                  <a:pt x="155" y="546"/>
                  <a:pt x="155" y="544"/>
                </a:cubicBezTo>
                <a:close/>
                <a:moveTo>
                  <a:pt x="160" y="521"/>
                </a:moveTo>
                <a:cubicBezTo>
                  <a:pt x="151" y="525"/>
                  <a:pt x="154" y="511"/>
                  <a:pt x="161" y="512"/>
                </a:cubicBezTo>
                <a:cubicBezTo>
                  <a:pt x="165" y="513"/>
                  <a:pt x="162" y="520"/>
                  <a:pt x="160" y="521"/>
                </a:cubicBezTo>
                <a:close/>
                <a:moveTo>
                  <a:pt x="162" y="544"/>
                </a:moveTo>
                <a:cubicBezTo>
                  <a:pt x="162" y="545"/>
                  <a:pt x="161" y="545"/>
                  <a:pt x="161" y="545"/>
                </a:cubicBezTo>
                <a:cubicBezTo>
                  <a:pt x="160" y="544"/>
                  <a:pt x="165" y="543"/>
                  <a:pt x="162" y="544"/>
                </a:cubicBezTo>
                <a:close/>
                <a:moveTo>
                  <a:pt x="168" y="525"/>
                </a:moveTo>
                <a:cubicBezTo>
                  <a:pt x="168" y="525"/>
                  <a:pt x="169" y="525"/>
                  <a:pt x="169" y="525"/>
                </a:cubicBezTo>
                <a:cubicBezTo>
                  <a:pt x="169" y="526"/>
                  <a:pt x="168" y="526"/>
                  <a:pt x="168" y="525"/>
                </a:cubicBezTo>
                <a:close/>
                <a:moveTo>
                  <a:pt x="170" y="537"/>
                </a:moveTo>
                <a:cubicBezTo>
                  <a:pt x="168" y="538"/>
                  <a:pt x="168" y="535"/>
                  <a:pt x="170" y="535"/>
                </a:cubicBezTo>
                <a:cubicBezTo>
                  <a:pt x="171" y="536"/>
                  <a:pt x="170" y="536"/>
                  <a:pt x="170" y="537"/>
                </a:cubicBezTo>
                <a:close/>
                <a:moveTo>
                  <a:pt x="172" y="521"/>
                </a:moveTo>
                <a:cubicBezTo>
                  <a:pt x="170" y="522"/>
                  <a:pt x="165" y="524"/>
                  <a:pt x="161" y="525"/>
                </a:cubicBezTo>
                <a:cubicBezTo>
                  <a:pt x="164" y="523"/>
                  <a:pt x="170" y="520"/>
                  <a:pt x="173" y="519"/>
                </a:cubicBezTo>
                <a:cubicBezTo>
                  <a:pt x="172" y="519"/>
                  <a:pt x="175" y="519"/>
                  <a:pt x="175" y="519"/>
                </a:cubicBezTo>
                <a:cubicBezTo>
                  <a:pt x="175" y="520"/>
                  <a:pt x="173" y="520"/>
                  <a:pt x="172" y="521"/>
                </a:cubicBezTo>
                <a:close/>
                <a:moveTo>
                  <a:pt x="176" y="546"/>
                </a:moveTo>
                <a:cubicBezTo>
                  <a:pt x="175" y="547"/>
                  <a:pt x="175" y="547"/>
                  <a:pt x="175" y="546"/>
                </a:cubicBezTo>
                <a:cubicBezTo>
                  <a:pt x="174" y="545"/>
                  <a:pt x="177" y="545"/>
                  <a:pt x="176" y="546"/>
                </a:cubicBezTo>
                <a:close/>
                <a:moveTo>
                  <a:pt x="174" y="497"/>
                </a:moveTo>
                <a:cubicBezTo>
                  <a:pt x="174" y="496"/>
                  <a:pt x="176" y="497"/>
                  <a:pt x="176" y="497"/>
                </a:cubicBezTo>
                <a:cubicBezTo>
                  <a:pt x="176" y="498"/>
                  <a:pt x="174" y="499"/>
                  <a:pt x="174" y="497"/>
                </a:cubicBezTo>
                <a:close/>
                <a:moveTo>
                  <a:pt x="176" y="431"/>
                </a:moveTo>
                <a:cubicBezTo>
                  <a:pt x="176" y="431"/>
                  <a:pt x="176" y="431"/>
                  <a:pt x="176" y="431"/>
                </a:cubicBezTo>
                <a:cubicBezTo>
                  <a:pt x="175" y="433"/>
                  <a:pt x="176" y="429"/>
                  <a:pt x="176" y="431"/>
                </a:cubicBezTo>
                <a:close/>
                <a:moveTo>
                  <a:pt x="176" y="487"/>
                </a:moveTo>
                <a:cubicBezTo>
                  <a:pt x="176" y="485"/>
                  <a:pt x="181" y="484"/>
                  <a:pt x="181" y="486"/>
                </a:cubicBezTo>
                <a:cubicBezTo>
                  <a:pt x="182" y="489"/>
                  <a:pt x="176" y="491"/>
                  <a:pt x="176" y="487"/>
                </a:cubicBezTo>
                <a:close/>
                <a:moveTo>
                  <a:pt x="180" y="543"/>
                </a:moveTo>
                <a:cubicBezTo>
                  <a:pt x="180" y="543"/>
                  <a:pt x="181" y="542"/>
                  <a:pt x="182" y="543"/>
                </a:cubicBezTo>
                <a:cubicBezTo>
                  <a:pt x="182" y="544"/>
                  <a:pt x="180" y="544"/>
                  <a:pt x="180" y="543"/>
                </a:cubicBezTo>
                <a:close/>
                <a:moveTo>
                  <a:pt x="182" y="538"/>
                </a:moveTo>
                <a:cubicBezTo>
                  <a:pt x="181" y="539"/>
                  <a:pt x="182" y="536"/>
                  <a:pt x="183" y="537"/>
                </a:cubicBezTo>
                <a:cubicBezTo>
                  <a:pt x="183" y="537"/>
                  <a:pt x="183" y="538"/>
                  <a:pt x="182" y="538"/>
                </a:cubicBezTo>
                <a:close/>
                <a:moveTo>
                  <a:pt x="183" y="485"/>
                </a:moveTo>
                <a:cubicBezTo>
                  <a:pt x="183" y="484"/>
                  <a:pt x="181" y="483"/>
                  <a:pt x="181" y="482"/>
                </a:cubicBezTo>
                <a:cubicBezTo>
                  <a:pt x="182" y="480"/>
                  <a:pt x="183" y="482"/>
                  <a:pt x="184" y="481"/>
                </a:cubicBezTo>
                <a:cubicBezTo>
                  <a:pt x="186" y="479"/>
                  <a:pt x="186" y="475"/>
                  <a:pt x="189" y="472"/>
                </a:cubicBezTo>
                <a:cubicBezTo>
                  <a:pt x="188" y="476"/>
                  <a:pt x="185" y="481"/>
                  <a:pt x="183" y="485"/>
                </a:cubicBezTo>
                <a:close/>
                <a:moveTo>
                  <a:pt x="186" y="544"/>
                </a:moveTo>
                <a:cubicBezTo>
                  <a:pt x="184" y="546"/>
                  <a:pt x="184" y="543"/>
                  <a:pt x="186" y="544"/>
                </a:cubicBezTo>
                <a:close/>
                <a:moveTo>
                  <a:pt x="185" y="507"/>
                </a:moveTo>
                <a:cubicBezTo>
                  <a:pt x="183" y="504"/>
                  <a:pt x="190" y="504"/>
                  <a:pt x="187" y="507"/>
                </a:cubicBezTo>
                <a:cubicBezTo>
                  <a:pt x="187" y="507"/>
                  <a:pt x="186" y="507"/>
                  <a:pt x="185" y="507"/>
                </a:cubicBezTo>
                <a:close/>
                <a:moveTo>
                  <a:pt x="189" y="542"/>
                </a:moveTo>
                <a:cubicBezTo>
                  <a:pt x="189" y="542"/>
                  <a:pt x="190" y="541"/>
                  <a:pt x="190" y="541"/>
                </a:cubicBezTo>
                <a:cubicBezTo>
                  <a:pt x="191" y="541"/>
                  <a:pt x="190" y="541"/>
                  <a:pt x="189" y="542"/>
                </a:cubicBezTo>
                <a:close/>
                <a:moveTo>
                  <a:pt x="193" y="537"/>
                </a:moveTo>
                <a:cubicBezTo>
                  <a:pt x="193" y="537"/>
                  <a:pt x="193" y="538"/>
                  <a:pt x="193" y="538"/>
                </a:cubicBezTo>
                <a:cubicBezTo>
                  <a:pt x="191" y="539"/>
                  <a:pt x="193" y="535"/>
                  <a:pt x="193" y="537"/>
                </a:cubicBezTo>
                <a:close/>
                <a:moveTo>
                  <a:pt x="188" y="542"/>
                </a:moveTo>
                <a:cubicBezTo>
                  <a:pt x="188" y="540"/>
                  <a:pt x="191" y="536"/>
                  <a:pt x="193" y="535"/>
                </a:cubicBezTo>
                <a:cubicBezTo>
                  <a:pt x="191" y="537"/>
                  <a:pt x="190" y="540"/>
                  <a:pt x="188" y="542"/>
                </a:cubicBezTo>
                <a:close/>
                <a:moveTo>
                  <a:pt x="190" y="499"/>
                </a:moveTo>
                <a:cubicBezTo>
                  <a:pt x="191" y="498"/>
                  <a:pt x="192" y="497"/>
                  <a:pt x="194" y="497"/>
                </a:cubicBezTo>
                <a:cubicBezTo>
                  <a:pt x="193" y="498"/>
                  <a:pt x="192" y="499"/>
                  <a:pt x="190" y="499"/>
                </a:cubicBezTo>
                <a:close/>
                <a:moveTo>
                  <a:pt x="194" y="533"/>
                </a:moveTo>
                <a:cubicBezTo>
                  <a:pt x="193" y="533"/>
                  <a:pt x="195" y="531"/>
                  <a:pt x="195" y="531"/>
                </a:cubicBezTo>
                <a:cubicBezTo>
                  <a:pt x="196" y="531"/>
                  <a:pt x="194" y="533"/>
                  <a:pt x="194" y="533"/>
                </a:cubicBezTo>
                <a:close/>
                <a:moveTo>
                  <a:pt x="194" y="497"/>
                </a:moveTo>
                <a:cubicBezTo>
                  <a:pt x="194" y="497"/>
                  <a:pt x="194" y="497"/>
                  <a:pt x="194" y="497"/>
                </a:cubicBezTo>
                <a:close/>
                <a:moveTo>
                  <a:pt x="195" y="497"/>
                </a:move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7"/>
                </a:cubicBezTo>
                <a:close/>
                <a:moveTo>
                  <a:pt x="189" y="398"/>
                </a:moveTo>
                <a:cubicBezTo>
                  <a:pt x="192" y="394"/>
                  <a:pt x="196" y="392"/>
                  <a:pt x="201" y="389"/>
                </a:cubicBezTo>
                <a:cubicBezTo>
                  <a:pt x="198" y="392"/>
                  <a:pt x="192" y="395"/>
                  <a:pt x="189" y="398"/>
                </a:cubicBezTo>
                <a:close/>
                <a:moveTo>
                  <a:pt x="196" y="530"/>
                </a:moveTo>
                <a:cubicBezTo>
                  <a:pt x="196" y="531"/>
                  <a:pt x="195" y="529"/>
                  <a:pt x="196" y="530"/>
                </a:cubicBezTo>
                <a:close/>
                <a:moveTo>
                  <a:pt x="198" y="514"/>
                </a:moveTo>
                <a:cubicBezTo>
                  <a:pt x="198" y="514"/>
                  <a:pt x="198" y="515"/>
                  <a:pt x="197" y="515"/>
                </a:cubicBezTo>
                <a:cubicBezTo>
                  <a:pt x="196" y="516"/>
                  <a:pt x="197" y="513"/>
                  <a:pt x="198" y="514"/>
                </a:cubicBezTo>
                <a:close/>
                <a:moveTo>
                  <a:pt x="198" y="558"/>
                </a:moveTo>
                <a:cubicBezTo>
                  <a:pt x="198" y="556"/>
                  <a:pt x="204" y="555"/>
                  <a:pt x="204" y="558"/>
                </a:cubicBezTo>
                <a:cubicBezTo>
                  <a:pt x="205" y="561"/>
                  <a:pt x="197" y="562"/>
                  <a:pt x="198" y="558"/>
                </a:cubicBezTo>
                <a:close/>
                <a:moveTo>
                  <a:pt x="204" y="554"/>
                </a:moveTo>
                <a:cubicBezTo>
                  <a:pt x="205" y="554"/>
                  <a:pt x="206" y="553"/>
                  <a:pt x="207" y="553"/>
                </a:cubicBezTo>
                <a:cubicBezTo>
                  <a:pt x="207" y="554"/>
                  <a:pt x="204" y="555"/>
                  <a:pt x="204" y="554"/>
                </a:cubicBezTo>
                <a:close/>
                <a:moveTo>
                  <a:pt x="203" y="542"/>
                </a:moveTo>
                <a:cubicBezTo>
                  <a:pt x="200" y="539"/>
                  <a:pt x="203" y="534"/>
                  <a:pt x="205" y="533"/>
                </a:cubicBezTo>
                <a:cubicBezTo>
                  <a:pt x="207" y="532"/>
                  <a:pt x="210" y="533"/>
                  <a:pt x="211" y="532"/>
                </a:cubicBezTo>
                <a:cubicBezTo>
                  <a:pt x="215" y="532"/>
                  <a:pt x="213" y="532"/>
                  <a:pt x="215" y="534"/>
                </a:cubicBezTo>
                <a:cubicBezTo>
                  <a:pt x="217" y="537"/>
                  <a:pt x="216" y="541"/>
                  <a:pt x="213" y="540"/>
                </a:cubicBezTo>
                <a:cubicBezTo>
                  <a:pt x="214" y="535"/>
                  <a:pt x="211" y="542"/>
                  <a:pt x="210" y="543"/>
                </a:cubicBezTo>
                <a:cubicBezTo>
                  <a:pt x="209" y="543"/>
                  <a:pt x="204" y="543"/>
                  <a:pt x="203" y="542"/>
                </a:cubicBezTo>
                <a:close/>
                <a:moveTo>
                  <a:pt x="213" y="545"/>
                </a:moveTo>
                <a:cubicBezTo>
                  <a:pt x="213" y="544"/>
                  <a:pt x="216" y="545"/>
                  <a:pt x="215" y="546"/>
                </a:cubicBezTo>
                <a:cubicBezTo>
                  <a:pt x="215" y="546"/>
                  <a:pt x="214" y="546"/>
                  <a:pt x="213" y="545"/>
                </a:cubicBezTo>
                <a:close/>
                <a:moveTo>
                  <a:pt x="215" y="609"/>
                </a:moveTo>
                <a:cubicBezTo>
                  <a:pt x="215" y="609"/>
                  <a:pt x="215" y="609"/>
                  <a:pt x="215" y="609"/>
                </a:cubicBezTo>
                <a:cubicBezTo>
                  <a:pt x="214" y="607"/>
                  <a:pt x="217" y="611"/>
                  <a:pt x="215" y="609"/>
                </a:cubicBezTo>
                <a:close/>
                <a:moveTo>
                  <a:pt x="214" y="557"/>
                </a:moveTo>
                <a:cubicBezTo>
                  <a:pt x="214" y="556"/>
                  <a:pt x="216" y="555"/>
                  <a:pt x="217" y="556"/>
                </a:cubicBezTo>
                <a:cubicBezTo>
                  <a:pt x="217" y="558"/>
                  <a:pt x="214" y="557"/>
                  <a:pt x="214" y="557"/>
                </a:cubicBezTo>
                <a:close/>
                <a:moveTo>
                  <a:pt x="209" y="544"/>
                </a:moveTo>
                <a:cubicBezTo>
                  <a:pt x="210" y="544"/>
                  <a:pt x="217" y="540"/>
                  <a:pt x="217" y="542"/>
                </a:cubicBezTo>
                <a:cubicBezTo>
                  <a:pt x="217" y="543"/>
                  <a:pt x="211" y="545"/>
                  <a:pt x="209" y="544"/>
                </a:cubicBezTo>
                <a:close/>
                <a:moveTo>
                  <a:pt x="216" y="527"/>
                </a:moveTo>
                <a:cubicBezTo>
                  <a:pt x="216" y="526"/>
                  <a:pt x="216" y="526"/>
                  <a:pt x="216" y="526"/>
                </a:cubicBezTo>
                <a:cubicBezTo>
                  <a:pt x="217" y="525"/>
                  <a:pt x="217" y="527"/>
                  <a:pt x="216" y="527"/>
                </a:cubicBezTo>
                <a:close/>
                <a:moveTo>
                  <a:pt x="217" y="615"/>
                </a:moveTo>
                <a:cubicBezTo>
                  <a:pt x="216" y="614"/>
                  <a:pt x="218" y="613"/>
                  <a:pt x="218" y="614"/>
                </a:cubicBezTo>
                <a:cubicBezTo>
                  <a:pt x="218" y="614"/>
                  <a:pt x="217" y="614"/>
                  <a:pt x="217" y="615"/>
                </a:cubicBezTo>
                <a:close/>
                <a:moveTo>
                  <a:pt x="219" y="542"/>
                </a:moveTo>
                <a:cubicBezTo>
                  <a:pt x="216" y="544"/>
                  <a:pt x="217" y="538"/>
                  <a:pt x="219" y="539"/>
                </a:cubicBezTo>
                <a:cubicBezTo>
                  <a:pt x="221" y="540"/>
                  <a:pt x="219" y="542"/>
                  <a:pt x="219" y="542"/>
                </a:cubicBezTo>
                <a:close/>
                <a:moveTo>
                  <a:pt x="219" y="567"/>
                </a:moveTo>
                <a:cubicBezTo>
                  <a:pt x="219" y="566"/>
                  <a:pt x="220" y="566"/>
                  <a:pt x="221" y="566"/>
                </a:cubicBezTo>
                <a:cubicBezTo>
                  <a:pt x="220" y="567"/>
                  <a:pt x="220" y="567"/>
                  <a:pt x="219" y="567"/>
                </a:cubicBezTo>
                <a:close/>
                <a:moveTo>
                  <a:pt x="222" y="589"/>
                </a:moveTo>
                <a:cubicBezTo>
                  <a:pt x="222" y="589"/>
                  <a:pt x="221" y="589"/>
                  <a:pt x="220" y="589"/>
                </a:cubicBezTo>
                <a:cubicBezTo>
                  <a:pt x="220" y="589"/>
                  <a:pt x="222" y="588"/>
                  <a:pt x="222" y="589"/>
                </a:cubicBezTo>
                <a:close/>
                <a:moveTo>
                  <a:pt x="221" y="615"/>
                </a:moveTo>
                <a:cubicBezTo>
                  <a:pt x="221" y="614"/>
                  <a:pt x="222" y="614"/>
                  <a:pt x="223" y="614"/>
                </a:cubicBezTo>
                <a:cubicBezTo>
                  <a:pt x="222" y="615"/>
                  <a:pt x="221" y="614"/>
                  <a:pt x="221" y="615"/>
                </a:cubicBezTo>
                <a:close/>
                <a:moveTo>
                  <a:pt x="223" y="565"/>
                </a:moveTo>
                <a:cubicBezTo>
                  <a:pt x="223" y="565"/>
                  <a:pt x="223" y="565"/>
                  <a:pt x="223" y="566"/>
                </a:cubicBezTo>
                <a:cubicBezTo>
                  <a:pt x="223" y="566"/>
                  <a:pt x="223" y="566"/>
                  <a:pt x="223" y="566"/>
                </a:cubicBezTo>
                <a:cubicBezTo>
                  <a:pt x="223" y="567"/>
                  <a:pt x="223" y="566"/>
                  <a:pt x="223" y="566"/>
                </a:cubicBezTo>
                <a:cubicBezTo>
                  <a:pt x="223" y="565"/>
                  <a:pt x="223" y="565"/>
                  <a:pt x="223" y="565"/>
                </a:cubicBezTo>
                <a:close/>
                <a:moveTo>
                  <a:pt x="223" y="571"/>
                </a:moveTo>
                <a:cubicBezTo>
                  <a:pt x="223" y="569"/>
                  <a:pt x="227" y="570"/>
                  <a:pt x="226" y="571"/>
                </a:cubicBezTo>
                <a:cubicBezTo>
                  <a:pt x="226" y="572"/>
                  <a:pt x="223" y="572"/>
                  <a:pt x="223" y="571"/>
                </a:cubicBezTo>
                <a:close/>
                <a:moveTo>
                  <a:pt x="226" y="582"/>
                </a:moveTo>
                <a:cubicBezTo>
                  <a:pt x="226" y="581"/>
                  <a:pt x="226" y="583"/>
                  <a:pt x="226" y="582"/>
                </a:cubicBezTo>
                <a:close/>
                <a:moveTo>
                  <a:pt x="227" y="608"/>
                </a:moveTo>
                <a:cubicBezTo>
                  <a:pt x="227" y="608"/>
                  <a:pt x="225" y="608"/>
                  <a:pt x="224" y="607"/>
                </a:cubicBezTo>
                <a:cubicBezTo>
                  <a:pt x="224" y="606"/>
                  <a:pt x="228" y="607"/>
                  <a:pt x="227" y="608"/>
                </a:cubicBezTo>
                <a:close/>
                <a:moveTo>
                  <a:pt x="226" y="578"/>
                </a:moveTo>
                <a:cubicBezTo>
                  <a:pt x="226" y="578"/>
                  <a:pt x="227" y="577"/>
                  <a:pt x="227" y="578"/>
                </a:cubicBezTo>
                <a:cubicBezTo>
                  <a:pt x="227" y="578"/>
                  <a:pt x="226" y="578"/>
                  <a:pt x="226" y="578"/>
                </a:cubicBezTo>
                <a:close/>
                <a:moveTo>
                  <a:pt x="236" y="538"/>
                </a:moveTo>
                <a:cubicBezTo>
                  <a:pt x="237" y="537"/>
                  <a:pt x="238" y="536"/>
                  <a:pt x="239" y="537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40" y="538"/>
                  <a:pt x="239" y="539"/>
                  <a:pt x="239" y="539"/>
                </a:cubicBezTo>
                <a:cubicBezTo>
                  <a:pt x="238" y="540"/>
                  <a:pt x="237" y="539"/>
                  <a:pt x="237" y="539"/>
                </a:cubicBezTo>
                <a:cubicBezTo>
                  <a:pt x="236" y="539"/>
                  <a:pt x="236" y="538"/>
                  <a:pt x="235" y="539"/>
                </a:cubicBezTo>
                <a:cubicBezTo>
                  <a:pt x="234" y="539"/>
                  <a:pt x="228" y="544"/>
                  <a:pt x="227" y="543"/>
                </a:cubicBezTo>
                <a:cubicBezTo>
                  <a:pt x="226" y="541"/>
                  <a:pt x="235" y="538"/>
                  <a:pt x="236" y="538"/>
                </a:cubicBezTo>
                <a:close/>
                <a:moveTo>
                  <a:pt x="235" y="592"/>
                </a:moveTo>
                <a:cubicBezTo>
                  <a:pt x="235" y="592"/>
                  <a:pt x="234" y="593"/>
                  <a:pt x="234" y="592"/>
                </a:cubicBezTo>
                <a:cubicBezTo>
                  <a:pt x="233" y="592"/>
                  <a:pt x="235" y="591"/>
                  <a:pt x="235" y="592"/>
                </a:cubicBezTo>
                <a:close/>
                <a:moveTo>
                  <a:pt x="233" y="585"/>
                </a:moveTo>
                <a:cubicBezTo>
                  <a:pt x="233" y="585"/>
                  <a:pt x="234" y="583"/>
                  <a:pt x="235" y="584"/>
                </a:cubicBezTo>
                <a:cubicBezTo>
                  <a:pt x="235" y="585"/>
                  <a:pt x="233" y="586"/>
                  <a:pt x="233" y="585"/>
                </a:cubicBezTo>
                <a:close/>
                <a:moveTo>
                  <a:pt x="228" y="573"/>
                </a:moveTo>
                <a:cubicBezTo>
                  <a:pt x="228" y="571"/>
                  <a:pt x="230" y="572"/>
                  <a:pt x="228" y="573"/>
                </a:cubicBezTo>
                <a:close/>
                <a:moveTo>
                  <a:pt x="229" y="580"/>
                </a:moveTo>
                <a:cubicBezTo>
                  <a:pt x="229" y="581"/>
                  <a:pt x="228" y="581"/>
                  <a:pt x="228" y="581"/>
                </a:cubicBezTo>
                <a:cubicBezTo>
                  <a:pt x="227" y="579"/>
                  <a:pt x="230" y="579"/>
                  <a:pt x="229" y="580"/>
                </a:cubicBezTo>
                <a:close/>
                <a:moveTo>
                  <a:pt x="231" y="599"/>
                </a:moveTo>
                <a:cubicBezTo>
                  <a:pt x="231" y="599"/>
                  <a:pt x="233" y="598"/>
                  <a:pt x="233" y="599"/>
                </a:cubicBezTo>
                <a:cubicBezTo>
                  <a:pt x="233" y="600"/>
                  <a:pt x="231" y="601"/>
                  <a:pt x="231" y="599"/>
                </a:cubicBezTo>
                <a:close/>
                <a:moveTo>
                  <a:pt x="236" y="624"/>
                </a:moveTo>
                <a:cubicBezTo>
                  <a:pt x="236" y="624"/>
                  <a:pt x="237" y="623"/>
                  <a:pt x="237" y="623"/>
                </a:cubicBezTo>
                <a:cubicBezTo>
                  <a:pt x="237" y="623"/>
                  <a:pt x="237" y="624"/>
                  <a:pt x="236" y="624"/>
                </a:cubicBezTo>
                <a:close/>
                <a:moveTo>
                  <a:pt x="232" y="618"/>
                </a:moveTo>
                <a:cubicBezTo>
                  <a:pt x="233" y="616"/>
                  <a:pt x="237" y="616"/>
                  <a:pt x="239" y="615"/>
                </a:cubicBezTo>
                <a:cubicBezTo>
                  <a:pt x="237" y="617"/>
                  <a:pt x="234" y="617"/>
                  <a:pt x="232" y="618"/>
                </a:cubicBezTo>
                <a:close/>
                <a:moveTo>
                  <a:pt x="238" y="665"/>
                </a:moveTo>
                <a:cubicBezTo>
                  <a:pt x="238" y="664"/>
                  <a:pt x="239" y="665"/>
                  <a:pt x="240" y="665"/>
                </a:cubicBezTo>
                <a:cubicBezTo>
                  <a:pt x="240" y="666"/>
                  <a:pt x="239" y="665"/>
                  <a:pt x="238" y="665"/>
                </a:cubicBezTo>
                <a:close/>
                <a:moveTo>
                  <a:pt x="240" y="664"/>
                </a:moveTo>
                <a:cubicBezTo>
                  <a:pt x="240" y="664"/>
                  <a:pt x="239" y="663"/>
                  <a:pt x="239" y="663"/>
                </a:cubicBezTo>
                <a:cubicBezTo>
                  <a:pt x="239" y="662"/>
                  <a:pt x="241" y="663"/>
                  <a:pt x="240" y="664"/>
                </a:cubicBezTo>
                <a:close/>
                <a:moveTo>
                  <a:pt x="251" y="679"/>
                </a:moveTo>
                <a:cubicBezTo>
                  <a:pt x="249" y="681"/>
                  <a:pt x="247" y="678"/>
                  <a:pt x="244" y="678"/>
                </a:cubicBezTo>
                <a:cubicBezTo>
                  <a:pt x="242" y="678"/>
                  <a:pt x="238" y="679"/>
                  <a:pt x="237" y="677"/>
                </a:cubicBezTo>
                <a:cubicBezTo>
                  <a:pt x="237" y="676"/>
                  <a:pt x="243" y="677"/>
                  <a:pt x="243" y="677"/>
                </a:cubicBezTo>
                <a:cubicBezTo>
                  <a:pt x="243" y="676"/>
                  <a:pt x="241" y="672"/>
                  <a:pt x="241" y="672"/>
                </a:cubicBezTo>
                <a:cubicBezTo>
                  <a:pt x="240" y="664"/>
                  <a:pt x="252" y="669"/>
                  <a:pt x="255" y="671"/>
                </a:cubicBezTo>
                <a:cubicBezTo>
                  <a:pt x="259" y="674"/>
                  <a:pt x="250" y="671"/>
                  <a:pt x="253" y="676"/>
                </a:cubicBezTo>
                <a:cubicBezTo>
                  <a:pt x="250" y="674"/>
                  <a:pt x="251" y="679"/>
                  <a:pt x="251" y="679"/>
                </a:cubicBezTo>
                <a:close/>
                <a:moveTo>
                  <a:pt x="254" y="687"/>
                </a:moveTo>
                <a:cubicBezTo>
                  <a:pt x="254" y="686"/>
                  <a:pt x="254" y="685"/>
                  <a:pt x="255" y="686"/>
                </a:cubicBezTo>
                <a:cubicBezTo>
                  <a:pt x="257" y="686"/>
                  <a:pt x="254" y="689"/>
                  <a:pt x="254" y="687"/>
                </a:cubicBezTo>
                <a:close/>
                <a:moveTo>
                  <a:pt x="254" y="690"/>
                </a:moveTo>
                <a:cubicBezTo>
                  <a:pt x="255" y="689"/>
                  <a:pt x="256" y="689"/>
                  <a:pt x="258" y="689"/>
                </a:cubicBezTo>
                <a:cubicBezTo>
                  <a:pt x="257" y="690"/>
                  <a:pt x="255" y="690"/>
                  <a:pt x="254" y="690"/>
                </a:cubicBezTo>
                <a:close/>
                <a:moveTo>
                  <a:pt x="257" y="690"/>
                </a:moveTo>
                <a:cubicBezTo>
                  <a:pt x="257" y="689"/>
                  <a:pt x="258" y="689"/>
                  <a:pt x="258" y="690"/>
                </a:cubicBezTo>
                <a:cubicBezTo>
                  <a:pt x="258" y="689"/>
                  <a:pt x="258" y="691"/>
                  <a:pt x="257" y="690"/>
                </a:cubicBezTo>
                <a:close/>
                <a:moveTo>
                  <a:pt x="259" y="689"/>
                </a:moveTo>
                <a:cubicBezTo>
                  <a:pt x="258" y="689"/>
                  <a:pt x="261" y="689"/>
                  <a:pt x="259" y="689"/>
                </a:cubicBezTo>
                <a:close/>
                <a:moveTo>
                  <a:pt x="260" y="660"/>
                </a:moveTo>
                <a:cubicBezTo>
                  <a:pt x="259" y="660"/>
                  <a:pt x="259" y="659"/>
                  <a:pt x="260" y="660"/>
                </a:cubicBezTo>
                <a:close/>
                <a:moveTo>
                  <a:pt x="261" y="631"/>
                </a:moveTo>
                <a:cubicBezTo>
                  <a:pt x="260" y="631"/>
                  <a:pt x="261" y="630"/>
                  <a:pt x="261" y="630"/>
                </a:cubicBezTo>
                <a:cubicBezTo>
                  <a:pt x="262" y="630"/>
                  <a:pt x="261" y="631"/>
                  <a:pt x="261" y="631"/>
                </a:cubicBezTo>
                <a:close/>
                <a:moveTo>
                  <a:pt x="263" y="682"/>
                </a:moveTo>
                <a:cubicBezTo>
                  <a:pt x="263" y="681"/>
                  <a:pt x="265" y="681"/>
                  <a:pt x="265" y="682"/>
                </a:cubicBezTo>
                <a:cubicBezTo>
                  <a:pt x="266" y="682"/>
                  <a:pt x="263" y="683"/>
                  <a:pt x="263" y="682"/>
                </a:cubicBezTo>
                <a:close/>
                <a:moveTo>
                  <a:pt x="264" y="690"/>
                </a:moveTo>
                <a:cubicBezTo>
                  <a:pt x="263" y="689"/>
                  <a:pt x="265" y="690"/>
                  <a:pt x="265" y="690"/>
                </a:cubicBezTo>
                <a:cubicBezTo>
                  <a:pt x="265" y="691"/>
                  <a:pt x="264" y="691"/>
                  <a:pt x="264" y="690"/>
                </a:cubicBezTo>
                <a:close/>
                <a:moveTo>
                  <a:pt x="265" y="694"/>
                </a:moveTo>
                <a:cubicBezTo>
                  <a:pt x="266" y="694"/>
                  <a:pt x="266" y="694"/>
                  <a:pt x="267" y="694"/>
                </a:cubicBezTo>
                <a:cubicBezTo>
                  <a:pt x="266" y="695"/>
                  <a:pt x="266" y="695"/>
                  <a:pt x="265" y="694"/>
                </a:cubicBezTo>
                <a:close/>
                <a:moveTo>
                  <a:pt x="263" y="667"/>
                </a:moveTo>
                <a:cubicBezTo>
                  <a:pt x="264" y="666"/>
                  <a:pt x="273" y="668"/>
                  <a:pt x="273" y="668"/>
                </a:cubicBezTo>
                <a:cubicBezTo>
                  <a:pt x="272" y="669"/>
                  <a:pt x="265" y="667"/>
                  <a:pt x="263" y="667"/>
                </a:cubicBezTo>
                <a:close/>
                <a:moveTo>
                  <a:pt x="270" y="681"/>
                </a:moveTo>
                <a:cubicBezTo>
                  <a:pt x="269" y="683"/>
                  <a:pt x="268" y="680"/>
                  <a:pt x="270" y="681"/>
                </a:cubicBezTo>
                <a:close/>
                <a:moveTo>
                  <a:pt x="268" y="696"/>
                </a:moveTo>
                <a:cubicBezTo>
                  <a:pt x="268" y="695"/>
                  <a:pt x="269" y="695"/>
                  <a:pt x="269" y="695"/>
                </a:cubicBezTo>
                <a:cubicBezTo>
                  <a:pt x="270" y="695"/>
                  <a:pt x="269" y="696"/>
                  <a:pt x="268" y="696"/>
                </a:cubicBezTo>
                <a:close/>
                <a:moveTo>
                  <a:pt x="269" y="689"/>
                </a:moveTo>
                <a:cubicBezTo>
                  <a:pt x="268" y="688"/>
                  <a:pt x="270" y="688"/>
                  <a:pt x="270" y="688"/>
                </a:cubicBezTo>
                <a:cubicBezTo>
                  <a:pt x="270" y="689"/>
                  <a:pt x="269" y="689"/>
                  <a:pt x="269" y="689"/>
                </a:cubicBezTo>
                <a:close/>
                <a:moveTo>
                  <a:pt x="269" y="673"/>
                </a:moveTo>
                <a:cubicBezTo>
                  <a:pt x="269" y="671"/>
                  <a:pt x="274" y="673"/>
                  <a:pt x="273" y="674"/>
                </a:cubicBezTo>
                <a:cubicBezTo>
                  <a:pt x="273" y="676"/>
                  <a:pt x="268" y="676"/>
                  <a:pt x="269" y="673"/>
                </a:cubicBezTo>
                <a:close/>
                <a:moveTo>
                  <a:pt x="272" y="683"/>
                </a:moveTo>
                <a:cubicBezTo>
                  <a:pt x="271" y="681"/>
                  <a:pt x="276" y="682"/>
                  <a:pt x="276" y="683"/>
                </a:cubicBezTo>
                <a:cubicBezTo>
                  <a:pt x="277" y="685"/>
                  <a:pt x="272" y="686"/>
                  <a:pt x="272" y="683"/>
                </a:cubicBezTo>
                <a:close/>
                <a:moveTo>
                  <a:pt x="275" y="696"/>
                </a:moveTo>
                <a:cubicBezTo>
                  <a:pt x="275" y="696"/>
                  <a:pt x="274" y="696"/>
                  <a:pt x="274" y="696"/>
                </a:cubicBezTo>
                <a:cubicBezTo>
                  <a:pt x="274" y="694"/>
                  <a:pt x="277" y="698"/>
                  <a:pt x="275" y="696"/>
                </a:cubicBezTo>
                <a:close/>
                <a:moveTo>
                  <a:pt x="274" y="701"/>
                </a:moveTo>
                <a:cubicBezTo>
                  <a:pt x="274" y="699"/>
                  <a:pt x="277" y="699"/>
                  <a:pt x="277" y="700"/>
                </a:cubicBezTo>
                <a:cubicBezTo>
                  <a:pt x="278" y="701"/>
                  <a:pt x="274" y="701"/>
                  <a:pt x="274" y="701"/>
                </a:cubicBezTo>
                <a:close/>
                <a:moveTo>
                  <a:pt x="282" y="681"/>
                </a:moveTo>
                <a:cubicBezTo>
                  <a:pt x="284" y="680"/>
                  <a:pt x="289" y="680"/>
                  <a:pt x="291" y="681"/>
                </a:cubicBezTo>
                <a:cubicBezTo>
                  <a:pt x="292" y="682"/>
                  <a:pt x="291" y="684"/>
                  <a:pt x="290" y="683"/>
                </a:cubicBezTo>
                <a:cubicBezTo>
                  <a:pt x="289" y="683"/>
                  <a:pt x="289" y="682"/>
                  <a:pt x="289" y="682"/>
                </a:cubicBezTo>
                <a:cubicBezTo>
                  <a:pt x="288" y="681"/>
                  <a:pt x="287" y="683"/>
                  <a:pt x="287" y="683"/>
                </a:cubicBezTo>
                <a:cubicBezTo>
                  <a:pt x="287" y="684"/>
                  <a:pt x="288" y="684"/>
                  <a:pt x="288" y="685"/>
                </a:cubicBezTo>
                <a:cubicBezTo>
                  <a:pt x="289" y="684"/>
                  <a:pt x="289" y="685"/>
                  <a:pt x="288" y="685"/>
                </a:cubicBezTo>
                <a:cubicBezTo>
                  <a:pt x="287" y="686"/>
                  <a:pt x="286" y="685"/>
                  <a:pt x="286" y="685"/>
                </a:cubicBezTo>
                <a:cubicBezTo>
                  <a:pt x="285" y="685"/>
                  <a:pt x="284" y="686"/>
                  <a:pt x="283" y="685"/>
                </a:cubicBezTo>
                <a:cubicBezTo>
                  <a:pt x="282" y="685"/>
                  <a:pt x="278" y="682"/>
                  <a:pt x="282" y="681"/>
                </a:cubicBezTo>
                <a:close/>
                <a:moveTo>
                  <a:pt x="291" y="693"/>
                </a:moveTo>
                <a:cubicBezTo>
                  <a:pt x="290" y="694"/>
                  <a:pt x="288" y="696"/>
                  <a:pt x="287" y="694"/>
                </a:cubicBezTo>
                <a:cubicBezTo>
                  <a:pt x="285" y="693"/>
                  <a:pt x="290" y="692"/>
                  <a:pt x="291" y="693"/>
                </a:cubicBezTo>
                <a:close/>
                <a:moveTo>
                  <a:pt x="289" y="706"/>
                </a:moveTo>
                <a:cubicBezTo>
                  <a:pt x="290" y="707"/>
                  <a:pt x="288" y="706"/>
                  <a:pt x="289" y="706"/>
                </a:cubicBezTo>
                <a:close/>
                <a:moveTo>
                  <a:pt x="292" y="708"/>
                </a:moveTo>
                <a:cubicBezTo>
                  <a:pt x="291" y="707"/>
                  <a:pt x="292" y="708"/>
                  <a:pt x="293" y="708"/>
                </a:cubicBezTo>
                <a:cubicBezTo>
                  <a:pt x="293" y="708"/>
                  <a:pt x="292" y="708"/>
                  <a:pt x="292" y="708"/>
                </a:cubicBezTo>
                <a:close/>
                <a:moveTo>
                  <a:pt x="304" y="701"/>
                </a:moveTo>
                <a:cubicBezTo>
                  <a:pt x="299" y="701"/>
                  <a:pt x="295" y="701"/>
                  <a:pt x="290" y="702"/>
                </a:cubicBezTo>
                <a:cubicBezTo>
                  <a:pt x="289" y="702"/>
                  <a:pt x="282" y="702"/>
                  <a:pt x="282" y="700"/>
                </a:cubicBezTo>
                <a:cubicBezTo>
                  <a:pt x="281" y="699"/>
                  <a:pt x="290" y="699"/>
                  <a:pt x="292" y="700"/>
                </a:cubicBezTo>
                <a:cubicBezTo>
                  <a:pt x="296" y="700"/>
                  <a:pt x="299" y="700"/>
                  <a:pt x="301" y="699"/>
                </a:cubicBezTo>
                <a:cubicBezTo>
                  <a:pt x="299" y="699"/>
                  <a:pt x="297" y="697"/>
                  <a:pt x="297" y="695"/>
                </a:cubicBezTo>
                <a:cubicBezTo>
                  <a:pt x="299" y="690"/>
                  <a:pt x="306" y="693"/>
                  <a:pt x="309" y="695"/>
                </a:cubicBezTo>
                <a:cubicBezTo>
                  <a:pt x="309" y="695"/>
                  <a:pt x="309" y="696"/>
                  <a:pt x="310" y="696"/>
                </a:cubicBezTo>
                <a:cubicBezTo>
                  <a:pt x="310" y="697"/>
                  <a:pt x="307" y="699"/>
                  <a:pt x="305" y="699"/>
                </a:cubicBezTo>
                <a:cubicBezTo>
                  <a:pt x="306" y="699"/>
                  <a:pt x="307" y="699"/>
                  <a:pt x="309" y="700"/>
                </a:cubicBezTo>
                <a:cubicBezTo>
                  <a:pt x="313" y="700"/>
                  <a:pt x="305" y="701"/>
                  <a:pt x="304" y="701"/>
                </a:cubicBezTo>
                <a:close/>
                <a:moveTo>
                  <a:pt x="308" y="684"/>
                </a:moveTo>
                <a:cubicBezTo>
                  <a:pt x="309" y="683"/>
                  <a:pt x="312" y="683"/>
                  <a:pt x="314" y="683"/>
                </a:cubicBezTo>
                <a:cubicBezTo>
                  <a:pt x="312" y="684"/>
                  <a:pt x="310" y="684"/>
                  <a:pt x="308" y="684"/>
                </a:cubicBezTo>
                <a:close/>
                <a:moveTo>
                  <a:pt x="313" y="612"/>
                </a:moveTo>
                <a:cubicBezTo>
                  <a:pt x="314" y="612"/>
                  <a:pt x="309" y="616"/>
                  <a:pt x="308" y="614"/>
                </a:cubicBezTo>
                <a:cubicBezTo>
                  <a:pt x="307" y="612"/>
                  <a:pt x="313" y="611"/>
                  <a:pt x="313" y="612"/>
                </a:cubicBezTo>
                <a:close/>
                <a:moveTo>
                  <a:pt x="313" y="683"/>
                </a:moveTo>
                <a:cubicBezTo>
                  <a:pt x="312" y="682"/>
                  <a:pt x="314" y="681"/>
                  <a:pt x="314" y="682"/>
                </a:cubicBezTo>
                <a:cubicBezTo>
                  <a:pt x="314" y="682"/>
                  <a:pt x="313" y="683"/>
                  <a:pt x="313" y="683"/>
                </a:cubicBezTo>
                <a:close/>
                <a:moveTo>
                  <a:pt x="313" y="589"/>
                </a:moveTo>
                <a:cubicBezTo>
                  <a:pt x="311" y="590"/>
                  <a:pt x="308" y="592"/>
                  <a:pt x="307" y="592"/>
                </a:cubicBezTo>
                <a:cubicBezTo>
                  <a:pt x="304" y="593"/>
                  <a:pt x="309" y="590"/>
                  <a:pt x="309" y="590"/>
                </a:cubicBezTo>
                <a:cubicBezTo>
                  <a:pt x="310" y="590"/>
                  <a:pt x="312" y="589"/>
                  <a:pt x="313" y="589"/>
                </a:cubicBezTo>
                <a:cubicBezTo>
                  <a:pt x="314" y="589"/>
                  <a:pt x="314" y="589"/>
                  <a:pt x="315" y="589"/>
                </a:cubicBezTo>
                <a:cubicBezTo>
                  <a:pt x="314" y="589"/>
                  <a:pt x="314" y="589"/>
                  <a:pt x="313" y="589"/>
                </a:cubicBezTo>
                <a:close/>
                <a:moveTo>
                  <a:pt x="315" y="519"/>
                </a:moveTo>
                <a:cubicBezTo>
                  <a:pt x="315" y="517"/>
                  <a:pt x="318" y="518"/>
                  <a:pt x="315" y="519"/>
                </a:cubicBezTo>
                <a:close/>
                <a:moveTo>
                  <a:pt x="317" y="683"/>
                </a:moveTo>
                <a:cubicBezTo>
                  <a:pt x="315" y="684"/>
                  <a:pt x="315" y="682"/>
                  <a:pt x="317" y="683"/>
                </a:cubicBezTo>
                <a:close/>
                <a:moveTo>
                  <a:pt x="317" y="683"/>
                </a:moveTo>
                <a:cubicBezTo>
                  <a:pt x="318" y="682"/>
                  <a:pt x="319" y="682"/>
                  <a:pt x="321" y="682"/>
                </a:cubicBezTo>
                <a:cubicBezTo>
                  <a:pt x="321" y="683"/>
                  <a:pt x="318" y="683"/>
                  <a:pt x="317" y="683"/>
                </a:cubicBezTo>
                <a:close/>
                <a:moveTo>
                  <a:pt x="333" y="104"/>
                </a:moveTo>
                <a:cubicBezTo>
                  <a:pt x="333" y="104"/>
                  <a:pt x="336" y="103"/>
                  <a:pt x="334" y="104"/>
                </a:cubicBezTo>
                <a:cubicBezTo>
                  <a:pt x="331" y="106"/>
                  <a:pt x="326" y="107"/>
                  <a:pt x="322" y="108"/>
                </a:cubicBezTo>
                <a:cubicBezTo>
                  <a:pt x="325" y="106"/>
                  <a:pt x="329" y="104"/>
                  <a:pt x="333" y="104"/>
                </a:cubicBezTo>
                <a:close/>
                <a:moveTo>
                  <a:pt x="323" y="170"/>
                </a:moveTo>
                <a:cubicBezTo>
                  <a:pt x="324" y="170"/>
                  <a:pt x="324" y="170"/>
                  <a:pt x="325" y="170"/>
                </a:cubicBezTo>
                <a:cubicBezTo>
                  <a:pt x="325" y="171"/>
                  <a:pt x="324" y="171"/>
                  <a:pt x="323" y="170"/>
                </a:cubicBezTo>
                <a:close/>
                <a:moveTo>
                  <a:pt x="322" y="617"/>
                </a:moveTo>
                <a:cubicBezTo>
                  <a:pt x="323" y="616"/>
                  <a:pt x="324" y="618"/>
                  <a:pt x="322" y="617"/>
                </a:cubicBezTo>
                <a:close/>
                <a:moveTo>
                  <a:pt x="322" y="627"/>
                </a:moveTo>
                <a:cubicBezTo>
                  <a:pt x="323" y="627"/>
                  <a:pt x="327" y="626"/>
                  <a:pt x="327" y="627"/>
                </a:cubicBezTo>
                <a:cubicBezTo>
                  <a:pt x="326" y="626"/>
                  <a:pt x="324" y="628"/>
                  <a:pt x="322" y="627"/>
                </a:cubicBezTo>
                <a:close/>
                <a:moveTo>
                  <a:pt x="327" y="574"/>
                </a:moveTo>
                <a:cubicBezTo>
                  <a:pt x="327" y="572"/>
                  <a:pt x="330" y="573"/>
                  <a:pt x="329" y="574"/>
                </a:cubicBezTo>
                <a:cubicBezTo>
                  <a:pt x="329" y="575"/>
                  <a:pt x="328" y="574"/>
                  <a:pt x="327" y="574"/>
                </a:cubicBezTo>
                <a:close/>
                <a:moveTo>
                  <a:pt x="329" y="627"/>
                </a:moveTo>
                <a:cubicBezTo>
                  <a:pt x="329" y="626"/>
                  <a:pt x="331" y="626"/>
                  <a:pt x="331" y="626"/>
                </a:cubicBezTo>
                <a:cubicBezTo>
                  <a:pt x="331" y="626"/>
                  <a:pt x="330" y="627"/>
                  <a:pt x="329" y="627"/>
                </a:cubicBezTo>
                <a:close/>
                <a:moveTo>
                  <a:pt x="329" y="589"/>
                </a:moveTo>
                <a:cubicBezTo>
                  <a:pt x="328" y="587"/>
                  <a:pt x="332" y="588"/>
                  <a:pt x="332" y="589"/>
                </a:cubicBezTo>
                <a:cubicBezTo>
                  <a:pt x="332" y="590"/>
                  <a:pt x="329" y="590"/>
                  <a:pt x="329" y="589"/>
                </a:cubicBezTo>
                <a:close/>
                <a:moveTo>
                  <a:pt x="328" y="583"/>
                </a:moveTo>
                <a:cubicBezTo>
                  <a:pt x="329" y="579"/>
                  <a:pt x="336" y="581"/>
                  <a:pt x="336" y="583"/>
                </a:cubicBezTo>
                <a:cubicBezTo>
                  <a:pt x="335" y="586"/>
                  <a:pt x="328" y="587"/>
                  <a:pt x="328" y="583"/>
                </a:cubicBezTo>
                <a:close/>
                <a:moveTo>
                  <a:pt x="335" y="131"/>
                </a:moveTo>
                <a:cubicBezTo>
                  <a:pt x="334" y="130"/>
                  <a:pt x="336" y="131"/>
                  <a:pt x="335" y="131"/>
                </a:cubicBezTo>
                <a:close/>
                <a:moveTo>
                  <a:pt x="336" y="659"/>
                </a:moveTo>
                <a:cubicBezTo>
                  <a:pt x="337" y="661"/>
                  <a:pt x="335" y="659"/>
                  <a:pt x="336" y="659"/>
                </a:cubicBezTo>
                <a:close/>
                <a:moveTo>
                  <a:pt x="336" y="131"/>
                </a:moveTo>
                <a:cubicBezTo>
                  <a:pt x="336" y="130"/>
                  <a:pt x="338" y="130"/>
                  <a:pt x="338" y="130"/>
                </a:cubicBezTo>
                <a:cubicBezTo>
                  <a:pt x="338" y="131"/>
                  <a:pt x="337" y="130"/>
                  <a:pt x="336" y="131"/>
                </a:cubicBezTo>
                <a:close/>
                <a:moveTo>
                  <a:pt x="337" y="711"/>
                </a:moveTo>
                <a:cubicBezTo>
                  <a:pt x="336" y="711"/>
                  <a:pt x="337" y="710"/>
                  <a:pt x="337" y="710"/>
                </a:cubicBezTo>
                <a:cubicBezTo>
                  <a:pt x="338" y="711"/>
                  <a:pt x="338" y="712"/>
                  <a:pt x="337" y="711"/>
                </a:cubicBezTo>
                <a:close/>
                <a:moveTo>
                  <a:pt x="337" y="685"/>
                </a:moveTo>
                <a:cubicBezTo>
                  <a:pt x="337" y="684"/>
                  <a:pt x="339" y="684"/>
                  <a:pt x="339" y="685"/>
                </a:cubicBezTo>
                <a:cubicBezTo>
                  <a:pt x="340" y="685"/>
                  <a:pt x="338" y="686"/>
                  <a:pt x="337" y="685"/>
                </a:cubicBezTo>
                <a:close/>
                <a:moveTo>
                  <a:pt x="338" y="705"/>
                </a:moveTo>
                <a:cubicBezTo>
                  <a:pt x="338" y="704"/>
                  <a:pt x="340" y="704"/>
                  <a:pt x="340" y="705"/>
                </a:cubicBezTo>
                <a:cubicBezTo>
                  <a:pt x="340" y="705"/>
                  <a:pt x="339" y="706"/>
                  <a:pt x="338" y="705"/>
                </a:cubicBezTo>
                <a:close/>
                <a:moveTo>
                  <a:pt x="338" y="680"/>
                </a:moveTo>
                <a:cubicBezTo>
                  <a:pt x="338" y="680"/>
                  <a:pt x="341" y="680"/>
                  <a:pt x="341" y="680"/>
                </a:cubicBezTo>
                <a:cubicBezTo>
                  <a:pt x="341" y="681"/>
                  <a:pt x="337" y="682"/>
                  <a:pt x="338" y="680"/>
                </a:cubicBezTo>
                <a:close/>
                <a:moveTo>
                  <a:pt x="342" y="110"/>
                </a:moveTo>
                <a:cubicBezTo>
                  <a:pt x="341" y="111"/>
                  <a:pt x="341" y="109"/>
                  <a:pt x="342" y="110"/>
                </a:cubicBezTo>
                <a:close/>
                <a:moveTo>
                  <a:pt x="328" y="108"/>
                </a:moveTo>
                <a:cubicBezTo>
                  <a:pt x="326" y="108"/>
                  <a:pt x="329" y="107"/>
                  <a:pt x="331" y="106"/>
                </a:cubicBezTo>
                <a:cubicBezTo>
                  <a:pt x="334" y="106"/>
                  <a:pt x="339" y="104"/>
                  <a:pt x="342" y="104"/>
                </a:cubicBezTo>
                <a:cubicBezTo>
                  <a:pt x="343" y="104"/>
                  <a:pt x="344" y="105"/>
                  <a:pt x="344" y="105"/>
                </a:cubicBezTo>
                <a:cubicBezTo>
                  <a:pt x="344" y="105"/>
                  <a:pt x="330" y="108"/>
                  <a:pt x="328" y="108"/>
                </a:cubicBezTo>
                <a:close/>
                <a:moveTo>
                  <a:pt x="345" y="576"/>
                </a:moveTo>
                <a:cubicBezTo>
                  <a:pt x="345" y="576"/>
                  <a:pt x="345" y="576"/>
                  <a:pt x="345" y="576"/>
                </a:cubicBezTo>
                <a:cubicBezTo>
                  <a:pt x="346" y="576"/>
                  <a:pt x="346" y="576"/>
                  <a:pt x="346" y="576"/>
                </a:cubicBezTo>
                <a:cubicBezTo>
                  <a:pt x="346" y="576"/>
                  <a:pt x="345" y="576"/>
                  <a:pt x="345" y="576"/>
                </a:cubicBezTo>
                <a:close/>
                <a:moveTo>
                  <a:pt x="346" y="704"/>
                </a:moveTo>
                <a:cubicBezTo>
                  <a:pt x="346" y="703"/>
                  <a:pt x="347" y="703"/>
                  <a:pt x="347" y="703"/>
                </a:cubicBezTo>
                <a:cubicBezTo>
                  <a:pt x="348" y="704"/>
                  <a:pt x="346" y="704"/>
                  <a:pt x="346" y="704"/>
                </a:cubicBezTo>
                <a:close/>
                <a:moveTo>
                  <a:pt x="344" y="537"/>
                </a:moveTo>
                <a:cubicBezTo>
                  <a:pt x="345" y="535"/>
                  <a:pt x="348" y="535"/>
                  <a:pt x="349" y="534"/>
                </a:cubicBezTo>
                <a:cubicBezTo>
                  <a:pt x="348" y="535"/>
                  <a:pt x="345" y="536"/>
                  <a:pt x="344" y="537"/>
                </a:cubicBezTo>
                <a:close/>
                <a:moveTo>
                  <a:pt x="348" y="89"/>
                </a:moveTo>
                <a:cubicBezTo>
                  <a:pt x="347" y="90"/>
                  <a:pt x="346" y="89"/>
                  <a:pt x="348" y="89"/>
                </a:cubicBezTo>
                <a:close/>
                <a:moveTo>
                  <a:pt x="347" y="71"/>
                </a:moveTo>
                <a:cubicBezTo>
                  <a:pt x="347" y="72"/>
                  <a:pt x="348" y="72"/>
                  <a:pt x="347" y="72"/>
                </a:cubicBezTo>
                <a:cubicBezTo>
                  <a:pt x="347" y="72"/>
                  <a:pt x="347" y="72"/>
                  <a:pt x="347" y="71"/>
                </a:cubicBezTo>
                <a:close/>
                <a:moveTo>
                  <a:pt x="345" y="44"/>
                </a:moveTo>
                <a:cubicBezTo>
                  <a:pt x="346" y="42"/>
                  <a:pt x="350" y="42"/>
                  <a:pt x="350" y="45"/>
                </a:cubicBezTo>
                <a:cubicBezTo>
                  <a:pt x="349" y="47"/>
                  <a:pt x="345" y="46"/>
                  <a:pt x="345" y="44"/>
                </a:cubicBezTo>
                <a:close/>
                <a:moveTo>
                  <a:pt x="350" y="626"/>
                </a:moveTo>
                <a:cubicBezTo>
                  <a:pt x="350" y="627"/>
                  <a:pt x="349" y="625"/>
                  <a:pt x="350" y="626"/>
                </a:cubicBezTo>
                <a:close/>
                <a:moveTo>
                  <a:pt x="350" y="205"/>
                </a:moveTo>
                <a:cubicBezTo>
                  <a:pt x="349" y="205"/>
                  <a:pt x="350" y="203"/>
                  <a:pt x="350" y="204"/>
                </a:cubicBezTo>
                <a:cubicBezTo>
                  <a:pt x="351" y="204"/>
                  <a:pt x="351" y="205"/>
                  <a:pt x="350" y="205"/>
                </a:cubicBezTo>
                <a:close/>
                <a:moveTo>
                  <a:pt x="538" y="122"/>
                </a:moveTo>
                <a:cubicBezTo>
                  <a:pt x="538" y="121"/>
                  <a:pt x="540" y="121"/>
                  <a:pt x="540" y="122"/>
                </a:cubicBezTo>
                <a:cubicBezTo>
                  <a:pt x="542" y="121"/>
                  <a:pt x="543" y="121"/>
                  <a:pt x="543" y="123"/>
                </a:cubicBezTo>
                <a:cubicBezTo>
                  <a:pt x="543" y="124"/>
                  <a:pt x="539" y="125"/>
                  <a:pt x="538" y="124"/>
                </a:cubicBezTo>
                <a:cubicBezTo>
                  <a:pt x="538" y="123"/>
                  <a:pt x="538" y="123"/>
                  <a:pt x="538" y="122"/>
                </a:cubicBezTo>
                <a:cubicBezTo>
                  <a:pt x="538" y="122"/>
                  <a:pt x="538" y="122"/>
                  <a:pt x="538" y="122"/>
                </a:cubicBezTo>
                <a:close/>
                <a:moveTo>
                  <a:pt x="538" y="121"/>
                </a:moveTo>
                <a:cubicBezTo>
                  <a:pt x="538" y="121"/>
                  <a:pt x="536" y="122"/>
                  <a:pt x="536" y="121"/>
                </a:cubicBezTo>
                <a:cubicBezTo>
                  <a:pt x="536" y="121"/>
                  <a:pt x="537" y="121"/>
                  <a:pt x="538" y="121"/>
                </a:cubicBezTo>
                <a:close/>
                <a:moveTo>
                  <a:pt x="531" y="126"/>
                </a:moveTo>
                <a:cubicBezTo>
                  <a:pt x="531" y="126"/>
                  <a:pt x="531" y="127"/>
                  <a:pt x="530" y="127"/>
                </a:cubicBezTo>
                <a:cubicBezTo>
                  <a:pt x="530" y="127"/>
                  <a:pt x="531" y="126"/>
                  <a:pt x="531" y="126"/>
                </a:cubicBezTo>
                <a:close/>
                <a:moveTo>
                  <a:pt x="531" y="154"/>
                </a:moveTo>
                <a:cubicBezTo>
                  <a:pt x="529" y="157"/>
                  <a:pt x="525" y="158"/>
                  <a:pt x="522" y="159"/>
                </a:cubicBezTo>
                <a:cubicBezTo>
                  <a:pt x="524" y="156"/>
                  <a:pt x="528" y="156"/>
                  <a:pt x="531" y="154"/>
                </a:cubicBezTo>
                <a:close/>
                <a:moveTo>
                  <a:pt x="525" y="201"/>
                </a:moveTo>
                <a:cubicBezTo>
                  <a:pt x="524" y="202"/>
                  <a:pt x="523" y="203"/>
                  <a:pt x="521" y="203"/>
                </a:cubicBezTo>
                <a:cubicBezTo>
                  <a:pt x="522" y="202"/>
                  <a:pt x="523" y="201"/>
                  <a:pt x="525" y="201"/>
                </a:cubicBezTo>
                <a:close/>
                <a:moveTo>
                  <a:pt x="521" y="198"/>
                </a:moveTo>
                <a:cubicBezTo>
                  <a:pt x="521" y="198"/>
                  <a:pt x="521" y="197"/>
                  <a:pt x="522" y="197"/>
                </a:cubicBezTo>
                <a:cubicBezTo>
                  <a:pt x="524" y="195"/>
                  <a:pt x="523" y="200"/>
                  <a:pt x="521" y="198"/>
                </a:cubicBezTo>
                <a:close/>
                <a:moveTo>
                  <a:pt x="524" y="195"/>
                </a:moveTo>
                <a:cubicBezTo>
                  <a:pt x="524" y="194"/>
                  <a:pt x="525" y="194"/>
                  <a:pt x="525" y="194"/>
                </a:cubicBezTo>
                <a:cubicBezTo>
                  <a:pt x="526" y="195"/>
                  <a:pt x="524" y="195"/>
                  <a:pt x="524" y="195"/>
                </a:cubicBezTo>
                <a:close/>
                <a:moveTo>
                  <a:pt x="531" y="196"/>
                </a:moveTo>
                <a:cubicBezTo>
                  <a:pt x="530" y="198"/>
                  <a:pt x="527" y="199"/>
                  <a:pt x="525" y="201"/>
                </a:cubicBezTo>
                <a:cubicBezTo>
                  <a:pt x="526" y="199"/>
                  <a:pt x="529" y="197"/>
                  <a:pt x="531" y="196"/>
                </a:cubicBezTo>
                <a:close/>
                <a:moveTo>
                  <a:pt x="529" y="172"/>
                </a:moveTo>
                <a:cubicBezTo>
                  <a:pt x="531" y="170"/>
                  <a:pt x="530" y="174"/>
                  <a:pt x="528" y="173"/>
                </a:cubicBezTo>
                <a:cubicBezTo>
                  <a:pt x="528" y="173"/>
                  <a:pt x="529" y="172"/>
                  <a:pt x="529" y="172"/>
                </a:cubicBezTo>
                <a:close/>
                <a:moveTo>
                  <a:pt x="522" y="181"/>
                </a:moveTo>
                <a:cubicBezTo>
                  <a:pt x="521" y="181"/>
                  <a:pt x="523" y="180"/>
                  <a:pt x="523" y="181"/>
                </a:cubicBezTo>
                <a:cubicBezTo>
                  <a:pt x="524" y="181"/>
                  <a:pt x="522" y="182"/>
                  <a:pt x="522" y="181"/>
                </a:cubicBezTo>
                <a:close/>
                <a:moveTo>
                  <a:pt x="529" y="135"/>
                </a:moveTo>
                <a:cubicBezTo>
                  <a:pt x="528" y="136"/>
                  <a:pt x="526" y="138"/>
                  <a:pt x="524" y="138"/>
                </a:cubicBezTo>
                <a:cubicBezTo>
                  <a:pt x="525" y="138"/>
                  <a:pt x="526" y="138"/>
                  <a:pt x="525" y="139"/>
                </a:cubicBezTo>
                <a:cubicBezTo>
                  <a:pt x="525" y="140"/>
                  <a:pt x="522" y="140"/>
                  <a:pt x="522" y="139"/>
                </a:cubicBezTo>
                <a:cubicBezTo>
                  <a:pt x="522" y="139"/>
                  <a:pt x="523" y="138"/>
                  <a:pt x="524" y="138"/>
                </a:cubicBezTo>
                <a:cubicBezTo>
                  <a:pt x="524" y="138"/>
                  <a:pt x="524" y="138"/>
                  <a:pt x="524" y="138"/>
                </a:cubicBezTo>
                <a:cubicBezTo>
                  <a:pt x="525" y="136"/>
                  <a:pt x="527" y="136"/>
                  <a:pt x="529" y="135"/>
                </a:cubicBezTo>
                <a:close/>
                <a:moveTo>
                  <a:pt x="525" y="117"/>
                </a:moveTo>
                <a:cubicBezTo>
                  <a:pt x="525" y="117"/>
                  <a:pt x="525" y="117"/>
                  <a:pt x="524" y="117"/>
                </a:cubicBezTo>
                <a:cubicBezTo>
                  <a:pt x="524" y="117"/>
                  <a:pt x="524" y="116"/>
                  <a:pt x="525" y="117"/>
                </a:cubicBezTo>
                <a:close/>
                <a:moveTo>
                  <a:pt x="524" y="86"/>
                </a:moveTo>
                <a:cubicBezTo>
                  <a:pt x="523" y="86"/>
                  <a:pt x="522" y="86"/>
                  <a:pt x="521" y="86"/>
                </a:cubicBezTo>
                <a:cubicBezTo>
                  <a:pt x="522" y="85"/>
                  <a:pt x="523" y="85"/>
                  <a:pt x="524" y="86"/>
                </a:cubicBezTo>
                <a:close/>
                <a:moveTo>
                  <a:pt x="521" y="87"/>
                </a:moveTo>
                <a:cubicBezTo>
                  <a:pt x="521" y="87"/>
                  <a:pt x="523" y="88"/>
                  <a:pt x="523" y="88"/>
                </a:cubicBezTo>
                <a:cubicBezTo>
                  <a:pt x="523" y="88"/>
                  <a:pt x="520" y="88"/>
                  <a:pt x="521" y="87"/>
                </a:cubicBezTo>
                <a:close/>
                <a:moveTo>
                  <a:pt x="523" y="92"/>
                </a:moveTo>
                <a:cubicBezTo>
                  <a:pt x="523" y="92"/>
                  <a:pt x="521" y="92"/>
                  <a:pt x="521" y="91"/>
                </a:cubicBezTo>
                <a:cubicBezTo>
                  <a:pt x="522" y="90"/>
                  <a:pt x="523" y="91"/>
                  <a:pt x="523" y="92"/>
                </a:cubicBezTo>
                <a:close/>
                <a:moveTo>
                  <a:pt x="521" y="105"/>
                </a:moveTo>
                <a:cubicBezTo>
                  <a:pt x="521" y="106"/>
                  <a:pt x="520" y="104"/>
                  <a:pt x="521" y="105"/>
                </a:cubicBezTo>
                <a:close/>
                <a:moveTo>
                  <a:pt x="525" y="106"/>
                </a:moveTo>
                <a:cubicBezTo>
                  <a:pt x="527" y="106"/>
                  <a:pt x="528" y="108"/>
                  <a:pt x="526" y="111"/>
                </a:cubicBezTo>
                <a:cubicBezTo>
                  <a:pt x="525" y="112"/>
                  <a:pt x="523" y="112"/>
                  <a:pt x="522" y="112"/>
                </a:cubicBezTo>
                <a:cubicBezTo>
                  <a:pt x="520" y="112"/>
                  <a:pt x="518" y="112"/>
                  <a:pt x="518" y="112"/>
                </a:cubicBezTo>
                <a:cubicBezTo>
                  <a:pt x="518" y="112"/>
                  <a:pt x="519" y="112"/>
                  <a:pt x="519" y="112"/>
                </a:cubicBezTo>
                <a:cubicBezTo>
                  <a:pt x="519" y="112"/>
                  <a:pt x="518" y="112"/>
                  <a:pt x="518" y="112"/>
                </a:cubicBezTo>
                <a:cubicBezTo>
                  <a:pt x="518" y="112"/>
                  <a:pt x="518" y="111"/>
                  <a:pt x="518" y="111"/>
                </a:cubicBezTo>
                <a:cubicBezTo>
                  <a:pt x="517" y="110"/>
                  <a:pt x="522" y="106"/>
                  <a:pt x="525" y="106"/>
                </a:cubicBezTo>
                <a:close/>
                <a:moveTo>
                  <a:pt x="520" y="133"/>
                </a:moveTo>
                <a:cubicBezTo>
                  <a:pt x="522" y="131"/>
                  <a:pt x="522" y="133"/>
                  <a:pt x="520" y="133"/>
                </a:cubicBezTo>
                <a:close/>
                <a:moveTo>
                  <a:pt x="519" y="147"/>
                </a:moveTo>
                <a:cubicBezTo>
                  <a:pt x="519" y="146"/>
                  <a:pt x="521" y="145"/>
                  <a:pt x="521" y="146"/>
                </a:cubicBezTo>
                <a:cubicBezTo>
                  <a:pt x="522" y="147"/>
                  <a:pt x="520" y="147"/>
                  <a:pt x="519" y="147"/>
                </a:cubicBezTo>
                <a:close/>
                <a:moveTo>
                  <a:pt x="513" y="162"/>
                </a:moveTo>
                <a:cubicBezTo>
                  <a:pt x="512" y="161"/>
                  <a:pt x="516" y="159"/>
                  <a:pt x="516" y="161"/>
                </a:cubicBezTo>
                <a:cubicBezTo>
                  <a:pt x="517" y="162"/>
                  <a:pt x="513" y="163"/>
                  <a:pt x="513" y="162"/>
                </a:cubicBezTo>
                <a:close/>
                <a:moveTo>
                  <a:pt x="516" y="163"/>
                </a:moveTo>
                <a:cubicBezTo>
                  <a:pt x="516" y="164"/>
                  <a:pt x="515" y="165"/>
                  <a:pt x="516" y="164"/>
                </a:cubicBezTo>
                <a:cubicBezTo>
                  <a:pt x="516" y="164"/>
                  <a:pt x="516" y="164"/>
                  <a:pt x="516" y="163"/>
                </a:cubicBezTo>
                <a:close/>
                <a:moveTo>
                  <a:pt x="514" y="191"/>
                </a:moveTo>
                <a:cubicBezTo>
                  <a:pt x="515" y="190"/>
                  <a:pt x="516" y="192"/>
                  <a:pt x="514" y="191"/>
                </a:cubicBezTo>
                <a:close/>
                <a:moveTo>
                  <a:pt x="512" y="192"/>
                </a:moveTo>
                <a:cubicBezTo>
                  <a:pt x="512" y="191"/>
                  <a:pt x="514" y="191"/>
                  <a:pt x="514" y="191"/>
                </a:cubicBezTo>
                <a:cubicBezTo>
                  <a:pt x="514" y="192"/>
                  <a:pt x="512" y="192"/>
                  <a:pt x="512" y="192"/>
                </a:cubicBezTo>
                <a:close/>
                <a:moveTo>
                  <a:pt x="514" y="247"/>
                </a:moveTo>
                <a:cubicBezTo>
                  <a:pt x="514" y="248"/>
                  <a:pt x="513" y="245"/>
                  <a:pt x="514" y="247"/>
                </a:cubicBezTo>
                <a:close/>
                <a:moveTo>
                  <a:pt x="504" y="183"/>
                </a:moveTo>
                <a:cubicBezTo>
                  <a:pt x="506" y="182"/>
                  <a:pt x="506" y="181"/>
                  <a:pt x="504" y="181"/>
                </a:cubicBezTo>
                <a:cubicBezTo>
                  <a:pt x="505" y="178"/>
                  <a:pt x="508" y="175"/>
                  <a:pt x="511" y="176"/>
                </a:cubicBezTo>
                <a:cubicBezTo>
                  <a:pt x="517" y="179"/>
                  <a:pt x="509" y="186"/>
                  <a:pt x="504" y="183"/>
                </a:cubicBezTo>
                <a:close/>
                <a:moveTo>
                  <a:pt x="505" y="184"/>
                </a:moveTo>
                <a:cubicBezTo>
                  <a:pt x="505" y="184"/>
                  <a:pt x="505" y="184"/>
                  <a:pt x="505" y="184"/>
                </a:cubicBezTo>
                <a:cubicBezTo>
                  <a:pt x="506" y="186"/>
                  <a:pt x="503" y="183"/>
                  <a:pt x="505" y="184"/>
                </a:cubicBezTo>
                <a:close/>
                <a:moveTo>
                  <a:pt x="494" y="127"/>
                </a:moveTo>
                <a:cubicBezTo>
                  <a:pt x="494" y="127"/>
                  <a:pt x="497" y="125"/>
                  <a:pt x="498" y="127"/>
                </a:cubicBezTo>
                <a:cubicBezTo>
                  <a:pt x="498" y="128"/>
                  <a:pt x="494" y="129"/>
                  <a:pt x="494" y="127"/>
                </a:cubicBezTo>
                <a:close/>
                <a:moveTo>
                  <a:pt x="496" y="219"/>
                </a:moveTo>
                <a:cubicBezTo>
                  <a:pt x="495" y="219"/>
                  <a:pt x="496" y="218"/>
                  <a:pt x="496" y="218"/>
                </a:cubicBezTo>
                <a:cubicBezTo>
                  <a:pt x="497" y="218"/>
                  <a:pt x="496" y="219"/>
                  <a:pt x="496" y="219"/>
                </a:cubicBezTo>
                <a:close/>
                <a:moveTo>
                  <a:pt x="493" y="182"/>
                </a:moveTo>
                <a:cubicBezTo>
                  <a:pt x="493" y="181"/>
                  <a:pt x="495" y="181"/>
                  <a:pt x="495" y="181"/>
                </a:cubicBezTo>
                <a:cubicBezTo>
                  <a:pt x="496" y="182"/>
                  <a:pt x="494" y="183"/>
                  <a:pt x="493" y="182"/>
                </a:cubicBezTo>
                <a:close/>
                <a:moveTo>
                  <a:pt x="494" y="221"/>
                </a:moveTo>
                <a:cubicBezTo>
                  <a:pt x="494" y="221"/>
                  <a:pt x="495" y="220"/>
                  <a:pt x="495" y="220"/>
                </a:cubicBezTo>
                <a:cubicBezTo>
                  <a:pt x="495" y="220"/>
                  <a:pt x="494" y="222"/>
                  <a:pt x="494" y="221"/>
                </a:cubicBezTo>
                <a:close/>
                <a:moveTo>
                  <a:pt x="484" y="206"/>
                </a:moveTo>
                <a:cubicBezTo>
                  <a:pt x="487" y="204"/>
                  <a:pt x="490" y="201"/>
                  <a:pt x="492" y="200"/>
                </a:cubicBezTo>
                <a:cubicBezTo>
                  <a:pt x="492" y="200"/>
                  <a:pt x="494" y="199"/>
                  <a:pt x="493" y="200"/>
                </a:cubicBezTo>
                <a:cubicBezTo>
                  <a:pt x="492" y="203"/>
                  <a:pt x="487" y="205"/>
                  <a:pt x="484" y="206"/>
                </a:cubicBezTo>
                <a:close/>
                <a:moveTo>
                  <a:pt x="491" y="221"/>
                </a:moveTo>
                <a:cubicBezTo>
                  <a:pt x="491" y="220"/>
                  <a:pt x="493" y="220"/>
                  <a:pt x="493" y="221"/>
                </a:cubicBezTo>
                <a:cubicBezTo>
                  <a:pt x="493" y="222"/>
                  <a:pt x="491" y="222"/>
                  <a:pt x="491" y="221"/>
                </a:cubicBezTo>
                <a:close/>
                <a:moveTo>
                  <a:pt x="480" y="95"/>
                </a:moveTo>
                <a:cubicBezTo>
                  <a:pt x="482" y="94"/>
                  <a:pt x="483" y="93"/>
                  <a:pt x="485" y="93"/>
                </a:cubicBezTo>
                <a:cubicBezTo>
                  <a:pt x="483" y="94"/>
                  <a:pt x="482" y="95"/>
                  <a:pt x="480" y="95"/>
                </a:cubicBezTo>
                <a:close/>
                <a:moveTo>
                  <a:pt x="481" y="162"/>
                </a:moveTo>
                <a:cubicBezTo>
                  <a:pt x="481" y="160"/>
                  <a:pt x="484" y="161"/>
                  <a:pt x="481" y="162"/>
                </a:cubicBezTo>
                <a:close/>
                <a:moveTo>
                  <a:pt x="482" y="109"/>
                </a:moveTo>
                <a:cubicBezTo>
                  <a:pt x="481" y="112"/>
                  <a:pt x="478" y="110"/>
                  <a:pt x="482" y="109"/>
                </a:cubicBezTo>
                <a:close/>
                <a:moveTo>
                  <a:pt x="496" y="72"/>
                </a:moveTo>
                <a:cubicBezTo>
                  <a:pt x="496" y="73"/>
                  <a:pt x="495" y="73"/>
                  <a:pt x="494" y="73"/>
                </a:cubicBezTo>
                <a:cubicBezTo>
                  <a:pt x="494" y="73"/>
                  <a:pt x="496" y="71"/>
                  <a:pt x="496" y="72"/>
                </a:cubicBezTo>
                <a:close/>
                <a:moveTo>
                  <a:pt x="494" y="43"/>
                </a:moveTo>
                <a:cubicBezTo>
                  <a:pt x="494" y="43"/>
                  <a:pt x="496" y="43"/>
                  <a:pt x="496" y="43"/>
                </a:cubicBezTo>
                <a:cubicBezTo>
                  <a:pt x="497" y="45"/>
                  <a:pt x="494" y="44"/>
                  <a:pt x="494" y="43"/>
                </a:cubicBezTo>
                <a:close/>
                <a:moveTo>
                  <a:pt x="493" y="64"/>
                </a:moveTo>
                <a:cubicBezTo>
                  <a:pt x="493" y="64"/>
                  <a:pt x="494" y="64"/>
                  <a:pt x="495" y="65"/>
                </a:cubicBezTo>
                <a:cubicBezTo>
                  <a:pt x="495" y="66"/>
                  <a:pt x="493" y="65"/>
                  <a:pt x="493" y="64"/>
                </a:cubicBezTo>
                <a:close/>
                <a:moveTo>
                  <a:pt x="499" y="87"/>
                </a:moveTo>
                <a:cubicBezTo>
                  <a:pt x="498" y="89"/>
                  <a:pt x="488" y="88"/>
                  <a:pt x="488" y="87"/>
                </a:cubicBezTo>
                <a:cubicBezTo>
                  <a:pt x="489" y="86"/>
                  <a:pt x="496" y="88"/>
                  <a:pt x="499" y="87"/>
                </a:cubicBezTo>
                <a:close/>
                <a:moveTo>
                  <a:pt x="493" y="105"/>
                </a:moveTo>
                <a:cubicBezTo>
                  <a:pt x="493" y="105"/>
                  <a:pt x="493" y="105"/>
                  <a:pt x="493" y="105"/>
                </a:cubicBezTo>
                <a:cubicBezTo>
                  <a:pt x="493" y="105"/>
                  <a:pt x="493" y="105"/>
                  <a:pt x="492" y="105"/>
                </a:cubicBezTo>
                <a:cubicBezTo>
                  <a:pt x="489" y="105"/>
                  <a:pt x="493" y="97"/>
                  <a:pt x="497" y="101"/>
                </a:cubicBezTo>
                <a:cubicBezTo>
                  <a:pt x="498" y="102"/>
                  <a:pt x="498" y="102"/>
                  <a:pt x="498" y="103"/>
                </a:cubicBezTo>
                <a:cubicBezTo>
                  <a:pt x="498" y="106"/>
                  <a:pt x="494" y="107"/>
                  <a:pt x="493" y="105"/>
                </a:cubicBezTo>
                <a:close/>
                <a:moveTo>
                  <a:pt x="495" y="108"/>
                </a:moveTo>
                <a:cubicBezTo>
                  <a:pt x="495" y="108"/>
                  <a:pt x="494" y="109"/>
                  <a:pt x="494" y="108"/>
                </a:cubicBezTo>
                <a:cubicBezTo>
                  <a:pt x="493" y="108"/>
                  <a:pt x="495" y="107"/>
                  <a:pt x="495" y="108"/>
                </a:cubicBezTo>
                <a:close/>
                <a:moveTo>
                  <a:pt x="494" y="174"/>
                </a:moveTo>
                <a:cubicBezTo>
                  <a:pt x="494" y="175"/>
                  <a:pt x="492" y="176"/>
                  <a:pt x="492" y="175"/>
                </a:cubicBezTo>
                <a:cubicBezTo>
                  <a:pt x="492" y="174"/>
                  <a:pt x="494" y="173"/>
                  <a:pt x="494" y="174"/>
                </a:cubicBezTo>
                <a:close/>
                <a:moveTo>
                  <a:pt x="495" y="98"/>
                </a:moveTo>
                <a:cubicBezTo>
                  <a:pt x="496" y="99"/>
                  <a:pt x="494" y="98"/>
                  <a:pt x="495" y="98"/>
                </a:cubicBezTo>
                <a:close/>
                <a:moveTo>
                  <a:pt x="499" y="91"/>
                </a:moveTo>
                <a:cubicBezTo>
                  <a:pt x="498" y="92"/>
                  <a:pt x="497" y="91"/>
                  <a:pt x="499" y="91"/>
                </a:cubicBezTo>
                <a:close/>
                <a:moveTo>
                  <a:pt x="491" y="166"/>
                </a:moveTo>
                <a:cubicBezTo>
                  <a:pt x="491" y="167"/>
                  <a:pt x="489" y="169"/>
                  <a:pt x="488" y="169"/>
                </a:cubicBezTo>
                <a:cubicBezTo>
                  <a:pt x="488" y="167"/>
                  <a:pt x="490" y="167"/>
                  <a:pt x="491" y="166"/>
                </a:cubicBezTo>
                <a:close/>
                <a:moveTo>
                  <a:pt x="485" y="144"/>
                </a:moveTo>
                <a:cubicBezTo>
                  <a:pt x="488" y="143"/>
                  <a:pt x="489" y="145"/>
                  <a:pt x="485" y="144"/>
                </a:cubicBezTo>
                <a:close/>
                <a:moveTo>
                  <a:pt x="486" y="93"/>
                </a:moveTo>
                <a:cubicBezTo>
                  <a:pt x="488" y="92"/>
                  <a:pt x="489" y="91"/>
                  <a:pt x="491" y="90"/>
                </a:cubicBezTo>
                <a:cubicBezTo>
                  <a:pt x="490" y="92"/>
                  <a:pt x="488" y="92"/>
                  <a:pt x="486" y="93"/>
                </a:cubicBezTo>
                <a:close/>
                <a:moveTo>
                  <a:pt x="491" y="61"/>
                </a:moveTo>
                <a:cubicBezTo>
                  <a:pt x="491" y="60"/>
                  <a:pt x="492" y="60"/>
                  <a:pt x="493" y="61"/>
                </a:cubicBezTo>
                <a:cubicBezTo>
                  <a:pt x="492" y="61"/>
                  <a:pt x="492" y="61"/>
                  <a:pt x="491" y="61"/>
                </a:cubicBezTo>
                <a:close/>
                <a:moveTo>
                  <a:pt x="490" y="74"/>
                </a:moveTo>
                <a:cubicBezTo>
                  <a:pt x="491" y="73"/>
                  <a:pt x="491" y="75"/>
                  <a:pt x="490" y="74"/>
                </a:cubicBezTo>
                <a:close/>
                <a:moveTo>
                  <a:pt x="489" y="67"/>
                </a:moveTo>
                <a:cubicBezTo>
                  <a:pt x="488" y="66"/>
                  <a:pt x="490" y="66"/>
                  <a:pt x="490" y="66"/>
                </a:cubicBezTo>
                <a:cubicBezTo>
                  <a:pt x="491" y="67"/>
                  <a:pt x="489" y="68"/>
                  <a:pt x="489" y="67"/>
                </a:cubicBezTo>
                <a:close/>
                <a:moveTo>
                  <a:pt x="488" y="60"/>
                </a:moveTo>
                <a:cubicBezTo>
                  <a:pt x="488" y="60"/>
                  <a:pt x="489" y="60"/>
                  <a:pt x="489" y="60"/>
                </a:cubicBezTo>
                <a:cubicBezTo>
                  <a:pt x="489" y="60"/>
                  <a:pt x="489" y="61"/>
                  <a:pt x="488" y="60"/>
                </a:cubicBezTo>
                <a:close/>
                <a:moveTo>
                  <a:pt x="492" y="82"/>
                </a:moveTo>
                <a:cubicBezTo>
                  <a:pt x="492" y="84"/>
                  <a:pt x="487" y="83"/>
                  <a:pt x="487" y="81"/>
                </a:cubicBezTo>
                <a:cubicBezTo>
                  <a:pt x="487" y="79"/>
                  <a:pt x="492" y="79"/>
                  <a:pt x="492" y="82"/>
                </a:cubicBezTo>
                <a:close/>
                <a:moveTo>
                  <a:pt x="483" y="73"/>
                </a:moveTo>
                <a:cubicBezTo>
                  <a:pt x="482" y="71"/>
                  <a:pt x="487" y="70"/>
                  <a:pt x="487" y="72"/>
                </a:cubicBezTo>
                <a:cubicBezTo>
                  <a:pt x="488" y="75"/>
                  <a:pt x="483" y="74"/>
                  <a:pt x="483" y="73"/>
                </a:cubicBezTo>
                <a:close/>
                <a:moveTo>
                  <a:pt x="483" y="60"/>
                </a:moveTo>
                <a:cubicBezTo>
                  <a:pt x="483" y="60"/>
                  <a:pt x="483" y="60"/>
                  <a:pt x="483" y="60"/>
                </a:cubicBezTo>
                <a:cubicBezTo>
                  <a:pt x="484" y="62"/>
                  <a:pt x="481" y="59"/>
                  <a:pt x="483" y="60"/>
                </a:cubicBezTo>
                <a:close/>
                <a:moveTo>
                  <a:pt x="482" y="62"/>
                </a:moveTo>
                <a:cubicBezTo>
                  <a:pt x="483" y="63"/>
                  <a:pt x="481" y="63"/>
                  <a:pt x="481" y="62"/>
                </a:cubicBezTo>
                <a:cubicBezTo>
                  <a:pt x="481" y="62"/>
                  <a:pt x="482" y="62"/>
                  <a:pt x="482" y="62"/>
                </a:cubicBezTo>
                <a:close/>
                <a:moveTo>
                  <a:pt x="487" y="184"/>
                </a:moveTo>
                <a:cubicBezTo>
                  <a:pt x="487" y="185"/>
                  <a:pt x="485" y="186"/>
                  <a:pt x="484" y="186"/>
                </a:cubicBezTo>
                <a:cubicBezTo>
                  <a:pt x="485" y="185"/>
                  <a:pt x="486" y="185"/>
                  <a:pt x="487" y="184"/>
                </a:cubicBezTo>
                <a:close/>
                <a:moveTo>
                  <a:pt x="495" y="174"/>
                </a:moveTo>
                <a:cubicBezTo>
                  <a:pt x="495" y="174"/>
                  <a:pt x="495" y="174"/>
                  <a:pt x="495" y="174"/>
                </a:cubicBezTo>
                <a:cubicBezTo>
                  <a:pt x="495" y="175"/>
                  <a:pt x="494" y="175"/>
                  <a:pt x="495" y="174"/>
                </a:cubicBezTo>
                <a:close/>
                <a:moveTo>
                  <a:pt x="498" y="141"/>
                </a:moveTo>
                <a:cubicBezTo>
                  <a:pt x="499" y="142"/>
                  <a:pt x="497" y="143"/>
                  <a:pt x="497" y="142"/>
                </a:cubicBezTo>
                <a:cubicBezTo>
                  <a:pt x="496" y="141"/>
                  <a:pt x="498" y="141"/>
                  <a:pt x="498" y="141"/>
                </a:cubicBezTo>
                <a:close/>
                <a:moveTo>
                  <a:pt x="497" y="131"/>
                </a:moveTo>
                <a:cubicBezTo>
                  <a:pt x="497" y="131"/>
                  <a:pt x="498" y="131"/>
                  <a:pt x="498" y="131"/>
                </a:cubicBezTo>
                <a:cubicBezTo>
                  <a:pt x="499" y="132"/>
                  <a:pt x="497" y="132"/>
                  <a:pt x="497" y="131"/>
                </a:cubicBezTo>
                <a:close/>
                <a:moveTo>
                  <a:pt x="498" y="128"/>
                </a:moveTo>
                <a:cubicBezTo>
                  <a:pt x="499" y="129"/>
                  <a:pt x="500" y="126"/>
                  <a:pt x="501" y="126"/>
                </a:cubicBezTo>
                <a:cubicBezTo>
                  <a:pt x="508" y="122"/>
                  <a:pt x="510" y="132"/>
                  <a:pt x="502" y="132"/>
                </a:cubicBezTo>
                <a:cubicBezTo>
                  <a:pt x="501" y="132"/>
                  <a:pt x="498" y="131"/>
                  <a:pt x="498" y="128"/>
                </a:cubicBezTo>
                <a:close/>
                <a:moveTo>
                  <a:pt x="502" y="94"/>
                </a:moveTo>
                <a:cubicBezTo>
                  <a:pt x="503" y="93"/>
                  <a:pt x="504" y="95"/>
                  <a:pt x="502" y="94"/>
                </a:cubicBezTo>
                <a:close/>
                <a:moveTo>
                  <a:pt x="505" y="67"/>
                </a:moveTo>
                <a:cubicBezTo>
                  <a:pt x="505" y="67"/>
                  <a:pt x="505" y="68"/>
                  <a:pt x="504" y="68"/>
                </a:cubicBezTo>
                <a:cubicBezTo>
                  <a:pt x="502" y="68"/>
                  <a:pt x="504" y="64"/>
                  <a:pt x="505" y="67"/>
                </a:cubicBezTo>
                <a:close/>
                <a:moveTo>
                  <a:pt x="503" y="121"/>
                </a:moveTo>
                <a:cubicBezTo>
                  <a:pt x="504" y="121"/>
                  <a:pt x="502" y="123"/>
                  <a:pt x="501" y="122"/>
                </a:cubicBezTo>
                <a:cubicBezTo>
                  <a:pt x="502" y="122"/>
                  <a:pt x="502" y="122"/>
                  <a:pt x="503" y="121"/>
                </a:cubicBezTo>
                <a:close/>
                <a:moveTo>
                  <a:pt x="506" y="123"/>
                </a:moveTo>
                <a:cubicBezTo>
                  <a:pt x="507" y="123"/>
                  <a:pt x="505" y="124"/>
                  <a:pt x="505" y="124"/>
                </a:cubicBezTo>
                <a:cubicBezTo>
                  <a:pt x="505" y="123"/>
                  <a:pt x="505" y="122"/>
                  <a:pt x="506" y="123"/>
                </a:cubicBezTo>
                <a:close/>
                <a:moveTo>
                  <a:pt x="506" y="142"/>
                </a:moveTo>
                <a:cubicBezTo>
                  <a:pt x="507" y="142"/>
                  <a:pt x="505" y="143"/>
                  <a:pt x="505" y="142"/>
                </a:cubicBezTo>
                <a:cubicBezTo>
                  <a:pt x="505" y="142"/>
                  <a:pt x="506" y="142"/>
                  <a:pt x="506" y="142"/>
                </a:cubicBezTo>
                <a:close/>
                <a:moveTo>
                  <a:pt x="502" y="137"/>
                </a:moveTo>
                <a:cubicBezTo>
                  <a:pt x="503" y="139"/>
                  <a:pt x="499" y="139"/>
                  <a:pt x="499" y="138"/>
                </a:cubicBezTo>
                <a:cubicBezTo>
                  <a:pt x="499" y="136"/>
                  <a:pt x="502" y="136"/>
                  <a:pt x="502" y="137"/>
                </a:cubicBezTo>
                <a:close/>
                <a:moveTo>
                  <a:pt x="504" y="199"/>
                </a:moveTo>
                <a:cubicBezTo>
                  <a:pt x="504" y="199"/>
                  <a:pt x="503" y="200"/>
                  <a:pt x="503" y="200"/>
                </a:cubicBezTo>
                <a:cubicBezTo>
                  <a:pt x="501" y="200"/>
                  <a:pt x="503" y="197"/>
                  <a:pt x="504" y="199"/>
                </a:cubicBezTo>
                <a:close/>
                <a:moveTo>
                  <a:pt x="512" y="113"/>
                </a:moveTo>
                <a:cubicBezTo>
                  <a:pt x="512" y="114"/>
                  <a:pt x="509" y="116"/>
                  <a:pt x="507" y="114"/>
                </a:cubicBezTo>
                <a:cubicBezTo>
                  <a:pt x="506" y="113"/>
                  <a:pt x="511" y="111"/>
                  <a:pt x="512" y="113"/>
                </a:cubicBezTo>
                <a:close/>
                <a:moveTo>
                  <a:pt x="508" y="101"/>
                </a:moveTo>
                <a:cubicBezTo>
                  <a:pt x="508" y="100"/>
                  <a:pt x="509" y="100"/>
                  <a:pt x="510" y="101"/>
                </a:cubicBezTo>
                <a:cubicBezTo>
                  <a:pt x="511" y="102"/>
                  <a:pt x="508" y="102"/>
                  <a:pt x="508" y="101"/>
                </a:cubicBezTo>
                <a:close/>
                <a:moveTo>
                  <a:pt x="510" y="102"/>
                </a:moveTo>
                <a:cubicBezTo>
                  <a:pt x="511" y="101"/>
                  <a:pt x="512" y="103"/>
                  <a:pt x="510" y="102"/>
                </a:cubicBezTo>
                <a:close/>
                <a:moveTo>
                  <a:pt x="514" y="132"/>
                </a:moveTo>
                <a:cubicBezTo>
                  <a:pt x="514" y="132"/>
                  <a:pt x="514" y="133"/>
                  <a:pt x="514" y="134"/>
                </a:cubicBezTo>
                <a:cubicBezTo>
                  <a:pt x="512" y="137"/>
                  <a:pt x="512" y="131"/>
                  <a:pt x="514" y="132"/>
                </a:cubicBezTo>
                <a:close/>
                <a:moveTo>
                  <a:pt x="515" y="154"/>
                </a:moveTo>
                <a:cubicBezTo>
                  <a:pt x="515" y="154"/>
                  <a:pt x="515" y="153"/>
                  <a:pt x="515" y="153"/>
                </a:cubicBezTo>
                <a:cubicBezTo>
                  <a:pt x="516" y="154"/>
                  <a:pt x="515" y="155"/>
                  <a:pt x="515" y="154"/>
                </a:cubicBezTo>
                <a:close/>
                <a:moveTo>
                  <a:pt x="516" y="153"/>
                </a:moveTo>
                <a:cubicBezTo>
                  <a:pt x="516" y="151"/>
                  <a:pt x="519" y="152"/>
                  <a:pt x="516" y="153"/>
                </a:cubicBezTo>
                <a:close/>
                <a:moveTo>
                  <a:pt x="513" y="148"/>
                </a:moveTo>
                <a:cubicBezTo>
                  <a:pt x="514" y="147"/>
                  <a:pt x="516" y="145"/>
                  <a:pt x="517" y="145"/>
                </a:cubicBezTo>
                <a:cubicBezTo>
                  <a:pt x="520" y="143"/>
                  <a:pt x="516" y="149"/>
                  <a:pt x="513" y="148"/>
                </a:cubicBezTo>
                <a:close/>
                <a:moveTo>
                  <a:pt x="515" y="134"/>
                </a:moveTo>
                <a:cubicBezTo>
                  <a:pt x="514" y="133"/>
                  <a:pt x="515" y="133"/>
                  <a:pt x="515" y="134"/>
                </a:cubicBezTo>
                <a:close/>
                <a:moveTo>
                  <a:pt x="518" y="86"/>
                </a:moveTo>
                <a:cubicBezTo>
                  <a:pt x="517" y="86"/>
                  <a:pt x="519" y="86"/>
                  <a:pt x="519" y="86"/>
                </a:cubicBezTo>
                <a:cubicBezTo>
                  <a:pt x="520" y="86"/>
                  <a:pt x="518" y="87"/>
                  <a:pt x="518" y="86"/>
                </a:cubicBezTo>
                <a:close/>
                <a:moveTo>
                  <a:pt x="518" y="88"/>
                </a:moveTo>
                <a:cubicBezTo>
                  <a:pt x="519" y="87"/>
                  <a:pt x="520" y="88"/>
                  <a:pt x="518" y="88"/>
                </a:cubicBezTo>
                <a:close/>
                <a:moveTo>
                  <a:pt x="519" y="94"/>
                </a:moveTo>
                <a:cubicBezTo>
                  <a:pt x="519" y="96"/>
                  <a:pt x="514" y="96"/>
                  <a:pt x="515" y="93"/>
                </a:cubicBezTo>
                <a:cubicBezTo>
                  <a:pt x="515" y="92"/>
                  <a:pt x="519" y="92"/>
                  <a:pt x="519" y="94"/>
                </a:cubicBezTo>
                <a:close/>
                <a:moveTo>
                  <a:pt x="516" y="113"/>
                </a:moveTo>
                <a:cubicBezTo>
                  <a:pt x="516" y="112"/>
                  <a:pt x="516" y="112"/>
                  <a:pt x="516" y="112"/>
                </a:cubicBezTo>
                <a:cubicBezTo>
                  <a:pt x="518" y="110"/>
                  <a:pt x="517" y="114"/>
                  <a:pt x="516" y="113"/>
                </a:cubicBezTo>
                <a:close/>
                <a:moveTo>
                  <a:pt x="518" y="143"/>
                </a:moveTo>
                <a:cubicBezTo>
                  <a:pt x="518" y="143"/>
                  <a:pt x="516" y="144"/>
                  <a:pt x="516" y="144"/>
                </a:cubicBezTo>
                <a:cubicBezTo>
                  <a:pt x="516" y="143"/>
                  <a:pt x="517" y="142"/>
                  <a:pt x="518" y="143"/>
                </a:cubicBezTo>
                <a:close/>
                <a:moveTo>
                  <a:pt x="515" y="139"/>
                </a:moveTo>
                <a:cubicBezTo>
                  <a:pt x="516" y="140"/>
                  <a:pt x="515" y="140"/>
                  <a:pt x="515" y="140"/>
                </a:cubicBezTo>
                <a:cubicBezTo>
                  <a:pt x="515" y="140"/>
                  <a:pt x="515" y="139"/>
                  <a:pt x="515" y="139"/>
                </a:cubicBezTo>
                <a:close/>
                <a:moveTo>
                  <a:pt x="519" y="150"/>
                </a:moveTo>
                <a:cubicBezTo>
                  <a:pt x="520" y="150"/>
                  <a:pt x="518" y="151"/>
                  <a:pt x="518" y="151"/>
                </a:cubicBezTo>
                <a:cubicBezTo>
                  <a:pt x="517" y="150"/>
                  <a:pt x="519" y="150"/>
                  <a:pt x="519" y="150"/>
                </a:cubicBezTo>
                <a:close/>
                <a:moveTo>
                  <a:pt x="525" y="72"/>
                </a:moveTo>
                <a:cubicBezTo>
                  <a:pt x="525" y="72"/>
                  <a:pt x="525" y="72"/>
                  <a:pt x="524" y="72"/>
                </a:cubicBezTo>
                <a:cubicBezTo>
                  <a:pt x="524" y="72"/>
                  <a:pt x="525" y="71"/>
                  <a:pt x="525" y="72"/>
                </a:cubicBezTo>
                <a:close/>
                <a:moveTo>
                  <a:pt x="509" y="73"/>
                </a:moveTo>
                <a:cubicBezTo>
                  <a:pt x="510" y="72"/>
                  <a:pt x="513" y="74"/>
                  <a:pt x="516" y="74"/>
                </a:cubicBezTo>
                <a:cubicBezTo>
                  <a:pt x="517" y="73"/>
                  <a:pt x="522" y="72"/>
                  <a:pt x="523" y="73"/>
                </a:cubicBezTo>
                <a:cubicBezTo>
                  <a:pt x="523" y="75"/>
                  <a:pt x="517" y="75"/>
                  <a:pt x="517" y="75"/>
                </a:cubicBezTo>
                <a:cubicBezTo>
                  <a:pt x="517" y="76"/>
                  <a:pt x="520" y="79"/>
                  <a:pt x="520" y="79"/>
                </a:cubicBezTo>
                <a:cubicBezTo>
                  <a:pt x="522" y="87"/>
                  <a:pt x="509" y="84"/>
                  <a:pt x="506" y="82"/>
                </a:cubicBezTo>
                <a:cubicBezTo>
                  <a:pt x="501" y="80"/>
                  <a:pt x="510" y="81"/>
                  <a:pt x="507" y="77"/>
                </a:cubicBezTo>
                <a:cubicBezTo>
                  <a:pt x="511" y="79"/>
                  <a:pt x="508" y="74"/>
                  <a:pt x="509" y="73"/>
                </a:cubicBezTo>
                <a:close/>
                <a:moveTo>
                  <a:pt x="509" y="61"/>
                </a:moveTo>
                <a:cubicBezTo>
                  <a:pt x="510" y="61"/>
                  <a:pt x="508" y="62"/>
                  <a:pt x="507" y="61"/>
                </a:cubicBezTo>
                <a:cubicBezTo>
                  <a:pt x="507" y="61"/>
                  <a:pt x="509" y="60"/>
                  <a:pt x="509" y="61"/>
                </a:cubicBezTo>
                <a:close/>
                <a:moveTo>
                  <a:pt x="511" y="36"/>
                </a:moveTo>
                <a:cubicBezTo>
                  <a:pt x="511" y="37"/>
                  <a:pt x="509" y="37"/>
                  <a:pt x="509" y="36"/>
                </a:cubicBezTo>
                <a:cubicBezTo>
                  <a:pt x="509" y="35"/>
                  <a:pt x="510" y="35"/>
                  <a:pt x="511" y="36"/>
                </a:cubicBezTo>
                <a:close/>
                <a:moveTo>
                  <a:pt x="509" y="38"/>
                </a:moveTo>
                <a:cubicBezTo>
                  <a:pt x="509" y="40"/>
                  <a:pt x="506" y="39"/>
                  <a:pt x="506" y="38"/>
                </a:cubicBezTo>
                <a:cubicBezTo>
                  <a:pt x="506" y="37"/>
                  <a:pt x="509" y="36"/>
                  <a:pt x="509" y="38"/>
                </a:cubicBezTo>
                <a:close/>
                <a:moveTo>
                  <a:pt x="509" y="50"/>
                </a:moveTo>
                <a:cubicBezTo>
                  <a:pt x="504" y="53"/>
                  <a:pt x="503" y="50"/>
                  <a:pt x="509" y="50"/>
                </a:cubicBezTo>
                <a:close/>
                <a:moveTo>
                  <a:pt x="506" y="53"/>
                </a:moveTo>
                <a:cubicBezTo>
                  <a:pt x="505" y="54"/>
                  <a:pt x="504" y="53"/>
                  <a:pt x="504" y="53"/>
                </a:cubicBezTo>
                <a:cubicBezTo>
                  <a:pt x="504" y="53"/>
                  <a:pt x="506" y="53"/>
                  <a:pt x="506" y="53"/>
                </a:cubicBezTo>
                <a:close/>
                <a:moveTo>
                  <a:pt x="504" y="64"/>
                </a:moveTo>
                <a:cubicBezTo>
                  <a:pt x="503" y="65"/>
                  <a:pt x="502" y="65"/>
                  <a:pt x="501" y="65"/>
                </a:cubicBezTo>
                <a:cubicBezTo>
                  <a:pt x="501" y="64"/>
                  <a:pt x="503" y="63"/>
                  <a:pt x="504" y="64"/>
                </a:cubicBezTo>
                <a:close/>
                <a:moveTo>
                  <a:pt x="501" y="64"/>
                </a:moveTo>
                <a:cubicBezTo>
                  <a:pt x="501" y="64"/>
                  <a:pt x="500" y="65"/>
                  <a:pt x="500" y="64"/>
                </a:cubicBezTo>
                <a:cubicBezTo>
                  <a:pt x="500" y="64"/>
                  <a:pt x="501" y="63"/>
                  <a:pt x="501" y="64"/>
                </a:cubicBezTo>
                <a:close/>
                <a:moveTo>
                  <a:pt x="501" y="123"/>
                </a:moveTo>
                <a:cubicBezTo>
                  <a:pt x="501" y="123"/>
                  <a:pt x="501" y="123"/>
                  <a:pt x="501" y="123"/>
                </a:cubicBezTo>
                <a:cubicBezTo>
                  <a:pt x="502" y="125"/>
                  <a:pt x="499" y="121"/>
                  <a:pt x="501" y="123"/>
                </a:cubicBezTo>
                <a:close/>
                <a:moveTo>
                  <a:pt x="499" y="65"/>
                </a:moveTo>
                <a:cubicBezTo>
                  <a:pt x="501" y="65"/>
                  <a:pt x="497" y="65"/>
                  <a:pt x="499" y="65"/>
                </a:cubicBezTo>
                <a:close/>
                <a:moveTo>
                  <a:pt x="498" y="38"/>
                </a:moveTo>
                <a:cubicBezTo>
                  <a:pt x="498" y="38"/>
                  <a:pt x="497" y="39"/>
                  <a:pt x="497" y="38"/>
                </a:cubicBezTo>
                <a:cubicBezTo>
                  <a:pt x="497" y="38"/>
                  <a:pt x="497" y="37"/>
                  <a:pt x="498" y="38"/>
                </a:cubicBezTo>
                <a:close/>
                <a:moveTo>
                  <a:pt x="497" y="31"/>
                </a:moveTo>
                <a:cubicBezTo>
                  <a:pt x="497" y="32"/>
                  <a:pt x="495" y="32"/>
                  <a:pt x="495" y="31"/>
                </a:cubicBezTo>
                <a:cubicBezTo>
                  <a:pt x="495" y="31"/>
                  <a:pt x="496" y="31"/>
                  <a:pt x="497" y="31"/>
                </a:cubicBezTo>
                <a:close/>
                <a:moveTo>
                  <a:pt x="496" y="40"/>
                </a:moveTo>
                <a:cubicBezTo>
                  <a:pt x="496" y="41"/>
                  <a:pt x="493" y="42"/>
                  <a:pt x="493" y="41"/>
                </a:cubicBezTo>
                <a:cubicBezTo>
                  <a:pt x="492" y="40"/>
                  <a:pt x="495" y="39"/>
                  <a:pt x="496" y="40"/>
                </a:cubicBezTo>
                <a:close/>
                <a:moveTo>
                  <a:pt x="492" y="44"/>
                </a:moveTo>
                <a:cubicBezTo>
                  <a:pt x="493" y="43"/>
                  <a:pt x="494" y="45"/>
                  <a:pt x="492" y="44"/>
                </a:cubicBezTo>
                <a:close/>
                <a:moveTo>
                  <a:pt x="488" y="29"/>
                </a:moveTo>
                <a:cubicBezTo>
                  <a:pt x="489" y="30"/>
                  <a:pt x="486" y="30"/>
                  <a:pt x="486" y="29"/>
                </a:cubicBezTo>
                <a:cubicBezTo>
                  <a:pt x="486" y="28"/>
                  <a:pt x="488" y="28"/>
                  <a:pt x="488" y="29"/>
                </a:cubicBezTo>
                <a:close/>
                <a:moveTo>
                  <a:pt x="487" y="31"/>
                </a:moveTo>
                <a:cubicBezTo>
                  <a:pt x="487" y="31"/>
                  <a:pt x="488" y="31"/>
                  <a:pt x="488" y="31"/>
                </a:cubicBezTo>
                <a:cubicBezTo>
                  <a:pt x="489" y="32"/>
                  <a:pt x="487" y="32"/>
                  <a:pt x="487" y="31"/>
                </a:cubicBezTo>
                <a:close/>
                <a:moveTo>
                  <a:pt x="488" y="40"/>
                </a:moveTo>
                <a:cubicBezTo>
                  <a:pt x="488" y="41"/>
                  <a:pt x="487" y="41"/>
                  <a:pt x="486" y="41"/>
                </a:cubicBezTo>
                <a:cubicBezTo>
                  <a:pt x="486" y="40"/>
                  <a:pt x="487" y="40"/>
                  <a:pt x="488" y="40"/>
                </a:cubicBezTo>
                <a:close/>
                <a:moveTo>
                  <a:pt x="484" y="41"/>
                </a:moveTo>
                <a:cubicBezTo>
                  <a:pt x="485" y="42"/>
                  <a:pt x="483" y="42"/>
                  <a:pt x="483" y="42"/>
                </a:cubicBezTo>
                <a:cubicBezTo>
                  <a:pt x="483" y="41"/>
                  <a:pt x="484" y="41"/>
                  <a:pt x="484" y="41"/>
                </a:cubicBezTo>
                <a:close/>
                <a:moveTo>
                  <a:pt x="483" y="38"/>
                </a:moveTo>
                <a:cubicBezTo>
                  <a:pt x="482" y="37"/>
                  <a:pt x="484" y="38"/>
                  <a:pt x="483" y="38"/>
                </a:cubicBezTo>
                <a:close/>
                <a:moveTo>
                  <a:pt x="483" y="51"/>
                </a:moveTo>
                <a:cubicBezTo>
                  <a:pt x="485" y="47"/>
                  <a:pt x="492" y="43"/>
                  <a:pt x="496" y="48"/>
                </a:cubicBezTo>
                <a:cubicBezTo>
                  <a:pt x="496" y="49"/>
                  <a:pt x="494" y="53"/>
                  <a:pt x="493" y="53"/>
                </a:cubicBezTo>
                <a:cubicBezTo>
                  <a:pt x="493" y="53"/>
                  <a:pt x="491" y="53"/>
                  <a:pt x="490" y="53"/>
                </a:cubicBezTo>
                <a:cubicBezTo>
                  <a:pt x="490" y="53"/>
                  <a:pt x="490" y="54"/>
                  <a:pt x="489" y="54"/>
                </a:cubicBezTo>
                <a:cubicBezTo>
                  <a:pt x="488" y="54"/>
                  <a:pt x="485" y="54"/>
                  <a:pt x="483" y="54"/>
                </a:cubicBezTo>
                <a:cubicBezTo>
                  <a:pt x="483" y="54"/>
                  <a:pt x="483" y="54"/>
                  <a:pt x="482" y="54"/>
                </a:cubicBezTo>
                <a:cubicBezTo>
                  <a:pt x="482" y="53"/>
                  <a:pt x="483" y="52"/>
                  <a:pt x="483" y="51"/>
                </a:cubicBezTo>
                <a:close/>
                <a:moveTo>
                  <a:pt x="482" y="56"/>
                </a:moveTo>
                <a:cubicBezTo>
                  <a:pt x="483" y="57"/>
                  <a:pt x="480" y="57"/>
                  <a:pt x="480" y="57"/>
                </a:cubicBezTo>
                <a:cubicBezTo>
                  <a:pt x="479" y="55"/>
                  <a:pt x="482" y="55"/>
                  <a:pt x="482" y="56"/>
                </a:cubicBezTo>
                <a:close/>
                <a:moveTo>
                  <a:pt x="479" y="43"/>
                </a:moveTo>
                <a:cubicBezTo>
                  <a:pt x="479" y="45"/>
                  <a:pt x="475" y="45"/>
                  <a:pt x="474" y="44"/>
                </a:cubicBezTo>
                <a:cubicBezTo>
                  <a:pt x="474" y="43"/>
                  <a:pt x="478" y="42"/>
                  <a:pt x="479" y="43"/>
                </a:cubicBezTo>
                <a:close/>
                <a:moveTo>
                  <a:pt x="473" y="28"/>
                </a:moveTo>
                <a:cubicBezTo>
                  <a:pt x="472" y="28"/>
                  <a:pt x="474" y="28"/>
                  <a:pt x="473" y="28"/>
                </a:cubicBezTo>
                <a:close/>
                <a:moveTo>
                  <a:pt x="471" y="33"/>
                </a:moveTo>
                <a:cubicBezTo>
                  <a:pt x="471" y="34"/>
                  <a:pt x="470" y="34"/>
                  <a:pt x="469" y="34"/>
                </a:cubicBezTo>
                <a:cubicBezTo>
                  <a:pt x="469" y="33"/>
                  <a:pt x="471" y="32"/>
                  <a:pt x="471" y="33"/>
                </a:cubicBezTo>
                <a:close/>
                <a:moveTo>
                  <a:pt x="467" y="32"/>
                </a:moveTo>
                <a:cubicBezTo>
                  <a:pt x="469" y="31"/>
                  <a:pt x="470" y="33"/>
                  <a:pt x="467" y="32"/>
                </a:cubicBezTo>
                <a:close/>
                <a:moveTo>
                  <a:pt x="467" y="46"/>
                </a:moveTo>
                <a:cubicBezTo>
                  <a:pt x="468" y="44"/>
                  <a:pt x="469" y="47"/>
                  <a:pt x="467" y="46"/>
                </a:cubicBezTo>
                <a:close/>
                <a:moveTo>
                  <a:pt x="467" y="52"/>
                </a:moveTo>
                <a:cubicBezTo>
                  <a:pt x="466" y="52"/>
                  <a:pt x="468" y="53"/>
                  <a:pt x="467" y="52"/>
                </a:cubicBezTo>
                <a:close/>
                <a:moveTo>
                  <a:pt x="467" y="30"/>
                </a:moveTo>
                <a:cubicBezTo>
                  <a:pt x="467" y="30"/>
                  <a:pt x="468" y="31"/>
                  <a:pt x="467" y="31"/>
                </a:cubicBezTo>
                <a:cubicBezTo>
                  <a:pt x="465" y="31"/>
                  <a:pt x="467" y="28"/>
                  <a:pt x="467" y="30"/>
                </a:cubicBezTo>
                <a:close/>
                <a:moveTo>
                  <a:pt x="468" y="38"/>
                </a:moveTo>
                <a:cubicBezTo>
                  <a:pt x="468" y="39"/>
                  <a:pt x="466" y="40"/>
                  <a:pt x="465" y="39"/>
                </a:cubicBezTo>
                <a:cubicBezTo>
                  <a:pt x="465" y="38"/>
                  <a:pt x="467" y="37"/>
                  <a:pt x="468" y="38"/>
                </a:cubicBezTo>
                <a:close/>
                <a:moveTo>
                  <a:pt x="464" y="49"/>
                </a:moveTo>
                <a:cubicBezTo>
                  <a:pt x="463" y="50"/>
                  <a:pt x="462" y="48"/>
                  <a:pt x="462" y="49"/>
                </a:cubicBezTo>
                <a:cubicBezTo>
                  <a:pt x="460" y="46"/>
                  <a:pt x="468" y="49"/>
                  <a:pt x="464" y="49"/>
                </a:cubicBezTo>
                <a:close/>
                <a:moveTo>
                  <a:pt x="463" y="51"/>
                </a:moveTo>
                <a:cubicBezTo>
                  <a:pt x="463" y="51"/>
                  <a:pt x="464" y="51"/>
                  <a:pt x="464" y="51"/>
                </a:cubicBezTo>
                <a:cubicBezTo>
                  <a:pt x="465" y="52"/>
                  <a:pt x="464" y="51"/>
                  <a:pt x="463" y="51"/>
                </a:cubicBezTo>
                <a:close/>
                <a:moveTo>
                  <a:pt x="447" y="79"/>
                </a:moveTo>
                <a:cubicBezTo>
                  <a:pt x="448" y="79"/>
                  <a:pt x="446" y="80"/>
                  <a:pt x="446" y="80"/>
                </a:cubicBezTo>
                <a:cubicBezTo>
                  <a:pt x="446" y="79"/>
                  <a:pt x="446" y="79"/>
                  <a:pt x="447" y="79"/>
                </a:cubicBezTo>
                <a:close/>
                <a:moveTo>
                  <a:pt x="446" y="189"/>
                </a:moveTo>
                <a:cubicBezTo>
                  <a:pt x="446" y="188"/>
                  <a:pt x="448" y="188"/>
                  <a:pt x="448" y="189"/>
                </a:cubicBezTo>
                <a:cubicBezTo>
                  <a:pt x="448" y="190"/>
                  <a:pt x="446" y="190"/>
                  <a:pt x="446" y="189"/>
                </a:cubicBezTo>
                <a:close/>
                <a:moveTo>
                  <a:pt x="449" y="610"/>
                </a:moveTo>
                <a:cubicBezTo>
                  <a:pt x="448" y="610"/>
                  <a:pt x="447" y="610"/>
                  <a:pt x="446" y="610"/>
                </a:cubicBezTo>
                <a:cubicBezTo>
                  <a:pt x="447" y="609"/>
                  <a:pt x="448" y="609"/>
                  <a:pt x="449" y="610"/>
                </a:cubicBezTo>
                <a:close/>
                <a:moveTo>
                  <a:pt x="447" y="145"/>
                </a:moveTo>
                <a:cubicBezTo>
                  <a:pt x="446" y="146"/>
                  <a:pt x="445" y="145"/>
                  <a:pt x="447" y="145"/>
                </a:cubicBezTo>
                <a:close/>
                <a:moveTo>
                  <a:pt x="447" y="126"/>
                </a:moveTo>
                <a:cubicBezTo>
                  <a:pt x="447" y="126"/>
                  <a:pt x="446" y="127"/>
                  <a:pt x="446" y="127"/>
                </a:cubicBezTo>
                <a:cubicBezTo>
                  <a:pt x="446" y="127"/>
                  <a:pt x="446" y="126"/>
                  <a:pt x="447" y="126"/>
                </a:cubicBezTo>
                <a:close/>
                <a:moveTo>
                  <a:pt x="446" y="180"/>
                </a:moveTo>
                <a:cubicBezTo>
                  <a:pt x="446" y="184"/>
                  <a:pt x="439" y="183"/>
                  <a:pt x="438" y="180"/>
                </a:cubicBezTo>
                <a:cubicBezTo>
                  <a:pt x="438" y="178"/>
                  <a:pt x="446" y="176"/>
                  <a:pt x="446" y="180"/>
                </a:cubicBezTo>
                <a:close/>
                <a:moveTo>
                  <a:pt x="441" y="175"/>
                </a:moveTo>
                <a:cubicBezTo>
                  <a:pt x="441" y="173"/>
                  <a:pt x="444" y="173"/>
                  <a:pt x="444" y="174"/>
                </a:cubicBezTo>
                <a:cubicBezTo>
                  <a:pt x="445" y="176"/>
                  <a:pt x="442" y="176"/>
                  <a:pt x="441" y="175"/>
                </a:cubicBezTo>
                <a:close/>
                <a:moveTo>
                  <a:pt x="446" y="135"/>
                </a:moveTo>
                <a:cubicBezTo>
                  <a:pt x="444" y="136"/>
                  <a:pt x="441" y="137"/>
                  <a:pt x="440" y="136"/>
                </a:cubicBezTo>
                <a:cubicBezTo>
                  <a:pt x="442" y="136"/>
                  <a:pt x="444" y="134"/>
                  <a:pt x="446" y="135"/>
                </a:cubicBezTo>
                <a:close/>
                <a:moveTo>
                  <a:pt x="443" y="79"/>
                </a:moveTo>
                <a:cubicBezTo>
                  <a:pt x="444" y="78"/>
                  <a:pt x="445" y="80"/>
                  <a:pt x="443" y="79"/>
                </a:cubicBezTo>
                <a:close/>
                <a:moveTo>
                  <a:pt x="443" y="79"/>
                </a:moveTo>
                <a:cubicBezTo>
                  <a:pt x="442" y="80"/>
                  <a:pt x="440" y="81"/>
                  <a:pt x="439" y="81"/>
                </a:cubicBezTo>
                <a:cubicBezTo>
                  <a:pt x="439" y="79"/>
                  <a:pt x="441" y="80"/>
                  <a:pt x="443" y="79"/>
                </a:cubicBezTo>
                <a:close/>
                <a:moveTo>
                  <a:pt x="438" y="137"/>
                </a:moveTo>
                <a:cubicBezTo>
                  <a:pt x="439" y="137"/>
                  <a:pt x="437" y="138"/>
                  <a:pt x="437" y="138"/>
                </a:cubicBezTo>
                <a:cubicBezTo>
                  <a:pt x="437" y="138"/>
                  <a:pt x="438" y="137"/>
                  <a:pt x="438" y="137"/>
                </a:cubicBezTo>
                <a:close/>
                <a:moveTo>
                  <a:pt x="437" y="228"/>
                </a:moveTo>
                <a:cubicBezTo>
                  <a:pt x="436" y="229"/>
                  <a:pt x="433" y="230"/>
                  <a:pt x="432" y="232"/>
                </a:cubicBezTo>
                <a:cubicBezTo>
                  <a:pt x="433" y="230"/>
                  <a:pt x="435" y="229"/>
                  <a:pt x="437" y="228"/>
                </a:cubicBezTo>
                <a:close/>
                <a:moveTo>
                  <a:pt x="431" y="647"/>
                </a:moveTo>
                <a:cubicBezTo>
                  <a:pt x="432" y="648"/>
                  <a:pt x="430" y="646"/>
                  <a:pt x="431" y="647"/>
                </a:cubicBezTo>
                <a:close/>
                <a:moveTo>
                  <a:pt x="430" y="190"/>
                </a:move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lose/>
                <a:moveTo>
                  <a:pt x="430" y="233"/>
                </a:moveTo>
                <a:cubicBezTo>
                  <a:pt x="428" y="236"/>
                  <a:pt x="427" y="233"/>
                  <a:pt x="430" y="233"/>
                </a:cubicBezTo>
                <a:close/>
                <a:moveTo>
                  <a:pt x="430" y="647"/>
                </a:moveTo>
                <a:cubicBezTo>
                  <a:pt x="430" y="648"/>
                  <a:pt x="428" y="648"/>
                  <a:pt x="428" y="648"/>
                </a:cubicBezTo>
                <a:cubicBezTo>
                  <a:pt x="428" y="647"/>
                  <a:pt x="429" y="647"/>
                  <a:pt x="430" y="647"/>
                </a:cubicBezTo>
                <a:close/>
                <a:moveTo>
                  <a:pt x="427" y="105"/>
                </a:moveTo>
                <a:cubicBezTo>
                  <a:pt x="426" y="104"/>
                  <a:pt x="428" y="106"/>
                  <a:pt x="427" y="105"/>
                </a:cubicBezTo>
                <a:close/>
                <a:moveTo>
                  <a:pt x="426" y="572"/>
                </a:moveTo>
                <a:cubicBezTo>
                  <a:pt x="427" y="571"/>
                  <a:pt x="427" y="574"/>
                  <a:pt x="426" y="573"/>
                </a:cubicBezTo>
                <a:cubicBezTo>
                  <a:pt x="426" y="573"/>
                  <a:pt x="426" y="572"/>
                  <a:pt x="426" y="572"/>
                </a:cubicBezTo>
                <a:close/>
                <a:moveTo>
                  <a:pt x="424" y="210"/>
                </a:moveTo>
                <a:cubicBezTo>
                  <a:pt x="425" y="209"/>
                  <a:pt x="426" y="211"/>
                  <a:pt x="424" y="210"/>
                </a:cubicBezTo>
                <a:close/>
                <a:moveTo>
                  <a:pt x="422" y="80"/>
                </a:moveTo>
                <a:cubicBezTo>
                  <a:pt x="423" y="81"/>
                  <a:pt x="421" y="81"/>
                  <a:pt x="420" y="81"/>
                </a:cubicBezTo>
                <a:cubicBezTo>
                  <a:pt x="420" y="80"/>
                  <a:pt x="422" y="80"/>
                  <a:pt x="422" y="80"/>
                </a:cubicBezTo>
                <a:close/>
                <a:moveTo>
                  <a:pt x="423" y="85"/>
                </a:moveTo>
                <a:cubicBezTo>
                  <a:pt x="423" y="85"/>
                  <a:pt x="420" y="86"/>
                  <a:pt x="420" y="85"/>
                </a:cubicBezTo>
                <a:cubicBezTo>
                  <a:pt x="419" y="85"/>
                  <a:pt x="424" y="83"/>
                  <a:pt x="423" y="85"/>
                </a:cubicBezTo>
                <a:close/>
                <a:moveTo>
                  <a:pt x="421" y="667"/>
                </a:moveTo>
                <a:cubicBezTo>
                  <a:pt x="423" y="666"/>
                  <a:pt x="422" y="668"/>
                  <a:pt x="421" y="667"/>
                </a:cubicBezTo>
                <a:close/>
                <a:moveTo>
                  <a:pt x="419" y="54"/>
                </a:moveTo>
                <a:cubicBezTo>
                  <a:pt x="420" y="54"/>
                  <a:pt x="419" y="55"/>
                  <a:pt x="419" y="55"/>
                </a:cubicBezTo>
                <a:cubicBezTo>
                  <a:pt x="418" y="55"/>
                  <a:pt x="418" y="54"/>
                  <a:pt x="419" y="54"/>
                </a:cubicBezTo>
                <a:close/>
                <a:moveTo>
                  <a:pt x="419" y="61"/>
                </a:moveTo>
                <a:cubicBezTo>
                  <a:pt x="419" y="61"/>
                  <a:pt x="417" y="61"/>
                  <a:pt x="417" y="60"/>
                </a:cubicBezTo>
                <a:cubicBezTo>
                  <a:pt x="417" y="60"/>
                  <a:pt x="418" y="60"/>
                  <a:pt x="419" y="61"/>
                </a:cubicBezTo>
                <a:close/>
                <a:moveTo>
                  <a:pt x="411" y="63"/>
                </a:moveTo>
                <a:cubicBezTo>
                  <a:pt x="411" y="63"/>
                  <a:pt x="410" y="64"/>
                  <a:pt x="410" y="63"/>
                </a:cubicBezTo>
                <a:cubicBezTo>
                  <a:pt x="409" y="63"/>
                  <a:pt x="411" y="62"/>
                  <a:pt x="411" y="63"/>
                </a:cubicBezTo>
                <a:close/>
                <a:moveTo>
                  <a:pt x="408" y="93"/>
                </a:moveTo>
                <a:cubicBezTo>
                  <a:pt x="408" y="94"/>
                  <a:pt x="407" y="94"/>
                  <a:pt x="407" y="94"/>
                </a:cubicBezTo>
                <a:cubicBezTo>
                  <a:pt x="406" y="93"/>
                  <a:pt x="408" y="93"/>
                  <a:pt x="408" y="93"/>
                </a:cubicBezTo>
                <a:close/>
                <a:moveTo>
                  <a:pt x="406" y="125"/>
                </a:moveTo>
                <a:cubicBezTo>
                  <a:pt x="406" y="126"/>
                  <a:pt x="404" y="125"/>
                  <a:pt x="406" y="125"/>
                </a:cubicBezTo>
                <a:close/>
                <a:moveTo>
                  <a:pt x="405" y="97"/>
                </a:moveTo>
                <a:cubicBezTo>
                  <a:pt x="404" y="97"/>
                  <a:pt x="404" y="97"/>
                  <a:pt x="404" y="96"/>
                </a:cubicBezTo>
                <a:cubicBezTo>
                  <a:pt x="403" y="95"/>
                  <a:pt x="406" y="97"/>
                  <a:pt x="405" y="97"/>
                </a:cubicBezTo>
                <a:close/>
                <a:moveTo>
                  <a:pt x="408" y="154"/>
                </a:moveTo>
                <a:cubicBezTo>
                  <a:pt x="406" y="156"/>
                  <a:pt x="402" y="158"/>
                  <a:pt x="399" y="158"/>
                </a:cubicBezTo>
                <a:cubicBezTo>
                  <a:pt x="402" y="157"/>
                  <a:pt x="405" y="156"/>
                  <a:pt x="408" y="154"/>
                </a:cubicBezTo>
                <a:close/>
                <a:moveTo>
                  <a:pt x="399" y="122"/>
                </a:moveTo>
                <a:cubicBezTo>
                  <a:pt x="399" y="122"/>
                  <a:pt x="400" y="121"/>
                  <a:pt x="400" y="122"/>
                </a:cubicBezTo>
                <a:cubicBezTo>
                  <a:pt x="400" y="122"/>
                  <a:pt x="400" y="123"/>
                  <a:pt x="399" y="122"/>
                </a:cubicBezTo>
                <a:close/>
                <a:moveTo>
                  <a:pt x="401" y="71"/>
                </a:moveTo>
                <a:cubicBezTo>
                  <a:pt x="402" y="72"/>
                  <a:pt x="400" y="73"/>
                  <a:pt x="399" y="72"/>
                </a:cubicBezTo>
                <a:cubicBezTo>
                  <a:pt x="399" y="71"/>
                  <a:pt x="401" y="70"/>
                  <a:pt x="401" y="71"/>
                </a:cubicBezTo>
                <a:close/>
                <a:moveTo>
                  <a:pt x="399" y="97"/>
                </a:moveTo>
                <a:cubicBezTo>
                  <a:pt x="399" y="97"/>
                  <a:pt x="398" y="98"/>
                  <a:pt x="397" y="97"/>
                </a:cubicBezTo>
                <a:cubicBezTo>
                  <a:pt x="398" y="97"/>
                  <a:pt x="398" y="97"/>
                  <a:pt x="399" y="97"/>
                </a:cubicBezTo>
                <a:close/>
                <a:moveTo>
                  <a:pt x="398" y="160"/>
                </a:moveTo>
                <a:cubicBezTo>
                  <a:pt x="398" y="160"/>
                  <a:pt x="398" y="159"/>
                  <a:pt x="399" y="159"/>
                </a:cubicBezTo>
                <a:cubicBezTo>
                  <a:pt x="399" y="159"/>
                  <a:pt x="398" y="160"/>
                  <a:pt x="398" y="160"/>
                </a:cubicBezTo>
                <a:close/>
                <a:moveTo>
                  <a:pt x="398" y="169"/>
                </a:moveTo>
                <a:cubicBezTo>
                  <a:pt x="399" y="170"/>
                  <a:pt x="397" y="171"/>
                  <a:pt x="397" y="170"/>
                </a:cubicBezTo>
                <a:cubicBezTo>
                  <a:pt x="397" y="169"/>
                  <a:pt x="398" y="169"/>
                  <a:pt x="398" y="169"/>
                </a:cubicBezTo>
                <a:close/>
                <a:moveTo>
                  <a:pt x="397" y="159"/>
                </a:moveTo>
                <a:cubicBezTo>
                  <a:pt x="397" y="160"/>
                  <a:pt x="395" y="162"/>
                  <a:pt x="395" y="161"/>
                </a:cubicBezTo>
                <a:cubicBezTo>
                  <a:pt x="395" y="160"/>
                  <a:pt x="397" y="160"/>
                  <a:pt x="397" y="159"/>
                </a:cubicBezTo>
                <a:close/>
                <a:moveTo>
                  <a:pt x="395" y="78"/>
                </a:moveTo>
                <a:cubicBezTo>
                  <a:pt x="395" y="78"/>
                  <a:pt x="394" y="78"/>
                  <a:pt x="394" y="78"/>
                </a:cubicBezTo>
                <a:cubicBezTo>
                  <a:pt x="393" y="78"/>
                  <a:pt x="395" y="78"/>
                  <a:pt x="395" y="78"/>
                </a:cubicBezTo>
                <a:close/>
                <a:moveTo>
                  <a:pt x="392" y="104"/>
                </a:moveTo>
                <a:cubicBezTo>
                  <a:pt x="393" y="106"/>
                  <a:pt x="390" y="105"/>
                  <a:pt x="390" y="104"/>
                </a:cubicBezTo>
                <a:cubicBezTo>
                  <a:pt x="390" y="102"/>
                  <a:pt x="392" y="103"/>
                  <a:pt x="392" y="104"/>
                </a:cubicBezTo>
                <a:close/>
                <a:moveTo>
                  <a:pt x="388" y="79"/>
                </a:moveTo>
                <a:cubicBezTo>
                  <a:pt x="387" y="80"/>
                  <a:pt x="386" y="79"/>
                  <a:pt x="385" y="80"/>
                </a:cubicBezTo>
                <a:cubicBezTo>
                  <a:pt x="385" y="79"/>
                  <a:pt x="387" y="79"/>
                  <a:pt x="388" y="79"/>
                </a:cubicBezTo>
                <a:close/>
                <a:moveTo>
                  <a:pt x="385" y="112"/>
                </a:moveTo>
                <a:cubicBezTo>
                  <a:pt x="385" y="112"/>
                  <a:pt x="387" y="111"/>
                  <a:pt x="387" y="112"/>
                </a:cubicBezTo>
                <a:cubicBezTo>
                  <a:pt x="388" y="114"/>
                  <a:pt x="384" y="114"/>
                  <a:pt x="385" y="112"/>
                </a:cubicBezTo>
                <a:close/>
                <a:moveTo>
                  <a:pt x="382" y="113"/>
                </a:moveTo>
                <a:cubicBezTo>
                  <a:pt x="384" y="111"/>
                  <a:pt x="385" y="114"/>
                  <a:pt x="382" y="113"/>
                </a:cubicBezTo>
                <a:close/>
                <a:moveTo>
                  <a:pt x="379" y="110"/>
                </a:moveTo>
                <a:cubicBezTo>
                  <a:pt x="380" y="111"/>
                  <a:pt x="376" y="111"/>
                  <a:pt x="376" y="110"/>
                </a:cubicBezTo>
                <a:cubicBezTo>
                  <a:pt x="375" y="109"/>
                  <a:pt x="378" y="108"/>
                  <a:pt x="379" y="110"/>
                </a:cubicBezTo>
                <a:close/>
                <a:moveTo>
                  <a:pt x="379" y="80"/>
                </a:moveTo>
                <a:cubicBezTo>
                  <a:pt x="379" y="80"/>
                  <a:pt x="377" y="81"/>
                  <a:pt x="377" y="81"/>
                </a:cubicBezTo>
                <a:cubicBezTo>
                  <a:pt x="377" y="80"/>
                  <a:pt x="378" y="80"/>
                  <a:pt x="379" y="80"/>
                </a:cubicBezTo>
                <a:close/>
                <a:moveTo>
                  <a:pt x="376" y="81"/>
                </a:moveTo>
                <a:cubicBezTo>
                  <a:pt x="375" y="81"/>
                  <a:pt x="374" y="81"/>
                  <a:pt x="374" y="81"/>
                </a:cubicBezTo>
                <a:cubicBezTo>
                  <a:pt x="373" y="81"/>
                  <a:pt x="375" y="81"/>
                  <a:pt x="376" y="81"/>
                </a:cubicBezTo>
                <a:close/>
                <a:moveTo>
                  <a:pt x="372" y="76"/>
                </a:moveTo>
                <a:cubicBezTo>
                  <a:pt x="372" y="76"/>
                  <a:pt x="372" y="76"/>
                  <a:pt x="372" y="76"/>
                </a:cubicBezTo>
                <a:cubicBezTo>
                  <a:pt x="372" y="76"/>
                  <a:pt x="371" y="76"/>
                  <a:pt x="371" y="76"/>
                </a:cubicBezTo>
                <a:cubicBezTo>
                  <a:pt x="371" y="76"/>
                  <a:pt x="371" y="76"/>
                  <a:pt x="372" y="76"/>
                </a:cubicBezTo>
                <a:close/>
                <a:moveTo>
                  <a:pt x="363" y="95"/>
                </a:moveTo>
                <a:cubicBezTo>
                  <a:pt x="362" y="96"/>
                  <a:pt x="361" y="94"/>
                  <a:pt x="363" y="95"/>
                </a:cubicBezTo>
                <a:close/>
                <a:moveTo>
                  <a:pt x="362" y="110"/>
                </a:moveTo>
                <a:cubicBezTo>
                  <a:pt x="362" y="112"/>
                  <a:pt x="358" y="112"/>
                  <a:pt x="357" y="111"/>
                </a:cubicBezTo>
                <a:cubicBezTo>
                  <a:pt x="357" y="111"/>
                  <a:pt x="357" y="111"/>
                  <a:pt x="356" y="110"/>
                </a:cubicBezTo>
                <a:cubicBezTo>
                  <a:pt x="357" y="111"/>
                  <a:pt x="355" y="112"/>
                  <a:pt x="355" y="111"/>
                </a:cubicBezTo>
                <a:cubicBezTo>
                  <a:pt x="354" y="110"/>
                  <a:pt x="363" y="106"/>
                  <a:pt x="362" y="110"/>
                </a:cubicBezTo>
                <a:close/>
                <a:moveTo>
                  <a:pt x="357" y="127"/>
                </a:moveTo>
                <a:cubicBezTo>
                  <a:pt x="362" y="124"/>
                  <a:pt x="368" y="124"/>
                  <a:pt x="374" y="121"/>
                </a:cubicBezTo>
                <a:cubicBezTo>
                  <a:pt x="379" y="119"/>
                  <a:pt x="384" y="116"/>
                  <a:pt x="389" y="116"/>
                </a:cubicBezTo>
                <a:cubicBezTo>
                  <a:pt x="389" y="116"/>
                  <a:pt x="390" y="117"/>
                  <a:pt x="390" y="117"/>
                </a:cubicBezTo>
                <a:cubicBezTo>
                  <a:pt x="390" y="118"/>
                  <a:pt x="381" y="121"/>
                  <a:pt x="378" y="122"/>
                </a:cubicBezTo>
                <a:cubicBezTo>
                  <a:pt x="373" y="123"/>
                  <a:pt x="369" y="124"/>
                  <a:pt x="364" y="125"/>
                </a:cubicBezTo>
                <a:cubicBezTo>
                  <a:pt x="363" y="126"/>
                  <a:pt x="357" y="129"/>
                  <a:pt x="355" y="129"/>
                </a:cubicBezTo>
                <a:cubicBezTo>
                  <a:pt x="352" y="129"/>
                  <a:pt x="356" y="127"/>
                  <a:pt x="357" y="127"/>
                </a:cubicBezTo>
                <a:close/>
                <a:moveTo>
                  <a:pt x="357" y="587"/>
                </a:moveTo>
                <a:cubicBezTo>
                  <a:pt x="365" y="583"/>
                  <a:pt x="375" y="580"/>
                  <a:pt x="384" y="576"/>
                </a:cubicBezTo>
                <a:cubicBezTo>
                  <a:pt x="385" y="576"/>
                  <a:pt x="387" y="575"/>
                  <a:pt x="387" y="576"/>
                </a:cubicBezTo>
                <a:cubicBezTo>
                  <a:pt x="388" y="577"/>
                  <a:pt x="384" y="578"/>
                  <a:pt x="386" y="577"/>
                </a:cubicBezTo>
                <a:cubicBezTo>
                  <a:pt x="377" y="581"/>
                  <a:pt x="366" y="585"/>
                  <a:pt x="357" y="587"/>
                </a:cubicBezTo>
                <a:close/>
                <a:moveTo>
                  <a:pt x="376" y="609"/>
                </a:moveTo>
                <a:cubicBezTo>
                  <a:pt x="376" y="610"/>
                  <a:pt x="374" y="610"/>
                  <a:pt x="374" y="610"/>
                </a:cubicBezTo>
                <a:cubicBezTo>
                  <a:pt x="373" y="609"/>
                  <a:pt x="376" y="608"/>
                  <a:pt x="376" y="609"/>
                </a:cubicBezTo>
                <a:close/>
                <a:moveTo>
                  <a:pt x="374" y="600"/>
                </a:moveTo>
                <a:cubicBezTo>
                  <a:pt x="373" y="599"/>
                  <a:pt x="375" y="599"/>
                  <a:pt x="375" y="600"/>
                </a:cubicBezTo>
                <a:cubicBezTo>
                  <a:pt x="375" y="601"/>
                  <a:pt x="374" y="600"/>
                  <a:pt x="374" y="600"/>
                </a:cubicBezTo>
                <a:close/>
                <a:moveTo>
                  <a:pt x="372" y="610"/>
                </a:moveTo>
                <a:cubicBezTo>
                  <a:pt x="371" y="610"/>
                  <a:pt x="373" y="609"/>
                  <a:pt x="373" y="610"/>
                </a:cubicBezTo>
                <a:cubicBezTo>
                  <a:pt x="373" y="610"/>
                  <a:pt x="373" y="611"/>
                  <a:pt x="372" y="610"/>
                </a:cubicBezTo>
                <a:close/>
                <a:moveTo>
                  <a:pt x="364" y="137"/>
                </a:moveTo>
                <a:cubicBezTo>
                  <a:pt x="364" y="138"/>
                  <a:pt x="364" y="137"/>
                  <a:pt x="363" y="138"/>
                </a:cubicBezTo>
                <a:cubicBezTo>
                  <a:pt x="363" y="137"/>
                  <a:pt x="364" y="137"/>
                  <a:pt x="364" y="137"/>
                </a:cubicBezTo>
                <a:close/>
                <a:moveTo>
                  <a:pt x="376" y="167"/>
                </a:moveTo>
                <a:cubicBezTo>
                  <a:pt x="377" y="168"/>
                  <a:pt x="373" y="170"/>
                  <a:pt x="371" y="170"/>
                </a:cubicBezTo>
                <a:cubicBezTo>
                  <a:pt x="371" y="170"/>
                  <a:pt x="368" y="169"/>
                  <a:pt x="367" y="169"/>
                </a:cubicBezTo>
                <a:cubicBezTo>
                  <a:pt x="367" y="168"/>
                  <a:pt x="371" y="165"/>
                  <a:pt x="373" y="168"/>
                </a:cubicBezTo>
                <a:cubicBezTo>
                  <a:pt x="373" y="168"/>
                  <a:pt x="373" y="169"/>
                  <a:pt x="373" y="169"/>
                </a:cubicBezTo>
                <a:cubicBezTo>
                  <a:pt x="374" y="169"/>
                  <a:pt x="375" y="168"/>
                  <a:pt x="376" y="167"/>
                </a:cubicBezTo>
                <a:close/>
                <a:moveTo>
                  <a:pt x="369" y="576"/>
                </a:moveTo>
                <a:cubicBezTo>
                  <a:pt x="369" y="574"/>
                  <a:pt x="371" y="574"/>
                  <a:pt x="369" y="576"/>
                </a:cubicBezTo>
                <a:close/>
                <a:moveTo>
                  <a:pt x="368" y="211"/>
                </a:moveTo>
                <a:cubicBezTo>
                  <a:pt x="367" y="211"/>
                  <a:pt x="368" y="209"/>
                  <a:pt x="369" y="210"/>
                </a:cubicBezTo>
                <a:cubicBezTo>
                  <a:pt x="369" y="210"/>
                  <a:pt x="368" y="211"/>
                  <a:pt x="368" y="211"/>
                </a:cubicBezTo>
                <a:close/>
                <a:moveTo>
                  <a:pt x="368" y="576"/>
                </a:moveTo>
                <a:cubicBezTo>
                  <a:pt x="370" y="575"/>
                  <a:pt x="366" y="578"/>
                  <a:pt x="368" y="576"/>
                </a:cubicBezTo>
                <a:close/>
                <a:moveTo>
                  <a:pt x="379" y="184"/>
                </a:moveTo>
                <a:cubicBezTo>
                  <a:pt x="379" y="183"/>
                  <a:pt x="380" y="182"/>
                  <a:pt x="380" y="183"/>
                </a:cubicBezTo>
                <a:cubicBezTo>
                  <a:pt x="380" y="184"/>
                  <a:pt x="379" y="184"/>
                  <a:pt x="379" y="184"/>
                </a:cubicBezTo>
                <a:close/>
                <a:moveTo>
                  <a:pt x="356" y="609"/>
                </a:moveTo>
                <a:cubicBezTo>
                  <a:pt x="355" y="611"/>
                  <a:pt x="353" y="609"/>
                  <a:pt x="356" y="609"/>
                </a:cubicBezTo>
                <a:close/>
                <a:moveTo>
                  <a:pt x="354" y="556"/>
                </a:moveTo>
                <a:cubicBezTo>
                  <a:pt x="353" y="557"/>
                  <a:pt x="352" y="555"/>
                  <a:pt x="354" y="556"/>
                </a:cubicBezTo>
                <a:close/>
                <a:moveTo>
                  <a:pt x="352" y="532"/>
                </a:moveTo>
                <a:cubicBezTo>
                  <a:pt x="354" y="530"/>
                  <a:pt x="354" y="533"/>
                  <a:pt x="352" y="532"/>
                </a:cubicBezTo>
                <a:close/>
                <a:moveTo>
                  <a:pt x="354" y="674"/>
                </a:moveTo>
                <a:cubicBezTo>
                  <a:pt x="354" y="673"/>
                  <a:pt x="355" y="673"/>
                  <a:pt x="355" y="673"/>
                </a:cubicBezTo>
                <a:cubicBezTo>
                  <a:pt x="355" y="674"/>
                  <a:pt x="354" y="674"/>
                  <a:pt x="354" y="674"/>
                </a:cubicBezTo>
                <a:close/>
                <a:moveTo>
                  <a:pt x="357" y="697"/>
                </a:moveTo>
                <a:cubicBezTo>
                  <a:pt x="357" y="696"/>
                  <a:pt x="359" y="695"/>
                  <a:pt x="359" y="696"/>
                </a:cubicBezTo>
                <a:cubicBezTo>
                  <a:pt x="359" y="697"/>
                  <a:pt x="357" y="698"/>
                  <a:pt x="357" y="697"/>
                </a:cubicBezTo>
                <a:close/>
                <a:moveTo>
                  <a:pt x="357" y="671"/>
                </a:moveTo>
                <a:cubicBezTo>
                  <a:pt x="358" y="671"/>
                  <a:pt x="358" y="671"/>
                  <a:pt x="358" y="672"/>
                </a:cubicBezTo>
                <a:cubicBezTo>
                  <a:pt x="358" y="673"/>
                  <a:pt x="356" y="671"/>
                  <a:pt x="357" y="671"/>
                </a:cubicBezTo>
                <a:close/>
                <a:moveTo>
                  <a:pt x="360" y="643"/>
                </a:moveTo>
                <a:cubicBezTo>
                  <a:pt x="360" y="642"/>
                  <a:pt x="362" y="643"/>
                  <a:pt x="360" y="643"/>
                </a:cubicBezTo>
                <a:close/>
                <a:moveTo>
                  <a:pt x="360" y="630"/>
                </a:moveTo>
                <a:cubicBezTo>
                  <a:pt x="358" y="633"/>
                  <a:pt x="350" y="631"/>
                  <a:pt x="351" y="627"/>
                </a:cubicBezTo>
                <a:cubicBezTo>
                  <a:pt x="352" y="621"/>
                  <a:pt x="365" y="624"/>
                  <a:pt x="360" y="630"/>
                </a:cubicBezTo>
                <a:close/>
                <a:moveTo>
                  <a:pt x="371" y="611"/>
                </a:moveTo>
                <a:cubicBezTo>
                  <a:pt x="368" y="612"/>
                  <a:pt x="365" y="612"/>
                  <a:pt x="362" y="613"/>
                </a:cubicBezTo>
                <a:cubicBezTo>
                  <a:pt x="364" y="612"/>
                  <a:pt x="368" y="611"/>
                  <a:pt x="371" y="611"/>
                </a:cubicBezTo>
                <a:close/>
                <a:moveTo>
                  <a:pt x="363" y="671"/>
                </a:moveTo>
                <a:cubicBezTo>
                  <a:pt x="363" y="671"/>
                  <a:pt x="364" y="671"/>
                  <a:pt x="365" y="671"/>
                </a:cubicBezTo>
                <a:cubicBezTo>
                  <a:pt x="364" y="672"/>
                  <a:pt x="363" y="672"/>
                  <a:pt x="363" y="671"/>
                </a:cubicBezTo>
                <a:close/>
                <a:moveTo>
                  <a:pt x="364" y="691"/>
                </a:moveTo>
                <a:cubicBezTo>
                  <a:pt x="364" y="690"/>
                  <a:pt x="365" y="691"/>
                  <a:pt x="365" y="691"/>
                </a:cubicBezTo>
                <a:cubicBezTo>
                  <a:pt x="366" y="691"/>
                  <a:pt x="364" y="691"/>
                  <a:pt x="364" y="691"/>
                </a:cubicBezTo>
                <a:close/>
                <a:moveTo>
                  <a:pt x="365" y="647"/>
                </a:moveTo>
                <a:cubicBezTo>
                  <a:pt x="365" y="646"/>
                  <a:pt x="366" y="646"/>
                  <a:pt x="366" y="646"/>
                </a:cubicBezTo>
                <a:cubicBezTo>
                  <a:pt x="367" y="647"/>
                  <a:pt x="365" y="647"/>
                  <a:pt x="365" y="647"/>
                </a:cubicBezTo>
                <a:close/>
                <a:moveTo>
                  <a:pt x="370" y="666"/>
                </a:moveTo>
                <a:cubicBezTo>
                  <a:pt x="370" y="664"/>
                  <a:pt x="373" y="665"/>
                  <a:pt x="372" y="666"/>
                </a:cubicBezTo>
                <a:cubicBezTo>
                  <a:pt x="372" y="667"/>
                  <a:pt x="370" y="667"/>
                  <a:pt x="370" y="666"/>
                </a:cubicBezTo>
                <a:close/>
                <a:moveTo>
                  <a:pt x="371" y="691"/>
                </a:moveTo>
                <a:cubicBezTo>
                  <a:pt x="372" y="690"/>
                  <a:pt x="373" y="691"/>
                  <a:pt x="374" y="691"/>
                </a:cubicBezTo>
                <a:cubicBezTo>
                  <a:pt x="374" y="692"/>
                  <a:pt x="372" y="691"/>
                  <a:pt x="371" y="691"/>
                </a:cubicBezTo>
                <a:close/>
                <a:moveTo>
                  <a:pt x="379" y="659"/>
                </a:moveTo>
                <a:cubicBezTo>
                  <a:pt x="379" y="658"/>
                  <a:pt x="377" y="660"/>
                  <a:pt x="377" y="658"/>
                </a:cubicBezTo>
                <a:cubicBezTo>
                  <a:pt x="376" y="657"/>
                  <a:pt x="380" y="657"/>
                  <a:pt x="379" y="659"/>
                </a:cubicBezTo>
                <a:close/>
                <a:moveTo>
                  <a:pt x="381" y="691"/>
                </a:moveTo>
                <a:cubicBezTo>
                  <a:pt x="380" y="691"/>
                  <a:pt x="382" y="690"/>
                  <a:pt x="383" y="691"/>
                </a:cubicBezTo>
                <a:cubicBezTo>
                  <a:pt x="382" y="691"/>
                  <a:pt x="381" y="691"/>
                  <a:pt x="381" y="691"/>
                </a:cubicBezTo>
                <a:close/>
                <a:moveTo>
                  <a:pt x="382" y="658"/>
                </a:moveTo>
                <a:cubicBezTo>
                  <a:pt x="380" y="659"/>
                  <a:pt x="379" y="657"/>
                  <a:pt x="382" y="658"/>
                </a:cubicBezTo>
                <a:close/>
                <a:moveTo>
                  <a:pt x="383" y="691"/>
                </a:moveTo>
                <a:cubicBezTo>
                  <a:pt x="384" y="691"/>
                  <a:pt x="385" y="691"/>
                  <a:pt x="386" y="691"/>
                </a:cubicBezTo>
                <a:cubicBezTo>
                  <a:pt x="386" y="691"/>
                  <a:pt x="384" y="691"/>
                  <a:pt x="383" y="691"/>
                </a:cubicBezTo>
                <a:close/>
                <a:moveTo>
                  <a:pt x="387" y="696"/>
                </a:move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lose/>
                <a:moveTo>
                  <a:pt x="384" y="662"/>
                </a:moveTo>
                <a:cubicBezTo>
                  <a:pt x="384" y="660"/>
                  <a:pt x="388" y="661"/>
                  <a:pt x="388" y="662"/>
                </a:cubicBezTo>
                <a:cubicBezTo>
                  <a:pt x="388" y="663"/>
                  <a:pt x="385" y="664"/>
                  <a:pt x="384" y="662"/>
                </a:cubicBezTo>
                <a:close/>
                <a:moveTo>
                  <a:pt x="398" y="679"/>
                </a:moveTo>
                <a:cubicBezTo>
                  <a:pt x="400" y="678"/>
                  <a:pt x="400" y="680"/>
                  <a:pt x="398" y="679"/>
                </a:cubicBezTo>
                <a:close/>
                <a:moveTo>
                  <a:pt x="401" y="664"/>
                </a:moveTo>
                <a:cubicBezTo>
                  <a:pt x="402" y="662"/>
                  <a:pt x="405" y="663"/>
                  <a:pt x="406" y="663"/>
                </a:cubicBezTo>
                <a:cubicBezTo>
                  <a:pt x="406" y="663"/>
                  <a:pt x="407" y="664"/>
                  <a:pt x="407" y="664"/>
                </a:cubicBezTo>
                <a:cubicBezTo>
                  <a:pt x="406" y="664"/>
                  <a:pt x="408" y="663"/>
                  <a:pt x="409" y="664"/>
                </a:cubicBezTo>
                <a:cubicBezTo>
                  <a:pt x="409" y="665"/>
                  <a:pt x="400" y="667"/>
                  <a:pt x="401" y="664"/>
                </a:cubicBezTo>
                <a:close/>
                <a:moveTo>
                  <a:pt x="411" y="704"/>
                </a:moveTo>
                <a:cubicBezTo>
                  <a:pt x="410" y="704"/>
                  <a:pt x="411" y="704"/>
                  <a:pt x="411" y="704"/>
                </a:cubicBezTo>
                <a:cubicBezTo>
                  <a:pt x="411" y="704"/>
                  <a:pt x="411" y="704"/>
                  <a:pt x="411" y="704"/>
                </a:cubicBezTo>
                <a:close/>
                <a:moveTo>
                  <a:pt x="409" y="648"/>
                </a:moveTo>
                <a:cubicBezTo>
                  <a:pt x="403" y="650"/>
                  <a:pt x="397" y="649"/>
                  <a:pt x="391" y="651"/>
                </a:cubicBezTo>
                <a:cubicBezTo>
                  <a:pt x="386" y="652"/>
                  <a:pt x="381" y="655"/>
                  <a:pt x="376" y="654"/>
                </a:cubicBezTo>
                <a:cubicBezTo>
                  <a:pt x="375" y="654"/>
                  <a:pt x="375" y="653"/>
                  <a:pt x="375" y="653"/>
                </a:cubicBezTo>
                <a:cubicBezTo>
                  <a:pt x="374" y="652"/>
                  <a:pt x="384" y="650"/>
                  <a:pt x="387" y="650"/>
                </a:cubicBezTo>
                <a:cubicBezTo>
                  <a:pt x="393" y="649"/>
                  <a:pt x="396" y="649"/>
                  <a:pt x="401" y="648"/>
                </a:cubicBezTo>
                <a:cubicBezTo>
                  <a:pt x="403" y="648"/>
                  <a:pt x="408" y="646"/>
                  <a:pt x="410" y="646"/>
                </a:cubicBezTo>
                <a:cubicBezTo>
                  <a:pt x="413" y="647"/>
                  <a:pt x="409" y="648"/>
                  <a:pt x="409" y="648"/>
                </a:cubicBezTo>
                <a:close/>
                <a:moveTo>
                  <a:pt x="394" y="589"/>
                </a:moveTo>
                <a:cubicBezTo>
                  <a:pt x="394" y="588"/>
                  <a:pt x="395" y="588"/>
                  <a:pt x="395" y="589"/>
                </a:cubicBezTo>
                <a:cubicBezTo>
                  <a:pt x="395" y="589"/>
                  <a:pt x="394" y="590"/>
                  <a:pt x="394" y="589"/>
                </a:cubicBezTo>
                <a:close/>
                <a:moveTo>
                  <a:pt x="398" y="605"/>
                </a:moveTo>
                <a:cubicBezTo>
                  <a:pt x="398" y="605"/>
                  <a:pt x="399" y="604"/>
                  <a:pt x="399" y="604"/>
                </a:cubicBezTo>
                <a:cubicBezTo>
                  <a:pt x="398" y="604"/>
                  <a:pt x="396" y="605"/>
                  <a:pt x="395" y="605"/>
                </a:cubicBezTo>
                <a:cubicBezTo>
                  <a:pt x="395" y="605"/>
                  <a:pt x="399" y="603"/>
                  <a:pt x="400" y="603"/>
                </a:cubicBezTo>
                <a:cubicBezTo>
                  <a:pt x="401" y="603"/>
                  <a:pt x="404" y="605"/>
                  <a:pt x="404" y="605"/>
                </a:cubicBezTo>
                <a:cubicBezTo>
                  <a:pt x="404" y="606"/>
                  <a:pt x="400" y="608"/>
                  <a:pt x="398" y="605"/>
                </a:cubicBezTo>
                <a:close/>
                <a:moveTo>
                  <a:pt x="403" y="636"/>
                </a:moveTo>
                <a:cubicBezTo>
                  <a:pt x="403" y="636"/>
                  <a:pt x="404" y="637"/>
                  <a:pt x="404" y="636"/>
                </a:cubicBezTo>
                <a:cubicBezTo>
                  <a:pt x="404" y="637"/>
                  <a:pt x="403" y="637"/>
                  <a:pt x="403" y="636"/>
                </a:cubicBezTo>
                <a:close/>
                <a:moveTo>
                  <a:pt x="406" y="193"/>
                </a:moveTo>
                <a:cubicBezTo>
                  <a:pt x="406" y="195"/>
                  <a:pt x="404" y="195"/>
                  <a:pt x="406" y="193"/>
                </a:cubicBezTo>
                <a:close/>
                <a:moveTo>
                  <a:pt x="407" y="192"/>
                </a:moveTo>
                <a:cubicBezTo>
                  <a:pt x="406" y="194"/>
                  <a:pt x="409" y="190"/>
                  <a:pt x="407" y="192"/>
                </a:cubicBezTo>
                <a:close/>
                <a:moveTo>
                  <a:pt x="410" y="563"/>
                </a:moveTo>
                <a:cubicBezTo>
                  <a:pt x="410" y="564"/>
                  <a:pt x="410" y="565"/>
                  <a:pt x="409" y="564"/>
                </a:cubicBezTo>
                <a:cubicBezTo>
                  <a:pt x="408" y="564"/>
                  <a:pt x="409" y="563"/>
                  <a:pt x="410" y="563"/>
                </a:cubicBezTo>
                <a:close/>
                <a:moveTo>
                  <a:pt x="412" y="687"/>
                </a:moveTo>
                <a:cubicBezTo>
                  <a:pt x="414" y="686"/>
                  <a:pt x="414" y="687"/>
                  <a:pt x="412" y="687"/>
                </a:cubicBezTo>
                <a:close/>
                <a:moveTo>
                  <a:pt x="391" y="194"/>
                </a:moveTo>
                <a:cubicBezTo>
                  <a:pt x="391" y="194"/>
                  <a:pt x="389" y="196"/>
                  <a:pt x="388" y="195"/>
                </a:cubicBezTo>
                <a:cubicBezTo>
                  <a:pt x="388" y="194"/>
                  <a:pt x="391" y="193"/>
                  <a:pt x="390" y="194"/>
                </a:cubicBezTo>
                <a:cubicBezTo>
                  <a:pt x="398" y="189"/>
                  <a:pt x="408" y="183"/>
                  <a:pt x="417" y="179"/>
                </a:cubicBezTo>
                <a:cubicBezTo>
                  <a:pt x="409" y="185"/>
                  <a:pt x="400" y="189"/>
                  <a:pt x="391" y="194"/>
                </a:cubicBezTo>
                <a:close/>
                <a:moveTo>
                  <a:pt x="414" y="158"/>
                </a:moveTo>
                <a:cubicBezTo>
                  <a:pt x="415" y="156"/>
                  <a:pt x="417" y="157"/>
                  <a:pt x="414" y="158"/>
                </a:cubicBezTo>
                <a:close/>
                <a:moveTo>
                  <a:pt x="407" y="137"/>
                </a:moveTo>
                <a:cubicBezTo>
                  <a:pt x="409" y="134"/>
                  <a:pt x="417" y="135"/>
                  <a:pt x="417" y="139"/>
                </a:cubicBezTo>
                <a:cubicBezTo>
                  <a:pt x="417" y="145"/>
                  <a:pt x="403" y="144"/>
                  <a:pt x="407" y="137"/>
                </a:cubicBezTo>
                <a:close/>
                <a:moveTo>
                  <a:pt x="418" y="140"/>
                </a:moveTo>
                <a:cubicBezTo>
                  <a:pt x="418" y="139"/>
                  <a:pt x="419" y="142"/>
                  <a:pt x="418" y="140"/>
                </a:cubicBezTo>
                <a:close/>
                <a:moveTo>
                  <a:pt x="420" y="672"/>
                </a:moveTo>
                <a:cubicBezTo>
                  <a:pt x="419" y="672"/>
                  <a:pt x="418" y="672"/>
                  <a:pt x="418" y="672"/>
                </a:cubicBezTo>
                <a:cubicBezTo>
                  <a:pt x="418" y="671"/>
                  <a:pt x="432" y="670"/>
                  <a:pt x="435" y="670"/>
                </a:cubicBezTo>
                <a:cubicBezTo>
                  <a:pt x="437" y="671"/>
                  <a:pt x="433" y="672"/>
                  <a:pt x="432" y="672"/>
                </a:cubicBezTo>
                <a:cubicBezTo>
                  <a:pt x="428" y="672"/>
                  <a:pt x="423" y="673"/>
                  <a:pt x="420" y="672"/>
                </a:cubicBezTo>
                <a:close/>
                <a:moveTo>
                  <a:pt x="425" y="681"/>
                </a:moveTo>
                <a:cubicBezTo>
                  <a:pt x="425" y="681"/>
                  <a:pt x="425" y="680"/>
                  <a:pt x="425" y="680"/>
                </a:cubicBezTo>
                <a:cubicBezTo>
                  <a:pt x="425" y="680"/>
                  <a:pt x="425" y="680"/>
                  <a:pt x="425" y="681"/>
                </a:cubicBezTo>
                <a:cubicBezTo>
                  <a:pt x="425" y="681"/>
                  <a:pt x="425" y="681"/>
                  <a:pt x="425" y="681"/>
                </a:cubicBezTo>
                <a:cubicBezTo>
                  <a:pt x="426" y="681"/>
                  <a:pt x="426" y="681"/>
                  <a:pt x="425" y="681"/>
                </a:cubicBezTo>
                <a:close/>
                <a:moveTo>
                  <a:pt x="429" y="674"/>
                </a:moveTo>
                <a:cubicBezTo>
                  <a:pt x="429" y="674"/>
                  <a:pt x="426" y="674"/>
                  <a:pt x="428" y="673"/>
                </a:cubicBezTo>
                <a:cubicBezTo>
                  <a:pt x="431" y="672"/>
                  <a:pt x="437" y="672"/>
                  <a:pt x="441" y="672"/>
                </a:cubicBezTo>
                <a:cubicBezTo>
                  <a:pt x="438" y="673"/>
                  <a:pt x="433" y="674"/>
                  <a:pt x="429" y="674"/>
                </a:cubicBezTo>
                <a:close/>
                <a:moveTo>
                  <a:pt x="442" y="672"/>
                </a:moveTo>
                <a:cubicBezTo>
                  <a:pt x="444" y="671"/>
                  <a:pt x="448" y="669"/>
                  <a:pt x="452" y="670"/>
                </a:cubicBezTo>
                <a:cubicBezTo>
                  <a:pt x="449" y="671"/>
                  <a:pt x="445" y="671"/>
                  <a:pt x="442" y="672"/>
                </a:cubicBezTo>
                <a:close/>
                <a:moveTo>
                  <a:pt x="449" y="142"/>
                </a:moveTo>
                <a:cubicBezTo>
                  <a:pt x="450" y="141"/>
                  <a:pt x="450" y="141"/>
                  <a:pt x="451" y="142"/>
                </a:cubicBezTo>
                <a:cubicBezTo>
                  <a:pt x="451" y="142"/>
                  <a:pt x="450" y="142"/>
                  <a:pt x="449" y="142"/>
                </a:cubicBezTo>
                <a:close/>
                <a:moveTo>
                  <a:pt x="451" y="148"/>
                </a:moveTo>
                <a:cubicBezTo>
                  <a:pt x="452" y="149"/>
                  <a:pt x="450" y="147"/>
                  <a:pt x="451" y="148"/>
                </a:cubicBezTo>
                <a:close/>
                <a:moveTo>
                  <a:pt x="446" y="79"/>
                </a:moveTo>
                <a:cubicBezTo>
                  <a:pt x="448" y="77"/>
                  <a:pt x="450" y="78"/>
                  <a:pt x="452" y="77"/>
                </a:cubicBezTo>
                <a:cubicBezTo>
                  <a:pt x="451" y="78"/>
                  <a:pt x="448" y="79"/>
                  <a:pt x="446" y="79"/>
                </a:cubicBezTo>
                <a:close/>
                <a:moveTo>
                  <a:pt x="454" y="644"/>
                </a:moveTo>
                <a:cubicBezTo>
                  <a:pt x="454" y="644"/>
                  <a:pt x="454" y="644"/>
                  <a:pt x="454" y="644"/>
                </a:cubicBezTo>
                <a:cubicBezTo>
                  <a:pt x="455" y="642"/>
                  <a:pt x="455" y="647"/>
                  <a:pt x="454" y="644"/>
                </a:cubicBezTo>
                <a:close/>
                <a:moveTo>
                  <a:pt x="449" y="66"/>
                </a:moveTo>
                <a:cubicBezTo>
                  <a:pt x="449" y="66"/>
                  <a:pt x="448" y="65"/>
                  <a:pt x="448" y="65"/>
                </a:cubicBezTo>
                <a:cubicBezTo>
                  <a:pt x="448" y="64"/>
                  <a:pt x="451" y="62"/>
                  <a:pt x="453" y="61"/>
                </a:cubicBezTo>
                <a:cubicBezTo>
                  <a:pt x="451" y="61"/>
                  <a:pt x="450" y="62"/>
                  <a:pt x="448" y="62"/>
                </a:cubicBezTo>
                <a:cubicBezTo>
                  <a:pt x="444" y="62"/>
                  <a:pt x="452" y="60"/>
                  <a:pt x="453" y="60"/>
                </a:cubicBezTo>
                <a:cubicBezTo>
                  <a:pt x="458" y="59"/>
                  <a:pt x="462" y="58"/>
                  <a:pt x="466" y="57"/>
                </a:cubicBezTo>
                <a:cubicBezTo>
                  <a:pt x="468" y="57"/>
                  <a:pt x="475" y="56"/>
                  <a:pt x="475" y="57"/>
                </a:cubicBezTo>
                <a:cubicBezTo>
                  <a:pt x="476" y="58"/>
                  <a:pt x="468" y="59"/>
                  <a:pt x="465" y="59"/>
                </a:cubicBezTo>
                <a:cubicBezTo>
                  <a:pt x="461" y="60"/>
                  <a:pt x="459" y="60"/>
                  <a:pt x="456" y="61"/>
                </a:cubicBezTo>
                <a:cubicBezTo>
                  <a:pt x="458" y="61"/>
                  <a:pt x="461" y="62"/>
                  <a:pt x="460" y="64"/>
                </a:cubicBezTo>
                <a:cubicBezTo>
                  <a:pt x="460" y="69"/>
                  <a:pt x="453" y="68"/>
                  <a:pt x="449" y="66"/>
                </a:cubicBezTo>
                <a:close/>
                <a:moveTo>
                  <a:pt x="467" y="66"/>
                </a:moveTo>
                <a:cubicBezTo>
                  <a:pt x="468" y="65"/>
                  <a:pt x="470" y="62"/>
                  <a:pt x="471" y="63"/>
                </a:cubicBezTo>
                <a:cubicBezTo>
                  <a:pt x="473" y="65"/>
                  <a:pt x="469" y="66"/>
                  <a:pt x="467" y="66"/>
                </a:cubicBezTo>
                <a:close/>
                <a:moveTo>
                  <a:pt x="459" y="100"/>
                </a:moveTo>
                <a:cubicBezTo>
                  <a:pt x="458" y="100"/>
                  <a:pt x="458" y="99"/>
                  <a:pt x="459" y="98"/>
                </a:cubicBezTo>
                <a:cubicBezTo>
                  <a:pt x="461" y="96"/>
                  <a:pt x="462" y="100"/>
                  <a:pt x="459" y="100"/>
                </a:cubicBezTo>
                <a:close/>
                <a:moveTo>
                  <a:pt x="456" y="149"/>
                </a:moveTo>
                <a:cubicBezTo>
                  <a:pt x="456" y="149"/>
                  <a:pt x="460" y="145"/>
                  <a:pt x="461" y="146"/>
                </a:cubicBezTo>
                <a:cubicBezTo>
                  <a:pt x="463" y="148"/>
                  <a:pt x="457" y="150"/>
                  <a:pt x="456" y="149"/>
                </a:cubicBezTo>
                <a:close/>
                <a:moveTo>
                  <a:pt x="462" y="681"/>
                </a:moveTo>
                <a:cubicBezTo>
                  <a:pt x="464" y="680"/>
                  <a:pt x="464" y="682"/>
                  <a:pt x="462" y="681"/>
                </a:cubicBezTo>
                <a:close/>
                <a:moveTo>
                  <a:pt x="464" y="170"/>
                </a:moveTo>
                <a:cubicBezTo>
                  <a:pt x="463" y="171"/>
                  <a:pt x="461" y="171"/>
                  <a:pt x="460" y="171"/>
                </a:cubicBezTo>
                <a:cubicBezTo>
                  <a:pt x="459" y="172"/>
                  <a:pt x="459" y="172"/>
                  <a:pt x="458" y="172"/>
                </a:cubicBezTo>
                <a:cubicBezTo>
                  <a:pt x="459" y="172"/>
                  <a:pt x="459" y="172"/>
                  <a:pt x="460" y="171"/>
                </a:cubicBezTo>
                <a:cubicBezTo>
                  <a:pt x="462" y="170"/>
                  <a:pt x="464" y="168"/>
                  <a:pt x="465" y="168"/>
                </a:cubicBezTo>
                <a:cubicBezTo>
                  <a:pt x="468" y="167"/>
                  <a:pt x="464" y="170"/>
                  <a:pt x="464" y="170"/>
                </a:cubicBezTo>
                <a:close/>
                <a:moveTo>
                  <a:pt x="466" y="68"/>
                </a:moveTo>
                <a:cubicBezTo>
                  <a:pt x="466" y="68"/>
                  <a:pt x="466" y="68"/>
                  <a:pt x="466" y="68"/>
                </a:cubicBezTo>
                <a:cubicBezTo>
                  <a:pt x="467" y="70"/>
                  <a:pt x="464" y="67"/>
                  <a:pt x="466" y="68"/>
                </a:cubicBezTo>
                <a:close/>
                <a:moveTo>
                  <a:pt x="468" y="241"/>
                </a:moveTo>
                <a:cubicBezTo>
                  <a:pt x="468" y="243"/>
                  <a:pt x="465" y="242"/>
                  <a:pt x="468" y="241"/>
                </a:cubicBezTo>
                <a:close/>
                <a:moveTo>
                  <a:pt x="470" y="75"/>
                </a:moveTo>
                <a:cubicBezTo>
                  <a:pt x="470" y="75"/>
                  <a:pt x="470" y="76"/>
                  <a:pt x="470" y="77"/>
                </a:cubicBezTo>
                <a:cubicBezTo>
                  <a:pt x="471" y="77"/>
                  <a:pt x="472" y="75"/>
                  <a:pt x="472" y="75"/>
                </a:cubicBezTo>
                <a:cubicBezTo>
                  <a:pt x="472" y="74"/>
                  <a:pt x="471" y="74"/>
                  <a:pt x="471" y="73"/>
                </a:cubicBezTo>
                <a:cubicBezTo>
                  <a:pt x="471" y="74"/>
                  <a:pt x="470" y="73"/>
                  <a:pt x="471" y="73"/>
                </a:cubicBezTo>
                <a:cubicBezTo>
                  <a:pt x="472" y="72"/>
                  <a:pt x="473" y="73"/>
                  <a:pt x="473" y="73"/>
                </a:cubicBezTo>
                <a:cubicBezTo>
                  <a:pt x="474" y="72"/>
                  <a:pt x="475" y="72"/>
                  <a:pt x="476" y="72"/>
                </a:cubicBezTo>
                <a:cubicBezTo>
                  <a:pt x="477" y="72"/>
                  <a:pt x="481" y="75"/>
                  <a:pt x="478" y="76"/>
                </a:cubicBezTo>
                <a:cubicBezTo>
                  <a:pt x="476" y="77"/>
                  <a:pt x="471" y="78"/>
                  <a:pt x="469" y="77"/>
                </a:cubicBezTo>
                <a:cubicBezTo>
                  <a:pt x="468" y="77"/>
                  <a:pt x="468" y="74"/>
                  <a:pt x="470" y="75"/>
                </a:cubicBezTo>
                <a:close/>
                <a:moveTo>
                  <a:pt x="478" y="117"/>
                </a:moveTo>
                <a:cubicBezTo>
                  <a:pt x="479" y="118"/>
                  <a:pt x="477" y="118"/>
                  <a:pt x="476" y="118"/>
                </a:cubicBezTo>
                <a:cubicBezTo>
                  <a:pt x="476" y="117"/>
                  <a:pt x="478" y="117"/>
                  <a:pt x="478" y="117"/>
                </a:cubicBezTo>
                <a:close/>
                <a:moveTo>
                  <a:pt x="478" y="100"/>
                </a:move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lose/>
                <a:moveTo>
                  <a:pt x="478" y="100"/>
                </a:moveTo>
                <a:cubicBezTo>
                  <a:pt x="479" y="100"/>
                  <a:pt x="478" y="100"/>
                  <a:pt x="478" y="100"/>
                </a:cubicBezTo>
                <a:close/>
                <a:moveTo>
                  <a:pt x="476" y="97"/>
                </a:moveTo>
                <a:cubicBezTo>
                  <a:pt x="475" y="96"/>
                  <a:pt x="478" y="96"/>
                  <a:pt x="478" y="96"/>
                </a:cubicBezTo>
                <a:cubicBezTo>
                  <a:pt x="479" y="96"/>
                  <a:pt x="476" y="97"/>
                  <a:pt x="476" y="97"/>
                </a:cubicBezTo>
                <a:close/>
                <a:moveTo>
                  <a:pt x="474" y="91"/>
                </a:moveTo>
                <a:cubicBezTo>
                  <a:pt x="474" y="90"/>
                  <a:pt x="475" y="90"/>
                  <a:pt x="476" y="90"/>
                </a:cubicBezTo>
                <a:cubicBezTo>
                  <a:pt x="477" y="92"/>
                  <a:pt x="474" y="92"/>
                  <a:pt x="474" y="91"/>
                </a:cubicBezTo>
                <a:close/>
                <a:moveTo>
                  <a:pt x="477" y="107"/>
                </a:moveTo>
                <a:cubicBezTo>
                  <a:pt x="477" y="109"/>
                  <a:pt x="474" y="111"/>
                  <a:pt x="473" y="109"/>
                </a:cubicBezTo>
                <a:cubicBezTo>
                  <a:pt x="469" y="106"/>
                  <a:pt x="477" y="104"/>
                  <a:pt x="477" y="107"/>
                </a:cubicBezTo>
                <a:close/>
                <a:moveTo>
                  <a:pt x="472" y="112"/>
                </a:moveTo>
                <a:cubicBezTo>
                  <a:pt x="475" y="114"/>
                  <a:pt x="468" y="116"/>
                  <a:pt x="470" y="113"/>
                </a:cubicBezTo>
                <a:cubicBezTo>
                  <a:pt x="471" y="112"/>
                  <a:pt x="472" y="112"/>
                  <a:pt x="472" y="112"/>
                </a:cubicBezTo>
                <a:close/>
                <a:moveTo>
                  <a:pt x="475" y="122"/>
                </a:moveTo>
                <a:cubicBezTo>
                  <a:pt x="474" y="122"/>
                  <a:pt x="473" y="123"/>
                  <a:pt x="472" y="123"/>
                </a:cubicBezTo>
                <a:cubicBezTo>
                  <a:pt x="472" y="123"/>
                  <a:pt x="473" y="121"/>
                  <a:pt x="475" y="122"/>
                </a:cubicBezTo>
                <a:close/>
                <a:moveTo>
                  <a:pt x="474" y="123"/>
                </a:moveTo>
                <a:cubicBezTo>
                  <a:pt x="474" y="123"/>
                  <a:pt x="475" y="123"/>
                  <a:pt x="475" y="124"/>
                </a:cubicBezTo>
                <a:cubicBezTo>
                  <a:pt x="475" y="124"/>
                  <a:pt x="474" y="124"/>
                  <a:pt x="474" y="123"/>
                </a:cubicBezTo>
                <a:close/>
                <a:moveTo>
                  <a:pt x="477" y="158"/>
                </a:moveTo>
                <a:cubicBezTo>
                  <a:pt x="477" y="158"/>
                  <a:pt x="476" y="159"/>
                  <a:pt x="475" y="159"/>
                </a:cubicBezTo>
                <a:cubicBezTo>
                  <a:pt x="475" y="159"/>
                  <a:pt x="476" y="158"/>
                  <a:pt x="477" y="158"/>
                </a:cubicBezTo>
                <a:close/>
                <a:moveTo>
                  <a:pt x="476" y="121"/>
                </a:moveTo>
                <a:cubicBezTo>
                  <a:pt x="477" y="121"/>
                  <a:pt x="478" y="119"/>
                  <a:pt x="479" y="120"/>
                </a:cubicBezTo>
                <a:cubicBezTo>
                  <a:pt x="478" y="121"/>
                  <a:pt x="477" y="121"/>
                  <a:pt x="476" y="121"/>
                </a:cubicBezTo>
                <a:close/>
                <a:moveTo>
                  <a:pt x="472" y="165"/>
                </a:moveTo>
                <a:cubicBezTo>
                  <a:pt x="472" y="166"/>
                  <a:pt x="470" y="167"/>
                  <a:pt x="469" y="168"/>
                </a:cubicBezTo>
                <a:cubicBezTo>
                  <a:pt x="469" y="166"/>
                  <a:pt x="471" y="166"/>
                  <a:pt x="472" y="165"/>
                </a:cubicBezTo>
                <a:close/>
                <a:moveTo>
                  <a:pt x="471" y="178"/>
                </a:moveTo>
                <a:cubicBezTo>
                  <a:pt x="471" y="175"/>
                  <a:pt x="476" y="174"/>
                  <a:pt x="477" y="177"/>
                </a:cubicBezTo>
                <a:cubicBezTo>
                  <a:pt x="477" y="181"/>
                  <a:pt x="471" y="180"/>
                  <a:pt x="471" y="178"/>
                </a:cubicBezTo>
                <a:close/>
                <a:moveTo>
                  <a:pt x="472" y="233"/>
                </a:moveTo>
                <a:cubicBezTo>
                  <a:pt x="472" y="232"/>
                  <a:pt x="475" y="230"/>
                  <a:pt x="475" y="232"/>
                </a:cubicBezTo>
                <a:cubicBezTo>
                  <a:pt x="476" y="234"/>
                  <a:pt x="473" y="234"/>
                  <a:pt x="472" y="233"/>
                </a:cubicBezTo>
                <a:close/>
                <a:moveTo>
                  <a:pt x="475" y="180"/>
                </a:moveTo>
                <a:cubicBezTo>
                  <a:pt x="475" y="180"/>
                  <a:pt x="476" y="179"/>
                  <a:pt x="477" y="180"/>
                </a:cubicBezTo>
                <a:cubicBezTo>
                  <a:pt x="478" y="181"/>
                  <a:pt x="475" y="181"/>
                  <a:pt x="475" y="180"/>
                </a:cubicBezTo>
                <a:close/>
                <a:moveTo>
                  <a:pt x="482" y="155"/>
                </a:moveTo>
                <a:cubicBezTo>
                  <a:pt x="482" y="156"/>
                  <a:pt x="480" y="157"/>
                  <a:pt x="479" y="157"/>
                </a:cubicBezTo>
                <a:cubicBezTo>
                  <a:pt x="479" y="156"/>
                  <a:pt x="481" y="156"/>
                  <a:pt x="482" y="155"/>
                </a:cubicBezTo>
                <a:close/>
                <a:moveTo>
                  <a:pt x="479" y="164"/>
                </a:moveTo>
                <a:cubicBezTo>
                  <a:pt x="479" y="162"/>
                  <a:pt x="481" y="163"/>
                  <a:pt x="479" y="164"/>
                </a:cubicBezTo>
                <a:close/>
                <a:moveTo>
                  <a:pt x="479" y="175"/>
                </a:moveTo>
                <a:cubicBezTo>
                  <a:pt x="478" y="174"/>
                  <a:pt x="480" y="173"/>
                  <a:pt x="480" y="174"/>
                </a:cubicBezTo>
                <a:cubicBezTo>
                  <a:pt x="480" y="175"/>
                  <a:pt x="480" y="175"/>
                  <a:pt x="479" y="175"/>
                </a:cubicBezTo>
                <a:close/>
                <a:moveTo>
                  <a:pt x="480" y="164"/>
                </a:moveTo>
                <a:cubicBezTo>
                  <a:pt x="480" y="163"/>
                  <a:pt x="484" y="161"/>
                  <a:pt x="484" y="164"/>
                </a:cubicBezTo>
                <a:cubicBezTo>
                  <a:pt x="484" y="166"/>
                  <a:pt x="480" y="166"/>
                  <a:pt x="480" y="164"/>
                </a:cubicBezTo>
                <a:close/>
                <a:moveTo>
                  <a:pt x="482" y="188"/>
                </a:moveTo>
                <a:cubicBezTo>
                  <a:pt x="482" y="187"/>
                  <a:pt x="483" y="187"/>
                  <a:pt x="484" y="187"/>
                </a:cubicBezTo>
                <a:cubicBezTo>
                  <a:pt x="484" y="187"/>
                  <a:pt x="482" y="189"/>
                  <a:pt x="482" y="188"/>
                </a:cubicBezTo>
                <a:close/>
                <a:moveTo>
                  <a:pt x="487" y="253"/>
                </a:moveTo>
                <a:cubicBezTo>
                  <a:pt x="487" y="255"/>
                  <a:pt x="485" y="254"/>
                  <a:pt x="487" y="253"/>
                </a:cubicBezTo>
                <a:close/>
                <a:moveTo>
                  <a:pt x="484" y="228"/>
                </a:moveTo>
                <a:cubicBezTo>
                  <a:pt x="482" y="226"/>
                  <a:pt x="488" y="223"/>
                  <a:pt x="488" y="227"/>
                </a:cubicBezTo>
                <a:cubicBezTo>
                  <a:pt x="488" y="228"/>
                  <a:pt x="485" y="230"/>
                  <a:pt x="484" y="228"/>
                </a:cubicBezTo>
                <a:close/>
                <a:moveTo>
                  <a:pt x="486" y="208"/>
                </a:moveTo>
                <a:cubicBezTo>
                  <a:pt x="486" y="207"/>
                  <a:pt x="488" y="206"/>
                  <a:pt x="488" y="207"/>
                </a:cubicBezTo>
                <a:cubicBezTo>
                  <a:pt x="488" y="208"/>
                  <a:pt x="487" y="209"/>
                  <a:pt x="486" y="208"/>
                </a:cubicBezTo>
                <a:close/>
                <a:moveTo>
                  <a:pt x="490" y="250"/>
                </a:moveTo>
                <a:cubicBezTo>
                  <a:pt x="490" y="248"/>
                  <a:pt x="492" y="246"/>
                  <a:pt x="493" y="245"/>
                </a:cubicBezTo>
                <a:cubicBezTo>
                  <a:pt x="493" y="246"/>
                  <a:pt x="491" y="248"/>
                  <a:pt x="490" y="250"/>
                </a:cubicBezTo>
                <a:close/>
                <a:moveTo>
                  <a:pt x="494" y="245"/>
                </a:moveTo>
                <a:cubicBezTo>
                  <a:pt x="494" y="244"/>
                  <a:pt x="495" y="243"/>
                  <a:pt x="495" y="243"/>
                </a:cubicBezTo>
                <a:cubicBezTo>
                  <a:pt x="496" y="243"/>
                  <a:pt x="494" y="245"/>
                  <a:pt x="494" y="245"/>
                </a:cubicBezTo>
                <a:close/>
                <a:moveTo>
                  <a:pt x="499" y="230"/>
                </a:moveTo>
                <a:cubicBezTo>
                  <a:pt x="499" y="229"/>
                  <a:pt x="501" y="229"/>
                  <a:pt x="501" y="229"/>
                </a:cubicBezTo>
                <a:cubicBezTo>
                  <a:pt x="502" y="229"/>
                  <a:pt x="500" y="230"/>
                  <a:pt x="499" y="230"/>
                </a:cubicBezTo>
                <a:close/>
                <a:moveTo>
                  <a:pt x="496" y="230"/>
                </a:moveTo>
                <a:cubicBezTo>
                  <a:pt x="496" y="230"/>
                  <a:pt x="491" y="233"/>
                  <a:pt x="492" y="231"/>
                </a:cubicBezTo>
                <a:cubicBezTo>
                  <a:pt x="492" y="230"/>
                  <a:pt x="497" y="229"/>
                  <a:pt x="497" y="229"/>
                </a:cubicBezTo>
                <a:cubicBezTo>
                  <a:pt x="500" y="228"/>
                  <a:pt x="503" y="225"/>
                  <a:pt x="506" y="225"/>
                </a:cubicBezTo>
                <a:cubicBezTo>
                  <a:pt x="505" y="228"/>
                  <a:pt x="498" y="229"/>
                  <a:pt x="496" y="230"/>
                </a:cubicBezTo>
                <a:close/>
                <a:moveTo>
                  <a:pt x="505" y="195"/>
                </a:moveTo>
                <a:cubicBezTo>
                  <a:pt x="505" y="194"/>
                  <a:pt x="507" y="192"/>
                  <a:pt x="508" y="193"/>
                </a:cubicBezTo>
                <a:cubicBezTo>
                  <a:pt x="508" y="194"/>
                  <a:pt x="506" y="196"/>
                  <a:pt x="505" y="195"/>
                </a:cubicBezTo>
                <a:close/>
                <a:moveTo>
                  <a:pt x="507" y="222"/>
                </a:moveTo>
                <a:cubicBezTo>
                  <a:pt x="507" y="222"/>
                  <a:pt x="508" y="222"/>
                  <a:pt x="508" y="222"/>
                </a:cubicBezTo>
                <a:cubicBezTo>
                  <a:pt x="510" y="223"/>
                  <a:pt x="504" y="225"/>
                  <a:pt x="507" y="222"/>
                </a:cubicBezTo>
                <a:close/>
                <a:moveTo>
                  <a:pt x="506" y="190"/>
                </a:moveTo>
                <a:cubicBezTo>
                  <a:pt x="506" y="189"/>
                  <a:pt x="507" y="188"/>
                  <a:pt x="509" y="188"/>
                </a:cubicBezTo>
                <a:cubicBezTo>
                  <a:pt x="508" y="189"/>
                  <a:pt x="507" y="190"/>
                  <a:pt x="506" y="190"/>
                </a:cubicBezTo>
                <a:close/>
                <a:moveTo>
                  <a:pt x="516" y="247"/>
                </a:moveTo>
                <a:cubicBezTo>
                  <a:pt x="514" y="248"/>
                  <a:pt x="511" y="250"/>
                  <a:pt x="509" y="250"/>
                </a:cubicBezTo>
                <a:cubicBezTo>
                  <a:pt x="510" y="249"/>
                  <a:pt x="514" y="248"/>
                  <a:pt x="516" y="247"/>
                </a:cubicBezTo>
                <a:close/>
                <a:moveTo>
                  <a:pt x="512" y="258"/>
                </a:moveTo>
                <a:cubicBezTo>
                  <a:pt x="512" y="255"/>
                  <a:pt x="516" y="256"/>
                  <a:pt x="516" y="257"/>
                </a:cubicBezTo>
                <a:cubicBezTo>
                  <a:pt x="517" y="258"/>
                  <a:pt x="512" y="260"/>
                  <a:pt x="512" y="258"/>
                </a:cubicBezTo>
                <a:close/>
                <a:moveTo>
                  <a:pt x="517" y="268"/>
                </a:moveTo>
                <a:cubicBezTo>
                  <a:pt x="516" y="269"/>
                  <a:pt x="517" y="268"/>
                  <a:pt x="517" y="268"/>
                </a:cubicBezTo>
                <a:cubicBezTo>
                  <a:pt x="517" y="268"/>
                  <a:pt x="517" y="268"/>
                  <a:pt x="517" y="268"/>
                </a:cubicBezTo>
                <a:close/>
                <a:moveTo>
                  <a:pt x="517" y="247"/>
                </a:moveTo>
                <a:cubicBezTo>
                  <a:pt x="517" y="247"/>
                  <a:pt x="517" y="247"/>
                  <a:pt x="517" y="247"/>
                </a:cubicBezTo>
                <a:cubicBezTo>
                  <a:pt x="518" y="247"/>
                  <a:pt x="517" y="247"/>
                  <a:pt x="517" y="247"/>
                </a:cubicBezTo>
                <a:close/>
                <a:moveTo>
                  <a:pt x="518" y="154"/>
                </a:moveTo>
                <a:cubicBezTo>
                  <a:pt x="517" y="151"/>
                  <a:pt x="524" y="153"/>
                  <a:pt x="524" y="154"/>
                </a:cubicBezTo>
                <a:cubicBezTo>
                  <a:pt x="524" y="154"/>
                  <a:pt x="523" y="155"/>
                  <a:pt x="523" y="155"/>
                </a:cubicBezTo>
                <a:cubicBezTo>
                  <a:pt x="523" y="156"/>
                  <a:pt x="522" y="158"/>
                  <a:pt x="521" y="156"/>
                </a:cubicBezTo>
                <a:cubicBezTo>
                  <a:pt x="521" y="156"/>
                  <a:pt x="521" y="155"/>
                  <a:pt x="521" y="155"/>
                </a:cubicBezTo>
                <a:cubicBezTo>
                  <a:pt x="520" y="155"/>
                  <a:pt x="518" y="155"/>
                  <a:pt x="518" y="154"/>
                </a:cubicBezTo>
                <a:close/>
                <a:moveTo>
                  <a:pt x="518" y="188"/>
                </a:moveTo>
                <a:cubicBezTo>
                  <a:pt x="518" y="186"/>
                  <a:pt x="524" y="185"/>
                  <a:pt x="524" y="188"/>
                </a:cubicBezTo>
                <a:cubicBezTo>
                  <a:pt x="524" y="190"/>
                  <a:pt x="519" y="190"/>
                  <a:pt x="518" y="188"/>
                </a:cubicBezTo>
                <a:close/>
                <a:moveTo>
                  <a:pt x="522" y="286"/>
                </a:moveTo>
                <a:cubicBezTo>
                  <a:pt x="522" y="285"/>
                  <a:pt x="522" y="285"/>
                  <a:pt x="522" y="285"/>
                </a:cubicBezTo>
                <a:cubicBezTo>
                  <a:pt x="523" y="285"/>
                  <a:pt x="522" y="286"/>
                  <a:pt x="522" y="286"/>
                </a:cubicBezTo>
                <a:close/>
                <a:moveTo>
                  <a:pt x="521" y="231"/>
                </a:moveTo>
                <a:cubicBezTo>
                  <a:pt x="518" y="232"/>
                  <a:pt x="522" y="229"/>
                  <a:pt x="523" y="228"/>
                </a:cubicBezTo>
                <a:cubicBezTo>
                  <a:pt x="524" y="226"/>
                  <a:pt x="526" y="223"/>
                  <a:pt x="528" y="220"/>
                </a:cubicBezTo>
                <a:cubicBezTo>
                  <a:pt x="528" y="221"/>
                  <a:pt x="527" y="221"/>
                  <a:pt x="527" y="220"/>
                </a:cubicBezTo>
                <a:cubicBezTo>
                  <a:pt x="527" y="220"/>
                  <a:pt x="528" y="220"/>
                  <a:pt x="528" y="220"/>
                </a:cubicBezTo>
                <a:cubicBezTo>
                  <a:pt x="528" y="220"/>
                  <a:pt x="528" y="220"/>
                  <a:pt x="528" y="220"/>
                </a:cubicBezTo>
                <a:cubicBezTo>
                  <a:pt x="529" y="219"/>
                  <a:pt x="529" y="218"/>
                  <a:pt x="530" y="218"/>
                </a:cubicBezTo>
                <a:cubicBezTo>
                  <a:pt x="530" y="218"/>
                  <a:pt x="531" y="218"/>
                  <a:pt x="531" y="218"/>
                </a:cubicBezTo>
                <a:cubicBezTo>
                  <a:pt x="531" y="218"/>
                  <a:pt x="529" y="220"/>
                  <a:pt x="528" y="222"/>
                </a:cubicBezTo>
                <a:cubicBezTo>
                  <a:pt x="527" y="223"/>
                  <a:pt x="523" y="230"/>
                  <a:pt x="521" y="231"/>
                </a:cubicBezTo>
                <a:close/>
                <a:moveTo>
                  <a:pt x="530" y="232"/>
                </a:moveTo>
                <a:cubicBezTo>
                  <a:pt x="530" y="232"/>
                  <a:pt x="530" y="232"/>
                  <a:pt x="531" y="232"/>
                </a:cubicBezTo>
                <a:cubicBezTo>
                  <a:pt x="531" y="232"/>
                  <a:pt x="530" y="233"/>
                  <a:pt x="530" y="232"/>
                </a:cubicBezTo>
                <a:close/>
                <a:moveTo>
                  <a:pt x="530" y="268"/>
                </a:move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lose/>
                <a:moveTo>
                  <a:pt x="530" y="256"/>
                </a:moveTo>
                <a:cubicBezTo>
                  <a:pt x="530" y="256"/>
                  <a:pt x="531" y="255"/>
                  <a:pt x="531" y="256"/>
                </a:cubicBezTo>
                <a:cubicBezTo>
                  <a:pt x="532" y="258"/>
                  <a:pt x="529" y="258"/>
                  <a:pt x="530" y="256"/>
                </a:cubicBezTo>
                <a:close/>
                <a:moveTo>
                  <a:pt x="533" y="312"/>
                </a:moveTo>
                <a:cubicBezTo>
                  <a:pt x="533" y="311"/>
                  <a:pt x="533" y="310"/>
                  <a:pt x="534" y="310"/>
                </a:cubicBezTo>
                <a:cubicBezTo>
                  <a:pt x="536" y="308"/>
                  <a:pt x="535" y="313"/>
                  <a:pt x="533" y="312"/>
                </a:cubicBezTo>
                <a:close/>
                <a:moveTo>
                  <a:pt x="533" y="230"/>
                </a:moveTo>
                <a:cubicBezTo>
                  <a:pt x="534" y="229"/>
                  <a:pt x="535" y="232"/>
                  <a:pt x="533" y="231"/>
                </a:cubicBezTo>
                <a:cubicBezTo>
                  <a:pt x="533" y="231"/>
                  <a:pt x="533" y="230"/>
                  <a:pt x="533" y="230"/>
                </a:cubicBezTo>
                <a:close/>
                <a:moveTo>
                  <a:pt x="531" y="215"/>
                </a:moveTo>
                <a:cubicBezTo>
                  <a:pt x="530" y="213"/>
                  <a:pt x="535" y="211"/>
                  <a:pt x="535" y="214"/>
                </a:cubicBezTo>
                <a:cubicBezTo>
                  <a:pt x="535" y="215"/>
                  <a:pt x="531" y="217"/>
                  <a:pt x="531" y="215"/>
                </a:cubicBezTo>
                <a:close/>
                <a:moveTo>
                  <a:pt x="530" y="135"/>
                </a:moveTo>
                <a:cubicBezTo>
                  <a:pt x="532" y="134"/>
                  <a:pt x="534" y="133"/>
                  <a:pt x="536" y="131"/>
                </a:cubicBezTo>
                <a:cubicBezTo>
                  <a:pt x="535" y="134"/>
                  <a:pt x="532" y="134"/>
                  <a:pt x="530" y="135"/>
                </a:cubicBezTo>
                <a:close/>
                <a:moveTo>
                  <a:pt x="598" y="198"/>
                </a:moveTo>
                <a:cubicBezTo>
                  <a:pt x="598" y="198"/>
                  <a:pt x="597" y="199"/>
                  <a:pt x="597" y="199"/>
                </a:cubicBezTo>
                <a:cubicBezTo>
                  <a:pt x="596" y="198"/>
                  <a:pt x="598" y="198"/>
                  <a:pt x="598" y="198"/>
                </a:cubicBezTo>
                <a:close/>
                <a:moveTo>
                  <a:pt x="596" y="204"/>
                </a:moveTo>
                <a:cubicBezTo>
                  <a:pt x="598" y="202"/>
                  <a:pt x="597" y="205"/>
                  <a:pt x="596" y="205"/>
                </a:cubicBezTo>
                <a:cubicBezTo>
                  <a:pt x="596" y="204"/>
                  <a:pt x="596" y="204"/>
                  <a:pt x="596" y="204"/>
                </a:cubicBezTo>
                <a:close/>
                <a:moveTo>
                  <a:pt x="596" y="235"/>
                </a:moveTo>
                <a:cubicBezTo>
                  <a:pt x="597" y="235"/>
                  <a:pt x="598" y="234"/>
                  <a:pt x="598" y="235"/>
                </a:cubicBezTo>
                <a:cubicBezTo>
                  <a:pt x="601" y="237"/>
                  <a:pt x="594" y="238"/>
                  <a:pt x="596" y="235"/>
                </a:cubicBezTo>
                <a:close/>
                <a:moveTo>
                  <a:pt x="599" y="282"/>
                </a:moveTo>
                <a:cubicBezTo>
                  <a:pt x="598" y="284"/>
                  <a:pt x="597" y="283"/>
                  <a:pt x="599" y="282"/>
                </a:cubicBezTo>
                <a:close/>
                <a:moveTo>
                  <a:pt x="594" y="323"/>
                </a:moveTo>
                <a:cubicBezTo>
                  <a:pt x="594" y="322"/>
                  <a:pt x="595" y="322"/>
                  <a:pt x="595" y="322"/>
                </a:cubicBezTo>
                <a:cubicBezTo>
                  <a:pt x="597" y="323"/>
                  <a:pt x="593" y="325"/>
                  <a:pt x="594" y="323"/>
                </a:cubicBezTo>
                <a:close/>
                <a:moveTo>
                  <a:pt x="596" y="370"/>
                </a:moveTo>
                <a:cubicBezTo>
                  <a:pt x="597" y="370"/>
                  <a:pt x="594" y="371"/>
                  <a:pt x="596" y="370"/>
                </a:cubicBezTo>
                <a:close/>
                <a:moveTo>
                  <a:pt x="594" y="263"/>
                </a:moveTo>
                <a:cubicBezTo>
                  <a:pt x="595" y="262"/>
                  <a:pt x="596" y="264"/>
                  <a:pt x="594" y="263"/>
                </a:cubicBezTo>
                <a:close/>
                <a:moveTo>
                  <a:pt x="594" y="231"/>
                </a:moveTo>
                <a:cubicBezTo>
                  <a:pt x="595" y="231"/>
                  <a:pt x="594" y="232"/>
                  <a:pt x="594" y="231"/>
                </a:cubicBezTo>
                <a:cubicBezTo>
                  <a:pt x="594" y="231"/>
                  <a:pt x="594" y="231"/>
                  <a:pt x="594" y="231"/>
                </a:cubicBezTo>
                <a:close/>
                <a:moveTo>
                  <a:pt x="592" y="198"/>
                </a:moveTo>
                <a:cubicBezTo>
                  <a:pt x="594" y="196"/>
                  <a:pt x="594" y="199"/>
                  <a:pt x="592" y="198"/>
                </a:cubicBezTo>
                <a:close/>
                <a:moveTo>
                  <a:pt x="594" y="244"/>
                </a:moveTo>
                <a:cubicBezTo>
                  <a:pt x="594" y="245"/>
                  <a:pt x="593" y="245"/>
                  <a:pt x="591" y="246"/>
                </a:cubicBezTo>
                <a:cubicBezTo>
                  <a:pt x="592" y="245"/>
                  <a:pt x="593" y="244"/>
                  <a:pt x="594" y="244"/>
                </a:cubicBezTo>
                <a:close/>
                <a:moveTo>
                  <a:pt x="589" y="200"/>
                </a:moveTo>
                <a:cubicBezTo>
                  <a:pt x="590" y="201"/>
                  <a:pt x="588" y="202"/>
                  <a:pt x="588" y="202"/>
                </a:cubicBezTo>
                <a:cubicBezTo>
                  <a:pt x="588" y="201"/>
                  <a:pt x="589" y="201"/>
                  <a:pt x="589" y="200"/>
                </a:cubicBezTo>
                <a:close/>
                <a:moveTo>
                  <a:pt x="591" y="200"/>
                </a:moveTo>
                <a:cubicBezTo>
                  <a:pt x="590" y="203"/>
                  <a:pt x="589" y="206"/>
                  <a:pt x="586" y="208"/>
                </a:cubicBezTo>
                <a:cubicBezTo>
                  <a:pt x="588" y="206"/>
                  <a:pt x="589" y="203"/>
                  <a:pt x="591" y="200"/>
                </a:cubicBezTo>
                <a:close/>
                <a:moveTo>
                  <a:pt x="590" y="339"/>
                </a:moveTo>
                <a:cubicBezTo>
                  <a:pt x="591" y="338"/>
                  <a:pt x="590" y="340"/>
                  <a:pt x="590" y="339"/>
                </a:cubicBezTo>
                <a:close/>
                <a:moveTo>
                  <a:pt x="590" y="246"/>
                </a:moveTo>
                <a:cubicBezTo>
                  <a:pt x="591" y="246"/>
                  <a:pt x="591" y="246"/>
                  <a:pt x="590" y="246"/>
                </a:cubicBezTo>
                <a:close/>
                <a:moveTo>
                  <a:pt x="590" y="246"/>
                </a:moveTo>
                <a:cubicBezTo>
                  <a:pt x="590" y="246"/>
                  <a:pt x="590" y="247"/>
                  <a:pt x="590" y="247"/>
                </a:cubicBezTo>
                <a:cubicBezTo>
                  <a:pt x="590" y="247"/>
                  <a:pt x="590" y="247"/>
                  <a:pt x="590" y="247"/>
                </a:cubicBezTo>
                <a:cubicBezTo>
                  <a:pt x="590" y="247"/>
                  <a:pt x="590" y="247"/>
                  <a:pt x="590" y="246"/>
                </a:cubicBezTo>
                <a:close/>
                <a:moveTo>
                  <a:pt x="587" y="206"/>
                </a:moveTo>
                <a:cubicBezTo>
                  <a:pt x="587" y="206"/>
                  <a:pt x="586" y="205"/>
                  <a:pt x="586" y="205"/>
                </a:cubicBezTo>
                <a:cubicBezTo>
                  <a:pt x="587" y="204"/>
                  <a:pt x="587" y="208"/>
                  <a:pt x="587" y="206"/>
                </a:cubicBezTo>
                <a:close/>
                <a:moveTo>
                  <a:pt x="586" y="210"/>
                </a:moveTo>
                <a:cubicBezTo>
                  <a:pt x="587" y="211"/>
                  <a:pt x="585" y="212"/>
                  <a:pt x="585" y="213"/>
                </a:cubicBezTo>
                <a:cubicBezTo>
                  <a:pt x="584" y="212"/>
                  <a:pt x="586" y="210"/>
                  <a:pt x="586" y="210"/>
                </a:cubicBezTo>
                <a:close/>
                <a:moveTo>
                  <a:pt x="585" y="229"/>
                </a:moveTo>
                <a:cubicBezTo>
                  <a:pt x="586" y="228"/>
                  <a:pt x="585" y="230"/>
                  <a:pt x="584" y="230"/>
                </a:cubicBezTo>
                <a:cubicBezTo>
                  <a:pt x="584" y="230"/>
                  <a:pt x="585" y="229"/>
                  <a:pt x="585" y="229"/>
                </a:cubicBezTo>
                <a:close/>
                <a:moveTo>
                  <a:pt x="584" y="214"/>
                </a:moveTo>
                <a:cubicBezTo>
                  <a:pt x="584" y="212"/>
                  <a:pt x="585" y="214"/>
                  <a:pt x="584" y="214"/>
                </a:cubicBezTo>
                <a:close/>
                <a:moveTo>
                  <a:pt x="583" y="250"/>
                </a:moveTo>
                <a:cubicBezTo>
                  <a:pt x="583" y="250"/>
                  <a:pt x="583" y="251"/>
                  <a:pt x="582" y="251"/>
                </a:cubicBezTo>
                <a:cubicBezTo>
                  <a:pt x="582" y="251"/>
                  <a:pt x="581" y="251"/>
                  <a:pt x="581" y="251"/>
                </a:cubicBezTo>
                <a:cubicBezTo>
                  <a:pt x="582" y="251"/>
                  <a:pt x="583" y="251"/>
                  <a:pt x="583" y="250"/>
                </a:cubicBezTo>
                <a:close/>
                <a:moveTo>
                  <a:pt x="579" y="195"/>
                </a:moveTo>
                <a:cubicBezTo>
                  <a:pt x="578" y="194"/>
                  <a:pt x="581" y="195"/>
                  <a:pt x="579" y="195"/>
                </a:cubicBezTo>
                <a:close/>
                <a:moveTo>
                  <a:pt x="578" y="186"/>
                </a:moveTo>
                <a:cubicBezTo>
                  <a:pt x="578" y="188"/>
                  <a:pt x="573" y="190"/>
                  <a:pt x="572" y="187"/>
                </a:cubicBezTo>
                <a:cubicBezTo>
                  <a:pt x="571" y="184"/>
                  <a:pt x="579" y="182"/>
                  <a:pt x="578" y="186"/>
                </a:cubicBezTo>
                <a:close/>
                <a:moveTo>
                  <a:pt x="576" y="196"/>
                </a:moveTo>
                <a:cubicBezTo>
                  <a:pt x="576" y="196"/>
                  <a:pt x="576" y="196"/>
                  <a:pt x="576" y="196"/>
                </a:cubicBezTo>
                <a:cubicBezTo>
                  <a:pt x="577" y="198"/>
                  <a:pt x="574" y="195"/>
                  <a:pt x="576" y="196"/>
                </a:cubicBezTo>
                <a:close/>
                <a:moveTo>
                  <a:pt x="573" y="191"/>
                </a:moveTo>
                <a:cubicBezTo>
                  <a:pt x="572" y="191"/>
                  <a:pt x="571" y="192"/>
                  <a:pt x="570" y="192"/>
                </a:cubicBezTo>
                <a:cubicBezTo>
                  <a:pt x="570" y="191"/>
                  <a:pt x="573" y="190"/>
                  <a:pt x="573" y="191"/>
                </a:cubicBezTo>
                <a:close/>
                <a:moveTo>
                  <a:pt x="565" y="201"/>
                </a:moveTo>
                <a:cubicBezTo>
                  <a:pt x="565" y="202"/>
                  <a:pt x="563" y="202"/>
                  <a:pt x="563" y="201"/>
                </a:cubicBezTo>
                <a:cubicBezTo>
                  <a:pt x="563" y="200"/>
                  <a:pt x="564" y="200"/>
                  <a:pt x="565" y="201"/>
                </a:cubicBezTo>
                <a:close/>
                <a:moveTo>
                  <a:pt x="569" y="202"/>
                </a:moveTo>
                <a:cubicBezTo>
                  <a:pt x="568" y="201"/>
                  <a:pt x="562" y="207"/>
                  <a:pt x="562" y="205"/>
                </a:cubicBezTo>
                <a:cubicBezTo>
                  <a:pt x="562" y="204"/>
                  <a:pt x="567" y="200"/>
                  <a:pt x="569" y="202"/>
                </a:cubicBezTo>
                <a:close/>
                <a:moveTo>
                  <a:pt x="563" y="247"/>
                </a:moveTo>
                <a:cubicBezTo>
                  <a:pt x="563" y="247"/>
                  <a:pt x="561" y="248"/>
                  <a:pt x="561" y="248"/>
                </a:cubicBezTo>
                <a:cubicBezTo>
                  <a:pt x="560" y="247"/>
                  <a:pt x="562" y="245"/>
                  <a:pt x="563" y="247"/>
                </a:cubicBezTo>
                <a:close/>
                <a:moveTo>
                  <a:pt x="562" y="189"/>
                </a:moveTo>
                <a:cubicBezTo>
                  <a:pt x="563" y="190"/>
                  <a:pt x="560" y="191"/>
                  <a:pt x="560" y="190"/>
                </a:cubicBezTo>
                <a:cubicBezTo>
                  <a:pt x="560" y="189"/>
                  <a:pt x="562" y="189"/>
                  <a:pt x="562" y="189"/>
                </a:cubicBezTo>
                <a:close/>
                <a:moveTo>
                  <a:pt x="560" y="205"/>
                </a:moveTo>
                <a:cubicBezTo>
                  <a:pt x="563" y="203"/>
                  <a:pt x="562" y="209"/>
                  <a:pt x="560" y="207"/>
                </a:cubicBezTo>
                <a:cubicBezTo>
                  <a:pt x="558" y="207"/>
                  <a:pt x="560" y="205"/>
                  <a:pt x="560" y="205"/>
                </a:cubicBezTo>
                <a:close/>
                <a:moveTo>
                  <a:pt x="560" y="264"/>
                </a:moveTo>
                <a:cubicBezTo>
                  <a:pt x="562" y="263"/>
                  <a:pt x="559" y="266"/>
                  <a:pt x="560" y="264"/>
                </a:cubicBezTo>
                <a:cubicBezTo>
                  <a:pt x="560" y="264"/>
                  <a:pt x="560" y="264"/>
                  <a:pt x="560" y="264"/>
                </a:cubicBezTo>
                <a:close/>
                <a:moveTo>
                  <a:pt x="556" y="180"/>
                </a:moveTo>
                <a:cubicBezTo>
                  <a:pt x="557" y="181"/>
                  <a:pt x="555" y="182"/>
                  <a:pt x="555" y="181"/>
                </a:cubicBezTo>
                <a:cubicBezTo>
                  <a:pt x="555" y="181"/>
                  <a:pt x="556" y="181"/>
                  <a:pt x="556" y="180"/>
                </a:cubicBezTo>
                <a:close/>
                <a:moveTo>
                  <a:pt x="554" y="138"/>
                </a:moveTo>
                <a:cubicBezTo>
                  <a:pt x="554" y="138"/>
                  <a:pt x="555" y="138"/>
                  <a:pt x="555" y="138"/>
                </a:cubicBezTo>
                <a:cubicBezTo>
                  <a:pt x="555" y="140"/>
                  <a:pt x="552" y="136"/>
                  <a:pt x="554" y="138"/>
                </a:cubicBezTo>
                <a:close/>
                <a:moveTo>
                  <a:pt x="555" y="219"/>
                </a:moveTo>
                <a:cubicBezTo>
                  <a:pt x="555" y="219"/>
                  <a:pt x="554" y="221"/>
                  <a:pt x="553" y="221"/>
                </a:cubicBezTo>
                <a:cubicBezTo>
                  <a:pt x="553" y="220"/>
                  <a:pt x="554" y="218"/>
                  <a:pt x="555" y="219"/>
                </a:cubicBezTo>
                <a:close/>
                <a:moveTo>
                  <a:pt x="553" y="245"/>
                </a:moveTo>
                <a:cubicBezTo>
                  <a:pt x="554" y="245"/>
                  <a:pt x="552" y="246"/>
                  <a:pt x="552" y="245"/>
                </a:cubicBezTo>
                <a:cubicBezTo>
                  <a:pt x="552" y="244"/>
                  <a:pt x="553" y="244"/>
                  <a:pt x="553" y="245"/>
                </a:cubicBezTo>
                <a:close/>
                <a:moveTo>
                  <a:pt x="552" y="182"/>
                </a:move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lose/>
                <a:moveTo>
                  <a:pt x="552" y="133"/>
                </a:moveTo>
                <a:cubicBezTo>
                  <a:pt x="552" y="133"/>
                  <a:pt x="551" y="135"/>
                  <a:pt x="551" y="134"/>
                </a:cubicBezTo>
                <a:cubicBezTo>
                  <a:pt x="550" y="133"/>
                  <a:pt x="552" y="133"/>
                  <a:pt x="552" y="133"/>
                </a:cubicBezTo>
                <a:close/>
                <a:moveTo>
                  <a:pt x="552" y="158"/>
                </a:moveTo>
                <a:cubicBezTo>
                  <a:pt x="552" y="159"/>
                  <a:pt x="550" y="160"/>
                  <a:pt x="550" y="159"/>
                </a:cubicBezTo>
                <a:cubicBezTo>
                  <a:pt x="550" y="158"/>
                  <a:pt x="551" y="158"/>
                  <a:pt x="552" y="158"/>
                </a:cubicBezTo>
                <a:close/>
                <a:moveTo>
                  <a:pt x="552" y="177"/>
                </a:moveTo>
                <a:cubicBezTo>
                  <a:pt x="552" y="179"/>
                  <a:pt x="548" y="179"/>
                  <a:pt x="548" y="177"/>
                </a:cubicBezTo>
                <a:cubicBezTo>
                  <a:pt x="548" y="176"/>
                  <a:pt x="551" y="175"/>
                  <a:pt x="552" y="177"/>
                </a:cubicBezTo>
                <a:close/>
                <a:moveTo>
                  <a:pt x="547" y="170"/>
                </a:moveTo>
                <a:cubicBezTo>
                  <a:pt x="548" y="170"/>
                  <a:pt x="547" y="171"/>
                  <a:pt x="546" y="171"/>
                </a:cubicBezTo>
                <a:cubicBezTo>
                  <a:pt x="546" y="170"/>
                  <a:pt x="547" y="170"/>
                  <a:pt x="547" y="170"/>
                </a:cubicBezTo>
                <a:close/>
                <a:moveTo>
                  <a:pt x="547" y="166"/>
                </a:moveTo>
                <a:cubicBezTo>
                  <a:pt x="548" y="167"/>
                  <a:pt x="547" y="165"/>
                  <a:pt x="547" y="166"/>
                </a:cubicBezTo>
                <a:close/>
                <a:moveTo>
                  <a:pt x="548" y="133"/>
                </a:moveTo>
                <a:cubicBezTo>
                  <a:pt x="548" y="134"/>
                  <a:pt x="547" y="134"/>
                  <a:pt x="546" y="134"/>
                </a:cubicBezTo>
                <a:cubicBezTo>
                  <a:pt x="546" y="133"/>
                  <a:pt x="547" y="134"/>
                  <a:pt x="548" y="133"/>
                </a:cubicBezTo>
                <a:close/>
                <a:moveTo>
                  <a:pt x="547" y="176"/>
                </a:moveTo>
                <a:cubicBezTo>
                  <a:pt x="547" y="177"/>
                  <a:pt x="545" y="176"/>
                  <a:pt x="547" y="176"/>
                </a:cubicBezTo>
                <a:close/>
                <a:moveTo>
                  <a:pt x="546" y="168"/>
                </a:moveTo>
                <a:cubicBezTo>
                  <a:pt x="546" y="169"/>
                  <a:pt x="544" y="170"/>
                  <a:pt x="544" y="168"/>
                </a:cubicBezTo>
                <a:cubicBezTo>
                  <a:pt x="545" y="168"/>
                  <a:pt x="545" y="168"/>
                  <a:pt x="546" y="168"/>
                </a:cubicBezTo>
                <a:close/>
                <a:moveTo>
                  <a:pt x="545" y="141"/>
                </a:moveTo>
                <a:cubicBezTo>
                  <a:pt x="546" y="143"/>
                  <a:pt x="542" y="142"/>
                  <a:pt x="542" y="141"/>
                </a:cubicBezTo>
                <a:cubicBezTo>
                  <a:pt x="543" y="140"/>
                  <a:pt x="545" y="140"/>
                  <a:pt x="545" y="141"/>
                </a:cubicBezTo>
                <a:close/>
                <a:moveTo>
                  <a:pt x="540" y="150"/>
                </a:moveTo>
                <a:cubicBezTo>
                  <a:pt x="540" y="150"/>
                  <a:pt x="538" y="151"/>
                  <a:pt x="537" y="150"/>
                </a:cubicBezTo>
                <a:cubicBezTo>
                  <a:pt x="537" y="149"/>
                  <a:pt x="539" y="148"/>
                  <a:pt x="540" y="150"/>
                </a:cubicBezTo>
                <a:close/>
                <a:moveTo>
                  <a:pt x="537" y="158"/>
                </a:moveTo>
                <a:cubicBezTo>
                  <a:pt x="537" y="158"/>
                  <a:pt x="538" y="157"/>
                  <a:pt x="538" y="157"/>
                </a:cubicBezTo>
                <a:cubicBezTo>
                  <a:pt x="539" y="157"/>
                  <a:pt x="537" y="159"/>
                  <a:pt x="537" y="158"/>
                </a:cubicBezTo>
                <a:close/>
                <a:moveTo>
                  <a:pt x="538" y="165"/>
                </a:moveTo>
                <a:cubicBezTo>
                  <a:pt x="538" y="165"/>
                  <a:pt x="540" y="163"/>
                  <a:pt x="540" y="165"/>
                </a:cubicBezTo>
                <a:cubicBezTo>
                  <a:pt x="540" y="164"/>
                  <a:pt x="539" y="166"/>
                  <a:pt x="538" y="165"/>
                </a:cubicBezTo>
                <a:close/>
                <a:moveTo>
                  <a:pt x="540" y="214"/>
                </a:moveTo>
                <a:cubicBezTo>
                  <a:pt x="541" y="215"/>
                  <a:pt x="540" y="215"/>
                  <a:pt x="540" y="215"/>
                </a:cubicBezTo>
                <a:cubicBezTo>
                  <a:pt x="539" y="214"/>
                  <a:pt x="540" y="214"/>
                  <a:pt x="540" y="214"/>
                </a:cubicBezTo>
                <a:close/>
                <a:moveTo>
                  <a:pt x="541" y="291"/>
                </a:moveTo>
                <a:cubicBezTo>
                  <a:pt x="540" y="291"/>
                  <a:pt x="539" y="291"/>
                  <a:pt x="540" y="290"/>
                </a:cubicBezTo>
                <a:cubicBezTo>
                  <a:pt x="540" y="289"/>
                  <a:pt x="541" y="290"/>
                  <a:pt x="541" y="291"/>
                </a:cubicBezTo>
                <a:close/>
                <a:moveTo>
                  <a:pt x="541" y="212"/>
                </a:moveTo>
                <a:cubicBezTo>
                  <a:pt x="541" y="212"/>
                  <a:pt x="541" y="212"/>
                  <a:pt x="541" y="212"/>
                </a:cubicBezTo>
                <a:cubicBezTo>
                  <a:pt x="541" y="212"/>
                  <a:pt x="541" y="212"/>
                  <a:pt x="541" y="212"/>
                </a:cubicBezTo>
                <a:cubicBezTo>
                  <a:pt x="540" y="212"/>
                  <a:pt x="540" y="211"/>
                  <a:pt x="541" y="210"/>
                </a:cubicBezTo>
                <a:cubicBezTo>
                  <a:pt x="542" y="209"/>
                  <a:pt x="542" y="210"/>
                  <a:pt x="542" y="211"/>
                </a:cubicBezTo>
                <a:cubicBezTo>
                  <a:pt x="543" y="211"/>
                  <a:pt x="544" y="211"/>
                  <a:pt x="544" y="210"/>
                </a:cubicBezTo>
                <a:cubicBezTo>
                  <a:pt x="545" y="210"/>
                  <a:pt x="550" y="204"/>
                  <a:pt x="551" y="205"/>
                </a:cubicBezTo>
                <a:cubicBezTo>
                  <a:pt x="553" y="207"/>
                  <a:pt x="544" y="211"/>
                  <a:pt x="543" y="212"/>
                </a:cubicBezTo>
                <a:cubicBezTo>
                  <a:pt x="542" y="212"/>
                  <a:pt x="542" y="214"/>
                  <a:pt x="541" y="212"/>
                </a:cubicBezTo>
                <a:close/>
                <a:moveTo>
                  <a:pt x="549" y="242"/>
                </a:moveTo>
                <a:cubicBezTo>
                  <a:pt x="549" y="242"/>
                  <a:pt x="547" y="242"/>
                  <a:pt x="547" y="241"/>
                </a:cubicBezTo>
                <a:cubicBezTo>
                  <a:pt x="547" y="241"/>
                  <a:pt x="549" y="240"/>
                  <a:pt x="549" y="242"/>
                </a:cubicBezTo>
                <a:close/>
                <a:moveTo>
                  <a:pt x="543" y="245"/>
                </a:moveTo>
                <a:cubicBezTo>
                  <a:pt x="544" y="247"/>
                  <a:pt x="541" y="246"/>
                  <a:pt x="543" y="245"/>
                </a:cubicBezTo>
                <a:close/>
                <a:moveTo>
                  <a:pt x="547" y="220"/>
                </a:moveTo>
                <a:cubicBezTo>
                  <a:pt x="546" y="220"/>
                  <a:pt x="546" y="220"/>
                  <a:pt x="546" y="220"/>
                </a:cubicBezTo>
                <a:cubicBezTo>
                  <a:pt x="545" y="220"/>
                  <a:pt x="547" y="219"/>
                  <a:pt x="547" y="220"/>
                </a:cubicBezTo>
                <a:close/>
                <a:moveTo>
                  <a:pt x="546" y="265"/>
                </a:moveTo>
                <a:cubicBezTo>
                  <a:pt x="546" y="265"/>
                  <a:pt x="547" y="264"/>
                  <a:pt x="547" y="264"/>
                </a:cubicBezTo>
                <a:cubicBezTo>
                  <a:pt x="547" y="265"/>
                  <a:pt x="546" y="266"/>
                  <a:pt x="546" y="265"/>
                </a:cubicBezTo>
                <a:close/>
                <a:moveTo>
                  <a:pt x="548" y="300"/>
                </a:moveTo>
                <a:cubicBezTo>
                  <a:pt x="548" y="299"/>
                  <a:pt x="548" y="299"/>
                  <a:pt x="548" y="299"/>
                </a:cubicBezTo>
                <a:cubicBezTo>
                  <a:pt x="549" y="299"/>
                  <a:pt x="548" y="301"/>
                  <a:pt x="548" y="300"/>
                </a:cubicBezTo>
                <a:close/>
                <a:moveTo>
                  <a:pt x="547" y="280"/>
                </a:moveTo>
                <a:cubicBezTo>
                  <a:pt x="549" y="276"/>
                  <a:pt x="551" y="272"/>
                  <a:pt x="552" y="269"/>
                </a:cubicBezTo>
                <a:cubicBezTo>
                  <a:pt x="552" y="271"/>
                  <a:pt x="549" y="278"/>
                  <a:pt x="547" y="280"/>
                </a:cubicBezTo>
                <a:close/>
                <a:moveTo>
                  <a:pt x="553" y="329"/>
                </a:moveTo>
                <a:cubicBezTo>
                  <a:pt x="553" y="329"/>
                  <a:pt x="553" y="329"/>
                  <a:pt x="553" y="329"/>
                </a:cubicBezTo>
                <a:cubicBezTo>
                  <a:pt x="553" y="329"/>
                  <a:pt x="553" y="329"/>
                  <a:pt x="553" y="329"/>
                </a:cubicBezTo>
                <a:close/>
                <a:moveTo>
                  <a:pt x="551" y="261"/>
                </a:moveTo>
                <a:cubicBezTo>
                  <a:pt x="553" y="257"/>
                  <a:pt x="553" y="254"/>
                  <a:pt x="555" y="252"/>
                </a:cubicBezTo>
                <a:cubicBezTo>
                  <a:pt x="554" y="254"/>
                  <a:pt x="553" y="259"/>
                  <a:pt x="551" y="261"/>
                </a:cubicBezTo>
                <a:close/>
                <a:moveTo>
                  <a:pt x="554" y="222"/>
                </a:moveTo>
                <a:cubicBezTo>
                  <a:pt x="555" y="221"/>
                  <a:pt x="556" y="222"/>
                  <a:pt x="554" y="222"/>
                </a:cubicBezTo>
                <a:close/>
                <a:moveTo>
                  <a:pt x="554" y="184"/>
                </a:moveTo>
                <a:cubicBezTo>
                  <a:pt x="554" y="183"/>
                  <a:pt x="556" y="182"/>
                  <a:pt x="556" y="183"/>
                </a:cubicBezTo>
                <a:cubicBezTo>
                  <a:pt x="556" y="185"/>
                  <a:pt x="554" y="185"/>
                  <a:pt x="554" y="184"/>
                </a:cubicBezTo>
                <a:close/>
                <a:moveTo>
                  <a:pt x="557" y="285"/>
                </a:moveTo>
                <a:cubicBezTo>
                  <a:pt x="557" y="283"/>
                  <a:pt x="556" y="286"/>
                  <a:pt x="557" y="285"/>
                </a:cubicBezTo>
                <a:close/>
                <a:moveTo>
                  <a:pt x="560" y="320"/>
                </a:moveTo>
                <a:cubicBezTo>
                  <a:pt x="560" y="321"/>
                  <a:pt x="561" y="319"/>
                  <a:pt x="560" y="320"/>
                </a:cubicBezTo>
                <a:close/>
                <a:moveTo>
                  <a:pt x="557" y="283"/>
                </a:moveTo>
                <a:cubicBezTo>
                  <a:pt x="556" y="281"/>
                  <a:pt x="561" y="279"/>
                  <a:pt x="561" y="281"/>
                </a:cubicBezTo>
                <a:cubicBezTo>
                  <a:pt x="562" y="283"/>
                  <a:pt x="558" y="284"/>
                  <a:pt x="557" y="283"/>
                </a:cubicBezTo>
                <a:close/>
                <a:moveTo>
                  <a:pt x="562" y="258"/>
                </a:moveTo>
                <a:cubicBezTo>
                  <a:pt x="562" y="258"/>
                  <a:pt x="563" y="257"/>
                  <a:pt x="563" y="257"/>
                </a:cubicBezTo>
                <a:cubicBezTo>
                  <a:pt x="564" y="258"/>
                  <a:pt x="561" y="259"/>
                  <a:pt x="562" y="258"/>
                </a:cubicBezTo>
                <a:close/>
                <a:moveTo>
                  <a:pt x="565" y="221"/>
                </a:moveTo>
                <a:cubicBezTo>
                  <a:pt x="564" y="221"/>
                  <a:pt x="564" y="219"/>
                  <a:pt x="565" y="220"/>
                </a:cubicBezTo>
                <a:cubicBezTo>
                  <a:pt x="565" y="220"/>
                  <a:pt x="565" y="221"/>
                  <a:pt x="565" y="221"/>
                </a:cubicBezTo>
                <a:close/>
                <a:moveTo>
                  <a:pt x="566" y="206"/>
                </a:moveTo>
                <a:cubicBezTo>
                  <a:pt x="565" y="211"/>
                  <a:pt x="567" y="204"/>
                  <a:pt x="568" y="203"/>
                </a:cubicBezTo>
                <a:cubicBezTo>
                  <a:pt x="569" y="202"/>
                  <a:pt x="574" y="202"/>
                  <a:pt x="576" y="203"/>
                </a:cubicBezTo>
                <a:cubicBezTo>
                  <a:pt x="579" y="205"/>
                  <a:pt x="577" y="210"/>
                  <a:pt x="574" y="212"/>
                </a:cubicBezTo>
                <a:cubicBezTo>
                  <a:pt x="573" y="213"/>
                  <a:pt x="570" y="213"/>
                  <a:pt x="569" y="213"/>
                </a:cubicBezTo>
                <a:cubicBezTo>
                  <a:pt x="566" y="214"/>
                  <a:pt x="567" y="214"/>
                  <a:pt x="565" y="212"/>
                </a:cubicBezTo>
                <a:cubicBezTo>
                  <a:pt x="562" y="210"/>
                  <a:pt x="562" y="205"/>
                  <a:pt x="566" y="206"/>
                </a:cubicBezTo>
                <a:close/>
                <a:moveTo>
                  <a:pt x="573" y="236"/>
                </a:moveTo>
                <a:cubicBezTo>
                  <a:pt x="575" y="234"/>
                  <a:pt x="572" y="237"/>
                  <a:pt x="573" y="236"/>
                </a:cubicBezTo>
                <a:close/>
                <a:moveTo>
                  <a:pt x="571" y="238"/>
                </a:moveTo>
                <a:cubicBezTo>
                  <a:pt x="573" y="236"/>
                  <a:pt x="569" y="239"/>
                  <a:pt x="571" y="238"/>
                </a:cubicBezTo>
                <a:close/>
                <a:moveTo>
                  <a:pt x="569" y="326"/>
                </a:moveTo>
                <a:cubicBezTo>
                  <a:pt x="568" y="326"/>
                  <a:pt x="569" y="325"/>
                  <a:pt x="569" y="325"/>
                </a:cubicBezTo>
                <a:cubicBezTo>
                  <a:pt x="570" y="324"/>
                  <a:pt x="570" y="327"/>
                  <a:pt x="569" y="326"/>
                </a:cubicBezTo>
                <a:close/>
                <a:moveTo>
                  <a:pt x="567" y="224"/>
                </a:moveTo>
                <a:cubicBezTo>
                  <a:pt x="566" y="223"/>
                  <a:pt x="567" y="222"/>
                  <a:pt x="567" y="222"/>
                </a:cubicBezTo>
                <a:cubicBezTo>
                  <a:pt x="568" y="222"/>
                  <a:pt x="567" y="223"/>
                  <a:pt x="567" y="224"/>
                </a:cubicBezTo>
                <a:close/>
                <a:moveTo>
                  <a:pt x="567" y="311"/>
                </a:moveTo>
                <a:cubicBezTo>
                  <a:pt x="568" y="312"/>
                  <a:pt x="566" y="312"/>
                  <a:pt x="567" y="311"/>
                </a:cubicBezTo>
                <a:close/>
                <a:moveTo>
                  <a:pt x="565" y="280"/>
                </a:moveTo>
                <a:cubicBezTo>
                  <a:pt x="565" y="277"/>
                  <a:pt x="567" y="277"/>
                  <a:pt x="565" y="280"/>
                </a:cubicBezTo>
                <a:close/>
                <a:moveTo>
                  <a:pt x="566" y="411"/>
                </a:moveTo>
                <a:cubicBezTo>
                  <a:pt x="568" y="409"/>
                  <a:pt x="569" y="406"/>
                  <a:pt x="572" y="405"/>
                </a:cubicBezTo>
                <a:cubicBezTo>
                  <a:pt x="570" y="407"/>
                  <a:pt x="568" y="410"/>
                  <a:pt x="566" y="411"/>
                </a:cubicBezTo>
                <a:close/>
                <a:moveTo>
                  <a:pt x="571" y="279"/>
                </a:moveTo>
                <a:cubicBezTo>
                  <a:pt x="571" y="279"/>
                  <a:pt x="573" y="279"/>
                  <a:pt x="572" y="279"/>
                </a:cubicBezTo>
                <a:cubicBezTo>
                  <a:pt x="572" y="280"/>
                  <a:pt x="571" y="280"/>
                  <a:pt x="571" y="279"/>
                </a:cubicBezTo>
                <a:close/>
                <a:moveTo>
                  <a:pt x="573" y="383"/>
                </a:moveTo>
                <a:cubicBezTo>
                  <a:pt x="571" y="382"/>
                  <a:pt x="573" y="380"/>
                  <a:pt x="574" y="379"/>
                </a:cubicBezTo>
                <a:cubicBezTo>
                  <a:pt x="577" y="377"/>
                  <a:pt x="575" y="384"/>
                  <a:pt x="573" y="383"/>
                </a:cubicBezTo>
                <a:close/>
                <a:moveTo>
                  <a:pt x="578" y="218"/>
                </a:moveTo>
                <a:cubicBezTo>
                  <a:pt x="583" y="216"/>
                  <a:pt x="584" y="224"/>
                  <a:pt x="580" y="226"/>
                </a:cubicBezTo>
                <a:cubicBezTo>
                  <a:pt x="573" y="230"/>
                  <a:pt x="572" y="220"/>
                  <a:pt x="578" y="218"/>
                </a:cubicBezTo>
                <a:close/>
                <a:moveTo>
                  <a:pt x="577" y="295"/>
                </a:moveTo>
                <a:cubicBezTo>
                  <a:pt x="577" y="295"/>
                  <a:pt x="577" y="295"/>
                  <a:pt x="577" y="296"/>
                </a:cubicBezTo>
                <a:cubicBezTo>
                  <a:pt x="576" y="296"/>
                  <a:pt x="577" y="295"/>
                  <a:pt x="577" y="295"/>
                </a:cubicBezTo>
                <a:close/>
                <a:moveTo>
                  <a:pt x="577" y="425"/>
                </a:moveTo>
                <a:cubicBezTo>
                  <a:pt x="576" y="426"/>
                  <a:pt x="578" y="423"/>
                  <a:pt x="577" y="425"/>
                </a:cubicBezTo>
                <a:close/>
                <a:moveTo>
                  <a:pt x="577" y="371"/>
                </a:moveTo>
                <a:cubicBezTo>
                  <a:pt x="576" y="370"/>
                  <a:pt x="578" y="370"/>
                  <a:pt x="577" y="371"/>
                </a:cubicBezTo>
                <a:close/>
                <a:moveTo>
                  <a:pt x="577" y="297"/>
                </a:moveTo>
                <a:cubicBezTo>
                  <a:pt x="578" y="296"/>
                  <a:pt x="578" y="297"/>
                  <a:pt x="578" y="297"/>
                </a:cubicBezTo>
                <a:cubicBezTo>
                  <a:pt x="579" y="299"/>
                  <a:pt x="576" y="297"/>
                  <a:pt x="577" y="297"/>
                </a:cubicBezTo>
                <a:close/>
                <a:moveTo>
                  <a:pt x="580" y="277"/>
                </a:moveTo>
                <a:cubicBezTo>
                  <a:pt x="580" y="277"/>
                  <a:pt x="580" y="277"/>
                  <a:pt x="580" y="277"/>
                </a:cubicBezTo>
                <a:cubicBezTo>
                  <a:pt x="581" y="277"/>
                  <a:pt x="579" y="278"/>
                  <a:pt x="580" y="277"/>
                </a:cubicBezTo>
                <a:close/>
                <a:moveTo>
                  <a:pt x="580" y="387"/>
                </a:moveTo>
                <a:cubicBezTo>
                  <a:pt x="580" y="386"/>
                  <a:pt x="582" y="385"/>
                  <a:pt x="582" y="384"/>
                </a:cubicBezTo>
                <a:cubicBezTo>
                  <a:pt x="583" y="385"/>
                  <a:pt x="581" y="386"/>
                  <a:pt x="580" y="387"/>
                </a:cubicBezTo>
                <a:close/>
                <a:moveTo>
                  <a:pt x="578" y="268"/>
                </a:moveTo>
                <a:cubicBezTo>
                  <a:pt x="578" y="266"/>
                  <a:pt x="584" y="266"/>
                  <a:pt x="582" y="269"/>
                </a:cubicBezTo>
                <a:cubicBezTo>
                  <a:pt x="582" y="271"/>
                  <a:pt x="578" y="270"/>
                  <a:pt x="578" y="268"/>
                </a:cubicBezTo>
                <a:close/>
                <a:moveTo>
                  <a:pt x="582" y="302"/>
                </a:moveTo>
                <a:cubicBezTo>
                  <a:pt x="582" y="302"/>
                  <a:pt x="582" y="301"/>
                  <a:pt x="583" y="301"/>
                </a:cubicBezTo>
                <a:cubicBezTo>
                  <a:pt x="585" y="299"/>
                  <a:pt x="584" y="304"/>
                  <a:pt x="582" y="302"/>
                </a:cubicBezTo>
                <a:close/>
                <a:moveTo>
                  <a:pt x="584" y="367"/>
                </a:moveTo>
                <a:cubicBezTo>
                  <a:pt x="584" y="369"/>
                  <a:pt x="582" y="368"/>
                  <a:pt x="584" y="367"/>
                </a:cubicBezTo>
                <a:close/>
                <a:moveTo>
                  <a:pt x="584" y="364"/>
                </a:moveTo>
                <a:cubicBezTo>
                  <a:pt x="584" y="363"/>
                  <a:pt x="584" y="363"/>
                  <a:pt x="585" y="363"/>
                </a:cubicBezTo>
                <a:cubicBezTo>
                  <a:pt x="586" y="363"/>
                  <a:pt x="583" y="365"/>
                  <a:pt x="584" y="364"/>
                </a:cubicBezTo>
                <a:close/>
                <a:moveTo>
                  <a:pt x="585" y="305"/>
                </a:moveTo>
                <a:cubicBezTo>
                  <a:pt x="585" y="305"/>
                  <a:pt x="586" y="304"/>
                  <a:pt x="586" y="305"/>
                </a:cubicBezTo>
                <a:cubicBezTo>
                  <a:pt x="587" y="305"/>
                  <a:pt x="585" y="306"/>
                  <a:pt x="585" y="305"/>
                </a:cubicBezTo>
                <a:close/>
                <a:moveTo>
                  <a:pt x="585" y="289"/>
                </a:moveTo>
                <a:cubicBezTo>
                  <a:pt x="585" y="288"/>
                  <a:pt x="586" y="288"/>
                  <a:pt x="586" y="288"/>
                </a:cubicBezTo>
                <a:cubicBezTo>
                  <a:pt x="586" y="288"/>
                  <a:pt x="585" y="289"/>
                  <a:pt x="585" y="289"/>
                </a:cubicBezTo>
                <a:close/>
                <a:moveTo>
                  <a:pt x="585" y="250"/>
                </a:moveTo>
                <a:cubicBezTo>
                  <a:pt x="586" y="249"/>
                  <a:pt x="587" y="248"/>
                  <a:pt x="589" y="247"/>
                </a:cubicBezTo>
                <a:cubicBezTo>
                  <a:pt x="588" y="248"/>
                  <a:pt x="586" y="249"/>
                  <a:pt x="585" y="250"/>
                </a:cubicBezTo>
                <a:close/>
                <a:moveTo>
                  <a:pt x="590" y="437"/>
                </a:moveTo>
                <a:cubicBezTo>
                  <a:pt x="589" y="435"/>
                  <a:pt x="591" y="433"/>
                  <a:pt x="593" y="431"/>
                </a:cubicBezTo>
                <a:cubicBezTo>
                  <a:pt x="592" y="433"/>
                  <a:pt x="591" y="435"/>
                  <a:pt x="590" y="437"/>
                </a:cubicBezTo>
                <a:close/>
                <a:moveTo>
                  <a:pt x="594" y="251"/>
                </a:moveTo>
                <a:cubicBezTo>
                  <a:pt x="596" y="250"/>
                  <a:pt x="595" y="255"/>
                  <a:pt x="593" y="253"/>
                </a:cubicBezTo>
                <a:cubicBezTo>
                  <a:pt x="593" y="253"/>
                  <a:pt x="593" y="252"/>
                  <a:pt x="594" y="251"/>
                </a:cubicBezTo>
                <a:close/>
                <a:moveTo>
                  <a:pt x="594" y="357"/>
                </a:moveTo>
                <a:cubicBezTo>
                  <a:pt x="594" y="357"/>
                  <a:pt x="594" y="356"/>
                  <a:pt x="595" y="356"/>
                </a:cubicBezTo>
                <a:cubicBezTo>
                  <a:pt x="596" y="357"/>
                  <a:pt x="592" y="359"/>
                  <a:pt x="594" y="357"/>
                </a:cubicBezTo>
                <a:close/>
                <a:moveTo>
                  <a:pt x="595" y="371"/>
                </a:moveTo>
                <a:cubicBezTo>
                  <a:pt x="595" y="372"/>
                  <a:pt x="594" y="373"/>
                  <a:pt x="593" y="373"/>
                </a:cubicBezTo>
                <a:cubicBezTo>
                  <a:pt x="593" y="372"/>
                  <a:pt x="594" y="371"/>
                  <a:pt x="595" y="371"/>
                </a:cubicBezTo>
                <a:close/>
                <a:moveTo>
                  <a:pt x="593" y="429"/>
                </a:move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lose/>
                <a:moveTo>
                  <a:pt x="594" y="472"/>
                </a:moveTo>
                <a:cubicBezTo>
                  <a:pt x="594" y="472"/>
                  <a:pt x="595" y="470"/>
                  <a:pt x="595" y="470"/>
                </a:cubicBezTo>
                <a:cubicBezTo>
                  <a:pt x="596" y="471"/>
                  <a:pt x="594" y="472"/>
                  <a:pt x="594" y="472"/>
                </a:cubicBezTo>
                <a:close/>
                <a:moveTo>
                  <a:pt x="598" y="422"/>
                </a:moveTo>
                <a:cubicBezTo>
                  <a:pt x="598" y="423"/>
                  <a:pt x="596" y="426"/>
                  <a:pt x="594" y="428"/>
                </a:cubicBezTo>
                <a:cubicBezTo>
                  <a:pt x="594" y="425"/>
                  <a:pt x="599" y="418"/>
                  <a:pt x="598" y="422"/>
                </a:cubicBezTo>
                <a:close/>
                <a:moveTo>
                  <a:pt x="595" y="356"/>
                </a:moveTo>
                <a:cubicBezTo>
                  <a:pt x="596" y="355"/>
                  <a:pt x="597" y="354"/>
                  <a:pt x="599" y="353"/>
                </a:cubicBezTo>
                <a:cubicBezTo>
                  <a:pt x="598" y="355"/>
                  <a:pt x="597" y="355"/>
                  <a:pt x="595" y="356"/>
                </a:cubicBezTo>
                <a:close/>
                <a:moveTo>
                  <a:pt x="686" y="310"/>
                </a:moveTo>
                <a:cubicBezTo>
                  <a:pt x="686" y="309"/>
                  <a:pt x="686" y="312"/>
                  <a:pt x="686" y="310"/>
                </a:cubicBezTo>
                <a:close/>
                <a:moveTo>
                  <a:pt x="679" y="298"/>
                </a:moveTo>
                <a:cubicBezTo>
                  <a:pt x="682" y="297"/>
                  <a:pt x="678" y="302"/>
                  <a:pt x="678" y="299"/>
                </a:cubicBezTo>
                <a:cubicBezTo>
                  <a:pt x="678" y="299"/>
                  <a:pt x="678" y="298"/>
                  <a:pt x="679" y="298"/>
                </a:cubicBezTo>
                <a:close/>
                <a:moveTo>
                  <a:pt x="676" y="297"/>
                </a:moveTo>
                <a:cubicBezTo>
                  <a:pt x="677" y="295"/>
                  <a:pt x="676" y="298"/>
                  <a:pt x="676" y="297"/>
                </a:cubicBezTo>
                <a:close/>
                <a:moveTo>
                  <a:pt x="671" y="307"/>
                </a:moveTo>
                <a:cubicBezTo>
                  <a:pt x="671" y="307"/>
                  <a:pt x="672" y="308"/>
                  <a:pt x="671" y="308"/>
                </a:cubicBezTo>
                <a:cubicBezTo>
                  <a:pt x="670" y="309"/>
                  <a:pt x="671" y="307"/>
                  <a:pt x="671" y="307"/>
                </a:cubicBezTo>
                <a:close/>
                <a:moveTo>
                  <a:pt x="672" y="331"/>
                </a:moveTo>
                <a:cubicBezTo>
                  <a:pt x="672" y="331"/>
                  <a:pt x="675" y="326"/>
                  <a:pt x="675" y="328"/>
                </a:cubicBezTo>
                <a:cubicBezTo>
                  <a:pt x="675" y="331"/>
                  <a:pt x="670" y="334"/>
                  <a:pt x="668" y="337"/>
                </a:cubicBezTo>
                <a:cubicBezTo>
                  <a:pt x="669" y="335"/>
                  <a:pt x="671" y="333"/>
                  <a:pt x="672" y="331"/>
                </a:cubicBezTo>
                <a:close/>
                <a:moveTo>
                  <a:pt x="669" y="271"/>
                </a:moveTo>
                <a:cubicBezTo>
                  <a:pt x="668" y="270"/>
                  <a:pt x="671" y="264"/>
                  <a:pt x="672" y="266"/>
                </a:cubicBezTo>
                <a:cubicBezTo>
                  <a:pt x="674" y="267"/>
                  <a:pt x="670" y="270"/>
                  <a:pt x="669" y="271"/>
                </a:cubicBezTo>
                <a:close/>
                <a:moveTo>
                  <a:pt x="674" y="235"/>
                </a:moveTo>
                <a:cubicBezTo>
                  <a:pt x="673" y="236"/>
                  <a:pt x="675" y="233"/>
                  <a:pt x="674" y="235"/>
                </a:cubicBezTo>
                <a:close/>
                <a:moveTo>
                  <a:pt x="676" y="252"/>
                </a:moveTo>
                <a:cubicBezTo>
                  <a:pt x="676" y="250"/>
                  <a:pt x="677" y="251"/>
                  <a:pt x="676" y="252"/>
                </a:cubicBezTo>
                <a:close/>
                <a:moveTo>
                  <a:pt x="673" y="222"/>
                </a:moveTo>
                <a:cubicBezTo>
                  <a:pt x="674" y="221"/>
                  <a:pt x="676" y="222"/>
                  <a:pt x="676" y="222"/>
                </a:cubicBezTo>
                <a:cubicBezTo>
                  <a:pt x="678" y="225"/>
                  <a:pt x="674" y="230"/>
                  <a:pt x="672" y="229"/>
                </a:cubicBezTo>
                <a:cubicBezTo>
                  <a:pt x="669" y="227"/>
                  <a:pt x="671" y="223"/>
                  <a:pt x="673" y="222"/>
                </a:cubicBezTo>
                <a:close/>
                <a:moveTo>
                  <a:pt x="669" y="233"/>
                </a:moveTo>
                <a:cubicBezTo>
                  <a:pt x="669" y="232"/>
                  <a:pt x="670" y="231"/>
                  <a:pt x="670" y="230"/>
                </a:cubicBezTo>
                <a:cubicBezTo>
                  <a:pt x="669" y="230"/>
                  <a:pt x="669" y="230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1" y="229"/>
                </a:cubicBezTo>
                <a:cubicBezTo>
                  <a:pt x="670" y="230"/>
                  <a:pt x="670" y="230"/>
                  <a:pt x="670" y="230"/>
                </a:cubicBezTo>
                <a:cubicBezTo>
                  <a:pt x="670" y="233"/>
                  <a:pt x="669" y="236"/>
                  <a:pt x="668" y="238"/>
                </a:cubicBezTo>
                <a:cubicBezTo>
                  <a:pt x="668" y="237"/>
                  <a:pt x="668" y="235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lose/>
                <a:moveTo>
                  <a:pt x="668" y="231"/>
                </a:moveTo>
                <a:cubicBezTo>
                  <a:pt x="668" y="233"/>
                  <a:pt x="666" y="231"/>
                  <a:pt x="668" y="231"/>
                </a:cubicBezTo>
                <a:close/>
                <a:moveTo>
                  <a:pt x="671" y="249"/>
                </a:moveTo>
                <a:cubicBezTo>
                  <a:pt x="670" y="250"/>
                  <a:pt x="668" y="251"/>
                  <a:pt x="666" y="252"/>
                </a:cubicBezTo>
                <a:cubicBezTo>
                  <a:pt x="667" y="250"/>
                  <a:pt x="669" y="250"/>
                  <a:pt x="671" y="249"/>
                </a:cubicBezTo>
                <a:close/>
                <a:moveTo>
                  <a:pt x="667" y="257"/>
                </a:moveTo>
                <a:cubicBezTo>
                  <a:pt x="667" y="258"/>
                  <a:pt x="666" y="260"/>
                  <a:pt x="665" y="261"/>
                </a:cubicBezTo>
                <a:cubicBezTo>
                  <a:pt x="665" y="259"/>
                  <a:pt x="667" y="259"/>
                  <a:pt x="667" y="257"/>
                </a:cubicBezTo>
                <a:close/>
                <a:moveTo>
                  <a:pt x="666" y="302"/>
                </a:moveTo>
                <a:cubicBezTo>
                  <a:pt x="666" y="302"/>
                  <a:pt x="666" y="302"/>
                  <a:pt x="666" y="301"/>
                </a:cubicBezTo>
                <a:cubicBezTo>
                  <a:pt x="666" y="300"/>
                  <a:pt x="667" y="302"/>
                  <a:pt x="666" y="302"/>
                </a:cubicBezTo>
                <a:close/>
                <a:moveTo>
                  <a:pt x="657" y="233"/>
                </a:moveTo>
                <a:cubicBezTo>
                  <a:pt x="657" y="233"/>
                  <a:pt x="657" y="233"/>
                  <a:pt x="657" y="233"/>
                </a:cubicBezTo>
                <a:cubicBezTo>
                  <a:pt x="657" y="235"/>
                  <a:pt x="655" y="233"/>
                  <a:pt x="657" y="233"/>
                </a:cubicBezTo>
                <a:close/>
                <a:moveTo>
                  <a:pt x="655" y="232"/>
                </a:moveTo>
                <a:cubicBezTo>
                  <a:pt x="656" y="232"/>
                  <a:pt x="656" y="234"/>
                  <a:pt x="655" y="234"/>
                </a:cubicBezTo>
                <a:cubicBezTo>
                  <a:pt x="654" y="233"/>
                  <a:pt x="655" y="232"/>
                  <a:pt x="655" y="232"/>
                </a:cubicBezTo>
                <a:close/>
                <a:moveTo>
                  <a:pt x="655" y="256"/>
                </a:moveTo>
                <a:cubicBezTo>
                  <a:pt x="657" y="254"/>
                  <a:pt x="657" y="259"/>
                  <a:pt x="655" y="259"/>
                </a:cubicBezTo>
                <a:cubicBezTo>
                  <a:pt x="654" y="258"/>
                  <a:pt x="654" y="256"/>
                  <a:pt x="655" y="256"/>
                </a:cubicBezTo>
                <a:close/>
                <a:moveTo>
                  <a:pt x="651" y="231"/>
                </a:moveTo>
                <a:cubicBezTo>
                  <a:pt x="651" y="231"/>
                  <a:pt x="652" y="230"/>
                  <a:pt x="653" y="231"/>
                </a:cubicBezTo>
                <a:cubicBezTo>
                  <a:pt x="654" y="232"/>
                  <a:pt x="650" y="234"/>
                  <a:pt x="651" y="231"/>
                </a:cubicBezTo>
                <a:close/>
                <a:moveTo>
                  <a:pt x="651" y="229"/>
                </a:moveTo>
                <a:cubicBezTo>
                  <a:pt x="651" y="228"/>
                  <a:pt x="650" y="231"/>
                  <a:pt x="651" y="229"/>
                </a:cubicBezTo>
                <a:close/>
                <a:moveTo>
                  <a:pt x="647" y="239"/>
                </a:moveTo>
                <a:cubicBezTo>
                  <a:pt x="648" y="237"/>
                  <a:pt x="650" y="241"/>
                  <a:pt x="647" y="241"/>
                </a:cubicBezTo>
                <a:cubicBezTo>
                  <a:pt x="647" y="240"/>
                  <a:pt x="646" y="239"/>
                  <a:pt x="647" y="239"/>
                </a:cubicBezTo>
                <a:close/>
                <a:moveTo>
                  <a:pt x="649" y="265"/>
                </a:moveTo>
                <a:cubicBezTo>
                  <a:pt x="650" y="264"/>
                  <a:pt x="651" y="260"/>
                  <a:pt x="653" y="260"/>
                </a:cubicBezTo>
                <a:cubicBezTo>
                  <a:pt x="657" y="258"/>
                  <a:pt x="649" y="267"/>
                  <a:pt x="648" y="268"/>
                </a:cubicBezTo>
                <a:cubicBezTo>
                  <a:pt x="650" y="266"/>
                  <a:pt x="648" y="270"/>
                  <a:pt x="647" y="269"/>
                </a:cubicBezTo>
                <a:cubicBezTo>
                  <a:pt x="646" y="269"/>
                  <a:pt x="648" y="266"/>
                  <a:pt x="649" y="265"/>
                </a:cubicBezTo>
                <a:close/>
                <a:moveTo>
                  <a:pt x="652" y="271"/>
                </a:moveTo>
                <a:cubicBezTo>
                  <a:pt x="653" y="272"/>
                  <a:pt x="651" y="272"/>
                  <a:pt x="651" y="272"/>
                </a:cubicBezTo>
                <a:cubicBezTo>
                  <a:pt x="651" y="271"/>
                  <a:pt x="652" y="270"/>
                  <a:pt x="652" y="271"/>
                </a:cubicBezTo>
                <a:close/>
                <a:moveTo>
                  <a:pt x="657" y="273"/>
                </a:moveTo>
                <a:cubicBezTo>
                  <a:pt x="653" y="278"/>
                  <a:pt x="649" y="282"/>
                  <a:pt x="643" y="286"/>
                </a:cubicBezTo>
                <a:cubicBezTo>
                  <a:pt x="648" y="281"/>
                  <a:pt x="652" y="277"/>
                  <a:pt x="657" y="273"/>
                </a:cubicBezTo>
                <a:close/>
                <a:moveTo>
                  <a:pt x="645" y="387"/>
                </a:moveTo>
                <a:cubicBezTo>
                  <a:pt x="645" y="389"/>
                  <a:pt x="643" y="388"/>
                  <a:pt x="645" y="387"/>
                </a:cubicBezTo>
                <a:close/>
                <a:moveTo>
                  <a:pt x="645" y="390"/>
                </a:moveTo>
                <a:cubicBezTo>
                  <a:pt x="645" y="388"/>
                  <a:pt x="644" y="391"/>
                  <a:pt x="645" y="390"/>
                </a:cubicBezTo>
                <a:close/>
                <a:moveTo>
                  <a:pt x="641" y="392"/>
                </a:moveTo>
                <a:cubicBezTo>
                  <a:pt x="642" y="391"/>
                  <a:pt x="642" y="390"/>
                  <a:pt x="643" y="389"/>
                </a:cubicBezTo>
                <a:cubicBezTo>
                  <a:pt x="643" y="390"/>
                  <a:pt x="643" y="391"/>
                  <a:pt x="641" y="392"/>
                </a:cubicBezTo>
                <a:close/>
                <a:moveTo>
                  <a:pt x="642" y="393"/>
                </a:moveTo>
                <a:cubicBezTo>
                  <a:pt x="643" y="393"/>
                  <a:pt x="640" y="395"/>
                  <a:pt x="642" y="393"/>
                </a:cubicBezTo>
                <a:close/>
                <a:moveTo>
                  <a:pt x="643" y="300"/>
                </a:moveTo>
                <a:cubicBezTo>
                  <a:pt x="642" y="300"/>
                  <a:pt x="643" y="299"/>
                  <a:pt x="643" y="299"/>
                </a:cubicBezTo>
                <a:cubicBezTo>
                  <a:pt x="644" y="297"/>
                  <a:pt x="644" y="301"/>
                  <a:pt x="643" y="300"/>
                </a:cubicBezTo>
                <a:close/>
                <a:moveTo>
                  <a:pt x="642" y="297"/>
                </a:moveTo>
                <a:cubicBezTo>
                  <a:pt x="642" y="296"/>
                  <a:pt x="643" y="296"/>
                  <a:pt x="644" y="295"/>
                </a:cubicBezTo>
                <a:cubicBezTo>
                  <a:pt x="644" y="296"/>
                  <a:pt x="643" y="297"/>
                  <a:pt x="642" y="297"/>
                </a:cubicBezTo>
                <a:close/>
                <a:moveTo>
                  <a:pt x="639" y="297"/>
                </a:moveTo>
                <a:cubicBezTo>
                  <a:pt x="638" y="296"/>
                  <a:pt x="644" y="290"/>
                  <a:pt x="645" y="290"/>
                </a:cubicBezTo>
                <a:cubicBezTo>
                  <a:pt x="645" y="289"/>
                  <a:pt x="646" y="289"/>
                  <a:pt x="647" y="289"/>
                </a:cubicBezTo>
                <a:cubicBezTo>
                  <a:pt x="647" y="289"/>
                  <a:pt x="640" y="298"/>
                  <a:pt x="639" y="297"/>
                </a:cubicBezTo>
                <a:close/>
                <a:moveTo>
                  <a:pt x="642" y="298"/>
                </a:moveTo>
                <a:cubicBezTo>
                  <a:pt x="641" y="300"/>
                  <a:pt x="639" y="299"/>
                  <a:pt x="642" y="298"/>
                </a:cubicBezTo>
                <a:close/>
                <a:moveTo>
                  <a:pt x="639" y="303"/>
                </a:moveTo>
                <a:cubicBezTo>
                  <a:pt x="639" y="303"/>
                  <a:pt x="639" y="302"/>
                  <a:pt x="639" y="302"/>
                </a:cubicBezTo>
                <a:cubicBezTo>
                  <a:pt x="641" y="300"/>
                  <a:pt x="640" y="304"/>
                  <a:pt x="639" y="303"/>
                </a:cubicBezTo>
                <a:close/>
                <a:moveTo>
                  <a:pt x="640" y="320"/>
                </a:moveTo>
                <a:cubicBezTo>
                  <a:pt x="640" y="320"/>
                  <a:pt x="639" y="321"/>
                  <a:pt x="639" y="321"/>
                </a:cubicBezTo>
                <a:cubicBezTo>
                  <a:pt x="638" y="321"/>
                  <a:pt x="639" y="320"/>
                  <a:pt x="640" y="320"/>
                </a:cubicBezTo>
                <a:close/>
                <a:moveTo>
                  <a:pt x="638" y="266"/>
                </a:moveTo>
                <a:cubicBezTo>
                  <a:pt x="637" y="266"/>
                  <a:pt x="639" y="265"/>
                  <a:pt x="638" y="264"/>
                </a:cubicBezTo>
                <a:cubicBezTo>
                  <a:pt x="639" y="264"/>
                  <a:pt x="638" y="266"/>
                  <a:pt x="638" y="266"/>
                </a:cubicBezTo>
                <a:close/>
                <a:moveTo>
                  <a:pt x="638" y="268"/>
                </a:moveTo>
                <a:cubicBezTo>
                  <a:pt x="638" y="268"/>
                  <a:pt x="638" y="269"/>
                  <a:pt x="638" y="269"/>
                </a:cubicBezTo>
                <a:cubicBezTo>
                  <a:pt x="638" y="269"/>
                  <a:pt x="638" y="269"/>
                  <a:pt x="638" y="269"/>
                </a:cubicBezTo>
                <a:cubicBezTo>
                  <a:pt x="638" y="269"/>
                  <a:pt x="638" y="269"/>
                  <a:pt x="638" y="268"/>
                </a:cubicBezTo>
                <a:close/>
                <a:moveTo>
                  <a:pt x="642" y="286"/>
                </a:moveTo>
                <a:cubicBezTo>
                  <a:pt x="642" y="287"/>
                  <a:pt x="639" y="289"/>
                  <a:pt x="638" y="290"/>
                </a:cubicBezTo>
                <a:cubicBezTo>
                  <a:pt x="638" y="288"/>
                  <a:pt x="641" y="288"/>
                  <a:pt x="642" y="286"/>
                </a:cubicBezTo>
                <a:close/>
                <a:moveTo>
                  <a:pt x="644" y="234"/>
                </a:moveTo>
                <a:cubicBezTo>
                  <a:pt x="643" y="235"/>
                  <a:pt x="643" y="234"/>
                  <a:pt x="644" y="234"/>
                </a:cubicBezTo>
                <a:close/>
                <a:moveTo>
                  <a:pt x="643" y="251"/>
                </a:moveTo>
                <a:cubicBezTo>
                  <a:pt x="643" y="252"/>
                  <a:pt x="642" y="253"/>
                  <a:pt x="642" y="253"/>
                </a:cubicBezTo>
                <a:cubicBezTo>
                  <a:pt x="642" y="253"/>
                  <a:pt x="642" y="251"/>
                  <a:pt x="643" y="251"/>
                </a:cubicBezTo>
                <a:close/>
                <a:moveTo>
                  <a:pt x="645" y="254"/>
                </a:moveTo>
                <a:cubicBezTo>
                  <a:pt x="643" y="257"/>
                  <a:pt x="641" y="258"/>
                  <a:pt x="638" y="260"/>
                </a:cubicBezTo>
                <a:cubicBezTo>
                  <a:pt x="640" y="258"/>
                  <a:pt x="642" y="256"/>
                  <a:pt x="645" y="254"/>
                </a:cubicBezTo>
                <a:close/>
                <a:moveTo>
                  <a:pt x="640" y="225"/>
                </a:moveTo>
                <a:cubicBezTo>
                  <a:pt x="640" y="225"/>
                  <a:pt x="640" y="225"/>
                  <a:pt x="640" y="225"/>
                </a:cubicBezTo>
                <a:cubicBezTo>
                  <a:pt x="640" y="225"/>
                  <a:pt x="640" y="225"/>
                  <a:pt x="640" y="226"/>
                </a:cubicBezTo>
                <a:cubicBezTo>
                  <a:pt x="640" y="226"/>
                  <a:pt x="640" y="226"/>
                  <a:pt x="640" y="225"/>
                </a:cubicBezTo>
                <a:close/>
                <a:moveTo>
                  <a:pt x="640" y="241"/>
                </a:moveTo>
                <a:cubicBezTo>
                  <a:pt x="641" y="243"/>
                  <a:pt x="638" y="244"/>
                  <a:pt x="638" y="242"/>
                </a:cubicBezTo>
                <a:cubicBezTo>
                  <a:pt x="637" y="241"/>
                  <a:pt x="640" y="239"/>
                  <a:pt x="640" y="241"/>
                </a:cubicBezTo>
                <a:close/>
                <a:moveTo>
                  <a:pt x="638" y="290"/>
                </a:moveTo>
                <a:cubicBezTo>
                  <a:pt x="639" y="291"/>
                  <a:pt x="635" y="292"/>
                  <a:pt x="636" y="290"/>
                </a:cubicBezTo>
                <a:cubicBezTo>
                  <a:pt x="637" y="289"/>
                  <a:pt x="637" y="289"/>
                  <a:pt x="638" y="290"/>
                </a:cubicBezTo>
                <a:close/>
                <a:moveTo>
                  <a:pt x="637" y="302"/>
                </a:move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lose/>
                <a:moveTo>
                  <a:pt x="632" y="265"/>
                </a:moveTo>
                <a:cubicBezTo>
                  <a:pt x="633" y="264"/>
                  <a:pt x="635" y="262"/>
                  <a:pt x="636" y="262"/>
                </a:cubicBezTo>
                <a:cubicBezTo>
                  <a:pt x="636" y="262"/>
                  <a:pt x="634" y="265"/>
                  <a:pt x="632" y="265"/>
                </a:cubicBezTo>
                <a:close/>
                <a:moveTo>
                  <a:pt x="637" y="219"/>
                </a:moveTo>
                <a:cubicBezTo>
                  <a:pt x="637" y="221"/>
                  <a:pt x="634" y="221"/>
                  <a:pt x="634" y="219"/>
                </a:cubicBezTo>
                <a:cubicBezTo>
                  <a:pt x="634" y="218"/>
                  <a:pt x="636" y="217"/>
                  <a:pt x="637" y="219"/>
                </a:cubicBezTo>
                <a:close/>
                <a:moveTo>
                  <a:pt x="633" y="221"/>
                </a:moveTo>
                <a:cubicBezTo>
                  <a:pt x="633" y="221"/>
                  <a:pt x="635" y="221"/>
                  <a:pt x="634" y="222"/>
                </a:cubicBezTo>
                <a:cubicBezTo>
                  <a:pt x="634" y="222"/>
                  <a:pt x="632" y="222"/>
                  <a:pt x="633" y="221"/>
                </a:cubicBezTo>
                <a:close/>
                <a:moveTo>
                  <a:pt x="633" y="253"/>
                </a:moveTo>
                <a:cubicBezTo>
                  <a:pt x="633" y="254"/>
                  <a:pt x="632" y="254"/>
                  <a:pt x="631" y="254"/>
                </a:cubicBezTo>
                <a:cubicBezTo>
                  <a:pt x="631" y="253"/>
                  <a:pt x="632" y="252"/>
                  <a:pt x="633" y="253"/>
                </a:cubicBezTo>
                <a:close/>
                <a:moveTo>
                  <a:pt x="630" y="260"/>
                </a:moveTo>
                <a:cubicBezTo>
                  <a:pt x="630" y="260"/>
                  <a:pt x="630" y="260"/>
                  <a:pt x="630" y="261"/>
                </a:cubicBezTo>
                <a:cubicBezTo>
                  <a:pt x="630" y="261"/>
                  <a:pt x="630" y="261"/>
                  <a:pt x="630" y="261"/>
                </a:cubicBezTo>
                <a:cubicBezTo>
                  <a:pt x="630" y="261"/>
                  <a:pt x="630" y="260"/>
                  <a:pt x="630" y="260"/>
                </a:cubicBezTo>
                <a:close/>
                <a:moveTo>
                  <a:pt x="632" y="277"/>
                </a:moveTo>
                <a:cubicBezTo>
                  <a:pt x="634" y="279"/>
                  <a:pt x="631" y="281"/>
                  <a:pt x="629" y="281"/>
                </a:cubicBezTo>
                <a:cubicBezTo>
                  <a:pt x="629" y="280"/>
                  <a:pt x="631" y="277"/>
                  <a:pt x="632" y="277"/>
                </a:cubicBezTo>
                <a:close/>
                <a:moveTo>
                  <a:pt x="632" y="347"/>
                </a:moveTo>
                <a:cubicBezTo>
                  <a:pt x="632" y="347"/>
                  <a:pt x="632" y="346"/>
                  <a:pt x="632" y="346"/>
                </a:cubicBezTo>
                <a:cubicBezTo>
                  <a:pt x="633" y="344"/>
                  <a:pt x="632" y="348"/>
                  <a:pt x="632" y="347"/>
                </a:cubicBezTo>
                <a:close/>
                <a:moveTo>
                  <a:pt x="630" y="294"/>
                </a:moveTo>
                <a:cubicBezTo>
                  <a:pt x="630" y="295"/>
                  <a:pt x="629" y="295"/>
                  <a:pt x="629" y="295"/>
                </a:cubicBezTo>
                <a:cubicBezTo>
                  <a:pt x="629" y="295"/>
                  <a:pt x="629" y="294"/>
                  <a:pt x="630" y="294"/>
                </a:cubicBezTo>
                <a:close/>
                <a:moveTo>
                  <a:pt x="627" y="314"/>
                </a:moveTo>
                <a:cubicBezTo>
                  <a:pt x="627" y="314"/>
                  <a:pt x="628" y="314"/>
                  <a:pt x="628" y="314"/>
                </a:cubicBezTo>
                <a:cubicBezTo>
                  <a:pt x="629" y="315"/>
                  <a:pt x="627" y="315"/>
                  <a:pt x="627" y="314"/>
                </a:cubicBezTo>
                <a:close/>
                <a:moveTo>
                  <a:pt x="628" y="256"/>
                </a:moveTo>
                <a:cubicBezTo>
                  <a:pt x="628" y="254"/>
                  <a:pt x="627" y="257"/>
                  <a:pt x="628" y="256"/>
                </a:cubicBezTo>
                <a:close/>
                <a:moveTo>
                  <a:pt x="626" y="201"/>
                </a:moveTo>
                <a:cubicBezTo>
                  <a:pt x="624" y="200"/>
                  <a:pt x="625" y="198"/>
                  <a:pt x="626" y="198"/>
                </a:cubicBezTo>
                <a:cubicBezTo>
                  <a:pt x="629" y="196"/>
                  <a:pt x="628" y="201"/>
                  <a:pt x="626" y="201"/>
                </a:cubicBezTo>
                <a:close/>
                <a:moveTo>
                  <a:pt x="625" y="187"/>
                </a:moveTo>
                <a:cubicBezTo>
                  <a:pt x="625" y="186"/>
                  <a:pt x="626" y="186"/>
                  <a:pt x="626" y="186"/>
                </a:cubicBezTo>
                <a:cubicBezTo>
                  <a:pt x="627" y="187"/>
                  <a:pt x="624" y="188"/>
                  <a:pt x="625" y="187"/>
                </a:cubicBezTo>
                <a:close/>
                <a:moveTo>
                  <a:pt x="622" y="226"/>
                </a:moveTo>
                <a:cubicBezTo>
                  <a:pt x="617" y="226"/>
                  <a:pt x="619" y="218"/>
                  <a:pt x="621" y="217"/>
                </a:cubicBezTo>
                <a:cubicBezTo>
                  <a:pt x="629" y="212"/>
                  <a:pt x="628" y="227"/>
                  <a:pt x="622" y="226"/>
                </a:cubicBezTo>
                <a:close/>
                <a:moveTo>
                  <a:pt x="619" y="233"/>
                </a:moveTo>
                <a:cubicBezTo>
                  <a:pt x="618" y="232"/>
                  <a:pt x="623" y="228"/>
                  <a:pt x="624" y="228"/>
                </a:cubicBezTo>
                <a:cubicBezTo>
                  <a:pt x="628" y="226"/>
                  <a:pt x="620" y="234"/>
                  <a:pt x="619" y="233"/>
                </a:cubicBezTo>
                <a:close/>
                <a:moveTo>
                  <a:pt x="625" y="235"/>
                </a:moveTo>
                <a:cubicBezTo>
                  <a:pt x="625" y="236"/>
                  <a:pt x="623" y="237"/>
                  <a:pt x="623" y="236"/>
                </a:cubicBezTo>
                <a:cubicBezTo>
                  <a:pt x="622" y="235"/>
                  <a:pt x="624" y="234"/>
                  <a:pt x="625" y="235"/>
                </a:cubicBezTo>
                <a:close/>
                <a:moveTo>
                  <a:pt x="622" y="357"/>
                </a:move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lose/>
                <a:moveTo>
                  <a:pt x="608" y="328"/>
                </a:moveTo>
                <a:cubicBezTo>
                  <a:pt x="608" y="327"/>
                  <a:pt x="611" y="326"/>
                  <a:pt x="612" y="324"/>
                </a:cubicBezTo>
                <a:cubicBezTo>
                  <a:pt x="615" y="321"/>
                  <a:pt x="617" y="315"/>
                  <a:pt x="621" y="313"/>
                </a:cubicBezTo>
                <a:cubicBezTo>
                  <a:pt x="621" y="317"/>
                  <a:pt x="615" y="319"/>
                  <a:pt x="614" y="322"/>
                </a:cubicBezTo>
                <a:cubicBezTo>
                  <a:pt x="613" y="324"/>
                  <a:pt x="610" y="329"/>
                  <a:pt x="607" y="331"/>
                </a:cubicBezTo>
                <a:cubicBezTo>
                  <a:pt x="607" y="331"/>
                  <a:pt x="607" y="333"/>
                  <a:pt x="606" y="332"/>
                </a:cubicBezTo>
                <a:cubicBezTo>
                  <a:pt x="605" y="331"/>
                  <a:pt x="608" y="328"/>
                  <a:pt x="608" y="328"/>
                </a:cubicBezTo>
                <a:close/>
                <a:moveTo>
                  <a:pt x="605" y="271"/>
                </a:moveTo>
                <a:cubicBezTo>
                  <a:pt x="604" y="270"/>
                  <a:pt x="605" y="269"/>
                  <a:pt x="605" y="269"/>
                </a:cubicBezTo>
                <a:cubicBezTo>
                  <a:pt x="608" y="267"/>
                  <a:pt x="606" y="272"/>
                  <a:pt x="605" y="271"/>
                </a:cubicBezTo>
                <a:close/>
                <a:moveTo>
                  <a:pt x="609" y="243"/>
                </a:moveTo>
                <a:cubicBezTo>
                  <a:pt x="608" y="242"/>
                  <a:pt x="610" y="241"/>
                  <a:pt x="611" y="243"/>
                </a:cubicBezTo>
                <a:cubicBezTo>
                  <a:pt x="611" y="244"/>
                  <a:pt x="609" y="244"/>
                  <a:pt x="609" y="243"/>
                </a:cubicBezTo>
                <a:close/>
                <a:moveTo>
                  <a:pt x="611" y="305"/>
                </a:moveTo>
                <a:cubicBezTo>
                  <a:pt x="610" y="306"/>
                  <a:pt x="611" y="304"/>
                  <a:pt x="611" y="305"/>
                </a:cubicBezTo>
                <a:close/>
                <a:moveTo>
                  <a:pt x="613" y="298"/>
                </a:moveTo>
                <a:cubicBezTo>
                  <a:pt x="613" y="298"/>
                  <a:pt x="613" y="298"/>
                  <a:pt x="613" y="298"/>
                </a:cubicBezTo>
                <a:cubicBezTo>
                  <a:pt x="614" y="295"/>
                  <a:pt x="613" y="300"/>
                  <a:pt x="613" y="298"/>
                </a:cubicBezTo>
                <a:close/>
                <a:moveTo>
                  <a:pt x="617" y="261"/>
                </a:moveTo>
                <a:cubicBezTo>
                  <a:pt x="617" y="262"/>
                  <a:pt x="616" y="262"/>
                  <a:pt x="615" y="263"/>
                </a:cubicBezTo>
                <a:cubicBezTo>
                  <a:pt x="615" y="262"/>
                  <a:pt x="616" y="261"/>
                  <a:pt x="617" y="261"/>
                </a:cubicBezTo>
                <a:close/>
                <a:moveTo>
                  <a:pt x="616" y="238"/>
                </a:moveTo>
                <a:cubicBezTo>
                  <a:pt x="616" y="238"/>
                  <a:pt x="616" y="239"/>
                  <a:pt x="615" y="239"/>
                </a:cubicBezTo>
                <a:cubicBezTo>
                  <a:pt x="615" y="238"/>
                  <a:pt x="615" y="238"/>
                  <a:pt x="616" y="238"/>
                </a:cubicBezTo>
                <a:close/>
                <a:moveTo>
                  <a:pt x="618" y="309"/>
                </a:moveTo>
                <a:cubicBezTo>
                  <a:pt x="618" y="309"/>
                  <a:pt x="618" y="308"/>
                  <a:pt x="618" y="308"/>
                </a:cubicBezTo>
                <a:cubicBezTo>
                  <a:pt x="619" y="306"/>
                  <a:pt x="618" y="311"/>
                  <a:pt x="618" y="309"/>
                </a:cubicBezTo>
                <a:close/>
                <a:moveTo>
                  <a:pt x="618" y="295"/>
                </a:moveTo>
                <a:cubicBezTo>
                  <a:pt x="619" y="293"/>
                  <a:pt x="618" y="296"/>
                  <a:pt x="618" y="295"/>
                </a:cubicBezTo>
                <a:close/>
                <a:moveTo>
                  <a:pt x="620" y="301"/>
                </a:moveTo>
                <a:cubicBezTo>
                  <a:pt x="619" y="302"/>
                  <a:pt x="621" y="300"/>
                  <a:pt x="620" y="301"/>
                </a:cubicBezTo>
                <a:close/>
                <a:moveTo>
                  <a:pt x="621" y="333"/>
                </a:moveTo>
                <a:cubicBezTo>
                  <a:pt x="620" y="335"/>
                  <a:pt x="619" y="336"/>
                  <a:pt x="618" y="337"/>
                </a:cubicBezTo>
                <a:cubicBezTo>
                  <a:pt x="619" y="336"/>
                  <a:pt x="620" y="334"/>
                  <a:pt x="621" y="333"/>
                </a:cubicBezTo>
                <a:close/>
                <a:moveTo>
                  <a:pt x="622" y="194"/>
                </a:moveTo>
                <a:cubicBezTo>
                  <a:pt x="621" y="194"/>
                  <a:pt x="622" y="192"/>
                  <a:pt x="623" y="193"/>
                </a:cubicBezTo>
                <a:cubicBezTo>
                  <a:pt x="623" y="194"/>
                  <a:pt x="622" y="195"/>
                  <a:pt x="622" y="194"/>
                </a:cubicBezTo>
                <a:close/>
                <a:moveTo>
                  <a:pt x="619" y="192"/>
                </a:moveTo>
                <a:cubicBezTo>
                  <a:pt x="619" y="192"/>
                  <a:pt x="619" y="192"/>
                  <a:pt x="620" y="191"/>
                </a:cubicBezTo>
                <a:cubicBezTo>
                  <a:pt x="620" y="192"/>
                  <a:pt x="620" y="192"/>
                  <a:pt x="620" y="192"/>
                </a:cubicBezTo>
                <a:cubicBezTo>
                  <a:pt x="621" y="191"/>
                  <a:pt x="622" y="190"/>
                  <a:pt x="623" y="190"/>
                </a:cubicBezTo>
                <a:cubicBezTo>
                  <a:pt x="622" y="192"/>
                  <a:pt x="620" y="193"/>
                  <a:pt x="617" y="194"/>
                </a:cubicBezTo>
                <a:cubicBezTo>
                  <a:pt x="618" y="193"/>
                  <a:pt x="618" y="193"/>
                  <a:pt x="619" y="192"/>
                </a:cubicBezTo>
                <a:close/>
                <a:moveTo>
                  <a:pt x="615" y="194"/>
                </a:moveTo>
                <a:cubicBezTo>
                  <a:pt x="616" y="194"/>
                  <a:pt x="617" y="193"/>
                  <a:pt x="617" y="194"/>
                </a:cubicBezTo>
                <a:cubicBezTo>
                  <a:pt x="618" y="195"/>
                  <a:pt x="613" y="196"/>
                  <a:pt x="615" y="194"/>
                </a:cubicBezTo>
                <a:close/>
                <a:moveTo>
                  <a:pt x="612" y="214"/>
                </a:moveTo>
                <a:cubicBezTo>
                  <a:pt x="613" y="215"/>
                  <a:pt x="612" y="215"/>
                  <a:pt x="611" y="214"/>
                </a:cubicBezTo>
                <a:cubicBezTo>
                  <a:pt x="611" y="214"/>
                  <a:pt x="612" y="213"/>
                  <a:pt x="612" y="214"/>
                </a:cubicBezTo>
                <a:close/>
                <a:moveTo>
                  <a:pt x="609" y="203"/>
                </a:moveTo>
                <a:cubicBezTo>
                  <a:pt x="611" y="201"/>
                  <a:pt x="611" y="205"/>
                  <a:pt x="609" y="205"/>
                </a:cubicBezTo>
                <a:cubicBezTo>
                  <a:pt x="609" y="204"/>
                  <a:pt x="609" y="204"/>
                  <a:pt x="609" y="203"/>
                </a:cubicBezTo>
                <a:close/>
                <a:moveTo>
                  <a:pt x="609" y="219"/>
                </a:moveTo>
                <a:cubicBezTo>
                  <a:pt x="612" y="218"/>
                  <a:pt x="616" y="215"/>
                  <a:pt x="620" y="214"/>
                </a:cubicBezTo>
                <a:cubicBezTo>
                  <a:pt x="617" y="216"/>
                  <a:pt x="611" y="220"/>
                  <a:pt x="608" y="221"/>
                </a:cubicBezTo>
                <a:cubicBezTo>
                  <a:pt x="609" y="221"/>
                  <a:pt x="607" y="222"/>
                  <a:pt x="607" y="221"/>
                </a:cubicBezTo>
                <a:cubicBezTo>
                  <a:pt x="606" y="220"/>
                  <a:pt x="609" y="220"/>
                  <a:pt x="609" y="219"/>
                </a:cubicBezTo>
                <a:close/>
                <a:moveTo>
                  <a:pt x="610" y="253"/>
                </a:moveTo>
                <a:cubicBezTo>
                  <a:pt x="610" y="255"/>
                  <a:pt x="605" y="256"/>
                  <a:pt x="605" y="255"/>
                </a:cubicBezTo>
                <a:cubicBezTo>
                  <a:pt x="604" y="252"/>
                  <a:pt x="610" y="249"/>
                  <a:pt x="610" y="253"/>
                </a:cubicBezTo>
                <a:close/>
                <a:moveTo>
                  <a:pt x="602" y="194"/>
                </a:moveTo>
                <a:cubicBezTo>
                  <a:pt x="602" y="194"/>
                  <a:pt x="603" y="194"/>
                  <a:pt x="603" y="194"/>
                </a:cubicBezTo>
                <a:cubicBezTo>
                  <a:pt x="604" y="196"/>
                  <a:pt x="601" y="196"/>
                  <a:pt x="602" y="194"/>
                </a:cubicBezTo>
                <a:close/>
                <a:moveTo>
                  <a:pt x="604" y="256"/>
                </a:moveTo>
                <a:cubicBezTo>
                  <a:pt x="604" y="257"/>
                  <a:pt x="606" y="258"/>
                  <a:pt x="606" y="259"/>
                </a:cubicBezTo>
                <a:cubicBezTo>
                  <a:pt x="605" y="261"/>
                  <a:pt x="604" y="259"/>
                  <a:pt x="603" y="260"/>
                </a:cubicBezTo>
                <a:cubicBezTo>
                  <a:pt x="601" y="262"/>
                  <a:pt x="602" y="267"/>
                  <a:pt x="600" y="270"/>
                </a:cubicBezTo>
                <a:cubicBezTo>
                  <a:pt x="600" y="265"/>
                  <a:pt x="602" y="261"/>
                  <a:pt x="604" y="256"/>
                </a:cubicBezTo>
                <a:close/>
                <a:moveTo>
                  <a:pt x="600" y="272"/>
                </a:moveTo>
                <a:cubicBezTo>
                  <a:pt x="600" y="271"/>
                  <a:pt x="602" y="269"/>
                  <a:pt x="603" y="271"/>
                </a:cubicBezTo>
                <a:cubicBezTo>
                  <a:pt x="603" y="273"/>
                  <a:pt x="601" y="273"/>
                  <a:pt x="600" y="272"/>
                </a:cubicBezTo>
                <a:close/>
                <a:moveTo>
                  <a:pt x="601" y="310"/>
                </a:moveTo>
                <a:cubicBezTo>
                  <a:pt x="600" y="310"/>
                  <a:pt x="601" y="310"/>
                  <a:pt x="601" y="310"/>
                </a:cubicBezTo>
                <a:cubicBezTo>
                  <a:pt x="602" y="310"/>
                  <a:pt x="601" y="310"/>
                  <a:pt x="601" y="310"/>
                </a:cubicBezTo>
                <a:close/>
                <a:moveTo>
                  <a:pt x="602" y="303"/>
                </a:moveTo>
                <a:cubicBezTo>
                  <a:pt x="602" y="302"/>
                  <a:pt x="603" y="302"/>
                  <a:pt x="603" y="302"/>
                </a:cubicBezTo>
                <a:cubicBezTo>
                  <a:pt x="604" y="302"/>
                  <a:pt x="602" y="304"/>
                  <a:pt x="602" y="303"/>
                </a:cubicBezTo>
                <a:close/>
                <a:moveTo>
                  <a:pt x="607" y="416"/>
                </a:moveTo>
                <a:cubicBezTo>
                  <a:pt x="607" y="415"/>
                  <a:pt x="607" y="415"/>
                  <a:pt x="608" y="414"/>
                </a:cubicBezTo>
                <a:cubicBezTo>
                  <a:pt x="607" y="415"/>
                  <a:pt x="607" y="416"/>
                  <a:pt x="607" y="416"/>
                </a:cubicBezTo>
                <a:close/>
                <a:moveTo>
                  <a:pt x="608" y="393"/>
                </a:moveTo>
                <a:cubicBezTo>
                  <a:pt x="608" y="392"/>
                  <a:pt x="609" y="391"/>
                  <a:pt x="610" y="390"/>
                </a:cubicBezTo>
                <a:cubicBezTo>
                  <a:pt x="610" y="390"/>
                  <a:pt x="609" y="392"/>
                  <a:pt x="608" y="393"/>
                </a:cubicBezTo>
                <a:close/>
                <a:moveTo>
                  <a:pt x="600" y="353"/>
                </a:moveTo>
                <a:cubicBezTo>
                  <a:pt x="601" y="350"/>
                  <a:pt x="607" y="346"/>
                  <a:pt x="610" y="343"/>
                </a:cubicBezTo>
                <a:cubicBezTo>
                  <a:pt x="608" y="347"/>
                  <a:pt x="603" y="350"/>
                  <a:pt x="600" y="353"/>
                </a:cubicBezTo>
                <a:close/>
                <a:moveTo>
                  <a:pt x="611" y="388"/>
                </a:moveTo>
                <a:cubicBezTo>
                  <a:pt x="610" y="388"/>
                  <a:pt x="612" y="387"/>
                  <a:pt x="611" y="388"/>
                </a:cubicBezTo>
                <a:close/>
                <a:moveTo>
                  <a:pt x="612" y="387"/>
                </a:moveTo>
                <a:cubicBezTo>
                  <a:pt x="612" y="386"/>
                  <a:pt x="612" y="386"/>
                  <a:pt x="613" y="385"/>
                </a:cubicBezTo>
                <a:cubicBezTo>
                  <a:pt x="613" y="386"/>
                  <a:pt x="612" y="387"/>
                  <a:pt x="612" y="387"/>
                </a:cubicBezTo>
                <a:close/>
                <a:moveTo>
                  <a:pt x="611" y="344"/>
                </a:moveTo>
                <a:cubicBezTo>
                  <a:pt x="612" y="342"/>
                  <a:pt x="613" y="341"/>
                  <a:pt x="616" y="339"/>
                </a:cubicBezTo>
                <a:cubicBezTo>
                  <a:pt x="614" y="341"/>
                  <a:pt x="613" y="343"/>
                  <a:pt x="611" y="344"/>
                </a:cubicBezTo>
                <a:close/>
                <a:moveTo>
                  <a:pt x="615" y="357"/>
                </a:moveTo>
                <a:cubicBezTo>
                  <a:pt x="615" y="357"/>
                  <a:pt x="616" y="356"/>
                  <a:pt x="617" y="356"/>
                </a:cubicBezTo>
                <a:cubicBezTo>
                  <a:pt x="616" y="357"/>
                  <a:pt x="615" y="357"/>
                  <a:pt x="615" y="357"/>
                </a:cubicBezTo>
                <a:close/>
                <a:moveTo>
                  <a:pt x="617" y="539"/>
                </a:moveTo>
                <a:cubicBezTo>
                  <a:pt x="616" y="539"/>
                  <a:pt x="617" y="537"/>
                  <a:pt x="618" y="537"/>
                </a:cubicBezTo>
                <a:cubicBezTo>
                  <a:pt x="618" y="538"/>
                  <a:pt x="617" y="539"/>
                  <a:pt x="617" y="539"/>
                </a:cubicBezTo>
                <a:close/>
                <a:moveTo>
                  <a:pt x="618" y="445"/>
                </a:moveTo>
                <a:cubicBezTo>
                  <a:pt x="617" y="445"/>
                  <a:pt x="618" y="443"/>
                  <a:pt x="618" y="443"/>
                </a:cubicBezTo>
                <a:cubicBezTo>
                  <a:pt x="620" y="441"/>
                  <a:pt x="619" y="446"/>
                  <a:pt x="618" y="445"/>
                </a:cubicBezTo>
                <a:close/>
                <a:moveTo>
                  <a:pt x="619" y="557"/>
                </a:moveTo>
                <a:cubicBezTo>
                  <a:pt x="619" y="557"/>
                  <a:pt x="619" y="556"/>
                  <a:pt x="619" y="557"/>
                </a:cubicBezTo>
                <a:cubicBezTo>
                  <a:pt x="620" y="557"/>
                  <a:pt x="619" y="558"/>
                  <a:pt x="619" y="557"/>
                </a:cubicBezTo>
                <a:close/>
                <a:moveTo>
                  <a:pt x="619" y="347"/>
                </a:moveTo>
                <a:cubicBezTo>
                  <a:pt x="618" y="347"/>
                  <a:pt x="619" y="345"/>
                  <a:pt x="619" y="345"/>
                </a:cubicBezTo>
                <a:cubicBezTo>
                  <a:pt x="621" y="342"/>
                  <a:pt x="620" y="348"/>
                  <a:pt x="619" y="347"/>
                </a:cubicBezTo>
                <a:close/>
                <a:moveTo>
                  <a:pt x="620" y="435"/>
                </a:moveTo>
                <a:cubicBezTo>
                  <a:pt x="621" y="434"/>
                  <a:pt x="619" y="437"/>
                  <a:pt x="620" y="435"/>
                </a:cubicBezTo>
                <a:close/>
                <a:moveTo>
                  <a:pt x="623" y="526"/>
                </a:moveTo>
                <a:cubicBezTo>
                  <a:pt x="624" y="527"/>
                  <a:pt x="622" y="529"/>
                  <a:pt x="621" y="530"/>
                </a:cubicBezTo>
                <a:cubicBezTo>
                  <a:pt x="621" y="529"/>
                  <a:pt x="623" y="527"/>
                  <a:pt x="623" y="526"/>
                </a:cubicBezTo>
                <a:close/>
                <a:moveTo>
                  <a:pt x="622" y="561"/>
                </a:moveTo>
                <a:cubicBezTo>
                  <a:pt x="621" y="560"/>
                  <a:pt x="622" y="558"/>
                  <a:pt x="622" y="558"/>
                </a:cubicBezTo>
                <a:cubicBezTo>
                  <a:pt x="625" y="555"/>
                  <a:pt x="624" y="562"/>
                  <a:pt x="622" y="561"/>
                </a:cubicBezTo>
                <a:close/>
                <a:moveTo>
                  <a:pt x="624" y="492"/>
                </a:moveTo>
                <a:cubicBezTo>
                  <a:pt x="624" y="490"/>
                  <a:pt x="623" y="493"/>
                  <a:pt x="624" y="492"/>
                </a:cubicBezTo>
                <a:close/>
                <a:moveTo>
                  <a:pt x="625" y="381"/>
                </a:moveTo>
                <a:cubicBezTo>
                  <a:pt x="625" y="381"/>
                  <a:pt x="624" y="381"/>
                  <a:pt x="624" y="381"/>
                </a:cubicBezTo>
                <a:cubicBezTo>
                  <a:pt x="625" y="379"/>
                  <a:pt x="626" y="381"/>
                  <a:pt x="625" y="381"/>
                </a:cubicBezTo>
                <a:close/>
                <a:moveTo>
                  <a:pt x="624" y="254"/>
                </a:moveTo>
                <a:cubicBezTo>
                  <a:pt x="624" y="254"/>
                  <a:pt x="625" y="253"/>
                  <a:pt x="625" y="253"/>
                </a:cubicBezTo>
                <a:cubicBezTo>
                  <a:pt x="626" y="252"/>
                  <a:pt x="625" y="255"/>
                  <a:pt x="624" y="254"/>
                </a:cubicBezTo>
                <a:close/>
                <a:moveTo>
                  <a:pt x="626" y="488"/>
                </a:moveTo>
                <a:cubicBezTo>
                  <a:pt x="626" y="488"/>
                  <a:pt x="627" y="486"/>
                  <a:pt x="627" y="486"/>
                </a:cubicBezTo>
                <a:cubicBezTo>
                  <a:pt x="627" y="487"/>
                  <a:pt x="626" y="487"/>
                  <a:pt x="626" y="488"/>
                </a:cubicBezTo>
                <a:close/>
                <a:moveTo>
                  <a:pt x="628" y="522"/>
                </a:moveTo>
                <a:cubicBezTo>
                  <a:pt x="626" y="521"/>
                  <a:pt x="628" y="521"/>
                  <a:pt x="628" y="522"/>
                </a:cubicBezTo>
                <a:close/>
                <a:moveTo>
                  <a:pt x="633" y="526"/>
                </a:moveTo>
                <a:cubicBezTo>
                  <a:pt x="634" y="528"/>
                  <a:pt x="631" y="529"/>
                  <a:pt x="633" y="526"/>
                </a:cubicBezTo>
                <a:close/>
                <a:moveTo>
                  <a:pt x="628" y="417"/>
                </a:moveTo>
                <a:cubicBezTo>
                  <a:pt x="630" y="415"/>
                  <a:pt x="631" y="410"/>
                  <a:pt x="634" y="409"/>
                </a:cubicBezTo>
                <a:cubicBezTo>
                  <a:pt x="633" y="409"/>
                  <a:pt x="631" y="417"/>
                  <a:pt x="628" y="417"/>
                </a:cubicBezTo>
                <a:close/>
                <a:moveTo>
                  <a:pt x="633" y="310"/>
                </a:moveTo>
                <a:cubicBezTo>
                  <a:pt x="632" y="309"/>
                  <a:pt x="634" y="305"/>
                  <a:pt x="634" y="305"/>
                </a:cubicBezTo>
                <a:cubicBezTo>
                  <a:pt x="638" y="302"/>
                  <a:pt x="636" y="311"/>
                  <a:pt x="633" y="310"/>
                </a:cubicBezTo>
                <a:close/>
                <a:moveTo>
                  <a:pt x="637" y="496"/>
                </a:moveTo>
                <a:cubicBezTo>
                  <a:pt x="636" y="497"/>
                  <a:pt x="637" y="495"/>
                  <a:pt x="637" y="496"/>
                </a:cubicBezTo>
                <a:close/>
                <a:moveTo>
                  <a:pt x="637" y="495"/>
                </a:moveTo>
                <a:cubicBezTo>
                  <a:pt x="635" y="495"/>
                  <a:pt x="637" y="490"/>
                  <a:pt x="638" y="490"/>
                </a:cubicBezTo>
                <a:cubicBezTo>
                  <a:pt x="640" y="489"/>
                  <a:pt x="639" y="496"/>
                  <a:pt x="637" y="495"/>
                </a:cubicBezTo>
                <a:close/>
                <a:moveTo>
                  <a:pt x="638" y="424"/>
                </a:move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lose/>
                <a:moveTo>
                  <a:pt x="634" y="368"/>
                </a:moveTo>
                <a:cubicBezTo>
                  <a:pt x="637" y="365"/>
                  <a:pt x="639" y="361"/>
                  <a:pt x="643" y="358"/>
                </a:cubicBezTo>
                <a:cubicBezTo>
                  <a:pt x="641" y="362"/>
                  <a:pt x="638" y="365"/>
                  <a:pt x="634" y="368"/>
                </a:cubicBezTo>
                <a:close/>
                <a:moveTo>
                  <a:pt x="641" y="395"/>
                </a:moveTo>
                <a:cubicBezTo>
                  <a:pt x="641" y="395"/>
                  <a:pt x="641" y="395"/>
                  <a:pt x="641" y="395"/>
                </a:cubicBezTo>
                <a:cubicBezTo>
                  <a:pt x="641" y="395"/>
                  <a:pt x="641" y="394"/>
                  <a:pt x="641" y="395"/>
                </a:cubicBezTo>
                <a:close/>
                <a:moveTo>
                  <a:pt x="640" y="430"/>
                </a:moveTo>
                <a:cubicBezTo>
                  <a:pt x="640" y="430"/>
                  <a:pt x="640" y="428"/>
                  <a:pt x="642" y="428"/>
                </a:cubicBezTo>
                <a:cubicBezTo>
                  <a:pt x="643" y="427"/>
                  <a:pt x="644" y="427"/>
                  <a:pt x="645" y="428"/>
                </a:cubicBezTo>
                <a:cubicBezTo>
                  <a:pt x="648" y="432"/>
                  <a:pt x="641" y="434"/>
                  <a:pt x="640" y="430"/>
                </a:cubicBezTo>
                <a:close/>
                <a:moveTo>
                  <a:pt x="645" y="387"/>
                </a:moveTo>
                <a:cubicBezTo>
                  <a:pt x="645" y="386"/>
                  <a:pt x="645" y="385"/>
                  <a:pt x="646" y="385"/>
                </a:cubicBezTo>
                <a:cubicBezTo>
                  <a:pt x="646" y="386"/>
                  <a:pt x="646" y="386"/>
                  <a:pt x="645" y="387"/>
                </a:cubicBezTo>
                <a:close/>
                <a:moveTo>
                  <a:pt x="647" y="552"/>
                </a:moveTo>
                <a:cubicBezTo>
                  <a:pt x="646" y="553"/>
                  <a:pt x="648" y="551"/>
                  <a:pt x="647" y="552"/>
                </a:cubicBezTo>
                <a:close/>
                <a:moveTo>
                  <a:pt x="647" y="429"/>
                </a:moveTo>
                <a:cubicBezTo>
                  <a:pt x="648" y="428"/>
                  <a:pt x="645" y="431"/>
                  <a:pt x="647" y="429"/>
                </a:cubicBezTo>
                <a:close/>
                <a:moveTo>
                  <a:pt x="646" y="388"/>
                </a:moveTo>
                <a:cubicBezTo>
                  <a:pt x="646" y="387"/>
                  <a:pt x="647" y="386"/>
                  <a:pt x="647" y="385"/>
                </a:cubicBezTo>
                <a:cubicBezTo>
                  <a:pt x="647" y="386"/>
                  <a:pt x="647" y="387"/>
                  <a:pt x="646" y="388"/>
                </a:cubicBezTo>
                <a:close/>
                <a:moveTo>
                  <a:pt x="646" y="385"/>
                </a:moveTo>
                <a:cubicBezTo>
                  <a:pt x="647" y="384"/>
                  <a:pt x="647" y="383"/>
                  <a:pt x="648" y="383"/>
                </a:cubicBezTo>
                <a:cubicBezTo>
                  <a:pt x="648" y="384"/>
                  <a:pt x="647" y="384"/>
                  <a:pt x="646" y="385"/>
                </a:cubicBezTo>
                <a:close/>
                <a:moveTo>
                  <a:pt x="647" y="345"/>
                </a:moveTo>
                <a:cubicBezTo>
                  <a:pt x="646" y="345"/>
                  <a:pt x="647" y="344"/>
                  <a:pt x="647" y="344"/>
                </a:cubicBezTo>
                <a:cubicBezTo>
                  <a:pt x="648" y="342"/>
                  <a:pt x="648" y="345"/>
                  <a:pt x="647" y="345"/>
                </a:cubicBezTo>
                <a:close/>
                <a:moveTo>
                  <a:pt x="648" y="529"/>
                </a:moveTo>
                <a:cubicBezTo>
                  <a:pt x="647" y="529"/>
                  <a:pt x="648" y="528"/>
                  <a:pt x="648" y="528"/>
                </a:cubicBezTo>
                <a:cubicBezTo>
                  <a:pt x="649" y="528"/>
                  <a:pt x="648" y="529"/>
                  <a:pt x="648" y="529"/>
                </a:cubicBezTo>
                <a:close/>
                <a:moveTo>
                  <a:pt x="648" y="382"/>
                </a:moveTo>
                <a:cubicBezTo>
                  <a:pt x="649" y="381"/>
                  <a:pt x="647" y="383"/>
                  <a:pt x="648" y="382"/>
                </a:cubicBezTo>
                <a:close/>
                <a:moveTo>
                  <a:pt x="650" y="335"/>
                </a:moveTo>
                <a:cubicBezTo>
                  <a:pt x="647" y="337"/>
                  <a:pt x="652" y="333"/>
                  <a:pt x="650" y="335"/>
                </a:cubicBezTo>
                <a:close/>
                <a:moveTo>
                  <a:pt x="651" y="357"/>
                </a:moveTo>
                <a:cubicBezTo>
                  <a:pt x="651" y="355"/>
                  <a:pt x="650" y="358"/>
                  <a:pt x="651" y="357"/>
                </a:cubicBezTo>
                <a:close/>
                <a:moveTo>
                  <a:pt x="651" y="299"/>
                </a:moveTo>
                <a:cubicBezTo>
                  <a:pt x="649" y="299"/>
                  <a:pt x="651" y="296"/>
                  <a:pt x="652" y="298"/>
                </a:cubicBezTo>
                <a:cubicBezTo>
                  <a:pt x="652" y="298"/>
                  <a:pt x="651" y="299"/>
                  <a:pt x="651" y="299"/>
                </a:cubicBezTo>
                <a:close/>
                <a:moveTo>
                  <a:pt x="651" y="291"/>
                </a:moveTo>
                <a:cubicBezTo>
                  <a:pt x="651" y="291"/>
                  <a:pt x="652" y="291"/>
                  <a:pt x="652" y="291"/>
                </a:cubicBezTo>
                <a:cubicBezTo>
                  <a:pt x="652" y="292"/>
                  <a:pt x="651" y="291"/>
                  <a:pt x="651" y="291"/>
                </a:cubicBezTo>
                <a:close/>
                <a:moveTo>
                  <a:pt x="652" y="333"/>
                </a:moveTo>
                <a:cubicBezTo>
                  <a:pt x="652" y="331"/>
                  <a:pt x="654" y="331"/>
                  <a:pt x="654" y="330"/>
                </a:cubicBezTo>
                <a:cubicBezTo>
                  <a:pt x="654" y="331"/>
                  <a:pt x="653" y="332"/>
                  <a:pt x="652" y="333"/>
                </a:cubicBezTo>
                <a:close/>
                <a:moveTo>
                  <a:pt x="654" y="302"/>
                </a:moveTo>
                <a:cubicBezTo>
                  <a:pt x="655" y="302"/>
                  <a:pt x="654" y="302"/>
                  <a:pt x="654" y="302"/>
                </a:cubicBezTo>
                <a:cubicBezTo>
                  <a:pt x="655" y="304"/>
                  <a:pt x="652" y="302"/>
                  <a:pt x="654" y="302"/>
                </a:cubicBezTo>
                <a:close/>
                <a:moveTo>
                  <a:pt x="654" y="370"/>
                </a:moveTo>
                <a:cubicBezTo>
                  <a:pt x="654" y="369"/>
                  <a:pt x="656" y="369"/>
                  <a:pt x="655" y="370"/>
                </a:cubicBezTo>
                <a:cubicBezTo>
                  <a:pt x="655" y="370"/>
                  <a:pt x="654" y="370"/>
                  <a:pt x="654" y="370"/>
                </a:cubicBezTo>
                <a:close/>
                <a:moveTo>
                  <a:pt x="648" y="287"/>
                </a:moveTo>
                <a:cubicBezTo>
                  <a:pt x="651" y="284"/>
                  <a:pt x="653" y="280"/>
                  <a:pt x="658" y="277"/>
                </a:cubicBezTo>
                <a:cubicBezTo>
                  <a:pt x="657" y="281"/>
                  <a:pt x="652" y="285"/>
                  <a:pt x="648" y="287"/>
                </a:cubicBezTo>
                <a:close/>
                <a:moveTo>
                  <a:pt x="657" y="286"/>
                </a:moveTo>
                <a:cubicBezTo>
                  <a:pt x="657" y="285"/>
                  <a:pt x="658" y="285"/>
                  <a:pt x="658" y="285"/>
                </a:cubicBezTo>
                <a:cubicBezTo>
                  <a:pt x="659" y="286"/>
                  <a:pt x="656" y="287"/>
                  <a:pt x="657" y="286"/>
                </a:cubicBezTo>
                <a:close/>
                <a:moveTo>
                  <a:pt x="658" y="318"/>
                </a:moveTo>
                <a:cubicBezTo>
                  <a:pt x="659" y="317"/>
                  <a:pt x="657" y="319"/>
                  <a:pt x="658" y="318"/>
                </a:cubicBezTo>
                <a:close/>
                <a:moveTo>
                  <a:pt x="658" y="348"/>
                </a:moveTo>
                <a:cubicBezTo>
                  <a:pt x="659" y="347"/>
                  <a:pt x="656" y="349"/>
                  <a:pt x="658" y="348"/>
                </a:cubicBezTo>
                <a:close/>
                <a:moveTo>
                  <a:pt x="658" y="477"/>
                </a:moveTo>
                <a:cubicBezTo>
                  <a:pt x="658" y="476"/>
                  <a:pt x="658" y="476"/>
                  <a:pt x="658" y="476"/>
                </a:cubicBezTo>
                <a:cubicBezTo>
                  <a:pt x="659" y="474"/>
                  <a:pt x="660" y="477"/>
                  <a:pt x="658" y="477"/>
                </a:cubicBezTo>
                <a:close/>
                <a:moveTo>
                  <a:pt x="658" y="376"/>
                </a:moveTo>
                <a:cubicBezTo>
                  <a:pt x="657" y="375"/>
                  <a:pt x="658" y="373"/>
                  <a:pt x="658" y="373"/>
                </a:cubicBezTo>
                <a:cubicBezTo>
                  <a:pt x="661" y="371"/>
                  <a:pt x="661" y="376"/>
                  <a:pt x="658" y="376"/>
                </a:cubicBezTo>
                <a:close/>
                <a:moveTo>
                  <a:pt x="660" y="413"/>
                </a:moveTo>
                <a:cubicBezTo>
                  <a:pt x="660" y="412"/>
                  <a:pt x="661" y="412"/>
                  <a:pt x="660" y="413"/>
                </a:cubicBezTo>
                <a:close/>
                <a:moveTo>
                  <a:pt x="658" y="347"/>
                </a:moveTo>
                <a:cubicBezTo>
                  <a:pt x="659" y="345"/>
                  <a:pt x="660" y="343"/>
                  <a:pt x="662" y="342"/>
                </a:cubicBezTo>
                <a:cubicBezTo>
                  <a:pt x="662" y="342"/>
                  <a:pt x="660" y="346"/>
                  <a:pt x="658" y="347"/>
                </a:cubicBezTo>
                <a:close/>
                <a:moveTo>
                  <a:pt x="663" y="312"/>
                </a:moveTo>
                <a:cubicBezTo>
                  <a:pt x="663" y="312"/>
                  <a:pt x="664" y="313"/>
                  <a:pt x="663" y="313"/>
                </a:cubicBezTo>
                <a:cubicBezTo>
                  <a:pt x="662" y="314"/>
                  <a:pt x="661" y="312"/>
                  <a:pt x="662" y="312"/>
                </a:cubicBezTo>
                <a:cubicBezTo>
                  <a:pt x="662" y="312"/>
                  <a:pt x="662" y="312"/>
                  <a:pt x="662" y="312"/>
                </a:cubicBezTo>
                <a:cubicBezTo>
                  <a:pt x="662" y="311"/>
                  <a:pt x="662" y="311"/>
                  <a:pt x="661" y="311"/>
                </a:cubicBezTo>
                <a:cubicBezTo>
                  <a:pt x="660" y="310"/>
                  <a:pt x="664" y="308"/>
                  <a:pt x="664" y="310"/>
                </a:cubicBezTo>
                <a:cubicBezTo>
                  <a:pt x="664" y="311"/>
                  <a:pt x="664" y="311"/>
                  <a:pt x="663" y="312"/>
                </a:cubicBezTo>
                <a:close/>
                <a:moveTo>
                  <a:pt x="662" y="277"/>
                </a:moveTo>
                <a:cubicBezTo>
                  <a:pt x="661" y="279"/>
                  <a:pt x="662" y="276"/>
                  <a:pt x="662" y="277"/>
                </a:cubicBezTo>
                <a:close/>
                <a:moveTo>
                  <a:pt x="662" y="261"/>
                </a:moveTo>
                <a:cubicBezTo>
                  <a:pt x="662" y="261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ubicBezTo>
                  <a:pt x="662" y="260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lose/>
                <a:moveTo>
                  <a:pt x="664" y="309"/>
                </a:moveTo>
                <a:cubicBezTo>
                  <a:pt x="663" y="309"/>
                  <a:pt x="663" y="308"/>
                  <a:pt x="664" y="308"/>
                </a:cubicBezTo>
                <a:cubicBezTo>
                  <a:pt x="664" y="307"/>
                  <a:pt x="665" y="309"/>
                  <a:pt x="664" y="309"/>
                </a:cubicBezTo>
                <a:close/>
                <a:moveTo>
                  <a:pt x="664" y="258"/>
                </a:moveTo>
                <a:cubicBezTo>
                  <a:pt x="664" y="260"/>
                  <a:pt x="662" y="259"/>
                  <a:pt x="664" y="258"/>
                </a:cubicBezTo>
                <a:close/>
                <a:moveTo>
                  <a:pt x="665" y="262"/>
                </a:moveTo>
                <a:cubicBezTo>
                  <a:pt x="663" y="263"/>
                  <a:pt x="666" y="260"/>
                  <a:pt x="665" y="262"/>
                </a:cubicBezTo>
                <a:close/>
                <a:moveTo>
                  <a:pt x="663" y="233"/>
                </a:moveTo>
                <a:cubicBezTo>
                  <a:pt x="665" y="234"/>
                  <a:pt x="663" y="240"/>
                  <a:pt x="660" y="239"/>
                </a:cubicBezTo>
                <a:cubicBezTo>
                  <a:pt x="657" y="239"/>
                  <a:pt x="659" y="230"/>
                  <a:pt x="663" y="233"/>
                </a:cubicBezTo>
                <a:cubicBezTo>
                  <a:pt x="662" y="232"/>
                  <a:pt x="662" y="229"/>
                  <a:pt x="664" y="230"/>
                </a:cubicBezTo>
                <a:cubicBezTo>
                  <a:pt x="666" y="230"/>
                  <a:pt x="665" y="234"/>
                  <a:pt x="663" y="233"/>
                </a:cubicBezTo>
                <a:close/>
                <a:moveTo>
                  <a:pt x="665" y="341"/>
                </a:moveTo>
                <a:cubicBezTo>
                  <a:pt x="665" y="340"/>
                  <a:pt x="667" y="338"/>
                  <a:pt x="668" y="337"/>
                </a:cubicBezTo>
                <a:cubicBezTo>
                  <a:pt x="667" y="339"/>
                  <a:pt x="667" y="340"/>
                  <a:pt x="665" y="341"/>
                </a:cubicBezTo>
                <a:close/>
                <a:moveTo>
                  <a:pt x="668" y="481"/>
                </a:moveTo>
                <a:cubicBezTo>
                  <a:pt x="668" y="481"/>
                  <a:pt x="668" y="480"/>
                  <a:pt x="668" y="481"/>
                </a:cubicBezTo>
                <a:cubicBezTo>
                  <a:pt x="669" y="481"/>
                  <a:pt x="668" y="482"/>
                  <a:pt x="668" y="481"/>
                </a:cubicBezTo>
                <a:close/>
                <a:moveTo>
                  <a:pt x="671" y="391"/>
                </a:moveTo>
                <a:cubicBezTo>
                  <a:pt x="671" y="390"/>
                  <a:pt x="672" y="389"/>
                  <a:pt x="672" y="388"/>
                </a:cubicBezTo>
                <a:cubicBezTo>
                  <a:pt x="673" y="389"/>
                  <a:pt x="672" y="391"/>
                  <a:pt x="671" y="391"/>
                </a:cubicBezTo>
                <a:close/>
                <a:moveTo>
                  <a:pt x="673" y="387"/>
                </a:moveTo>
                <a:cubicBezTo>
                  <a:pt x="673" y="385"/>
                  <a:pt x="675" y="383"/>
                  <a:pt x="675" y="381"/>
                </a:cubicBezTo>
                <a:cubicBezTo>
                  <a:pt x="676" y="383"/>
                  <a:pt x="674" y="385"/>
                  <a:pt x="673" y="387"/>
                </a:cubicBezTo>
                <a:close/>
                <a:moveTo>
                  <a:pt x="683" y="314"/>
                </a:moveTo>
                <a:cubicBezTo>
                  <a:pt x="681" y="318"/>
                  <a:pt x="678" y="322"/>
                  <a:pt x="676" y="326"/>
                </a:cubicBezTo>
                <a:cubicBezTo>
                  <a:pt x="678" y="322"/>
                  <a:pt x="679" y="317"/>
                  <a:pt x="683" y="314"/>
                </a:cubicBezTo>
                <a:close/>
                <a:moveTo>
                  <a:pt x="678" y="432"/>
                </a:moveTo>
                <a:cubicBezTo>
                  <a:pt x="678" y="434"/>
                  <a:pt x="676" y="433"/>
                  <a:pt x="678" y="432"/>
                </a:cubicBezTo>
                <a:close/>
                <a:moveTo>
                  <a:pt x="682" y="426"/>
                </a:moveTo>
                <a:cubicBezTo>
                  <a:pt x="681" y="426"/>
                  <a:pt x="681" y="425"/>
                  <a:pt x="682" y="424"/>
                </a:cubicBezTo>
                <a:cubicBezTo>
                  <a:pt x="683" y="423"/>
                  <a:pt x="684" y="427"/>
                  <a:pt x="682" y="426"/>
                </a:cubicBezTo>
                <a:close/>
                <a:moveTo>
                  <a:pt x="683" y="451"/>
                </a:moveTo>
                <a:cubicBezTo>
                  <a:pt x="683" y="450"/>
                  <a:pt x="685" y="451"/>
                  <a:pt x="683" y="451"/>
                </a:cubicBezTo>
                <a:close/>
                <a:moveTo>
                  <a:pt x="683" y="486"/>
                </a:moveTo>
                <a:cubicBezTo>
                  <a:pt x="684" y="486"/>
                  <a:pt x="682" y="487"/>
                  <a:pt x="683" y="486"/>
                </a:cubicBezTo>
                <a:close/>
                <a:moveTo>
                  <a:pt x="685" y="289"/>
                </a:moveTo>
                <a:cubicBezTo>
                  <a:pt x="686" y="289"/>
                  <a:pt x="684" y="290"/>
                  <a:pt x="684" y="290"/>
                </a:cubicBezTo>
                <a:cubicBezTo>
                  <a:pt x="684" y="290"/>
                  <a:pt x="685" y="290"/>
                  <a:pt x="685" y="289"/>
                </a:cubicBezTo>
                <a:close/>
                <a:moveTo>
                  <a:pt x="685" y="345"/>
                </a:moveTo>
                <a:cubicBezTo>
                  <a:pt x="684" y="344"/>
                  <a:pt x="685" y="344"/>
                  <a:pt x="685" y="343"/>
                </a:cubicBezTo>
                <a:cubicBezTo>
                  <a:pt x="686" y="343"/>
                  <a:pt x="685" y="345"/>
                  <a:pt x="685" y="345"/>
                </a:cubicBezTo>
                <a:close/>
                <a:moveTo>
                  <a:pt x="686" y="342"/>
                </a:moveTo>
                <a:cubicBezTo>
                  <a:pt x="685" y="341"/>
                  <a:pt x="686" y="341"/>
                  <a:pt x="686" y="340"/>
                </a:cubicBezTo>
                <a:cubicBezTo>
                  <a:pt x="687" y="340"/>
                  <a:pt x="686" y="342"/>
                  <a:pt x="686" y="342"/>
                </a:cubicBezTo>
                <a:close/>
                <a:moveTo>
                  <a:pt x="687" y="340"/>
                </a:moveTo>
                <a:cubicBezTo>
                  <a:pt x="686" y="339"/>
                  <a:pt x="687" y="337"/>
                  <a:pt x="688" y="336"/>
                </a:cubicBezTo>
                <a:cubicBezTo>
                  <a:pt x="688" y="337"/>
                  <a:pt x="687" y="339"/>
                  <a:pt x="687" y="340"/>
                </a:cubicBezTo>
                <a:close/>
                <a:moveTo>
                  <a:pt x="688" y="329"/>
                </a:moveTo>
                <a:cubicBezTo>
                  <a:pt x="688" y="329"/>
                  <a:pt x="688" y="329"/>
                  <a:pt x="688" y="329"/>
                </a:cubicBezTo>
                <a:cubicBezTo>
                  <a:pt x="688" y="329"/>
                  <a:pt x="687" y="330"/>
                  <a:pt x="688" y="329"/>
                </a:cubicBezTo>
                <a:close/>
                <a:moveTo>
                  <a:pt x="688" y="284"/>
                </a:moveTo>
                <a:cubicBezTo>
                  <a:pt x="689" y="283"/>
                  <a:pt x="686" y="286"/>
                  <a:pt x="688" y="284"/>
                </a:cubicBezTo>
                <a:close/>
                <a:moveTo>
                  <a:pt x="693" y="290"/>
                </a:moveTo>
                <a:cubicBezTo>
                  <a:pt x="697" y="288"/>
                  <a:pt x="695" y="297"/>
                  <a:pt x="692" y="296"/>
                </a:cubicBezTo>
                <a:cubicBezTo>
                  <a:pt x="690" y="295"/>
                  <a:pt x="692" y="291"/>
                  <a:pt x="693" y="290"/>
                </a:cubicBezTo>
                <a:close/>
                <a:moveTo>
                  <a:pt x="691" y="285"/>
                </a:moveTo>
                <a:cubicBezTo>
                  <a:pt x="691" y="286"/>
                  <a:pt x="692" y="284"/>
                  <a:pt x="691" y="285"/>
                </a:cubicBezTo>
                <a:close/>
                <a:moveTo>
                  <a:pt x="689" y="285"/>
                </a:moveTo>
                <a:cubicBezTo>
                  <a:pt x="690" y="285"/>
                  <a:pt x="690" y="284"/>
                  <a:pt x="691" y="284"/>
                </a:cubicBezTo>
                <a:cubicBezTo>
                  <a:pt x="693" y="285"/>
                  <a:pt x="688" y="288"/>
                  <a:pt x="689" y="285"/>
                </a:cubicBezTo>
                <a:close/>
                <a:moveTo>
                  <a:pt x="689" y="316"/>
                </a:moveTo>
                <a:cubicBezTo>
                  <a:pt x="690" y="317"/>
                  <a:pt x="688" y="316"/>
                  <a:pt x="689" y="316"/>
                </a:cubicBezTo>
                <a:close/>
                <a:moveTo>
                  <a:pt x="689" y="395"/>
                </a:moveTo>
                <a:cubicBezTo>
                  <a:pt x="689" y="395"/>
                  <a:pt x="689" y="394"/>
                  <a:pt x="689" y="394"/>
                </a:cubicBezTo>
                <a:cubicBezTo>
                  <a:pt x="690" y="394"/>
                  <a:pt x="688" y="397"/>
                  <a:pt x="689" y="395"/>
                </a:cubicBezTo>
                <a:close/>
                <a:moveTo>
                  <a:pt x="690" y="404"/>
                </a:moveTo>
                <a:cubicBezTo>
                  <a:pt x="690" y="403"/>
                  <a:pt x="691" y="404"/>
                  <a:pt x="691" y="404"/>
                </a:cubicBezTo>
                <a:cubicBezTo>
                  <a:pt x="691" y="405"/>
                  <a:pt x="689" y="405"/>
                  <a:pt x="690" y="404"/>
                </a:cubicBezTo>
                <a:close/>
                <a:moveTo>
                  <a:pt x="691" y="343"/>
                </a:moveTo>
                <a:cubicBezTo>
                  <a:pt x="691" y="342"/>
                  <a:pt x="691" y="341"/>
                  <a:pt x="691" y="341"/>
                </a:cubicBezTo>
                <a:cubicBezTo>
                  <a:pt x="692" y="340"/>
                  <a:pt x="692" y="343"/>
                  <a:pt x="691" y="343"/>
                </a:cubicBezTo>
                <a:close/>
                <a:moveTo>
                  <a:pt x="692" y="394"/>
                </a:moveTo>
                <a:cubicBezTo>
                  <a:pt x="691" y="395"/>
                  <a:pt x="693" y="393"/>
                  <a:pt x="692" y="394"/>
                </a:cubicBezTo>
                <a:close/>
                <a:moveTo>
                  <a:pt x="692" y="300"/>
                </a:moveTo>
                <a:cubicBezTo>
                  <a:pt x="690" y="300"/>
                  <a:pt x="691" y="299"/>
                  <a:pt x="692" y="298"/>
                </a:cubicBezTo>
                <a:cubicBezTo>
                  <a:pt x="693" y="297"/>
                  <a:pt x="693" y="300"/>
                  <a:pt x="692" y="300"/>
                </a:cubicBezTo>
                <a:close/>
                <a:moveTo>
                  <a:pt x="694" y="330"/>
                </a:moveTo>
                <a:cubicBezTo>
                  <a:pt x="695" y="329"/>
                  <a:pt x="695" y="332"/>
                  <a:pt x="694" y="331"/>
                </a:cubicBezTo>
                <a:cubicBezTo>
                  <a:pt x="693" y="331"/>
                  <a:pt x="694" y="330"/>
                  <a:pt x="694" y="330"/>
                </a:cubicBezTo>
                <a:close/>
                <a:moveTo>
                  <a:pt x="694" y="454"/>
                </a:moveTo>
                <a:cubicBezTo>
                  <a:pt x="694" y="454"/>
                  <a:pt x="694" y="454"/>
                  <a:pt x="695" y="454"/>
                </a:cubicBezTo>
                <a:cubicBezTo>
                  <a:pt x="696" y="454"/>
                  <a:pt x="693" y="455"/>
                  <a:pt x="694" y="454"/>
                </a:cubicBezTo>
                <a:close/>
                <a:moveTo>
                  <a:pt x="696" y="312"/>
                </a:moveTo>
                <a:cubicBezTo>
                  <a:pt x="694" y="313"/>
                  <a:pt x="694" y="308"/>
                  <a:pt x="695" y="307"/>
                </a:cubicBezTo>
                <a:cubicBezTo>
                  <a:pt x="700" y="304"/>
                  <a:pt x="697" y="312"/>
                  <a:pt x="696" y="312"/>
                </a:cubicBezTo>
                <a:close/>
                <a:moveTo>
                  <a:pt x="699" y="327"/>
                </a:moveTo>
                <a:cubicBezTo>
                  <a:pt x="699" y="327"/>
                  <a:pt x="700" y="326"/>
                  <a:pt x="700" y="326"/>
                </a:cubicBezTo>
                <a:cubicBezTo>
                  <a:pt x="702" y="327"/>
                  <a:pt x="698" y="329"/>
                  <a:pt x="699" y="327"/>
                </a:cubicBezTo>
                <a:close/>
                <a:moveTo>
                  <a:pt x="702" y="431"/>
                </a:moveTo>
                <a:cubicBezTo>
                  <a:pt x="702" y="430"/>
                  <a:pt x="704" y="429"/>
                  <a:pt x="704" y="428"/>
                </a:cubicBezTo>
                <a:cubicBezTo>
                  <a:pt x="704" y="429"/>
                  <a:pt x="704" y="431"/>
                  <a:pt x="702" y="431"/>
                </a:cubicBezTo>
                <a:close/>
                <a:moveTo>
                  <a:pt x="704" y="427"/>
                </a:moveTo>
                <a:cubicBezTo>
                  <a:pt x="705" y="425"/>
                  <a:pt x="705" y="423"/>
                  <a:pt x="706" y="421"/>
                </a:cubicBezTo>
                <a:cubicBezTo>
                  <a:pt x="707" y="422"/>
                  <a:pt x="705" y="426"/>
                  <a:pt x="704" y="427"/>
                </a:cubicBezTo>
                <a:close/>
                <a:moveTo>
                  <a:pt x="706" y="392"/>
                </a:moveTo>
                <a:cubicBezTo>
                  <a:pt x="706" y="393"/>
                  <a:pt x="706" y="393"/>
                  <a:pt x="706" y="392"/>
                </a:cubicBezTo>
                <a:close/>
                <a:moveTo>
                  <a:pt x="709" y="396"/>
                </a:moveTo>
                <a:cubicBezTo>
                  <a:pt x="710" y="397"/>
                  <a:pt x="708" y="397"/>
                  <a:pt x="709" y="396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r>
              <a:rPr lang="en-ID" b="1" dirty="0">
                <a:solidFill>
                  <a:schemeClr val="bg1"/>
                </a:solidFill>
              </a:rPr>
              <a:t>LOREM IPSUM</a:t>
            </a:r>
          </a:p>
        </p:txBody>
      </p:sp>
      <p:sp>
        <p:nvSpPr>
          <p:cNvPr id="25" name="Freeform 97">
            <a:extLst>
              <a:ext uri="{FF2B5EF4-FFF2-40B4-BE49-F238E27FC236}">
                <a16:creationId xmlns="" xmlns:a16="http://schemas.microsoft.com/office/drawing/2014/main" id="{AFBB144F-2C00-4454-B5D9-633F87AA3BFB}"/>
              </a:ext>
            </a:extLst>
          </p:cNvPr>
          <p:cNvSpPr>
            <a:spLocks noEditPoints="1"/>
          </p:cNvSpPr>
          <p:nvPr/>
        </p:nvSpPr>
        <p:spPr bwMode="auto">
          <a:xfrm>
            <a:off x="6501655" y="1408942"/>
            <a:ext cx="2119312" cy="2119312"/>
          </a:xfrm>
          <a:custGeom>
            <a:avLst/>
            <a:gdLst>
              <a:gd name="T0" fmla="*/ 677 w 714"/>
              <a:gd name="T1" fmla="*/ 212 h 715"/>
              <a:gd name="T2" fmla="*/ 626 w 714"/>
              <a:gd name="T3" fmla="*/ 179 h 715"/>
              <a:gd name="T4" fmla="*/ 573 w 714"/>
              <a:gd name="T5" fmla="*/ 139 h 715"/>
              <a:gd name="T6" fmla="*/ 553 w 714"/>
              <a:gd name="T7" fmla="*/ 94 h 715"/>
              <a:gd name="T8" fmla="*/ 516 w 714"/>
              <a:gd name="T9" fmla="*/ 53 h 715"/>
              <a:gd name="T10" fmla="*/ 421 w 714"/>
              <a:gd name="T11" fmla="*/ 60 h 715"/>
              <a:gd name="T12" fmla="*/ 429 w 714"/>
              <a:gd name="T13" fmla="*/ 26 h 715"/>
              <a:gd name="T14" fmla="*/ 22 w 714"/>
              <a:gd name="T15" fmla="*/ 436 h 715"/>
              <a:gd name="T16" fmla="*/ 39 w 714"/>
              <a:gd name="T17" fmla="*/ 451 h 715"/>
              <a:gd name="T18" fmla="*/ 60 w 714"/>
              <a:gd name="T19" fmla="*/ 465 h 715"/>
              <a:gd name="T20" fmla="*/ 108 w 714"/>
              <a:gd name="T21" fmla="*/ 446 h 715"/>
              <a:gd name="T22" fmla="*/ 102 w 714"/>
              <a:gd name="T23" fmla="*/ 508 h 715"/>
              <a:gd name="T24" fmla="*/ 146 w 714"/>
              <a:gd name="T25" fmla="*/ 552 h 715"/>
              <a:gd name="T26" fmla="*/ 190 w 714"/>
              <a:gd name="T27" fmla="*/ 596 h 715"/>
              <a:gd name="T28" fmla="*/ 214 w 714"/>
              <a:gd name="T29" fmla="*/ 647 h 715"/>
              <a:gd name="T30" fmla="*/ 296 w 714"/>
              <a:gd name="T31" fmla="*/ 709 h 715"/>
              <a:gd name="T32" fmla="*/ 684 w 714"/>
              <a:gd name="T33" fmla="*/ 227 h 715"/>
              <a:gd name="T34" fmla="*/ 434 w 714"/>
              <a:gd name="T35" fmla="*/ 24 h 715"/>
              <a:gd name="T36" fmla="*/ 9 w 714"/>
              <a:gd name="T37" fmla="*/ 371 h 715"/>
              <a:gd name="T38" fmla="*/ 37 w 714"/>
              <a:gd name="T39" fmla="*/ 344 h 715"/>
              <a:gd name="T40" fmla="*/ 45 w 714"/>
              <a:gd name="T41" fmla="*/ 192 h 715"/>
              <a:gd name="T42" fmla="*/ 64 w 714"/>
              <a:gd name="T43" fmla="*/ 419 h 715"/>
              <a:gd name="T44" fmla="*/ 84 w 714"/>
              <a:gd name="T45" fmla="*/ 332 h 715"/>
              <a:gd name="T46" fmla="*/ 87 w 714"/>
              <a:gd name="T47" fmla="*/ 502 h 715"/>
              <a:gd name="T48" fmla="*/ 234 w 714"/>
              <a:gd name="T49" fmla="*/ 679 h 715"/>
              <a:gd name="T50" fmla="*/ 287 w 714"/>
              <a:gd name="T51" fmla="*/ 641 h 715"/>
              <a:gd name="T52" fmla="*/ 303 w 714"/>
              <a:gd name="T53" fmla="*/ 67 h 715"/>
              <a:gd name="T54" fmla="*/ 270 w 714"/>
              <a:gd name="T55" fmla="*/ 571 h 715"/>
              <a:gd name="T56" fmla="*/ 246 w 714"/>
              <a:gd name="T57" fmla="*/ 640 h 715"/>
              <a:gd name="T58" fmla="*/ 249 w 714"/>
              <a:gd name="T59" fmla="*/ 640 h 715"/>
              <a:gd name="T60" fmla="*/ 227 w 714"/>
              <a:gd name="T61" fmla="*/ 527 h 715"/>
              <a:gd name="T62" fmla="*/ 209 w 714"/>
              <a:gd name="T63" fmla="*/ 468 h 715"/>
              <a:gd name="T64" fmla="*/ 178 w 714"/>
              <a:gd name="T65" fmla="*/ 383 h 715"/>
              <a:gd name="T66" fmla="*/ 165 w 714"/>
              <a:gd name="T67" fmla="*/ 345 h 715"/>
              <a:gd name="T68" fmla="*/ 156 w 714"/>
              <a:gd name="T69" fmla="*/ 435 h 715"/>
              <a:gd name="T70" fmla="*/ 132 w 714"/>
              <a:gd name="T71" fmla="*/ 280 h 715"/>
              <a:gd name="T72" fmla="*/ 123 w 714"/>
              <a:gd name="T73" fmla="*/ 474 h 715"/>
              <a:gd name="T74" fmla="*/ 154 w 714"/>
              <a:gd name="T75" fmla="*/ 484 h 715"/>
              <a:gd name="T76" fmla="*/ 189 w 714"/>
              <a:gd name="T77" fmla="*/ 398 h 715"/>
              <a:gd name="T78" fmla="*/ 235 w 714"/>
              <a:gd name="T79" fmla="*/ 592 h 715"/>
              <a:gd name="T80" fmla="*/ 277 w 714"/>
              <a:gd name="T81" fmla="*/ 700 h 715"/>
              <a:gd name="T82" fmla="*/ 335 w 714"/>
              <a:gd name="T83" fmla="*/ 131 h 715"/>
              <a:gd name="T84" fmla="*/ 522 w 714"/>
              <a:gd name="T85" fmla="*/ 181 h 715"/>
              <a:gd name="T86" fmla="*/ 480 w 714"/>
              <a:gd name="T87" fmla="*/ 95 h 715"/>
              <a:gd name="T88" fmla="*/ 502 w 714"/>
              <a:gd name="T89" fmla="*/ 132 h 715"/>
              <a:gd name="T90" fmla="*/ 509 w 714"/>
              <a:gd name="T91" fmla="*/ 36 h 715"/>
              <a:gd name="T92" fmla="*/ 462 w 714"/>
              <a:gd name="T93" fmla="*/ 49 h 715"/>
              <a:gd name="T94" fmla="*/ 406 w 714"/>
              <a:gd name="T95" fmla="*/ 125 h 715"/>
              <a:gd name="T96" fmla="*/ 372 w 714"/>
              <a:gd name="T97" fmla="*/ 610 h 715"/>
              <a:gd name="T98" fmla="*/ 398 w 714"/>
              <a:gd name="T99" fmla="*/ 679 h 715"/>
              <a:gd name="T100" fmla="*/ 454 w 714"/>
              <a:gd name="T101" fmla="*/ 644 h 715"/>
              <a:gd name="T102" fmla="*/ 469 w 714"/>
              <a:gd name="T103" fmla="*/ 168 h 715"/>
              <a:gd name="T104" fmla="*/ 522 w 714"/>
              <a:gd name="T105" fmla="*/ 285 h 715"/>
              <a:gd name="T106" fmla="*/ 585 w 714"/>
              <a:gd name="T107" fmla="*/ 213 h 715"/>
              <a:gd name="T108" fmla="*/ 544 w 714"/>
              <a:gd name="T109" fmla="*/ 168 h 715"/>
              <a:gd name="T110" fmla="*/ 573 w 714"/>
              <a:gd name="T111" fmla="*/ 236 h 715"/>
              <a:gd name="T112" fmla="*/ 595 w 714"/>
              <a:gd name="T113" fmla="*/ 470 h 715"/>
              <a:gd name="T114" fmla="*/ 651 w 714"/>
              <a:gd name="T115" fmla="*/ 272 h 715"/>
              <a:gd name="T116" fmla="*/ 630 w 714"/>
              <a:gd name="T117" fmla="*/ 261 h 715"/>
              <a:gd name="T118" fmla="*/ 615 w 714"/>
              <a:gd name="T119" fmla="*/ 194 h 715"/>
              <a:gd name="T120" fmla="*/ 625 w 714"/>
              <a:gd name="T121" fmla="*/ 381 h 715"/>
              <a:gd name="T122" fmla="*/ 658 w 714"/>
              <a:gd name="T123" fmla="*/ 277 h 715"/>
              <a:gd name="T124" fmla="*/ 686 w 714"/>
              <a:gd name="T125" fmla="*/ 342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14" h="715">
                <a:moveTo>
                  <a:pt x="710" y="304"/>
                </a:moveTo>
                <a:cubicBezTo>
                  <a:pt x="710" y="305"/>
                  <a:pt x="710" y="305"/>
                  <a:pt x="709" y="305"/>
                </a:cubicBezTo>
                <a:cubicBezTo>
                  <a:pt x="709" y="304"/>
                  <a:pt x="710" y="303"/>
                  <a:pt x="710" y="303"/>
                </a:cubicBezTo>
                <a:cubicBezTo>
                  <a:pt x="710" y="303"/>
                  <a:pt x="710" y="303"/>
                  <a:pt x="710" y="303"/>
                </a:cubicBezTo>
                <a:cubicBezTo>
                  <a:pt x="709" y="297"/>
                  <a:pt x="708" y="292"/>
                  <a:pt x="707" y="286"/>
                </a:cubicBezTo>
                <a:cubicBezTo>
                  <a:pt x="707" y="287"/>
                  <a:pt x="707" y="288"/>
                  <a:pt x="706" y="290"/>
                </a:cubicBezTo>
                <a:cubicBezTo>
                  <a:pt x="706" y="289"/>
                  <a:pt x="707" y="289"/>
                  <a:pt x="707" y="289"/>
                </a:cubicBezTo>
                <a:cubicBezTo>
                  <a:pt x="707" y="290"/>
                  <a:pt x="706" y="290"/>
                  <a:pt x="706" y="290"/>
                </a:cubicBezTo>
                <a:cubicBezTo>
                  <a:pt x="706" y="292"/>
                  <a:pt x="706" y="294"/>
                  <a:pt x="705" y="295"/>
                </a:cubicBezTo>
                <a:cubicBezTo>
                  <a:pt x="703" y="298"/>
                  <a:pt x="703" y="301"/>
                  <a:pt x="703" y="301"/>
                </a:cubicBezTo>
                <a:cubicBezTo>
                  <a:pt x="702" y="302"/>
                  <a:pt x="700" y="300"/>
                  <a:pt x="699" y="300"/>
                </a:cubicBezTo>
                <a:cubicBezTo>
                  <a:pt x="697" y="301"/>
                  <a:pt x="697" y="303"/>
                  <a:pt x="696" y="300"/>
                </a:cubicBezTo>
                <a:cubicBezTo>
                  <a:pt x="696" y="299"/>
                  <a:pt x="696" y="301"/>
                  <a:pt x="695" y="298"/>
                </a:cubicBezTo>
                <a:cubicBezTo>
                  <a:pt x="695" y="297"/>
                  <a:pt x="697" y="291"/>
                  <a:pt x="700" y="292"/>
                </a:cubicBezTo>
                <a:cubicBezTo>
                  <a:pt x="701" y="293"/>
                  <a:pt x="702" y="295"/>
                  <a:pt x="703" y="292"/>
                </a:cubicBezTo>
                <a:cubicBezTo>
                  <a:pt x="703" y="291"/>
                  <a:pt x="703" y="290"/>
                  <a:pt x="703" y="289"/>
                </a:cubicBezTo>
                <a:cubicBezTo>
                  <a:pt x="703" y="287"/>
                  <a:pt x="705" y="284"/>
                  <a:pt x="706" y="282"/>
                </a:cubicBezTo>
                <a:cubicBezTo>
                  <a:pt x="705" y="276"/>
                  <a:pt x="704" y="270"/>
                  <a:pt x="702" y="264"/>
                </a:cubicBezTo>
                <a:cubicBezTo>
                  <a:pt x="701" y="268"/>
                  <a:pt x="695" y="273"/>
                  <a:pt x="691" y="270"/>
                </a:cubicBezTo>
                <a:cubicBezTo>
                  <a:pt x="691" y="271"/>
                  <a:pt x="691" y="270"/>
                  <a:pt x="690" y="270"/>
                </a:cubicBezTo>
                <a:cubicBezTo>
                  <a:pt x="690" y="270"/>
                  <a:pt x="690" y="270"/>
                  <a:pt x="690" y="270"/>
                </a:cubicBezTo>
                <a:cubicBezTo>
                  <a:pt x="690" y="271"/>
                  <a:pt x="690" y="270"/>
                  <a:pt x="690" y="270"/>
                </a:cubicBezTo>
                <a:cubicBezTo>
                  <a:pt x="690" y="270"/>
                  <a:pt x="690" y="270"/>
                  <a:pt x="690" y="269"/>
                </a:cubicBezTo>
                <a:cubicBezTo>
                  <a:pt x="689" y="270"/>
                  <a:pt x="688" y="271"/>
                  <a:pt x="688" y="271"/>
                </a:cubicBezTo>
                <a:cubicBezTo>
                  <a:pt x="686" y="270"/>
                  <a:pt x="686" y="273"/>
                  <a:pt x="685" y="274"/>
                </a:cubicBezTo>
                <a:cubicBezTo>
                  <a:pt x="684" y="274"/>
                  <a:pt x="682" y="273"/>
                  <a:pt x="682" y="275"/>
                </a:cubicBezTo>
                <a:cubicBezTo>
                  <a:pt x="681" y="270"/>
                  <a:pt x="674" y="279"/>
                  <a:pt x="674" y="281"/>
                </a:cubicBezTo>
                <a:cubicBezTo>
                  <a:pt x="675" y="280"/>
                  <a:pt x="681" y="280"/>
                  <a:pt x="680" y="280"/>
                </a:cubicBezTo>
                <a:cubicBezTo>
                  <a:pt x="680" y="280"/>
                  <a:pt x="681" y="280"/>
                  <a:pt x="681" y="280"/>
                </a:cubicBezTo>
                <a:cubicBezTo>
                  <a:pt x="681" y="280"/>
                  <a:pt x="681" y="280"/>
                  <a:pt x="681" y="280"/>
                </a:cubicBezTo>
                <a:cubicBezTo>
                  <a:pt x="681" y="279"/>
                  <a:pt x="682" y="278"/>
                  <a:pt x="682" y="279"/>
                </a:cubicBezTo>
                <a:cubicBezTo>
                  <a:pt x="684" y="280"/>
                  <a:pt x="681" y="280"/>
                  <a:pt x="681" y="281"/>
                </a:cubicBezTo>
                <a:cubicBezTo>
                  <a:pt x="681" y="282"/>
                  <a:pt x="681" y="282"/>
                  <a:pt x="681" y="282"/>
                </a:cubicBezTo>
                <a:cubicBezTo>
                  <a:pt x="682" y="282"/>
                  <a:pt x="683" y="282"/>
                  <a:pt x="683" y="284"/>
                </a:cubicBezTo>
                <a:cubicBezTo>
                  <a:pt x="683" y="284"/>
                  <a:pt x="683" y="284"/>
                  <a:pt x="683" y="284"/>
                </a:cubicBezTo>
                <a:cubicBezTo>
                  <a:pt x="683" y="284"/>
                  <a:pt x="684" y="285"/>
                  <a:pt x="684" y="286"/>
                </a:cubicBezTo>
                <a:cubicBezTo>
                  <a:pt x="684" y="286"/>
                  <a:pt x="681" y="289"/>
                  <a:pt x="681" y="290"/>
                </a:cubicBezTo>
                <a:cubicBezTo>
                  <a:pt x="680" y="290"/>
                  <a:pt x="679" y="295"/>
                  <a:pt x="678" y="295"/>
                </a:cubicBezTo>
                <a:cubicBezTo>
                  <a:pt x="676" y="295"/>
                  <a:pt x="679" y="293"/>
                  <a:pt x="677" y="292"/>
                </a:cubicBezTo>
                <a:cubicBezTo>
                  <a:pt x="677" y="291"/>
                  <a:pt x="675" y="293"/>
                  <a:pt x="674" y="293"/>
                </a:cubicBezTo>
                <a:cubicBezTo>
                  <a:pt x="673" y="292"/>
                  <a:pt x="674" y="291"/>
                  <a:pt x="673" y="290"/>
                </a:cubicBezTo>
                <a:cubicBezTo>
                  <a:pt x="673" y="290"/>
                  <a:pt x="671" y="292"/>
                  <a:pt x="670" y="290"/>
                </a:cubicBezTo>
                <a:cubicBezTo>
                  <a:pt x="669" y="288"/>
                  <a:pt x="672" y="289"/>
                  <a:pt x="672" y="288"/>
                </a:cubicBezTo>
                <a:cubicBezTo>
                  <a:pt x="672" y="287"/>
                  <a:pt x="671" y="287"/>
                  <a:pt x="671" y="287"/>
                </a:cubicBezTo>
                <a:cubicBezTo>
                  <a:pt x="671" y="286"/>
                  <a:pt x="672" y="285"/>
                  <a:pt x="672" y="283"/>
                </a:cubicBezTo>
                <a:cubicBezTo>
                  <a:pt x="672" y="283"/>
                  <a:pt x="672" y="282"/>
                  <a:pt x="672" y="282"/>
                </a:cubicBezTo>
                <a:cubicBezTo>
                  <a:pt x="673" y="279"/>
                  <a:pt x="678" y="276"/>
                  <a:pt x="677" y="271"/>
                </a:cubicBezTo>
                <a:cubicBezTo>
                  <a:pt x="676" y="270"/>
                  <a:pt x="675" y="271"/>
                  <a:pt x="674" y="272"/>
                </a:cubicBezTo>
                <a:cubicBezTo>
                  <a:pt x="675" y="269"/>
                  <a:pt x="676" y="260"/>
                  <a:pt x="681" y="259"/>
                </a:cubicBezTo>
                <a:cubicBezTo>
                  <a:pt x="681" y="259"/>
                  <a:pt x="684" y="259"/>
                  <a:pt x="685" y="259"/>
                </a:cubicBezTo>
                <a:cubicBezTo>
                  <a:pt x="685" y="259"/>
                  <a:pt x="686" y="260"/>
                  <a:pt x="687" y="261"/>
                </a:cubicBezTo>
                <a:cubicBezTo>
                  <a:pt x="687" y="261"/>
                  <a:pt x="687" y="261"/>
                  <a:pt x="688" y="261"/>
                </a:cubicBezTo>
                <a:cubicBezTo>
                  <a:pt x="688" y="261"/>
                  <a:pt x="688" y="261"/>
                  <a:pt x="688" y="261"/>
                </a:cubicBezTo>
                <a:cubicBezTo>
                  <a:pt x="688" y="262"/>
                  <a:pt x="688" y="262"/>
                  <a:pt x="689" y="262"/>
                </a:cubicBezTo>
                <a:cubicBezTo>
                  <a:pt x="690" y="261"/>
                  <a:pt x="691" y="259"/>
                  <a:pt x="692" y="258"/>
                </a:cubicBezTo>
                <a:cubicBezTo>
                  <a:pt x="691" y="257"/>
                  <a:pt x="690" y="258"/>
                  <a:pt x="689" y="259"/>
                </a:cubicBezTo>
                <a:cubicBezTo>
                  <a:pt x="689" y="258"/>
                  <a:pt x="689" y="258"/>
                  <a:pt x="689" y="258"/>
                </a:cubicBezTo>
                <a:cubicBezTo>
                  <a:pt x="688" y="258"/>
                  <a:pt x="687" y="258"/>
                  <a:pt x="687" y="257"/>
                </a:cubicBezTo>
                <a:cubicBezTo>
                  <a:pt x="686" y="256"/>
                  <a:pt x="688" y="256"/>
                  <a:pt x="688" y="256"/>
                </a:cubicBezTo>
                <a:cubicBezTo>
                  <a:pt x="689" y="254"/>
                  <a:pt x="687" y="255"/>
                  <a:pt x="688" y="253"/>
                </a:cubicBezTo>
                <a:cubicBezTo>
                  <a:pt x="689" y="252"/>
                  <a:pt x="692" y="252"/>
                  <a:pt x="692" y="251"/>
                </a:cubicBezTo>
                <a:cubicBezTo>
                  <a:pt x="692" y="251"/>
                  <a:pt x="692" y="250"/>
                  <a:pt x="692" y="250"/>
                </a:cubicBezTo>
                <a:cubicBezTo>
                  <a:pt x="692" y="250"/>
                  <a:pt x="691" y="249"/>
                  <a:pt x="691" y="249"/>
                </a:cubicBezTo>
                <a:cubicBezTo>
                  <a:pt x="691" y="249"/>
                  <a:pt x="692" y="247"/>
                  <a:pt x="691" y="246"/>
                </a:cubicBezTo>
                <a:cubicBezTo>
                  <a:pt x="690" y="245"/>
                  <a:pt x="690" y="246"/>
                  <a:pt x="690" y="246"/>
                </a:cubicBezTo>
                <a:cubicBezTo>
                  <a:pt x="689" y="246"/>
                  <a:pt x="688" y="242"/>
                  <a:pt x="688" y="242"/>
                </a:cubicBezTo>
                <a:cubicBezTo>
                  <a:pt x="689" y="240"/>
                  <a:pt x="691" y="242"/>
                  <a:pt x="693" y="241"/>
                </a:cubicBezTo>
                <a:cubicBezTo>
                  <a:pt x="692" y="241"/>
                  <a:pt x="693" y="239"/>
                  <a:pt x="694" y="239"/>
                </a:cubicBezTo>
                <a:cubicBezTo>
                  <a:pt x="693" y="235"/>
                  <a:pt x="691" y="231"/>
                  <a:pt x="690" y="227"/>
                </a:cubicBezTo>
                <a:cubicBezTo>
                  <a:pt x="690" y="227"/>
                  <a:pt x="689" y="227"/>
                  <a:pt x="689" y="227"/>
                </a:cubicBezTo>
                <a:cubicBezTo>
                  <a:pt x="688" y="227"/>
                  <a:pt x="689" y="225"/>
                  <a:pt x="688" y="224"/>
                </a:cubicBezTo>
                <a:cubicBezTo>
                  <a:pt x="688" y="223"/>
                  <a:pt x="688" y="223"/>
                  <a:pt x="688" y="223"/>
                </a:cubicBezTo>
                <a:cubicBezTo>
                  <a:pt x="688" y="222"/>
                  <a:pt x="688" y="222"/>
                  <a:pt x="688" y="221"/>
                </a:cubicBezTo>
                <a:cubicBezTo>
                  <a:pt x="685" y="222"/>
                  <a:pt x="682" y="222"/>
                  <a:pt x="681" y="222"/>
                </a:cubicBezTo>
                <a:cubicBezTo>
                  <a:pt x="679" y="222"/>
                  <a:pt x="680" y="219"/>
                  <a:pt x="678" y="220"/>
                </a:cubicBezTo>
                <a:cubicBezTo>
                  <a:pt x="680" y="218"/>
                  <a:pt x="676" y="218"/>
                  <a:pt x="676" y="216"/>
                </a:cubicBezTo>
                <a:cubicBezTo>
                  <a:pt x="675" y="215"/>
                  <a:pt x="677" y="215"/>
                  <a:pt x="677" y="215"/>
                </a:cubicBezTo>
                <a:cubicBezTo>
                  <a:pt x="678" y="214"/>
                  <a:pt x="676" y="213"/>
                  <a:pt x="677" y="212"/>
                </a:cubicBezTo>
                <a:cubicBezTo>
                  <a:pt x="677" y="212"/>
                  <a:pt x="677" y="212"/>
                  <a:pt x="677" y="212"/>
                </a:cubicBezTo>
                <a:cubicBezTo>
                  <a:pt x="676" y="212"/>
                  <a:pt x="675" y="210"/>
                  <a:pt x="675" y="209"/>
                </a:cubicBezTo>
                <a:cubicBezTo>
                  <a:pt x="674" y="209"/>
                  <a:pt x="674" y="209"/>
                  <a:pt x="673" y="209"/>
                </a:cubicBezTo>
                <a:cubicBezTo>
                  <a:pt x="674" y="210"/>
                  <a:pt x="674" y="210"/>
                  <a:pt x="674" y="211"/>
                </a:cubicBezTo>
                <a:cubicBezTo>
                  <a:pt x="674" y="212"/>
                  <a:pt x="674" y="212"/>
                  <a:pt x="673" y="213"/>
                </a:cubicBezTo>
                <a:cubicBezTo>
                  <a:pt x="673" y="214"/>
                  <a:pt x="673" y="214"/>
                  <a:pt x="673" y="215"/>
                </a:cubicBezTo>
                <a:cubicBezTo>
                  <a:pt x="673" y="215"/>
                  <a:pt x="673" y="215"/>
                  <a:pt x="673" y="215"/>
                </a:cubicBezTo>
                <a:cubicBezTo>
                  <a:pt x="673" y="215"/>
                  <a:pt x="672" y="216"/>
                  <a:pt x="672" y="216"/>
                </a:cubicBezTo>
                <a:cubicBezTo>
                  <a:pt x="671" y="217"/>
                  <a:pt x="669" y="218"/>
                  <a:pt x="669" y="220"/>
                </a:cubicBezTo>
                <a:cubicBezTo>
                  <a:pt x="670" y="217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7" y="219"/>
                </a:cubicBezTo>
                <a:cubicBezTo>
                  <a:pt x="668" y="220"/>
                  <a:pt x="668" y="224"/>
                  <a:pt x="667" y="225"/>
                </a:cubicBezTo>
                <a:cubicBezTo>
                  <a:pt x="667" y="225"/>
                  <a:pt x="667" y="224"/>
                  <a:pt x="666" y="224"/>
                </a:cubicBezTo>
                <a:cubicBezTo>
                  <a:pt x="665" y="225"/>
                  <a:pt x="663" y="228"/>
                  <a:pt x="660" y="228"/>
                </a:cubicBezTo>
                <a:cubicBezTo>
                  <a:pt x="661" y="226"/>
                  <a:pt x="663" y="226"/>
                  <a:pt x="663" y="225"/>
                </a:cubicBezTo>
                <a:cubicBezTo>
                  <a:pt x="663" y="224"/>
                  <a:pt x="662" y="225"/>
                  <a:pt x="661" y="224"/>
                </a:cubicBezTo>
                <a:cubicBezTo>
                  <a:pt x="660" y="223"/>
                  <a:pt x="662" y="219"/>
                  <a:pt x="665" y="218"/>
                </a:cubicBezTo>
                <a:cubicBezTo>
                  <a:pt x="665" y="217"/>
                  <a:pt x="665" y="216"/>
                  <a:pt x="665" y="216"/>
                </a:cubicBezTo>
                <a:cubicBezTo>
                  <a:pt x="665" y="215"/>
                  <a:pt x="664" y="215"/>
                  <a:pt x="664" y="215"/>
                </a:cubicBezTo>
                <a:cubicBezTo>
                  <a:pt x="663" y="217"/>
                  <a:pt x="661" y="218"/>
                  <a:pt x="660" y="220"/>
                </a:cubicBezTo>
                <a:cubicBezTo>
                  <a:pt x="660" y="221"/>
                  <a:pt x="661" y="222"/>
                  <a:pt x="660" y="223"/>
                </a:cubicBezTo>
                <a:cubicBezTo>
                  <a:pt x="660" y="223"/>
                  <a:pt x="659" y="224"/>
                  <a:pt x="659" y="225"/>
                </a:cubicBezTo>
                <a:cubicBezTo>
                  <a:pt x="659" y="226"/>
                  <a:pt x="661" y="225"/>
                  <a:pt x="660" y="226"/>
                </a:cubicBezTo>
                <a:cubicBezTo>
                  <a:pt x="660" y="227"/>
                  <a:pt x="659" y="228"/>
                  <a:pt x="659" y="227"/>
                </a:cubicBezTo>
                <a:cubicBezTo>
                  <a:pt x="658" y="227"/>
                  <a:pt x="658" y="225"/>
                  <a:pt x="657" y="224"/>
                </a:cubicBezTo>
                <a:cubicBezTo>
                  <a:pt x="657" y="223"/>
                  <a:pt x="656" y="224"/>
                  <a:pt x="655" y="223"/>
                </a:cubicBezTo>
                <a:cubicBezTo>
                  <a:pt x="653" y="223"/>
                  <a:pt x="653" y="221"/>
                  <a:pt x="650" y="224"/>
                </a:cubicBezTo>
                <a:cubicBezTo>
                  <a:pt x="653" y="220"/>
                  <a:pt x="649" y="222"/>
                  <a:pt x="648" y="221"/>
                </a:cubicBezTo>
                <a:cubicBezTo>
                  <a:pt x="648" y="222"/>
                  <a:pt x="647" y="215"/>
                  <a:pt x="647" y="215"/>
                </a:cubicBezTo>
                <a:cubicBezTo>
                  <a:pt x="647" y="214"/>
                  <a:pt x="648" y="211"/>
                  <a:pt x="648" y="209"/>
                </a:cubicBezTo>
                <a:cubicBezTo>
                  <a:pt x="648" y="210"/>
                  <a:pt x="648" y="210"/>
                  <a:pt x="647" y="210"/>
                </a:cubicBezTo>
                <a:cubicBezTo>
                  <a:pt x="647" y="210"/>
                  <a:pt x="647" y="209"/>
                  <a:pt x="648" y="208"/>
                </a:cubicBezTo>
                <a:cubicBezTo>
                  <a:pt x="648" y="208"/>
                  <a:pt x="648" y="208"/>
                  <a:pt x="648" y="208"/>
                </a:cubicBezTo>
                <a:cubicBezTo>
                  <a:pt x="647" y="208"/>
                  <a:pt x="647" y="209"/>
                  <a:pt x="647" y="209"/>
                </a:cubicBezTo>
                <a:cubicBezTo>
                  <a:pt x="647" y="209"/>
                  <a:pt x="647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4" y="211"/>
                  <a:pt x="639" y="212"/>
                  <a:pt x="635" y="212"/>
                </a:cubicBezTo>
                <a:cubicBezTo>
                  <a:pt x="635" y="213"/>
                  <a:pt x="635" y="214"/>
                  <a:pt x="635" y="214"/>
                </a:cubicBezTo>
                <a:cubicBezTo>
                  <a:pt x="634" y="214"/>
                  <a:pt x="634" y="213"/>
                  <a:pt x="634" y="212"/>
                </a:cubicBezTo>
                <a:cubicBezTo>
                  <a:pt x="633" y="212"/>
                  <a:pt x="633" y="212"/>
                  <a:pt x="633" y="212"/>
                </a:cubicBezTo>
                <a:cubicBezTo>
                  <a:pt x="633" y="211"/>
                  <a:pt x="633" y="210"/>
                  <a:pt x="635" y="210"/>
                </a:cubicBezTo>
                <a:cubicBezTo>
                  <a:pt x="634" y="210"/>
                  <a:pt x="634" y="209"/>
                  <a:pt x="634" y="209"/>
                </a:cubicBezTo>
                <a:cubicBezTo>
                  <a:pt x="633" y="208"/>
                  <a:pt x="634" y="207"/>
                  <a:pt x="635" y="206"/>
                </a:cubicBezTo>
                <a:cubicBezTo>
                  <a:pt x="634" y="205"/>
                  <a:pt x="634" y="204"/>
                  <a:pt x="635" y="203"/>
                </a:cubicBezTo>
                <a:cubicBezTo>
                  <a:pt x="636" y="203"/>
                  <a:pt x="636" y="203"/>
                  <a:pt x="637" y="203"/>
                </a:cubicBezTo>
                <a:cubicBezTo>
                  <a:pt x="637" y="202"/>
                  <a:pt x="636" y="202"/>
                  <a:pt x="635" y="203"/>
                </a:cubicBezTo>
                <a:cubicBezTo>
                  <a:pt x="634" y="203"/>
                  <a:pt x="632" y="206"/>
                  <a:pt x="632" y="206"/>
                </a:cubicBezTo>
                <a:cubicBezTo>
                  <a:pt x="632" y="207"/>
                  <a:pt x="632" y="207"/>
                  <a:pt x="633" y="207"/>
                </a:cubicBezTo>
                <a:cubicBezTo>
                  <a:pt x="629" y="209"/>
                  <a:pt x="629" y="201"/>
                  <a:pt x="631" y="201"/>
                </a:cubicBezTo>
                <a:cubicBezTo>
                  <a:pt x="631" y="201"/>
                  <a:pt x="632" y="203"/>
                  <a:pt x="632" y="203"/>
                </a:cubicBezTo>
                <a:cubicBezTo>
                  <a:pt x="633" y="203"/>
                  <a:pt x="636" y="199"/>
                  <a:pt x="638" y="198"/>
                </a:cubicBezTo>
                <a:cubicBezTo>
                  <a:pt x="638" y="198"/>
                  <a:pt x="638" y="197"/>
                  <a:pt x="639" y="197"/>
                </a:cubicBezTo>
                <a:cubicBezTo>
                  <a:pt x="639" y="196"/>
                  <a:pt x="637" y="195"/>
                  <a:pt x="637" y="194"/>
                </a:cubicBezTo>
                <a:cubicBezTo>
                  <a:pt x="637" y="193"/>
                  <a:pt x="639" y="193"/>
                  <a:pt x="639" y="193"/>
                </a:cubicBezTo>
                <a:cubicBezTo>
                  <a:pt x="639" y="192"/>
                  <a:pt x="640" y="189"/>
                  <a:pt x="639" y="189"/>
                </a:cubicBezTo>
                <a:cubicBezTo>
                  <a:pt x="639" y="188"/>
                  <a:pt x="637" y="189"/>
                  <a:pt x="638" y="190"/>
                </a:cubicBezTo>
                <a:cubicBezTo>
                  <a:pt x="638" y="190"/>
                  <a:pt x="636" y="188"/>
                  <a:pt x="637" y="187"/>
                </a:cubicBezTo>
                <a:cubicBezTo>
                  <a:pt x="637" y="187"/>
                  <a:pt x="637" y="187"/>
                  <a:pt x="637" y="187"/>
                </a:cubicBezTo>
                <a:cubicBezTo>
                  <a:pt x="637" y="186"/>
                  <a:pt x="637" y="186"/>
                  <a:pt x="636" y="186"/>
                </a:cubicBezTo>
                <a:cubicBezTo>
                  <a:pt x="636" y="187"/>
                  <a:pt x="636" y="188"/>
                  <a:pt x="636" y="188"/>
                </a:cubicBezTo>
                <a:cubicBezTo>
                  <a:pt x="636" y="188"/>
                  <a:pt x="636" y="188"/>
                  <a:pt x="637" y="188"/>
                </a:cubicBezTo>
                <a:cubicBezTo>
                  <a:pt x="637" y="189"/>
                  <a:pt x="637" y="189"/>
                  <a:pt x="636" y="189"/>
                </a:cubicBezTo>
                <a:cubicBezTo>
                  <a:pt x="637" y="190"/>
                  <a:pt x="636" y="191"/>
                  <a:pt x="635" y="190"/>
                </a:cubicBezTo>
                <a:cubicBezTo>
                  <a:pt x="635" y="190"/>
                  <a:pt x="635" y="190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4" y="190"/>
                  <a:pt x="633" y="190"/>
                  <a:pt x="632" y="189"/>
                </a:cubicBezTo>
                <a:cubicBezTo>
                  <a:pt x="631" y="188"/>
                  <a:pt x="631" y="186"/>
                  <a:pt x="632" y="185"/>
                </a:cubicBezTo>
                <a:cubicBezTo>
                  <a:pt x="632" y="185"/>
                  <a:pt x="632" y="185"/>
                  <a:pt x="631" y="185"/>
                </a:cubicBezTo>
                <a:cubicBezTo>
                  <a:pt x="630" y="186"/>
                  <a:pt x="632" y="185"/>
                  <a:pt x="631" y="184"/>
                </a:cubicBezTo>
                <a:cubicBezTo>
                  <a:pt x="630" y="184"/>
                  <a:pt x="630" y="185"/>
                  <a:pt x="630" y="185"/>
                </a:cubicBezTo>
                <a:cubicBezTo>
                  <a:pt x="629" y="185"/>
                  <a:pt x="630" y="185"/>
                  <a:pt x="630" y="185"/>
                </a:cubicBezTo>
                <a:cubicBezTo>
                  <a:pt x="629" y="185"/>
                  <a:pt x="629" y="186"/>
                  <a:pt x="628" y="185"/>
                </a:cubicBezTo>
                <a:cubicBezTo>
                  <a:pt x="625" y="185"/>
                  <a:pt x="628" y="181"/>
                  <a:pt x="626" y="179"/>
                </a:cubicBezTo>
                <a:cubicBezTo>
                  <a:pt x="625" y="180"/>
                  <a:pt x="624" y="180"/>
                  <a:pt x="624" y="180"/>
                </a:cubicBezTo>
                <a:cubicBezTo>
                  <a:pt x="623" y="181"/>
                  <a:pt x="623" y="182"/>
                  <a:pt x="623" y="183"/>
                </a:cubicBezTo>
                <a:cubicBezTo>
                  <a:pt x="624" y="184"/>
                  <a:pt x="625" y="185"/>
                  <a:pt x="624" y="186"/>
                </a:cubicBezTo>
                <a:cubicBezTo>
                  <a:pt x="624" y="191"/>
                  <a:pt x="618" y="190"/>
                  <a:pt x="617" y="188"/>
                </a:cubicBezTo>
                <a:cubicBezTo>
                  <a:pt x="616" y="188"/>
                  <a:pt x="615" y="188"/>
                  <a:pt x="615" y="189"/>
                </a:cubicBezTo>
                <a:cubicBezTo>
                  <a:pt x="615" y="189"/>
                  <a:pt x="616" y="188"/>
                  <a:pt x="615" y="188"/>
                </a:cubicBezTo>
                <a:cubicBezTo>
                  <a:pt x="614" y="189"/>
                  <a:pt x="612" y="190"/>
                  <a:pt x="610" y="190"/>
                </a:cubicBezTo>
                <a:cubicBezTo>
                  <a:pt x="609" y="191"/>
                  <a:pt x="607" y="191"/>
                  <a:pt x="607" y="191"/>
                </a:cubicBezTo>
                <a:cubicBezTo>
                  <a:pt x="607" y="190"/>
                  <a:pt x="608" y="190"/>
                  <a:pt x="609" y="189"/>
                </a:cubicBezTo>
                <a:cubicBezTo>
                  <a:pt x="609" y="189"/>
                  <a:pt x="608" y="189"/>
                  <a:pt x="608" y="189"/>
                </a:cubicBezTo>
                <a:cubicBezTo>
                  <a:pt x="608" y="188"/>
                  <a:pt x="607" y="187"/>
                  <a:pt x="607" y="186"/>
                </a:cubicBezTo>
                <a:cubicBezTo>
                  <a:pt x="606" y="186"/>
                  <a:pt x="604" y="186"/>
                  <a:pt x="605" y="183"/>
                </a:cubicBezTo>
                <a:cubicBezTo>
                  <a:pt x="606" y="181"/>
                  <a:pt x="605" y="180"/>
                  <a:pt x="605" y="179"/>
                </a:cubicBezTo>
                <a:cubicBezTo>
                  <a:pt x="605" y="179"/>
                  <a:pt x="606" y="178"/>
                  <a:pt x="605" y="177"/>
                </a:cubicBezTo>
                <a:cubicBezTo>
                  <a:pt x="604" y="179"/>
                  <a:pt x="603" y="181"/>
                  <a:pt x="601" y="183"/>
                </a:cubicBezTo>
                <a:cubicBezTo>
                  <a:pt x="604" y="184"/>
                  <a:pt x="606" y="186"/>
                  <a:pt x="602" y="189"/>
                </a:cubicBezTo>
                <a:cubicBezTo>
                  <a:pt x="602" y="189"/>
                  <a:pt x="601" y="189"/>
                  <a:pt x="600" y="190"/>
                </a:cubicBezTo>
                <a:cubicBezTo>
                  <a:pt x="602" y="190"/>
                  <a:pt x="602" y="194"/>
                  <a:pt x="599" y="193"/>
                </a:cubicBezTo>
                <a:cubicBezTo>
                  <a:pt x="598" y="192"/>
                  <a:pt x="599" y="191"/>
                  <a:pt x="599" y="191"/>
                </a:cubicBezTo>
                <a:cubicBezTo>
                  <a:pt x="600" y="190"/>
                  <a:pt x="600" y="190"/>
                  <a:pt x="600" y="190"/>
                </a:cubicBezTo>
                <a:cubicBezTo>
                  <a:pt x="598" y="190"/>
                  <a:pt x="596" y="191"/>
                  <a:pt x="595" y="192"/>
                </a:cubicBezTo>
                <a:cubicBezTo>
                  <a:pt x="593" y="194"/>
                  <a:pt x="594" y="195"/>
                  <a:pt x="592" y="194"/>
                </a:cubicBezTo>
                <a:cubicBezTo>
                  <a:pt x="592" y="193"/>
                  <a:pt x="591" y="192"/>
                  <a:pt x="590" y="193"/>
                </a:cubicBezTo>
                <a:cubicBezTo>
                  <a:pt x="590" y="193"/>
                  <a:pt x="587" y="198"/>
                  <a:pt x="587" y="195"/>
                </a:cubicBezTo>
                <a:cubicBezTo>
                  <a:pt x="587" y="194"/>
                  <a:pt x="588" y="194"/>
                  <a:pt x="588" y="194"/>
                </a:cubicBezTo>
                <a:cubicBezTo>
                  <a:pt x="587" y="193"/>
                  <a:pt x="584" y="194"/>
                  <a:pt x="583" y="193"/>
                </a:cubicBezTo>
                <a:cubicBezTo>
                  <a:pt x="583" y="192"/>
                  <a:pt x="587" y="190"/>
                  <a:pt x="584" y="189"/>
                </a:cubicBezTo>
                <a:cubicBezTo>
                  <a:pt x="583" y="188"/>
                  <a:pt x="583" y="188"/>
                  <a:pt x="583" y="188"/>
                </a:cubicBezTo>
                <a:cubicBezTo>
                  <a:pt x="583" y="188"/>
                  <a:pt x="583" y="188"/>
                  <a:pt x="583" y="187"/>
                </a:cubicBezTo>
                <a:cubicBezTo>
                  <a:pt x="584" y="186"/>
                  <a:pt x="584" y="185"/>
                  <a:pt x="583" y="185"/>
                </a:cubicBezTo>
                <a:cubicBezTo>
                  <a:pt x="582" y="186"/>
                  <a:pt x="581" y="186"/>
                  <a:pt x="580" y="185"/>
                </a:cubicBezTo>
                <a:cubicBezTo>
                  <a:pt x="580" y="184"/>
                  <a:pt x="581" y="184"/>
                  <a:pt x="581" y="183"/>
                </a:cubicBezTo>
                <a:cubicBezTo>
                  <a:pt x="582" y="183"/>
                  <a:pt x="582" y="183"/>
                  <a:pt x="582" y="183"/>
                </a:cubicBezTo>
                <a:cubicBezTo>
                  <a:pt x="581" y="182"/>
                  <a:pt x="580" y="182"/>
                  <a:pt x="579" y="182"/>
                </a:cubicBezTo>
                <a:cubicBezTo>
                  <a:pt x="578" y="181"/>
                  <a:pt x="580" y="179"/>
                  <a:pt x="580" y="178"/>
                </a:cubicBezTo>
                <a:cubicBezTo>
                  <a:pt x="578" y="176"/>
                  <a:pt x="577" y="179"/>
                  <a:pt x="574" y="179"/>
                </a:cubicBezTo>
                <a:cubicBezTo>
                  <a:pt x="574" y="179"/>
                  <a:pt x="572" y="177"/>
                  <a:pt x="570" y="179"/>
                </a:cubicBezTo>
                <a:cubicBezTo>
                  <a:pt x="569" y="180"/>
                  <a:pt x="571" y="182"/>
                  <a:pt x="568" y="184"/>
                </a:cubicBezTo>
                <a:cubicBezTo>
                  <a:pt x="567" y="184"/>
                  <a:pt x="562" y="186"/>
                  <a:pt x="562" y="185"/>
                </a:cubicBezTo>
                <a:cubicBezTo>
                  <a:pt x="561" y="184"/>
                  <a:pt x="563" y="184"/>
                  <a:pt x="563" y="184"/>
                </a:cubicBezTo>
                <a:cubicBezTo>
                  <a:pt x="564" y="182"/>
                  <a:pt x="562" y="180"/>
                  <a:pt x="562" y="181"/>
                </a:cubicBezTo>
                <a:cubicBezTo>
                  <a:pt x="563" y="179"/>
                  <a:pt x="565" y="179"/>
                  <a:pt x="565" y="178"/>
                </a:cubicBezTo>
                <a:cubicBezTo>
                  <a:pt x="565" y="178"/>
                  <a:pt x="565" y="178"/>
                  <a:pt x="564" y="178"/>
                </a:cubicBezTo>
                <a:cubicBezTo>
                  <a:pt x="564" y="177"/>
                  <a:pt x="565" y="177"/>
                  <a:pt x="565" y="177"/>
                </a:cubicBezTo>
                <a:cubicBezTo>
                  <a:pt x="565" y="176"/>
                  <a:pt x="564" y="174"/>
                  <a:pt x="565" y="173"/>
                </a:cubicBezTo>
                <a:cubicBezTo>
                  <a:pt x="565" y="173"/>
                  <a:pt x="565" y="173"/>
                  <a:pt x="565" y="173"/>
                </a:cubicBezTo>
                <a:cubicBezTo>
                  <a:pt x="565" y="173"/>
                  <a:pt x="565" y="172"/>
                  <a:pt x="565" y="172"/>
                </a:cubicBezTo>
                <a:cubicBezTo>
                  <a:pt x="564" y="172"/>
                  <a:pt x="564" y="171"/>
                  <a:pt x="566" y="170"/>
                </a:cubicBezTo>
                <a:cubicBezTo>
                  <a:pt x="566" y="170"/>
                  <a:pt x="566" y="170"/>
                  <a:pt x="566" y="170"/>
                </a:cubicBezTo>
                <a:cubicBezTo>
                  <a:pt x="566" y="170"/>
                  <a:pt x="565" y="170"/>
                  <a:pt x="565" y="170"/>
                </a:cubicBezTo>
                <a:cubicBezTo>
                  <a:pt x="564" y="170"/>
                  <a:pt x="563" y="170"/>
                  <a:pt x="563" y="169"/>
                </a:cubicBezTo>
                <a:cubicBezTo>
                  <a:pt x="562" y="169"/>
                  <a:pt x="562" y="169"/>
                  <a:pt x="562" y="169"/>
                </a:cubicBezTo>
                <a:cubicBezTo>
                  <a:pt x="562" y="169"/>
                  <a:pt x="562" y="168"/>
                  <a:pt x="563" y="167"/>
                </a:cubicBezTo>
                <a:cubicBezTo>
                  <a:pt x="563" y="167"/>
                  <a:pt x="563" y="166"/>
                  <a:pt x="562" y="166"/>
                </a:cubicBezTo>
                <a:cubicBezTo>
                  <a:pt x="563" y="165"/>
                  <a:pt x="566" y="165"/>
                  <a:pt x="568" y="164"/>
                </a:cubicBezTo>
                <a:cubicBezTo>
                  <a:pt x="567" y="165"/>
                  <a:pt x="568" y="167"/>
                  <a:pt x="569" y="165"/>
                </a:cubicBezTo>
                <a:cubicBezTo>
                  <a:pt x="571" y="164"/>
                  <a:pt x="569" y="164"/>
                  <a:pt x="569" y="164"/>
                </a:cubicBezTo>
                <a:cubicBezTo>
                  <a:pt x="569" y="164"/>
                  <a:pt x="570" y="163"/>
                  <a:pt x="569" y="162"/>
                </a:cubicBezTo>
                <a:cubicBezTo>
                  <a:pt x="569" y="162"/>
                  <a:pt x="569" y="162"/>
                  <a:pt x="569" y="162"/>
                </a:cubicBezTo>
                <a:cubicBezTo>
                  <a:pt x="567" y="163"/>
                  <a:pt x="565" y="164"/>
                  <a:pt x="563" y="163"/>
                </a:cubicBezTo>
                <a:cubicBezTo>
                  <a:pt x="563" y="163"/>
                  <a:pt x="563" y="163"/>
                  <a:pt x="563" y="164"/>
                </a:cubicBezTo>
                <a:cubicBezTo>
                  <a:pt x="563" y="164"/>
                  <a:pt x="564" y="164"/>
                  <a:pt x="564" y="164"/>
                </a:cubicBezTo>
                <a:cubicBezTo>
                  <a:pt x="563" y="165"/>
                  <a:pt x="563" y="164"/>
                  <a:pt x="563" y="163"/>
                </a:cubicBezTo>
                <a:cubicBezTo>
                  <a:pt x="562" y="163"/>
                  <a:pt x="562" y="162"/>
                  <a:pt x="562" y="161"/>
                </a:cubicBezTo>
                <a:cubicBezTo>
                  <a:pt x="562" y="160"/>
                  <a:pt x="564" y="158"/>
                  <a:pt x="567" y="158"/>
                </a:cubicBezTo>
                <a:cubicBezTo>
                  <a:pt x="566" y="157"/>
                  <a:pt x="565" y="156"/>
                  <a:pt x="566" y="155"/>
                </a:cubicBezTo>
                <a:cubicBezTo>
                  <a:pt x="566" y="153"/>
                  <a:pt x="570" y="153"/>
                  <a:pt x="569" y="152"/>
                </a:cubicBezTo>
                <a:cubicBezTo>
                  <a:pt x="570" y="152"/>
                  <a:pt x="572" y="151"/>
                  <a:pt x="574" y="151"/>
                </a:cubicBezTo>
                <a:cubicBezTo>
                  <a:pt x="576" y="153"/>
                  <a:pt x="575" y="153"/>
                  <a:pt x="579" y="152"/>
                </a:cubicBezTo>
                <a:cubicBezTo>
                  <a:pt x="579" y="152"/>
                  <a:pt x="580" y="151"/>
                  <a:pt x="581" y="151"/>
                </a:cubicBezTo>
                <a:cubicBezTo>
                  <a:pt x="584" y="150"/>
                  <a:pt x="583" y="150"/>
                  <a:pt x="582" y="148"/>
                </a:cubicBezTo>
                <a:cubicBezTo>
                  <a:pt x="584" y="150"/>
                  <a:pt x="583" y="148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0" y="147"/>
                  <a:pt x="580" y="147"/>
                </a:cubicBezTo>
                <a:cubicBezTo>
                  <a:pt x="580" y="147"/>
                  <a:pt x="579" y="149"/>
                  <a:pt x="578" y="148"/>
                </a:cubicBezTo>
                <a:cubicBezTo>
                  <a:pt x="577" y="147"/>
                  <a:pt x="581" y="144"/>
                  <a:pt x="577" y="144"/>
                </a:cubicBezTo>
                <a:cubicBezTo>
                  <a:pt x="583" y="142"/>
                  <a:pt x="575" y="140"/>
                  <a:pt x="573" y="139"/>
                </a:cubicBezTo>
                <a:cubicBezTo>
                  <a:pt x="572" y="138"/>
                  <a:pt x="571" y="137"/>
                  <a:pt x="570" y="135"/>
                </a:cubicBezTo>
                <a:cubicBezTo>
                  <a:pt x="570" y="135"/>
                  <a:pt x="569" y="134"/>
                  <a:pt x="569" y="134"/>
                </a:cubicBezTo>
                <a:cubicBezTo>
                  <a:pt x="569" y="134"/>
                  <a:pt x="569" y="134"/>
                  <a:pt x="569" y="133"/>
                </a:cubicBezTo>
                <a:cubicBezTo>
                  <a:pt x="569" y="133"/>
                  <a:pt x="568" y="132"/>
                  <a:pt x="568" y="132"/>
                </a:cubicBezTo>
                <a:cubicBezTo>
                  <a:pt x="567" y="132"/>
                  <a:pt x="567" y="132"/>
                  <a:pt x="567" y="132"/>
                </a:cubicBezTo>
                <a:cubicBezTo>
                  <a:pt x="567" y="132"/>
                  <a:pt x="566" y="133"/>
                  <a:pt x="566" y="133"/>
                </a:cubicBezTo>
                <a:cubicBezTo>
                  <a:pt x="566" y="134"/>
                  <a:pt x="564" y="135"/>
                  <a:pt x="563" y="135"/>
                </a:cubicBezTo>
                <a:cubicBezTo>
                  <a:pt x="562" y="135"/>
                  <a:pt x="561" y="134"/>
                  <a:pt x="561" y="133"/>
                </a:cubicBezTo>
                <a:cubicBezTo>
                  <a:pt x="560" y="134"/>
                  <a:pt x="559" y="134"/>
                  <a:pt x="558" y="134"/>
                </a:cubicBezTo>
                <a:cubicBezTo>
                  <a:pt x="557" y="134"/>
                  <a:pt x="559" y="133"/>
                  <a:pt x="560" y="133"/>
                </a:cubicBezTo>
                <a:cubicBezTo>
                  <a:pt x="560" y="132"/>
                  <a:pt x="560" y="131"/>
                  <a:pt x="561" y="131"/>
                </a:cubicBezTo>
                <a:cubicBezTo>
                  <a:pt x="560" y="131"/>
                  <a:pt x="558" y="131"/>
                  <a:pt x="557" y="131"/>
                </a:cubicBezTo>
                <a:cubicBezTo>
                  <a:pt x="557" y="131"/>
                  <a:pt x="557" y="131"/>
                  <a:pt x="557" y="131"/>
                </a:cubicBezTo>
                <a:cubicBezTo>
                  <a:pt x="558" y="131"/>
                  <a:pt x="559" y="131"/>
                  <a:pt x="559" y="132"/>
                </a:cubicBezTo>
                <a:cubicBezTo>
                  <a:pt x="558" y="132"/>
                  <a:pt x="557" y="132"/>
                  <a:pt x="556" y="132"/>
                </a:cubicBezTo>
                <a:cubicBezTo>
                  <a:pt x="555" y="132"/>
                  <a:pt x="555" y="132"/>
                  <a:pt x="555" y="133"/>
                </a:cubicBezTo>
                <a:cubicBezTo>
                  <a:pt x="556" y="133"/>
                  <a:pt x="555" y="135"/>
                  <a:pt x="554" y="134"/>
                </a:cubicBezTo>
                <a:cubicBezTo>
                  <a:pt x="553" y="135"/>
                  <a:pt x="552" y="135"/>
                  <a:pt x="552" y="135"/>
                </a:cubicBezTo>
                <a:cubicBezTo>
                  <a:pt x="552" y="134"/>
                  <a:pt x="552" y="134"/>
                  <a:pt x="553" y="133"/>
                </a:cubicBezTo>
                <a:cubicBezTo>
                  <a:pt x="552" y="133"/>
                  <a:pt x="551" y="131"/>
                  <a:pt x="553" y="132"/>
                </a:cubicBezTo>
                <a:cubicBezTo>
                  <a:pt x="553" y="132"/>
                  <a:pt x="553" y="132"/>
                  <a:pt x="553" y="132"/>
                </a:cubicBezTo>
                <a:cubicBezTo>
                  <a:pt x="553" y="133"/>
                  <a:pt x="553" y="133"/>
                  <a:pt x="553" y="133"/>
                </a:cubicBezTo>
                <a:cubicBezTo>
                  <a:pt x="554" y="133"/>
                  <a:pt x="554" y="132"/>
                  <a:pt x="554" y="132"/>
                </a:cubicBezTo>
                <a:cubicBezTo>
                  <a:pt x="553" y="132"/>
                  <a:pt x="552" y="131"/>
                  <a:pt x="552" y="131"/>
                </a:cubicBezTo>
                <a:cubicBezTo>
                  <a:pt x="552" y="131"/>
                  <a:pt x="553" y="131"/>
                  <a:pt x="555" y="131"/>
                </a:cubicBezTo>
                <a:cubicBezTo>
                  <a:pt x="554" y="130"/>
                  <a:pt x="554" y="130"/>
                  <a:pt x="554" y="130"/>
                </a:cubicBezTo>
                <a:cubicBezTo>
                  <a:pt x="553" y="130"/>
                  <a:pt x="552" y="131"/>
                  <a:pt x="552" y="131"/>
                </a:cubicBezTo>
                <a:cubicBezTo>
                  <a:pt x="551" y="130"/>
                  <a:pt x="550" y="127"/>
                  <a:pt x="548" y="129"/>
                </a:cubicBezTo>
                <a:cubicBezTo>
                  <a:pt x="548" y="130"/>
                  <a:pt x="549" y="131"/>
                  <a:pt x="549" y="130"/>
                </a:cubicBezTo>
                <a:cubicBezTo>
                  <a:pt x="549" y="131"/>
                  <a:pt x="549" y="131"/>
                  <a:pt x="549" y="131"/>
                </a:cubicBezTo>
                <a:cubicBezTo>
                  <a:pt x="549" y="131"/>
                  <a:pt x="549" y="131"/>
                  <a:pt x="550" y="131"/>
                </a:cubicBezTo>
                <a:cubicBezTo>
                  <a:pt x="551" y="131"/>
                  <a:pt x="549" y="133"/>
                  <a:pt x="549" y="132"/>
                </a:cubicBezTo>
                <a:cubicBezTo>
                  <a:pt x="549" y="132"/>
                  <a:pt x="549" y="132"/>
                  <a:pt x="549" y="132"/>
                </a:cubicBezTo>
                <a:cubicBezTo>
                  <a:pt x="548" y="133"/>
                  <a:pt x="544" y="131"/>
                  <a:pt x="543" y="131"/>
                </a:cubicBezTo>
                <a:cubicBezTo>
                  <a:pt x="545" y="130"/>
                  <a:pt x="543" y="130"/>
                  <a:pt x="542" y="129"/>
                </a:cubicBezTo>
                <a:cubicBezTo>
                  <a:pt x="540" y="130"/>
                  <a:pt x="539" y="131"/>
                  <a:pt x="537" y="132"/>
                </a:cubicBezTo>
                <a:cubicBezTo>
                  <a:pt x="538" y="130"/>
                  <a:pt x="540" y="129"/>
                  <a:pt x="542" y="129"/>
                </a:cubicBezTo>
                <a:cubicBezTo>
                  <a:pt x="541" y="128"/>
                  <a:pt x="541" y="127"/>
                  <a:pt x="541" y="127"/>
                </a:cubicBezTo>
                <a:cubicBezTo>
                  <a:pt x="542" y="125"/>
                  <a:pt x="546" y="126"/>
                  <a:pt x="546" y="124"/>
                </a:cubicBezTo>
                <a:cubicBezTo>
                  <a:pt x="547" y="123"/>
                  <a:pt x="545" y="124"/>
                  <a:pt x="545" y="124"/>
                </a:cubicBezTo>
                <a:cubicBezTo>
                  <a:pt x="546" y="122"/>
                  <a:pt x="547" y="121"/>
                  <a:pt x="545" y="120"/>
                </a:cubicBezTo>
                <a:cubicBezTo>
                  <a:pt x="545" y="120"/>
                  <a:pt x="540" y="120"/>
                  <a:pt x="538" y="120"/>
                </a:cubicBezTo>
                <a:cubicBezTo>
                  <a:pt x="536" y="120"/>
                  <a:pt x="534" y="121"/>
                  <a:pt x="531" y="119"/>
                </a:cubicBezTo>
                <a:cubicBezTo>
                  <a:pt x="534" y="119"/>
                  <a:pt x="535" y="117"/>
                  <a:pt x="537" y="117"/>
                </a:cubicBezTo>
                <a:cubicBezTo>
                  <a:pt x="537" y="117"/>
                  <a:pt x="537" y="116"/>
                  <a:pt x="537" y="116"/>
                </a:cubicBezTo>
                <a:cubicBezTo>
                  <a:pt x="537" y="116"/>
                  <a:pt x="537" y="117"/>
                  <a:pt x="537" y="117"/>
                </a:cubicBezTo>
                <a:cubicBezTo>
                  <a:pt x="538" y="116"/>
                  <a:pt x="538" y="116"/>
                  <a:pt x="539" y="116"/>
                </a:cubicBezTo>
                <a:cubicBezTo>
                  <a:pt x="542" y="115"/>
                  <a:pt x="545" y="118"/>
                  <a:pt x="548" y="117"/>
                </a:cubicBezTo>
                <a:cubicBezTo>
                  <a:pt x="548" y="117"/>
                  <a:pt x="551" y="114"/>
                  <a:pt x="552" y="114"/>
                </a:cubicBezTo>
                <a:cubicBezTo>
                  <a:pt x="553" y="114"/>
                  <a:pt x="554" y="115"/>
                  <a:pt x="554" y="114"/>
                </a:cubicBezTo>
                <a:cubicBezTo>
                  <a:pt x="553" y="114"/>
                  <a:pt x="553" y="113"/>
                  <a:pt x="553" y="113"/>
                </a:cubicBezTo>
                <a:cubicBezTo>
                  <a:pt x="553" y="113"/>
                  <a:pt x="552" y="113"/>
                  <a:pt x="552" y="113"/>
                </a:cubicBezTo>
                <a:cubicBezTo>
                  <a:pt x="552" y="114"/>
                  <a:pt x="551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8" y="114"/>
                  <a:pt x="547" y="114"/>
                  <a:pt x="547" y="114"/>
                </a:cubicBezTo>
                <a:cubicBezTo>
                  <a:pt x="547" y="114"/>
                  <a:pt x="547" y="113"/>
                  <a:pt x="547" y="113"/>
                </a:cubicBezTo>
                <a:cubicBezTo>
                  <a:pt x="547" y="112"/>
                  <a:pt x="548" y="111"/>
                  <a:pt x="549" y="110"/>
                </a:cubicBezTo>
                <a:cubicBezTo>
                  <a:pt x="550" y="110"/>
                  <a:pt x="552" y="111"/>
                  <a:pt x="552" y="112"/>
                </a:cubicBezTo>
                <a:cubicBezTo>
                  <a:pt x="552" y="112"/>
                  <a:pt x="552" y="112"/>
                  <a:pt x="553" y="112"/>
                </a:cubicBezTo>
                <a:cubicBezTo>
                  <a:pt x="552" y="111"/>
                  <a:pt x="554" y="110"/>
                  <a:pt x="555" y="111"/>
                </a:cubicBezTo>
                <a:cubicBezTo>
                  <a:pt x="555" y="110"/>
                  <a:pt x="555" y="110"/>
                  <a:pt x="554" y="109"/>
                </a:cubicBezTo>
                <a:cubicBezTo>
                  <a:pt x="554" y="110"/>
                  <a:pt x="554" y="110"/>
                  <a:pt x="554" y="110"/>
                </a:cubicBezTo>
                <a:cubicBezTo>
                  <a:pt x="554" y="110"/>
                  <a:pt x="554" y="109"/>
                  <a:pt x="554" y="109"/>
                </a:cubicBezTo>
                <a:cubicBezTo>
                  <a:pt x="553" y="108"/>
                  <a:pt x="550" y="108"/>
                  <a:pt x="549" y="107"/>
                </a:cubicBezTo>
                <a:cubicBezTo>
                  <a:pt x="550" y="106"/>
                  <a:pt x="551" y="106"/>
                  <a:pt x="550" y="105"/>
                </a:cubicBezTo>
                <a:cubicBezTo>
                  <a:pt x="549" y="106"/>
                  <a:pt x="546" y="106"/>
                  <a:pt x="548" y="104"/>
                </a:cubicBezTo>
                <a:cubicBezTo>
                  <a:pt x="548" y="104"/>
                  <a:pt x="548" y="104"/>
                  <a:pt x="548" y="104"/>
                </a:cubicBezTo>
                <a:cubicBezTo>
                  <a:pt x="548" y="104"/>
                  <a:pt x="547" y="103"/>
                  <a:pt x="547" y="103"/>
                </a:cubicBezTo>
                <a:cubicBezTo>
                  <a:pt x="545" y="104"/>
                  <a:pt x="543" y="105"/>
                  <a:pt x="541" y="106"/>
                </a:cubicBezTo>
                <a:cubicBezTo>
                  <a:pt x="537" y="107"/>
                  <a:pt x="541" y="104"/>
                  <a:pt x="543" y="103"/>
                </a:cubicBezTo>
                <a:cubicBezTo>
                  <a:pt x="544" y="103"/>
                  <a:pt x="546" y="102"/>
                  <a:pt x="548" y="101"/>
                </a:cubicBezTo>
                <a:cubicBezTo>
                  <a:pt x="548" y="101"/>
                  <a:pt x="548" y="101"/>
                  <a:pt x="548" y="100"/>
                </a:cubicBezTo>
                <a:cubicBezTo>
                  <a:pt x="549" y="100"/>
                  <a:pt x="549" y="100"/>
                  <a:pt x="550" y="100"/>
                </a:cubicBezTo>
                <a:cubicBezTo>
                  <a:pt x="552" y="99"/>
                  <a:pt x="553" y="99"/>
                  <a:pt x="554" y="98"/>
                </a:cubicBezTo>
                <a:cubicBezTo>
                  <a:pt x="555" y="97"/>
                  <a:pt x="555" y="95"/>
                  <a:pt x="555" y="94"/>
                </a:cubicBezTo>
                <a:cubicBezTo>
                  <a:pt x="554" y="95"/>
                  <a:pt x="554" y="94"/>
                  <a:pt x="553" y="94"/>
                </a:cubicBezTo>
                <a:cubicBezTo>
                  <a:pt x="553" y="94"/>
                  <a:pt x="553" y="94"/>
                  <a:pt x="553" y="94"/>
                </a:cubicBezTo>
                <a:cubicBezTo>
                  <a:pt x="553" y="94"/>
                  <a:pt x="553" y="94"/>
                  <a:pt x="552" y="94"/>
                </a:cubicBezTo>
                <a:cubicBezTo>
                  <a:pt x="552" y="94"/>
                  <a:pt x="550" y="93"/>
                  <a:pt x="550" y="93"/>
                </a:cubicBezTo>
                <a:cubicBezTo>
                  <a:pt x="550" y="93"/>
                  <a:pt x="550" y="93"/>
                  <a:pt x="550" y="92"/>
                </a:cubicBezTo>
                <a:cubicBezTo>
                  <a:pt x="549" y="91"/>
                  <a:pt x="551" y="90"/>
                  <a:pt x="552" y="90"/>
                </a:cubicBezTo>
                <a:cubicBezTo>
                  <a:pt x="552" y="89"/>
                  <a:pt x="552" y="89"/>
                  <a:pt x="553" y="88"/>
                </a:cubicBezTo>
                <a:cubicBezTo>
                  <a:pt x="553" y="88"/>
                  <a:pt x="553" y="88"/>
                  <a:pt x="553" y="88"/>
                </a:cubicBezTo>
                <a:cubicBezTo>
                  <a:pt x="552" y="87"/>
                  <a:pt x="550" y="87"/>
                  <a:pt x="549" y="87"/>
                </a:cubicBezTo>
                <a:cubicBezTo>
                  <a:pt x="548" y="87"/>
                  <a:pt x="546" y="87"/>
                  <a:pt x="546" y="86"/>
                </a:cubicBezTo>
                <a:cubicBezTo>
                  <a:pt x="545" y="86"/>
                  <a:pt x="544" y="85"/>
                  <a:pt x="544" y="84"/>
                </a:cubicBezTo>
                <a:cubicBezTo>
                  <a:pt x="543" y="85"/>
                  <a:pt x="542" y="85"/>
                  <a:pt x="542" y="84"/>
                </a:cubicBezTo>
                <a:cubicBezTo>
                  <a:pt x="541" y="84"/>
                  <a:pt x="540" y="82"/>
                  <a:pt x="542" y="81"/>
                </a:cubicBezTo>
                <a:cubicBezTo>
                  <a:pt x="542" y="81"/>
                  <a:pt x="542" y="81"/>
                  <a:pt x="542" y="81"/>
                </a:cubicBezTo>
                <a:cubicBezTo>
                  <a:pt x="541" y="80"/>
                  <a:pt x="542" y="80"/>
                  <a:pt x="542" y="79"/>
                </a:cubicBezTo>
                <a:cubicBezTo>
                  <a:pt x="541" y="80"/>
                  <a:pt x="540" y="80"/>
                  <a:pt x="539" y="80"/>
                </a:cubicBezTo>
                <a:cubicBezTo>
                  <a:pt x="539" y="80"/>
                  <a:pt x="538" y="81"/>
                  <a:pt x="539" y="82"/>
                </a:cubicBezTo>
                <a:cubicBezTo>
                  <a:pt x="538" y="82"/>
                  <a:pt x="536" y="83"/>
                  <a:pt x="535" y="84"/>
                </a:cubicBezTo>
                <a:cubicBezTo>
                  <a:pt x="534" y="85"/>
                  <a:pt x="533" y="85"/>
                  <a:pt x="532" y="86"/>
                </a:cubicBezTo>
                <a:cubicBezTo>
                  <a:pt x="532" y="86"/>
                  <a:pt x="532" y="87"/>
                  <a:pt x="532" y="87"/>
                </a:cubicBezTo>
                <a:cubicBezTo>
                  <a:pt x="531" y="87"/>
                  <a:pt x="530" y="86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8" y="87"/>
                </a:cubicBezTo>
                <a:cubicBezTo>
                  <a:pt x="527" y="87"/>
                  <a:pt x="527" y="88"/>
                  <a:pt x="526" y="88"/>
                </a:cubicBezTo>
                <a:cubicBezTo>
                  <a:pt x="526" y="88"/>
                  <a:pt x="526" y="87"/>
                  <a:pt x="526" y="87"/>
                </a:cubicBezTo>
                <a:cubicBezTo>
                  <a:pt x="525" y="85"/>
                  <a:pt x="521" y="83"/>
                  <a:pt x="520" y="81"/>
                </a:cubicBezTo>
                <a:cubicBezTo>
                  <a:pt x="520" y="79"/>
                  <a:pt x="524" y="78"/>
                  <a:pt x="525" y="76"/>
                </a:cubicBezTo>
                <a:cubicBezTo>
                  <a:pt x="526" y="76"/>
                  <a:pt x="524" y="74"/>
                  <a:pt x="525" y="74"/>
                </a:cubicBezTo>
                <a:cubicBezTo>
                  <a:pt x="526" y="73"/>
                  <a:pt x="526" y="75"/>
                  <a:pt x="527" y="75"/>
                </a:cubicBezTo>
                <a:cubicBezTo>
                  <a:pt x="528" y="76"/>
                  <a:pt x="533" y="76"/>
                  <a:pt x="535" y="76"/>
                </a:cubicBezTo>
                <a:cubicBezTo>
                  <a:pt x="536" y="76"/>
                  <a:pt x="537" y="76"/>
                  <a:pt x="538" y="77"/>
                </a:cubicBezTo>
                <a:cubicBezTo>
                  <a:pt x="539" y="75"/>
                  <a:pt x="543" y="75"/>
                  <a:pt x="543" y="74"/>
                </a:cubicBezTo>
                <a:cubicBezTo>
                  <a:pt x="544" y="74"/>
                  <a:pt x="542" y="74"/>
                  <a:pt x="542" y="73"/>
                </a:cubicBezTo>
                <a:cubicBezTo>
                  <a:pt x="543" y="73"/>
                  <a:pt x="544" y="73"/>
                  <a:pt x="545" y="74"/>
                </a:cubicBezTo>
                <a:cubicBezTo>
                  <a:pt x="547" y="73"/>
                  <a:pt x="550" y="72"/>
                  <a:pt x="553" y="72"/>
                </a:cubicBezTo>
                <a:cubicBezTo>
                  <a:pt x="552" y="71"/>
                  <a:pt x="552" y="70"/>
                  <a:pt x="551" y="70"/>
                </a:cubicBezTo>
                <a:cubicBezTo>
                  <a:pt x="551" y="70"/>
                  <a:pt x="550" y="71"/>
                  <a:pt x="550" y="71"/>
                </a:cubicBezTo>
                <a:cubicBezTo>
                  <a:pt x="550" y="71"/>
                  <a:pt x="547" y="70"/>
                  <a:pt x="545" y="69"/>
                </a:cubicBezTo>
                <a:cubicBezTo>
                  <a:pt x="544" y="69"/>
                  <a:pt x="543" y="69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2" y="67"/>
                  <a:pt x="543" y="66"/>
                  <a:pt x="542" y="66"/>
                </a:cubicBezTo>
                <a:cubicBezTo>
                  <a:pt x="540" y="64"/>
                  <a:pt x="537" y="66"/>
                  <a:pt x="535" y="66"/>
                </a:cubicBezTo>
                <a:cubicBezTo>
                  <a:pt x="535" y="66"/>
                  <a:pt x="534" y="65"/>
                  <a:pt x="534" y="65"/>
                </a:cubicBezTo>
                <a:cubicBezTo>
                  <a:pt x="534" y="65"/>
                  <a:pt x="534" y="65"/>
                  <a:pt x="534" y="65"/>
                </a:cubicBezTo>
                <a:cubicBezTo>
                  <a:pt x="534" y="67"/>
                  <a:pt x="529" y="69"/>
                  <a:pt x="528" y="68"/>
                </a:cubicBezTo>
                <a:cubicBezTo>
                  <a:pt x="527" y="66"/>
                  <a:pt x="528" y="64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2"/>
                  <a:pt x="529" y="62"/>
                </a:cubicBezTo>
                <a:cubicBezTo>
                  <a:pt x="529" y="62"/>
                  <a:pt x="529" y="62"/>
                  <a:pt x="529" y="62"/>
                </a:cubicBezTo>
                <a:cubicBezTo>
                  <a:pt x="528" y="62"/>
                  <a:pt x="527" y="63"/>
                  <a:pt x="526" y="63"/>
                </a:cubicBezTo>
                <a:cubicBezTo>
                  <a:pt x="526" y="63"/>
                  <a:pt x="526" y="63"/>
                  <a:pt x="526" y="63"/>
                </a:cubicBezTo>
                <a:cubicBezTo>
                  <a:pt x="526" y="64"/>
                  <a:pt x="526" y="64"/>
                  <a:pt x="526" y="65"/>
                </a:cubicBezTo>
                <a:cubicBezTo>
                  <a:pt x="525" y="66"/>
                  <a:pt x="522" y="66"/>
                  <a:pt x="520" y="68"/>
                </a:cubicBezTo>
                <a:cubicBezTo>
                  <a:pt x="519" y="69"/>
                  <a:pt x="517" y="72"/>
                  <a:pt x="515" y="72"/>
                </a:cubicBezTo>
                <a:cubicBezTo>
                  <a:pt x="514" y="71"/>
                  <a:pt x="514" y="70"/>
                  <a:pt x="513" y="70"/>
                </a:cubicBezTo>
                <a:cubicBezTo>
                  <a:pt x="513" y="69"/>
                  <a:pt x="513" y="70"/>
                  <a:pt x="512" y="70"/>
                </a:cubicBezTo>
                <a:cubicBezTo>
                  <a:pt x="511" y="71"/>
                  <a:pt x="510" y="70"/>
                  <a:pt x="510" y="69"/>
                </a:cubicBezTo>
                <a:cubicBezTo>
                  <a:pt x="509" y="69"/>
                  <a:pt x="508" y="69"/>
                  <a:pt x="508" y="68"/>
                </a:cubicBezTo>
                <a:cubicBezTo>
                  <a:pt x="508" y="68"/>
                  <a:pt x="509" y="67"/>
                  <a:pt x="510" y="66"/>
                </a:cubicBezTo>
                <a:cubicBezTo>
                  <a:pt x="510" y="65"/>
                  <a:pt x="511" y="65"/>
                  <a:pt x="512" y="66"/>
                </a:cubicBezTo>
                <a:cubicBezTo>
                  <a:pt x="513" y="67"/>
                  <a:pt x="513" y="66"/>
                  <a:pt x="513" y="65"/>
                </a:cubicBezTo>
                <a:cubicBezTo>
                  <a:pt x="512" y="64"/>
                  <a:pt x="511" y="64"/>
                  <a:pt x="511" y="63"/>
                </a:cubicBezTo>
                <a:cubicBezTo>
                  <a:pt x="511" y="63"/>
                  <a:pt x="511" y="62"/>
                  <a:pt x="513" y="61"/>
                </a:cubicBezTo>
                <a:cubicBezTo>
                  <a:pt x="511" y="61"/>
                  <a:pt x="510" y="60"/>
                  <a:pt x="509" y="59"/>
                </a:cubicBezTo>
                <a:cubicBezTo>
                  <a:pt x="509" y="59"/>
                  <a:pt x="510" y="56"/>
                  <a:pt x="511" y="55"/>
                </a:cubicBezTo>
                <a:cubicBezTo>
                  <a:pt x="512" y="54"/>
                  <a:pt x="515" y="54"/>
                  <a:pt x="515" y="53"/>
                </a:cubicBezTo>
                <a:cubicBezTo>
                  <a:pt x="515" y="53"/>
                  <a:pt x="514" y="53"/>
                  <a:pt x="514" y="53"/>
                </a:cubicBezTo>
                <a:cubicBezTo>
                  <a:pt x="514" y="53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2" y="54"/>
                  <a:pt x="511" y="55"/>
                  <a:pt x="510" y="54"/>
                </a:cubicBezTo>
                <a:cubicBezTo>
                  <a:pt x="510" y="54"/>
                  <a:pt x="510" y="53"/>
                  <a:pt x="510" y="53"/>
                </a:cubicBezTo>
                <a:cubicBezTo>
                  <a:pt x="510" y="53"/>
                  <a:pt x="510" y="53"/>
                  <a:pt x="510" y="53"/>
                </a:cubicBezTo>
                <a:cubicBezTo>
                  <a:pt x="510" y="53"/>
                  <a:pt x="510" y="52"/>
                  <a:pt x="510" y="52"/>
                </a:cubicBezTo>
                <a:cubicBezTo>
                  <a:pt x="510" y="52"/>
                  <a:pt x="510" y="52"/>
                  <a:pt x="510" y="52"/>
                </a:cubicBezTo>
                <a:cubicBezTo>
                  <a:pt x="511" y="51"/>
                  <a:pt x="513" y="51"/>
                  <a:pt x="513" y="52"/>
                </a:cubicBezTo>
                <a:cubicBezTo>
                  <a:pt x="515" y="52"/>
                  <a:pt x="517" y="52"/>
                  <a:pt x="516" y="53"/>
                </a:cubicBezTo>
                <a:cubicBezTo>
                  <a:pt x="516" y="53"/>
                  <a:pt x="515" y="54"/>
                  <a:pt x="515" y="54"/>
                </a:cubicBezTo>
                <a:cubicBezTo>
                  <a:pt x="516" y="54"/>
                  <a:pt x="517" y="54"/>
                  <a:pt x="517" y="54"/>
                </a:cubicBezTo>
                <a:cubicBezTo>
                  <a:pt x="518" y="54"/>
                  <a:pt x="519" y="55"/>
                  <a:pt x="520" y="55"/>
                </a:cubicBezTo>
                <a:cubicBezTo>
                  <a:pt x="521" y="55"/>
                  <a:pt x="522" y="55"/>
                  <a:pt x="522" y="56"/>
                </a:cubicBezTo>
                <a:cubicBezTo>
                  <a:pt x="522" y="57"/>
                  <a:pt x="522" y="57"/>
                  <a:pt x="521" y="57"/>
                </a:cubicBezTo>
                <a:cubicBezTo>
                  <a:pt x="521" y="57"/>
                  <a:pt x="521" y="58"/>
                  <a:pt x="521" y="58"/>
                </a:cubicBezTo>
                <a:cubicBezTo>
                  <a:pt x="522" y="57"/>
                  <a:pt x="523" y="57"/>
                  <a:pt x="525" y="58"/>
                </a:cubicBezTo>
                <a:cubicBezTo>
                  <a:pt x="525" y="59"/>
                  <a:pt x="524" y="59"/>
                  <a:pt x="524" y="59"/>
                </a:cubicBezTo>
                <a:cubicBezTo>
                  <a:pt x="525" y="59"/>
                  <a:pt x="526" y="58"/>
                  <a:pt x="528" y="58"/>
                </a:cubicBezTo>
                <a:cubicBezTo>
                  <a:pt x="528" y="58"/>
                  <a:pt x="528" y="57"/>
                  <a:pt x="528" y="57"/>
                </a:cubicBezTo>
                <a:cubicBezTo>
                  <a:pt x="528" y="57"/>
                  <a:pt x="527" y="57"/>
                  <a:pt x="527" y="56"/>
                </a:cubicBezTo>
                <a:cubicBezTo>
                  <a:pt x="527" y="54"/>
                  <a:pt x="532" y="55"/>
                  <a:pt x="530" y="57"/>
                </a:cubicBezTo>
                <a:cubicBezTo>
                  <a:pt x="530" y="57"/>
                  <a:pt x="530" y="57"/>
                  <a:pt x="530" y="57"/>
                </a:cubicBezTo>
                <a:cubicBezTo>
                  <a:pt x="531" y="56"/>
                  <a:pt x="533" y="55"/>
                  <a:pt x="533" y="55"/>
                </a:cubicBezTo>
                <a:cubicBezTo>
                  <a:pt x="532" y="54"/>
                  <a:pt x="530" y="55"/>
                  <a:pt x="529" y="54"/>
                </a:cubicBezTo>
                <a:cubicBezTo>
                  <a:pt x="529" y="53"/>
                  <a:pt x="532" y="51"/>
                  <a:pt x="532" y="51"/>
                </a:cubicBezTo>
                <a:cubicBezTo>
                  <a:pt x="532" y="51"/>
                  <a:pt x="532" y="50"/>
                  <a:pt x="532" y="50"/>
                </a:cubicBezTo>
                <a:cubicBezTo>
                  <a:pt x="530" y="52"/>
                  <a:pt x="527" y="52"/>
                  <a:pt x="525" y="52"/>
                </a:cubicBezTo>
                <a:cubicBezTo>
                  <a:pt x="523" y="51"/>
                  <a:pt x="522" y="48"/>
                  <a:pt x="521" y="48"/>
                </a:cubicBezTo>
                <a:cubicBezTo>
                  <a:pt x="520" y="48"/>
                  <a:pt x="518" y="48"/>
                  <a:pt x="516" y="49"/>
                </a:cubicBezTo>
                <a:cubicBezTo>
                  <a:pt x="517" y="48"/>
                  <a:pt x="518" y="48"/>
                  <a:pt x="519" y="47"/>
                </a:cubicBezTo>
                <a:cubicBezTo>
                  <a:pt x="519" y="47"/>
                  <a:pt x="520" y="47"/>
                  <a:pt x="520" y="47"/>
                </a:cubicBezTo>
                <a:cubicBezTo>
                  <a:pt x="521" y="46"/>
                  <a:pt x="521" y="46"/>
                  <a:pt x="521" y="45"/>
                </a:cubicBezTo>
                <a:cubicBezTo>
                  <a:pt x="520" y="45"/>
                  <a:pt x="520" y="45"/>
                  <a:pt x="519" y="45"/>
                </a:cubicBezTo>
                <a:cubicBezTo>
                  <a:pt x="519" y="44"/>
                  <a:pt x="520" y="44"/>
                  <a:pt x="521" y="44"/>
                </a:cubicBezTo>
                <a:cubicBezTo>
                  <a:pt x="521" y="44"/>
                  <a:pt x="521" y="44"/>
                  <a:pt x="521" y="44"/>
                </a:cubicBezTo>
                <a:cubicBezTo>
                  <a:pt x="521" y="43"/>
                  <a:pt x="521" y="41"/>
                  <a:pt x="521" y="40"/>
                </a:cubicBezTo>
                <a:cubicBezTo>
                  <a:pt x="521" y="40"/>
                  <a:pt x="520" y="40"/>
                  <a:pt x="520" y="40"/>
                </a:cubicBezTo>
                <a:cubicBezTo>
                  <a:pt x="520" y="40"/>
                  <a:pt x="520" y="40"/>
                  <a:pt x="520" y="40"/>
                </a:cubicBezTo>
                <a:cubicBezTo>
                  <a:pt x="520" y="40"/>
                  <a:pt x="520" y="40"/>
                  <a:pt x="520" y="39"/>
                </a:cubicBezTo>
                <a:cubicBezTo>
                  <a:pt x="520" y="39"/>
                  <a:pt x="520" y="39"/>
                  <a:pt x="520" y="39"/>
                </a:cubicBezTo>
                <a:cubicBezTo>
                  <a:pt x="510" y="34"/>
                  <a:pt x="501" y="30"/>
                  <a:pt x="491" y="26"/>
                </a:cubicBezTo>
                <a:cubicBezTo>
                  <a:pt x="491" y="26"/>
                  <a:pt x="489" y="27"/>
                  <a:pt x="489" y="27"/>
                </a:cubicBezTo>
                <a:cubicBezTo>
                  <a:pt x="489" y="26"/>
                  <a:pt x="489" y="26"/>
                  <a:pt x="490" y="26"/>
                </a:cubicBezTo>
                <a:cubicBezTo>
                  <a:pt x="487" y="24"/>
                  <a:pt x="483" y="23"/>
                  <a:pt x="480" y="22"/>
                </a:cubicBezTo>
                <a:cubicBezTo>
                  <a:pt x="480" y="22"/>
                  <a:pt x="480" y="22"/>
                  <a:pt x="480" y="22"/>
                </a:cubicBezTo>
                <a:cubicBezTo>
                  <a:pt x="478" y="22"/>
                  <a:pt x="476" y="25"/>
                  <a:pt x="474" y="25"/>
                </a:cubicBezTo>
                <a:cubicBezTo>
                  <a:pt x="472" y="25"/>
                  <a:pt x="473" y="25"/>
                  <a:pt x="471" y="25"/>
                </a:cubicBezTo>
                <a:cubicBezTo>
                  <a:pt x="471" y="25"/>
                  <a:pt x="469" y="26"/>
                  <a:pt x="468" y="27"/>
                </a:cubicBezTo>
                <a:cubicBezTo>
                  <a:pt x="467" y="27"/>
                  <a:pt x="464" y="29"/>
                  <a:pt x="464" y="29"/>
                </a:cubicBezTo>
                <a:cubicBezTo>
                  <a:pt x="462" y="30"/>
                  <a:pt x="464" y="30"/>
                  <a:pt x="462" y="30"/>
                </a:cubicBezTo>
                <a:cubicBezTo>
                  <a:pt x="461" y="30"/>
                  <a:pt x="461" y="30"/>
                  <a:pt x="460" y="30"/>
                </a:cubicBezTo>
                <a:cubicBezTo>
                  <a:pt x="461" y="30"/>
                  <a:pt x="461" y="30"/>
                  <a:pt x="461" y="30"/>
                </a:cubicBezTo>
                <a:cubicBezTo>
                  <a:pt x="462" y="31"/>
                  <a:pt x="459" y="32"/>
                  <a:pt x="459" y="31"/>
                </a:cubicBezTo>
                <a:cubicBezTo>
                  <a:pt x="459" y="31"/>
                  <a:pt x="458" y="32"/>
                  <a:pt x="458" y="32"/>
                </a:cubicBezTo>
                <a:cubicBezTo>
                  <a:pt x="458" y="32"/>
                  <a:pt x="458" y="33"/>
                  <a:pt x="458" y="33"/>
                </a:cubicBezTo>
                <a:cubicBezTo>
                  <a:pt x="461" y="34"/>
                  <a:pt x="463" y="32"/>
                  <a:pt x="461" y="36"/>
                </a:cubicBezTo>
                <a:cubicBezTo>
                  <a:pt x="461" y="37"/>
                  <a:pt x="462" y="37"/>
                  <a:pt x="461" y="37"/>
                </a:cubicBezTo>
                <a:cubicBezTo>
                  <a:pt x="460" y="39"/>
                  <a:pt x="459" y="37"/>
                  <a:pt x="459" y="36"/>
                </a:cubicBezTo>
                <a:cubicBezTo>
                  <a:pt x="458" y="37"/>
                  <a:pt x="458" y="38"/>
                  <a:pt x="460" y="39"/>
                </a:cubicBezTo>
                <a:cubicBezTo>
                  <a:pt x="460" y="39"/>
                  <a:pt x="457" y="39"/>
                  <a:pt x="456" y="39"/>
                </a:cubicBezTo>
                <a:cubicBezTo>
                  <a:pt x="456" y="39"/>
                  <a:pt x="454" y="36"/>
                  <a:pt x="453" y="35"/>
                </a:cubicBezTo>
                <a:cubicBezTo>
                  <a:pt x="452" y="35"/>
                  <a:pt x="451" y="36"/>
                  <a:pt x="451" y="36"/>
                </a:cubicBezTo>
                <a:cubicBezTo>
                  <a:pt x="449" y="37"/>
                  <a:pt x="446" y="38"/>
                  <a:pt x="444" y="39"/>
                </a:cubicBezTo>
                <a:cubicBezTo>
                  <a:pt x="443" y="40"/>
                  <a:pt x="443" y="40"/>
                  <a:pt x="442" y="40"/>
                </a:cubicBezTo>
                <a:cubicBezTo>
                  <a:pt x="441" y="40"/>
                  <a:pt x="440" y="41"/>
                  <a:pt x="439" y="41"/>
                </a:cubicBezTo>
                <a:cubicBezTo>
                  <a:pt x="437" y="42"/>
                  <a:pt x="435" y="43"/>
                  <a:pt x="432" y="44"/>
                </a:cubicBezTo>
                <a:cubicBezTo>
                  <a:pt x="433" y="44"/>
                  <a:pt x="433" y="44"/>
                  <a:pt x="433" y="44"/>
                </a:cubicBezTo>
                <a:cubicBezTo>
                  <a:pt x="433" y="44"/>
                  <a:pt x="433" y="44"/>
                  <a:pt x="432" y="44"/>
                </a:cubicBezTo>
                <a:cubicBezTo>
                  <a:pt x="432" y="44"/>
                  <a:pt x="431" y="44"/>
                  <a:pt x="431" y="44"/>
                </a:cubicBezTo>
                <a:cubicBezTo>
                  <a:pt x="430" y="44"/>
                  <a:pt x="427" y="45"/>
                  <a:pt x="427" y="46"/>
                </a:cubicBezTo>
                <a:cubicBezTo>
                  <a:pt x="427" y="46"/>
                  <a:pt x="433" y="44"/>
                  <a:pt x="432" y="48"/>
                </a:cubicBezTo>
                <a:cubicBezTo>
                  <a:pt x="432" y="49"/>
                  <a:pt x="431" y="49"/>
                  <a:pt x="431" y="49"/>
                </a:cubicBezTo>
                <a:cubicBezTo>
                  <a:pt x="435" y="49"/>
                  <a:pt x="440" y="49"/>
                  <a:pt x="444" y="50"/>
                </a:cubicBezTo>
                <a:cubicBezTo>
                  <a:pt x="444" y="47"/>
                  <a:pt x="436" y="48"/>
                  <a:pt x="436" y="45"/>
                </a:cubicBezTo>
                <a:cubicBezTo>
                  <a:pt x="436" y="42"/>
                  <a:pt x="442" y="45"/>
                  <a:pt x="444" y="43"/>
                </a:cubicBezTo>
                <a:cubicBezTo>
                  <a:pt x="445" y="43"/>
                  <a:pt x="444" y="42"/>
                  <a:pt x="445" y="42"/>
                </a:cubicBezTo>
                <a:cubicBezTo>
                  <a:pt x="446" y="42"/>
                  <a:pt x="449" y="43"/>
                  <a:pt x="448" y="41"/>
                </a:cubicBezTo>
                <a:cubicBezTo>
                  <a:pt x="448" y="38"/>
                  <a:pt x="459" y="43"/>
                  <a:pt x="460" y="46"/>
                </a:cubicBezTo>
                <a:cubicBezTo>
                  <a:pt x="460" y="48"/>
                  <a:pt x="459" y="52"/>
                  <a:pt x="458" y="52"/>
                </a:cubicBezTo>
                <a:cubicBezTo>
                  <a:pt x="458" y="53"/>
                  <a:pt x="452" y="54"/>
                  <a:pt x="452" y="54"/>
                </a:cubicBezTo>
                <a:cubicBezTo>
                  <a:pt x="451" y="53"/>
                  <a:pt x="449" y="53"/>
                  <a:pt x="448" y="53"/>
                </a:cubicBezTo>
                <a:cubicBezTo>
                  <a:pt x="449" y="53"/>
                  <a:pt x="449" y="53"/>
                  <a:pt x="449" y="54"/>
                </a:cubicBezTo>
                <a:cubicBezTo>
                  <a:pt x="450" y="55"/>
                  <a:pt x="450" y="57"/>
                  <a:pt x="450" y="58"/>
                </a:cubicBezTo>
                <a:cubicBezTo>
                  <a:pt x="447" y="62"/>
                  <a:pt x="436" y="61"/>
                  <a:pt x="432" y="59"/>
                </a:cubicBezTo>
                <a:cubicBezTo>
                  <a:pt x="432" y="60"/>
                  <a:pt x="432" y="61"/>
                  <a:pt x="432" y="62"/>
                </a:cubicBezTo>
                <a:cubicBezTo>
                  <a:pt x="431" y="65"/>
                  <a:pt x="423" y="63"/>
                  <a:pt x="423" y="60"/>
                </a:cubicBezTo>
                <a:cubicBezTo>
                  <a:pt x="423" y="61"/>
                  <a:pt x="421" y="60"/>
                  <a:pt x="421" y="60"/>
                </a:cubicBezTo>
                <a:cubicBezTo>
                  <a:pt x="421" y="59"/>
                  <a:pt x="423" y="59"/>
                  <a:pt x="423" y="60"/>
                </a:cubicBezTo>
                <a:cubicBezTo>
                  <a:pt x="424" y="58"/>
                  <a:pt x="427" y="58"/>
                  <a:pt x="429" y="58"/>
                </a:cubicBezTo>
                <a:cubicBezTo>
                  <a:pt x="430" y="58"/>
                  <a:pt x="431" y="57"/>
                  <a:pt x="432" y="55"/>
                </a:cubicBezTo>
                <a:cubicBezTo>
                  <a:pt x="432" y="55"/>
                  <a:pt x="432" y="53"/>
                  <a:pt x="432" y="54"/>
                </a:cubicBezTo>
                <a:cubicBezTo>
                  <a:pt x="432" y="53"/>
                  <a:pt x="434" y="52"/>
                  <a:pt x="435" y="52"/>
                </a:cubicBezTo>
                <a:cubicBezTo>
                  <a:pt x="435" y="50"/>
                  <a:pt x="431" y="50"/>
                  <a:pt x="429" y="50"/>
                </a:cubicBezTo>
                <a:cubicBezTo>
                  <a:pt x="427" y="50"/>
                  <a:pt x="423" y="49"/>
                  <a:pt x="422" y="48"/>
                </a:cubicBezTo>
                <a:cubicBezTo>
                  <a:pt x="422" y="48"/>
                  <a:pt x="422" y="47"/>
                  <a:pt x="422" y="47"/>
                </a:cubicBezTo>
                <a:cubicBezTo>
                  <a:pt x="422" y="47"/>
                  <a:pt x="421" y="47"/>
                  <a:pt x="421" y="48"/>
                </a:cubicBezTo>
                <a:cubicBezTo>
                  <a:pt x="420" y="48"/>
                  <a:pt x="419" y="49"/>
                  <a:pt x="417" y="50"/>
                </a:cubicBezTo>
                <a:cubicBezTo>
                  <a:pt x="417" y="50"/>
                  <a:pt x="416" y="50"/>
                  <a:pt x="416" y="51"/>
                </a:cubicBezTo>
                <a:cubicBezTo>
                  <a:pt x="418" y="53"/>
                  <a:pt x="416" y="54"/>
                  <a:pt x="414" y="54"/>
                </a:cubicBezTo>
                <a:cubicBezTo>
                  <a:pt x="413" y="54"/>
                  <a:pt x="412" y="54"/>
                  <a:pt x="412" y="54"/>
                </a:cubicBezTo>
                <a:cubicBezTo>
                  <a:pt x="412" y="54"/>
                  <a:pt x="412" y="54"/>
                  <a:pt x="412" y="53"/>
                </a:cubicBezTo>
                <a:cubicBezTo>
                  <a:pt x="411" y="53"/>
                  <a:pt x="411" y="53"/>
                  <a:pt x="411" y="53"/>
                </a:cubicBezTo>
                <a:cubicBezTo>
                  <a:pt x="410" y="53"/>
                  <a:pt x="410" y="53"/>
                  <a:pt x="410" y="53"/>
                </a:cubicBezTo>
                <a:cubicBezTo>
                  <a:pt x="409" y="53"/>
                  <a:pt x="409" y="54"/>
                  <a:pt x="409" y="54"/>
                </a:cubicBezTo>
                <a:cubicBezTo>
                  <a:pt x="408" y="55"/>
                  <a:pt x="407" y="54"/>
                  <a:pt x="407" y="55"/>
                </a:cubicBezTo>
                <a:cubicBezTo>
                  <a:pt x="406" y="55"/>
                  <a:pt x="405" y="56"/>
                  <a:pt x="404" y="57"/>
                </a:cubicBezTo>
                <a:cubicBezTo>
                  <a:pt x="404" y="57"/>
                  <a:pt x="404" y="58"/>
                  <a:pt x="402" y="58"/>
                </a:cubicBezTo>
                <a:cubicBezTo>
                  <a:pt x="401" y="59"/>
                  <a:pt x="401" y="59"/>
                  <a:pt x="400" y="60"/>
                </a:cubicBezTo>
                <a:cubicBezTo>
                  <a:pt x="396" y="62"/>
                  <a:pt x="392" y="63"/>
                  <a:pt x="388" y="64"/>
                </a:cubicBezTo>
                <a:cubicBezTo>
                  <a:pt x="387" y="65"/>
                  <a:pt x="387" y="65"/>
                  <a:pt x="387" y="65"/>
                </a:cubicBezTo>
                <a:cubicBezTo>
                  <a:pt x="387" y="65"/>
                  <a:pt x="388" y="65"/>
                  <a:pt x="388" y="65"/>
                </a:cubicBezTo>
                <a:cubicBezTo>
                  <a:pt x="389" y="65"/>
                  <a:pt x="391" y="66"/>
                  <a:pt x="392" y="67"/>
                </a:cubicBezTo>
                <a:cubicBezTo>
                  <a:pt x="392" y="67"/>
                  <a:pt x="393" y="68"/>
                  <a:pt x="392" y="68"/>
                </a:cubicBezTo>
                <a:cubicBezTo>
                  <a:pt x="393" y="69"/>
                  <a:pt x="394" y="70"/>
                  <a:pt x="393" y="71"/>
                </a:cubicBezTo>
                <a:cubicBezTo>
                  <a:pt x="393" y="78"/>
                  <a:pt x="380" y="78"/>
                  <a:pt x="374" y="76"/>
                </a:cubicBezTo>
                <a:cubicBezTo>
                  <a:pt x="373" y="75"/>
                  <a:pt x="371" y="73"/>
                  <a:pt x="370" y="72"/>
                </a:cubicBezTo>
                <a:cubicBezTo>
                  <a:pt x="368" y="73"/>
                  <a:pt x="366" y="74"/>
                  <a:pt x="366" y="73"/>
                </a:cubicBezTo>
                <a:cubicBezTo>
                  <a:pt x="365" y="72"/>
                  <a:pt x="367" y="71"/>
                  <a:pt x="369" y="70"/>
                </a:cubicBezTo>
                <a:cubicBezTo>
                  <a:pt x="369" y="70"/>
                  <a:pt x="369" y="70"/>
                  <a:pt x="369" y="70"/>
                </a:cubicBezTo>
                <a:cubicBezTo>
                  <a:pt x="368" y="69"/>
                  <a:pt x="366" y="69"/>
                  <a:pt x="366" y="69"/>
                </a:cubicBezTo>
                <a:cubicBezTo>
                  <a:pt x="366" y="67"/>
                  <a:pt x="370" y="65"/>
                  <a:pt x="374" y="64"/>
                </a:cubicBezTo>
                <a:cubicBezTo>
                  <a:pt x="369" y="65"/>
                  <a:pt x="362" y="65"/>
                  <a:pt x="358" y="66"/>
                </a:cubicBezTo>
                <a:cubicBezTo>
                  <a:pt x="358" y="66"/>
                  <a:pt x="351" y="68"/>
                  <a:pt x="351" y="67"/>
                </a:cubicBezTo>
                <a:cubicBezTo>
                  <a:pt x="350" y="66"/>
                  <a:pt x="356" y="66"/>
                  <a:pt x="357" y="65"/>
                </a:cubicBezTo>
                <a:cubicBezTo>
                  <a:pt x="363" y="65"/>
                  <a:pt x="372" y="62"/>
                  <a:pt x="379" y="62"/>
                </a:cubicBezTo>
                <a:cubicBezTo>
                  <a:pt x="379" y="62"/>
                  <a:pt x="379" y="62"/>
                  <a:pt x="379" y="62"/>
                </a:cubicBezTo>
                <a:cubicBezTo>
                  <a:pt x="379" y="62"/>
                  <a:pt x="380" y="62"/>
                  <a:pt x="379" y="62"/>
                </a:cubicBezTo>
                <a:cubicBezTo>
                  <a:pt x="379" y="63"/>
                  <a:pt x="379" y="63"/>
                  <a:pt x="378" y="63"/>
                </a:cubicBezTo>
                <a:cubicBezTo>
                  <a:pt x="379" y="63"/>
                  <a:pt x="381" y="63"/>
                  <a:pt x="382" y="63"/>
                </a:cubicBezTo>
                <a:cubicBezTo>
                  <a:pt x="382" y="62"/>
                  <a:pt x="383" y="61"/>
                  <a:pt x="383" y="61"/>
                </a:cubicBezTo>
                <a:cubicBezTo>
                  <a:pt x="384" y="61"/>
                  <a:pt x="384" y="62"/>
                  <a:pt x="384" y="62"/>
                </a:cubicBezTo>
                <a:cubicBezTo>
                  <a:pt x="385" y="61"/>
                  <a:pt x="385" y="60"/>
                  <a:pt x="386" y="60"/>
                </a:cubicBezTo>
                <a:cubicBezTo>
                  <a:pt x="387" y="59"/>
                  <a:pt x="389" y="59"/>
                  <a:pt x="390" y="59"/>
                </a:cubicBezTo>
                <a:cubicBezTo>
                  <a:pt x="392" y="58"/>
                  <a:pt x="393" y="57"/>
                  <a:pt x="395" y="56"/>
                </a:cubicBezTo>
                <a:cubicBezTo>
                  <a:pt x="396" y="56"/>
                  <a:pt x="396" y="56"/>
                  <a:pt x="396" y="56"/>
                </a:cubicBezTo>
                <a:cubicBezTo>
                  <a:pt x="398" y="55"/>
                  <a:pt x="399" y="53"/>
                  <a:pt x="400" y="52"/>
                </a:cubicBezTo>
                <a:cubicBezTo>
                  <a:pt x="401" y="52"/>
                  <a:pt x="402" y="53"/>
                  <a:pt x="402" y="52"/>
                </a:cubicBezTo>
                <a:cubicBezTo>
                  <a:pt x="404" y="52"/>
                  <a:pt x="405" y="51"/>
                  <a:pt x="407" y="50"/>
                </a:cubicBezTo>
                <a:cubicBezTo>
                  <a:pt x="409" y="50"/>
                  <a:pt x="411" y="48"/>
                  <a:pt x="411" y="48"/>
                </a:cubicBezTo>
                <a:cubicBezTo>
                  <a:pt x="412" y="48"/>
                  <a:pt x="412" y="49"/>
                  <a:pt x="412" y="49"/>
                </a:cubicBezTo>
                <a:cubicBezTo>
                  <a:pt x="413" y="48"/>
                  <a:pt x="413" y="48"/>
                  <a:pt x="413" y="47"/>
                </a:cubicBezTo>
                <a:cubicBezTo>
                  <a:pt x="414" y="47"/>
                  <a:pt x="414" y="48"/>
                  <a:pt x="415" y="48"/>
                </a:cubicBezTo>
                <a:cubicBezTo>
                  <a:pt x="415" y="47"/>
                  <a:pt x="415" y="47"/>
                  <a:pt x="416" y="46"/>
                </a:cubicBezTo>
                <a:cubicBezTo>
                  <a:pt x="416" y="46"/>
                  <a:pt x="416" y="47"/>
                  <a:pt x="417" y="47"/>
                </a:cubicBezTo>
                <a:cubicBezTo>
                  <a:pt x="417" y="47"/>
                  <a:pt x="417" y="46"/>
                  <a:pt x="418" y="45"/>
                </a:cubicBezTo>
                <a:cubicBezTo>
                  <a:pt x="419" y="45"/>
                  <a:pt x="419" y="46"/>
                  <a:pt x="420" y="45"/>
                </a:cubicBezTo>
                <a:cubicBezTo>
                  <a:pt x="420" y="45"/>
                  <a:pt x="420" y="44"/>
                  <a:pt x="421" y="44"/>
                </a:cubicBezTo>
                <a:cubicBezTo>
                  <a:pt x="422" y="43"/>
                  <a:pt x="424" y="43"/>
                  <a:pt x="425" y="42"/>
                </a:cubicBezTo>
                <a:cubicBezTo>
                  <a:pt x="427" y="40"/>
                  <a:pt x="432" y="39"/>
                  <a:pt x="435" y="36"/>
                </a:cubicBezTo>
                <a:cubicBezTo>
                  <a:pt x="438" y="35"/>
                  <a:pt x="441" y="33"/>
                  <a:pt x="444" y="32"/>
                </a:cubicBezTo>
                <a:cubicBezTo>
                  <a:pt x="444" y="32"/>
                  <a:pt x="443" y="32"/>
                  <a:pt x="443" y="32"/>
                </a:cubicBezTo>
                <a:cubicBezTo>
                  <a:pt x="440" y="31"/>
                  <a:pt x="439" y="28"/>
                  <a:pt x="438" y="28"/>
                </a:cubicBezTo>
                <a:cubicBezTo>
                  <a:pt x="437" y="28"/>
                  <a:pt x="437" y="28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5" y="30"/>
                  <a:pt x="434" y="30"/>
                  <a:pt x="433" y="31"/>
                </a:cubicBezTo>
                <a:cubicBezTo>
                  <a:pt x="432" y="31"/>
                  <a:pt x="431" y="31"/>
                  <a:pt x="431" y="30"/>
                </a:cubicBezTo>
                <a:cubicBezTo>
                  <a:pt x="431" y="30"/>
                  <a:pt x="431" y="30"/>
                  <a:pt x="431" y="30"/>
                </a:cubicBezTo>
                <a:cubicBezTo>
                  <a:pt x="430" y="30"/>
                  <a:pt x="430" y="31"/>
                  <a:pt x="429" y="31"/>
                </a:cubicBezTo>
                <a:cubicBezTo>
                  <a:pt x="428" y="32"/>
                  <a:pt x="425" y="32"/>
                  <a:pt x="424" y="31"/>
                </a:cubicBezTo>
                <a:cubicBezTo>
                  <a:pt x="424" y="31"/>
                  <a:pt x="425" y="30"/>
                  <a:pt x="426" y="30"/>
                </a:cubicBezTo>
                <a:cubicBezTo>
                  <a:pt x="426" y="30"/>
                  <a:pt x="425" y="29"/>
                  <a:pt x="425" y="29"/>
                </a:cubicBezTo>
                <a:cubicBezTo>
                  <a:pt x="424" y="30"/>
                  <a:pt x="423" y="30"/>
                  <a:pt x="423" y="30"/>
                </a:cubicBezTo>
                <a:cubicBezTo>
                  <a:pt x="418" y="29"/>
                  <a:pt x="416" y="25"/>
                  <a:pt x="419" y="23"/>
                </a:cubicBezTo>
                <a:cubicBezTo>
                  <a:pt x="421" y="21"/>
                  <a:pt x="429" y="22"/>
                  <a:pt x="429" y="26"/>
                </a:cubicBezTo>
                <a:cubicBezTo>
                  <a:pt x="429" y="29"/>
                  <a:pt x="428" y="27"/>
                  <a:pt x="431" y="27"/>
                </a:cubicBezTo>
                <a:cubicBezTo>
                  <a:pt x="434" y="26"/>
                  <a:pt x="435" y="27"/>
                  <a:pt x="436" y="25"/>
                </a:cubicBezTo>
                <a:cubicBezTo>
                  <a:pt x="439" y="21"/>
                  <a:pt x="442" y="21"/>
                  <a:pt x="446" y="22"/>
                </a:cubicBezTo>
                <a:cubicBezTo>
                  <a:pt x="446" y="21"/>
                  <a:pt x="448" y="21"/>
                  <a:pt x="449" y="22"/>
                </a:cubicBezTo>
                <a:cubicBezTo>
                  <a:pt x="450" y="22"/>
                  <a:pt x="450" y="21"/>
                  <a:pt x="451" y="21"/>
                </a:cubicBezTo>
                <a:cubicBezTo>
                  <a:pt x="452" y="22"/>
                  <a:pt x="451" y="23"/>
                  <a:pt x="450" y="24"/>
                </a:cubicBezTo>
                <a:cubicBezTo>
                  <a:pt x="451" y="25"/>
                  <a:pt x="452" y="26"/>
                  <a:pt x="452" y="28"/>
                </a:cubicBezTo>
                <a:cubicBezTo>
                  <a:pt x="451" y="28"/>
                  <a:pt x="451" y="29"/>
                  <a:pt x="451" y="30"/>
                </a:cubicBezTo>
                <a:cubicBezTo>
                  <a:pt x="451" y="29"/>
                  <a:pt x="451" y="29"/>
                  <a:pt x="452" y="29"/>
                </a:cubicBezTo>
                <a:cubicBezTo>
                  <a:pt x="453" y="29"/>
                  <a:pt x="455" y="29"/>
                  <a:pt x="457" y="29"/>
                </a:cubicBezTo>
                <a:cubicBezTo>
                  <a:pt x="458" y="28"/>
                  <a:pt x="458" y="27"/>
                  <a:pt x="460" y="27"/>
                </a:cubicBezTo>
                <a:cubicBezTo>
                  <a:pt x="461" y="26"/>
                  <a:pt x="463" y="26"/>
                  <a:pt x="465" y="26"/>
                </a:cubicBezTo>
                <a:cubicBezTo>
                  <a:pt x="463" y="25"/>
                  <a:pt x="462" y="25"/>
                  <a:pt x="460" y="25"/>
                </a:cubicBezTo>
                <a:cubicBezTo>
                  <a:pt x="462" y="25"/>
                  <a:pt x="462" y="23"/>
                  <a:pt x="461" y="23"/>
                </a:cubicBezTo>
                <a:cubicBezTo>
                  <a:pt x="461" y="23"/>
                  <a:pt x="462" y="21"/>
                  <a:pt x="463" y="20"/>
                </a:cubicBezTo>
                <a:cubicBezTo>
                  <a:pt x="464" y="20"/>
                  <a:pt x="465" y="20"/>
                  <a:pt x="466" y="20"/>
                </a:cubicBezTo>
                <a:cubicBezTo>
                  <a:pt x="466" y="20"/>
                  <a:pt x="467" y="20"/>
                  <a:pt x="468" y="20"/>
                </a:cubicBezTo>
                <a:cubicBezTo>
                  <a:pt x="468" y="21"/>
                  <a:pt x="467" y="21"/>
                  <a:pt x="466" y="21"/>
                </a:cubicBezTo>
                <a:cubicBezTo>
                  <a:pt x="468" y="22"/>
                  <a:pt x="468" y="23"/>
                  <a:pt x="468" y="24"/>
                </a:cubicBezTo>
                <a:cubicBezTo>
                  <a:pt x="469" y="23"/>
                  <a:pt x="470" y="23"/>
                  <a:pt x="471" y="22"/>
                </a:cubicBezTo>
                <a:cubicBezTo>
                  <a:pt x="471" y="22"/>
                  <a:pt x="470" y="22"/>
                  <a:pt x="470" y="21"/>
                </a:cubicBezTo>
                <a:cubicBezTo>
                  <a:pt x="469" y="20"/>
                  <a:pt x="471" y="19"/>
                  <a:pt x="473" y="19"/>
                </a:cubicBezTo>
                <a:cubicBezTo>
                  <a:pt x="473" y="19"/>
                  <a:pt x="473" y="19"/>
                  <a:pt x="473" y="19"/>
                </a:cubicBezTo>
                <a:cubicBezTo>
                  <a:pt x="456" y="13"/>
                  <a:pt x="438" y="9"/>
                  <a:pt x="419" y="5"/>
                </a:cubicBezTo>
                <a:cubicBezTo>
                  <a:pt x="427" y="10"/>
                  <a:pt x="416" y="16"/>
                  <a:pt x="410" y="12"/>
                </a:cubicBezTo>
                <a:cubicBezTo>
                  <a:pt x="408" y="10"/>
                  <a:pt x="409" y="9"/>
                  <a:pt x="407" y="7"/>
                </a:cubicBezTo>
                <a:cubicBezTo>
                  <a:pt x="408" y="6"/>
                  <a:pt x="410" y="5"/>
                  <a:pt x="412" y="4"/>
                </a:cubicBezTo>
                <a:cubicBezTo>
                  <a:pt x="408" y="4"/>
                  <a:pt x="405" y="3"/>
                  <a:pt x="401" y="3"/>
                </a:cubicBezTo>
                <a:cubicBezTo>
                  <a:pt x="401" y="3"/>
                  <a:pt x="401" y="3"/>
                  <a:pt x="401" y="3"/>
                </a:cubicBezTo>
                <a:cubicBezTo>
                  <a:pt x="398" y="2"/>
                  <a:pt x="396" y="2"/>
                  <a:pt x="393" y="2"/>
                </a:cubicBezTo>
                <a:cubicBezTo>
                  <a:pt x="392" y="6"/>
                  <a:pt x="385" y="4"/>
                  <a:pt x="382" y="1"/>
                </a:cubicBezTo>
                <a:cubicBezTo>
                  <a:pt x="374" y="0"/>
                  <a:pt x="366" y="0"/>
                  <a:pt x="357" y="0"/>
                </a:cubicBezTo>
                <a:cubicBezTo>
                  <a:pt x="343" y="0"/>
                  <a:pt x="328" y="1"/>
                  <a:pt x="314" y="3"/>
                </a:cubicBezTo>
                <a:cubicBezTo>
                  <a:pt x="314" y="3"/>
                  <a:pt x="314" y="3"/>
                  <a:pt x="315" y="3"/>
                </a:cubicBezTo>
                <a:cubicBezTo>
                  <a:pt x="315" y="3"/>
                  <a:pt x="315" y="3"/>
                  <a:pt x="315" y="3"/>
                </a:cubicBezTo>
                <a:cubicBezTo>
                  <a:pt x="315" y="4"/>
                  <a:pt x="314" y="3"/>
                  <a:pt x="314" y="3"/>
                </a:cubicBezTo>
                <a:cubicBezTo>
                  <a:pt x="138" y="24"/>
                  <a:pt x="1" y="173"/>
                  <a:pt x="0" y="354"/>
                </a:cubicBezTo>
                <a:cubicBezTo>
                  <a:pt x="0" y="354"/>
                  <a:pt x="0" y="353"/>
                  <a:pt x="1" y="353"/>
                </a:cubicBezTo>
                <a:cubicBezTo>
                  <a:pt x="1" y="353"/>
                  <a:pt x="2" y="356"/>
                  <a:pt x="1" y="356"/>
                </a:cubicBezTo>
                <a:cubicBezTo>
                  <a:pt x="0" y="357"/>
                  <a:pt x="0" y="356"/>
                  <a:pt x="0" y="356"/>
                </a:cubicBezTo>
                <a:cubicBezTo>
                  <a:pt x="0" y="356"/>
                  <a:pt x="0" y="357"/>
                  <a:pt x="0" y="357"/>
                </a:cubicBezTo>
                <a:cubicBezTo>
                  <a:pt x="0" y="375"/>
                  <a:pt x="1" y="392"/>
                  <a:pt x="4" y="409"/>
                </a:cubicBezTo>
                <a:cubicBezTo>
                  <a:pt x="4" y="409"/>
                  <a:pt x="4" y="409"/>
                  <a:pt x="4" y="409"/>
                </a:cubicBezTo>
                <a:cubicBezTo>
                  <a:pt x="5" y="409"/>
                  <a:pt x="5" y="412"/>
                  <a:pt x="5" y="412"/>
                </a:cubicBezTo>
                <a:cubicBezTo>
                  <a:pt x="4" y="413"/>
                  <a:pt x="4" y="413"/>
                  <a:pt x="4" y="413"/>
                </a:cubicBezTo>
                <a:cubicBezTo>
                  <a:pt x="5" y="418"/>
                  <a:pt x="6" y="424"/>
                  <a:pt x="7" y="429"/>
                </a:cubicBezTo>
                <a:cubicBezTo>
                  <a:pt x="8" y="429"/>
                  <a:pt x="8" y="429"/>
                  <a:pt x="8" y="429"/>
                </a:cubicBezTo>
                <a:cubicBezTo>
                  <a:pt x="9" y="430"/>
                  <a:pt x="8" y="430"/>
                  <a:pt x="7" y="431"/>
                </a:cubicBezTo>
                <a:cubicBezTo>
                  <a:pt x="8" y="433"/>
                  <a:pt x="8" y="435"/>
                  <a:pt x="9" y="438"/>
                </a:cubicBezTo>
                <a:cubicBezTo>
                  <a:pt x="9" y="438"/>
                  <a:pt x="9" y="438"/>
                  <a:pt x="9" y="438"/>
                </a:cubicBezTo>
                <a:cubicBezTo>
                  <a:pt x="9" y="440"/>
                  <a:pt x="10" y="441"/>
                  <a:pt x="10" y="443"/>
                </a:cubicBezTo>
                <a:cubicBezTo>
                  <a:pt x="10" y="443"/>
                  <a:pt x="10" y="443"/>
                  <a:pt x="10" y="442"/>
                </a:cubicBezTo>
                <a:cubicBezTo>
                  <a:pt x="10" y="442"/>
                  <a:pt x="10" y="442"/>
                  <a:pt x="10" y="441"/>
                </a:cubicBezTo>
                <a:cubicBezTo>
                  <a:pt x="10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2" y="441"/>
                  <a:pt x="13" y="440"/>
                  <a:pt x="14" y="440"/>
                </a:cubicBezTo>
                <a:cubicBezTo>
                  <a:pt x="14" y="439"/>
                  <a:pt x="15" y="438"/>
                  <a:pt x="16" y="439"/>
                </a:cubicBezTo>
                <a:cubicBezTo>
                  <a:pt x="17" y="439"/>
                  <a:pt x="17" y="439"/>
                  <a:pt x="18" y="440"/>
                </a:cubicBezTo>
                <a:cubicBezTo>
                  <a:pt x="20" y="443"/>
                  <a:pt x="19" y="438"/>
                  <a:pt x="18" y="438"/>
                </a:cubicBezTo>
                <a:cubicBezTo>
                  <a:pt x="18" y="438"/>
                  <a:pt x="18" y="438"/>
                  <a:pt x="17" y="437"/>
                </a:cubicBezTo>
                <a:cubicBezTo>
                  <a:pt x="17" y="437"/>
                  <a:pt x="17" y="437"/>
                  <a:pt x="17" y="436"/>
                </a:cubicBezTo>
                <a:cubicBezTo>
                  <a:pt x="17" y="435"/>
                  <a:pt x="17" y="432"/>
                  <a:pt x="17" y="431"/>
                </a:cubicBezTo>
                <a:cubicBezTo>
                  <a:pt x="17" y="433"/>
                  <a:pt x="18" y="434"/>
                  <a:pt x="19" y="435"/>
                </a:cubicBezTo>
                <a:cubicBezTo>
                  <a:pt x="19" y="435"/>
                  <a:pt x="19" y="435"/>
                  <a:pt x="19" y="435"/>
                </a:cubicBezTo>
                <a:cubicBezTo>
                  <a:pt x="20" y="435"/>
                  <a:pt x="19" y="436"/>
                  <a:pt x="19" y="436"/>
                </a:cubicBezTo>
                <a:cubicBezTo>
                  <a:pt x="19" y="437"/>
                  <a:pt x="19" y="437"/>
                  <a:pt x="19" y="438"/>
                </a:cubicBezTo>
                <a:cubicBezTo>
                  <a:pt x="20" y="437"/>
                  <a:pt x="19" y="435"/>
                  <a:pt x="21" y="434"/>
                </a:cubicBezTo>
                <a:cubicBezTo>
                  <a:pt x="20" y="436"/>
                  <a:pt x="20" y="437"/>
                  <a:pt x="21" y="438"/>
                </a:cubicBezTo>
                <a:cubicBezTo>
                  <a:pt x="21" y="438"/>
                  <a:pt x="22" y="438"/>
                  <a:pt x="22" y="438"/>
                </a:cubicBezTo>
                <a:cubicBezTo>
                  <a:pt x="22" y="438"/>
                  <a:pt x="22" y="438"/>
                  <a:pt x="22" y="438"/>
                </a:cubicBezTo>
                <a:cubicBezTo>
                  <a:pt x="23" y="438"/>
                  <a:pt x="23" y="438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3" y="435"/>
                  <a:pt x="23" y="434"/>
                  <a:pt x="23" y="434"/>
                </a:cubicBezTo>
                <a:cubicBezTo>
                  <a:pt x="23" y="433"/>
                  <a:pt x="22" y="433"/>
                  <a:pt x="21" y="434"/>
                </a:cubicBezTo>
                <a:cubicBezTo>
                  <a:pt x="20" y="434"/>
                  <a:pt x="20" y="435"/>
                  <a:pt x="19" y="434"/>
                </a:cubicBezTo>
                <a:cubicBezTo>
                  <a:pt x="19" y="434"/>
                  <a:pt x="19" y="434"/>
                  <a:pt x="19" y="433"/>
                </a:cubicBezTo>
                <a:cubicBezTo>
                  <a:pt x="19" y="433"/>
                  <a:pt x="19" y="433"/>
                  <a:pt x="19" y="433"/>
                </a:cubicBezTo>
                <a:cubicBezTo>
                  <a:pt x="18" y="433"/>
                  <a:pt x="19" y="431"/>
                  <a:pt x="18" y="429"/>
                </a:cubicBezTo>
                <a:cubicBezTo>
                  <a:pt x="17" y="430"/>
                  <a:pt x="16" y="429"/>
                  <a:pt x="16" y="426"/>
                </a:cubicBezTo>
                <a:cubicBezTo>
                  <a:pt x="16" y="426"/>
                  <a:pt x="16" y="426"/>
                  <a:pt x="16" y="426"/>
                </a:cubicBezTo>
                <a:cubicBezTo>
                  <a:pt x="16" y="427"/>
                  <a:pt x="14" y="432"/>
                  <a:pt x="15" y="433"/>
                </a:cubicBezTo>
                <a:cubicBezTo>
                  <a:pt x="15" y="433"/>
                  <a:pt x="16" y="437"/>
                  <a:pt x="14" y="435"/>
                </a:cubicBezTo>
                <a:cubicBezTo>
                  <a:pt x="12" y="434"/>
                  <a:pt x="15" y="429"/>
                  <a:pt x="15" y="426"/>
                </a:cubicBezTo>
                <a:cubicBezTo>
                  <a:pt x="14" y="426"/>
                  <a:pt x="14" y="426"/>
                  <a:pt x="14" y="425"/>
                </a:cubicBezTo>
                <a:cubicBezTo>
                  <a:pt x="13" y="424"/>
                  <a:pt x="14" y="424"/>
                  <a:pt x="14" y="423"/>
                </a:cubicBezTo>
                <a:cubicBezTo>
                  <a:pt x="14" y="423"/>
                  <a:pt x="14" y="422"/>
                  <a:pt x="15" y="422"/>
                </a:cubicBezTo>
                <a:cubicBezTo>
                  <a:pt x="14" y="421"/>
                  <a:pt x="13" y="422"/>
                  <a:pt x="12" y="421"/>
                </a:cubicBezTo>
                <a:cubicBezTo>
                  <a:pt x="13" y="421"/>
                  <a:pt x="11" y="419"/>
                  <a:pt x="11" y="420"/>
                </a:cubicBezTo>
                <a:cubicBezTo>
                  <a:pt x="11" y="417"/>
                  <a:pt x="14" y="417"/>
                  <a:pt x="15" y="419"/>
                </a:cubicBezTo>
                <a:cubicBezTo>
                  <a:pt x="14" y="418"/>
                  <a:pt x="16" y="419"/>
                  <a:pt x="17" y="418"/>
                </a:cubicBezTo>
                <a:cubicBezTo>
                  <a:pt x="16" y="418"/>
                  <a:pt x="17" y="413"/>
                  <a:pt x="19" y="413"/>
                </a:cubicBezTo>
                <a:cubicBezTo>
                  <a:pt x="19" y="413"/>
                  <a:pt x="18" y="416"/>
                  <a:pt x="19" y="417"/>
                </a:cubicBezTo>
                <a:cubicBezTo>
                  <a:pt x="19" y="417"/>
                  <a:pt x="19" y="417"/>
                  <a:pt x="19" y="417"/>
                </a:cubicBezTo>
                <a:cubicBezTo>
                  <a:pt x="19" y="417"/>
                  <a:pt x="19" y="416"/>
                  <a:pt x="20" y="417"/>
                </a:cubicBezTo>
                <a:cubicBezTo>
                  <a:pt x="20" y="417"/>
                  <a:pt x="21" y="418"/>
                  <a:pt x="20" y="419"/>
                </a:cubicBezTo>
                <a:cubicBezTo>
                  <a:pt x="20" y="419"/>
                  <a:pt x="20" y="419"/>
                  <a:pt x="20" y="419"/>
                </a:cubicBezTo>
                <a:cubicBezTo>
                  <a:pt x="21" y="419"/>
                  <a:pt x="20" y="420"/>
                  <a:pt x="19" y="420"/>
                </a:cubicBezTo>
                <a:cubicBezTo>
                  <a:pt x="17" y="421"/>
                  <a:pt x="19" y="421"/>
                  <a:pt x="20" y="422"/>
                </a:cubicBezTo>
                <a:cubicBezTo>
                  <a:pt x="20" y="422"/>
                  <a:pt x="20" y="422"/>
                  <a:pt x="21" y="422"/>
                </a:cubicBezTo>
                <a:cubicBezTo>
                  <a:pt x="21" y="422"/>
                  <a:pt x="21" y="422"/>
                  <a:pt x="21" y="422"/>
                </a:cubicBezTo>
                <a:cubicBezTo>
                  <a:pt x="22" y="423"/>
                  <a:pt x="22" y="423"/>
                  <a:pt x="22" y="424"/>
                </a:cubicBezTo>
                <a:cubicBezTo>
                  <a:pt x="22" y="424"/>
                  <a:pt x="23" y="423"/>
                  <a:pt x="24" y="423"/>
                </a:cubicBezTo>
                <a:cubicBezTo>
                  <a:pt x="25" y="423"/>
                  <a:pt x="24" y="425"/>
                  <a:pt x="26" y="425"/>
                </a:cubicBezTo>
                <a:cubicBezTo>
                  <a:pt x="26" y="425"/>
                  <a:pt x="26" y="425"/>
                  <a:pt x="26" y="425"/>
                </a:cubicBezTo>
                <a:cubicBezTo>
                  <a:pt x="27" y="422"/>
                  <a:pt x="30" y="417"/>
                  <a:pt x="26" y="418"/>
                </a:cubicBezTo>
                <a:cubicBezTo>
                  <a:pt x="29" y="416"/>
                  <a:pt x="25" y="414"/>
                  <a:pt x="24" y="414"/>
                </a:cubicBezTo>
                <a:cubicBezTo>
                  <a:pt x="23" y="412"/>
                  <a:pt x="25" y="415"/>
                  <a:pt x="25" y="414"/>
                </a:cubicBezTo>
                <a:cubicBezTo>
                  <a:pt x="27" y="413"/>
                  <a:pt x="24" y="411"/>
                  <a:pt x="24" y="408"/>
                </a:cubicBezTo>
                <a:cubicBezTo>
                  <a:pt x="24" y="408"/>
                  <a:pt x="26" y="406"/>
                  <a:pt x="26" y="406"/>
                </a:cubicBezTo>
                <a:cubicBezTo>
                  <a:pt x="27" y="404"/>
                  <a:pt x="24" y="405"/>
                  <a:pt x="27" y="404"/>
                </a:cubicBezTo>
                <a:cubicBezTo>
                  <a:pt x="29" y="404"/>
                  <a:pt x="29" y="400"/>
                  <a:pt x="30" y="399"/>
                </a:cubicBezTo>
                <a:cubicBezTo>
                  <a:pt x="30" y="399"/>
                  <a:pt x="34" y="398"/>
                  <a:pt x="34" y="396"/>
                </a:cubicBezTo>
                <a:cubicBezTo>
                  <a:pt x="30" y="400"/>
                  <a:pt x="28" y="395"/>
                  <a:pt x="29" y="394"/>
                </a:cubicBezTo>
                <a:cubicBezTo>
                  <a:pt x="29" y="394"/>
                  <a:pt x="28" y="391"/>
                  <a:pt x="31" y="391"/>
                </a:cubicBezTo>
                <a:cubicBezTo>
                  <a:pt x="33" y="390"/>
                  <a:pt x="32" y="391"/>
                  <a:pt x="34" y="389"/>
                </a:cubicBezTo>
                <a:cubicBezTo>
                  <a:pt x="35" y="388"/>
                  <a:pt x="34" y="396"/>
                  <a:pt x="35" y="396"/>
                </a:cubicBezTo>
                <a:cubicBezTo>
                  <a:pt x="36" y="398"/>
                  <a:pt x="36" y="395"/>
                  <a:pt x="37" y="398"/>
                </a:cubicBezTo>
                <a:cubicBezTo>
                  <a:pt x="38" y="404"/>
                  <a:pt x="42" y="414"/>
                  <a:pt x="34" y="417"/>
                </a:cubicBezTo>
                <a:cubicBezTo>
                  <a:pt x="32" y="418"/>
                  <a:pt x="31" y="417"/>
                  <a:pt x="30" y="418"/>
                </a:cubicBezTo>
                <a:cubicBezTo>
                  <a:pt x="28" y="420"/>
                  <a:pt x="28" y="422"/>
                  <a:pt x="27" y="425"/>
                </a:cubicBezTo>
                <a:cubicBezTo>
                  <a:pt x="27" y="425"/>
                  <a:pt x="27" y="425"/>
                  <a:pt x="27" y="425"/>
                </a:cubicBezTo>
                <a:cubicBezTo>
                  <a:pt x="28" y="425"/>
                  <a:pt x="27" y="426"/>
                  <a:pt x="28" y="427"/>
                </a:cubicBezTo>
                <a:cubicBezTo>
                  <a:pt x="28" y="427"/>
                  <a:pt x="29" y="427"/>
                  <a:pt x="30" y="427"/>
                </a:cubicBezTo>
                <a:cubicBezTo>
                  <a:pt x="30" y="426"/>
                  <a:pt x="30" y="426"/>
                  <a:pt x="31" y="426"/>
                </a:cubicBezTo>
                <a:cubicBezTo>
                  <a:pt x="31" y="426"/>
                  <a:pt x="31" y="426"/>
                  <a:pt x="31" y="427"/>
                </a:cubicBezTo>
                <a:cubicBezTo>
                  <a:pt x="31" y="427"/>
                  <a:pt x="32" y="427"/>
                  <a:pt x="32" y="427"/>
                </a:cubicBezTo>
                <a:cubicBezTo>
                  <a:pt x="32" y="428"/>
                  <a:pt x="31" y="430"/>
                  <a:pt x="33" y="429"/>
                </a:cubicBezTo>
                <a:cubicBezTo>
                  <a:pt x="33" y="430"/>
                  <a:pt x="33" y="432"/>
                  <a:pt x="33" y="433"/>
                </a:cubicBezTo>
                <a:cubicBezTo>
                  <a:pt x="33" y="433"/>
                  <a:pt x="33" y="433"/>
                  <a:pt x="33" y="433"/>
                </a:cubicBezTo>
                <a:cubicBezTo>
                  <a:pt x="34" y="433"/>
                  <a:pt x="36" y="432"/>
                  <a:pt x="35" y="432"/>
                </a:cubicBezTo>
                <a:cubicBezTo>
                  <a:pt x="36" y="432"/>
                  <a:pt x="35" y="435"/>
                  <a:pt x="34" y="436"/>
                </a:cubicBezTo>
                <a:cubicBezTo>
                  <a:pt x="34" y="437"/>
                  <a:pt x="34" y="437"/>
                  <a:pt x="35" y="437"/>
                </a:cubicBezTo>
                <a:cubicBezTo>
                  <a:pt x="34" y="437"/>
                  <a:pt x="38" y="431"/>
                  <a:pt x="39" y="435"/>
                </a:cubicBezTo>
                <a:cubicBezTo>
                  <a:pt x="39" y="434"/>
                  <a:pt x="39" y="434"/>
                  <a:pt x="39" y="434"/>
                </a:cubicBezTo>
                <a:cubicBezTo>
                  <a:pt x="39" y="434"/>
                  <a:pt x="41" y="432"/>
                  <a:pt x="41" y="432"/>
                </a:cubicBezTo>
                <a:cubicBezTo>
                  <a:pt x="43" y="433"/>
                  <a:pt x="41" y="437"/>
                  <a:pt x="40" y="439"/>
                </a:cubicBezTo>
                <a:cubicBezTo>
                  <a:pt x="42" y="439"/>
                  <a:pt x="43" y="440"/>
                  <a:pt x="42" y="441"/>
                </a:cubicBezTo>
                <a:cubicBezTo>
                  <a:pt x="42" y="441"/>
                  <a:pt x="42" y="442"/>
                  <a:pt x="42" y="442"/>
                </a:cubicBezTo>
                <a:cubicBezTo>
                  <a:pt x="42" y="442"/>
                  <a:pt x="42" y="443"/>
                  <a:pt x="41" y="443"/>
                </a:cubicBezTo>
                <a:cubicBezTo>
                  <a:pt x="41" y="443"/>
                  <a:pt x="40" y="444"/>
                  <a:pt x="40" y="444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5"/>
                  <a:pt x="39" y="447"/>
                  <a:pt x="38" y="448"/>
                </a:cubicBezTo>
                <a:cubicBezTo>
                  <a:pt x="38" y="449"/>
                  <a:pt x="38" y="449"/>
                  <a:pt x="38" y="450"/>
                </a:cubicBezTo>
                <a:cubicBezTo>
                  <a:pt x="38" y="450"/>
                  <a:pt x="38" y="450"/>
                  <a:pt x="39" y="450"/>
                </a:cubicBezTo>
                <a:cubicBezTo>
                  <a:pt x="39" y="449"/>
                  <a:pt x="40" y="448"/>
                  <a:pt x="41" y="447"/>
                </a:cubicBezTo>
                <a:cubicBezTo>
                  <a:pt x="41" y="448"/>
                  <a:pt x="40" y="450"/>
                  <a:pt x="39" y="451"/>
                </a:cubicBezTo>
                <a:cubicBezTo>
                  <a:pt x="39" y="451"/>
                  <a:pt x="39" y="451"/>
                  <a:pt x="39" y="451"/>
                </a:cubicBezTo>
                <a:cubicBezTo>
                  <a:pt x="39" y="451"/>
                  <a:pt x="40" y="451"/>
                  <a:pt x="40" y="451"/>
                </a:cubicBezTo>
                <a:cubicBezTo>
                  <a:pt x="40" y="451"/>
                  <a:pt x="39" y="452"/>
                  <a:pt x="39" y="451"/>
                </a:cubicBezTo>
                <a:cubicBezTo>
                  <a:pt x="38" y="453"/>
                  <a:pt x="35" y="455"/>
                  <a:pt x="35" y="457"/>
                </a:cubicBezTo>
                <a:cubicBezTo>
                  <a:pt x="35" y="456"/>
                  <a:pt x="35" y="456"/>
                  <a:pt x="35" y="456"/>
                </a:cubicBezTo>
                <a:cubicBezTo>
                  <a:pt x="36" y="456"/>
                  <a:pt x="36" y="458"/>
                  <a:pt x="36" y="459"/>
                </a:cubicBezTo>
                <a:cubicBezTo>
                  <a:pt x="36" y="459"/>
                  <a:pt x="37" y="459"/>
                  <a:pt x="37" y="460"/>
                </a:cubicBezTo>
                <a:cubicBezTo>
                  <a:pt x="37" y="461"/>
                  <a:pt x="35" y="463"/>
                  <a:pt x="34" y="463"/>
                </a:cubicBezTo>
                <a:cubicBezTo>
                  <a:pt x="34" y="463"/>
                  <a:pt x="34" y="462"/>
                  <a:pt x="34" y="462"/>
                </a:cubicBezTo>
                <a:cubicBezTo>
                  <a:pt x="34" y="462"/>
                  <a:pt x="34" y="462"/>
                  <a:pt x="34" y="462"/>
                </a:cubicBezTo>
                <a:cubicBezTo>
                  <a:pt x="34" y="462"/>
                  <a:pt x="33" y="463"/>
                  <a:pt x="33" y="463"/>
                </a:cubicBezTo>
                <a:cubicBezTo>
                  <a:pt x="31" y="462"/>
                  <a:pt x="33" y="461"/>
                  <a:pt x="34" y="461"/>
                </a:cubicBezTo>
                <a:cubicBezTo>
                  <a:pt x="34" y="461"/>
                  <a:pt x="34" y="460"/>
                  <a:pt x="33" y="460"/>
                </a:cubicBezTo>
                <a:cubicBezTo>
                  <a:pt x="33" y="460"/>
                  <a:pt x="33" y="460"/>
                  <a:pt x="33" y="461"/>
                </a:cubicBezTo>
                <a:cubicBezTo>
                  <a:pt x="32" y="462"/>
                  <a:pt x="31" y="461"/>
                  <a:pt x="32" y="460"/>
                </a:cubicBezTo>
                <a:cubicBezTo>
                  <a:pt x="29" y="460"/>
                  <a:pt x="23" y="461"/>
                  <a:pt x="24" y="461"/>
                </a:cubicBezTo>
                <a:cubicBezTo>
                  <a:pt x="23" y="461"/>
                  <a:pt x="21" y="469"/>
                  <a:pt x="21" y="464"/>
                </a:cubicBezTo>
                <a:cubicBezTo>
                  <a:pt x="21" y="464"/>
                  <a:pt x="21" y="465"/>
                  <a:pt x="20" y="465"/>
                </a:cubicBezTo>
                <a:cubicBezTo>
                  <a:pt x="20" y="465"/>
                  <a:pt x="20" y="465"/>
                  <a:pt x="20" y="465"/>
                </a:cubicBezTo>
                <a:cubicBezTo>
                  <a:pt x="20" y="465"/>
                  <a:pt x="20" y="466"/>
                  <a:pt x="19" y="465"/>
                </a:cubicBezTo>
                <a:cubicBezTo>
                  <a:pt x="19" y="465"/>
                  <a:pt x="19" y="466"/>
                  <a:pt x="19" y="466"/>
                </a:cubicBezTo>
                <a:cubicBezTo>
                  <a:pt x="19" y="467"/>
                  <a:pt x="18" y="465"/>
                  <a:pt x="18" y="465"/>
                </a:cubicBezTo>
                <a:cubicBezTo>
                  <a:pt x="17" y="464"/>
                  <a:pt x="17" y="464"/>
                  <a:pt x="16" y="464"/>
                </a:cubicBezTo>
                <a:cubicBezTo>
                  <a:pt x="16" y="464"/>
                  <a:pt x="16" y="463"/>
                  <a:pt x="16" y="463"/>
                </a:cubicBezTo>
                <a:cubicBezTo>
                  <a:pt x="17" y="466"/>
                  <a:pt x="17" y="468"/>
                  <a:pt x="18" y="470"/>
                </a:cubicBezTo>
                <a:cubicBezTo>
                  <a:pt x="18" y="471"/>
                  <a:pt x="19" y="471"/>
                  <a:pt x="18" y="471"/>
                </a:cubicBezTo>
                <a:cubicBezTo>
                  <a:pt x="18" y="472"/>
                  <a:pt x="19" y="472"/>
                  <a:pt x="19" y="472"/>
                </a:cubicBezTo>
                <a:cubicBezTo>
                  <a:pt x="19" y="472"/>
                  <a:pt x="19" y="472"/>
                  <a:pt x="19" y="471"/>
                </a:cubicBezTo>
                <a:cubicBezTo>
                  <a:pt x="20" y="470"/>
                  <a:pt x="21" y="470"/>
                  <a:pt x="22" y="469"/>
                </a:cubicBezTo>
                <a:cubicBezTo>
                  <a:pt x="21" y="468"/>
                  <a:pt x="22" y="466"/>
                  <a:pt x="23" y="467"/>
                </a:cubicBezTo>
                <a:cubicBezTo>
                  <a:pt x="24" y="467"/>
                  <a:pt x="24" y="468"/>
                  <a:pt x="23" y="469"/>
                </a:cubicBezTo>
                <a:cubicBezTo>
                  <a:pt x="23" y="469"/>
                  <a:pt x="23" y="469"/>
                  <a:pt x="24" y="469"/>
                </a:cubicBezTo>
                <a:cubicBezTo>
                  <a:pt x="24" y="469"/>
                  <a:pt x="24" y="469"/>
                  <a:pt x="24" y="469"/>
                </a:cubicBezTo>
                <a:cubicBezTo>
                  <a:pt x="26" y="468"/>
                  <a:pt x="28" y="469"/>
                  <a:pt x="29" y="470"/>
                </a:cubicBezTo>
                <a:cubicBezTo>
                  <a:pt x="29" y="470"/>
                  <a:pt x="30" y="470"/>
                  <a:pt x="30" y="470"/>
                </a:cubicBezTo>
                <a:cubicBezTo>
                  <a:pt x="30" y="470"/>
                  <a:pt x="30" y="470"/>
                  <a:pt x="30" y="470"/>
                </a:cubicBezTo>
                <a:cubicBezTo>
                  <a:pt x="30" y="470"/>
                  <a:pt x="31" y="471"/>
                  <a:pt x="30" y="471"/>
                </a:cubicBezTo>
                <a:cubicBezTo>
                  <a:pt x="32" y="472"/>
                  <a:pt x="33" y="475"/>
                  <a:pt x="33" y="477"/>
                </a:cubicBezTo>
                <a:cubicBezTo>
                  <a:pt x="33" y="477"/>
                  <a:pt x="32" y="480"/>
                  <a:pt x="31" y="480"/>
                </a:cubicBezTo>
                <a:cubicBezTo>
                  <a:pt x="31" y="480"/>
                  <a:pt x="30" y="479"/>
                  <a:pt x="30" y="480"/>
                </a:cubicBezTo>
                <a:cubicBezTo>
                  <a:pt x="30" y="480"/>
                  <a:pt x="30" y="480"/>
                  <a:pt x="30" y="480"/>
                </a:cubicBezTo>
                <a:cubicBezTo>
                  <a:pt x="29" y="480"/>
                  <a:pt x="29" y="481"/>
                  <a:pt x="29" y="481"/>
                </a:cubicBezTo>
                <a:cubicBezTo>
                  <a:pt x="29" y="481"/>
                  <a:pt x="30" y="481"/>
                  <a:pt x="30" y="482"/>
                </a:cubicBezTo>
                <a:cubicBezTo>
                  <a:pt x="30" y="482"/>
                  <a:pt x="29" y="483"/>
                  <a:pt x="28" y="482"/>
                </a:cubicBezTo>
                <a:cubicBezTo>
                  <a:pt x="28" y="482"/>
                  <a:pt x="28" y="482"/>
                  <a:pt x="28" y="482"/>
                </a:cubicBezTo>
                <a:cubicBezTo>
                  <a:pt x="28" y="483"/>
                  <a:pt x="28" y="484"/>
                  <a:pt x="28" y="485"/>
                </a:cubicBezTo>
                <a:cubicBezTo>
                  <a:pt x="29" y="485"/>
                  <a:pt x="31" y="483"/>
                  <a:pt x="32" y="485"/>
                </a:cubicBezTo>
                <a:cubicBezTo>
                  <a:pt x="29" y="485"/>
                  <a:pt x="31" y="486"/>
                  <a:pt x="31" y="489"/>
                </a:cubicBezTo>
                <a:cubicBezTo>
                  <a:pt x="31" y="493"/>
                  <a:pt x="30" y="491"/>
                  <a:pt x="32" y="488"/>
                </a:cubicBezTo>
                <a:cubicBezTo>
                  <a:pt x="33" y="487"/>
                  <a:pt x="33" y="489"/>
                  <a:pt x="35" y="487"/>
                </a:cubicBezTo>
                <a:cubicBezTo>
                  <a:pt x="35" y="486"/>
                  <a:pt x="35" y="484"/>
                  <a:pt x="35" y="482"/>
                </a:cubicBezTo>
                <a:cubicBezTo>
                  <a:pt x="35" y="482"/>
                  <a:pt x="35" y="482"/>
                  <a:pt x="35" y="482"/>
                </a:cubicBezTo>
                <a:cubicBezTo>
                  <a:pt x="35" y="481"/>
                  <a:pt x="35" y="481"/>
                  <a:pt x="35" y="480"/>
                </a:cubicBezTo>
                <a:cubicBezTo>
                  <a:pt x="35" y="482"/>
                  <a:pt x="31" y="480"/>
                  <a:pt x="33" y="479"/>
                </a:cubicBezTo>
                <a:cubicBezTo>
                  <a:pt x="33" y="479"/>
                  <a:pt x="33" y="479"/>
                  <a:pt x="34" y="478"/>
                </a:cubicBezTo>
                <a:cubicBezTo>
                  <a:pt x="34" y="477"/>
                  <a:pt x="35" y="474"/>
                  <a:pt x="36" y="473"/>
                </a:cubicBezTo>
                <a:cubicBezTo>
                  <a:pt x="36" y="470"/>
                  <a:pt x="37" y="470"/>
                  <a:pt x="36" y="473"/>
                </a:cubicBezTo>
                <a:cubicBezTo>
                  <a:pt x="36" y="475"/>
                  <a:pt x="36" y="477"/>
                  <a:pt x="35" y="478"/>
                </a:cubicBezTo>
                <a:cubicBezTo>
                  <a:pt x="37" y="477"/>
                  <a:pt x="35" y="476"/>
                  <a:pt x="36" y="475"/>
                </a:cubicBezTo>
                <a:cubicBezTo>
                  <a:pt x="36" y="474"/>
                  <a:pt x="38" y="473"/>
                  <a:pt x="39" y="472"/>
                </a:cubicBezTo>
                <a:cubicBezTo>
                  <a:pt x="39" y="472"/>
                  <a:pt x="39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39" y="469"/>
                  <a:pt x="43" y="469"/>
                  <a:pt x="42" y="470"/>
                </a:cubicBezTo>
                <a:cubicBezTo>
                  <a:pt x="43" y="470"/>
                  <a:pt x="43" y="470"/>
                  <a:pt x="43" y="470"/>
                </a:cubicBezTo>
                <a:cubicBezTo>
                  <a:pt x="43" y="470"/>
                  <a:pt x="44" y="470"/>
                  <a:pt x="44" y="471"/>
                </a:cubicBezTo>
                <a:cubicBezTo>
                  <a:pt x="44" y="471"/>
                  <a:pt x="44" y="471"/>
                  <a:pt x="44" y="471"/>
                </a:cubicBezTo>
                <a:cubicBezTo>
                  <a:pt x="44" y="471"/>
                  <a:pt x="45" y="473"/>
                  <a:pt x="46" y="474"/>
                </a:cubicBezTo>
                <a:cubicBezTo>
                  <a:pt x="46" y="474"/>
                  <a:pt x="47" y="474"/>
                  <a:pt x="47" y="474"/>
                </a:cubicBezTo>
                <a:cubicBezTo>
                  <a:pt x="47" y="474"/>
                  <a:pt x="47" y="475"/>
                  <a:pt x="47" y="475"/>
                </a:cubicBezTo>
                <a:cubicBezTo>
                  <a:pt x="47" y="475"/>
                  <a:pt x="48" y="475"/>
                  <a:pt x="48" y="474"/>
                </a:cubicBezTo>
                <a:cubicBezTo>
                  <a:pt x="48" y="474"/>
                  <a:pt x="48" y="473"/>
                  <a:pt x="48" y="473"/>
                </a:cubicBezTo>
                <a:cubicBezTo>
                  <a:pt x="49" y="473"/>
                  <a:pt x="56" y="472"/>
                  <a:pt x="53" y="470"/>
                </a:cubicBezTo>
                <a:cubicBezTo>
                  <a:pt x="52" y="470"/>
                  <a:pt x="52" y="471"/>
                  <a:pt x="52" y="471"/>
                </a:cubicBezTo>
                <a:cubicBezTo>
                  <a:pt x="52" y="471"/>
                  <a:pt x="52" y="470"/>
                  <a:pt x="51" y="470"/>
                </a:cubicBezTo>
                <a:cubicBezTo>
                  <a:pt x="50" y="470"/>
                  <a:pt x="49" y="472"/>
                  <a:pt x="48" y="472"/>
                </a:cubicBezTo>
                <a:cubicBezTo>
                  <a:pt x="50" y="471"/>
                  <a:pt x="48" y="468"/>
                  <a:pt x="49" y="467"/>
                </a:cubicBezTo>
                <a:cubicBezTo>
                  <a:pt x="51" y="467"/>
                  <a:pt x="53" y="470"/>
                  <a:pt x="55" y="470"/>
                </a:cubicBezTo>
                <a:cubicBezTo>
                  <a:pt x="58" y="469"/>
                  <a:pt x="59" y="467"/>
                  <a:pt x="60" y="465"/>
                </a:cubicBezTo>
                <a:cubicBezTo>
                  <a:pt x="59" y="466"/>
                  <a:pt x="57" y="466"/>
                  <a:pt x="56" y="465"/>
                </a:cubicBezTo>
                <a:cubicBezTo>
                  <a:pt x="55" y="466"/>
                  <a:pt x="54" y="467"/>
                  <a:pt x="53" y="465"/>
                </a:cubicBezTo>
                <a:cubicBezTo>
                  <a:pt x="52" y="463"/>
                  <a:pt x="48" y="460"/>
                  <a:pt x="50" y="458"/>
                </a:cubicBezTo>
                <a:cubicBezTo>
                  <a:pt x="53" y="455"/>
                  <a:pt x="58" y="451"/>
                  <a:pt x="59" y="445"/>
                </a:cubicBezTo>
                <a:cubicBezTo>
                  <a:pt x="55" y="450"/>
                  <a:pt x="54" y="444"/>
                  <a:pt x="59" y="443"/>
                </a:cubicBezTo>
                <a:cubicBezTo>
                  <a:pt x="58" y="445"/>
                  <a:pt x="60" y="444"/>
                  <a:pt x="61" y="445"/>
                </a:cubicBezTo>
                <a:cubicBezTo>
                  <a:pt x="61" y="445"/>
                  <a:pt x="61" y="446"/>
                  <a:pt x="61" y="446"/>
                </a:cubicBezTo>
                <a:cubicBezTo>
                  <a:pt x="61" y="446"/>
                  <a:pt x="61" y="446"/>
                  <a:pt x="61" y="446"/>
                </a:cubicBezTo>
                <a:cubicBezTo>
                  <a:pt x="63" y="446"/>
                  <a:pt x="60" y="450"/>
                  <a:pt x="60" y="447"/>
                </a:cubicBezTo>
                <a:cubicBezTo>
                  <a:pt x="60" y="447"/>
                  <a:pt x="60" y="447"/>
                  <a:pt x="60" y="447"/>
                </a:cubicBezTo>
                <a:cubicBezTo>
                  <a:pt x="60" y="448"/>
                  <a:pt x="59" y="448"/>
                  <a:pt x="59" y="449"/>
                </a:cubicBezTo>
                <a:cubicBezTo>
                  <a:pt x="59" y="452"/>
                  <a:pt x="59" y="456"/>
                  <a:pt x="60" y="459"/>
                </a:cubicBezTo>
                <a:cubicBezTo>
                  <a:pt x="61" y="459"/>
                  <a:pt x="61" y="459"/>
                  <a:pt x="62" y="460"/>
                </a:cubicBezTo>
                <a:cubicBezTo>
                  <a:pt x="62" y="460"/>
                  <a:pt x="62" y="460"/>
                  <a:pt x="62" y="461"/>
                </a:cubicBezTo>
                <a:cubicBezTo>
                  <a:pt x="63" y="462"/>
                  <a:pt x="64" y="461"/>
                  <a:pt x="66" y="457"/>
                </a:cubicBezTo>
                <a:cubicBezTo>
                  <a:pt x="67" y="464"/>
                  <a:pt x="71" y="455"/>
                  <a:pt x="70" y="453"/>
                </a:cubicBezTo>
                <a:cubicBezTo>
                  <a:pt x="70" y="453"/>
                  <a:pt x="68" y="453"/>
                  <a:pt x="68" y="452"/>
                </a:cubicBezTo>
                <a:cubicBezTo>
                  <a:pt x="67" y="452"/>
                  <a:pt x="68" y="449"/>
                  <a:pt x="68" y="447"/>
                </a:cubicBezTo>
                <a:cubicBezTo>
                  <a:pt x="69" y="446"/>
                  <a:pt x="73" y="440"/>
                  <a:pt x="72" y="445"/>
                </a:cubicBezTo>
                <a:cubicBezTo>
                  <a:pt x="71" y="446"/>
                  <a:pt x="71" y="448"/>
                  <a:pt x="71" y="449"/>
                </a:cubicBezTo>
                <a:cubicBezTo>
                  <a:pt x="72" y="449"/>
                  <a:pt x="72" y="449"/>
                  <a:pt x="71" y="449"/>
                </a:cubicBezTo>
                <a:cubicBezTo>
                  <a:pt x="71" y="449"/>
                  <a:pt x="71" y="449"/>
                  <a:pt x="71" y="449"/>
                </a:cubicBezTo>
                <a:cubicBezTo>
                  <a:pt x="71" y="450"/>
                  <a:pt x="71" y="452"/>
                  <a:pt x="71" y="453"/>
                </a:cubicBezTo>
                <a:cubicBezTo>
                  <a:pt x="71" y="455"/>
                  <a:pt x="70" y="457"/>
                  <a:pt x="70" y="458"/>
                </a:cubicBezTo>
                <a:cubicBezTo>
                  <a:pt x="70" y="458"/>
                  <a:pt x="70" y="458"/>
                  <a:pt x="71" y="459"/>
                </a:cubicBezTo>
                <a:cubicBezTo>
                  <a:pt x="71" y="459"/>
                  <a:pt x="72" y="459"/>
                  <a:pt x="72" y="460"/>
                </a:cubicBezTo>
                <a:cubicBezTo>
                  <a:pt x="71" y="460"/>
                  <a:pt x="71" y="460"/>
                  <a:pt x="71" y="460"/>
                </a:cubicBezTo>
                <a:cubicBezTo>
                  <a:pt x="71" y="461"/>
                  <a:pt x="72" y="461"/>
                  <a:pt x="72" y="461"/>
                </a:cubicBezTo>
                <a:cubicBezTo>
                  <a:pt x="74" y="461"/>
                  <a:pt x="74" y="453"/>
                  <a:pt x="73" y="450"/>
                </a:cubicBezTo>
                <a:cubicBezTo>
                  <a:pt x="73" y="450"/>
                  <a:pt x="73" y="451"/>
                  <a:pt x="73" y="450"/>
                </a:cubicBezTo>
                <a:cubicBezTo>
                  <a:pt x="72" y="450"/>
                  <a:pt x="73" y="449"/>
                  <a:pt x="73" y="449"/>
                </a:cubicBezTo>
                <a:cubicBezTo>
                  <a:pt x="73" y="449"/>
                  <a:pt x="73" y="449"/>
                  <a:pt x="73" y="449"/>
                </a:cubicBezTo>
                <a:cubicBezTo>
                  <a:pt x="73" y="449"/>
                  <a:pt x="74" y="448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5"/>
                  <a:pt x="74" y="442"/>
                  <a:pt x="75" y="442"/>
                </a:cubicBezTo>
                <a:cubicBezTo>
                  <a:pt x="78" y="440"/>
                  <a:pt x="73" y="455"/>
                  <a:pt x="78" y="450"/>
                </a:cubicBezTo>
                <a:cubicBezTo>
                  <a:pt x="79" y="450"/>
                  <a:pt x="83" y="445"/>
                  <a:pt x="83" y="445"/>
                </a:cubicBezTo>
                <a:cubicBezTo>
                  <a:pt x="82" y="444"/>
                  <a:pt x="81" y="445"/>
                  <a:pt x="80" y="445"/>
                </a:cubicBezTo>
                <a:cubicBezTo>
                  <a:pt x="78" y="444"/>
                  <a:pt x="79" y="441"/>
                  <a:pt x="80" y="441"/>
                </a:cubicBezTo>
                <a:cubicBezTo>
                  <a:pt x="82" y="440"/>
                  <a:pt x="82" y="442"/>
                  <a:pt x="83" y="442"/>
                </a:cubicBezTo>
                <a:cubicBezTo>
                  <a:pt x="85" y="441"/>
                  <a:pt x="85" y="439"/>
                  <a:pt x="86" y="437"/>
                </a:cubicBezTo>
                <a:cubicBezTo>
                  <a:pt x="86" y="438"/>
                  <a:pt x="85" y="438"/>
                  <a:pt x="85" y="438"/>
                </a:cubicBezTo>
                <a:cubicBezTo>
                  <a:pt x="85" y="437"/>
                  <a:pt x="86" y="437"/>
                  <a:pt x="86" y="437"/>
                </a:cubicBezTo>
                <a:cubicBezTo>
                  <a:pt x="86" y="435"/>
                  <a:pt x="87" y="434"/>
                  <a:pt x="88" y="432"/>
                </a:cubicBezTo>
                <a:cubicBezTo>
                  <a:pt x="90" y="430"/>
                  <a:pt x="91" y="426"/>
                  <a:pt x="91" y="426"/>
                </a:cubicBezTo>
                <a:cubicBezTo>
                  <a:pt x="91" y="426"/>
                  <a:pt x="93" y="428"/>
                  <a:pt x="95" y="428"/>
                </a:cubicBezTo>
                <a:cubicBezTo>
                  <a:pt x="97" y="428"/>
                  <a:pt x="96" y="426"/>
                  <a:pt x="97" y="428"/>
                </a:cubicBezTo>
                <a:cubicBezTo>
                  <a:pt x="97" y="430"/>
                  <a:pt x="98" y="428"/>
                  <a:pt x="98" y="430"/>
                </a:cubicBezTo>
                <a:cubicBezTo>
                  <a:pt x="98" y="432"/>
                  <a:pt x="95" y="437"/>
                  <a:pt x="92" y="435"/>
                </a:cubicBezTo>
                <a:cubicBezTo>
                  <a:pt x="91" y="435"/>
                  <a:pt x="91" y="433"/>
                  <a:pt x="89" y="435"/>
                </a:cubicBezTo>
                <a:cubicBezTo>
                  <a:pt x="89" y="436"/>
                  <a:pt x="90" y="437"/>
                  <a:pt x="89" y="439"/>
                </a:cubicBezTo>
                <a:cubicBezTo>
                  <a:pt x="88" y="441"/>
                  <a:pt x="84" y="445"/>
                  <a:pt x="83" y="448"/>
                </a:cubicBezTo>
                <a:cubicBezTo>
                  <a:pt x="82" y="450"/>
                  <a:pt x="83" y="453"/>
                  <a:pt x="81" y="456"/>
                </a:cubicBezTo>
                <a:cubicBezTo>
                  <a:pt x="80" y="458"/>
                  <a:pt x="75" y="461"/>
                  <a:pt x="75" y="463"/>
                </a:cubicBezTo>
                <a:cubicBezTo>
                  <a:pt x="75" y="463"/>
                  <a:pt x="76" y="464"/>
                  <a:pt x="76" y="464"/>
                </a:cubicBezTo>
                <a:cubicBezTo>
                  <a:pt x="77" y="464"/>
                  <a:pt x="77" y="464"/>
                  <a:pt x="77" y="464"/>
                </a:cubicBezTo>
                <a:cubicBezTo>
                  <a:pt x="77" y="465"/>
                  <a:pt x="77" y="465"/>
                  <a:pt x="77" y="465"/>
                </a:cubicBezTo>
                <a:cubicBezTo>
                  <a:pt x="79" y="466"/>
                  <a:pt x="83" y="467"/>
                  <a:pt x="86" y="467"/>
                </a:cubicBezTo>
                <a:cubicBezTo>
                  <a:pt x="86" y="467"/>
                  <a:pt x="86" y="466"/>
                  <a:pt x="86" y="466"/>
                </a:cubicBezTo>
                <a:cubicBezTo>
                  <a:pt x="86" y="465"/>
                  <a:pt x="86" y="465"/>
                  <a:pt x="86" y="464"/>
                </a:cubicBezTo>
                <a:cubicBezTo>
                  <a:pt x="87" y="460"/>
                  <a:pt x="94" y="456"/>
                  <a:pt x="98" y="458"/>
                </a:cubicBezTo>
                <a:cubicBezTo>
                  <a:pt x="98" y="458"/>
                  <a:pt x="98" y="459"/>
                  <a:pt x="99" y="459"/>
                </a:cubicBezTo>
                <a:cubicBezTo>
                  <a:pt x="99" y="459"/>
                  <a:pt x="99" y="459"/>
                  <a:pt x="99" y="459"/>
                </a:cubicBezTo>
                <a:cubicBezTo>
                  <a:pt x="100" y="458"/>
                  <a:pt x="99" y="459"/>
                  <a:pt x="99" y="459"/>
                </a:cubicBezTo>
                <a:cubicBezTo>
                  <a:pt x="99" y="459"/>
                  <a:pt x="99" y="459"/>
                  <a:pt x="99" y="460"/>
                </a:cubicBezTo>
                <a:cubicBezTo>
                  <a:pt x="100" y="459"/>
                  <a:pt x="101" y="459"/>
                  <a:pt x="101" y="458"/>
                </a:cubicBezTo>
                <a:cubicBezTo>
                  <a:pt x="103" y="459"/>
                  <a:pt x="103" y="456"/>
                  <a:pt x="105" y="456"/>
                </a:cubicBezTo>
                <a:cubicBezTo>
                  <a:pt x="106" y="455"/>
                  <a:pt x="108" y="458"/>
                  <a:pt x="108" y="455"/>
                </a:cubicBezTo>
                <a:cubicBezTo>
                  <a:pt x="108" y="460"/>
                  <a:pt x="116" y="452"/>
                  <a:pt x="116" y="451"/>
                </a:cubicBezTo>
                <a:cubicBezTo>
                  <a:pt x="116" y="451"/>
                  <a:pt x="110" y="450"/>
                  <a:pt x="110" y="450"/>
                </a:cubicBezTo>
                <a:cubicBezTo>
                  <a:pt x="110" y="450"/>
                  <a:pt x="110" y="450"/>
                  <a:pt x="110" y="450"/>
                </a:cubicBezTo>
                <a:cubicBezTo>
                  <a:pt x="110" y="451"/>
                  <a:pt x="110" y="451"/>
                  <a:pt x="110" y="451"/>
                </a:cubicBezTo>
                <a:cubicBezTo>
                  <a:pt x="109" y="451"/>
                  <a:pt x="109" y="452"/>
                  <a:pt x="108" y="451"/>
                </a:cubicBezTo>
                <a:cubicBezTo>
                  <a:pt x="107" y="450"/>
                  <a:pt x="109" y="450"/>
                  <a:pt x="110" y="449"/>
                </a:cubicBezTo>
                <a:cubicBezTo>
                  <a:pt x="110" y="449"/>
                  <a:pt x="110" y="449"/>
                  <a:pt x="109" y="449"/>
                </a:cubicBezTo>
                <a:cubicBezTo>
                  <a:pt x="109" y="449"/>
                  <a:pt x="108" y="448"/>
                  <a:pt x="108" y="447"/>
                </a:cubicBezTo>
                <a:cubicBezTo>
                  <a:pt x="108" y="447"/>
                  <a:pt x="108" y="446"/>
                  <a:pt x="108" y="446"/>
                </a:cubicBezTo>
                <a:cubicBezTo>
                  <a:pt x="108" y="446"/>
                  <a:pt x="108" y="445"/>
                  <a:pt x="108" y="444"/>
                </a:cubicBezTo>
                <a:cubicBezTo>
                  <a:pt x="108" y="444"/>
                  <a:pt x="110" y="441"/>
                  <a:pt x="111" y="441"/>
                </a:cubicBezTo>
                <a:cubicBezTo>
                  <a:pt x="112" y="440"/>
                  <a:pt x="114" y="435"/>
                  <a:pt x="115" y="436"/>
                </a:cubicBezTo>
                <a:cubicBezTo>
                  <a:pt x="116" y="436"/>
                  <a:pt x="114" y="438"/>
                  <a:pt x="115" y="439"/>
                </a:cubicBezTo>
                <a:cubicBezTo>
                  <a:pt x="115" y="440"/>
                  <a:pt x="117" y="439"/>
                  <a:pt x="118" y="439"/>
                </a:cubicBezTo>
                <a:cubicBezTo>
                  <a:pt x="119" y="439"/>
                  <a:pt x="118" y="441"/>
                  <a:pt x="119" y="442"/>
                </a:cubicBezTo>
                <a:cubicBezTo>
                  <a:pt x="119" y="441"/>
                  <a:pt x="121" y="440"/>
                  <a:pt x="122" y="442"/>
                </a:cubicBezTo>
                <a:cubicBezTo>
                  <a:pt x="122" y="444"/>
                  <a:pt x="120" y="443"/>
                  <a:pt x="120" y="444"/>
                </a:cubicBezTo>
                <a:cubicBezTo>
                  <a:pt x="119" y="444"/>
                  <a:pt x="120" y="445"/>
                  <a:pt x="120" y="445"/>
                </a:cubicBezTo>
                <a:cubicBezTo>
                  <a:pt x="121" y="446"/>
                  <a:pt x="119" y="447"/>
                  <a:pt x="118" y="448"/>
                </a:cubicBezTo>
                <a:cubicBezTo>
                  <a:pt x="118" y="449"/>
                  <a:pt x="119" y="450"/>
                  <a:pt x="119" y="450"/>
                </a:cubicBezTo>
                <a:cubicBezTo>
                  <a:pt x="117" y="453"/>
                  <a:pt x="112" y="455"/>
                  <a:pt x="113" y="460"/>
                </a:cubicBezTo>
                <a:cubicBezTo>
                  <a:pt x="113" y="461"/>
                  <a:pt x="114" y="460"/>
                  <a:pt x="115" y="460"/>
                </a:cubicBezTo>
                <a:cubicBezTo>
                  <a:pt x="114" y="463"/>
                  <a:pt x="112" y="471"/>
                  <a:pt x="107" y="472"/>
                </a:cubicBezTo>
                <a:cubicBezTo>
                  <a:pt x="106" y="472"/>
                  <a:pt x="104" y="471"/>
                  <a:pt x="103" y="471"/>
                </a:cubicBezTo>
                <a:cubicBezTo>
                  <a:pt x="102" y="471"/>
                  <a:pt x="102" y="470"/>
                  <a:pt x="101" y="469"/>
                </a:cubicBezTo>
                <a:cubicBezTo>
                  <a:pt x="101" y="469"/>
                  <a:pt x="100" y="469"/>
                  <a:pt x="100" y="468"/>
                </a:cubicBezTo>
                <a:cubicBezTo>
                  <a:pt x="100" y="468"/>
                  <a:pt x="100" y="468"/>
                  <a:pt x="100" y="468"/>
                </a:cubicBezTo>
                <a:cubicBezTo>
                  <a:pt x="100" y="468"/>
                  <a:pt x="100" y="467"/>
                  <a:pt x="99" y="467"/>
                </a:cubicBezTo>
                <a:cubicBezTo>
                  <a:pt x="98" y="468"/>
                  <a:pt x="96" y="470"/>
                  <a:pt x="95" y="470"/>
                </a:cubicBezTo>
                <a:cubicBezTo>
                  <a:pt x="96" y="472"/>
                  <a:pt x="98" y="470"/>
                  <a:pt x="99" y="470"/>
                </a:cubicBezTo>
                <a:cubicBezTo>
                  <a:pt x="98" y="471"/>
                  <a:pt x="98" y="471"/>
                  <a:pt x="98" y="472"/>
                </a:cubicBezTo>
                <a:cubicBezTo>
                  <a:pt x="99" y="472"/>
                  <a:pt x="100" y="472"/>
                  <a:pt x="100" y="472"/>
                </a:cubicBezTo>
                <a:cubicBezTo>
                  <a:pt x="101" y="473"/>
                  <a:pt x="99" y="473"/>
                  <a:pt x="99" y="473"/>
                </a:cubicBezTo>
                <a:cubicBezTo>
                  <a:pt x="98" y="475"/>
                  <a:pt x="100" y="474"/>
                  <a:pt x="99" y="476"/>
                </a:cubicBezTo>
                <a:cubicBezTo>
                  <a:pt x="98" y="478"/>
                  <a:pt x="95" y="477"/>
                  <a:pt x="94" y="478"/>
                </a:cubicBezTo>
                <a:cubicBezTo>
                  <a:pt x="94" y="478"/>
                  <a:pt x="94" y="478"/>
                  <a:pt x="94" y="479"/>
                </a:cubicBezTo>
                <a:cubicBezTo>
                  <a:pt x="95" y="479"/>
                  <a:pt x="95" y="479"/>
                  <a:pt x="96" y="479"/>
                </a:cubicBezTo>
                <a:cubicBezTo>
                  <a:pt x="96" y="480"/>
                  <a:pt x="94" y="481"/>
                  <a:pt x="95" y="483"/>
                </a:cubicBezTo>
                <a:cubicBezTo>
                  <a:pt x="95" y="483"/>
                  <a:pt x="96" y="483"/>
                  <a:pt x="96" y="483"/>
                </a:cubicBezTo>
                <a:cubicBezTo>
                  <a:pt x="96" y="483"/>
                  <a:pt x="97" y="487"/>
                  <a:pt x="97" y="487"/>
                </a:cubicBezTo>
                <a:cubicBezTo>
                  <a:pt x="96" y="489"/>
                  <a:pt x="94" y="487"/>
                  <a:pt x="92" y="488"/>
                </a:cubicBezTo>
                <a:cubicBezTo>
                  <a:pt x="93" y="488"/>
                  <a:pt x="90" y="490"/>
                  <a:pt x="90" y="490"/>
                </a:cubicBezTo>
                <a:cubicBezTo>
                  <a:pt x="90" y="491"/>
                  <a:pt x="91" y="491"/>
                  <a:pt x="91" y="492"/>
                </a:cubicBezTo>
                <a:cubicBezTo>
                  <a:pt x="90" y="495"/>
                  <a:pt x="89" y="494"/>
                  <a:pt x="89" y="497"/>
                </a:cubicBezTo>
                <a:cubicBezTo>
                  <a:pt x="89" y="498"/>
                  <a:pt x="86" y="502"/>
                  <a:pt x="84" y="502"/>
                </a:cubicBezTo>
                <a:cubicBezTo>
                  <a:pt x="80" y="502"/>
                  <a:pt x="82" y="494"/>
                  <a:pt x="76" y="496"/>
                </a:cubicBezTo>
                <a:cubicBezTo>
                  <a:pt x="75" y="491"/>
                  <a:pt x="70" y="501"/>
                  <a:pt x="69" y="501"/>
                </a:cubicBezTo>
                <a:cubicBezTo>
                  <a:pt x="69" y="501"/>
                  <a:pt x="69" y="501"/>
                  <a:pt x="69" y="501"/>
                </a:cubicBezTo>
                <a:cubicBezTo>
                  <a:pt x="69" y="501"/>
                  <a:pt x="69" y="502"/>
                  <a:pt x="68" y="501"/>
                </a:cubicBezTo>
                <a:cubicBezTo>
                  <a:pt x="68" y="501"/>
                  <a:pt x="68" y="501"/>
                  <a:pt x="68" y="501"/>
                </a:cubicBezTo>
                <a:cubicBezTo>
                  <a:pt x="68" y="500"/>
                  <a:pt x="69" y="500"/>
                  <a:pt x="69" y="501"/>
                </a:cubicBezTo>
                <a:cubicBezTo>
                  <a:pt x="69" y="499"/>
                  <a:pt x="73" y="494"/>
                  <a:pt x="68" y="496"/>
                </a:cubicBezTo>
                <a:cubicBezTo>
                  <a:pt x="67" y="497"/>
                  <a:pt x="69" y="499"/>
                  <a:pt x="68" y="500"/>
                </a:cubicBezTo>
                <a:cubicBezTo>
                  <a:pt x="67" y="501"/>
                  <a:pt x="64" y="500"/>
                  <a:pt x="62" y="500"/>
                </a:cubicBezTo>
                <a:cubicBezTo>
                  <a:pt x="62" y="500"/>
                  <a:pt x="61" y="504"/>
                  <a:pt x="61" y="505"/>
                </a:cubicBezTo>
                <a:cubicBezTo>
                  <a:pt x="62" y="506"/>
                  <a:pt x="63" y="506"/>
                  <a:pt x="62" y="508"/>
                </a:cubicBezTo>
                <a:cubicBezTo>
                  <a:pt x="62" y="508"/>
                  <a:pt x="62" y="507"/>
                  <a:pt x="63" y="507"/>
                </a:cubicBezTo>
                <a:cubicBezTo>
                  <a:pt x="62" y="508"/>
                  <a:pt x="62" y="509"/>
                  <a:pt x="65" y="508"/>
                </a:cubicBezTo>
                <a:cubicBezTo>
                  <a:pt x="63" y="511"/>
                  <a:pt x="60" y="511"/>
                  <a:pt x="61" y="514"/>
                </a:cubicBezTo>
                <a:cubicBezTo>
                  <a:pt x="61" y="514"/>
                  <a:pt x="67" y="516"/>
                  <a:pt x="66" y="517"/>
                </a:cubicBezTo>
                <a:cubicBezTo>
                  <a:pt x="70" y="515"/>
                  <a:pt x="64" y="513"/>
                  <a:pt x="65" y="510"/>
                </a:cubicBezTo>
                <a:cubicBezTo>
                  <a:pt x="66" y="507"/>
                  <a:pt x="68" y="514"/>
                  <a:pt x="69" y="514"/>
                </a:cubicBezTo>
                <a:cubicBezTo>
                  <a:pt x="70" y="515"/>
                  <a:pt x="69" y="514"/>
                  <a:pt x="70" y="514"/>
                </a:cubicBezTo>
                <a:cubicBezTo>
                  <a:pt x="72" y="513"/>
                  <a:pt x="73" y="516"/>
                  <a:pt x="74" y="514"/>
                </a:cubicBezTo>
                <a:cubicBezTo>
                  <a:pt x="74" y="514"/>
                  <a:pt x="71" y="514"/>
                  <a:pt x="72" y="512"/>
                </a:cubicBezTo>
                <a:cubicBezTo>
                  <a:pt x="73" y="511"/>
                  <a:pt x="75" y="513"/>
                  <a:pt x="75" y="513"/>
                </a:cubicBezTo>
                <a:cubicBezTo>
                  <a:pt x="76" y="513"/>
                  <a:pt x="77" y="513"/>
                  <a:pt x="78" y="514"/>
                </a:cubicBezTo>
                <a:cubicBezTo>
                  <a:pt x="78" y="513"/>
                  <a:pt x="78" y="513"/>
                  <a:pt x="78" y="513"/>
                </a:cubicBezTo>
                <a:cubicBezTo>
                  <a:pt x="78" y="513"/>
                  <a:pt x="78" y="514"/>
                  <a:pt x="78" y="515"/>
                </a:cubicBezTo>
                <a:cubicBezTo>
                  <a:pt x="78" y="517"/>
                  <a:pt x="78" y="519"/>
                  <a:pt x="78" y="520"/>
                </a:cubicBezTo>
                <a:cubicBezTo>
                  <a:pt x="78" y="520"/>
                  <a:pt x="78" y="520"/>
                  <a:pt x="78" y="520"/>
                </a:cubicBezTo>
                <a:cubicBezTo>
                  <a:pt x="79" y="520"/>
                  <a:pt x="78" y="519"/>
                  <a:pt x="79" y="519"/>
                </a:cubicBezTo>
                <a:cubicBezTo>
                  <a:pt x="80" y="520"/>
                  <a:pt x="80" y="520"/>
                  <a:pt x="81" y="520"/>
                </a:cubicBezTo>
                <a:cubicBezTo>
                  <a:pt x="81" y="518"/>
                  <a:pt x="82" y="515"/>
                  <a:pt x="82" y="515"/>
                </a:cubicBezTo>
                <a:cubicBezTo>
                  <a:pt x="84" y="514"/>
                  <a:pt x="85" y="516"/>
                  <a:pt x="86" y="514"/>
                </a:cubicBezTo>
                <a:cubicBezTo>
                  <a:pt x="86" y="513"/>
                  <a:pt x="84" y="512"/>
                  <a:pt x="84" y="511"/>
                </a:cubicBezTo>
                <a:cubicBezTo>
                  <a:pt x="84" y="511"/>
                  <a:pt x="83" y="509"/>
                  <a:pt x="84" y="509"/>
                </a:cubicBezTo>
                <a:cubicBezTo>
                  <a:pt x="82" y="509"/>
                  <a:pt x="80" y="511"/>
                  <a:pt x="80" y="510"/>
                </a:cubicBezTo>
                <a:cubicBezTo>
                  <a:pt x="79" y="510"/>
                  <a:pt x="80" y="508"/>
                  <a:pt x="81" y="507"/>
                </a:cubicBezTo>
                <a:cubicBezTo>
                  <a:pt x="82" y="510"/>
                  <a:pt x="84" y="506"/>
                  <a:pt x="85" y="505"/>
                </a:cubicBezTo>
                <a:cubicBezTo>
                  <a:pt x="86" y="504"/>
                  <a:pt x="89" y="504"/>
                  <a:pt x="89" y="504"/>
                </a:cubicBezTo>
                <a:cubicBezTo>
                  <a:pt x="90" y="503"/>
                  <a:pt x="88" y="501"/>
                  <a:pt x="90" y="501"/>
                </a:cubicBezTo>
                <a:cubicBezTo>
                  <a:pt x="91" y="501"/>
                  <a:pt x="90" y="502"/>
                  <a:pt x="90" y="502"/>
                </a:cubicBezTo>
                <a:cubicBezTo>
                  <a:pt x="91" y="503"/>
                  <a:pt x="93" y="501"/>
                  <a:pt x="94" y="502"/>
                </a:cubicBezTo>
                <a:cubicBezTo>
                  <a:pt x="95" y="502"/>
                  <a:pt x="94" y="504"/>
                  <a:pt x="94" y="505"/>
                </a:cubicBezTo>
                <a:cubicBezTo>
                  <a:pt x="94" y="506"/>
                  <a:pt x="94" y="507"/>
                  <a:pt x="94" y="508"/>
                </a:cubicBezTo>
                <a:cubicBezTo>
                  <a:pt x="97" y="507"/>
                  <a:pt x="101" y="507"/>
                  <a:pt x="102" y="508"/>
                </a:cubicBezTo>
                <a:cubicBezTo>
                  <a:pt x="103" y="509"/>
                  <a:pt x="101" y="511"/>
                  <a:pt x="104" y="510"/>
                </a:cubicBezTo>
                <a:cubicBezTo>
                  <a:pt x="102" y="512"/>
                  <a:pt x="106" y="513"/>
                  <a:pt x="106" y="514"/>
                </a:cubicBezTo>
                <a:cubicBezTo>
                  <a:pt x="106" y="515"/>
                  <a:pt x="104" y="516"/>
                  <a:pt x="104" y="516"/>
                </a:cubicBezTo>
                <a:cubicBezTo>
                  <a:pt x="104" y="516"/>
                  <a:pt x="105" y="517"/>
                  <a:pt x="104" y="518"/>
                </a:cubicBezTo>
                <a:cubicBezTo>
                  <a:pt x="104" y="518"/>
                  <a:pt x="104" y="518"/>
                  <a:pt x="104" y="518"/>
                </a:cubicBezTo>
                <a:cubicBezTo>
                  <a:pt x="105" y="519"/>
                  <a:pt x="106" y="520"/>
                  <a:pt x="106" y="522"/>
                </a:cubicBezTo>
                <a:cubicBezTo>
                  <a:pt x="106" y="522"/>
                  <a:pt x="107" y="522"/>
                  <a:pt x="107" y="522"/>
                </a:cubicBezTo>
                <a:cubicBezTo>
                  <a:pt x="107" y="521"/>
                  <a:pt x="106" y="521"/>
                  <a:pt x="106" y="520"/>
                </a:cubicBezTo>
                <a:cubicBezTo>
                  <a:pt x="106" y="519"/>
                  <a:pt x="107" y="518"/>
                  <a:pt x="108" y="518"/>
                </a:cubicBezTo>
                <a:cubicBezTo>
                  <a:pt x="108" y="517"/>
                  <a:pt x="108" y="517"/>
                  <a:pt x="109" y="516"/>
                </a:cubicBezTo>
                <a:cubicBezTo>
                  <a:pt x="109" y="516"/>
                  <a:pt x="108" y="516"/>
                  <a:pt x="108" y="516"/>
                </a:cubicBezTo>
                <a:cubicBezTo>
                  <a:pt x="108" y="515"/>
                  <a:pt x="109" y="515"/>
                  <a:pt x="109" y="515"/>
                </a:cubicBezTo>
                <a:cubicBezTo>
                  <a:pt x="111" y="514"/>
                  <a:pt x="112" y="513"/>
                  <a:pt x="113" y="512"/>
                </a:cubicBezTo>
                <a:cubicBezTo>
                  <a:pt x="112" y="514"/>
                  <a:pt x="115" y="514"/>
                  <a:pt x="115" y="514"/>
                </a:cubicBezTo>
                <a:cubicBezTo>
                  <a:pt x="115" y="514"/>
                  <a:pt x="116" y="514"/>
                  <a:pt x="116" y="514"/>
                </a:cubicBezTo>
                <a:cubicBezTo>
                  <a:pt x="116" y="514"/>
                  <a:pt x="116" y="514"/>
                  <a:pt x="116" y="514"/>
                </a:cubicBezTo>
                <a:cubicBezTo>
                  <a:pt x="115" y="514"/>
                  <a:pt x="115" y="513"/>
                  <a:pt x="115" y="513"/>
                </a:cubicBezTo>
                <a:cubicBezTo>
                  <a:pt x="114" y="512"/>
                  <a:pt x="115" y="508"/>
                  <a:pt x="115" y="507"/>
                </a:cubicBezTo>
                <a:cubicBezTo>
                  <a:pt x="116" y="507"/>
                  <a:pt x="116" y="508"/>
                  <a:pt x="117" y="508"/>
                </a:cubicBezTo>
                <a:cubicBezTo>
                  <a:pt x="118" y="507"/>
                  <a:pt x="120" y="504"/>
                  <a:pt x="123" y="505"/>
                </a:cubicBezTo>
                <a:cubicBezTo>
                  <a:pt x="122" y="507"/>
                  <a:pt x="120" y="506"/>
                  <a:pt x="120" y="507"/>
                </a:cubicBezTo>
                <a:cubicBezTo>
                  <a:pt x="119" y="508"/>
                  <a:pt x="121" y="508"/>
                  <a:pt x="121" y="508"/>
                </a:cubicBezTo>
                <a:cubicBezTo>
                  <a:pt x="122" y="510"/>
                  <a:pt x="120" y="514"/>
                  <a:pt x="117" y="514"/>
                </a:cubicBezTo>
                <a:cubicBezTo>
                  <a:pt x="117" y="515"/>
                  <a:pt x="117" y="516"/>
                  <a:pt x="116" y="517"/>
                </a:cubicBezTo>
                <a:cubicBezTo>
                  <a:pt x="117" y="517"/>
                  <a:pt x="117" y="517"/>
                  <a:pt x="117" y="517"/>
                </a:cubicBezTo>
                <a:cubicBezTo>
                  <a:pt x="118" y="515"/>
                  <a:pt x="121" y="515"/>
                  <a:pt x="122" y="513"/>
                </a:cubicBezTo>
                <a:cubicBezTo>
                  <a:pt x="122" y="512"/>
                  <a:pt x="122" y="511"/>
                  <a:pt x="122" y="510"/>
                </a:cubicBezTo>
                <a:cubicBezTo>
                  <a:pt x="122" y="510"/>
                  <a:pt x="123" y="509"/>
                  <a:pt x="123" y="508"/>
                </a:cubicBezTo>
                <a:cubicBezTo>
                  <a:pt x="123" y="507"/>
                  <a:pt x="122" y="508"/>
                  <a:pt x="122" y="507"/>
                </a:cubicBezTo>
                <a:cubicBezTo>
                  <a:pt x="123" y="506"/>
                  <a:pt x="124" y="505"/>
                  <a:pt x="124" y="506"/>
                </a:cubicBezTo>
                <a:cubicBezTo>
                  <a:pt x="125" y="506"/>
                  <a:pt x="124" y="508"/>
                  <a:pt x="125" y="510"/>
                </a:cubicBezTo>
                <a:cubicBezTo>
                  <a:pt x="125" y="510"/>
                  <a:pt x="127" y="510"/>
                  <a:pt x="128" y="510"/>
                </a:cubicBezTo>
                <a:cubicBezTo>
                  <a:pt x="129" y="511"/>
                  <a:pt x="129" y="513"/>
                  <a:pt x="132" y="511"/>
                </a:cubicBezTo>
                <a:cubicBezTo>
                  <a:pt x="129" y="514"/>
                  <a:pt x="133" y="512"/>
                  <a:pt x="134" y="513"/>
                </a:cubicBezTo>
                <a:cubicBezTo>
                  <a:pt x="133" y="513"/>
                  <a:pt x="134" y="519"/>
                  <a:pt x="134" y="520"/>
                </a:cubicBezTo>
                <a:cubicBezTo>
                  <a:pt x="134" y="521"/>
                  <a:pt x="132" y="523"/>
                  <a:pt x="132" y="525"/>
                </a:cubicBezTo>
                <a:cubicBezTo>
                  <a:pt x="132" y="525"/>
                  <a:pt x="133" y="524"/>
                  <a:pt x="133" y="524"/>
                </a:cubicBezTo>
                <a:cubicBezTo>
                  <a:pt x="133" y="525"/>
                  <a:pt x="133" y="525"/>
                  <a:pt x="132" y="526"/>
                </a:cubicBezTo>
                <a:cubicBezTo>
                  <a:pt x="132" y="526"/>
                  <a:pt x="132" y="526"/>
                  <a:pt x="132" y="527"/>
                </a:cubicBezTo>
                <a:cubicBezTo>
                  <a:pt x="133" y="526"/>
                  <a:pt x="133" y="526"/>
                  <a:pt x="133" y="526"/>
                </a:cubicBezTo>
                <a:cubicBezTo>
                  <a:pt x="133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6" y="524"/>
                  <a:pt x="142" y="524"/>
                  <a:pt x="145" y="524"/>
                </a:cubicBezTo>
                <a:cubicBezTo>
                  <a:pt x="145" y="523"/>
                  <a:pt x="146" y="522"/>
                  <a:pt x="146" y="522"/>
                </a:cubicBezTo>
                <a:cubicBezTo>
                  <a:pt x="147" y="522"/>
                  <a:pt x="147" y="523"/>
                  <a:pt x="147" y="524"/>
                </a:cubicBezTo>
                <a:cubicBezTo>
                  <a:pt x="147" y="524"/>
                  <a:pt x="148" y="524"/>
                  <a:pt x="148" y="525"/>
                </a:cubicBezTo>
                <a:cubicBezTo>
                  <a:pt x="148" y="526"/>
                  <a:pt x="147" y="526"/>
                  <a:pt x="145" y="527"/>
                </a:cubicBezTo>
                <a:cubicBezTo>
                  <a:pt x="146" y="527"/>
                  <a:pt x="146" y="527"/>
                  <a:pt x="146" y="527"/>
                </a:cubicBezTo>
                <a:cubicBezTo>
                  <a:pt x="146" y="529"/>
                  <a:pt x="146" y="530"/>
                  <a:pt x="145" y="530"/>
                </a:cubicBezTo>
                <a:cubicBezTo>
                  <a:pt x="145" y="531"/>
                  <a:pt x="145" y="532"/>
                  <a:pt x="144" y="533"/>
                </a:cubicBezTo>
                <a:cubicBezTo>
                  <a:pt x="144" y="533"/>
                  <a:pt x="143" y="533"/>
                  <a:pt x="142" y="533"/>
                </a:cubicBezTo>
                <a:cubicBezTo>
                  <a:pt x="142" y="534"/>
                  <a:pt x="143" y="534"/>
                  <a:pt x="144" y="533"/>
                </a:cubicBezTo>
                <a:cubicBezTo>
                  <a:pt x="145" y="533"/>
                  <a:pt x="147" y="530"/>
                  <a:pt x="147" y="530"/>
                </a:cubicBezTo>
                <a:cubicBezTo>
                  <a:pt x="148" y="530"/>
                  <a:pt x="148" y="529"/>
                  <a:pt x="147" y="529"/>
                </a:cubicBezTo>
                <a:cubicBezTo>
                  <a:pt x="151" y="528"/>
                  <a:pt x="150" y="537"/>
                  <a:pt x="148" y="535"/>
                </a:cubicBezTo>
                <a:cubicBezTo>
                  <a:pt x="148" y="535"/>
                  <a:pt x="147" y="533"/>
                  <a:pt x="147" y="533"/>
                </a:cubicBezTo>
                <a:cubicBezTo>
                  <a:pt x="146" y="533"/>
                  <a:pt x="143" y="537"/>
                  <a:pt x="141" y="538"/>
                </a:cubicBezTo>
                <a:cubicBezTo>
                  <a:pt x="140" y="538"/>
                  <a:pt x="140" y="538"/>
                  <a:pt x="139" y="539"/>
                </a:cubicBezTo>
                <a:cubicBezTo>
                  <a:pt x="140" y="540"/>
                  <a:pt x="141" y="541"/>
                  <a:pt x="140" y="542"/>
                </a:cubicBezTo>
                <a:cubicBezTo>
                  <a:pt x="140" y="542"/>
                  <a:pt x="139" y="543"/>
                  <a:pt x="139" y="543"/>
                </a:cubicBezTo>
                <a:cubicBezTo>
                  <a:pt x="139" y="543"/>
                  <a:pt x="138" y="546"/>
                  <a:pt x="138" y="547"/>
                </a:cubicBezTo>
                <a:cubicBezTo>
                  <a:pt x="138" y="547"/>
                  <a:pt x="140" y="546"/>
                  <a:pt x="139" y="546"/>
                </a:cubicBezTo>
                <a:cubicBezTo>
                  <a:pt x="139" y="546"/>
                  <a:pt x="141" y="548"/>
                  <a:pt x="140" y="549"/>
                </a:cubicBezTo>
                <a:cubicBezTo>
                  <a:pt x="140" y="549"/>
                  <a:pt x="140" y="549"/>
                  <a:pt x="139" y="549"/>
                </a:cubicBezTo>
                <a:cubicBezTo>
                  <a:pt x="140" y="549"/>
                  <a:pt x="140" y="550"/>
                  <a:pt x="141" y="550"/>
                </a:cubicBezTo>
                <a:cubicBezTo>
                  <a:pt x="141" y="549"/>
                  <a:pt x="141" y="548"/>
                  <a:pt x="142" y="548"/>
                </a:cubicBezTo>
                <a:cubicBezTo>
                  <a:pt x="141" y="548"/>
                  <a:pt x="141" y="548"/>
                  <a:pt x="140" y="548"/>
                </a:cubicBezTo>
                <a:cubicBezTo>
                  <a:pt x="140" y="547"/>
                  <a:pt x="140" y="547"/>
                  <a:pt x="141" y="547"/>
                </a:cubicBezTo>
                <a:cubicBezTo>
                  <a:pt x="141" y="546"/>
                  <a:pt x="142" y="544"/>
                  <a:pt x="142" y="546"/>
                </a:cubicBezTo>
                <a:cubicBezTo>
                  <a:pt x="143" y="546"/>
                  <a:pt x="142" y="546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3" y="546"/>
                  <a:pt x="144" y="546"/>
                  <a:pt x="145" y="548"/>
                </a:cubicBezTo>
                <a:cubicBezTo>
                  <a:pt x="146" y="549"/>
                  <a:pt x="145" y="550"/>
                  <a:pt x="145" y="551"/>
                </a:cubicBezTo>
                <a:cubicBezTo>
                  <a:pt x="145" y="551"/>
                  <a:pt x="145" y="551"/>
                  <a:pt x="145" y="551"/>
                </a:cubicBezTo>
                <a:cubicBezTo>
                  <a:pt x="147" y="551"/>
                  <a:pt x="145" y="551"/>
                  <a:pt x="146" y="552"/>
                </a:cubicBezTo>
                <a:cubicBezTo>
                  <a:pt x="146" y="552"/>
                  <a:pt x="146" y="552"/>
                  <a:pt x="147" y="552"/>
                </a:cubicBezTo>
                <a:cubicBezTo>
                  <a:pt x="147" y="552"/>
                  <a:pt x="147" y="552"/>
                  <a:pt x="147" y="552"/>
                </a:cubicBezTo>
                <a:cubicBezTo>
                  <a:pt x="147" y="551"/>
                  <a:pt x="148" y="551"/>
                  <a:pt x="148" y="551"/>
                </a:cubicBezTo>
                <a:cubicBezTo>
                  <a:pt x="151" y="552"/>
                  <a:pt x="148" y="556"/>
                  <a:pt x="149" y="558"/>
                </a:cubicBezTo>
                <a:cubicBezTo>
                  <a:pt x="150" y="558"/>
                  <a:pt x="152" y="558"/>
                  <a:pt x="152" y="557"/>
                </a:cubicBezTo>
                <a:cubicBezTo>
                  <a:pt x="153" y="557"/>
                  <a:pt x="153" y="556"/>
                  <a:pt x="154" y="555"/>
                </a:cubicBezTo>
                <a:cubicBezTo>
                  <a:pt x="152" y="554"/>
                  <a:pt x="152" y="553"/>
                  <a:pt x="152" y="551"/>
                </a:cubicBezTo>
                <a:cubicBezTo>
                  <a:pt x="154" y="547"/>
                  <a:pt x="159" y="548"/>
                  <a:pt x="160" y="551"/>
                </a:cubicBezTo>
                <a:cubicBezTo>
                  <a:pt x="161" y="551"/>
                  <a:pt x="161" y="551"/>
                  <a:pt x="162" y="550"/>
                </a:cubicBezTo>
                <a:cubicBezTo>
                  <a:pt x="161" y="550"/>
                  <a:pt x="161" y="551"/>
                  <a:pt x="161" y="551"/>
                </a:cubicBezTo>
                <a:cubicBezTo>
                  <a:pt x="163" y="550"/>
                  <a:pt x="165" y="549"/>
                  <a:pt x="167" y="550"/>
                </a:cubicBezTo>
                <a:cubicBezTo>
                  <a:pt x="169" y="549"/>
                  <a:pt x="170" y="549"/>
                  <a:pt x="170" y="549"/>
                </a:cubicBezTo>
                <a:cubicBezTo>
                  <a:pt x="171" y="550"/>
                  <a:pt x="170" y="550"/>
                  <a:pt x="168" y="551"/>
                </a:cubicBezTo>
                <a:cubicBezTo>
                  <a:pt x="168" y="551"/>
                  <a:pt x="169" y="551"/>
                  <a:pt x="169" y="551"/>
                </a:cubicBezTo>
                <a:cubicBezTo>
                  <a:pt x="169" y="552"/>
                  <a:pt x="169" y="553"/>
                  <a:pt x="169" y="554"/>
                </a:cubicBezTo>
                <a:cubicBezTo>
                  <a:pt x="171" y="554"/>
                  <a:pt x="172" y="555"/>
                  <a:pt x="171" y="557"/>
                </a:cubicBezTo>
                <a:cubicBezTo>
                  <a:pt x="170" y="559"/>
                  <a:pt x="171" y="560"/>
                  <a:pt x="171" y="561"/>
                </a:cubicBezTo>
                <a:cubicBezTo>
                  <a:pt x="171" y="561"/>
                  <a:pt x="170" y="562"/>
                  <a:pt x="170" y="563"/>
                </a:cubicBezTo>
                <a:cubicBezTo>
                  <a:pt x="172" y="561"/>
                  <a:pt x="173" y="559"/>
                  <a:pt x="175" y="558"/>
                </a:cubicBezTo>
                <a:cubicBezTo>
                  <a:pt x="173" y="556"/>
                  <a:pt x="171" y="554"/>
                  <a:pt x="175" y="552"/>
                </a:cubicBezTo>
                <a:cubicBezTo>
                  <a:pt x="175" y="551"/>
                  <a:pt x="176" y="551"/>
                  <a:pt x="177" y="551"/>
                </a:cubicBezTo>
                <a:cubicBezTo>
                  <a:pt x="175" y="551"/>
                  <a:pt x="176" y="547"/>
                  <a:pt x="178" y="548"/>
                </a:cubicBezTo>
                <a:cubicBezTo>
                  <a:pt x="179" y="549"/>
                  <a:pt x="178" y="550"/>
                  <a:pt x="178" y="550"/>
                </a:cubicBezTo>
                <a:cubicBezTo>
                  <a:pt x="177" y="551"/>
                  <a:pt x="177" y="551"/>
                  <a:pt x="177" y="551"/>
                </a:cubicBezTo>
                <a:cubicBezTo>
                  <a:pt x="179" y="551"/>
                  <a:pt x="181" y="550"/>
                  <a:pt x="182" y="550"/>
                </a:cubicBezTo>
                <a:cubicBezTo>
                  <a:pt x="184" y="548"/>
                  <a:pt x="183" y="547"/>
                  <a:pt x="185" y="549"/>
                </a:cubicBezTo>
                <a:cubicBezTo>
                  <a:pt x="186" y="549"/>
                  <a:pt x="186" y="550"/>
                  <a:pt x="188" y="549"/>
                </a:cubicBezTo>
                <a:cubicBezTo>
                  <a:pt x="188" y="549"/>
                  <a:pt x="191" y="545"/>
                  <a:pt x="191" y="548"/>
                </a:cubicBezTo>
                <a:cubicBezTo>
                  <a:pt x="191" y="549"/>
                  <a:pt x="189" y="549"/>
                  <a:pt x="189" y="549"/>
                </a:cubicBezTo>
                <a:cubicBezTo>
                  <a:pt x="190" y="550"/>
                  <a:pt x="194" y="550"/>
                  <a:pt x="194" y="550"/>
                </a:cubicBezTo>
                <a:cubicBezTo>
                  <a:pt x="194" y="551"/>
                  <a:pt x="190" y="553"/>
                  <a:pt x="192" y="555"/>
                </a:cubicBezTo>
                <a:cubicBezTo>
                  <a:pt x="193" y="555"/>
                  <a:pt x="194" y="555"/>
                  <a:pt x="194" y="555"/>
                </a:cubicBezTo>
                <a:cubicBezTo>
                  <a:pt x="194" y="555"/>
                  <a:pt x="193" y="556"/>
                  <a:pt x="193" y="556"/>
                </a:cubicBezTo>
                <a:cubicBezTo>
                  <a:pt x="192" y="558"/>
                  <a:pt x="192" y="558"/>
                  <a:pt x="193" y="558"/>
                </a:cubicBezTo>
                <a:cubicBezTo>
                  <a:pt x="194" y="558"/>
                  <a:pt x="195" y="558"/>
                  <a:pt x="196" y="559"/>
                </a:cubicBezTo>
                <a:cubicBezTo>
                  <a:pt x="196" y="560"/>
                  <a:pt x="195" y="560"/>
                  <a:pt x="194" y="560"/>
                </a:cubicBezTo>
                <a:cubicBezTo>
                  <a:pt x="194" y="561"/>
                  <a:pt x="194" y="561"/>
                  <a:pt x="194" y="561"/>
                </a:cubicBezTo>
                <a:cubicBezTo>
                  <a:pt x="194" y="562"/>
                  <a:pt x="196" y="561"/>
                  <a:pt x="196" y="562"/>
                </a:cubicBezTo>
                <a:cubicBezTo>
                  <a:pt x="197" y="563"/>
                  <a:pt x="195" y="565"/>
                  <a:pt x="195" y="566"/>
                </a:cubicBezTo>
                <a:cubicBezTo>
                  <a:pt x="197" y="568"/>
                  <a:pt x="199" y="565"/>
                  <a:pt x="201" y="566"/>
                </a:cubicBezTo>
                <a:cubicBezTo>
                  <a:pt x="201" y="566"/>
                  <a:pt x="203" y="568"/>
                  <a:pt x="205" y="566"/>
                </a:cubicBezTo>
                <a:cubicBezTo>
                  <a:pt x="206" y="565"/>
                  <a:pt x="204" y="563"/>
                  <a:pt x="208" y="562"/>
                </a:cubicBezTo>
                <a:cubicBezTo>
                  <a:pt x="209" y="561"/>
                  <a:pt x="214" y="560"/>
                  <a:pt x="214" y="562"/>
                </a:cubicBezTo>
                <a:cubicBezTo>
                  <a:pt x="214" y="563"/>
                  <a:pt x="213" y="562"/>
                  <a:pt x="212" y="563"/>
                </a:cubicBezTo>
                <a:cubicBezTo>
                  <a:pt x="211" y="563"/>
                  <a:pt x="213" y="566"/>
                  <a:pt x="213" y="566"/>
                </a:cubicBezTo>
                <a:cubicBezTo>
                  <a:pt x="212" y="567"/>
                  <a:pt x="210" y="567"/>
                  <a:pt x="210" y="568"/>
                </a:cubicBezTo>
                <a:cubicBezTo>
                  <a:pt x="210" y="568"/>
                  <a:pt x="210" y="568"/>
                  <a:pt x="210" y="568"/>
                </a:cubicBezTo>
                <a:cubicBezTo>
                  <a:pt x="210" y="569"/>
                  <a:pt x="210" y="569"/>
                  <a:pt x="210" y="569"/>
                </a:cubicBezTo>
                <a:cubicBezTo>
                  <a:pt x="210" y="570"/>
                  <a:pt x="211" y="572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10" y="574"/>
                  <a:pt x="210" y="575"/>
                  <a:pt x="208" y="576"/>
                </a:cubicBezTo>
                <a:cubicBezTo>
                  <a:pt x="208" y="576"/>
                  <a:pt x="208" y="576"/>
                  <a:pt x="208" y="576"/>
                </a:cubicBezTo>
                <a:cubicBezTo>
                  <a:pt x="208" y="576"/>
                  <a:pt x="209" y="576"/>
                  <a:pt x="209" y="576"/>
                </a:cubicBezTo>
                <a:cubicBezTo>
                  <a:pt x="210" y="576"/>
                  <a:pt x="210" y="576"/>
                  <a:pt x="211" y="577"/>
                </a:cubicBezTo>
                <a:cubicBezTo>
                  <a:pt x="211" y="577"/>
                  <a:pt x="212" y="577"/>
                  <a:pt x="212" y="577"/>
                </a:cubicBezTo>
                <a:cubicBezTo>
                  <a:pt x="212" y="578"/>
                  <a:pt x="211" y="578"/>
                  <a:pt x="211" y="579"/>
                </a:cubicBezTo>
                <a:cubicBezTo>
                  <a:pt x="211" y="579"/>
                  <a:pt x="211" y="580"/>
                  <a:pt x="211" y="580"/>
                </a:cubicBezTo>
                <a:cubicBezTo>
                  <a:pt x="210" y="581"/>
                  <a:pt x="207" y="580"/>
                  <a:pt x="205" y="581"/>
                </a:cubicBezTo>
                <a:cubicBezTo>
                  <a:pt x="206" y="580"/>
                  <a:pt x="206" y="578"/>
                  <a:pt x="204" y="580"/>
                </a:cubicBezTo>
                <a:cubicBezTo>
                  <a:pt x="202" y="581"/>
                  <a:pt x="204" y="581"/>
                  <a:pt x="204" y="582"/>
                </a:cubicBezTo>
                <a:cubicBezTo>
                  <a:pt x="204" y="582"/>
                  <a:pt x="203" y="582"/>
                  <a:pt x="204" y="583"/>
                </a:cubicBezTo>
                <a:cubicBezTo>
                  <a:pt x="204" y="583"/>
                  <a:pt x="204" y="583"/>
                  <a:pt x="204" y="583"/>
                </a:cubicBezTo>
                <a:cubicBezTo>
                  <a:pt x="206" y="582"/>
                  <a:pt x="208" y="582"/>
                  <a:pt x="210" y="583"/>
                </a:cubicBezTo>
                <a:cubicBezTo>
                  <a:pt x="209" y="583"/>
                  <a:pt x="209" y="582"/>
                  <a:pt x="209" y="582"/>
                </a:cubicBezTo>
                <a:cubicBezTo>
                  <a:pt x="209" y="582"/>
                  <a:pt x="209" y="582"/>
                  <a:pt x="209" y="582"/>
                </a:cubicBezTo>
                <a:cubicBezTo>
                  <a:pt x="210" y="581"/>
                  <a:pt x="210" y="582"/>
                  <a:pt x="210" y="583"/>
                </a:cubicBezTo>
                <a:cubicBezTo>
                  <a:pt x="210" y="583"/>
                  <a:pt x="211" y="584"/>
                  <a:pt x="210" y="585"/>
                </a:cubicBezTo>
                <a:cubicBezTo>
                  <a:pt x="210" y="586"/>
                  <a:pt x="208" y="588"/>
                  <a:pt x="205" y="588"/>
                </a:cubicBezTo>
                <a:cubicBezTo>
                  <a:pt x="206" y="588"/>
                  <a:pt x="206" y="590"/>
                  <a:pt x="206" y="591"/>
                </a:cubicBezTo>
                <a:cubicBezTo>
                  <a:pt x="205" y="592"/>
                  <a:pt x="201" y="592"/>
                  <a:pt x="202" y="593"/>
                </a:cubicBezTo>
                <a:cubicBezTo>
                  <a:pt x="201" y="593"/>
                  <a:pt x="199" y="594"/>
                  <a:pt x="198" y="593"/>
                </a:cubicBezTo>
                <a:cubicBezTo>
                  <a:pt x="195" y="591"/>
                  <a:pt x="196" y="591"/>
                  <a:pt x="192" y="592"/>
                </a:cubicBezTo>
                <a:cubicBezTo>
                  <a:pt x="192" y="592"/>
                  <a:pt x="191" y="592"/>
                  <a:pt x="190" y="592"/>
                </a:cubicBezTo>
                <a:cubicBezTo>
                  <a:pt x="188" y="592"/>
                  <a:pt x="189" y="593"/>
                  <a:pt x="189" y="595"/>
                </a:cubicBezTo>
                <a:cubicBezTo>
                  <a:pt x="187" y="593"/>
                  <a:pt x="188" y="595"/>
                  <a:pt x="189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1" y="597"/>
                  <a:pt x="191" y="596"/>
                </a:cubicBezTo>
                <a:cubicBezTo>
                  <a:pt x="190" y="597"/>
                  <a:pt x="192" y="594"/>
                  <a:pt x="193" y="596"/>
                </a:cubicBezTo>
                <a:cubicBezTo>
                  <a:pt x="193" y="596"/>
                  <a:pt x="190" y="600"/>
                  <a:pt x="193" y="600"/>
                </a:cubicBezTo>
                <a:cubicBezTo>
                  <a:pt x="187" y="601"/>
                  <a:pt x="195" y="604"/>
                  <a:pt x="197" y="605"/>
                </a:cubicBezTo>
                <a:cubicBezTo>
                  <a:pt x="198" y="606"/>
                  <a:pt x="198" y="608"/>
                  <a:pt x="198" y="609"/>
                </a:cubicBezTo>
                <a:cubicBezTo>
                  <a:pt x="199" y="610"/>
                  <a:pt x="200" y="610"/>
                  <a:pt x="199" y="611"/>
                </a:cubicBezTo>
                <a:cubicBezTo>
                  <a:pt x="199" y="611"/>
                  <a:pt x="199" y="611"/>
                  <a:pt x="199" y="611"/>
                </a:cubicBezTo>
                <a:cubicBezTo>
                  <a:pt x="200" y="612"/>
                  <a:pt x="200" y="613"/>
                  <a:pt x="201" y="613"/>
                </a:cubicBezTo>
                <a:cubicBezTo>
                  <a:pt x="201" y="613"/>
                  <a:pt x="201" y="613"/>
                  <a:pt x="202" y="613"/>
                </a:cubicBezTo>
                <a:cubicBezTo>
                  <a:pt x="202" y="613"/>
                  <a:pt x="202" y="613"/>
                  <a:pt x="202" y="612"/>
                </a:cubicBezTo>
                <a:cubicBezTo>
                  <a:pt x="203" y="611"/>
                  <a:pt x="204" y="611"/>
                  <a:pt x="206" y="611"/>
                </a:cubicBezTo>
                <a:cubicBezTo>
                  <a:pt x="207" y="611"/>
                  <a:pt x="208" y="612"/>
                  <a:pt x="208" y="613"/>
                </a:cubicBezTo>
                <a:cubicBezTo>
                  <a:pt x="209" y="613"/>
                  <a:pt x="209" y="612"/>
                  <a:pt x="211" y="612"/>
                </a:cubicBezTo>
                <a:cubicBezTo>
                  <a:pt x="211" y="613"/>
                  <a:pt x="210" y="613"/>
                  <a:pt x="208" y="613"/>
                </a:cubicBezTo>
                <a:cubicBezTo>
                  <a:pt x="208" y="614"/>
                  <a:pt x="208" y="615"/>
                  <a:pt x="207" y="615"/>
                </a:cubicBezTo>
                <a:cubicBezTo>
                  <a:pt x="209" y="616"/>
                  <a:pt x="211" y="616"/>
                  <a:pt x="211" y="616"/>
                </a:cubicBezTo>
                <a:cubicBezTo>
                  <a:pt x="211" y="616"/>
                  <a:pt x="211" y="616"/>
                  <a:pt x="212" y="616"/>
                </a:cubicBezTo>
                <a:cubicBezTo>
                  <a:pt x="211" y="615"/>
                  <a:pt x="210" y="615"/>
                  <a:pt x="209" y="615"/>
                </a:cubicBezTo>
                <a:cubicBezTo>
                  <a:pt x="210" y="614"/>
                  <a:pt x="211" y="614"/>
                  <a:pt x="213" y="615"/>
                </a:cubicBezTo>
                <a:cubicBezTo>
                  <a:pt x="213" y="614"/>
                  <a:pt x="213" y="614"/>
                  <a:pt x="213" y="614"/>
                </a:cubicBezTo>
                <a:cubicBezTo>
                  <a:pt x="213" y="614"/>
                  <a:pt x="214" y="612"/>
                  <a:pt x="215" y="613"/>
                </a:cubicBezTo>
                <a:cubicBezTo>
                  <a:pt x="216" y="612"/>
                  <a:pt x="216" y="612"/>
                  <a:pt x="217" y="613"/>
                </a:cubicBezTo>
                <a:cubicBezTo>
                  <a:pt x="217" y="613"/>
                  <a:pt x="216" y="613"/>
                  <a:pt x="216" y="614"/>
                </a:cubicBezTo>
                <a:cubicBezTo>
                  <a:pt x="216" y="614"/>
                  <a:pt x="217" y="616"/>
                  <a:pt x="216" y="615"/>
                </a:cubicBezTo>
                <a:cubicBezTo>
                  <a:pt x="216" y="615"/>
                  <a:pt x="215" y="615"/>
                  <a:pt x="215" y="615"/>
                </a:cubicBezTo>
                <a:cubicBezTo>
                  <a:pt x="215" y="614"/>
                  <a:pt x="215" y="614"/>
                  <a:pt x="215" y="614"/>
                </a:cubicBezTo>
                <a:cubicBezTo>
                  <a:pt x="215" y="614"/>
                  <a:pt x="214" y="615"/>
                  <a:pt x="214" y="615"/>
                </a:cubicBezTo>
                <a:cubicBezTo>
                  <a:pt x="215" y="615"/>
                  <a:pt x="216" y="616"/>
                  <a:pt x="216" y="616"/>
                </a:cubicBezTo>
                <a:cubicBezTo>
                  <a:pt x="216" y="617"/>
                  <a:pt x="215" y="616"/>
                  <a:pt x="214" y="616"/>
                </a:cubicBezTo>
                <a:cubicBezTo>
                  <a:pt x="214" y="616"/>
                  <a:pt x="214" y="617"/>
                  <a:pt x="214" y="617"/>
                </a:cubicBezTo>
                <a:cubicBezTo>
                  <a:pt x="215" y="617"/>
                  <a:pt x="216" y="616"/>
                  <a:pt x="216" y="616"/>
                </a:cubicBezTo>
                <a:cubicBezTo>
                  <a:pt x="217" y="617"/>
                  <a:pt x="218" y="620"/>
                  <a:pt x="220" y="618"/>
                </a:cubicBezTo>
                <a:cubicBezTo>
                  <a:pt x="220" y="618"/>
                  <a:pt x="219" y="617"/>
                  <a:pt x="219" y="617"/>
                </a:cubicBezTo>
                <a:cubicBezTo>
                  <a:pt x="219" y="617"/>
                  <a:pt x="219" y="617"/>
                  <a:pt x="219" y="617"/>
                </a:cubicBezTo>
                <a:cubicBezTo>
                  <a:pt x="219" y="617"/>
                  <a:pt x="219" y="617"/>
                  <a:pt x="218" y="617"/>
                </a:cubicBezTo>
                <a:cubicBezTo>
                  <a:pt x="218" y="616"/>
                  <a:pt x="219" y="615"/>
                  <a:pt x="220" y="616"/>
                </a:cubicBezTo>
                <a:cubicBezTo>
                  <a:pt x="220" y="616"/>
                  <a:pt x="220" y="616"/>
                  <a:pt x="220" y="616"/>
                </a:cubicBezTo>
                <a:cubicBezTo>
                  <a:pt x="221" y="615"/>
                  <a:pt x="224" y="617"/>
                  <a:pt x="225" y="617"/>
                </a:cubicBezTo>
                <a:cubicBezTo>
                  <a:pt x="223" y="618"/>
                  <a:pt x="225" y="619"/>
                  <a:pt x="226" y="620"/>
                </a:cubicBezTo>
                <a:cubicBezTo>
                  <a:pt x="227" y="619"/>
                  <a:pt x="229" y="618"/>
                  <a:pt x="231" y="618"/>
                </a:cubicBezTo>
                <a:cubicBezTo>
                  <a:pt x="230" y="619"/>
                  <a:pt x="228" y="620"/>
                  <a:pt x="226" y="620"/>
                </a:cubicBezTo>
                <a:cubicBezTo>
                  <a:pt x="227" y="621"/>
                  <a:pt x="227" y="621"/>
                  <a:pt x="226" y="622"/>
                </a:cubicBezTo>
                <a:cubicBezTo>
                  <a:pt x="225" y="624"/>
                  <a:pt x="222" y="622"/>
                  <a:pt x="221" y="624"/>
                </a:cubicBezTo>
                <a:cubicBezTo>
                  <a:pt x="220" y="624"/>
                  <a:pt x="222" y="624"/>
                  <a:pt x="222" y="624"/>
                </a:cubicBezTo>
                <a:cubicBezTo>
                  <a:pt x="221" y="626"/>
                  <a:pt x="219" y="627"/>
                  <a:pt x="222" y="628"/>
                </a:cubicBezTo>
                <a:cubicBezTo>
                  <a:pt x="222" y="628"/>
                  <a:pt x="227" y="629"/>
                  <a:pt x="228" y="629"/>
                </a:cubicBezTo>
                <a:cubicBezTo>
                  <a:pt x="231" y="629"/>
                  <a:pt x="233" y="629"/>
                  <a:pt x="235" y="631"/>
                </a:cubicBezTo>
                <a:cubicBezTo>
                  <a:pt x="232" y="631"/>
                  <a:pt x="231" y="632"/>
                  <a:pt x="228" y="633"/>
                </a:cubicBezTo>
                <a:cubicBezTo>
                  <a:pt x="228" y="633"/>
                  <a:pt x="229" y="633"/>
                  <a:pt x="229" y="633"/>
                </a:cubicBezTo>
                <a:cubicBezTo>
                  <a:pt x="229" y="633"/>
                  <a:pt x="228" y="633"/>
                  <a:pt x="228" y="633"/>
                </a:cubicBezTo>
                <a:cubicBezTo>
                  <a:pt x="228" y="633"/>
                  <a:pt x="228" y="633"/>
                  <a:pt x="227" y="633"/>
                </a:cubicBezTo>
                <a:cubicBezTo>
                  <a:pt x="224" y="633"/>
                  <a:pt x="221" y="630"/>
                  <a:pt x="218" y="630"/>
                </a:cubicBezTo>
                <a:cubicBezTo>
                  <a:pt x="218" y="630"/>
                  <a:pt x="215" y="633"/>
                  <a:pt x="214" y="633"/>
                </a:cubicBezTo>
                <a:cubicBezTo>
                  <a:pt x="213" y="633"/>
                  <a:pt x="212" y="632"/>
                  <a:pt x="212" y="633"/>
                </a:cubicBezTo>
                <a:cubicBezTo>
                  <a:pt x="212" y="633"/>
                  <a:pt x="213" y="633"/>
                  <a:pt x="213" y="634"/>
                </a:cubicBezTo>
                <a:cubicBezTo>
                  <a:pt x="213" y="634"/>
                  <a:pt x="213" y="634"/>
                  <a:pt x="214" y="634"/>
                </a:cubicBezTo>
                <a:cubicBezTo>
                  <a:pt x="214" y="633"/>
                  <a:pt x="215" y="633"/>
                  <a:pt x="216" y="633"/>
                </a:cubicBezTo>
                <a:cubicBezTo>
                  <a:pt x="216" y="633"/>
                  <a:pt x="217" y="633"/>
                  <a:pt x="217" y="633"/>
                </a:cubicBezTo>
                <a:cubicBezTo>
                  <a:pt x="217" y="633"/>
                  <a:pt x="217" y="633"/>
                  <a:pt x="217" y="633"/>
                </a:cubicBezTo>
                <a:cubicBezTo>
                  <a:pt x="218" y="633"/>
                  <a:pt x="219" y="633"/>
                  <a:pt x="219" y="634"/>
                </a:cubicBezTo>
                <a:cubicBezTo>
                  <a:pt x="219" y="634"/>
                  <a:pt x="219" y="635"/>
                  <a:pt x="218" y="635"/>
                </a:cubicBezTo>
                <a:cubicBezTo>
                  <a:pt x="218" y="636"/>
                  <a:pt x="217" y="637"/>
                  <a:pt x="216" y="637"/>
                </a:cubicBezTo>
                <a:cubicBezTo>
                  <a:pt x="215" y="637"/>
                  <a:pt x="213" y="636"/>
                  <a:pt x="213" y="635"/>
                </a:cubicBezTo>
                <a:cubicBezTo>
                  <a:pt x="213" y="635"/>
                  <a:pt x="213" y="635"/>
                  <a:pt x="213" y="635"/>
                </a:cubicBezTo>
                <a:cubicBezTo>
                  <a:pt x="213" y="636"/>
                  <a:pt x="211" y="636"/>
                  <a:pt x="210" y="636"/>
                </a:cubicBezTo>
                <a:cubicBezTo>
                  <a:pt x="210" y="636"/>
                  <a:pt x="210" y="637"/>
                  <a:pt x="211" y="637"/>
                </a:cubicBezTo>
                <a:cubicBezTo>
                  <a:pt x="211" y="637"/>
                  <a:pt x="211" y="637"/>
                  <a:pt x="211" y="637"/>
                </a:cubicBezTo>
                <a:cubicBezTo>
                  <a:pt x="212" y="637"/>
                  <a:pt x="211" y="637"/>
                  <a:pt x="211" y="637"/>
                </a:cubicBezTo>
                <a:cubicBezTo>
                  <a:pt x="212" y="639"/>
                  <a:pt x="215" y="640"/>
                  <a:pt x="216" y="641"/>
                </a:cubicBezTo>
                <a:cubicBezTo>
                  <a:pt x="214" y="641"/>
                  <a:pt x="214" y="642"/>
                  <a:pt x="214" y="642"/>
                </a:cubicBezTo>
                <a:cubicBezTo>
                  <a:pt x="216" y="641"/>
                  <a:pt x="219" y="642"/>
                  <a:pt x="216" y="643"/>
                </a:cubicBezTo>
                <a:cubicBezTo>
                  <a:pt x="216" y="643"/>
                  <a:pt x="216" y="644"/>
                  <a:pt x="216" y="644"/>
                </a:cubicBezTo>
                <a:cubicBezTo>
                  <a:pt x="216" y="644"/>
                  <a:pt x="217" y="644"/>
                  <a:pt x="217" y="645"/>
                </a:cubicBezTo>
                <a:cubicBezTo>
                  <a:pt x="219" y="644"/>
                  <a:pt x="222" y="643"/>
                  <a:pt x="224" y="643"/>
                </a:cubicBezTo>
                <a:cubicBezTo>
                  <a:pt x="228" y="642"/>
                  <a:pt x="223" y="645"/>
                  <a:pt x="221" y="645"/>
                </a:cubicBezTo>
                <a:cubicBezTo>
                  <a:pt x="220" y="645"/>
                  <a:pt x="218" y="646"/>
                  <a:pt x="216" y="646"/>
                </a:cubicBezTo>
                <a:cubicBezTo>
                  <a:pt x="216" y="647"/>
                  <a:pt x="216" y="647"/>
                  <a:pt x="215" y="647"/>
                </a:cubicBezTo>
                <a:cubicBezTo>
                  <a:pt x="215" y="647"/>
                  <a:pt x="214" y="647"/>
                  <a:pt x="214" y="647"/>
                </a:cubicBezTo>
                <a:cubicBezTo>
                  <a:pt x="212" y="648"/>
                  <a:pt x="211" y="648"/>
                  <a:pt x="210" y="649"/>
                </a:cubicBezTo>
                <a:cubicBezTo>
                  <a:pt x="209" y="650"/>
                  <a:pt x="208" y="651"/>
                  <a:pt x="208" y="652"/>
                </a:cubicBezTo>
                <a:cubicBezTo>
                  <a:pt x="209" y="652"/>
                  <a:pt x="209" y="652"/>
                  <a:pt x="210" y="653"/>
                </a:cubicBezTo>
                <a:cubicBezTo>
                  <a:pt x="210" y="653"/>
                  <a:pt x="210" y="653"/>
                  <a:pt x="210" y="653"/>
                </a:cubicBezTo>
                <a:cubicBezTo>
                  <a:pt x="210" y="653"/>
                  <a:pt x="210" y="653"/>
                  <a:pt x="211" y="653"/>
                </a:cubicBezTo>
                <a:cubicBezTo>
                  <a:pt x="211" y="653"/>
                  <a:pt x="213" y="654"/>
                  <a:pt x="213" y="654"/>
                </a:cubicBezTo>
                <a:cubicBezTo>
                  <a:pt x="213" y="654"/>
                  <a:pt x="213" y="655"/>
                  <a:pt x="213" y="655"/>
                </a:cubicBezTo>
                <a:cubicBezTo>
                  <a:pt x="213" y="656"/>
                  <a:pt x="212" y="657"/>
                  <a:pt x="210" y="657"/>
                </a:cubicBezTo>
                <a:cubicBezTo>
                  <a:pt x="210" y="658"/>
                  <a:pt x="210" y="658"/>
                  <a:pt x="209" y="659"/>
                </a:cubicBezTo>
                <a:cubicBezTo>
                  <a:pt x="209" y="659"/>
                  <a:pt x="209" y="659"/>
                  <a:pt x="209" y="659"/>
                </a:cubicBezTo>
                <a:cubicBezTo>
                  <a:pt x="210" y="660"/>
                  <a:pt x="212" y="660"/>
                  <a:pt x="213" y="660"/>
                </a:cubicBezTo>
                <a:cubicBezTo>
                  <a:pt x="214" y="660"/>
                  <a:pt x="216" y="660"/>
                  <a:pt x="216" y="661"/>
                </a:cubicBezTo>
                <a:cubicBezTo>
                  <a:pt x="217" y="662"/>
                  <a:pt x="218" y="663"/>
                  <a:pt x="218" y="663"/>
                </a:cubicBezTo>
                <a:cubicBezTo>
                  <a:pt x="218" y="663"/>
                  <a:pt x="219" y="663"/>
                  <a:pt x="220" y="664"/>
                </a:cubicBezTo>
                <a:cubicBezTo>
                  <a:pt x="221" y="665"/>
                  <a:pt x="221" y="667"/>
                  <a:pt x="219" y="667"/>
                </a:cubicBezTo>
                <a:cubicBezTo>
                  <a:pt x="219" y="667"/>
                  <a:pt x="219" y="667"/>
                  <a:pt x="219" y="667"/>
                </a:cubicBezTo>
                <a:cubicBezTo>
                  <a:pt x="219" y="668"/>
                  <a:pt x="219" y="668"/>
                  <a:pt x="219" y="669"/>
                </a:cubicBezTo>
                <a:cubicBezTo>
                  <a:pt x="220" y="669"/>
                  <a:pt x="221" y="668"/>
                  <a:pt x="222" y="669"/>
                </a:cubicBezTo>
                <a:cubicBezTo>
                  <a:pt x="222" y="668"/>
                  <a:pt x="223" y="667"/>
                  <a:pt x="223" y="667"/>
                </a:cubicBezTo>
                <a:cubicBezTo>
                  <a:pt x="223" y="667"/>
                  <a:pt x="225" y="666"/>
                  <a:pt x="226" y="666"/>
                </a:cubicBezTo>
                <a:cubicBezTo>
                  <a:pt x="227" y="664"/>
                  <a:pt x="228" y="664"/>
                  <a:pt x="229" y="664"/>
                </a:cubicBezTo>
                <a:cubicBezTo>
                  <a:pt x="230" y="664"/>
                  <a:pt x="229" y="663"/>
                  <a:pt x="230" y="663"/>
                </a:cubicBezTo>
                <a:cubicBezTo>
                  <a:pt x="231" y="662"/>
                  <a:pt x="232" y="664"/>
                  <a:pt x="232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4" y="663"/>
                </a:cubicBezTo>
                <a:cubicBezTo>
                  <a:pt x="235" y="664"/>
                  <a:pt x="235" y="662"/>
                  <a:pt x="236" y="663"/>
                </a:cubicBezTo>
                <a:cubicBezTo>
                  <a:pt x="236" y="663"/>
                  <a:pt x="235" y="664"/>
                  <a:pt x="235" y="664"/>
                </a:cubicBezTo>
                <a:cubicBezTo>
                  <a:pt x="236" y="665"/>
                  <a:pt x="241" y="668"/>
                  <a:pt x="241" y="670"/>
                </a:cubicBezTo>
                <a:cubicBezTo>
                  <a:pt x="241" y="672"/>
                  <a:pt x="236" y="672"/>
                  <a:pt x="235" y="674"/>
                </a:cubicBezTo>
                <a:cubicBezTo>
                  <a:pt x="235" y="675"/>
                  <a:pt x="236" y="676"/>
                  <a:pt x="235" y="677"/>
                </a:cubicBezTo>
                <a:cubicBezTo>
                  <a:pt x="233" y="677"/>
                  <a:pt x="234" y="675"/>
                  <a:pt x="233" y="675"/>
                </a:cubicBezTo>
                <a:cubicBezTo>
                  <a:pt x="232" y="674"/>
                  <a:pt x="227" y="674"/>
                  <a:pt x="225" y="673"/>
                </a:cubicBezTo>
                <a:cubicBezTo>
                  <a:pt x="225" y="673"/>
                  <a:pt x="224" y="672"/>
                  <a:pt x="223" y="672"/>
                </a:cubicBezTo>
                <a:cubicBezTo>
                  <a:pt x="221" y="673"/>
                  <a:pt x="217" y="673"/>
                  <a:pt x="217" y="674"/>
                </a:cubicBezTo>
                <a:cubicBezTo>
                  <a:pt x="216" y="674"/>
                  <a:pt x="218" y="674"/>
                  <a:pt x="218" y="675"/>
                </a:cubicBezTo>
                <a:cubicBezTo>
                  <a:pt x="217" y="675"/>
                  <a:pt x="216" y="674"/>
                  <a:pt x="215" y="674"/>
                </a:cubicBezTo>
                <a:cubicBezTo>
                  <a:pt x="213" y="674"/>
                  <a:pt x="210" y="675"/>
                  <a:pt x="207" y="675"/>
                </a:cubicBezTo>
                <a:cubicBezTo>
                  <a:pt x="208" y="676"/>
                  <a:pt x="208" y="677"/>
                  <a:pt x="208" y="677"/>
                </a:cubicBezTo>
                <a:cubicBezTo>
                  <a:pt x="209" y="677"/>
                  <a:pt x="209" y="676"/>
                  <a:pt x="209" y="676"/>
                </a:cubicBezTo>
                <a:cubicBezTo>
                  <a:pt x="210" y="676"/>
                  <a:pt x="212" y="677"/>
                  <a:pt x="214" y="679"/>
                </a:cubicBezTo>
                <a:cubicBezTo>
                  <a:pt x="215" y="679"/>
                  <a:pt x="216" y="679"/>
                  <a:pt x="216" y="679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7" y="681"/>
                  <a:pt x="216" y="682"/>
                  <a:pt x="216" y="682"/>
                </a:cubicBezTo>
                <a:cubicBezTo>
                  <a:pt x="218" y="684"/>
                  <a:pt x="222" y="683"/>
                  <a:pt x="224" y="683"/>
                </a:cubicBezTo>
                <a:cubicBezTo>
                  <a:pt x="224" y="683"/>
                  <a:pt x="224" y="684"/>
                  <a:pt x="225" y="684"/>
                </a:cubicBezTo>
                <a:cubicBezTo>
                  <a:pt x="225" y="684"/>
                  <a:pt x="225" y="684"/>
                  <a:pt x="225" y="684"/>
                </a:cubicBezTo>
                <a:cubicBezTo>
                  <a:pt x="225" y="683"/>
                  <a:pt x="230" y="681"/>
                  <a:pt x="231" y="682"/>
                </a:cubicBezTo>
                <a:cubicBezTo>
                  <a:pt x="232" y="684"/>
                  <a:pt x="231" y="686"/>
                  <a:pt x="229" y="686"/>
                </a:cubicBezTo>
                <a:cubicBezTo>
                  <a:pt x="229" y="686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30" y="688"/>
                  <a:pt x="231" y="688"/>
                  <a:pt x="232" y="687"/>
                </a:cubicBezTo>
                <a:cubicBezTo>
                  <a:pt x="232" y="687"/>
                  <a:pt x="232" y="687"/>
                  <a:pt x="232" y="687"/>
                </a:cubicBezTo>
                <a:cubicBezTo>
                  <a:pt x="232" y="687"/>
                  <a:pt x="233" y="686"/>
                  <a:pt x="233" y="686"/>
                </a:cubicBezTo>
                <a:cubicBezTo>
                  <a:pt x="234" y="685"/>
                  <a:pt x="237" y="685"/>
                  <a:pt x="239" y="683"/>
                </a:cubicBezTo>
                <a:cubicBezTo>
                  <a:pt x="240" y="682"/>
                  <a:pt x="243" y="680"/>
                  <a:pt x="244" y="680"/>
                </a:cubicBezTo>
                <a:cubicBezTo>
                  <a:pt x="245" y="681"/>
                  <a:pt x="245" y="682"/>
                  <a:pt x="246" y="683"/>
                </a:cubicBezTo>
                <a:cubicBezTo>
                  <a:pt x="246" y="683"/>
                  <a:pt x="246" y="682"/>
                  <a:pt x="247" y="682"/>
                </a:cubicBezTo>
                <a:cubicBezTo>
                  <a:pt x="248" y="682"/>
                  <a:pt x="249" y="683"/>
                  <a:pt x="249" y="684"/>
                </a:cubicBezTo>
                <a:cubicBezTo>
                  <a:pt x="250" y="684"/>
                  <a:pt x="251" y="684"/>
                  <a:pt x="251" y="685"/>
                </a:cubicBezTo>
                <a:cubicBezTo>
                  <a:pt x="251" y="685"/>
                  <a:pt x="250" y="686"/>
                  <a:pt x="249" y="686"/>
                </a:cubicBezTo>
                <a:cubicBezTo>
                  <a:pt x="248" y="687"/>
                  <a:pt x="247" y="688"/>
                  <a:pt x="246" y="686"/>
                </a:cubicBezTo>
                <a:cubicBezTo>
                  <a:pt x="246" y="685"/>
                  <a:pt x="246" y="686"/>
                  <a:pt x="246" y="687"/>
                </a:cubicBezTo>
                <a:cubicBezTo>
                  <a:pt x="247" y="688"/>
                  <a:pt x="248" y="688"/>
                  <a:pt x="248" y="689"/>
                </a:cubicBezTo>
                <a:cubicBezTo>
                  <a:pt x="248" y="690"/>
                  <a:pt x="247" y="690"/>
                  <a:pt x="245" y="691"/>
                </a:cubicBezTo>
                <a:cubicBezTo>
                  <a:pt x="247" y="692"/>
                  <a:pt x="248" y="693"/>
                  <a:pt x="248" y="694"/>
                </a:cubicBezTo>
                <a:cubicBezTo>
                  <a:pt x="248" y="694"/>
                  <a:pt x="247" y="696"/>
                  <a:pt x="246" y="697"/>
                </a:cubicBezTo>
                <a:cubicBezTo>
                  <a:pt x="252" y="699"/>
                  <a:pt x="257" y="700"/>
                  <a:pt x="263" y="702"/>
                </a:cubicBezTo>
                <a:cubicBezTo>
                  <a:pt x="263" y="702"/>
                  <a:pt x="263" y="702"/>
                  <a:pt x="264" y="701"/>
                </a:cubicBezTo>
                <a:cubicBezTo>
                  <a:pt x="264" y="701"/>
                  <a:pt x="265" y="702"/>
                  <a:pt x="266" y="702"/>
                </a:cubicBezTo>
                <a:cubicBezTo>
                  <a:pt x="267" y="702"/>
                  <a:pt x="267" y="701"/>
                  <a:pt x="268" y="701"/>
                </a:cubicBezTo>
                <a:cubicBezTo>
                  <a:pt x="269" y="701"/>
                  <a:pt x="271" y="702"/>
                  <a:pt x="273" y="702"/>
                </a:cubicBezTo>
                <a:cubicBezTo>
                  <a:pt x="274" y="703"/>
                  <a:pt x="274" y="702"/>
                  <a:pt x="274" y="703"/>
                </a:cubicBezTo>
                <a:cubicBezTo>
                  <a:pt x="275" y="703"/>
                  <a:pt x="274" y="704"/>
                  <a:pt x="274" y="705"/>
                </a:cubicBezTo>
                <a:cubicBezTo>
                  <a:pt x="281" y="707"/>
                  <a:pt x="289" y="708"/>
                  <a:pt x="296" y="709"/>
                </a:cubicBezTo>
                <a:cubicBezTo>
                  <a:pt x="297" y="708"/>
                  <a:pt x="297" y="708"/>
                  <a:pt x="298" y="707"/>
                </a:cubicBezTo>
                <a:cubicBezTo>
                  <a:pt x="298" y="707"/>
                  <a:pt x="304" y="707"/>
                  <a:pt x="305" y="707"/>
                </a:cubicBezTo>
                <a:cubicBezTo>
                  <a:pt x="306" y="707"/>
                  <a:pt x="307" y="708"/>
                  <a:pt x="308" y="708"/>
                </a:cubicBezTo>
                <a:cubicBezTo>
                  <a:pt x="307" y="708"/>
                  <a:pt x="307" y="708"/>
                  <a:pt x="307" y="707"/>
                </a:cubicBezTo>
                <a:cubicBezTo>
                  <a:pt x="306" y="706"/>
                  <a:pt x="306" y="704"/>
                  <a:pt x="307" y="703"/>
                </a:cubicBezTo>
                <a:cubicBezTo>
                  <a:pt x="311" y="699"/>
                  <a:pt x="321" y="702"/>
                  <a:pt x="325" y="704"/>
                </a:cubicBezTo>
                <a:cubicBezTo>
                  <a:pt x="325" y="703"/>
                  <a:pt x="325" y="703"/>
                  <a:pt x="325" y="702"/>
                </a:cubicBezTo>
                <a:cubicBezTo>
                  <a:pt x="326" y="699"/>
                  <a:pt x="334" y="701"/>
                  <a:pt x="334" y="704"/>
                </a:cubicBezTo>
                <a:cubicBezTo>
                  <a:pt x="334" y="704"/>
                  <a:pt x="336" y="705"/>
                  <a:pt x="336" y="705"/>
                </a:cubicBezTo>
                <a:cubicBezTo>
                  <a:pt x="336" y="706"/>
                  <a:pt x="334" y="706"/>
                  <a:pt x="334" y="705"/>
                </a:cubicBezTo>
                <a:cubicBezTo>
                  <a:pt x="333" y="706"/>
                  <a:pt x="330" y="707"/>
                  <a:pt x="328" y="706"/>
                </a:cubicBezTo>
                <a:cubicBezTo>
                  <a:pt x="327" y="706"/>
                  <a:pt x="325" y="706"/>
                  <a:pt x="324" y="708"/>
                </a:cubicBezTo>
                <a:cubicBezTo>
                  <a:pt x="324" y="708"/>
                  <a:pt x="324" y="710"/>
                  <a:pt x="324" y="710"/>
                </a:cubicBezTo>
                <a:cubicBezTo>
                  <a:pt x="323" y="711"/>
                  <a:pt x="321" y="711"/>
                  <a:pt x="321" y="711"/>
                </a:cubicBezTo>
                <a:cubicBezTo>
                  <a:pt x="321" y="712"/>
                  <a:pt x="322" y="713"/>
                  <a:pt x="323" y="713"/>
                </a:cubicBezTo>
                <a:cubicBezTo>
                  <a:pt x="328" y="713"/>
                  <a:pt x="334" y="714"/>
                  <a:pt x="339" y="714"/>
                </a:cubicBezTo>
                <a:cubicBezTo>
                  <a:pt x="338" y="712"/>
                  <a:pt x="340" y="712"/>
                  <a:pt x="342" y="712"/>
                </a:cubicBezTo>
                <a:cubicBezTo>
                  <a:pt x="342" y="712"/>
                  <a:pt x="343" y="712"/>
                  <a:pt x="344" y="712"/>
                </a:cubicBezTo>
                <a:cubicBezTo>
                  <a:pt x="344" y="712"/>
                  <a:pt x="344" y="713"/>
                  <a:pt x="344" y="713"/>
                </a:cubicBezTo>
                <a:cubicBezTo>
                  <a:pt x="344" y="713"/>
                  <a:pt x="345" y="713"/>
                  <a:pt x="345" y="714"/>
                </a:cubicBezTo>
                <a:cubicBezTo>
                  <a:pt x="345" y="714"/>
                  <a:pt x="346" y="714"/>
                  <a:pt x="346" y="714"/>
                </a:cubicBezTo>
                <a:cubicBezTo>
                  <a:pt x="346" y="713"/>
                  <a:pt x="347" y="712"/>
                  <a:pt x="347" y="712"/>
                </a:cubicBezTo>
                <a:cubicBezTo>
                  <a:pt x="348" y="712"/>
                  <a:pt x="349" y="712"/>
                  <a:pt x="349" y="712"/>
                </a:cubicBezTo>
                <a:cubicBezTo>
                  <a:pt x="350" y="712"/>
                  <a:pt x="351" y="711"/>
                  <a:pt x="352" y="711"/>
                </a:cubicBezTo>
                <a:cubicBezTo>
                  <a:pt x="352" y="710"/>
                  <a:pt x="352" y="710"/>
                  <a:pt x="354" y="709"/>
                </a:cubicBezTo>
                <a:cubicBezTo>
                  <a:pt x="355" y="709"/>
                  <a:pt x="355" y="708"/>
                  <a:pt x="357" y="708"/>
                </a:cubicBezTo>
                <a:cubicBezTo>
                  <a:pt x="360" y="707"/>
                  <a:pt x="365" y="706"/>
                  <a:pt x="369" y="705"/>
                </a:cubicBezTo>
                <a:cubicBezTo>
                  <a:pt x="370" y="705"/>
                  <a:pt x="370" y="705"/>
                  <a:pt x="370" y="705"/>
                </a:cubicBezTo>
                <a:cubicBezTo>
                  <a:pt x="370" y="705"/>
                  <a:pt x="369" y="705"/>
                  <a:pt x="369" y="705"/>
                </a:cubicBezTo>
                <a:cubicBezTo>
                  <a:pt x="368" y="705"/>
                  <a:pt x="367" y="704"/>
                  <a:pt x="366" y="702"/>
                </a:cubicBezTo>
                <a:cubicBezTo>
                  <a:pt x="365" y="702"/>
                  <a:pt x="365" y="702"/>
                  <a:pt x="365" y="701"/>
                </a:cubicBezTo>
                <a:cubicBezTo>
                  <a:pt x="365" y="700"/>
                  <a:pt x="364" y="699"/>
                  <a:pt x="365" y="698"/>
                </a:cubicBezTo>
                <a:cubicBezTo>
                  <a:pt x="366" y="692"/>
                  <a:pt x="379" y="693"/>
                  <a:pt x="384" y="696"/>
                </a:cubicBezTo>
                <a:cubicBezTo>
                  <a:pt x="386" y="697"/>
                  <a:pt x="387" y="699"/>
                  <a:pt x="388" y="701"/>
                </a:cubicBezTo>
                <a:cubicBezTo>
                  <a:pt x="390" y="700"/>
                  <a:pt x="392" y="699"/>
                  <a:pt x="392" y="700"/>
                </a:cubicBezTo>
                <a:cubicBezTo>
                  <a:pt x="393" y="701"/>
                  <a:pt x="391" y="702"/>
                  <a:pt x="389" y="702"/>
                </a:cubicBezTo>
                <a:cubicBezTo>
                  <a:pt x="389" y="702"/>
                  <a:pt x="389" y="702"/>
                  <a:pt x="389" y="702"/>
                </a:cubicBezTo>
                <a:cubicBezTo>
                  <a:pt x="390" y="703"/>
                  <a:pt x="391" y="704"/>
                  <a:pt x="391" y="704"/>
                </a:cubicBezTo>
                <a:cubicBezTo>
                  <a:pt x="391" y="706"/>
                  <a:pt x="387" y="707"/>
                  <a:pt x="383" y="708"/>
                </a:cubicBezTo>
                <a:cubicBezTo>
                  <a:pt x="388" y="708"/>
                  <a:pt x="395" y="708"/>
                  <a:pt x="399" y="708"/>
                </a:cubicBezTo>
                <a:cubicBezTo>
                  <a:pt x="399" y="708"/>
                  <a:pt x="406" y="707"/>
                  <a:pt x="406" y="708"/>
                </a:cubicBezTo>
                <a:cubicBezTo>
                  <a:pt x="407" y="710"/>
                  <a:pt x="401" y="709"/>
                  <a:pt x="400" y="709"/>
                </a:cubicBezTo>
                <a:cubicBezTo>
                  <a:pt x="394" y="709"/>
                  <a:pt x="384" y="709"/>
                  <a:pt x="378" y="709"/>
                </a:cubicBezTo>
                <a:cubicBezTo>
                  <a:pt x="378" y="709"/>
                  <a:pt x="377" y="709"/>
                  <a:pt x="377" y="709"/>
                </a:cubicBezTo>
                <a:cubicBezTo>
                  <a:pt x="377" y="709"/>
                  <a:pt x="377" y="709"/>
                  <a:pt x="377" y="708"/>
                </a:cubicBezTo>
                <a:cubicBezTo>
                  <a:pt x="378" y="708"/>
                  <a:pt x="378" y="708"/>
                  <a:pt x="379" y="708"/>
                </a:cubicBezTo>
                <a:cubicBezTo>
                  <a:pt x="377" y="708"/>
                  <a:pt x="376" y="708"/>
                  <a:pt x="375" y="708"/>
                </a:cubicBezTo>
                <a:cubicBezTo>
                  <a:pt x="374" y="708"/>
                  <a:pt x="374" y="709"/>
                  <a:pt x="373" y="709"/>
                </a:cubicBezTo>
                <a:cubicBezTo>
                  <a:pt x="373" y="709"/>
                  <a:pt x="372" y="709"/>
                  <a:pt x="372" y="709"/>
                </a:cubicBezTo>
                <a:cubicBezTo>
                  <a:pt x="372" y="709"/>
                  <a:pt x="371" y="710"/>
                  <a:pt x="370" y="710"/>
                </a:cubicBezTo>
                <a:cubicBezTo>
                  <a:pt x="369" y="710"/>
                  <a:pt x="367" y="710"/>
                  <a:pt x="366" y="711"/>
                </a:cubicBezTo>
                <a:cubicBezTo>
                  <a:pt x="364" y="711"/>
                  <a:pt x="363" y="712"/>
                  <a:pt x="361" y="713"/>
                </a:cubicBezTo>
                <a:cubicBezTo>
                  <a:pt x="360" y="713"/>
                  <a:pt x="360" y="713"/>
                  <a:pt x="360" y="713"/>
                </a:cubicBezTo>
                <a:cubicBezTo>
                  <a:pt x="359" y="713"/>
                  <a:pt x="358" y="714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554" y="715"/>
                  <a:pt x="714" y="555"/>
                  <a:pt x="714" y="357"/>
                </a:cubicBezTo>
                <a:cubicBezTo>
                  <a:pt x="714" y="339"/>
                  <a:pt x="713" y="322"/>
                  <a:pt x="710" y="304"/>
                </a:cubicBezTo>
                <a:close/>
                <a:moveTo>
                  <a:pt x="703" y="277"/>
                </a:moveTo>
                <a:cubicBezTo>
                  <a:pt x="704" y="277"/>
                  <a:pt x="703" y="279"/>
                  <a:pt x="702" y="279"/>
                </a:cubicBezTo>
                <a:cubicBezTo>
                  <a:pt x="702" y="278"/>
                  <a:pt x="703" y="278"/>
                  <a:pt x="703" y="277"/>
                </a:cubicBezTo>
                <a:close/>
                <a:moveTo>
                  <a:pt x="702" y="292"/>
                </a:moveTo>
                <a:cubicBezTo>
                  <a:pt x="702" y="292"/>
                  <a:pt x="702" y="292"/>
                  <a:pt x="702" y="292"/>
                </a:cubicBezTo>
                <a:cubicBezTo>
                  <a:pt x="702" y="292"/>
                  <a:pt x="701" y="293"/>
                  <a:pt x="701" y="293"/>
                </a:cubicBezTo>
                <a:cubicBezTo>
                  <a:pt x="701" y="293"/>
                  <a:pt x="701" y="292"/>
                  <a:pt x="702" y="292"/>
                </a:cubicBezTo>
                <a:close/>
                <a:moveTo>
                  <a:pt x="699" y="271"/>
                </a:moveTo>
                <a:cubicBezTo>
                  <a:pt x="697" y="274"/>
                  <a:pt x="700" y="270"/>
                  <a:pt x="699" y="271"/>
                </a:cubicBezTo>
                <a:close/>
                <a:moveTo>
                  <a:pt x="681" y="279"/>
                </a:moveTo>
                <a:cubicBezTo>
                  <a:pt x="681" y="277"/>
                  <a:pt x="683" y="278"/>
                  <a:pt x="681" y="279"/>
                </a:cubicBezTo>
                <a:close/>
                <a:moveTo>
                  <a:pt x="682" y="275"/>
                </a:moveTo>
                <a:cubicBezTo>
                  <a:pt x="683" y="276"/>
                  <a:pt x="681" y="277"/>
                  <a:pt x="682" y="275"/>
                </a:cubicBezTo>
                <a:close/>
                <a:moveTo>
                  <a:pt x="686" y="247"/>
                </a:moveTo>
                <a:cubicBezTo>
                  <a:pt x="687" y="248"/>
                  <a:pt x="687" y="250"/>
                  <a:pt x="687" y="252"/>
                </a:cubicBezTo>
                <a:cubicBezTo>
                  <a:pt x="686" y="251"/>
                  <a:pt x="686" y="249"/>
                  <a:pt x="686" y="247"/>
                </a:cubicBezTo>
                <a:close/>
                <a:moveTo>
                  <a:pt x="680" y="254"/>
                </a:moveTo>
                <a:cubicBezTo>
                  <a:pt x="680" y="255"/>
                  <a:pt x="681" y="252"/>
                  <a:pt x="680" y="254"/>
                </a:cubicBezTo>
                <a:close/>
                <a:moveTo>
                  <a:pt x="684" y="227"/>
                </a:moveTo>
                <a:cubicBezTo>
                  <a:pt x="687" y="230"/>
                  <a:pt x="682" y="233"/>
                  <a:pt x="680" y="234"/>
                </a:cubicBezTo>
                <a:cubicBezTo>
                  <a:pt x="678" y="231"/>
                  <a:pt x="681" y="225"/>
                  <a:pt x="684" y="227"/>
                </a:cubicBezTo>
                <a:close/>
                <a:moveTo>
                  <a:pt x="634" y="190"/>
                </a:moveTo>
                <a:cubicBezTo>
                  <a:pt x="634" y="190"/>
                  <a:pt x="634" y="191"/>
                  <a:pt x="634" y="191"/>
                </a:cubicBezTo>
                <a:cubicBezTo>
                  <a:pt x="635" y="194"/>
                  <a:pt x="630" y="192"/>
                  <a:pt x="634" y="190"/>
                </a:cubicBezTo>
                <a:close/>
                <a:moveTo>
                  <a:pt x="574" y="146"/>
                </a:moveTo>
                <a:cubicBezTo>
                  <a:pt x="575" y="147"/>
                  <a:pt x="573" y="147"/>
                  <a:pt x="573" y="146"/>
                </a:cubicBezTo>
                <a:cubicBezTo>
                  <a:pt x="572" y="146"/>
                  <a:pt x="574" y="145"/>
                  <a:pt x="574" y="146"/>
                </a:cubicBezTo>
                <a:close/>
                <a:moveTo>
                  <a:pt x="571" y="138"/>
                </a:moveTo>
                <a:cubicBezTo>
                  <a:pt x="571" y="138"/>
                  <a:pt x="571" y="138"/>
                  <a:pt x="571" y="138"/>
                </a:cubicBezTo>
                <a:cubicBezTo>
                  <a:pt x="572" y="140"/>
                  <a:pt x="569" y="137"/>
                  <a:pt x="571" y="138"/>
                </a:cubicBezTo>
                <a:close/>
                <a:moveTo>
                  <a:pt x="566" y="136"/>
                </a:moveTo>
                <a:cubicBezTo>
                  <a:pt x="566" y="137"/>
                  <a:pt x="564" y="137"/>
                  <a:pt x="564" y="137"/>
                </a:cubicBezTo>
                <a:cubicBezTo>
                  <a:pt x="564" y="136"/>
                  <a:pt x="566" y="135"/>
                  <a:pt x="566" y="136"/>
                </a:cubicBezTo>
                <a:close/>
                <a:moveTo>
                  <a:pt x="562" y="145"/>
                </a:moveTo>
                <a:cubicBezTo>
                  <a:pt x="563" y="146"/>
                  <a:pt x="562" y="146"/>
                  <a:pt x="562" y="146"/>
                </a:cubicBezTo>
                <a:cubicBezTo>
                  <a:pt x="561" y="145"/>
                  <a:pt x="562" y="145"/>
                  <a:pt x="562" y="145"/>
                </a:cubicBezTo>
                <a:close/>
                <a:moveTo>
                  <a:pt x="549" y="88"/>
                </a:moveTo>
                <a:cubicBezTo>
                  <a:pt x="549" y="88"/>
                  <a:pt x="549" y="88"/>
                  <a:pt x="549" y="88"/>
                </a:cubicBezTo>
                <a:cubicBezTo>
                  <a:pt x="549" y="88"/>
                  <a:pt x="549" y="88"/>
                  <a:pt x="549" y="88"/>
                </a:cubicBezTo>
                <a:close/>
                <a:moveTo>
                  <a:pt x="549" y="88"/>
                </a:moveTo>
                <a:cubicBezTo>
                  <a:pt x="549" y="88"/>
                  <a:pt x="548" y="88"/>
                  <a:pt x="549" y="88"/>
                </a:cubicBezTo>
                <a:close/>
                <a:moveTo>
                  <a:pt x="549" y="90"/>
                </a:moveTo>
                <a:cubicBezTo>
                  <a:pt x="549" y="91"/>
                  <a:pt x="548" y="91"/>
                  <a:pt x="548" y="91"/>
                </a:cubicBezTo>
                <a:cubicBezTo>
                  <a:pt x="548" y="91"/>
                  <a:pt x="549" y="90"/>
                  <a:pt x="549" y="90"/>
                </a:cubicBezTo>
                <a:close/>
                <a:moveTo>
                  <a:pt x="547" y="89"/>
                </a:moveTo>
                <a:cubicBezTo>
                  <a:pt x="546" y="89"/>
                  <a:pt x="546" y="90"/>
                  <a:pt x="545" y="90"/>
                </a:cubicBezTo>
                <a:cubicBezTo>
                  <a:pt x="546" y="90"/>
                  <a:pt x="544" y="88"/>
                  <a:pt x="544" y="88"/>
                </a:cubicBezTo>
                <a:cubicBezTo>
                  <a:pt x="545" y="87"/>
                  <a:pt x="547" y="87"/>
                  <a:pt x="547" y="89"/>
                </a:cubicBezTo>
                <a:close/>
                <a:moveTo>
                  <a:pt x="540" y="94"/>
                </a:moveTo>
                <a:cubicBezTo>
                  <a:pt x="541" y="94"/>
                  <a:pt x="539" y="94"/>
                  <a:pt x="539" y="94"/>
                </a:cubicBezTo>
                <a:cubicBezTo>
                  <a:pt x="539" y="93"/>
                  <a:pt x="540" y="93"/>
                  <a:pt x="540" y="94"/>
                </a:cubicBezTo>
                <a:close/>
                <a:moveTo>
                  <a:pt x="540" y="97"/>
                </a:moveTo>
                <a:cubicBezTo>
                  <a:pt x="540" y="96"/>
                  <a:pt x="538" y="98"/>
                  <a:pt x="539" y="97"/>
                </a:cubicBezTo>
                <a:cubicBezTo>
                  <a:pt x="539" y="96"/>
                  <a:pt x="542" y="93"/>
                  <a:pt x="544" y="93"/>
                </a:cubicBezTo>
                <a:cubicBezTo>
                  <a:pt x="546" y="93"/>
                  <a:pt x="549" y="94"/>
                  <a:pt x="548" y="96"/>
                </a:cubicBezTo>
                <a:cubicBezTo>
                  <a:pt x="548" y="98"/>
                  <a:pt x="544" y="100"/>
                  <a:pt x="542" y="100"/>
                </a:cubicBezTo>
                <a:cubicBezTo>
                  <a:pt x="541" y="100"/>
                  <a:pt x="540" y="99"/>
                  <a:pt x="540" y="99"/>
                </a:cubicBezTo>
                <a:cubicBezTo>
                  <a:pt x="539" y="99"/>
                  <a:pt x="538" y="101"/>
                  <a:pt x="538" y="99"/>
                </a:cubicBezTo>
                <a:cubicBezTo>
                  <a:pt x="538" y="99"/>
                  <a:pt x="540" y="97"/>
                  <a:pt x="540" y="97"/>
                </a:cubicBezTo>
                <a:close/>
                <a:moveTo>
                  <a:pt x="535" y="95"/>
                </a:moveTo>
                <a:cubicBezTo>
                  <a:pt x="536" y="96"/>
                  <a:pt x="533" y="95"/>
                  <a:pt x="535" y="95"/>
                </a:cubicBezTo>
                <a:close/>
                <a:moveTo>
                  <a:pt x="535" y="97"/>
                </a:moveTo>
                <a:cubicBezTo>
                  <a:pt x="535" y="97"/>
                  <a:pt x="535" y="96"/>
                  <a:pt x="535" y="96"/>
                </a:cubicBezTo>
                <a:cubicBezTo>
                  <a:pt x="535" y="97"/>
                  <a:pt x="536" y="97"/>
                  <a:pt x="535" y="97"/>
                </a:cubicBezTo>
                <a:close/>
                <a:moveTo>
                  <a:pt x="534" y="111"/>
                </a:moveTo>
                <a:cubicBezTo>
                  <a:pt x="534" y="110"/>
                  <a:pt x="535" y="109"/>
                  <a:pt x="536" y="110"/>
                </a:cubicBezTo>
                <a:cubicBezTo>
                  <a:pt x="537" y="111"/>
                  <a:pt x="535" y="111"/>
                  <a:pt x="534" y="111"/>
                </a:cubicBezTo>
                <a:close/>
                <a:moveTo>
                  <a:pt x="535" y="84"/>
                </a:moveTo>
                <a:cubicBezTo>
                  <a:pt x="538" y="83"/>
                  <a:pt x="536" y="88"/>
                  <a:pt x="534" y="87"/>
                </a:cubicBezTo>
                <a:cubicBezTo>
                  <a:pt x="532" y="86"/>
                  <a:pt x="534" y="85"/>
                  <a:pt x="535" y="84"/>
                </a:cubicBezTo>
                <a:close/>
                <a:moveTo>
                  <a:pt x="545" y="73"/>
                </a:moveTo>
                <a:cubicBezTo>
                  <a:pt x="544" y="74"/>
                  <a:pt x="544" y="72"/>
                  <a:pt x="545" y="73"/>
                </a:cubicBezTo>
                <a:close/>
                <a:moveTo>
                  <a:pt x="541" y="72"/>
                </a:moveTo>
                <a:cubicBezTo>
                  <a:pt x="540" y="73"/>
                  <a:pt x="539" y="73"/>
                  <a:pt x="537" y="73"/>
                </a:cubicBezTo>
                <a:cubicBezTo>
                  <a:pt x="539" y="73"/>
                  <a:pt x="539" y="71"/>
                  <a:pt x="541" y="72"/>
                </a:cubicBezTo>
                <a:close/>
                <a:moveTo>
                  <a:pt x="534" y="73"/>
                </a:moveTo>
                <a:cubicBezTo>
                  <a:pt x="534" y="74"/>
                  <a:pt x="532" y="75"/>
                  <a:pt x="532" y="74"/>
                </a:cubicBezTo>
                <a:cubicBezTo>
                  <a:pt x="531" y="74"/>
                  <a:pt x="534" y="73"/>
                  <a:pt x="534" y="73"/>
                </a:cubicBezTo>
                <a:close/>
                <a:moveTo>
                  <a:pt x="531" y="74"/>
                </a:moveTo>
                <a:cubicBezTo>
                  <a:pt x="532" y="75"/>
                  <a:pt x="530" y="74"/>
                  <a:pt x="530" y="74"/>
                </a:cubicBezTo>
                <a:cubicBezTo>
                  <a:pt x="529" y="73"/>
                  <a:pt x="531" y="73"/>
                  <a:pt x="531" y="74"/>
                </a:cubicBezTo>
                <a:close/>
                <a:moveTo>
                  <a:pt x="458" y="41"/>
                </a:moveTo>
                <a:cubicBezTo>
                  <a:pt x="458" y="42"/>
                  <a:pt x="458" y="42"/>
                  <a:pt x="458" y="42"/>
                </a:cubicBezTo>
                <a:cubicBezTo>
                  <a:pt x="458" y="41"/>
                  <a:pt x="457" y="40"/>
                  <a:pt x="458" y="41"/>
                </a:cubicBezTo>
                <a:close/>
                <a:moveTo>
                  <a:pt x="421" y="34"/>
                </a:moveTo>
                <a:cubicBezTo>
                  <a:pt x="420" y="34"/>
                  <a:pt x="420" y="33"/>
                  <a:pt x="421" y="34"/>
                </a:cubicBezTo>
                <a:close/>
                <a:moveTo>
                  <a:pt x="421" y="29"/>
                </a:moveTo>
                <a:cubicBezTo>
                  <a:pt x="422" y="30"/>
                  <a:pt x="420" y="30"/>
                  <a:pt x="420" y="30"/>
                </a:cubicBezTo>
                <a:cubicBezTo>
                  <a:pt x="419" y="29"/>
                  <a:pt x="421" y="29"/>
                  <a:pt x="421" y="29"/>
                </a:cubicBezTo>
                <a:close/>
                <a:moveTo>
                  <a:pt x="461" y="19"/>
                </a:moveTo>
                <a:cubicBezTo>
                  <a:pt x="461" y="20"/>
                  <a:pt x="458" y="20"/>
                  <a:pt x="458" y="19"/>
                </a:cubicBezTo>
                <a:cubicBezTo>
                  <a:pt x="457" y="18"/>
                  <a:pt x="461" y="17"/>
                  <a:pt x="461" y="19"/>
                </a:cubicBezTo>
                <a:close/>
                <a:moveTo>
                  <a:pt x="456" y="20"/>
                </a:moveTo>
                <a:cubicBezTo>
                  <a:pt x="457" y="21"/>
                  <a:pt x="454" y="22"/>
                  <a:pt x="454" y="20"/>
                </a:cubicBezTo>
                <a:cubicBezTo>
                  <a:pt x="454" y="20"/>
                  <a:pt x="456" y="20"/>
                  <a:pt x="456" y="20"/>
                </a:cubicBezTo>
                <a:close/>
                <a:moveTo>
                  <a:pt x="455" y="23"/>
                </a:moveTo>
                <a:cubicBezTo>
                  <a:pt x="456" y="24"/>
                  <a:pt x="453" y="23"/>
                  <a:pt x="453" y="23"/>
                </a:cubicBezTo>
                <a:cubicBezTo>
                  <a:pt x="453" y="22"/>
                  <a:pt x="455" y="22"/>
                  <a:pt x="455" y="23"/>
                </a:cubicBezTo>
                <a:close/>
                <a:moveTo>
                  <a:pt x="434" y="24"/>
                </a:moveTo>
                <a:cubicBezTo>
                  <a:pt x="434" y="25"/>
                  <a:pt x="430" y="24"/>
                  <a:pt x="430" y="23"/>
                </a:cubicBezTo>
                <a:cubicBezTo>
                  <a:pt x="430" y="22"/>
                  <a:pt x="433" y="22"/>
                  <a:pt x="434" y="24"/>
                </a:cubicBezTo>
                <a:close/>
                <a:moveTo>
                  <a:pt x="427" y="20"/>
                </a:moveTo>
                <a:cubicBezTo>
                  <a:pt x="427" y="21"/>
                  <a:pt x="425" y="20"/>
                  <a:pt x="425" y="20"/>
                </a:cubicBezTo>
                <a:cubicBezTo>
                  <a:pt x="425" y="20"/>
                  <a:pt x="427" y="19"/>
                  <a:pt x="427" y="20"/>
                </a:cubicBezTo>
                <a:close/>
                <a:moveTo>
                  <a:pt x="418" y="41"/>
                </a:moveTo>
                <a:cubicBezTo>
                  <a:pt x="418" y="41"/>
                  <a:pt x="418" y="40"/>
                  <a:pt x="418" y="40"/>
                </a:cubicBezTo>
                <a:cubicBezTo>
                  <a:pt x="416" y="39"/>
                  <a:pt x="420" y="40"/>
                  <a:pt x="418" y="41"/>
                </a:cubicBezTo>
                <a:close/>
                <a:moveTo>
                  <a:pt x="415" y="43"/>
                </a:moveTo>
                <a:cubicBezTo>
                  <a:pt x="416" y="44"/>
                  <a:pt x="414" y="44"/>
                  <a:pt x="414" y="44"/>
                </a:cubicBezTo>
                <a:cubicBezTo>
                  <a:pt x="414" y="44"/>
                  <a:pt x="414" y="43"/>
                  <a:pt x="415" y="43"/>
                </a:cubicBezTo>
                <a:close/>
                <a:moveTo>
                  <a:pt x="388" y="45"/>
                </a:moveTo>
                <a:cubicBezTo>
                  <a:pt x="388" y="43"/>
                  <a:pt x="393" y="43"/>
                  <a:pt x="393" y="45"/>
                </a:cubicBezTo>
                <a:cubicBezTo>
                  <a:pt x="393" y="48"/>
                  <a:pt x="388" y="46"/>
                  <a:pt x="388" y="45"/>
                </a:cubicBezTo>
                <a:close/>
                <a:moveTo>
                  <a:pt x="394" y="10"/>
                </a:moveTo>
                <a:cubicBezTo>
                  <a:pt x="394" y="11"/>
                  <a:pt x="393" y="11"/>
                  <a:pt x="392" y="11"/>
                </a:cubicBezTo>
                <a:cubicBezTo>
                  <a:pt x="393" y="10"/>
                  <a:pt x="394" y="10"/>
                  <a:pt x="394" y="10"/>
                </a:cubicBezTo>
                <a:close/>
                <a:moveTo>
                  <a:pt x="389" y="10"/>
                </a:moveTo>
                <a:cubicBezTo>
                  <a:pt x="391" y="9"/>
                  <a:pt x="391" y="12"/>
                  <a:pt x="389" y="10"/>
                </a:cubicBezTo>
                <a:close/>
                <a:moveTo>
                  <a:pt x="387" y="32"/>
                </a:moveTo>
                <a:cubicBezTo>
                  <a:pt x="393" y="30"/>
                  <a:pt x="399" y="30"/>
                  <a:pt x="404" y="30"/>
                </a:cubicBezTo>
                <a:cubicBezTo>
                  <a:pt x="399" y="31"/>
                  <a:pt x="391" y="32"/>
                  <a:pt x="384" y="33"/>
                </a:cubicBezTo>
                <a:cubicBezTo>
                  <a:pt x="379" y="35"/>
                  <a:pt x="386" y="32"/>
                  <a:pt x="387" y="32"/>
                </a:cubicBezTo>
                <a:close/>
                <a:moveTo>
                  <a:pt x="380" y="25"/>
                </a:moveTo>
                <a:cubicBezTo>
                  <a:pt x="381" y="24"/>
                  <a:pt x="382" y="26"/>
                  <a:pt x="380" y="25"/>
                </a:cubicBezTo>
                <a:close/>
                <a:moveTo>
                  <a:pt x="355" y="52"/>
                </a:moveTo>
                <a:cubicBezTo>
                  <a:pt x="355" y="51"/>
                  <a:pt x="357" y="50"/>
                  <a:pt x="357" y="51"/>
                </a:cubicBezTo>
                <a:cubicBezTo>
                  <a:pt x="358" y="53"/>
                  <a:pt x="356" y="52"/>
                  <a:pt x="355" y="52"/>
                </a:cubicBezTo>
                <a:close/>
                <a:moveTo>
                  <a:pt x="375" y="42"/>
                </a:move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lose/>
                <a:moveTo>
                  <a:pt x="371" y="6"/>
                </a:moveTo>
                <a:cubicBezTo>
                  <a:pt x="372" y="5"/>
                  <a:pt x="373" y="7"/>
                  <a:pt x="371" y="6"/>
                </a:cubicBezTo>
                <a:close/>
                <a:moveTo>
                  <a:pt x="367" y="52"/>
                </a:moveTo>
                <a:cubicBezTo>
                  <a:pt x="366" y="53"/>
                  <a:pt x="365" y="53"/>
                  <a:pt x="364" y="53"/>
                </a:cubicBezTo>
                <a:cubicBezTo>
                  <a:pt x="365" y="52"/>
                  <a:pt x="366" y="52"/>
                  <a:pt x="367" y="52"/>
                </a:cubicBezTo>
                <a:close/>
                <a:moveTo>
                  <a:pt x="360" y="41"/>
                </a:moveTo>
                <a:cubicBezTo>
                  <a:pt x="358" y="42"/>
                  <a:pt x="354" y="43"/>
                  <a:pt x="351" y="41"/>
                </a:cubicBezTo>
                <a:cubicBezTo>
                  <a:pt x="351" y="40"/>
                  <a:pt x="360" y="41"/>
                  <a:pt x="360" y="41"/>
                </a:cubicBezTo>
                <a:close/>
                <a:moveTo>
                  <a:pt x="2" y="391"/>
                </a:moveTo>
                <a:cubicBezTo>
                  <a:pt x="2" y="392"/>
                  <a:pt x="2" y="389"/>
                  <a:pt x="2" y="391"/>
                </a:cubicBezTo>
                <a:close/>
                <a:moveTo>
                  <a:pt x="2" y="338"/>
                </a:moveTo>
                <a:cubicBezTo>
                  <a:pt x="1" y="339"/>
                  <a:pt x="1" y="336"/>
                  <a:pt x="2" y="337"/>
                </a:cubicBezTo>
                <a:cubicBezTo>
                  <a:pt x="2" y="337"/>
                  <a:pt x="2" y="337"/>
                  <a:pt x="2" y="338"/>
                </a:cubicBezTo>
                <a:close/>
                <a:moveTo>
                  <a:pt x="6" y="411"/>
                </a:moveTo>
                <a:cubicBezTo>
                  <a:pt x="7" y="410"/>
                  <a:pt x="8" y="410"/>
                  <a:pt x="6" y="411"/>
                </a:cubicBezTo>
                <a:close/>
                <a:moveTo>
                  <a:pt x="7" y="377"/>
                </a:moveTo>
                <a:cubicBezTo>
                  <a:pt x="8" y="377"/>
                  <a:pt x="8" y="378"/>
                  <a:pt x="7" y="379"/>
                </a:cubicBezTo>
                <a:cubicBezTo>
                  <a:pt x="6" y="380"/>
                  <a:pt x="7" y="377"/>
                  <a:pt x="7" y="377"/>
                </a:cubicBezTo>
                <a:close/>
                <a:moveTo>
                  <a:pt x="7" y="415"/>
                </a:moveTo>
                <a:cubicBezTo>
                  <a:pt x="7" y="416"/>
                  <a:pt x="7" y="413"/>
                  <a:pt x="8" y="414"/>
                </a:cubicBezTo>
                <a:cubicBezTo>
                  <a:pt x="9" y="414"/>
                  <a:pt x="8" y="415"/>
                  <a:pt x="7" y="415"/>
                </a:cubicBezTo>
                <a:close/>
                <a:moveTo>
                  <a:pt x="7" y="368"/>
                </a:moveTo>
                <a:cubicBezTo>
                  <a:pt x="6" y="367"/>
                  <a:pt x="7" y="364"/>
                  <a:pt x="8" y="363"/>
                </a:cubicBezTo>
                <a:cubicBezTo>
                  <a:pt x="8" y="365"/>
                  <a:pt x="7" y="366"/>
                  <a:pt x="7" y="368"/>
                </a:cubicBezTo>
                <a:close/>
                <a:moveTo>
                  <a:pt x="13" y="438"/>
                </a:moveTo>
                <a:cubicBezTo>
                  <a:pt x="13" y="438"/>
                  <a:pt x="13" y="439"/>
                  <a:pt x="13" y="439"/>
                </a:cubicBezTo>
                <a:cubicBezTo>
                  <a:pt x="13" y="441"/>
                  <a:pt x="12" y="437"/>
                  <a:pt x="13" y="438"/>
                </a:cubicBezTo>
                <a:close/>
                <a:moveTo>
                  <a:pt x="12" y="423"/>
                </a:moveTo>
                <a:cubicBezTo>
                  <a:pt x="13" y="423"/>
                  <a:pt x="11" y="425"/>
                  <a:pt x="12" y="423"/>
                </a:cubicBezTo>
                <a:close/>
                <a:moveTo>
                  <a:pt x="15" y="295"/>
                </a:moveTo>
                <a:cubicBezTo>
                  <a:pt x="15" y="298"/>
                  <a:pt x="13" y="296"/>
                  <a:pt x="15" y="295"/>
                </a:cubicBezTo>
                <a:close/>
                <a:moveTo>
                  <a:pt x="13" y="368"/>
                </a:moveTo>
                <a:cubicBezTo>
                  <a:pt x="14" y="368"/>
                  <a:pt x="13" y="369"/>
                  <a:pt x="13" y="369"/>
                </a:cubicBezTo>
                <a:cubicBezTo>
                  <a:pt x="12" y="370"/>
                  <a:pt x="12" y="367"/>
                  <a:pt x="13" y="368"/>
                </a:cubicBezTo>
                <a:close/>
                <a:moveTo>
                  <a:pt x="12" y="352"/>
                </a:moveTo>
                <a:cubicBezTo>
                  <a:pt x="11" y="353"/>
                  <a:pt x="11" y="350"/>
                  <a:pt x="12" y="351"/>
                </a:cubicBezTo>
                <a:cubicBezTo>
                  <a:pt x="13" y="351"/>
                  <a:pt x="12" y="352"/>
                  <a:pt x="12" y="352"/>
                </a:cubicBezTo>
                <a:close/>
                <a:moveTo>
                  <a:pt x="10" y="333"/>
                </a:moveTo>
                <a:cubicBezTo>
                  <a:pt x="12" y="332"/>
                  <a:pt x="14" y="337"/>
                  <a:pt x="12" y="338"/>
                </a:cubicBezTo>
                <a:cubicBezTo>
                  <a:pt x="9" y="339"/>
                  <a:pt x="9" y="334"/>
                  <a:pt x="10" y="333"/>
                </a:cubicBezTo>
                <a:close/>
                <a:moveTo>
                  <a:pt x="10" y="355"/>
                </a:moveTo>
                <a:cubicBezTo>
                  <a:pt x="9" y="356"/>
                  <a:pt x="10" y="353"/>
                  <a:pt x="10" y="353"/>
                </a:cubicBezTo>
                <a:cubicBezTo>
                  <a:pt x="11" y="354"/>
                  <a:pt x="10" y="355"/>
                  <a:pt x="10" y="355"/>
                </a:cubicBezTo>
                <a:close/>
                <a:moveTo>
                  <a:pt x="9" y="371"/>
                </a:moveTo>
                <a:cubicBezTo>
                  <a:pt x="8" y="372"/>
                  <a:pt x="8" y="369"/>
                  <a:pt x="9" y="370"/>
                </a:cubicBezTo>
                <a:cubicBezTo>
                  <a:pt x="9" y="370"/>
                  <a:pt x="9" y="371"/>
                  <a:pt x="9" y="371"/>
                </a:cubicBezTo>
                <a:close/>
                <a:moveTo>
                  <a:pt x="9" y="359"/>
                </a:moveTo>
                <a:cubicBezTo>
                  <a:pt x="8" y="359"/>
                  <a:pt x="9" y="357"/>
                  <a:pt x="10" y="357"/>
                </a:cubicBezTo>
                <a:cubicBezTo>
                  <a:pt x="9" y="358"/>
                  <a:pt x="9" y="358"/>
                  <a:pt x="9" y="359"/>
                </a:cubicBezTo>
                <a:close/>
                <a:moveTo>
                  <a:pt x="10" y="438"/>
                </a:moveTo>
                <a:cubicBezTo>
                  <a:pt x="9" y="439"/>
                  <a:pt x="10" y="436"/>
                  <a:pt x="11" y="436"/>
                </a:cubicBezTo>
                <a:cubicBezTo>
                  <a:pt x="12" y="437"/>
                  <a:pt x="11" y="437"/>
                  <a:pt x="10" y="438"/>
                </a:cubicBezTo>
                <a:close/>
                <a:moveTo>
                  <a:pt x="10" y="424"/>
                </a:moveTo>
                <a:cubicBezTo>
                  <a:pt x="9" y="425"/>
                  <a:pt x="10" y="422"/>
                  <a:pt x="11" y="423"/>
                </a:cubicBezTo>
                <a:cubicBezTo>
                  <a:pt x="12" y="424"/>
                  <a:pt x="11" y="424"/>
                  <a:pt x="10" y="424"/>
                </a:cubicBezTo>
                <a:close/>
                <a:moveTo>
                  <a:pt x="11" y="386"/>
                </a:moveTo>
                <a:cubicBezTo>
                  <a:pt x="10" y="386"/>
                  <a:pt x="10" y="387"/>
                  <a:pt x="10" y="385"/>
                </a:cubicBezTo>
                <a:cubicBezTo>
                  <a:pt x="10" y="383"/>
                  <a:pt x="14" y="374"/>
                  <a:pt x="14" y="374"/>
                </a:cubicBezTo>
                <a:cubicBezTo>
                  <a:pt x="16" y="374"/>
                  <a:pt x="13" y="377"/>
                  <a:pt x="13" y="378"/>
                </a:cubicBezTo>
                <a:cubicBezTo>
                  <a:pt x="12" y="381"/>
                  <a:pt x="14" y="385"/>
                  <a:pt x="11" y="386"/>
                </a:cubicBezTo>
                <a:close/>
                <a:moveTo>
                  <a:pt x="14" y="394"/>
                </a:moveTo>
                <a:cubicBezTo>
                  <a:pt x="13" y="396"/>
                  <a:pt x="14" y="393"/>
                  <a:pt x="14" y="393"/>
                </a:cubicBezTo>
                <a:cubicBezTo>
                  <a:pt x="15" y="393"/>
                  <a:pt x="15" y="394"/>
                  <a:pt x="14" y="394"/>
                </a:cubicBezTo>
                <a:close/>
                <a:moveTo>
                  <a:pt x="15" y="388"/>
                </a:moveTo>
                <a:cubicBezTo>
                  <a:pt x="14" y="388"/>
                  <a:pt x="15" y="387"/>
                  <a:pt x="15" y="387"/>
                </a:cubicBezTo>
                <a:cubicBezTo>
                  <a:pt x="15" y="387"/>
                  <a:pt x="15" y="388"/>
                  <a:pt x="15" y="388"/>
                </a:cubicBezTo>
                <a:close/>
                <a:moveTo>
                  <a:pt x="15" y="300"/>
                </a:moveTo>
                <a:cubicBezTo>
                  <a:pt x="16" y="302"/>
                  <a:pt x="14" y="301"/>
                  <a:pt x="15" y="300"/>
                </a:cubicBezTo>
                <a:close/>
                <a:moveTo>
                  <a:pt x="16" y="366"/>
                </a:moveTo>
                <a:cubicBezTo>
                  <a:pt x="15" y="367"/>
                  <a:pt x="17" y="364"/>
                  <a:pt x="16" y="366"/>
                </a:cubicBezTo>
                <a:close/>
                <a:moveTo>
                  <a:pt x="17" y="380"/>
                </a:moveTo>
                <a:cubicBezTo>
                  <a:pt x="16" y="381"/>
                  <a:pt x="16" y="379"/>
                  <a:pt x="17" y="379"/>
                </a:cubicBezTo>
                <a:cubicBezTo>
                  <a:pt x="17" y="378"/>
                  <a:pt x="17" y="380"/>
                  <a:pt x="17" y="380"/>
                </a:cubicBezTo>
                <a:close/>
                <a:moveTo>
                  <a:pt x="27" y="420"/>
                </a:move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lose/>
                <a:moveTo>
                  <a:pt x="23" y="346"/>
                </a:moveTo>
                <a:cubicBezTo>
                  <a:pt x="23" y="346"/>
                  <a:pt x="23" y="347"/>
                  <a:pt x="23" y="347"/>
                </a:cubicBezTo>
                <a:cubicBezTo>
                  <a:pt x="22" y="347"/>
                  <a:pt x="22" y="346"/>
                  <a:pt x="23" y="346"/>
                </a:cubicBezTo>
                <a:close/>
                <a:moveTo>
                  <a:pt x="19" y="405"/>
                </a:moveTo>
                <a:cubicBezTo>
                  <a:pt x="19" y="405"/>
                  <a:pt x="18" y="404"/>
                  <a:pt x="18" y="404"/>
                </a:cubicBezTo>
                <a:cubicBezTo>
                  <a:pt x="18" y="404"/>
                  <a:pt x="20" y="404"/>
                  <a:pt x="19" y="405"/>
                </a:cubicBezTo>
                <a:close/>
                <a:moveTo>
                  <a:pt x="20" y="406"/>
                </a:moveTo>
                <a:cubicBezTo>
                  <a:pt x="19" y="406"/>
                  <a:pt x="20" y="405"/>
                  <a:pt x="20" y="404"/>
                </a:cubicBezTo>
                <a:cubicBezTo>
                  <a:pt x="21" y="404"/>
                  <a:pt x="20" y="405"/>
                  <a:pt x="20" y="406"/>
                </a:cubicBezTo>
                <a:close/>
                <a:moveTo>
                  <a:pt x="20" y="360"/>
                </a:moveTo>
                <a:cubicBezTo>
                  <a:pt x="19" y="359"/>
                  <a:pt x="21" y="359"/>
                  <a:pt x="20" y="360"/>
                </a:cubicBezTo>
                <a:close/>
                <a:moveTo>
                  <a:pt x="22" y="268"/>
                </a:moveTo>
                <a:cubicBezTo>
                  <a:pt x="23" y="268"/>
                  <a:pt x="22" y="270"/>
                  <a:pt x="22" y="271"/>
                </a:cubicBezTo>
                <a:cubicBezTo>
                  <a:pt x="19" y="273"/>
                  <a:pt x="19" y="267"/>
                  <a:pt x="22" y="268"/>
                </a:cubicBezTo>
                <a:close/>
                <a:moveTo>
                  <a:pt x="21" y="397"/>
                </a:moveTo>
                <a:cubicBezTo>
                  <a:pt x="21" y="396"/>
                  <a:pt x="22" y="397"/>
                  <a:pt x="22" y="398"/>
                </a:cubicBezTo>
                <a:cubicBezTo>
                  <a:pt x="21" y="399"/>
                  <a:pt x="20" y="397"/>
                  <a:pt x="21" y="397"/>
                </a:cubicBezTo>
                <a:close/>
                <a:moveTo>
                  <a:pt x="21" y="415"/>
                </a:moveTo>
                <a:cubicBezTo>
                  <a:pt x="22" y="416"/>
                  <a:pt x="21" y="417"/>
                  <a:pt x="21" y="415"/>
                </a:cubicBezTo>
                <a:close/>
                <a:moveTo>
                  <a:pt x="21" y="413"/>
                </a:moveTo>
                <a:cubicBezTo>
                  <a:pt x="21" y="413"/>
                  <a:pt x="23" y="413"/>
                  <a:pt x="23" y="413"/>
                </a:cubicBezTo>
                <a:cubicBezTo>
                  <a:pt x="23" y="414"/>
                  <a:pt x="20" y="414"/>
                  <a:pt x="21" y="413"/>
                </a:cubicBezTo>
                <a:close/>
                <a:moveTo>
                  <a:pt x="24" y="367"/>
                </a:moveTo>
                <a:cubicBezTo>
                  <a:pt x="25" y="368"/>
                  <a:pt x="23" y="369"/>
                  <a:pt x="24" y="367"/>
                </a:cubicBezTo>
                <a:close/>
                <a:moveTo>
                  <a:pt x="24" y="412"/>
                </a:moveTo>
                <a:cubicBezTo>
                  <a:pt x="24" y="413"/>
                  <a:pt x="24" y="410"/>
                  <a:pt x="24" y="412"/>
                </a:cubicBezTo>
                <a:close/>
                <a:moveTo>
                  <a:pt x="25" y="401"/>
                </a:moveTo>
                <a:cubicBezTo>
                  <a:pt x="24" y="402"/>
                  <a:pt x="24" y="400"/>
                  <a:pt x="24" y="399"/>
                </a:cubicBezTo>
                <a:cubicBezTo>
                  <a:pt x="25" y="399"/>
                  <a:pt x="25" y="401"/>
                  <a:pt x="25" y="401"/>
                </a:cubicBezTo>
                <a:close/>
                <a:moveTo>
                  <a:pt x="27" y="397"/>
                </a:moveTo>
                <a:cubicBezTo>
                  <a:pt x="27" y="398"/>
                  <a:pt x="28" y="396"/>
                  <a:pt x="27" y="397"/>
                </a:cubicBezTo>
                <a:close/>
                <a:moveTo>
                  <a:pt x="25" y="343"/>
                </a:moveTo>
                <a:cubicBezTo>
                  <a:pt x="23" y="342"/>
                  <a:pt x="25" y="340"/>
                  <a:pt x="25" y="338"/>
                </a:cubicBezTo>
                <a:cubicBezTo>
                  <a:pt x="25" y="340"/>
                  <a:pt x="26" y="339"/>
                  <a:pt x="27" y="340"/>
                </a:cubicBezTo>
                <a:cubicBezTo>
                  <a:pt x="29" y="342"/>
                  <a:pt x="26" y="345"/>
                  <a:pt x="25" y="343"/>
                </a:cubicBezTo>
                <a:close/>
                <a:moveTo>
                  <a:pt x="31" y="233"/>
                </a:moveTo>
                <a:cubicBezTo>
                  <a:pt x="30" y="234"/>
                  <a:pt x="30" y="231"/>
                  <a:pt x="30" y="231"/>
                </a:cubicBezTo>
                <a:cubicBezTo>
                  <a:pt x="32" y="231"/>
                  <a:pt x="31" y="233"/>
                  <a:pt x="31" y="233"/>
                </a:cubicBezTo>
                <a:close/>
                <a:moveTo>
                  <a:pt x="33" y="290"/>
                </a:moveTo>
                <a:cubicBezTo>
                  <a:pt x="32" y="291"/>
                  <a:pt x="32" y="288"/>
                  <a:pt x="33" y="289"/>
                </a:cubicBezTo>
                <a:cubicBezTo>
                  <a:pt x="34" y="289"/>
                  <a:pt x="33" y="290"/>
                  <a:pt x="33" y="290"/>
                </a:cubicBezTo>
                <a:close/>
                <a:moveTo>
                  <a:pt x="34" y="385"/>
                </a:moveTo>
                <a:cubicBezTo>
                  <a:pt x="33" y="386"/>
                  <a:pt x="34" y="383"/>
                  <a:pt x="35" y="383"/>
                </a:cubicBezTo>
                <a:cubicBezTo>
                  <a:pt x="35" y="384"/>
                  <a:pt x="34" y="385"/>
                  <a:pt x="34" y="385"/>
                </a:cubicBezTo>
                <a:close/>
                <a:moveTo>
                  <a:pt x="36" y="305"/>
                </a:moveTo>
                <a:cubicBezTo>
                  <a:pt x="35" y="307"/>
                  <a:pt x="37" y="303"/>
                  <a:pt x="36" y="305"/>
                </a:cubicBezTo>
                <a:close/>
                <a:moveTo>
                  <a:pt x="37" y="344"/>
                </a:moveTo>
                <a:cubicBezTo>
                  <a:pt x="37" y="344"/>
                  <a:pt x="38" y="344"/>
                  <a:pt x="38" y="344"/>
                </a:cubicBezTo>
                <a:cubicBezTo>
                  <a:pt x="38" y="345"/>
                  <a:pt x="37" y="345"/>
                  <a:pt x="37" y="344"/>
                </a:cubicBezTo>
                <a:close/>
                <a:moveTo>
                  <a:pt x="29" y="469"/>
                </a:moveTo>
                <a:cubicBezTo>
                  <a:pt x="25" y="471"/>
                  <a:pt x="25" y="463"/>
                  <a:pt x="29" y="464"/>
                </a:cubicBezTo>
                <a:cubicBezTo>
                  <a:pt x="31" y="464"/>
                  <a:pt x="31" y="468"/>
                  <a:pt x="29" y="469"/>
                </a:cubicBezTo>
                <a:close/>
                <a:moveTo>
                  <a:pt x="34" y="484"/>
                </a:moveTo>
                <a:cubicBezTo>
                  <a:pt x="34" y="485"/>
                  <a:pt x="34" y="485"/>
                  <a:pt x="33" y="485"/>
                </a:cubicBezTo>
                <a:cubicBezTo>
                  <a:pt x="32" y="486"/>
                  <a:pt x="33" y="483"/>
                  <a:pt x="34" y="484"/>
                </a:cubicBezTo>
                <a:close/>
                <a:moveTo>
                  <a:pt x="36" y="466"/>
                </a:moveTo>
                <a:cubicBezTo>
                  <a:pt x="34" y="467"/>
                  <a:pt x="34" y="464"/>
                  <a:pt x="35" y="463"/>
                </a:cubicBezTo>
                <a:cubicBezTo>
                  <a:pt x="36" y="463"/>
                  <a:pt x="37" y="465"/>
                  <a:pt x="36" y="466"/>
                </a:cubicBezTo>
                <a:close/>
                <a:moveTo>
                  <a:pt x="38" y="455"/>
                </a:moveTo>
                <a:cubicBezTo>
                  <a:pt x="38" y="455"/>
                  <a:pt x="38" y="456"/>
                  <a:pt x="38" y="456"/>
                </a:cubicBezTo>
                <a:cubicBezTo>
                  <a:pt x="37" y="458"/>
                  <a:pt x="36" y="454"/>
                  <a:pt x="38" y="455"/>
                </a:cubicBezTo>
                <a:close/>
                <a:moveTo>
                  <a:pt x="38" y="461"/>
                </a:moveTo>
                <a:cubicBezTo>
                  <a:pt x="36" y="462"/>
                  <a:pt x="38" y="459"/>
                  <a:pt x="39" y="459"/>
                </a:cubicBezTo>
                <a:cubicBezTo>
                  <a:pt x="39" y="460"/>
                  <a:pt x="38" y="461"/>
                  <a:pt x="38" y="461"/>
                </a:cubicBezTo>
                <a:close/>
                <a:moveTo>
                  <a:pt x="66" y="337"/>
                </a:moveTo>
                <a:cubicBezTo>
                  <a:pt x="66" y="337"/>
                  <a:pt x="66" y="338"/>
                  <a:pt x="66" y="338"/>
                </a:cubicBezTo>
                <a:cubicBezTo>
                  <a:pt x="65" y="339"/>
                  <a:pt x="65" y="336"/>
                  <a:pt x="66" y="337"/>
                </a:cubicBezTo>
                <a:close/>
                <a:moveTo>
                  <a:pt x="66" y="380"/>
                </a:moveTo>
                <a:cubicBezTo>
                  <a:pt x="67" y="380"/>
                  <a:pt x="67" y="382"/>
                  <a:pt x="66" y="382"/>
                </a:cubicBezTo>
                <a:cubicBezTo>
                  <a:pt x="65" y="384"/>
                  <a:pt x="65" y="379"/>
                  <a:pt x="66" y="380"/>
                </a:cubicBezTo>
                <a:close/>
                <a:moveTo>
                  <a:pt x="63" y="330"/>
                </a:moveTo>
                <a:cubicBezTo>
                  <a:pt x="62" y="331"/>
                  <a:pt x="64" y="329"/>
                  <a:pt x="63" y="330"/>
                </a:cubicBezTo>
                <a:close/>
                <a:moveTo>
                  <a:pt x="64" y="346"/>
                </a:moveTo>
                <a:cubicBezTo>
                  <a:pt x="66" y="346"/>
                  <a:pt x="65" y="351"/>
                  <a:pt x="62" y="351"/>
                </a:cubicBezTo>
                <a:cubicBezTo>
                  <a:pt x="62" y="351"/>
                  <a:pt x="62" y="345"/>
                  <a:pt x="64" y="346"/>
                </a:cubicBezTo>
                <a:close/>
                <a:moveTo>
                  <a:pt x="64" y="393"/>
                </a:moveTo>
                <a:cubicBezTo>
                  <a:pt x="64" y="392"/>
                  <a:pt x="65" y="394"/>
                  <a:pt x="64" y="393"/>
                </a:cubicBezTo>
                <a:close/>
                <a:moveTo>
                  <a:pt x="61" y="364"/>
                </a:moveTo>
                <a:cubicBezTo>
                  <a:pt x="61" y="362"/>
                  <a:pt x="62" y="363"/>
                  <a:pt x="61" y="364"/>
                </a:cubicBezTo>
                <a:close/>
                <a:moveTo>
                  <a:pt x="61" y="403"/>
                </a:moveTo>
                <a:cubicBezTo>
                  <a:pt x="61" y="403"/>
                  <a:pt x="61" y="403"/>
                  <a:pt x="62" y="403"/>
                </a:cubicBezTo>
                <a:cubicBezTo>
                  <a:pt x="63" y="402"/>
                  <a:pt x="61" y="403"/>
                  <a:pt x="61" y="403"/>
                </a:cubicBezTo>
                <a:close/>
                <a:moveTo>
                  <a:pt x="61" y="365"/>
                </a:moveTo>
                <a:cubicBezTo>
                  <a:pt x="61" y="366"/>
                  <a:pt x="59" y="365"/>
                  <a:pt x="61" y="365"/>
                </a:cubicBezTo>
                <a:close/>
                <a:moveTo>
                  <a:pt x="58" y="357"/>
                </a:moveTo>
                <a:cubicBezTo>
                  <a:pt x="59" y="357"/>
                  <a:pt x="58" y="359"/>
                  <a:pt x="58" y="359"/>
                </a:cubicBezTo>
                <a:cubicBezTo>
                  <a:pt x="56" y="361"/>
                  <a:pt x="55" y="356"/>
                  <a:pt x="58" y="357"/>
                </a:cubicBezTo>
                <a:close/>
                <a:moveTo>
                  <a:pt x="56" y="405"/>
                </a:moveTo>
                <a:cubicBezTo>
                  <a:pt x="56" y="405"/>
                  <a:pt x="56" y="406"/>
                  <a:pt x="56" y="406"/>
                </a:cubicBezTo>
                <a:cubicBezTo>
                  <a:pt x="55" y="407"/>
                  <a:pt x="55" y="405"/>
                  <a:pt x="56" y="405"/>
                </a:cubicBezTo>
                <a:close/>
                <a:moveTo>
                  <a:pt x="54" y="374"/>
                </a:moveTo>
                <a:cubicBezTo>
                  <a:pt x="55" y="374"/>
                  <a:pt x="55" y="375"/>
                  <a:pt x="54" y="375"/>
                </a:cubicBezTo>
                <a:cubicBezTo>
                  <a:pt x="53" y="376"/>
                  <a:pt x="53" y="374"/>
                  <a:pt x="54" y="374"/>
                </a:cubicBezTo>
                <a:close/>
                <a:moveTo>
                  <a:pt x="49" y="398"/>
                </a:moveTo>
                <a:cubicBezTo>
                  <a:pt x="51" y="396"/>
                  <a:pt x="52" y="393"/>
                  <a:pt x="54" y="390"/>
                </a:cubicBezTo>
                <a:cubicBezTo>
                  <a:pt x="53" y="393"/>
                  <a:pt x="51" y="396"/>
                  <a:pt x="49" y="398"/>
                </a:cubicBezTo>
                <a:close/>
                <a:moveTo>
                  <a:pt x="51" y="408"/>
                </a:moveTo>
                <a:cubicBezTo>
                  <a:pt x="50" y="407"/>
                  <a:pt x="52" y="406"/>
                  <a:pt x="52" y="407"/>
                </a:cubicBezTo>
                <a:cubicBezTo>
                  <a:pt x="54" y="408"/>
                  <a:pt x="52" y="410"/>
                  <a:pt x="51" y="408"/>
                </a:cubicBezTo>
                <a:close/>
                <a:moveTo>
                  <a:pt x="46" y="404"/>
                </a:moveTo>
                <a:cubicBezTo>
                  <a:pt x="46" y="404"/>
                  <a:pt x="47" y="400"/>
                  <a:pt x="48" y="399"/>
                </a:cubicBezTo>
                <a:cubicBezTo>
                  <a:pt x="48" y="400"/>
                  <a:pt x="47" y="404"/>
                  <a:pt x="46" y="404"/>
                </a:cubicBezTo>
                <a:close/>
                <a:moveTo>
                  <a:pt x="47" y="409"/>
                </a:moveTo>
                <a:cubicBezTo>
                  <a:pt x="48" y="408"/>
                  <a:pt x="47" y="410"/>
                  <a:pt x="47" y="409"/>
                </a:cubicBezTo>
                <a:close/>
                <a:moveTo>
                  <a:pt x="48" y="392"/>
                </a:moveTo>
                <a:cubicBezTo>
                  <a:pt x="46" y="393"/>
                  <a:pt x="46" y="388"/>
                  <a:pt x="49" y="389"/>
                </a:cubicBezTo>
                <a:cubicBezTo>
                  <a:pt x="50" y="389"/>
                  <a:pt x="49" y="392"/>
                  <a:pt x="48" y="392"/>
                </a:cubicBezTo>
                <a:close/>
                <a:moveTo>
                  <a:pt x="53" y="323"/>
                </a:moveTo>
                <a:cubicBezTo>
                  <a:pt x="54" y="323"/>
                  <a:pt x="54" y="325"/>
                  <a:pt x="53" y="325"/>
                </a:cubicBezTo>
                <a:cubicBezTo>
                  <a:pt x="52" y="326"/>
                  <a:pt x="52" y="323"/>
                  <a:pt x="53" y="323"/>
                </a:cubicBezTo>
                <a:close/>
                <a:moveTo>
                  <a:pt x="50" y="354"/>
                </a:moveTo>
                <a:cubicBezTo>
                  <a:pt x="53" y="355"/>
                  <a:pt x="51" y="360"/>
                  <a:pt x="50" y="360"/>
                </a:cubicBezTo>
                <a:cubicBezTo>
                  <a:pt x="45" y="362"/>
                  <a:pt x="47" y="352"/>
                  <a:pt x="50" y="354"/>
                </a:cubicBezTo>
                <a:close/>
                <a:moveTo>
                  <a:pt x="47" y="328"/>
                </a:moveTo>
                <a:cubicBezTo>
                  <a:pt x="47" y="328"/>
                  <a:pt x="48" y="328"/>
                  <a:pt x="48" y="327"/>
                </a:cubicBezTo>
                <a:cubicBezTo>
                  <a:pt x="49" y="327"/>
                  <a:pt x="49" y="328"/>
                  <a:pt x="47" y="328"/>
                </a:cubicBezTo>
                <a:close/>
                <a:moveTo>
                  <a:pt x="48" y="267"/>
                </a:moveTo>
                <a:cubicBezTo>
                  <a:pt x="47" y="267"/>
                  <a:pt x="47" y="267"/>
                  <a:pt x="47" y="266"/>
                </a:cubicBezTo>
                <a:cubicBezTo>
                  <a:pt x="47" y="266"/>
                  <a:pt x="49" y="266"/>
                  <a:pt x="48" y="267"/>
                </a:cubicBezTo>
                <a:close/>
                <a:moveTo>
                  <a:pt x="46" y="377"/>
                </a:moveTo>
                <a:cubicBezTo>
                  <a:pt x="45" y="378"/>
                  <a:pt x="45" y="376"/>
                  <a:pt x="46" y="376"/>
                </a:cubicBezTo>
                <a:cubicBezTo>
                  <a:pt x="47" y="376"/>
                  <a:pt x="46" y="377"/>
                  <a:pt x="46" y="377"/>
                </a:cubicBezTo>
                <a:close/>
                <a:moveTo>
                  <a:pt x="45" y="192"/>
                </a:moveTo>
                <a:cubicBezTo>
                  <a:pt x="46" y="192"/>
                  <a:pt x="46" y="193"/>
                  <a:pt x="46" y="193"/>
                </a:cubicBezTo>
                <a:cubicBezTo>
                  <a:pt x="44" y="195"/>
                  <a:pt x="44" y="191"/>
                  <a:pt x="45" y="192"/>
                </a:cubicBezTo>
                <a:close/>
                <a:moveTo>
                  <a:pt x="45" y="207"/>
                </a:moveTo>
                <a:cubicBezTo>
                  <a:pt x="46" y="207"/>
                  <a:pt x="45" y="208"/>
                  <a:pt x="45" y="209"/>
                </a:cubicBezTo>
                <a:cubicBezTo>
                  <a:pt x="44" y="210"/>
                  <a:pt x="44" y="207"/>
                  <a:pt x="45" y="207"/>
                </a:cubicBezTo>
                <a:close/>
                <a:moveTo>
                  <a:pt x="44" y="360"/>
                </a:moveTo>
                <a:cubicBezTo>
                  <a:pt x="45" y="361"/>
                  <a:pt x="44" y="363"/>
                  <a:pt x="44" y="363"/>
                </a:cubicBezTo>
                <a:cubicBezTo>
                  <a:pt x="42" y="364"/>
                  <a:pt x="43" y="360"/>
                  <a:pt x="44" y="360"/>
                </a:cubicBezTo>
                <a:close/>
                <a:moveTo>
                  <a:pt x="43" y="227"/>
                </a:moveTo>
                <a:cubicBezTo>
                  <a:pt x="43" y="227"/>
                  <a:pt x="43" y="228"/>
                  <a:pt x="43" y="228"/>
                </a:cubicBezTo>
                <a:cubicBezTo>
                  <a:pt x="42" y="229"/>
                  <a:pt x="43" y="226"/>
                  <a:pt x="43" y="227"/>
                </a:cubicBezTo>
                <a:close/>
                <a:moveTo>
                  <a:pt x="40" y="322"/>
                </a:moveTo>
                <a:cubicBezTo>
                  <a:pt x="41" y="320"/>
                  <a:pt x="39" y="322"/>
                  <a:pt x="40" y="322"/>
                </a:cubicBezTo>
                <a:close/>
                <a:moveTo>
                  <a:pt x="36" y="429"/>
                </a:moveTo>
                <a:cubicBezTo>
                  <a:pt x="35" y="431"/>
                  <a:pt x="35" y="428"/>
                  <a:pt x="36" y="428"/>
                </a:cubicBezTo>
                <a:cubicBezTo>
                  <a:pt x="36" y="429"/>
                  <a:pt x="36" y="429"/>
                  <a:pt x="36" y="429"/>
                </a:cubicBezTo>
                <a:close/>
                <a:moveTo>
                  <a:pt x="35" y="428"/>
                </a:moveTo>
                <a:cubicBezTo>
                  <a:pt x="34" y="427"/>
                  <a:pt x="36" y="425"/>
                  <a:pt x="36" y="426"/>
                </a:cubicBezTo>
                <a:cubicBezTo>
                  <a:pt x="37" y="428"/>
                  <a:pt x="35" y="429"/>
                  <a:pt x="35" y="428"/>
                </a:cubicBezTo>
                <a:close/>
                <a:moveTo>
                  <a:pt x="38" y="424"/>
                </a:moveTo>
                <a:cubicBezTo>
                  <a:pt x="35" y="427"/>
                  <a:pt x="33" y="418"/>
                  <a:pt x="37" y="417"/>
                </a:cubicBezTo>
                <a:cubicBezTo>
                  <a:pt x="35" y="420"/>
                  <a:pt x="39" y="419"/>
                  <a:pt x="39" y="420"/>
                </a:cubicBezTo>
                <a:cubicBezTo>
                  <a:pt x="39" y="421"/>
                  <a:pt x="39" y="423"/>
                  <a:pt x="38" y="424"/>
                </a:cubicBezTo>
                <a:close/>
                <a:moveTo>
                  <a:pt x="40" y="358"/>
                </a:moveTo>
                <a:cubicBezTo>
                  <a:pt x="38" y="358"/>
                  <a:pt x="41" y="356"/>
                  <a:pt x="40" y="357"/>
                </a:cubicBezTo>
                <a:cubicBezTo>
                  <a:pt x="40" y="357"/>
                  <a:pt x="40" y="358"/>
                  <a:pt x="40" y="358"/>
                </a:cubicBezTo>
                <a:close/>
                <a:moveTo>
                  <a:pt x="41" y="431"/>
                </a:moveTo>
                <a:cubicBezTo>
                  <a:pt x="42" y="430"/>
                  <a:pt x="43" y="432"/>
                  <a:pt x="41" y="431"/>
                </a:cubicBezTo>
                <a:close/>
                <a:moveTo>
                  <a:pt x="42" y="382"/>
                </a:moveTo>
                <a:cubicBezTo>
                  <a:pt x="42" y="380"/>
                  <a:pt x="43" y="381"/>
                  <a:pt x="44" y="380"/>
                </a:cubicBezTo>
                <a:cubicBezTo>
                  <a:pt x="44" y="379"/>
                  <a:pt x="44" y="378"/>
                  <a:pt x="46" y="378"/>
                </a:cubicBezTo>
                <a:cubicBezTo>
                  <a:pt x="50" y="378"/>
                  <a:pt x="48" y="384"/>
                  <a:pt x="45" y="385"/>
                </a:cubicBezTo>
                <a:cubicBezTo>
                  <a:pt x="43" y="385"/>
                  <a:pt x="41" y="385"/>
                  <a:pt x="42" y="382"/>
                </a:cubicBezTo>
                <a:close/>
                <a:moveTo>
                  <a:pt x="44" y="391"/>
                </a:moveTo>
                <a:cubicBezTo>
                  <a:pt x="43" y="392"/>
                  <a:pt x="45" y="389"/>
                  <a:pt x="44" y="391"/>
                </a:cubicBezTo>
                <a:close/>
                <a:moveTo>
                  <a:pt x="42" y="449"/>
                </a:moveTo>
                <a:cubicBezTo>
                  <a:pt x="42" y="450"/>
                  <a:pt x="43" y="447"/>
                  <a:pt x="42" y="449"/>
                </a:cubicBezTo>
                <a:close/>
                <a:moveTo>
                  <a:pt x="44" y="465"/>
                </a:moveTo>
                <a:cubicBezTo>
                  <a:pt x="45" y="464"/>
                  <a:pt x="43" y="466"/>
                  <a:pt x="44" y="465"/>
                </a:cubicBezTo>
                <a:close/>
                <a:moveTo>
                  <a:pt x="45" y="462"/>
                </a:moveTo>
                <a:cubicBezTo>
                  <a:pt x="45" y="462"/>
                  <a:pt x="45" y="462"/>
                  <a:pt x="46" y="462"/>
                </a:cubicBezTo>
                <a:cubicBezTo>
                  <a:pt x="46" y="462"/>
                  <a:pt x="46" y="462"/>
                  <a:pt x="46" y="462"/>
                </a:cubicBezTo>
                <a:cubicBezTo>
                  <a:pt x="46" y="462"/>
                  <a:pt x="45" y="462"/>
                  <a:pt x="45" y="462"/>
                </a:cubicBezTo>
                <a:close/>
                <a:moveTo>
                  <a:pt x="43" y="445"/>
                </a:moveTo>
                <a:cubicBezTo>
                  <a:pt x="43" y="443"/>
                  <a:pt x="45" y="441"/>
                  <a:pt x="47" y="439"/>
                </a:cubicBezTo>
                <a:cubicBezTo>
                  <a:pt x="47" y="442"/>
                  <a:pt x="44" y="443"/>
                  <a:pt x="43" y="445"/>
                </a:cubicBezTo>
                <a:close/>
                <a:moveTo>
                  <a:pt x="46" y="434"/>
                </a:moveTo>
                <a:cubicBezTo>
                  <a:pt x="46" y="434"/>
                  <a:pt x="47" y="433"/>
                  <a:pt x="46" y="434"/>
                </a:cubicBezTo>
                <a:cubicBezTo>
                  <a:pt x="46" y="434"/>
                  <a:pt x="46" y="434"/>
                  <a:pt x="46" y="434"/>
                </a:cubicBezTo>
                <a:close/>
                <a:moveTo>
                  <a:pt x="47" y="432"/>
                </a:moveTo>
                <a:cubicBezTo>
                  <a:pt x="48" y="430"/>
                  <a:pt x="50" y="431"/>
                  <a:pt x="47" y="432"/>
                </a:cubicBezTo>
                <a:close/>
                <a:moveTo>
                  <a:pt x="50" y="418"/>
                </a:moveTo>
                <a:cubicBezTo>
                  <a:pt x="50" y="419"/>
                  <a:pt x="52" y="419"/>
                  <a:pt x="51" y="420"/>
                </a:cubicBezTo>
                <a:cubicBezTo>
                  <a:pt x="52" y="419"/>
                  <a:pt x="48" y="420"/>
                  <a:pt x="49" y="421"/>
                </a:cubicBezTo>
                <a:cubicBezTo>
                  <a:pt x="48" y="420"/>
                  <a:pt x="48" y="419"/>
                  <a:pt x="49" y="418"/>
                </a:cubicBezTo>
                <a:cubicBezTo>
                  <a:pt x="47" y="418"/>
                  <a:pt x="45" y="417"/>
                  <a:pt x="45" y="416"/>
                </a:cubicBezTo>
                <a:cubicBezTo>
                  <a:pt x="44" y="413"/>
                  <a:pt x="47" y="411"/>
                  <a:pt x="49" y="410"/>
                </a:cubicBezTo>
                <a:cubicBezTo>
                  <a:pt x="49" y="410"/>
                  <a:pt x="49" y="409"/>
                  <a:pt x="49" y="409"/>
                </a:cubicBezTo>
                <a:cubicBezTo>
                  <a:pt x="50" y="409"/>
                  <a:pt x="51" y="411"/>
                  <a:pt x="51" y="411"/>
                </a:cubicBezTo>
                <a:cubicBezTo>
                  <a:pt x="53" y="412"/>
                  <a:pt x="52" y="407"/>
                  <a:pt x="54" y="407"/>
                </a:cubicBezTo>
                <a:cubicBezTo>
                  <a:pt x="56" y="408"/>
                  <a:pt x="54" y="410"/>
                  <a:pt x="54" y="411"/>
                </a:cubicBezTo>
                <a:cubicBezTo>
                  <a:pt x="54" y="413"/>
                  <a:pt x="55" y="413"/>
                  <a:pt x="53" y="414"/>
                </a:cubicBezTo>
                <a:cubicBezTo>
                  <a:pt x="52" y="415"/>
                  <a:pt x="51" y="418"/>
                  <a:pt x="50" y="418"/>
                </a:cubicBezTo>
                <a:close/>
                <a:moveTo>
                  <a:pt x="58" y="443"/>
                </a:moveTo>
                <a:cubicBezTo>
                  <a:pt x="57" y="444"/>
                  <a:pt x="57" y="442"/>
                  <a:pt x="58" y="441"/>
                </a:cubicBezTo>
                <a:cubicBezTo>
                  <a:pt x="59" y="441"/>
                  <a:pt x="58" y="442"/>
                  <a:pt x="58" y="443"/>
                </a:cubicBezTo>
                <a:close/>
                <a:moveTo>
                  <a:pt x="59" y="440"/>
                </a:moveTo>
                <a:cubicBezTo>
                  <a:pt x="57" y="441"/>
                  <a:pt x="59" y="437"/>
                  <a:pt x="60" y="439"/>
                </a:cubicBezTo>
                <a:cubicBezTo>
                  <a:pt x="60" y="439"/>
                  <a:pt x="59" y="440"/>
                  <a:pt x="59" y="440"/>
                </a:cubicBezTo>
                <a:close/>
                <a:moveTo>
                  <a:pt x="63" y="454"/>
                </a:moveTo>
                <a:cubicBezTo>
                  <a:pt x="64" y="455"/>
                  <a:pt x="62" y="456"/>
                  <a:pt x="63" y="454"/>
                </a:cubicBezTo>
                <a:close/>
                <a:moveTo>
                  <a:pt x="60" y="436"/>
                </a:moveTo>
                <a:cubicBezTo>
                  <a:pt x="60" y="435"/>
                  <a:pt x="64" y="434"/>
                  <a:pt x="64" y="437"/>
                </a:cubicBezTo>
                <a:cubicBezTo>
                  <a:pt x="64" y="439"/>
                  <a:pt x="58" y="440"/>
                  <a:pt x="60" y="436"/>
                </a:cubicBezTo>
                <a:close/>
                <a:moveTo>
                  <a:pt x="63" y="432"/>
                </a:moveTo>
                <a:cubicBezTo>
                  <a:pt x="62" y="431"/>
                  <a:pt x="64" y="430"/>
                  <a:pt x="63" y="432"/>
                </a:cubicBezTo>
                <a:close/>
                <a:moveTo>
                  <a:pt x="64" y="427"/>
                </a:moveTo>
                <a:cubicBezTo>
                  <a:pt x="64" y="427"/>
                  <a:pt x="64" y="428"/>
                  <a:pt x="64" y="428"/>
                </a:cubicBezTo>
                <a:cubicBezTo>
                  <a:pt x="63" y="429"/>
                  <a:pt x="63" y="426"/>
                  <a:pt x="64" y="427"/>
                </a:cubicBezTo>
                <a:close/>
                <a:moveTo>
                  <a:pt x="64" y="419"/>
                </a:moveTo>
                <a:cubicBezTo>
                  <a:pt x="62" y="420"/>
                  <a:pt x="59" y="423"/>
                  <a:pt x="58" y="424"/>
                </a:cubicBezTo>
                <a:cubicBezTo>
                  <a:pt x="57" y="426"/>
                  <a:pt x="56" y="428"/>
                  <a:pt x="54" y="429"/>
                </a:cubicBezTo>
                <a:cubicBezTo>
                  <a:pt x="57" y="423"/>
                  <a:pt x="63" y="418"/>
                  <a:pt x="66" y="413"/>
                </a:cubicBezTo>
                <a:cubicBezTo>
                  <a:pt x="69" y="409"/>
                  <a:pt x="65" y="417"/>
                  <a:pt x="64" y="419"/>
                </a:cubicBezTo>
                <a:close/>
                <a:moveTo>
                  <a:pt x="66" y="423"/>
                </a:moveTo>
                <a:cubicBezTo>
                  <a:pt x="66" y="423"/>
                  <a:pt x="65" y="423"/>
                  <a:pt x="65" y="423"/>
                </a:cubicBezTo>
                <a:cubicBezTo>
                  <a:pt x="64" y="423"/>
                  <a:pt x="66" y="422"/>
                  <a:pt x="66" y="423"/>
                </a:cubicBezTo>
                <a:close/>
                <a:moveTo>
                  <a:pt x="67" y="443"/>
                </a:moveTo>
                <a:cubicBezTo>
                  <a:pt x="67" y="443"/>
                  <a:pt x="67" y="443"/>
                  <a:pt x="67" y="443"/>
                </a:cubicBezTo>
                <a:cubicBezTo>
                  <a:pt x="67" y="441"/>
                  <a:pt x="69" y="445"/>
                  <a:pt x="67" y="443"/>
                </a:cubicBezTo>
                <a:close/>
                <a:moveTo>
                  <a:pt x="67" y="430"/>
                </a:moveTo>
                <a:cubicBezTo>
                  <a:pt x="67" y="431"/>
                  <a:pt x="66" y="432"/>
                  <a:pt x="66" y="431"/>
                </a:cubicBezTo>
                <a:cubicBezTo>
                  <a:pt x="62" y="428"/>
                  <a:pt x="71" y="428"/>
                  <a:pt x="67" y="430"/>
                </a:cubicBezTo>
                <a:close/>
                <a:moveTo>
                  <a:pt x="68" y="358"/>
                </a:moveTo>
                <a:cubicBezTo>
                  <a:pt x="65" y="360"/>
                  <a:pt x="65" y="354"/>
                  <a:pt x="67" y="355"/>
                </a:cubicBezTo>
                <a:cubicBezTo>
                  <a:pt x="69" y="355"/>
                  <a:pt x="68" y="357"/>
                  <a:pt x="68" y="358"/>
                </a:cubicBezTo>
                <a:close/>
                <a:moveTo>
                  <a:pt x="80" y="396"/>
                </a:moveTo>
                <a:cubicBezTo>
                  <a:pt x="79" y="397"/>
                  <a:pt x="80" y="395"/>
                  <a:pt x="80" y="396"/>
                </a:cubicBezTo>
                <a:close/>
                <a:moveTo>
                  <a:pt x="76" y="428"/>
                </a:moveTo>
                <a:cubicBezTo>
                  <a:pt x="76" y="428"/>
                  <a:pt x="76" y="428"/>
                  <a:pt x="76" y="428"/>
                </a:cubicBezTo>
                <a:cubicBezTo>
                  <a:pt x="77" y="427"/>
                  <a:pt x="76" y="428"/>
                  <a:pt x="76" y="428"/>
                </a:cubicBezTo>
                <a:close/>
                <a:moveTo>
                  <a:pt x="76" y="353"/>
                </a:moveTo>
                <a:cubicBezTo>
                  <a:pt x="76" y="355"/>
                  <a:pt x="75" y="355"/>
                  <a:pt x="75" y="356"/>
                </a:cubicBezTo>
                <a:cubicBezTo>
                  <a:pt x="74" y="355"/>
                  <a:pt x="76" y="354"/>
                  <a:pt x="76" y="353"/>
                </a:cubicBezTo>
                <a:close/>
                <a:moveTo>
                  <a:pt x="75" y="387"/>
                </a:moveTo>
                <a:cubicBezTo>
                  <a:pt x="74" y="387"/>
                  <a:pt x="77" y="386"/>
                  <a:pt x="75" y="387"/>
                </a:cubicBezTo>
                <a:close/>
                <a:moveTo>
                  <a:pt x="73" y="290"/>
                </a:moveTo>
                <a:cubicBezTo>
                  <a:pt x="73" y="291"/>
                  <a:pt x="73" y="292"/>
                  <a:pt x="72" y="293"/>
                </a:cubicBezTo>
                <a:cubicBezTo>
                  <a:pt x="72" y="292"/>
                  <a:pt x="73" y="290"/>
                  <a:pt x="73" y="290"/>
                </a:cubicBezTo>
                <a:close/>
                <a:moveTo>
                  <a:pt x="69" y="327"/>
                </a:moveTo>
                <a:cubicBezTo>
                  <a:pt x="69" y="326"/>
                  <a:pt x="71" y="325"/>
                  <a:pt x="72" y="324"/>
                </a:cubicBezTo>
                <a:cubicBezTo>
                  <a:pt x="72" y="326"/>
                  <a:pt x="70" y="326"/>
                  <a:pt x="69" y="327"/>
                </a:cubicBezTo>
                <a:close/>
                <a:moveTo>
                  <a:pt x="72" y="428"/>
                </a:moveTo>
                <a:cubicBezTo>
                  <a:pt x="70" y="430"/>
                  <a:pt x="71" y="426"/>
                  <a:pt x="72" y="427"/>
                </a:cubicBezTo>
                <a:cubicBezTo>
                  <a:pt x="73" y="427"/>
                  <a:pt x="73" y="428"/>
                  <a:pt x="72" y="428"/>
                </a:cubicBezTo>
                <a:close/>
                <a:moveTo>
                  <a:pt x="72" y="367"/>
                </a:moveTo>
                <a:cubicBezTo>
                  <a:pt x="72" y="367"/>
                  <a:pt x="72" y="368"/>
                  <a:pt x="72" y="368"/>
                </a:cubicBezTo>
                <a:cubicBezTo>
                  <a:pt x="71" y="369"/>
                  <a:pt x="71" y="366"/>
                  <a:pt x="72" y="367"/>
                </a:cubicBezTo>
                <a:close/>
                <a:moveTo>
                  <a:pt x="73" y="356"/>
                </a:moveTo>
                <a:cubicBezTo>
                  <a:pt x="70" y="358"/>
                  <a:pt x="71" y="351"/>
                  <a:pt x="73" y="352"/>
                </a:cubicBezTo>
                <a:cubicBezTo>
                  <a:pt x="75" y="353"/>
                  <a:pt x="73" y="356"/>
                  <a:pt x="73" y="356"/>
                </a:cubicBezTo>
                <a:close/>
                <a:moveTo>
                  <a:pt x="75" y="401"/>
                </a:moveTo>
                <a:cubicBezTo>
                  <a:pt x="73" y="402"/>
                  <a:pt x="73" y="397"/>
                  <a:pt x="75" y="398"/>
                </a:cubicBezTo>
                <a:cubicBezTo>
                  <a:pt x="76" y="399"/>
                  <a:pt x="76" y="400"/>
                  <a:pt x="75" y="401"/>
                </a:cubicBezTo>
                <a:close/>
                <a:moveTo>
                  <a:pt x="76" y="434"/>
                </a:moveTo>
                <a:cubicBezTo>
                  <a:pt x="77" y="432"/>
                  <a:pt x="79" y="430"/>
                  <a:pt x="80" y="429"/>
                </a:cubicBezTo>
                <a:cubicBezTo>
                  <a:pt x="79" y="431"/>
                  <a:pt x="78" y="432"/>
                  <a:pt x="76" y="434"/>
                </a:cubicBezTo>
                <a:close/>
                <a:moveTo>
                  <a:pt x="81" y="418"/>
                </a:moveTo>
                <a:cubicBezTo>
                  <a:pt x="80" y="418"/>
                  <a:pt x="82" y="417"/>
                  <a:pt x="81" y="418"/>
                </a:cubicBezTo>
                <a:close/>
                <a:moveTo>
                  <a:pt x="81" y="339"/>
                </a:moveTo>
                <a:cubicBezTo>
                  <a:pt x="80" y="339"/>
                  <a:pt x="81" y="337"/>
                  <a:pt x="82" y="337"/>
                </a:cubicBezTo>
                <a:cubicBezTo>
                  <a:pt x="82" y="338"/>
                  <a:pt x="81" y="338"/>
                  <a:pt x="81" y="339"/>
                </a:cubicBezTo>
                <a:close/>
                <a:moveTo>
                  <a:pt x="87" y="450"/>
                </a:moveTo>
                <a:cubicBezTo>
                  <a:pt x="87" y="450"/>
                  <a:pt x="88" y="449"/>
                  <a:pt x="89" y="449"/>
                </a:cubicBezTo>
                <a:cubicBezTo>
                  <a:pt x="89" y="449"/>
                  <a:pt x="88" y="450"/>
                  <a:pt x="87" y="450"/>
                </a:cubicBezTo>
                <a:close/>
                <a:moveTo>
                  <a:pt x="90" y="457"/>
                </a:moveTo>
                <a:cubicBezTo>
                  <a:pt x="90" y="457"/>
                  <a:pt x="90" y="457"/>
                  <a:pt x="90" y="456"/>
                </a:cubicBezTo>
                <a:cubicBezTo>
                  <a:pt x="92" y="455"/>
                  <a:pt x="91" y="456"/>
                  <a:pt x="90" y="457"/>
                </a:cubicBezTo>
                <a:close/>
                <a:moveTo>
                  <a:pt x="91" y="435"/>
                </a:moveTo>
                <a:cubicBezTo>
                  <a:pt x="89" y="437"/>
                  <a:pt x="92" y="434"/>
                  <a:pt x="91" y="435"/>
                </a:cubicBezTo>
                <a:close/>
                <a:moveTo>
                  <a:pt x="109" y="452"/>
                </a:moveTo>
                <a:cubicBezTo>
                  <a:pt x="109" y="453"/>
                  <a:pt x="108" y="452"/>
                  <a:pt x="109" y="452"/>
                </a:cubicBezTo>
                <a:close/>
                <a:moveTo>
                  <a:pt x="104" y="235"/>
                </a:moveTo>
                <a:cubicBezTo>
                  <a:pt x="103" y="236"/>
                  <a:pt x="105" y="234"/>
                  <a:pt x="104" y="235"/>
                </a:cubicBezTo>
                <a:close/>
                <a:moveTo>
                  <a:pt x="100" y="336"/>
                </a:moveTo>
                <a:cubicBezTo>
                  <a:pt x="101" y="335"/>
                  <a:pt x="101" y="335"/>
                  <a:pt x="100" y="336"/>
                </a:cubicBezTo>
                <a:close/>
                <a:moveTo>
                  <a:pt x="98" y="332"/>
                </a:moveTo>
                <a:cubicBezTo>
                  <a:pt x="97" y="331"/>
                  <a:pt x="100" y="331"/>
                  <a:pt x="98" y="332"/>
                </a:cubicBezTo>
                <a:close/>
                <a:moveTo>
                  <a:pt x="96" y="215"/>
                </a:moveTo>
                <a:cubicBezTo>
                  <a:pt x="97" y="215"/>
                  <a:pt x="97" y="216"/>
                  <a:pt x="96" y="217"/>
                </a:cubicBezTo>
                <a:cubicBezTo>
                  <a:pt x="95" y="219"/>
                  <a:pt x="95" y="214"/>
                  <a:pt x="96" y="215"/>
                </a:cubicBezTo>
                <a:close/>
                <a:moveTo>
                  <a:pt x="87" y="329"/>
                </a:moveTo>
                <a:cubicBezTo>
                  <a:pt x="87" y="330"/>
                  <a:pt x="86" y="330"/>
                  <a:pt x="86" y="331"/>
                </a:cubicBezTo>
                <a:cubicBezTo>
                  <a:pt x="85" y="331"/>
                  <a:pt x="86" y="329"/>
                  <a:pt x="87" y="329"/>
                </a:cubicBezTo>
                <a:close/>
                <a:moveTo>
                  <a:pt x="85" y="293"/>
                </a:moveTo>
                <a:cubicBezTo>
                  <a:pt x="85" y="293"/>
                  <a:pt x="85" y="294"/>
                  <a:pt x="85" y="294"/>
                </a:cubicBezTo>
                <a:cubicBezTo>
                  <a:pt x="83" y="296"/>
                  <a:pt x="83" y="291"/>
                  <a:pt x="85" y="293"/>
                </a:cubicBezTo>
                <a:close/>
                <a:moveTo>
                  <a:pt x="84" y="332"/>
                </a:moveTo>
                <a:cubicBezTo>
                  <a:pt x="86" y="333"/>
                  <a:pt x="84" y="335"/>
                  <a:pt x="82" y="336"/>
                </a:cubicBezTo>
                <a:cubicBezTo>
                  <a:pt x="83" y="334"/>
                  <a:pt x="85" y="333"/>
                  <a:pt x="84" y="332"/>
                </a:cubicBezTo>
                <a:close/>
                <a:moveTo>
                  <a:pt x="83" y="441"/>
                </a:moveTo>
                <a:cubicBezTo>
                  <a:pt x="82" y="442"/>
                  <a:pt x="84" y="440"/>
                  <a:pt x="83" y="441"/>
                </a:cubicBezTo>
                <a:close/>
                <a:moveTo>
                  <a:pt x="84" y="423"/>
                </a:moveTo>
                <a:cubicBezTo>
                  <a:pt x="83" y="424"/>
                  <a:pt x="84" y="421"/>
                  <a:pt x="85" y="422"/>
                </a:cubicBezTo>
                <a:cubicBezTo>
                  <a:pt x="86" y="422"/>
                  <a:pt x="85" y="423"/>
                  <a:pt x="84" y="423"/>
                </a:cubicBezTo>
                <a:close/>
                <a:moveTo>
                  <a:pt x="88" y="356"/>
                </a:moveTo>
                <a:cubicBezTo>
                  <a:pt x="86" y="358"/>
                  <a:pt x="87" y="353"/>
                  <a:pt x="88" y="354"/>
                </a:cubicBezTo>
                <a:cubicBezTo>
                  <a:pt x="89" y="355"/>
                  <a:pt x="88" y="356"/>
                  <a:pt x="88" y="356"/>
                </a:cubicBezTo>
                <a:close/>
                <a:moveTo>
                  <a:pt x="96" y="325"/>
                </a:moveTo>
                <a:cubicBezTo>
                  <a:pt x="96" y="326"/>
                  <a:pt x="95" y="326"/>
                  <a:pt x="94" y="328"/>
                </a:cubicBezTo>
                <a:cubicBezTo>
                  <a:pt x="92" y="330"/>
                  <a:pt x="89" y="335"/>
                  <a:pt x="87" y="340"/>
                </a:cubicBezTo>
                <a:cubicBezTo>
                  <a:pt x="85" y="344"/>
                  <a:pt x="85" y="347"/>
                  <a:pt x="83" y="350"/>
                </a:cubicBezTo>
                <a:cubicBezTo>
                  <a:pt x="83" y="350"/>
                  <a:pt x="82" y="350"/>
                  <a:pt x="82" y="350"/>
                </a:cubicBezTo>
                <a:cubicBezTo>
                  <a:pt x="81" y="350"/>
                  <a:pt x="84" y="344"/>
                  <a:pt x="85" y="342"/>
                </a:cubicBezTo>
                <a:cubicBezTo>
                  <a:pt x="86" y="339"/>
                  <a:pt x="87" y="337"/>
                  <a:pt x="89" y="334"/>
                </a:cubicBezTo>
                <a:cubicBezTo>
                  <a:pt x="90" y="332"/>
                  <a:pt x="93" y="329"/>
                  <a:pt x="93" y="326"/>
                </a:cubicBezTo>
                <a:cubicBezTo>
                  <a:pt x="93" y="326"/>
                  <a:pt x="92" y="325"/>
                  <a:pt x="92" y="324"/>
                </a:cubicBezTo>
                <a:cubicBezTo>
                  <a:pt x="92" y="320"/>
                  <a:pt x="99" y="320"/>
                  <a:pt x="96" y="325"/>
                </a:cubicBezTo>
                <a:close/>
                <a:moveTo>
                  <a:pt x="96" y="227"/>
                </a:moveTo>
                <a:cubicBezTo>
                  <a:pt x="97" y="227"/>
                  <a:pt x="97" y="228"/>
                  <a:pt x="97" y="229"/>
                </a:cubicBezTo>
                <a:cubicBezTo>
                  <a:pt x="96" y="230"/>
                  <a:pt x="96" y="227"/>
                  <a:pt x="96" y="227"/>
                </a:cubicBezTo>
                <a:close/>
                <a:moveTo>
                  <a:pt x="98" y="402"/>
                </a:moveTo>
                <a:cubicBezTo>
                  <a:pt x="98" y="402"/>
                  <a:pt x="98" y="402"/>
                  <a:pt x="97" y="402"/>
                </a:cubicBezTo>
                <a:cubicBezTo>
                  <a:pt x="95" y="401"/>
                  <a:pt x="100" y="400"/>
                  <a:pt x="98" y="402"/>
                </a:cubicBezTo>
                <a:close/>
                <a:moveTo>
                  <a:pt x="99" y="416"/>
                </a:moveTo>
                <a:cubicBezTo>
                  <a:pt x="101" y="416"/>
                  <a:pt x="100" y="421"/>
                  <a:pt x="99" y="422"/>
                </a:cubicBezTo>
                <a:cubicBezTo>
                  <a:pt x="94" y="424"/>
                  <a:pt x="98" y="416"/>
                  <a:pt x="99" y="416"/>
                </a:cubicBezTo>
                <a:close/>
                <a:moveTo>
                  <a:pt x="101" y="433"/>
                </a:moveTo>
                <a:cubicBezTo>
                  <a:pt x="103" y="434"/>
                  <a:pt x="100" y="438"/>
                  <a:pt x="100" y="439"/>
                </a:cubicBezTo>
                <a:cubicBezTo>
                  <a:pt x="94" y="441"/>
                  <a:pt x="98" y="431"/>
                  <a:pt x="101" y="433"/>
                </a:cubicBezTo>
                <a:close/>
                <a:moveTo>
                  <a:pt x="100" y="444"/>
                </a:moveTo>
                <a:cubicBezTo>
                  <a:pt x="101" y="443"/>
                  <a:pt x="99" y="445"/>
                  <a:pt x="100" y="444"/>
                </a:cubicBezTo>
                <a:close/>
                <a:moveTo>
                  <a:pt x="102" y="444"/>
                </a:moveTo>
                <a:cubicBezTo>
                  <a:pt x="102" y="445"/>
                  <a:pt x="101" y="445"/>
                  <a:pt x="101" y="445"/>
                </a:cubicBezTo>
                <a:cubicBezTo>
                  <a:pt x="99" y="443"/>
                  <a:pt x="104" y="442"/>
                  <a:pt x="102" y="444"/>
                </a:cubicBezTo>
                <a:close/>
                <a:moveTo>
                  <a:pt x="102" y="431"/>
                </a:moveTo>
                <a:cubicBezTo>
                  <a:pt x="100" y="432"/>
                  <a:pt x="100" y="428"/>
                  <a:pt x="102" y="429"/>
                </a:cubicBezTo>
                <a:cubicBezTo>
                  <a:pt x="103" y="429"/>
                  <a:pt x="103" y="430"/>
                  <a:pt x="102" y="431"/>
                </a:cubicBezTo>
                <a:close/>
                <a:moveTo>
                  <a:pt x="103" y="445"/>
                </a:moveTo>
                <a:cubicBezTo>
                  <a:pt x="102" y="447"/>
                  <a:pt x="105" y="444"/>
                  <a:pt x="103" y="445"/>
                </a:cubicBezTo>
                <a:close/>
                <a:moveTo>
                  <a:pt x="104" y="399"/>
                </a:moveTo>
                <a:cubicBezTo>
                  <a:pt x="103" y="399"/>
                  <a:pt x="103" y="397"/>
                  <a:pt x="104" y="398"/>
                </a:cubicBezTo>
                <a:cubicBezTo>
                  <a:pt x="104" y="398"/>
                  <a:pt x="104" y="399"/>
                  <a:pt x="104" y="399"/>
                </a:cubicBezTo>
                <a:close/>
                <a:moveTo>
                  <a:pt x="104" y="288"/>
                </a:moveTo>
                <a:cubicBezTo>
                  <a:pt x="103" y="290"/>
                  <a:pt x="105" y="287"/>
                  <a:pt x="104" y="288"/>
                </a:cubicBezTo>
                <a:close/>
                <a:moveTo>
                  <a:pt x="105" y="307"/>
                </a:moveTo>
                <a:cubicBezTo>
                  <a:pt x="104" y="306"/>
                  <a:pt x="106" y="303"/>
                  <a:pt x="107" y="302"/>
                </a:cubicBezTo>
                <a:cubicBezTo>
                  <a:pt x="107" y="304"/>
                  <a:pt x="106" y="306"/>
                  <a:pt x="105" y="307"/>
                </a:cubicBezTo>
                <a:close/>
                <a:moveTo>
                  <a:pt x="106" y="414"/>
                </a:moveTo>
                <a:cubicBezTo>
                  <a:pt x="106" y="413"/>
                  <a:pt x="108" y="413"/>
                  <a:pt x="106" y="414"/>
                </a:cubicBezTo>
                <a:close/>
                <a:moveTo>
                  <a:pt x="108" y="455"/>
                </a:moveTo>
                <a:cubicBezTo>
                  <a:pt x="107" y="454"/>
                  <a:pt x="109" y="454"/>
                  <a:pt x="108" y="455"/>
                </a:cubicBezTo>
                <a:close/>
                <a:moveTo>
                  <a:pt x="107" y="441"/>
                </a:moveTo>
                <a:cubicBezTo>
                  <a:pt x="106" y="441"/>
                  <a:pt x="108" y="440"/>
                  <a:pt x="108" y="440"/>
                </a:cubicBezTo>
                <a:cubicBezTo>
                  <a:pt x="108" y="440"/>
                  <a:pt x="107" y="440"/>
                  <a:pt x="107" y="441"/>
                </a:cubicBezTo>
                <a:close/>
                <a:moveTo>
                  <a:pt x="108" y="388"/>
                </a:moveTo>
                <a:cubicBezTo>
                  <a:pt x="107" y="390"/>
                  <a:pt x="107" y="386"/>
                  <a:pt x="108" y="387"/>
                </a:cubicBezTo>
                <a:cubicBezTo>
                  <a:pt x="109" y="387"/>
                  <a:pt x="108" y="388"/>
                  <a:pt x="108" y="388"/>
                </a:cubicBezTo>
                <a:close/>
                <a:moveTo>
                  <a:pt x="109" y="420"/>
                </a:moveTo>
                <a:cubicBezTo>
                  <a:pt x="109" y="421"/>
                  <a:pt x="109" y="418"/>
                  <a:pt x="109" y="420"/>
                </a:cubicBezTo>
                <a:close/>
                <a:moveTo>
                  <a:pt x="108" y="301"/>
                </a:moveTo>
                <a:cubicBezTo>
                  <a:pt x="107" y="300"/>
                  <a:pt x="108" y="298"/>
                  <a:pt x="110" y="298"/>
                </a:cubicBezTo>
                <a:cubicBezTo>
                  <a:pt x="110" y="299"/>
                  <a:pt x="108" y="300"/>
                  <a:pt x="108" y="301"/>
                </a:cubicBezTo>
                <a:close/>
                <a:moveTo>
                  <a:pt x="110" y="401"/>
                </a:moveTo>
                <a:cubicBezTo>
                  <a:pt x="110" y="401"/>
                  <a:pt x="110" y="401"/>
                  <a:pt x="110" y="401"/>
                </a:cubicBezTo>
                <a:cubicBezTo>
                  <a:pt x="110" y="401"/>
                  <a:pt x="110" y="400"/>
                  <a:pt x="110" y="401"/>
                </a:cubicBezTo>
                <a:close/>
                <a:moveTo>
                  <a:pt x="69" y="513"/>
                </a:moveTo>
                <a:cubicBezTo>
                  <a:pt x="69" y="513"/>
                  <a:pt x="70" y="512"/>
                  <a:pt x="70" y="512"/>
                </a:cubicBezTo>
                <a:cubicBezTo>
                  <a:pt x="70" y="513"/>
                  <a:pt x="69" y="513"/>
                  <a:pt x="69" y="513"/>
                </a:cubicBezTo>
                <a:close/>
                <a:moveTo>
                  <a:pt x="73" y="498"/>
                </a:moveTo>
                <a:cubicBezTo>
                  <a:pt x="73" y="497"/>
                  <a:pt x="74" y="496"/>
                  <a:pt x="75" y="496"/>
                </a:cubicBezTo>
                <a:cubicBezTo>
                  <a:pt x="75" y="497"/>
                  <a:pt x="74" y="498"/>
                  <a:pt x="73" y="498"/>
                </a:cubicBezTo>
                <a:close/>
                <a:moveTo>
                  <a:pt x="76" y="499"/>
                </a:moveTo>
                <a:cubicBezTo>
                  <a:pt x="76" y="500"/>
                  <a:pt x="77" y="498"/>
                  <a:pt x="76" y="499"/>
                </a:cubicBezTo>
                <a:close/>
                <a:moveTo>
                  <a:pt x="87" y="502"/>
                </a:moveTo>
                <a:cubicBezTo>
                  <a:pt x="86" y="500"/>
                  <a:pt x="89" y="499"/>
                  <a:pt x="87" y="502"/>
                </a:cubicBezTo>
                <a:close/>
                <a:moveTo>
                  <a:pt x="100" y="477"/>
                </a:moveTo>
                <a:cubicBezTo>
                  <a:pt x="101" y="479"/>
                  <a:pt x="100" y="481"/>
                  <a:pt x="100" y="483"/>
                </a:cubicBezTo>
                <a:cubicBezTo>
                  <a:pt x="99" y="481"/>
                  <a:pt x="99" y="479"/>
                  <a:pt x="100" y="477"/>
                </a:cubicBezTo>
                <a:close/>
                <a:moveTo>
                  <a:pt x="100" y="502"/>
                </a:moveTo>
                <a:cubicBezTo>
                  <a:pt x="97" y="499"/>
                  <a:pt x="102" y="497"/>
                  <a:pt x="104" y="496"/>
                </a:cubicBezTo>
                <a:cubicBezTo>
                  <a:pt x="105" y="499"/>
                  <a:pt x="102" y="505"/>
                  <a:pt x="100" y="502"/>
                </a:cubicBezTo>
                <a:close/>
                <a:moveTo>
                  <a:pt x="144" y="546"/>
                </a:moveTo>
                <a:cubicBezTo>
                  <a:pt x="143" y="546"/>
                  <a:pt x="144" y="546"/>
                  <a:pt x="144" y="545"/>
                </a:cubicBezTo>
                <a:cubicBezTo>
                  <a:pt x="143" y="542"/>
                  <a:pt x="147" y="545"/>
                  <a:pt x="144" y="546"/>
                </a:cubicBezTo>
                <a:close/>
                <a:moveTo>
                  <a:pt x="196" y="598"/>
                </a:moveTo>
                <a:cubicBezTo>
                  <a:pt x="196" y="598"/>
                  <a:pt x="198" y="597"/>
                  <a:pt x="198" y="598"/>
                </a:cubicBezTo>
                <a:cubicBezTo>
                  <a:pt x="198" y="599"/>
                  <a:pt x="197" y="599"/>
                  <a:pt x="196" y="598"/>
                </a:cubicBezTo>
                <a:close/>
                <a:moveTo>
                  <a:pt x="199" y="607"/>
                </a:moveTo>
                <a:cubicBezTo>
                  <a:pt x="198" y="607"/>
                  <a:pt x="198" y="607"/>
                  <a:pt x="198" y="607"/>
                </a:cubicBezTo>
                <a:cubicBezTo>
                  <a:pt x="198" y="605"/>
                  <a:pt x="200" y="608"/>
                  <a:pt x="199" y="607"/>
                </a:cubicBezTo>
                <a:close/>
                <a:moveTo>
                  <a:pt x="203" y="609"/>
                </a:moveTo>
                <a:cubicBezTo>
                  <a:pt x="203" y="608"/>
                  <a:pt x="205" y="608"/>
                  <a:pt x="205" y="609"/>
                </a:cubicBezTo>
                <a:cubicBezTo>
                  <a:pt x="205" y="609"/>
                  <a:pt x="203" y="610"/>
                  <a:pt x="203" y="609"/>
                </a:cubicBezTo>
                <a:close/>
                <a:moveTo>
                  <a:pt x="208" y="600"/>
                </a:moveTo>
                <a:cubicBezTo>
                  <a:pt x="207" y="600"/>
                  <a:pt x="209" y="600"/>
                  <a:pt x="209" y="600"/>
                </a:cubicBezTo>
                <a:cubicBezTo>
                  <a:pt x="209" y="601"/>
                  <a:pt x="208" y="601"/>
                  <a:pt x="208" y="600"/>
                </a:cubicBezTo>
                <a:close/>
                <a:moveTo>
                  <a:pt x="226" y="627"/>
                </a:moveTo>
                <a:cubicBezTo>
                  <a:pt x="225" y="627"/>
                  <a:pt x="223" y="627"/>
                  <a:pt x="224" y="625"/>
                </a:cubicBezTo>
                <a:cubicBezTo>
                  <a:pt x="225" y="624"/>
                  <a:pt x="229" y="624"/>
                  <a:pt x="229" y="625"/>
                </a:cubicBezTo>
                <a:cubicBezTo>
                  <a:pt x="229" y="626"/>
                  <a:pt x="229" y="626"/>
                  <a:pt x="228" y="627"/>
                </a:cubicBezTo>
                <a:cubicBezTo>
                  <a:pt x="229" y="627"/>
                  <a:pt x="229" y="627"/>
                  <a:pt x="229" y="627"/>
                </a:cubicBezTo>
                <a:cubicBezTo>
                  <a:pt x="228" y="628"/>
                  <a:pt x="227" y="628"/>
                  <a:pt x="226" y="627"/>
                </a:cubicBezTo>
                <a:close/>
                <a:moveTo>
                  <a:pt x="229" y="628"/>
                </a:moveTo>
                <a:cubicBezTo>
                  <a:pt x="229" y="628"/>
                  <a:pt x="231" y="628"/>
                  <a:pt x="231" y="628"/>
                </a:cubicBezTo>
                <a:cubicBezTo>
                  <a:pt x="231" y="629"/>
                  <a:pt x="229" y="628"/>
                  <a:pt x="229" y="628"/>
                </a:cubicBezTo>
                <a:close/>
                <a:moveTo>
                  <a:pt x="228" y="653"/>
                </a:moveTo>
                <a:cubicBezTo>
                  <a:pt x="228" y="653"/>
                  <a:pt x="228" y="653"/>
                  <a:pt x="228" y="653"/>
                </a:cubicBezTo>
                <a:cubicBezTo>
                  <a:pt x="228" y="653"/>
                  <a:pt x="228" y="652"/>
                  <a:pt x="228" y="653"/>
                </a:cubicBezTo>
                <a:close/>
                <a:moveTo>
                  <a:pt x="213" y="659"/>
                </a:moveTo>
                <a:cubicBezTo>
                  <a:pt x="213" y="659"/>
                  <a:pt x="213" y="659"/>
                  <a:pt x="213" y="659"/>
                </a:cubicBezTo>
                <a:cubicBezTo>
                  <a:pt x="213" y="659"/>
                  <a:pt x="213" y="659"/>
                  <a:pt x="213" y="659"/>
                </a:cubicBezTo>
                <a:close/>
                <a:moveTo>
                  <a:pt x="213" y="659"/>
                </a:moveTo>
                <a:cubicBezTo>
                  <a:pt x="214" y="659"/>
                  <a:pt x="213" y="659"/>
                  <a:pt x="213" y="659"/>
                </a:cubicBezTo>
                <a:close/>
                <a:moveTo>
                  <a:pt x="213" y="657"/>
                </a:moveTo>
                <a:cubicBezTo>
                  <a:pt x="213" y="656"/>
                  <a:pt x="214" y="656"/>
                  <a:pt x="214" y="656"/>
                </a:cubicBezTo>
                <a:cubicBezTo>
                  <a:pt x="215" y="657"/>
                  <a:pt x="214" y="657"/>
                  <a:pt x="213" y="657"/>
                </a:cubicBezTo>
                <a:close/>
                <a:moveTo>
                  <a:pt x="216" y="659"/>
                </a:moveTo>
                <a:cubicBezTo>
                  <a:pt x="216" y="658"/>
                  <a:pt x="216" y="657"/>
                  <a:pt x="217" y="658"/>
                </a:cubicBezTo>
                <a:cubicBezTo>
                  <a:pt x="216" y="658"/>
                  <a:pt x="218" y="660"/>
                  <a:pt x="218" y="660"/>
                </a:cubicBezTo>
                <a:cubicBezTo>
                  <a:pt x="217" y="661"/>
                  <a:pt x="215" y="661"/>
                  <a:pt x="216" y="659"/>
                </a:cubicBezTo>
                <a:close/>
                <a:moveTo>
                  <a:pt x="223" y="655"/>
                </a:moveTo>
                <a:cubicBezTo>
                  <a:pt x="222" y="654"/>
                  <a:pt x="224" y="654"/>
                  <a:pt x="224" y="655"/>
                </a:cubicBezTo>
                <a:cubicBezTo>
                  <a:pt x="224" y="655"/>
                  <a:pt x="223" y="655"/>
                  <a:pt x="223" y="655"/>
                </a:cubicBezTo>
                <a:close/>
                <a:moveTo>
                  <a:pt x="218" y="655"/>
                </a:moveTo>
                <a:cubicBezTo>
                  <a:pt x="217" y="655"/>
                  <a:pt x="214" y="653"/>
                  <a:pt x="215" y="651"/>
                </a:cubicBezTo>
                <a:cubicBezTo>
                  <a:pt x="216" y="650"/>
                  <a:pt x="220" y="648"/>
                  <a:pt x="222" y="648"/>
                </a:cubicBezTo>
                <a:cubicBezTo>
                  <a:pt x="223" y="649"/>
                  <a:pt x="224" y="649"/>
                  <a:pt x="224" y="650"/>
                </a:cubicBezTo>
                <a:cubicBezTo>
                  <a:pt x="224" y="650"/>
                  <a:pt x="226" y="648"/>
                  <a:pt x="225" y="650"/>
                </a:cubicBezTo>
                <a:cubicBezTo>
                  <a:pt x="225" y="650"/>
                  <a:pt x="223" y="651"/>
                  <a:pt x="223" y="652"/>
                </a:cubicBezTo>
                <a:cubicBezTo>
                  <a:pt x="224" y="652"/>
                  <a:pt x="225" y="651"/>
                  <a:pt x="225" y="652"/>
                </a:cubicBezTo>
                <a:cubicBezTo>
                  <a:pt x="224" y="652"/>
                  <a:pt x="221" y="655"/>
                  <a:pt x="218" y="655"/>
                </a:cubicBezTo>
                <a:close/>
                <a:moveTo>
                  <a:pt x="227" y="665"/>
                </a:moveTo>
                <a:cubicBezTo>
                  <a:pt x="223" y="666"/>
                  <a:pt x="226" y="661"/>
                  <a:pt x="228" y="662"/>
                </a:cubicBezTo>
                <a:cubicBezTo>
                  <a:pt x="229" y="664"/>
                  <a:pt x="228" y="664"/>
                  <a:pt x="227" y="665"/>
                </a:cubicBezTo>
                <a:close/>
                <a:moveTo>
                  <a:pt x="228" y="654"/>
                </a:moveTo>
                <a:cubicBezTo>
                  <a:pt x="227" y="653"/>
                  <a:pt x="230" y="655"/>
                  <a:pt x="228" y="654"/>
                </a:cubicBezTo>
                <a:close/>
                <a:moveTo>
                  <a:pt x="229" y="639"/>
                </a:moveTo>
                <a:cubicBezTo>
                  <a:pt x="228" y="638"/>
                  <a:pt x="231" y="638"/>
                  <a:pt x="231" y="639"/>
                </a:cubicBezTo>
                <a:cubicBezTo>
                  <a:pt x="231" y="639"/>
                  <a:pt x="230" y="640"/>
                  <a:pt x="229" y="639"/>
                </a:cubicBezTo>
                <a:close/>
                <a:moveTo>
                  <a:pt x="215" y="675"/>
                </a:moveTo>
                <a:cubicBezTo>
                  <a:pt x="216" y="673"/>
                  <a:pt x="216" y="675"/>
                  <a:pt x="215" y="675"/>
                </a:cubicBezTo>
                <a:close/>
                <a:moveTo>
                  <a:pt x="219" y="676"/>
                </a:moveTo>
                <a:cubicBezTo>
                  <a:pt x="220" y="675"/>
                  <a:pt x="221" y="676"/>
                  <a:pt x="223" y="676"/>
                </a:cubicBezTo>
                <a:cubicBezTo>
                  <a:pt x="221" y="676"/>
                  <a:pt x="220" y="677"/>
                  <a:pt x="219" y="676"/>
                </a:cubicBezTo>
                <a:close/>
                <a:moveTo>
                  <a:pt x="226" y="676"/>
                </a:moveTo>
                <a:cubicBezTo>
                  <a:pt x="226" y="675"/>
                  <a:pt x="228" y="675"/>
                  <a:pt x="228" y="675"/>
                </a:cubicBezTo>
                <a:cubicBezTo>
                  <a:pt x="228" y="676"/>
                  <a:pt x="226" y="676"/>
                  <a:pt x="226" y="676"/>
                </a:cubicBezTo>
                <a:close/>
                <a:moveTo>
                  <a:pt x="229" y="676"/>
                </a:moveTo>
                <a:cubicBezTo>
                  <a:pt x="229" y="675"/>
                  <a:pt x="230" y="676"/>
                  <a:pt x="230" y="676"/>
                </a:cubicBezTo>
                <a:cubicBezTo>
                  <a:pt x="230" y="676"/>
                  <a:pt x="229" y="677"/>
                  <a:pt x="229" y="676"/>
                </a:cubicBezTo>
                <a:close/>
                <a:moveTo>
                  <a:pt x="234" y="679"/>
                </a:moveTo>
                <a:cubicBezTo>
                  <a:pt x="234" y="678"/>
                  <a:pt x="235" y="678"/>
                  <a:pt x="235" y="678"/>
                </a:cubicBezTo>
                <a:cubicBezTo>
                  <a:pt x="236" y="679"/>
                  <a:pt x="234" y="679"/>
                  <a:pt x="234" y="679"/>
                </a:cubicBezTo>
                <a:close/>
                <a:moveTo>
                  <a:pt x="248" y="692"/>
                </a:moveTo>
                <a:cubicBezTo>
                  <a:pt x="248" y="691"/>
                  <a:pt x="250" y="691"/>
                  <a:pt x="250" y="691"/>
                </a:cubicBezTo>
                <a:cubicBezTo>
                  <a:pt x="251" y="692"/>
                  <a:pt x="249" y="692"/>
                  <a:pt x="248" y="692"/>
                </a:cubicBezTo>
                <a:close/>
                <a:moveTo>
                  <a:pt x="349" y="41"/>
                </a:moveTo>
                <a:cubicBezTo>
                  <a:pt x="348" y="41"/>
                  <a:pt x="345" y="42"/>
                  <a:pt x="344" y="41"/>
                </a:cubicBezTo>
                <a:cubicBezTo>
                  <a:pt x="344" y="40"/>
                  <a:pt x="348" y="40"/>
                  <a:pt x="349" y="41"/>
                </a:cubicBezTo>
                <a:close/>
                <a:moveTo>
                  <a:pt x="343" y="7"/>
                </a:moveTo>
                <a:cubicBezTo>
                  <a:pt x="344" y="6"/>
                  <a:pt x="345" y="8"/>
                  <a:pt x="343" y="7"/>
                </a:cubicBezTo>
                <a:close/>
                <a:moveTo>
                  <a:pt x="342" y="38"/>
                </a:moveTo>
                <a:cubicBezTo>
                  <a:pt x="341" y="38"/>
                  <a:pt x="340" y="37"/>
                  <a:pt x="339" y="38"/>
                </a:cubicBezTo>
                <a:cubicBezTo>
                  <a:pt x="339" y="37"/>
                  <a:pt x="341" y="37"/>
                  <a:pt x="342" y="38"/>
                </a:cubicBezTo>
                <a:close/>
                <a:moveTo>
                  <a:pt x="335" y="37"/>
                </a:moveTo>
                <a:cubicBezTo>
                  <a:pt x="336" y="36"/>
                  <a:pt x="337" y="39"/>
                  <a:pt x="335" y="37"/>
                </a:cubicBezTo>
                <a:close/>
                <a:moveTo>
                  <a:pt x="336" y="97"/>
                </a:move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5" y="96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lose/>
                <a:moveTo>
                  <a:pt x="316" y="49"/>
                </a:moveTo>
                <a:cubicBezTo>
                  <a:pt x="316" y="49"/>
                  <a:pt x="313" y="50"/>
                  <a:pt x="313" y="49"/>
                </a:cubicBezTo>
                <a:cubicBezTo>
                  <a:pt x="312" y="49"/>
                  <a:pt x="315" y="48"/>
                  <a:pt x="316" y="49"/>
                </a:cubicBezTo>
                <a:close/>
                <a:moveTo>
                  <a:pt x="321" y="108"/>
                </a:moveTo>
                <a:cubicBezTo>
                  <a:pt x="319" y="109"/>
                  <a:pt x="315" y="112"/>
                  <a:pt x="311" y="111"/>
                </a:cubicBezTo>
                <a:cubicBezTo>
                  <a:pt x="314" y="109"/>
                  <a:pt x="317" y="109"/>
                  <a:pt x="321" y="108"/>
                </a:cubicBezTo>
                <a:close/>
                <a:moveTo>
                  <a:pt x="320" y="636"/>
                </a:moveTo>
                <a:cubicBezTo>
                  <a:pt x="319" y="636"/>
                  <a:pt x="320" y="635"/>
                  <a:pt x="320" y="635"/>
                </a:cubicBezTo>
                <a:cubicBezTo>
                  <a:pt x="321" y="635"/>
                  <a:pt x="320" y="636"/>
                  <a:pt x="320" y="636"/>
                </a:cubicBezTo>
                <a:close/>
                <a:moveTo>
                  <a:pt x="319" y="620"/>
                </a:moveTo>
                <a:cubicBezTo>
                  <a:pt x="319" y="620"/>
                  <a:pt x="318" y="620"/>
                  <a:pt x="317" y="620"/>
                </a:cubicBezTo>
                <a:cubicBezTo>
                  <a:pt x="318" y="620"/>
                  <a:pt x="319" y="619"/>
                  <a:pt x="319" y="620"/>
                </a:cubicBezTo>
                <a:close/>
                <a:moveTo>
                  <a:pt x="318" y="614"/>
                </a:moveTo>
                <a:cubicBezTo>
                  <a:pt x="317" y="613"/>
                  <a:pt x="319" y="615"/>
                  <a:pt x="318" y="614"/>
                </a:cubicBezTo>
                <a:close/>
                <a:moveTo>
                  <a:pt x="313" y="137"/>
                </a:moveTo>
                <a:cubicBezTo>
                  <a:pt x="312" y="140"/>
                  <a:pt x="312" y="135"/>
                  <a:pt x="312" y="137"/>
                </a:cubicBezTo>
                <a:cubicBezTo>
                  <a:pt x="312" y="137"/>
                  <a:pt x="313" y="137"/>
                  <a:pt x="313" y="137"/>
                </a:cubicBezTo>
                <a:close/>
                <a:moveTo>
                  <a:pt x="311" y="41"/>
                </a:moveTo>
                <a:cubicBezTo>
                  <a:pt x="310" y="42"/>
                  <a:pt x="309" y="40"/>
                  <a:pt x="311" y="41"/>
                </a:cubicBezTo>
                <a:close/>
                <a:moveTo>
                  <a:pt x="309" y="527"/>
                </a:moveTo>
                <a:cubicBezTo>
                  <a:pt x="309" y="528"/>
                  <a:pt x="306" y="529"/>
                  <a:pt x="306" y="527"/>
                </a:cubicBezTo>
                <a:cubicBezTo>
                  <a:pt x="306" y="525"/>
                  <a:pt x="309" y="526"/>
                  <a:pt x="309" y="527"/>
                </a:cubicBezTo>
                <a:close/>
                <a:moveTo>
                  <a:pt x="307" y="61"/>
                </a:moveTo>
                <a:cubicBezTo>
                  <a:pt x="306" y="60"/>
                  <a:pt x="308" y="61"/>
                  <a:pt x="307" y="61"/>
                </a:cubicBezTo>
                <a:close/>
                <a:moveTo>
                  <a:pt x="293" y="53"/>
                </a:moveTo>
                <a:cubicBezTo>
                  <a:pt x="298" y="52"/>
                  <a:pt x="304" y="52"/>
                  <a:pt x="309" y="51"/>
                </a:cubicBezTo>
                <a:cubicBezTo>
                  <a:pt x="304" y="53"/>
                  <a:pt x="299" y="53"/>
                  <a:pt x="293" y="53"/>
                </a:cubicBezTo>
                <a:close/>
                <a:moveTo>
                  <a:pt x="282" y="662"/>
                </a:moveTo>
                <a:cubicBezTo>
                  <a:pt x="281" y="662"/>
                  <a:pt x="279" y="663"/>
                  <a:pt x="277" y="663"/>
                </a:cubicBezTo>
                <a:cubicBezTo>
                  <a:pt x="279" y="662"/>
                  <a:pt x="281" y="661"/>
                  <a:pt x="282" y="662"/>
                </a:cubicBezTo>
                <a:close/>
                <a:moveTo>
                  <a:pt x="278" y="582"/>
                </a:moveTo>
                <a:cubicBezTo>
                  <a:pt x="278" y="581"/>
                  <a:pt x="280" y="581"/>
                  <a:pt x="279" y="582"/>
                </a:cubicBezTo>
                <a:cubicBezTo>
                  <a:pt x="279" y="582"/>
                  <a:pt x="279" y="582"/>
                  <a:pt x="278" y="582"/>
                </a:cubicBezTo>
                <a:close/>
                <a:moveTo>
                  <a:pt x="282" y="582"/>
                </a:moveTo>
                <a:cubicBezTo>
                  <a:pt x="282" y="582"/>
                  <a:pt x="280" y="583"/>
                  <a:pt x="280" y="581"/>
                </a:cubicBezTo>
                <a:cubicBezTo>
                  <a:pt x="280" y="580"/>
                  <a:pt x="282" y="581"/>
                  <a:pt x="282" y="582"/>
                </a:cubicBezTo>
                <a:close/>
                <a:moveTo>
                  <a:pt x="281" y="574"/>
                </a:moveTo>
                <a:cubicBezTo>
                  <a:pt x="281" y="575"/>
                  <a:pt x="280" y="575"/>
                  <a:pt x="280" y="574"/>
                </a:cubicBezTo>
                <a:cubicBezTo>
                  <a:pt x="279" y="574"/>
                  <a:pt x="281" y="573"/>
                  <a:pt x="281" y="574"/>
                </a:cubicBezTo>
                <a:close/>
                <a:moveTo>
                  <a:pt x="294" y="551"/>
                </a:moveTo>
                <a:cubicBezTo>
                  <a:pt x="291" y="553"/>
                  <a:pt x="287" y="555"/>
                  <a:pt x="285" y="556"/>
                </a:cubicBezTo>
                <a:cubicBezTo>
                  <a:pt x="285" y="556"/>
                  <a:pt x="283" y="557"/>
                  <a:pt x="284" y="556"/>
                </a:cubicBezTo>
                <a:cubicBezTo>
                  <a:pt x="286" y="553"/>
                  <a:pt x="291" y="553"/>
                  <a:pt x="294" y="551"/>
                </a:cubicBezTo>
                <a:close/>
                <a:moveTo>
                  <a:pt x="286" y="536"/>
                </a:moveTo>
                <a:cubicBezTo>
                  <a:pt x="286" y="535"/>
                  <a:pt x="286" y="536"/>
                  <a:pt x="286" y="536"/>
                </a:cubicBezTo>
                <a:cubicBezTo>
                  <a:pt x="285" y="536"/>
                  <a:pt x="286" y="535"/>
                  <a:pt x="286" y="536"/>
                </a:cubicBezTo>
                <a:close/>
                <a:moveTo>
                  <a:pt x="287" y="536"/>
                </a:moveTo>
                <a:cubicBezTo>
                  <a:pt x="287" y="534"/>
                  <a:pt x="289" y="534"/>
                  <a:pt x="289" y="536"/>
                </a:cubicBezTo>
                <a:cubicBezTo>
                  <a:pt x="289" y="537"/>
                  <a:pt x="287" y="536"/>
                  <a:pt x="287" y="536"/>
                </a:cubicBezTo>
                <a:close/>
                <a:moveTo>
                  <a:pt x="290" y="512"/>
                </a:moveTo>
                <a:cubicBezTo>
                  <a:pt x="291" y="510"/>
                  <a:pt x="293" y="509"/>
                  <a:pt x="294" y="508"/>
                </a:cubicBezTo>
                <a:cubicBezTo>
                  <a:pt x="294" y="509"/>
                  <a:pt x="292" y="510"/>
                  <a:pt x="290" y="512"/>
                </a:cubicBezTo>
                <a:close/>
                <a:moveTo>
                  <a:pt x="290" y="550"/>
                </a:moveTo>
                <a:cubicBezTo>
                  <a:pt x="290" y="549"/>
                  <a:pt x="291" y="548"/>
                  <a:pt x="292" y="549"/>
                </a:cubicBezTo>
                <a:cubicBezTo>
                  <a:pt x="292" y="550"/>
                  <a:pt x="290" y="551"/>
                  <a:pt x="290" y="550"/>
                </a:cubicBezTo>
                <a:close/>
                <a:moveTo>
                  <a:pt x="287" y="638"/>
                </a:moveTo>
                <a:cubicBezTo>
                  <a:pt x="288" y="637"/>
                  <a:pt x="289" y="637"/>
                  <a:pt x="290" y="637"/>
                </a:cubicBezTo>
                <a:cubicBezTo>
                  <a:pt x="289" y="637"/>
                  <a:pt x="288" y="638"/>
                  <a:pt x="287" y="638"/>
                </a:cubicBezTo>
                <a:close/>
                <a:moveTo>
                  <a:pt x="290" y="640"/>
                </a:moveTo>
                <a:cubicBezTo>
                  <a:pt x="289" y="641"/>
                  <a:pt x="288" y="640"/>
                  <a:pt x="287" y="641"/>
                </a:cubicBezTo>
                <a:cubicBezTo>
                  <a:pt x="287" y="640"/>
                  <a:pt x="289" y="639"/>
                  <a:pt x="290" y="640"/>
                </a:cubicBezTo>
                <a:close/>
                <a:moveTo>
                  <a:pt x="292" y="594"/>
                </a:moveTo>
                <a:cubicBezTo>
                  <a:pt x="292" y="595"/>
                  <a:pt x="288" y="596"/>
                  <a:pt x="288" y="593"/>
                </a:cubicBezTo>
                <a:cubicBezTo>
                  <a:pt x="288" y="591"/>
                  <a:pt x="292" y="592"/>
                  <a:pt x="292" y="594"/>
                </a:cubicBezTo>
                <a:close/>
                <a:moveTo>
                  <a:pt x="288" y="573"/>
                </a:moveTo>
                <a:cubicBezTo>
                  <a:pt x="288" y="572"/>
                  <a:pt x="290" y="571"/>
                  <a:pt x="291" y="571"/>
                </a:cubicBezTo>
                <a:cubicBezTo>
                  <a:pt x="290" y="572"/>
                  <a:pt x="289" y="572"/>
                  <a:pt x="288" y="573"/>
                </a:cubicBezTo>
                <a:close/>
                <a:moveTo>
                  <a:pt x="292" y="571"/>
                </a:moveTo>
                <a:cubicBezTo>
                  <a:pt x="292" y="570"/>
                  <a:pt x="293" y="569"/>
                  <a:pt x="294" y="570"/>
                </a:cubicBezTo>
                <a:cubicBezTo>
                  <a:pt x="294" y="571"/>
                  <a:pt x="292" y="571"/>
                  <a:pt x="292" y="571"/>
                </a:cubicBezTo>
                <a:close/>
                <a:moveTo>
                  <a:pt x="293" y="594"/>
                </a:moveTo>
                <a:cubicBezTo>
                  <a:pt x="293" y="596"/>
                  <a:pt x="291" y="595"/>
                  <a:pt x="293" y="594"/>
                </a:cubicBezTo>
                <a:close/>
                <a:moveTo>
                  <a:pt x="291" y="595"/>
                </a:moveTo>
                <a:cubicBezTo>
                  <a:pt x="290" y="597"/>
                  <a:pt x="288" y="596"/>
                  <a:pt x="291" y="595"/>
                </a:cubicBezTo>
                <a:close/>
                <a:moveTo>
                  <a:pt x="290" y="625"/>
                </a:moveTo>
                <a:cubicBezTo>
                  <a:pt x="291" y="626"/>
                  <a:pt x="290" y="625"/>
                  <a:pt x="290" y="625"/>
                </a:cubicBezTo>
                <a:cubicBezTo>
                  <a:pt x="290" y="625"/>
                  <a:pt x="290" y="625"/>
                  <a:pt x="290" y="625"/>
                </a:cubicBezTo>
                <a:close/>
                <a:moveTo>
                  <a:pt x="289" y="602"/>
                </a:moveTo>
                <a:cubicBezTo>
                  <a:pt x="289" y="601"/>
                  <a:pt x="292" y="601"/>
                  <a:pt x="293" y="601"/>
                </a:cubicBezTo>
                <a:cubicBezTo>
                  <a:pt x="292" y="602"/>
                  <a:pt x="290" y="602"/>
                  <a:pt x="289" y="602"/>
                </a:cubicBezTo>
                <a:close/>
                <a:moveTo>
                  <a:pt x="291" y="634"/>
                </a:moveTo>
                <a:cubicBezTo>
                  <a:pt x="292" y="634"/>
                  <a:pt x="293" y="634"/>
                  <a:pt x="292" y="635"/>
                </a:cubicBezTo>
                <a:cubicBezTo>
                  <a:pt x="292" y="636"/>
                  <a:pt x="291" y="635"/>
                  <a:pt x="291" y="634"/>
                </a:cubicBezTo>
                <a:close/>
                <a:moveTo>
                  <a:pt x="295" y="635"/>
                </a:moveTo>
                <a:cubicBezTo>
                  <a:pt x="294" y="636"/>
                  <a:pt x="293" y="637"/>
                  <a:pt x="291" y="636"/>
                </a:cubicBezTo>
                <a:cubicBezTo>
                  <a:pt x="292" y="636"/>
                  <a:pt x="294" y="636"/>
                  <a:pt x="295" y="635"/>
                </a:cubicBezTo>
                <a:close/>
                <a:moveTo>
                  <a:pt x="293" y="583"/>
                </a:moveTo>
                <a:cubicBezTo>
                  <a:pt x="293" y="583"/>
                  <a:pt x="294" y="583"/>
                  <a:pt x="294" y="583"/>
                </a:cubicBezTo>
                <a:cubicBezTo>
                  <a:pt x="295" y="584"/>
                  <a:pt x="293" y="585"/>
                  <a:pt x="293" y="583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538"/>
                </a:moveTo>
                <a:cubicBezTo>
                  <a:pt x="283" y="538"/>
                  <a:pt x="284" y="537"/>
                  <a:pt x="284" y="537"/>
                </a:cubicBezTo>
                <a:cubicBezTo>
                  <a:pt x="285" y="537"/>
                  <a:pt x="284" y="538"/>
                  <a:pt x="284" y="538"/>
                </a:cubicBezTo>
                <a:close/>
                <a:moveTo>
                  <a:pt x="285" y="588"/>
                </a:moveTo>
                <a:cubicBezTo>
                  <a:pt x="284" y="589"/>
                  <a:pt x="283" y="589"/>
                  <a:pt x="282" y="590"/>
                </a:cubicBezTo>
                <a:cubicBezTo>
                  <a:pt x="282" y="590"/>
                  <a:pt x="284" y="588"/>
                  <a:pt x="285" y="588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612"/>
                </a:moveTo>
                <a:cubicBezTo>
                  <a:pt x="281" y="614"/>
                  <a:pt x="281" y="612"/>
                  <a:pt x="284" y="612"/>
                </a:cubicBezTo>
                <a:close/>
                <a:moveTo>
                  <a:pt x="283" y="648"/>
                </a:moveTo>
                <a:cubicBezTo>
                  <a:pt x="284" y="645"/>
                  <a:pt x="286" y="647"/>
                  <a:pt x="283" y="648"/>
                </a:cubicBezTo>
                <a:close/>
                <a:moveTo>
                  <a:pt x="287" y="661"/>
                </a:moveTo>
                <a:cubicBezTo>
                  <a:pt x="287" y="661"/>
                  <a:pt x="285" y="662"/>
                  <a:pt x="284" y="662"/>
                </a:cubicBezTo>
                <a:cubicBezTo>
                  <a:pt x="284" y="661"/>
                  <a:pt x="287" y="660"/>
                  <a:pt x="287" y="661"/>
                </a:cubicBezTo>
                <a:close/>
                <a:moveTo>
                  <a:pt x="288" y="667"/>
                </a:moveTo>
                <a:cubicBezTo>
                  <a:pt x="288" y="668"/>
                  <a:pt x="286" y="668"/>
                  <a:pt x="286" y="667"/>
                </a:cubicBezTo>
                <a:cubicBezTo>
                  <a:pt x="285" y="666"/>
                  <a:pt x="288" y="666"/>
                  <a:pt x="288" y="667"/>
                </a:cubicBezTo>
                <a:close/>
                <a:moveTo>
                  <a:pt x="287" y="650"/>
                </a:moveTo>
                <a:cubicBezTo>
                  <a:pt x="287" y="648"/>
                  <a:pt x="290" y="647"/>
                  <a:pt x="291" y="649"/>
                </a:cubicBezTo>
                <a:cubicBezTo>
                  <a:pt x="295" y="653"/>
                  <a:pt x="286" y="654"/>
                  <a:pt x="287" y="650"/>
                </a:cubicBezTo>
                <a:close/>
                <a:moveTo>
                  <a:pt x="292" y="691"/>
                </a:moveTo>
                <a:cubicBezTo>
                  <a:pt x="292" y="691"/>
                  <a:pt x="292" y="691"/>
                  <a:pt x="292" y="691"/>
                </a:cubicBezTo>
                <a:cubicBezTo>
                  <a:pt x="292" y="689"/>
                  <a:pt x="294" y="692"/>
                  <a:pt x="292" y="691"/>
                </a:cubicBezTo>
                <a:close/>
                <a:moveTo>
                  <a:pt x="292" y="646"/>
                </a:moveTo>
                <a:cubicBezTo>
                  <a:pt x="290" y="644"/>
                  <a:pt x="297" y="643"/>
                  <a:pt x="294" y="646"/>
                </a:cubicBezTo>
                <a:cubicBezTo>
                  <a:pt x="294" y="646"/>
                  <a:pt x="293" y="646"/>
                  <a:pt x="292" y="646"/>
                </a:cubicBezTo>
                <a:close/>
                <a:moveTo>
                  <a:pt x="294" y="600"/>
                </a:moveTo>
                <a:cubicBezTo>
                  <a:pt x="294" y="600"/>
                  <a:pt x="296" y="599"/>
                  <a:pt x="297" y="599"/>
                </a:cubicBezTo>
                <a:cubicBezTo>
                  <a:pt x="296" y="600"/>
                  <a:pt x="295" y="600"/>
                  <a:pt x="294" y="600"/>
                </a:cubicBezTo>
                <a:close/>
                <a:moveTo>
                  <a:pt x="293" y="530"/>
                </a:moveTo>
                <a:cubicBezTo>
                  <a:pt x="294" y="529"/>
                  <a:pt x="296" y="528"/>
                  <a:pt x="297" y="530"/>
                </a:cubicBezTo>
                <a:cubicBezTo>
                  <a:pt x="298" y="532"/>
                  <a:pt x="293" y="534"/>
                  <a:pt x="293" y="530"/>
                </a:cubicBezTo>
                <a:close/>
                <a:moveTo>
                  <a:pt x="303" y="581"/>
                </a:moveTo>
                <a:cubicBezTo>
                  <a:pt x="303" y="584"/>
                  <a:pt x="298" y="584"/>
                  <a:pt x="297" y="581"/>
                </a:cubicBezTo>
                <a:cubicBezTo>
                  <a:pt x="297" y="578"/>
                  <a:pt x="303" y="579"/>
                  <a:pt x="303" y="581"/>
                </a:cubicBezTo>
                <a:close/>
                <a:moveTo>
                  <a:pt x="298" y="504"/>
                </a:moveTo>
                <a:cubicBezTo>
                  <a:pt x="298" y="503"/>
                  <a:pt x="300" y="504"/>
                  <a:pt x="298" y="504"/>
                </a:cubicBezTo>
                <a:close/>
                <a:moveTo>
                  <a:pt x="300" y="102"/>
                </a:moveTo>
                <a:cubicBezTo>
                  <a:pt x="298" y="103"/>
                  <a:pt x="297" y="101"/>
                  <a:pt x="300" y="102"/>
                </a:cubicBezTo>
                <a:close/>
                <a:moveTo>
                  <a:pt x="299" y="578"/>
                </a:moveTo>
                <a:cubicBezTo>
                  <a:pt x="299" y="578"/>
                  <a:pt x="298" y="579"/>
                  <a:pt x="298" y="578"/>
                </a:cubicBezTo>
                <a:cubicBezTo>
                  <a:pt x="297" y="577"/>
                  <a:pt x="300" y="577"/>
                  <a:pt x="299" y="578"/>
                </a:cubicBezTo>
                <a:close/>
                <a:moveTo>
                  <a:pt x="303" y="67"/>
                </a:moveTo>
                <a:cubicBezTo>
                  <a:pt x="302" y="69"/>
                  <a:pt x="302" y="67"/>
                  <a:pt x="303" y="67"/>
                </a:cubicBezTo>
                <a:close/>
                <a:moveTo>
                  <a:pt x="304" y="592"/>
                </a:moveTo>
                <a:cubicBezTo>
                  <a:pt x="304" y="593"/>
                  <a:pt x="301" y="593"/>
                  <a:pt x="300" y="594"/>
                </a:cubicBezTo>
                <a:cubicBezTo>
                  <a:pt x="301" y="593"/>
                  <a:pt x="303" y="592"/>
                  <a:pt x="304" y="592"/>
                </a:cubicBezTo>
                <a:close/>
                <a:moveTo>
                  <a:pt x="304" y="660"/>
                </a:moveTo>
                <a:cubicBezTo>
                  <a:pt x="304" y="661"/>
                  <a:pt x="304" y="662"/>
                  <a:pt x="304" y="662"/>
                </a:cubicBezTo>
                <a:cubicBezTo>
                  <a:pt x="302" y="664"/>
                  <a:pt x="301" y="659"/>
                  <a:pt x="304" y="660"/>
                </a:cubicBezTo>
                <a:close/>
                <a:moveTo>
                  <a:pt x="308" y="41"/>
                </a:moveTo>
                <a:cubicBezTo>
                  <a:pt x="308" y="41"/>
                  <a:pt x="307" y="42"/>
                  <a:pt x="307" y="42"/>
                </a:cubicBezTo>
                <a:cubicBezTo>
                  <a:pt x="306" y="42"/>
                  <a:pt x="307" y="41"/>
                  <a:pt x="308" y="41"/>
                </a:cubicBezTo>
                <a:close/>
                <a:moveTo>
                  <a:pt x="298" y="26"/>
                </a:moveTo>
                <a:cubicBezTo>
                  <a:pt x="300" y="25"/>
                  <a:pt x="300" y="27"/>
                  <a:pt x="298" y="26"/>
                </a:cubicBezTo>
                <a:close/>
                <a:moveTo>
                  <a:pt x="299" y="30"/>
                </a:moveTo>
                <a:cubicBezTo>
                  <a:pt x="297" y="31"/>
                  <a:pt x="295" y="30"/>
                  <a:pt x="293" y="30"/>
                </a:cubicBezTo>
                <a:cubicBezTo>
                  <a:pt x="295" y="29"/>
                  <a:pt x="297" y="29"/>
                  <a:pt x="299" y="30"/>
                </a:cubicBezTo>
                <a:close/>
                <a:moveTo>
                  <a:pt x="291" y="53"/>
                </a:moveTo>
                <a:cubicBezTo>
                  <a:pt x="287" y="54"/>
                  <a:pt x="283" y="55"/>
                  <a:pt x="279" y="55"/>
                </a:cubicBezTo>
                <a:cubicBezTo>
                  <a:pt x="283" y="54"/>
                  <a:pt x="287" y="53"/>
                  <a:pt x="291" y="53"/>
                </a:cubicBezTo>
                <a:close/>
                <a:moveTo>
                  <a:pt x="288" y="513"/>
                </a:moveTo>
                <a:cubicBezTo>
                  <a:pt x="287" y="513"/>
                  <a:pt x="290" y="512"/>
                  <a:pt x="289" y="512"/>
                </a:cubicBezTo>
                <a:cubicBezTo>
                  <a:pt x="290" y="512"/>
                  <a:pt x="289" y="514"/>
                  <a:pt x="288" y="513"/>
                </a:cubicBezTo>
                <a:close/>
                <a:moveTo>
                  <a:pt x="282" y="526"/>
                </a:moveTo>
                <a:cubicBezTo>
                  <a:pt x="282" y="526"/>
                  <a:pt x="281" y="527"/>
                  <a:pt x="280" y="526"/>
                </a:cubicBezTo>
                <a:cubicBezTo>
                  <a:pt x="280" y="526"/>
                  <a:pt x="282" y="525"/>
                  <a:pt x="282" y="526"/>
                </a:cubicBezTo>
                <a:close/>
                <a:moveTo>
                  <a:pt x="286" y="526"/>
                </a:moveTo>
                <a:cubicBezTo>
                  <a:pt x="286" y="526"/>
                  <a:pt x="291" y="524"/>
                  <a:pt x="290" y="526"/>
                </a:cubicBezTo>
                <a:cubicBezTo>
                  <a:pt x="290" y="527"/>
                  <a:pt x="285" y="527"/>
                  <a:pt x="284" y="527"/>
                </a:cubicBezTo>
                <a:cubicBezTo>
                  <a:pt x="281" y="527"/>
                  <a:pt x="278" y="530"/>
                  <a:pt x="275" y="529"/>
                </a:cubicBezTo>
                <a:cubicBezTo>
                  <a:pt x="276" y="527"/>
                  <a:pt x="284" y="527"/>
                  <a:pt x="286" y="526"/>
                </a:cubicBezTo>
                <a:close/>
                <a:moveTo>
                  <a:pt x="277" y="694"/>
                </a:moveTo>
                <a:cubicBezTo>
                  <a:pt x="277" y="695"/>
                  <a:pt x="275" y="695"/>
                  <a:pt x="275" y="694"/>
                </a:cubicBezTo>
                <a:cubicBezTo>
                  <a:pt x="275" y="693"/>
                  <a:pt x="277" y="694"/>
                  <a:pt x="277" y="694"/>
                </a:cubicBezTo>
                <a:close/>
                <a:moveTo>
                  <a:pt x="266" y="653"/>
                </a:moveTo>
                <a:cubicBezTo>
                  <a:pt x="266" y="653"/>
                  <a:pt x="266" y="652"/>
                  <a:pt x="266" y="651"/>
                </a:cubicBezTo>
                <a:cubicBezTo>
                  <a:pt x="267" y="648"/>
                  <a:pt x="270" y="649"/>
                  <a:pt x="271" y="650"/>
                </a:cubicBezTo>
                <a:cubicBezTo>
                  <a:pt x="271" y="650"/>
                  <a:pt x="271" y="650"/>
                  <a:pt x="271" y="650"/>
                </a:cubicBezTo>
                <a:cubicBezTo>
                  <a:pt x="271" y="650"/>
                  <a:pt x="271" y="650"/>
                  <a:pt x="272" y="650"/>
                </a:cubicBezTo>
                <a:cubicBezTo>
                  <a:pt x="275" y="651"/>
                  <a:pt x="270" y="659"/>
                  <a:pt x="266" y="653"/>
                </a:cubicBezTo>
                <a:close/>
                <a:moveTo>
                  <a:pt x="268" y="657"/>
                </a:moveTo>
                <a:cubicBezTo>
                  <a:pt x="267" y="656"/>
                  <a:pt x="269" y="657"/>
                  <a:pt x="268" y="657"/>
                </a:cubicBezTo>
                <a:close/>
                <a:moveTo>
                  <a:pt x="264" y="633"/>
                </a:moveTo>
                <a:cubicBezTo>
                  <a:pt x="263" y="633"/>
                  <a:pt x="264" y="632"/>
                  <a:pt x="265" y="632"/>
                </a:cubicBezTo>
                <a:cubicBezTo>
                  <a:pt x="265" y="633"/>
                  <a:pt x="264" y="632"/>
                  <a:pt x="264" y="633"/>
                </a:cubicBezTo>
                <a:close/>
                <a:moveTo>
                  <a:pt x="263" y="663"/>
                </a:moveTo>
                <a:cubicBezTo>
                  <a:pt x="265" y="662"/>
                  <a:pt x="265" y="664"/>
                  <a:pt x="263" y="663"/>
                </a:cubicBezTo>
                <a:close/>
                <a:moveTo>
                  <a:pt x="265" y="623"/>
                </a:moveTo>
                <a:cubicBezTo>
                  <a:pt x="267" y="623"/>
                  <a:pt x="269" y="624"/>
                  <a:pt x="269" y="627"/>
                </a:cubicBezTo>
                <a:cubicBezTo>
                  <a:pt x="268" y="625"/>
                  <a:pt x="267" y="628"/>
                  <a:pt x="265" y="629"/>
                </a:cubicBezTo>
                <a:cubicBezTo>
                  <a:pt x="258" y="631"/>
                  <a:pt x="258" y="621"/>
                  <a:pt x="265" y="623"/>
                </a:cubicBezTo>
                <a:close/>
                <a:moveTo>
                  <a:pt x="271" y="560"/>
                </a:moveTo>
                <a:cubicBezTo>
                  <a:pt x="272" y="561"/>
                  <a:pt x="269" y="562"/>
                  <a:pt x="269" y="561"/>
                </a:cubicBezTo>
                <a:cubicBezTo>
                  <a:pt x="269" y="560"/>
                  <a:pt x="271" y="559"/>
                  <a:pt x="271" y="560"/>
                </a:cubicBezTo>
                <a:close/>
                <a:moveTo>
                  <a:pt x="271" y="507"/>
                </a:moveTo>
                <a:cubicBezTo>
                  <a:pt x="271" y="505"/>
                  <a:pt x="271" y="509"/>
                  <a:pt x="271" y="507"/>
                </a:cubicBezTo>
                <a:close/>
                <a:moveTo>
                  <a:pt x="273" y="532"/>
                </a:moveTo>
                <a:cubicBezTo>
                  <a:pt x="273" y="532"/>
                  <a:pt x="273" y="533"/>
                  <a:pt x="273" y="533"/>
                </a:cubicBezTo>
                <a:cubicBezTo>
                  <a:pt x="270" y="531"/>
                  <a:pt x="277" y="530"/>
                  <a:pt x="273" y="532"/>
                </a:cubicBezTo>
                <a:close/>
                <a:moveTo>
                  <a:pt x="273" y="556"/>
                </a:moveTo>
                <a:cubicBezTo>
                  <a:pt x="273" y="555"/>
                  <a:pt x="274" y="555"/>
                  <a:pt x="274" y="555"/>
                </a:cubicBezTo>
                <a:cubicBezTo>
                  <a:pt x="277" y="555"/>
                  <a:pt x="274" y="558"/>
                  <a:pt x="273" y="556"/>
                </a:cubicBezTo>
                <a:close/>
                <a:moveTo>
                  <a:pt x="270" y="624"/>
                </a:moveTo>
                <a:cubicBezTo>
                  <a:pt x="270" y="624"/>
                  <a:pt x="269" y="624"/>
                  <a:pt x="269" y="624"/>
                </a:cubicBezTo>
                <a:cubicBezTo>
                  <a:pt x="269" y="623"/>
                  <a:pt x="271" y="623"/>
                  <a:pt x="270" y="624"/>
                </a:cubicBezTo>
                <a:close/>
                <a:moveTo>
                  <a:pt x="266" y="617"/>
                </a:moveTo>
                <a:cubicBezTo>
                  <a:pt x="266" y="615"/>
                  <a:pt x="269" y="616"/>
                  <a:pt x="269" y="617"/>
                </a:cubicBezTo>
                <a:cubicBezTo>
                  <a:pt x="269" y="618"/>
                  <a:pt x="267" y="618"/>
                  <a:pt x="266" y="617"/>
                </a:cubicBezTo>
                <a:close/>
                <a:moveTo>
                  <a:pt x="271" y="647"/>
                </a:moveTo>
                <a:cubicBezTo>
                  <a:pt x="271" y="648"/>
                  <a:pt x="269" y="648"/>
                  <a:pt x="269" y="647"/>
                </a:cubicBezTo>
                <a:cubicBezTo>
                  <a:pt x="269" y="647"/>
                  <a:pt x="270" y="646"/>
                  <a:pt x="271" y="647"/>
                </a:cubicBezTo>
                <a:close/>
                <a:moveTo>
                  <a:pt x="270" y="628"/>
                </a:moveTo>
                <a:cubicBezTo>
                  <a:pt x="270" y="627"/>
                  <a:pt x="273" y="626"/>
                  <a:pt x="273" y="628"/>
                </a:cubicBezTo>
                <a:cubicBezTo>
                  <a:pt x="273" y="628"/>
                  <a:pt x="270" y="630"/>
                  <a:pt x="270" y="628"/>
                </a:cubicBezTo>
                <a:close/>
                <a:moveTo>
                  <a:pt x="273" y="613"/>
                </a:moveTo>
                <a:cubicBezTo>
                  <a:pt x="273" y="614"/>
                  <a:pt x="271" y="614"/>
                  <a:pt x="271" y="614"/>
                </a:cubicBezTo>
                <a:cubicBezTo>
                  <a:pt x="270" y="613"/>
                  <a:pt x="272" y="613"/>
                  <a:pt x="273" y="613"/>
                </a:cubicBezTo>
                <a:close/>
                <a:moveTo>
                  <a:pt x="270" y="571"/>
                </a:moveTo>
                <a:cubicBezTo>
                  <a:pt x="270" y="571"/>
                  <a:pt x="270" y="571"/>
                  <a:pt x="270" y="571"/>
                </a:cubicBezTo>
                <a:cubicBezTo>
                  <a:pt x="270" y="569"/>
                  <a:pt x="272" y="572"/>
                  <a:pt x="270" y="571"/>
                </a:cubicBezTo>
                <a:close/>
                <a:moveTo>
                  <a:pt x="271" y="564"/>
                </a:moveTo>
                <a:cubicBezTo>
                  <a:pt x="269" y="565"/>
                  <a:pt x="268" y="566"/>
                  <a:pt x="267" y="566"/>
                </a:cubicBezTo>
                <a:cubicBezTo>
                  <a:pt x="268" y="565"/>
                  <a:pt x="269" y="564"/>
                  <a:pt x="271" y="564"/>
                </a:cubicBezTo>
                <a:close/>
                <a:moveTo>
                  <a:pt x="271" y="572"/>
                </a:moveTo>
                <a:cubicBezTo>
                  <a:pt x="269" y="573"/>
                  <a:pt x="269" y="574"/>
                  <a:pt x="271" y="574"/>
                </a:cubicBezTo>
                <a:cubicBezTo>
                  <a:pt x="270" y="576"/>
                  <a:pt x="266" y="579"/>
                  <a:pt x="263" y="577"/>
                </a:cubicBezTo>
                <a:cubicBezTo>
                  <a:pt x="258" y="573"/>
                  <a:pt x="266" y="568"/>
                  <a:pt x="271" y="572"/>
                </a:cubicBezTo>
                <a:close/>
                <a:moveTo>
                  <a:pt x="264" y="612"/>
                </a:moveTo>
                <a:cubicBezTo>
                  <a:pt x="265" y="612"/>
                  <a:pt x="263" y="612"/>
                  <a:pt x="263" y="612"/>
                </a:cubicBezTo>
                <a:cubicBezTo>
                  <a:pt x="263" y="611"/>
                  <a:pt x="264" y="611"/>
                  <a:pt x="264" y="612"/>
                </a:cubicBezTo>
                <a:close/>
                <a:moveTo>
                  <a:pt x="266" y="632"/>
                </a:moveTo>
                <a:cubicBezTo>
                  <a:pt x="266" y="632"/>
                  <a:pt x="266" y="632"/>
                  <a:pt x="266" y="632"/>
                </a:cubicBezTo>
                <a:cubicBezTo>
                  <a:pt x="265" y="630"/>
                  <a:pt x="268" y="633"/>
                  <a:pt x="266" y="632"/>
                </a:cubicBezTo>
                <a:close/>
                <a:moveTo>
                  <a:pt x="276" y="663"/>
                </a:moveTo>
                <a:cubicBezTo>
                  <a:pt x="274" y="664"/>
                  <a:pt x="273" y="665"/>
                  <a:pt x="271" y="665"/>
                </a:cubicBezTo>
                <a:cubicBezTo>
                  <a:pt x="272" y="663"/>
                  <a:pt x="274" y="663"/>
                  <a:pt x="276" y="663"/>
                </a:cubicBezTo>
                <a:close/>
                <a:moveTo>
                  <a:pt x="270" y="486"/>
                </a:moveTo>
                <a:cubicBezTo>
                  <a:pt x="270" y="486"/>
                  <a:pt x="270" y="486"/>
                  <a:pt x="270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0" y="485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lose/>
                <a:moveTo>
                  <a:pt x="274" y="496"/>
                </a:moveTo>
                <a:cubicBezTo>
                  <a:pt x="274" y="499"/>
                  <a:pt x="269" y="498"/>
                  <a:pt x="269" y="496"/>
                </a:cubicBezTo>
                <a:cubicBezTo>
                  <a:pt x="269" y="496"/>
                  <a:pt x="274" y="494"/>
                  <a:pt x="274" y="496"/>
                </a:cubicBezTo>
                <a:close/>
                <a:moveTo>
                  <a:pt x="276" y="504"/>
                </a:moveTo>
                <a:cubicBezTo>
                  <a:pt x="274" y="506"/>
                  <a:pt x="271" y="506"/>
                  <a:pt x="269" y="507"/>
                </a:cubicBezTo>
                <a:cubicBezTo>
                  <a:pt x="270" y="506"/>
                  <a:pt x="274" y="504"/>
                  <a:pt x="276" y="504"/>
                </a:cubicBezTo>
                <a:close/>
                <a:moveTo>
                  <a:pt x="268" y="467"/>
                </a:moveTo>
                <a:cubicBezTo>
                  <a:pt x="268" y="468"/>
                  <a:pt x="268" y="468"/>
                  <a:pt x="267" y="468"/>
                </a:cubicBezTo>
                <a:cubicBezTo>
                  <a:pt x="267" y="468"/>
                  <a:pt x="268" y="467"/>
                  <a:pt x="268" y="467"/>
                </a:cubicBezTo>
                <a:close/>
                <a:moveTo>
                  <a:pt x="267" y="506"/>
                </a:moveTo>
                <a:cubicBezTo>
                  <a:pt x="268" y="506"/>
                  <a:pt x="267" y="507"/>
                  <a:pt x="267" y="507"/>
                </a:cubicBezTo>
                <a:cubicBezTo>
                  <a:pt x="266" y="506"/>
                  <a:pt x="267" y="506"/>
                  <a:pt x="267" y="506"/>
                </a:cubicBezTo>
                <a:close/>
                <a:moveTo>
                  <a:pt x="264" y="562"/>
                </a:moveTo>
                <a:cubicBezTo>
                  <a:pt x="265" y="562"/>
                  <a:pt x="262" y="562"/>
                  <a:pt x="262" y="562"/>
                </a:cubicBezTo>
                <a:cubicBezTo>
                  <a:pt x="262" y="562"/>
                  <a:pt x="264" y="561"/>
                  <a:pt x="264" y="562"/>
                </a:cubicBezTo>
                <a:close/>
                <a:moveTo>
                  <a:pt x="262" y="562"/>
                </a:moveTo>
                <a:cubicBezTo>
                  <a:pt x="261" y="563"/>
                  <a:pt x="260" y="561"/>
                  <a:pt x="262" y="562"/>
                </a:cubicBezTo>
                <a:close/>
                <a:moveTo>
                  <a:pt x="260" y="440"/>
                </a:moveTo>
                <a:cubicBezTo>
                  <a:pt x="261" y="440"/>
                  <a:pt x="260" y="441"/>
                  <a:pt x="260" y="441"/>
                </a:cubicBezTo>
                <a:cubicBezTo>
                  <a:pt x="257" y="443"/>
                  <a:pt x="259" y="439"/>
                  <a:pt x="260" y="440"/>
                </a:cubicBezTo>
                <a:close/>
                <a:moveTo>
                  <a:pt x="257" y="484"/>
                </a:moveTo>
                <a:cubicBezTo>
                  <a:pt x="257" y="484"/>
                  <a:pt x="257" y="483"/>
                  <a:pt x="257" y="483"/>
                </a:cubicBezTo>
                <a:cubicBezTo>
                  <a:pt x="257" y="484"/>
                  <a:pt x="257" y="484"/>
                  <a:pt x="257" y="484"/>
                </a:cubicBezTo>
                <a:cubicBezTo>
                  <a:pt x="257" y="484"/>
                  <a:pt x="257" y="484"/>
                  <a:pt x="257" y="484"/>
                </a:cubicBezTo>
                <a:close/>
                <a:moveTo>
                  <a:pt x="256" y="495"/>
                </a:moveTo>
                <a:cubicBezTo>
                  <a:pt x="255" y="496"/>
                  <a:pt x="255" y="496"/>
                  <a:pt x="254" y="495"/>
                </a:cubicBezTo>
                <a:cubicBezTo>
                  <a:pt x="254" y="494"/>
                  <a:pt x="257" y="494"/>
                  <a:pt x="256" y="495"/>
                </a:cubicBezTo>
                <a:close/>
                <a:moveTo>
                  <a:pt x="252" y="519"/>
                </a:moveTo>
                <a:cubicBezTo>
                  <a:pt x="252" y="519"/>
                  <a:pt x="252" y="520"/>
                  <a:pt x="252" y="520"/>
                </a:cubicBezTo>
                <a:cubicBezTo>
                  <a:pt x="251" y="519"/>
                  <a:pt x="252" y="518"/>
                  <a:pt x="252" y="519"/>
                </a:cubicBezTo>
                <a:close/>
                <a:moveTo>
                  <a:pt x="250" y="460"/>
                </a:moveTo>
                <a:cubicBezTo>
                  <a:pt x="251" y="459"/>
                  <a:pt x="251" y="460"/>
                  <a:pt x="251" y="461"/>
                </a:cubicBezTo>
                <a:cubicBezTo>
                  <a:pt x="250" y="462"/>
                  <a:pt x="249" y="460"/>
                  <a:pt x="250" y="460"/>
                </a:cubicBezTo>
                <a:close/>
                <a:moveTo>
                  <a:pt x="253" y="530"/>
                </a:moveTo>
                <a:cubicBezTo>
                  <a:pt x="254" y="528"/>
                  <a:pt x="259" y="522"/>
                  <a:pt x="261" y="522"/>
                </a:cubicBezTo>
                <a:cubicBezTo>
                  <a:pt x="264" y="521"/>
                  <a:pt x="260" y="524"/>
                  <a:pt x="259" y="524"/>
                </a:cubicBezTo>
                <a:cubicBezTo>
                  <a:pt x="257" y="526"/>
                  <a:pt x="255" y="529"/>
                  <a:pt x="253" y="531"/>
                </a:cubicBezTo>
                <a:cubicBezTo>
                  <a:pt x="253" y="531"/>
                  <a:pt x="253" y="531"/>
                  <a:pt x="253" y="531"/>
                </a:cubicBezTo>
                <a:cubicBezTo>
                  <a:pt x="253" y="531"/>
                  <a:pt x="253" y="532"/>
                  <a:pt x="252" y="532"/>
                </a:cubicBezTo>
                <a:cubicBezTo>
                  <a:pt x="252" y="532"/>
                  <a:pt x="252" y="532"/>
                  <a:pt x="252" y="532"/>
                </a:cubicBezTo>
                <a:cubicBezTo>
                  <a:pt x="251" y="533"/>
                  <a:pt x="251" y="533"/>
                  <a:pt x="250" y="534"/>
                </a:cubicBezTo>
                <a:cubicBezTo>
                  <a:pt x="250" y="534"/>
                  <a:pt x="249" y="533"/>
                  <a:pt x="249" y="533"/>
                </a:cubicBezTo>
                <a:cubicBezTo>
                  <a:pt x="249" y="533"/>
                  <a:pt x="251" y="531"/>
                  <a:pt x="253" y="530"/>
                </a:cubicBezTo>
                <a:close/>
                <a:moveTo>
                  <a:pt x="253" y="640"/>
                </a:moveTo>
                <a:cubicBezTo>
                  <a:pt x="253" y="638"/>
                  <a:pt x="257" y="638"/>
                  <a:pt x="258" y="639"/>
                </a:cubicBezTo>
                <a:cubicBezTo>
                  <a:pt x="259" y="641"/>
                  <a:pt x="254" y="642"/>
                  <a:pt x="253" y="640"/>
                </a:cubicBezTo>
                <a:close/>
                <a:moveTo>
                  <a:pt x="255" y="652"/>
                </a:moveTo>
                <a:cubicBezTo>
                  <a:pt x="256" y="653"/>
                  <a:pt x="254" y="653"/>
                  <a:pt x="254" y="652"/>
                </a:cubicBezTo>
                <a:cubicBezTo>
                  <a:pt x="253" y="651"/>
                  <a:pt x="255" y="651"/>
                  <a:pt x="255" y="652"/>
                </a:cubicBezTo>
                <a:close/>
                <a:moveTo>
                  <a:pt x="240" y="645"/>
                </a:moveTo>
                <a:cubicBezTo>
                  <a:pt x="238" y="644"/>
                  <a:pt x="237" y="642"/>
                  <a:pt x="239" y="640"/>
                </a:cubicBezTo>
                <a:cubicBezTo>
                  <a:pt x="240" y="639"/>
                  <a:pt x="242" y="639"/>
                  <a:pt x="244" y="639"/>
                </a:cubicBezTo>
                <a:cubicBezTo>
                  <a:pt x="245" y="639"/>
                  <a:pt x="247" y="639"/>
                  <a:pt x="247" y="640"/>
                </a:cubicBezTo>
                <a:cubicBezTo>
                  <a:pt x="247" y="640"/>
                  <a:pt x="247" y="640"/>
                  <a:pt x="246" y="640"/>
                </a:cubicBezTo>
                <a:cubicBezTo>
                  <a:pt x="246" y="640"/>
                  <a:pt x="247" y="640"/>
                  <a:pt x="247" y="640"/>
                </a:cubicBezTo>
                <a:cubicBezTo>
                  <a:pt x="247" y="640"/>
                  <a:pt x="247" y="641"/>
                  <a:pt x="247" y="641"/>
                </a:cubicBezTo>
                <a:cubicBezTo>
                  <a:pt x="248" y="642"/>
                  <a:pt x="242" y="646"/>
                  <a:pt x="240" y="645"/>
                </a:cubicBezTo>
                <a:close/>
                <a:moveTo>
                  <a:pt x="241" y="660"/>
                </a:moveTo>
                <a:cubicBezTo>
                  <a:pt x="240" y="661"/>
                  <a:pt x="239" y="660"/>
                  <a:pt x="240" y="659"/>
                </a:cubicBezTo>
                <a:cubicBezTo>
                  <a:pt x="240" y="659"/>
                  <a:pt x="242" y="659"/>
                  <a:pt x="241" y="660"/>
                </a:cubicBezTo>
                <a:close/>
                <a:moveTo>
                  <a:pt x="250" y="593"/>
                </a:moveTo>
                <a:cubicBezTo>
                  <a:pt x="247" y="595"/>
                  <a:pt x="244" y="594"/>
                  <a:pt x="240" y="596"/>
                </a:cubicBezTo>
                <a:cubicBezTo>
                  <a:pt x="243" y="594"/>
                  <a:pt x="247" y="594"/>
                  <a:pt x="250" y="593"/>
                </a:cubicBezTo>
                <a:close/>
                <a:moveTo>
                  <a:pt x="245" y="578"/>
                </a:moveTo>
                <a:cubicBezTo>
                  <a:pt x="246" y="579"/>
                  <a:pt x="245" y="579"/>
                  <a:pt x="245" y="579"/>
                </a:cubicBezTo>
                <a:cubicBezTo>
                  <a:pt x="243" y="581"/>
                  <a:pt x="244" y="577"/>
                  <a:pt x="245" y="578"/>
                </a:cubicBezTo>
                <a:close/>
                <a:moveTo>
                  <a:pt x="253" y="551"/>
                </a:moveTo>
                <a:cubicBezTo>
                  <a:pt x="254" y="550"/>
                  <a:pt x="255" y="549"/>
                  <a:pt x="257" y="549"/>
                </a:cubicBezTo>
                <a:cubicBezTo>
                  <a:pt x="256" y="550"/>
                  <a:pt x="254" y="551"/>
                  <a:pt x="253" y="551"/>
                </a:cubicBezTo>
                <a:close/>
                <a:moveTo>
                  <a:pt x="255" y="555"/>
                </a:moveTo>
                <a:cubicBezTo>
                  <a:pt x="253" y="557"/>
                  <a:pt x="254" y="552"/>
                  <a:pt x="256" y="554"/>
                </a:cubicBezTo>
                <a:cubicBezTo>
                  <a:pt x="257" y="554"/>
                  <a:pt x="256" y="555"/>
                  <a:pt x="255" y="555"/>
                </a:cubicBezTo>
                <a:close/>
                <a:moveTo>
                  <a:pt x="258" y="564"/>
                </a:moveTo>
                <a:cubicBezTo>
                  <a:pt x="258" y="566"/>
                  <a:pt x="252" y="567"/>
                  <a:pt x="252" y="564"/>
                </a:cubicBezTo>
                <a:cubicBezTo>
                  <a:pt x="252" y="561"/>
                  <a:pt x="258" y="562"/>
                  <a:pt x="258" y="564"/>
                </a:cubicBezTo>
                <a:close/>
                <a:moveTo>
                  <a:pt x="257" y="589"/>
                </a:moveTo>
                <a:cubicBezTo>
                  <a:pt x="256" y="590"/>
                  <a:pt x="258" y="588"/>
                  <a:pt x="257" y="589"/>
                </a:cubicBezTo>
                <a:close/>
                <a:moveTo>
                  <a:pt x="254" y="619"/>
                </a:moveTo>
                <a:cubicBezTo>
                  <a:pt x="254" y="619"/>
                  <a:pt x="253" y="619"/>
                  <a:pt x="254" y="619"/>
                </a:cubicBezTo>
                <a:close/>
                <a:moveTo>
                  <a:pt x="254" y="612"/>
                </a:moveTo>
                <a:cubicBezTo>
                  <a:pt x="254" y="612"/>
                  <a:pt x="254" y="613"/>
                  <a:pt x="254" y="613"/>
                </a:cubicBezTo>
                <a:cubicBezTo>
                  <a:pt x="253" y="613"/>
                  <a:pt x="254" y="612"/>
                  <a:pt x="254" y="612"/>
                </a:cubicBezTo>
                <a:close/>
                <a:moveTo>
                  <a:pt x="254" y="619"/>
                </a:moveTo>
                <a:cubicBezTo>
                  <a:pt x="257" y="616"/>
                  <a:pt x="255" y="621"/>
                  <a:pt x="254" y="620"/>
                </a:cubicBezTo>
                <a:cubicBezTo>
                  <a:pt x="254" y="620"/>
                  <a:pt x="254" y="619"/>
                  <a:pt x="254" y="619"/>
                </a:cubicBezTo>
                <a:close/>
                <a:moveTo>
                  <a:pt x="253" y="608"/>
                </a:moveTo>
                <a:cubicBezTo>
                  <a:pt x="250" y="609"/>
                  <a:pt x="255" y="604"/>
                  <a:pt x="257" y="605"/>
                </a:cubicBezTo>
                <a:cubicBezTo>
                  <a:pt x="256" y="605"/>
                  <a:pt x="254" y="607"/>
                  <a:pt x="253" y="608"/>
                </a:cubicBezTo>
                <a:close/>
                <a:moveTo>
                  <a:pt x="255" y="600"/>
                </a:moveTo>
                <a:cubicBezTo>
                  <a:pt x="254" y="602"/>
                  <a:pt x="252" y="601"/>
                  <a:pt x="255" y="600"/>
                </a:cubicBezTo>
                <a:close/>
                <a:moveTo>
                  <a:pt x="256" y="599"/>
                </a:moveTo>
                <a:cubicBezTo>
                  <a:pt x="255" y="599"/>
                  <a:pt x="256" y="598"/>
                  <a:pt x="256" y="599"/>
                </a:cubicBezTo>
                <a:cubicBezTo>
                  <a:pt x="256" y="599"/>
                  <a:pt x="256" y="599"/>
                  <a:pt x="256" y="599"/>
                </a:cubicBezTo>
                <a:close/>
                <a:moveTo>
                  <a:pt x="253" y="571"/>
                </a:moveTo>
                <a:cubicBezTo>
                  <a:pt x="253" y="571"/>
                  <a:pt x="252" y="572"/>
                  <a:pt x="252" y="571"/>
                </a:cubicBezTo>
                <a:cubicBezTo>
                  <a:pt x="251" y="570"/>
                  <a:pt x="253" y="570"/>
                  <a:pt x="253" y="571"/>
                </a:cubicBezTo>
                <a:close/>
                <a:moveTo>
                  <a:pt x="251" y="558"/>
                </a:moveTo>
                <a:cubicBezTo>
                  <a:pt x="251" y="557"/>
                  <a:pt x="253" y="556"/>
                  <a:pt x="253" y="557"/>
                </a:cubicBezTo>
                <a:cubicBezTo>
                  <a:pt x="253" y="558"/>
                  <a:pt x="252" y="558"/>
                  <a:pt x="251" y="558"/>
                </a:cubicBezTo>
                <a:close/>
                <a:moveTo>
                  <a:pt x="246" y="555"/>
                </a:moveTo>
                <a:cubicBezTo>
                  <a:pt x="247" y="553"/>
                  <a:pt x="251" y="552"/>
                  <a:pt x="253" y="551"/>
                </a:cubicBezTo>
                <a:cubicBezTo>
                  <a:pt x="251" y="553"/>
                  <a:pt x="248" y="554"/>
                  <a:pt x="246" y="555"/>
                </a:cubicBezTo>
                <a:close/>
                <a:moveTo>
                  <a:pt x="245" y="613"/>
                </a:moveTo>
                <a:cubicBezTo>
                  <a:pt x="244" y="615"/>
                  <a:pt x="242" y="615"/>
                  <a:pt x="240" y="615"/>
                </a:cubicBezTo>
                <a:cubicBezTo>
                  <a:pt x="241" y="614"/>
                  <a:pt x="243" y="613"/>
                  <a:pt x="244" y="613"/>
                </a:cubicBezTo>
                <a:cubicBezTo>
                  <a:pt x="244" y="613"/>
                  <a:pt x="243" y="613"/>
                  <a:pt x="244" y="612"/>
                </a:cubicBezTo>
                <a:cubicBezTo>
                  <a:pt x="244" y="611"/>
                  <a:pt x="247" y="612"/>
                  <a:pt x="247" y="612"/>
                </a:cubicBezTo>
                <a:cubicBezTo>
                  <a:pt x="247" y="613"/>
                  <a:pt x="246" y="613"/>
                  <a:pt x="245" y="613"/>
                </a:cubicBezTo>
                <a:cubicBezTo>
                  <a:pt x="245" y="613"/>
                  <a:pt x="245" y="613"/>
                  <a:pt x="245" y="613"/>
                </a:cubicBezTo>
                <a:close/>
                <a:moveTo>
                  <a:pt x="241" y="634"/>
                </a:moveTo>
                <a:cubicBezTo>
                  <a:pt x="241" y="634"/>
                  <a:pt x="241" y="634"/>
                  <a:pt x="242" y="634"/>
                </a:cubicBezTo>
                <a:cubicBezTo>
                  <a:pt x="242" y="634"/>
                  <a:pt x="242" y="635"/>
                  <a:pt x="241" y="634"/>
                </a:cubicBezTo>
                <a:close/>
                <a:moveTo>
                  <a:pt x="240" y="485"/>
                </a:moveTo>
                <a:cubicBezTo>
                  <a:pt x="240" y="485"/>
                  <a:pt x="241" y="484"/>
                  <a:pt x="241" y="484"/>
                </a:cubicBezTo>
                <a:cubicBezTo>
                  <a:pt x="241" y="485"/>
                  <a:pt x="240" y="485"/>
                  <a:pt x="240" y="485"/>
                </a:cubicBezTo>
                <a:close/>
                <a:moveTo>
                  <a:pt x="240" y="535"/>
                </a:moveTo>
                <a:cubicBezTo>
                  <a:pt x="240" y="535"/>
                  <a:pt x="240" y="535"/>
                  <a:pt x="239" y="535"/>
                </a:cubicBezTo>
                <a:cubicBezTo>
                  <a:pt x="239" y="535"/>
                  <a:pt x="240" y="534"/>
                  <a:pt x="240" y="535"/>
                </a:cubicBezTo>
                <a:close/>
                <a:moveTo>
                  <a:pt x="243" y="647"/>
                </a:moveTo>
                <a:cubicBezTo>
                  <a:pt x="243" y="646"/>
                  <a:pt x="244" y="647"/>
                  <a:pt x="243" y="647"/>
                </a:cubicBezTo>
                <a:close/>
                <a:moveTo>
                  <a:pt x="243" y="664"/>
                </a:moveTo>
                <a:cubicBezTo>
                  <a:pt x="242" y="665"/>
                  <a:pt x="242" y="663"/>
                  <a:pt x="243" y="664"/>
                </a:cubicBezTo>
                <a:close/>
                <a:moveTo>
                  <a:pt x="244" y="665"/>
                </a:moveTo>
                <a:cubicBezTo>
                  <a:pt x="244" y="666"/>
                  <a:pt x="243" y="666"/>
                  <a:pt x="243" y="666"/>
                </a:cubicBezTo>
                <a:cubicBezTo>
                  <a:pt x="242" y="665"/>
                  <a:pt x="244" y="665"/>
                  <a:pt x="244" y="665"/>
                </a:cubicBezTo>
                <a:close/>
                <a:moveTo>
                  <a:pt x="244" y="658"/>
                </a:moveTo>
                <a:cubicBezTo>
                  <a:pt x="244" y="656"/>
                  <a:pt x="249" y="657"/>
                  <a:pt x="247" y="659"/>
                </a:cubicBezTo>
                <a:cubicBezTo>
                  <a:pt x="247" y="660"/>
                  <a:pt x="244" y="659"/>
                  <a:pt x="244" y="658"/>
                </a:cubicBezTo>
                <a:close/>
                <a:moveTo>
                  <a:pt x="248" y="619"/>
                </a:moveTo>
                <a:cubicBezTo>
                  <a:pt x="246" y="620"/>
                  <a:pt x="246" y="618"/>
                  <a:pt x="248" y="619"/>
                </a:cubicBezTo>
                <a:close/>
                <a:moveTo>
                  <a:pt x="249" y="639"/>
                </a:moveTo>
                <a:cubicBezTo>
                  <a:pt x="250" y="640"/>
                  <a:pt x="249" y="640"/>
                  <a:pt x="249" y="640"/>
                </a:cubicBezTo>
                <a:cubicBezTo>
                  <a:pt x="247" y="642"/>
                  <a:pt x="248" y="638"/>
                  <a:pt x="249" y="639"/>
                </a:cubicBezTo>
                <a:close/>
                <a:moveTo>
                  <a:pt x="249" y="606"/>
                </a:moveTo>
                <a:cubicBezTo>
                  <a:pt x="248" y="605"/>
                  <a:pt x="251" y="605"/>
                  <a:pt x="251" y="605"/>
                </a:cubicBezTo>
                <a:cubicBezTo>
                  <a:pt x="251" y="606"/>
                  <a:pt x="249" y="606"/>
                  <a:pt x="249" y="606"/>
                </a:cubicBezTo>
                <a:close/>
                <a:moveTo>
                  <a:pt x="247" y="598"/>
                </a:moveTo>
                <a:cubicBezTo>
                  <a:pt x="247" y="598"/>
                  <a:pt x="248" y="596"/>
                  <a:pt x="248" y="596"/>
                </a:cubicBezTo>
                <a:cubicBezTo>
                  <a:pt x="249" y="595"/>
                  <a:pt x="250" y="594"/>
                  <a:pt x="251" y="596"/>
                </a:cubicBezTo>
                <a:cubicBezTo>
                  <a:pt x="251" y="596"/>
                  <a:pt x="251" y="596"/>
                  <a:pt x="250" y="597"/>
                </a:cubicBezTo>
                <a:cubicBezTo>
                  <a:pt x="251" y="597"/>
                  <a:pt x="253" y="598"/>
                  <a:pt x="253" y="598"/>
                </a:cubicBezTo>
                <a:cubicBezTo>
                  <a:pt x="254" y="602"/>
                  <a:pt x="247" y="599"/>
                  <a:pt x="247" y="598"/>
                </a:cubicBezTo>
                <a:close/>
                <a:moveTo>
                  <a:pt x="253" y="601"/>
                </a:moveTo>
                <a:cubicBezTo>
                  <a:pt x="253" y="602"/>
                  <a:pt x="252" y="602"/>
                  <a:pt x="251" y="602"/>
                </a:cubicBezTo>
                <a:cubicBezTo>
                  <a:pt x="251" y="602"/>
                  <a:pt x="252" y="601"/>
                  <a:pt x="253" y="601"/>
                </a:cubicBezTo>
                <a:close/>
                <a:moveTo>
                  <a:pt x="253" y="609"/>
                </a:moveTo>
                <a:cubicBezTo>
                  <a:pt x="254" y="609"/>
                  <a:pt x="252" y="610"/>
                  <a:pt x="252" y="610"/>
                </a:cubicBezTo>
                <a:cubicBezTo>
                  <a:pt x="251" y="609"/>
                  <a:pt x="253" y="608"/>
                  <a:pt x="253" y="609"/>
                </a:cubicBezTo>
                <a:close/>
                <a:moveTo>
                  <a:pt x="254" y="650"/>
                </a:moveTo>
                <a:cubicBezTo>
                  <a:pt x="253" y="652"/>
                  <a:pt x="252" y="649"/>
                  <a:pt x="254" y="650"/>
                </a:cubicBezTo>
                <a:close/>
                <a:moveTo>
                  <a:pt x="256" y="592"/>
                </a:moveTo>
                <a:cubicBezTo>
                  <a:pt x="255" y="590"/>
                  <a:pt x="259" y="590"/>
                  <a:pt x="260" y="591"/>
                </a:cubicBezTo>
                <a:cubicBezTo>
                  <a:pt x="260" y="592"/>
                  <a:pt x="256" y="594"/>
                  <a:pt x="256" y="592"/>
                </a:cubicBezTo>
                <a:close/>
                <a:moveTo>
                  <a:pt x="249" y="520"/>
                </a:moveTo>
                <a:cubicBezTo>
                  <a:pt x="249" y="520"/>
                  <a:pt x="249" y="521"/>
                  <a:pt x="249" y="521"/>
                </a:cubicBezTo>
                <a:cubicBezTo>
                  <a:pt x="248" y="522"/>
                  <a:pt x="248" y="519"/>
                  <a:pt x="249" y="520"/>
                </a:cubicBezTo>
                <a:close/>
                <a:moveTo>
                  <a:pt x="249" y="536"/>
                </a:moveTo>
                <a:cubicBezTo>
                  <a:pt x="249" y="538"/>
                  <a:pt x="244" y="540"/>
                  <a:pt x="244" y="536"/>
                </a:cubicBezTo>
                <a:cubicBezTo>
                  <a:pt x="244" y="535"/>
                  <a:pt x="249" y="534"/>
                  <a:pt x="249" y="536"/>
                </a:cubicBezTo>
                <a:close/>
                <a:moveTo>
                  <a:pt x="244" y="450"/>
                </a:moveTo>
                <a:cubicBezTo>
                  <a:pt x="244" y="450"/>
                  <a:pt x="244" y="450"/>
                  <a:pt x="244" y="450"/>
                </a:cubicBezTo>
                <a:cubicBezTo>
                  <a:pt x="243" y="450"/>
                  <a:pt x="244" y="449"/>
                  <a:pt x="244" y="450"/>
                </a:cubicBezTo>
                <a:close/>
                <a:moveTo>
                  <a:pt x="243" y="420"/>
                </a:moveTo>
                <a:cubicBezTo>
                  <a:pt x="243" y="420"/>
                  <a:pt x="243" y="420"/>
                  <a:pt x="243" y="420"/>
                </a:cubicBezTo>
                <a:cubicBezTo>
                  <a:pt x="244" y="420"/>
                  <a:pt x="244" y="420"/>
                  <a:pt x="243" y="420"/>
                </a:cubicBezTo>
                <a:close/>
                <a:moveTo>
                  <a:pt x="241" y="504"/>
                </a:moveTo>
                <a:cubicBezTo>
                  <a:pt x="240" y="502"/>
                  <a:pt x="243" y="504"/>
                  <a:pt x="241" y="504"/>
                </a:cubicBezTo>
                <a:close/>
                <a:moveTo>
                  <a:pt x="235" y="479"/>
                </a:moveTo>
                <a:cubicBezTo>
                  <a:pt x="236" y="477"/>
                  <a:pt x="240" y="471"/>
                  <a:pt x="242" y="470"/>
                </a:cubicBezTo>
                <a:cubicBezTo>
                  <a:pt x="240" y="473"/>
                  <a:pt x="238" y="476"/>
                  <a:pt x="235" y="479"/>
                </a:cubicBezTo>
                <a:close/>
                <a:moveTo>
                  <a:pt x="236" y="507"/>
                </a:moveTo>
                <a:cubicBezTo>
                  <a:pt x="236" y="508"/>
                  <a:pt x="235" y="508"/>
                  <a:pt x="235" y="507"/>
                </a:cubicBezTo>
                <a:cubicBezTo>
                  <a:pt x="235" y="506"/>
                  <a:pt x="236" y="507"/>
                  <a:pt x="236" y="507"/>
                </a:cubicBezTo>
                <a:close/>
                <a:moveTo>
                  <a:pt x="242" y="337"/>
                </a:moveTo>
                <a:cubicBezTo>
                  <a:pt x="240" y="339"/>
                  <a:pt x="238" y="341"/>
                  <a:pt x="235" y="343"/>
                </a:cubicBezTo>
                <a:cubicBezTo>
                  <a:pt x="237" y="341"/>
                  <a:pt x="240" y="338"/>
                  <a:pt x="242" y="337"/>
                </a:cubicBezTo>
                <a:close/>
                <a:moveTo>
                  <a:pt x="235" y="428"/>
                </a:moveTo>
                <a:cubicBezTo>
                  <a:pt x="235" y="427"/>
                  <a:pt x="234" y="429"/>
                  <a:pt x="235" y="428"/>
                </a:cubicBezTo>
                <a:close/>
                <a:moveTo>
                  <a:pt x="236" y="488"/>
                </a:moveTo>
                <a:cubicBezTo>
                  <a:pt x="233" y="491"/>
                  <a:pt x="233" y="494"/>
                  <a:pt x="230" y="496"/>
                </a:cubicBezTo>
                <a:cubicBezTo>
                  <a:pt x="231" y="494"/>
                  <a:pt x="233" y="489"/>
                  <a:pt x="236" y="488"/>
                </a:cubicBezTo>
                <a:close/>
                <a:moveTo>
                  <a:pt x="235" y="529"/>
                </a:moveTo>
                <a:cubicBezTo>
                  <a:pt x="235" y="529"/>
                  <a:pt x="234" y="529"/>
                  <a:pt x="234" y="529"/>
                </a:cubicBezTo>
                <a:cubicBezTo>
                  <a:pt x="234" y="528"/>
                  <a:pt x="235" y="529"/>
                  <a:pt x="235" y="529"/>
                </a:cubicBezTo>
                <a:close/>
                <a:moveTo>
                  <a:pt x="232" y="503"/>
                </a:moveTo>
                <a:cubicBezTo>
                  <a:pt x="232" y="504"/>
                  <a:pt x="231" y="504"/>
                  <a:pt x="231" y="504"/>
                </a:cubicBezTo>
                <a:cubicBezTo>
                  <a:pt x="231" y="503"/>
                  <a:pt x="232" y="502"/>
                  <a:pt x="232" y="503"/>
                </a:cubicBezTo>
                <a:close/>
                <a:moveTo>
                  <a:pt x="233" y="322"/>
                </a:moveTo>
                <a:cubicBezTo>
                  <a:pt x="234" y="320"/>
                  <a:pt x="232" y="323"/>
                  <a:pt x="233" y="322"/>
                </a:cubicBezTo>
                <a:close/>
                <a:moveTo>
                  <a:pt x="233" y="463"/>
                </a:moveTo>
                <a:cubicBezTo>
                  <a:pt x="232" y="465"/>
                  <a:pt x="234" y="462"/>
                  <a:pt x="233" y="463"/>
                </a:cubicBezTo>
                <a:close/>
                <a:moveTo>
                  <a:pt x="232" y="465"/>
                </a:moveTo>
                <a:cubicBezTo>
                  <a:pt x="233" y="467"/>
                  <a:pt x="229" y="469"/>
                  <a:pt x="228" y="466"/>
                </a:cubicBezTo>
                <a:cubicBezTo>
                  <a:pt x="228" y="464"/>
                  <a:pt x="231" y="463"/>
                  <a:pt x="232" y="465"/>
                </a:cubicBezTo>
                <a:close/>
                <a:moveTo>
                  <a:pt x="231" y="364"/>
                </a:moveTo>
                <a:cubicBezTo>
                  <a:pt x="232" y="365"/>
                  <a:pt x="230" y="367"/>
                  <a:pt x="230" y="367"/>
                </a:cubicBezTo>
                <a:cubicBezTo>
                  <a:pt x="226" y="369"/>
                  <a:pt x="229" y="363"/>
                  <a:pt x="231" y="364"/>
                </a:cubicBezTo>
                <a:close/>
                <a:moveTo>
                  <a:pt x="227" y="421"/>
                </a:moveTo>
                <a:cubicBezTo>
                  <a:pt x="228" y="421"/>
                  <a:pt x="227" y="422"/>
                  <a:pt x="227" y="422"/>
                </a:cubicBezTo>
                <a:cubicBezTo>
                  <a:pt x="225" y="423"/>
                  <a:pt x="226" y="420"/>
                  <a:pt x="227" y="421"/>
                </a:cubicBezTo>
                <a:close/>
                <a:moveTo>
                  <a:pt x="227" y="484"/>
                </a:moveTo>
                <a:cubicBezTo>
                  <a:pt x="225" y="484"/>
                  <a:pt x="228" y="482"/>
                  <a:pt x="227" y="483"/>
                </a:cubicBezTo>
                <a:cubicBezTo>
                  <a:pt x="227" y="483"/>
                  <a:pt x="227" y="484"/>
                  <a:pt x="227" y="484"/>
                </a:cubicBezTo>
                <a:close/>
                <a:moveTo>
                  <a:pt x="227" y="436"/>
                </a:moveTo>
                <a:cubicBezTo>
                  <a:pt x="226" y="435"/>
                  <a:pt x="228" y="435"/>
                  <a:pt x="227" y="436"/>
                </a:cubicBezTo>
                <a:close/>
                <a:moveTo>
                  <a:pt x="227" y="526"/>
                </a:moveTo>
                <a:cubicBezTo>
                  <a:pt x="226" y="527"/>
                  <a:pt x="225" y="526"/>
                  <a:pt x="227" y="526"/>
                </a:cubicBezTo>
                <a:close/>
                <a:moveTo>
                  <a:pt x="227" y="527"/>
                </a:moveTo>
                <a:cubicBezTo>
                  <a:pt x="228" y="528"/>
                  <a:pt x="226" y="529"/>
                  <a:pt x="226" y="529"/>
                </a:cubicBezTo>
                <a:cubicBezTo>
                  <a:pt x="225" y="529"/>
                  <a:pt x="227" y="527"/>
                  <a:pt x="227" y="527"/>
                </a:cubicBezTo>
                <a:close/>
                <a:moveTo>
                  <a:pt x="225" y="375"/>
                </a:moveTo>
                <a:cubicBezTo>
                  <a:pt x="227" y="376"/>
                  <a:pt x="225" y="376"/>
                  <a:pt x="225" y="375"/>
                </a:cubicBezTo>
                <a:close/>
                <a:moveTo>
                  <a:pt x="224" y="359"/>
                </a:moveTo>
                <a:cubicBezTo>
                  <a:pt x="224" y="360"/>
                  <a:pt x="223" y="360"/>
                  <a:pt x="223" y="361"/>
                </a:cubicBezTo>
                <a:cubicBezTo>
                  <a:pt x="222" y="360"/>
                  <a:pt x="224" y="360"/>
                  <a:pt x="224" y="359"/>
                </a:cubicBezTo>
                <a:close/>
                <a:moveTo>
                  <a:pt x="222" y="500"/>
                </a:moveTo>
                <a:cubicBezTo>
                  <a:pt x="222" y="499"/>
                  <a:pt x="223" y="499"/>
                  <a:pt x="224" y="499"/>
                </a:cubicBezTo>
                <a:cubicBezTo>
                  <a:pt x="224" y="500"/>
                  <a:pt x="222" y="501"/>
                  <a:pt x="222" y="500"/>
                </a:cubicBezTo>
                <a:close/>
                <a:moveTo>
                  <a:pt x="222" y="564"/>
                </a:moveTo>
                <a:cubicBezTo>
                  <a:pt x="222" y="565"/>
                  <a:pt x="219" y="565"/>
                  <a:pt x="219" y="564"/>
                </a:cubicBezTo>
                <a:cubicBezTo>
                  <a:pt x="219" y="562"/>
                  <a:pt x="222" y="563"/>
                  <a:pt x="222" y="564"/>
                </a:cubicBezTo>
                <a:close/>
                <a:moveTo>
                  <a:pt x="224" y="489"/>
                </a:moveTo>
                <a:cubicBezTo>
                  <a:pt x="224" y="489"/>
                  <a:pt x="223" y="490"/>
                  <a:pt x="223" y="490"/>
                </a:cubicBezTo>
                <a:cubicBezTo>
                  <a:pt x="222" y="489"/>
                  <a:pt x="225" y="488"/>
                  <a:pt x="224" y="489"/>
                </a:cubicBezTo>
                <a:close/>
                <a:moveTo>
                  <a:pt x="224" y="467"/>
                </a:moveTo>
                <a:cubicBezTo>
                  <a:pt x="224" y="470"/>
                  <a:pt x="222" y="469"/>
                  <a:pt x="224" y="467"/>
                </a:cubicBezTo>
                <a:close/>
                <a:moveTo>
                  <a:pt x="223" y="272"/>
                </a:moveTo>
                <a:cubicBezTo>
                  <a:pt x="223" y="273"/>
                  <a:pt x="222" y="274"/>
                  <a:pt x="221" y="275"/>
                </a:cubicBezTo>
                <a:cubicBezTo>
                  <a:pt x="221" y="273"/>
                  <a:pt x="222" y="273"/>
                  <a:pt x="223" y="272"/>
                </a:cubicBezTo>
                <a:close/>
                <a:moveTo>
                  <a:pt x="222" y="308"/>
                </a:moveTo>
                <a:cubicBezTo>
                  <a:pt x="222" y="310"/>
                  <a:pt x="220" y="312"/>
                  <a:pt x="218" y="313"/>
                </a:cubicBezTo>
                <a:cubicBezTo>
                  <a:pt x="220" y="312"/>
                  <a:pt x="220" y="310"/>
                  <a:pt x="222" y="308"/>
                </a:cubicBezTo>
                <a:close/>
                <a:moveTo>
                  <a:pt x="218" y="378"/>
                </a:moveTo>
                <a:cubicBezTo>
                  <a:pt x="218" y="376"/>
                  <a:pt x="220" y="378"/>
                  <a:pt x="218" y="378"/>
                </a:cubicBezTo>
                <a:close/>
                <a:moveTo>
                  <a:pt x="218" y="467"/>
                </a:moveTo>
                <a:cubicBezTo>
                  <a:pt x="218" y="467"/>
                  <a:pt x="217" y="467"/>
                  <a:pt x="217" y="466"/>
                </a:cubicBezTo>
                <a:cubicBezTo>
                  <a:pt x="217" y="466"/>
                  <a:pt x="218" y="466"/>
                  <a:pt x="218" y="467"/>
                </a:cubicBezTo>
                <a:close/>
                <a:moveTo>
                  <a:pt x="217" y="315"/>
                </a:move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lose/>
                <a:moveTo>
                  <a:pt x="218" y="382"/>
                </a:moveTo>
                <a:cubicBezTo>
                  <a:pt x="217" y="382"/>
                  <a:pt x="217" y="382"/>
                  <a:pt x="217" y="382"/>
                </a:cubicBezTo>
                <a:cubicBezTo>
                  <a:pt x="216" y="381"/>
                  <a:pt x="219" y="380"/>
                  <a:pt x="218" y="382"/>
                </a:cubicBezTo>
                <a:close/>
                <a:moveTo>
                  <a:pt x="212" y="322"/>
                </a:moveTo>
                <a:cubicBezTo>
                  <a:pt x="212" y="321"/>
                  <a:pt x="215" y="318"/>
                  <a:pt x="216" y="316"/>
                </a:cubicBezTo>
                <a:cubicBezTo>
                  <a:pt x="216" y="319"/>
                  <a:pt x="210" y="325"/>
                  <a:pt x="212" y="322"/>
                </a:cubicBezTo>
                <a:close/>
                <a:moveTo>
                  <a:pt x="215" y="450"/>
                </a:moveTo>
                <a:cubicBezTo>
                  <a:pt x="215" y="450"/>
                  <a:pt x="215" y="450"/>
                  <a:pt x="215" y="450"/>
                </a:cubicBezTo>
                <a:cubicBezTo>
                  <a:pt x="215" y="450"/>
                  <a:pt x="215" y="450"/>
                  <a:pt x="215" y="450"/>
                </a:cubicBezTo>
                <a:close/>
                <a:moveTo>
                  <a:pt x="214" y="449"/>
                </a:moveTo>
                <a:cubicBezTo>
                  <a:pt x="214" y="449"/>
                  <a:pt x="214" y="448"/>
                  <a:pt x="214" y="448"/>
                </a:cubicBezTo>
                <a:cubicBezTo>
                  <a:pt x="214" y="446"/>
                  <a:pt x="216" y="448"/>
                  <a:pt x="214" y="449"/>
                </a:cubicBezTo>
                <a:close/>
                <a:moveTo>
                  <a:pt x="214" y="524"/>
                </a:moveTo>
                <a:cubicBezTo>
                  <a:pt x="213" y="523"/>
                  <a:pt x="214" y="523"/>
                  <a:pt x="215" y="522"/>
                </a:cubicBezTo>
                <a:cubicBezTo>
                  <a:pt x="215" y="523"/>
                  <a:pt x="214" y="523"/>
                  <a:pt x="214" y="524"/>
                </a:cubicBezTo>
                <a:close/>
                <a:moveTo>
                  <a:pt x="212" y="508"/>
                </a:moveTo>
                <a:cubicBezTo>
                  <a:pt x="210" y="509"/>
                  <a:pt x="214" y="507"/>
                  <a:pt x="212" y="508"/>
                </a:cubicBezTo>
                <a:close/>
                <a:moveTo>
                  <a:pt x="202" y="518"/>
                </a:moveTo>
                <a:cubicBezTo>
                  <a:pt x="210" y="516"/>
                  <a:pt x="209" y="525"/>
                  <a:pt x="203" y="526"/>
                </a:cubicBezTo>
                <a:cubicBezTo>
                  <a:pt x="198" y="527"/>
                  <a:pt x="197" y="520"/>
                  <a:pt x="202" y="518"/>
                </a:cubicBezTo>
                <a:close/>
                <a:moveTo>
                  <a:pt x="201" y="548"/>
                </a:moveTo>
                <a:cubicBezTo>
                  <a:pt x="201" y="548"/>
                  <a:pt x="201" y="548"/>
                  <a:pt x="201" y="548"/>
                </a:cubicBezTo>
                <a:cubicBezTo>
                  <a:pt x="201" y="546"/>
                  <a:pt x="203" y="550"/>
                  <a:pt x="201" y="548"/>
                </a:cubicBezTo>
                <a:close/>
                <a:moveTo>
                  <a:pt x="199" y="549"/>
                </a:moveTo>
                <a:cubicBezTo>
                  <a:pt x="199" y="551"/>
                  <a:pt x="197" y="549"/>
                  <a:pt x="199" y="549"/>
                </a:cubicBezTo>
                <a:close/>
                <a:moveTo>
                  <a:pt x="200" y="494"/>
                </a:moveTo>
                <a:cubicBezTo>
                  <a:pt x="199" y="495"/>
                  <a:pt x="198" y="496"/>
                  <a:pt x="196" y="496"/>
                </a:cubicBezTo>
                <a:cubicBezTo>
                  <a:pt x="197" y="495"/>
                  <a:pt x="199" y="495"/>
                  <a:pt x="200" y="494"/>
                </a:cubicBezTo>
                <a:close/>
                <a:moveTo>
                  <a:pt x="202" y="420"/>
                </a:moveTo>
                <a:cubicBezTo>
                  <a:pt x="201" y="421"/>
                  <a:pt x="201" y="421"/>
                  <a:pt x="200" y="421"/>
                </a:cubicBezTo>
                <a:cubicBezTo>
                  <a:pt x="199" y="420"/>
                  <a:pt x="203" y="418"/>
                  <a:pt x="202" y="420"/>
                </a:cubicBezTo>
                <a:close/>
                <a:moveTo>
                  <a:pt x="203" y="493"/>
                </a:moveTo>
                <a:cubicBezTo>
                  <a:pt x="204" y="493"/>
                  <a:pt x="204" y="493"/>
                  <a:pt x="204" y="493"/>
                </a:cubicBezTo>
                <a:cubicBezTo>
                  <a:pt x="204" y="493"/>
                  <a:pt x="200" y="494"/>
                  <a:pt x="203" y="493"/>
                </a:cubicBezTo>
                <a:close/>
                <a:moveTo>
                  <a:pt x="206" y="456"/>
                </a:moveTo>
                <a:cubicBezTo>
                  <a:pt x="206" y="456"/>
                  <a:pt x="205" y="456"/>
                  <a:pt x="205" y="456"/>
                </a:cubicBezTo>
                <a:cubicBezTo>
                  <a:pt x="204" y="456"/>
                  <a:pt x="206" y="455"/>
                  <a:pt x="206" y="456"/>
                </a:cubicBezTo>
                <a:close/>
                <a:moveTo>
                  <a:pt x="206" y="475"/>
                </a:moveTo>
                <a:cubicBezTo>
                  <a:pt x="206" y="473"/>
                  <a:pt x="210" y="475"/>
                  <a:pt x="210" y="477"/>
                </a:cubicBezTo>
                <a:cubicBezTo>
                  <a:pt x="209" y="479"/>
                  <a:pt x="204" y="479"/>
                  <a:pt x="206" y="475"/>
                </a:cubicBezTo>
                <a:close/>
                <a:moveTo>
                  <a:pt x="208" y="439"/>
                </a:moveTo>
                <a:cubicBezTo>
                  <a:pt x="208" y="440"/>
                  <a:pt x="207" y="440"/>
                  <a:pt x="207" y="440"/>
                </a:cubicBezTo>
                <a:cubicBezTo>
                  <a:pt x="207" y="439"/>
                  <a:pt x="208" y="439"/>
                  <a:pt x="208" y="439"/>
                </a:cubicBezTo>
                <a:close/>
                <a:moveTo>
                  <a:pt x="208" y="405"/>
                </a:moveTo>
                <a:cubicBezTo>
                  <a:pt x="207" y="406"/>
                  <a:pt x="208" y="404"/>
                  <a:pt x="208" y="405"/>
                </a:cubicBezTo>
                <a:close/>
                <a:moveTo>
                  <a:pt x="209" y="467"/>
                </a:moveTo>
                <a:cubicBezTo>
                  <a:pt x="209" y="467"/>
                  <a:pt x="209" y="468"/>
                  <a:pt x="209" y="468"/>
                </a:cubicBezTo>
                <a:cubicBezTo>
                  <a:pt x="208" y="467"/>
                  <a:pt x="210" y="466"/>
                  <a:pt x="209" y="467"/>
                </a:cubicBezTo>
                <a:close/>
                <a:moveTo>
                  <a:pt x="210" y="509"/>
                </a:moveTo>
                <a:cubicBezTo>
                  <a:pt x="208" y="511"/>
                  <a:pt x="211" y="508"/>
                  <a:pt x="210" y="509"/>
                </a:cubicBezTo>
                <a:close/>
                <a:moveTo>
                  <a:pt x="210" y="444"/>
                </a:moveTo>
                <a:cubicBezTo>
                  <a:pt x="207" y="445"/>
                  <a:pt x="209" y="441"/>
                  <a:pt x="210" y="443"/>
                </a:cubicBezTo>
                <a:cubicBezTo>
                  <a:pt x="211" y="443"/>
                  <a:pt x="210" y="443"/>
                  <a:pt x="210" y="444"/>
                </a:cubicBezTo>
                <a:close/>
                <a:moveTo>
                  <a:pt x="210" y="185"/>
                </a:moveTo>
                <a:cubicBezTo>
                  <a:pt x="210" y="185"/>
                  <a:pt x="210" y="185"/>
                  <a:pt x="210" y="185"/>
                </a:cubicBezTo>
                <a:cubicBezTo>
                  <a:pt x="209" y="185"/>
                  <a:pt x="211" y="184"/>
                  <a:pt x="210" y="185"/>
                </a:cubicBezTo>
                <a:close/>
                <a:moveTo>
                  <a:pt x="210" y="203"/>
                </a:moveTo>
                <a:cubicBezTo>
                  <a:pt x="211" y="203"/>
                  <a:pt x="209" y="205"/>
                  <a:pt x="209" y="205"/>
                </a:cubicBezTo>
                <a:cubicBezTo>
                  <a:pt x="209" y="204"/>
                  <a:pt x="209" y="204"/>
                  <a:pt x="210" y="203"/>
                </a:cubicBezTo>
                <a:close/>
                <a:moveTo>
                  <a:pt x="210" y="371"/>
                </a:moveTo>
                <a:cubicBezTo>
                  <a:pt x="209" y="372"/>
                  <a:pt x="209" y="372"/>
                  <a:pt x="208" y="372"/>
                </a:cubicBezTo>
                <a:cubicBezTo>
                  <a:pt x="208" y="372"/>
                  <a:pt x="208" y="371"/>
                  <a:pt x="210" y="371"/>
                </a:cubicBezTo>
                <a:close/>
                <a:moveTo>
                  <a:pt x="208" y="181"/>
                </a:moveTo>
                <a:cubicBezTo>
                  <a:pt x="209" y="181"/>
                  <a:pt x="207" y="184"/>
                  <a:pt x="207" y="184"/>
                </a:cubicBezTo>
                <a:cubicBezTo>
                  <a:pt x="204" y="186"/>
                  <a:pt x="206" y="180"/>
                  <a:pt x="208" y="181"/>
                </a:cubicBezTo>
                <a:close/>
                <a:moveTo>
                  <a:pt x="207" y="374"/>
                </a:moveTo>
                <a:cubicBezTo>
                  <a:pt x="206" y="373"/>
                  <a:pt x="208" y="373"/>
                  <a:pt x="207" y="374"/>
                </a:cubicBezTo>
                <a:close/>
                <a:moveTo>
                  <a:pt x="207" y="387"/>
                </a:moveTo>
                <a:cubicBezTo>
                  <a:pt x="206" y="387"/>
                  <a:pt x="206" y="388"/>
                  <a:pt x="206" y="387"/>
                </a:cubicBezTo>
                <a:cubicBezTo>
                  <a:pt x="205" y="386"/>
                  <a:pt x="209" y="385"/>
                  <a:pt x="207" y="387"/>
                </a:cubicBezTo>
                <a:close/>
                <a:moveTo>
                  <a:pt x="204" y="211"/>
                </a:moveTo>
                <a:cubicBezTo>
                  <a:pt x="204" y="213"/>
                  <a:pt x="202" y="214"/>
                  <a:pt x="201" y="216"/>
                </a:cubicBezTo>
                <a:cubicBezTo>
                  <a:pt x="201" y="214"/>
                  <a:pt x="203" y="213"/>
                  <a:pt x="204" y="211"/>
                </a:cubicBezTo>
                <a:close/>
                <a:moveTo>
                  <a:pt x="202" y="326"/>
                </a:moveTo>
                <a:cubicBezTo>
                  <a:pt x="202" y="327"/>
                  <a:pt x="202" y="328"/>
                  <a:pt x="201" y="328"/>
                </a:cubicBezTo>
                <a:cubicBezTo>
                  <a:pt x="201" y="327"/>
                  <a:pt x="202" y="327"/>
                  <a:pt x="202" y="326"/>
                </a:cubicBezTo>
                <a:close/>
                <a:moveTo>
                  <a:pt x="205" y="387"/>
                </a:moveTo>
                <a:cubicBezTo>
                  <a:pt x="205" y="388"/>
                  <a:pt x="203" y="389"/>
                  <a:pt x="201" y="390"/>
                </a:cubicBezTo>
                <a:cubicBezTo>
                  <a:pt x="202" y="388"/>
                  <a:pt x="204" y="388"/>
                  <a:pt x="205" y="387"/>
                </a:cubicBezTo>
                <a:close/>
                <a:moveTo>
                  <a:pt x="196" y="218"/>
                </a:moveTo>
                <a:cubicBezTo>
                  <a:pt x="198" y="219"/>
                  <a:pt x="196" y="220"/>
                  <a:pt x="196" y="218"/>
                </a:cubicBezTo>
                <a:close/>
                <a:moveTo>
                  <a:pt x="196" y="249"/>
                </a:moveTo>
                <a:cubicBezTo>
                  <a:pt x="195" y="251"/>
                  <a:pt x="197" y="248"/>
                  <a:pt x="196" y="249"/>
                </a:cubicBezTo>
                <a:close/>
                <a:moveTo>
                  <a:pt x="198" y="349"/>
                </a:moveTo>
                <a:cubicBezTo>
                  <a:pt x="198" y="350"/>
                  <a:pt x="196" y="351"/>
                  <a:pt x="196" y="352"/>
                </a:cubicBezTo>
                <a:cubicBezTo>
                  <a:pt x="195" y="351"/>
                  <a:pt x="197" y="350"/>
                  <a:pt x="198" y="349"/>
                </a:cubicBezTo>
                <a:close/>
                <a:moveTo>
                  <a:pt x="196" y="296"/>
                </a:moveTo>
                <a:cubicBezTo>
                  <a:pt x="196" y="296"/>
                  <a:pt x="195" y="298"/>
                  <a:pt x="195" y="298"/>
                </a:cubicBezTo>
                <a:cubicBezTo>
                  <a:pt x="193" y="300"/>
                  <a:pt x="194" y="295"/>
                  <a:pt x="196" y="296"/>
                </a:cubicBezTo>
                <a:close/>
                <a:moveTo>
                  <a:pt x="194" y="353"/>
                </a:moveTo>
                <a:cubicBezTo>
                  <a:pt x="195" y="354"/>
                  <a:pt x="193" y="354"/>
                  <a:pt x="194" y="353"/>
                </a:cubicBezTo>
                <a:close/>
                <a:moveTo>
                  <a:pt x="192" y="213"/>
                </a:moveTo>
                <a:cubicBezTo>
                  <a:pt x="192" y="212"/>
                  <a:pt x="194" y="211"/>
                  <a:pt x="192" y="213"/>
                </a:cubicBezTo>
                <a:close/>
                <a:moveTo>
                  <a:pt x="193" y="252"/>
                </a:moveTo>
                <a:cubicBezTo>
                  <a:pt x="194" y="253"/>
                  <a:pt x="193" y="254"/>
                  <a:pt x="192" y="254"/>
                </a:cubicBezTo>
                <a:cubicBezTo>
                  <a:pt x="192" y="253"/>
                  <a:pt x="193" y="253"/>
                  <a:pt x="193" y="252"/>
                </a:cubicBezTo>
                <a:close/>
                <a:moveTo>
                  <a:pt x="193" y="354"/>
                </a:moveTo>
                <a:cubicBezTo>
                  <a:pt x="193" y="355"/>
                  <a:pt x="193" y="356"/>
                  <a:pt x="192" y="356"/>
                </a:cubicBezTo>
                <a:cubicBezTo>
                  <a:pt x="192" y="355"/>
                  <a:pt x="193" y="355"/>
                  <a:pt x="193" y="354"/>
                </a:cubicBezTo>
                <a:close/>
                <a:moveTo>
                  <a:pt x="192" y="305"/>
                </a:moveTo>
                <a:cubicBezTo>
                  <a:pt x="190" y="307"/>
                  <a:pt x="193" y="304"/>
                  <a:pt x="192" y="305"/>
                </a:cubicBezTo>
                <a:close/>
                <a:moveTo>
                  <a:pt x="188" y="397"/>
                </a:moveTo>
                <a:cubicBezTo>
                  <a:pt x="187" y="398"/>
                  <a:pt x="185" y="400"/>
                  <a:pt x="183" y="401"/>
                </a:cubicBezTo>
                <a:cubicBezTo>
                  <a:pt x="184" y="399"/>
                  <a:pt x="186" y="398"/>
                  <a:pt x="188" y="397"/>
                </a:cubicBezTo>
                <a:close/>
                <a:moveTo>
                  <a:pt x="184" y="384"/>
                </a:moveTo>
                <a:cubicBezTo>
                  <a:pt x="185" y="384"/>
                  <a:pt x="185" y="383"/>
                  <a:pt x="186" y="383"/>
                </a:cubicBezTo>
                <a:cubicBezTo>
                  <a:pt x="185" y="384"/>
                  <a:pt x="185" y="384"/>
                  <a:pt x="184" y="384"/>
                </a:cubicBezTo>
                <a:close/>
                <a:moveTo>
                  <a:pt x="184" y="243"/>
                </a:moveTo>
                <a:cubicBezTo>
                  <a:pt x="185" y="242"/>
                  <a:pt x="183" y="244"/>
                  <a:pt x="184" y="243"/>
                </a:cubicBezTo>
                <a:close/>
                <a:moveTo>
                  <a:pt x="182" y="186"/>
                </a:moveTo>
                <a:cubicBezTo>
                  <a:pt x="182" y="185"/>
                  <a:pt x="181" y="187"/>
                  <a:pt x="182" y="186"/>
                </a:cubicBezTo>
                <a:close/>
                <a:moveTo>
                  <a:pt x="184" y="243"/>
                </a:moveTo>
                <a:cubicBezTo>
                  <a:pt x="185" y="244"/>
                  <a:pt x="183" y="249"/>
                  <a:pt x="182" y="249"/>
                </a:cubicBezTo>
                <a:cubicBezTo>
                  <a:pt x="180" y="249"/>
                  <a:pt x="182" y="243"/>
                  <a:pt x="184" y="243"/>
                </a:cubicBezTo>
                <a:close/>
                <a:moveTo>
                  <a:pt x="177" y="208"/>
                </a:moveTo>
                <a:cubicBezTo>
                  <a:pt x="178" y="209"/>
                  <a:pt x="177" y="209"/>
                  <a:pt x="177" y="210"/>
                </a:cubicBezTo>
                <a:cubicBezTo>
                  <a:pt x="176" y="210"/>
                  <a:pt x="177" y="209"/>
                  <a:pt x="177" y="208"/>
                </a:cubicBezTo>
                <a:close/>
                <a:moveTo>
                  <a:pt x="182" y="322"/>
                </a:moveTo>
                <a:cubicBezTo>
                  <a:pt x="179" y="324"/>
                  <a:pt x="177" y="329"/>
                  <a:pt x="175" y="329"/>
                </a:cubicBezTo>
                <a:cubicBezTo>
                  <a:pt x="175" y="329"/>
                  <a:pt x="179" y="322"/>
                  <a:pt x="182" y="322"/>
                </a:cubicBezTo>
                <a:close/>
                <a:moveTo>
                  <a:pt x="180" y="403"/>
                </a:moveTo>
                <a:cubicBezTo>
                  <a:pt x="179" y="404"/>
                  <a:pt x="178" y="406"/>
                  <a:pt x="176" y="406"/>
                </a:cubicBezTo>
                <a:cubicBezTo>
                  <a:pt x="177" y="405"/>
                  <a:pt x="179" y="404"/>
                  <a:pt x="180" y="403"/>
                </a:cubicBezTo>
                <a:close/>
                <a:moveTo>
                  <a:pt x="178" y="383"/>
                </a:move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2"/>
                  <a:pt x="178" y="382"/>
                </a:cubicBezTo>
                <a:cubicBezTo>
                  <a:pt x="178" y="382"/>
                  <a:pt x="178" y="382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lose/>
                <a:moveTo>
                  <a:pt x="181" y="393"/>
                </a:moveTo>
                <a:cubicBezTo>
                  <a:pt x="181" y="393"/>
                  <a:pt x="180" y="395"/>
                  <a:pt x="180" y="395"/>
                </a:cubicBezTo>
                <a:cubicBezTo>
                  <a:pt x="178" y="397"/>
                  <a:pt x="179" y="392"/>
                  <a:pt x="181" y="393"/>
                </a:cubicBezTo>
                <a:close/>
                <a:moveTo>
                  <a:pt x="179" y="358"/>
                </a:moveTo>
                <a:cubicBezTo>
                  <a:pt x="179" y="358"/>
                  <a:pt x="180" y="359"/>
                  <a:pt x="180" y="359"/>
                </a:cubicBezTo>
                <a:cubicBezTo>
                  <a:pt x="180" y="360"/>
                  <a:pt x="178" y="359"/>
                  <a:pt x="179" y="358"/>
                </a:cubicBezTo>
                <a:close/>
                <a:moveTo>
                  <a:pt x="182" y="418"/>
                </a:moveTo>
                <a:cubicBezTo>
                  <a:pt x="183" y="416"/>
                  <a:pt x="187" y="412"/>
                  <a:pt x="190" y="410"/>
                </a:cubicBezTo>
                <a:cubicBezTo>
                  <a:pt x="190" y="410"/>
                  <a:pt x="190" y="408"/>
                  <a:pt x="191" y="409"/>
                </a:cubicBezTo>
                <a:cubicBezTo>
                  <a:pt x="192" y="410"/>
                  <a:pt x="189" y="414"/>
                  <a:pt x="189" y="414"/>
                </a:cubicBezTo>
                <a:cubicBezTo>
                  <a:pt x="188" y="415"/>
                  <a:pt x="186" y="415"/>
                  <a:pt x="184" y="417"/>
                </a:cubicBezTo>
                <a:cubicBezTo>
                  <a:pt x="180" y="419"/>
                  <a:pt x="178" y="424"/>
                  <a:pt x="174" y="426"/>
                </a:cubicBezTo>
                <a:cubicBezTo>
                  <a:pt x="174" y="422"/>
                  <a:pt x="180" y="421"/>
                  <a:pt x="182" y="418"/>
                </a:cubicBezTo>
                <a:close/>
                <a:moveTo>
                  <a:pt x="193" y="479"/>
                </a:moveTo>
                <a:cubicBezTo>
                  <a:pt x="192" y="481"/>
                  <a:pt x="192" y="479"/>
                  <a:pt x="193" y="479"/>
                </a:cubicBezTo>
                <a:close/>
                <a:moveTo>
                  <a:pt x="193" y="432"/>
                </a:moveTo>
                <a:cubicBezTo>
                  <a:pt x="194" y="432"/>
                  <a:pt x="193" y="433"/>
                  <a:pt x="193" y="432"/>
                </a:cubicBezTo>
                <a:cubicBezTo>
                  <a:pt x="192" y="432"/>
                  <a:pt x="193" y="432"/>
                  <a:pt x="193" y="432"/>
                </a:cubicBezTo>
                <a:close/>
                <a:moveTo>
                  <a:pt x="191" y="460"/>
                </a:moveTo>
                <a:cubicBezTo>
                  <a:pt x="192" y="458"/>
                  <a:pt x="193" y="460"/>
                  <a:pt x="191" y="460"/>
                </a:cubicBezTo>
                <a:close/>
                <a:moveTo>
                  <a:pt x="193" y="489"/>
                </a:moveTo>
                <a:cubicBezTo>
                  <a:pt x="193" y="490"/>
                  <a:pt x="192" y="491"/>
                  <a:pt x="191" y="491"/>
                </a:cubicBezTo>
                <a:cubicBezTo>
                  <a:pt x="189" y="492"/>
                  <a:pt x="191" y="487"/>
                  <a:pt x="193" y="489"/>
                </a:cubicBezTo>
                <a:close/>
                <a:moveTo>
                  <a:pt x="190" y="440"/>
                </a:moveTo>
                <a:cubicBezTo>
                  <a:pt x="189" y="439"/>
                  <a:pt x="191" y="438"/>
                  <a:pt x="191" y="439"/>
                </a:cubicBezTo>
                <a:cubicBezTo>
                  <a:pt x="191" y="439"/>
                  <a:pt x="190" y="440"/>
                  <a:pt x="190" y="440"/>
                </a:cubicBezTo>
                <a:close/>
                <a:moveTo>
                  <a:pt x="189" y="511"/>
                </a:moveTo>
                <a:cubicBezTo>
                  <a:pt x="189" y="511"/>
                  <a:pt x="189" y="512"/>
                  <a:pt x="188" y="511"/>
                </a:cubicBezTo>
                <a:cubicBezTo>
                  <a:pt x="188" y="511"/>
                  <a:pt x="189" y="510"/>
                  <a:pt x="189" y="511"/>
                </a:cubicBezTo>
                <a:close/>
                <a:moveTo>
                  <a:pt x="186" y="470"/>
                </a:moveTo>
                <a:cubicBezTo>
                  <a:pt x="185" y="469"/>
                  <a:pt x="188" y="469"/>
                  <a:pt x="188" y="470"/>
                </a:cubicBezTo>
                <a:cubicBezTo>
                  <a:pt x="189" y="471"/>
                  <a:pt x="186" y="472"/>
                  <a:pt x="186" y="470"/>
                </a:cubicBezTo>
                <a:close/>
                <a:moveTo>
                  <a:pt x="184" y="470"/>
                </a:moveTo>
                <a:cubicBezTo>
                  <a:pt x="185" y="471"/>
                  <a:pt x="184" y="472"/>
                  <a:pt x="183" y="472"/>
                </a:cubicBezTo>
                <a:cubicBezTo>
                  <a:pt x="180" y="474"/>
                  <a:pt x="182" y="469"/>
                  <a:pt x="184" y="470"/>
                </a:cubicBezTo>
                <a:close/>
                <a:moveTo>
                  <a:pt x="183" y="435"/>
                </a:moveTo>
                <a:cubicBezTo>
                  <a:pt x="183" y="434"/>
                  <a:pt x="182" y="436"/>
                  <a:pt x="183" y="435"/>
                </a:cubicBezTo>
                <a:close/>
                <a:moveTo>
                  <a:pt x="180" y="443"/>
                </a:moveTo>
                <a:cubicBezTo>
                  <a:pt x="180" y="443"/>
                  <a:pt x="179" y="443"/>
                  <a:pt x="179" y="443"/>
                </a:cubicBezTo>
                <a:cubicBezTo>
                  <a:pt x="178" y="445"/>
                  <a:pt x="180" y="440"/>
                  <a:pt x="180" y="443"/>
                </a:cubicBezTo>
                <a:close/>
                <a:moveTo>
                  <a:pt x="174" y="445"/>
                </a:moveTo>
                <a:cubicBezTo>
                  <a:pt x="173" y="446"/>
                  <a:pt x="174" y="444"/>
                  <a:pt x="174" y="445"/>
                </a:cubicBezTo>
                <a:close/>
                <a:moveTo>
                  <a:pt x="173" y="182"/>
                </a:moveTo>
                <a:cubicBezTo>
                  <a:pt x="172" y="182"/>
                  <a:pt x="174" y="180"/>
                  <a:pt x="173" y="182"/>
                </a:cubicBezTo>
                <a:close/>
                <a:moveTo>
                  <a:pt x="173" y="438"/>
                </a:moveTo>
                <a:cubicBezTo>
                  <a:pt x="174" y="437"/>
                  <a:pt x="172" y="440"/>
                  <a:pt x="173" y="438"/>
                </a:cubicBezTo>
                <a:close/>
                <a:moveTo>
                  <a:pt x="173" y="477"/>
                </a:moveTo>
                <a:cubicBezTo>
                  <a:pt x="172" y="478"/>
                  <a:pt x="172" y="478"/>
                  <a:pt x="170" y="478"/>
                </a:cubicBezTo>
                <a:cubicBezTo>
                  <a:pt x="171" y="478"/>
                  <a:pt x="171" y="477"/>
                  <a:pt x="173" y="477"/>
                </a:cubicBezTo>
                <a:close/>
                <a:moveTo>
                  <a:pt x="173" y="314"/>
                </a:move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lose/>
                <a:moveTo>
                  <a:pt x="171" y="307"/>
                </a:moveTo>
                <a:cubicBezTo>
                  <a:pt x="171" y="308"/>
                  <a:pt x="171" y="309"/>
                  <a:pt x="169" y="310"/>
                </a:cubicBezTo>
                <a:cubicBezTo>
                  <a:pt x="168" y="310"/>
                  <a:pt x="167" y="310"/>
                  <a:pt x="166" y="309"/>
                </a:cubicBezTo>
                <a:cubicBezTo>
                  <a:pt x="164" y="305"/>
                  <a:pt x="171" y="303"/>
                  <a:pt x="171" y="307"/>
                </a:cubicBezTo>
                <a:close/>
                <a:moveTo>
                  <a:pt x="168" y="501"/>
                </a:moveTo>
                <a:cubicBezTo>
                  <a:pt x="168" y="501"/>
                  <a:pt x="168" y="501"/>
                  <a:pt x="169" y="501"/>
                </a:cubicBezTo>
                <a:cubicBezTo>
                  <a:pt x="169" y="501"/>
                  <a:pt x="168" y="502"/>
                  <a:pt x="168" y="501"/>
                </a:cubicBezTo>
                <a:close/>
                <a:moveTo>
                  <a:pt x="166" y="342"/>
                </a:moveTo>
                <a:cubicBezTo>
                  <a:pt x="166" y="342"/>
                  <a:pt x="166" y="342"/>
                  <a:pt x="166" y="342"/>
                </a:cubicBezTo>
                <a:cubicBezTo>
                  <a:pt x="166" y="342"/>
                  <a:pt x="166" y="343"/>
                  <a:pt x="165" y="343"/>
                </a:cubicBezTo>
                <a:cubicBezTo>
                  <a:pt x="165" y="343"/>
                  <a:pt x="165" y="343"/>
                  <a:pt x="165" y="343"/>
                </a:cubicBezTo>
                <a:cubicBezTo>
                  <a:pt x="165" y="343"/>
                  <a:pt x="166" y="342"/>
                  <a:pt x="166" y="342"/>
                </a:cubicBezTo>
                <a:close/>
                <a:moveTo>
                  <a:pt x="165" y="307"/>
                </a:moveTo>
                <a:cubicBezTo>
                  <a:pt x="163" y="308"/>
                  <a:pt x="167" y="306"/>
                  <a:pt x="165" y="307"/>
                </a:cubicBezTo>
                <a:close/>
                <a:moveTo>
                  <a:pt x="164" y="344"/>
                </a:moveTo>
                <a:cubicBezTo>
                  <a:pt x="163" y="344"/>
                  <a:pt x="166" y="342"/>
                  <a:pt x="164" y="344"/>
                </a:cubicBezTo>
                <a:close/>
                <a:moveTo>
                  <a:pt x="165" y="345"/>
                </a:moveTo>
                <a:cubicBezTo>
                  <a:pt x="164" y="346"/>
                  <a:pt x="164" y="347"/>
                  <a:pt x="162" y="347"/>
                </a:cubicBezTo>
                <a:cubicBezTo>
                  <a:pt x="163" y="347"/>
                  <a:pt x="163" y="346"/>
                  <a:pt x="165" y="345"/>
                </a:cubicBezTo>
                <a:close/>
                <a:moveTo>
                  <a:pt x="161" y="347"/>
                </a:moveTo>
                <a:cubicBezTo>
                  <a:pt x="160" y="348"/>
                  <a:pt x="162" y="346"/>
                  <a:pt x="161" y="347"/>
                </a:cubicBezTo>
                <a:close/>
                <a:moveTo>
                  <a:pt x="160" y="350"/>
                </a:moveTo>
                <a:cubicBezTo>
                  <a:pt x="161" y="348"/>
                  <a:pt x="162" y="349"/>
                  <a:pt x="160" y="350"/>
                </a:cubicBezTo>
                <a:close/>
                <a:moveTo>
                  <a:pt x="168" y="370"/>
                </a:moveTo>
                <a:cubicBezTo>
                  <a:pt x="165" y="373"/>
                  <a:pt x="163" y="376"/>
                  <a:pt x="158" y="378"/>
                </a:cubicBezTo>
                <a:cubicBezTo>
                  <a:pt x="161" y="375"/>
                  <a:pt x="164" y="372"/>
                  <a:pt x="168" y="370"/>
                </a:cubicBezTo>
                <a:close/>
                <a:moveTo>
                  <a:pt x="167" y="392"/>
                </a:moveTo>
                <a:cubicBezTo>
                  <a:pt x="166" y="393"/>
                  <a:pt x="168" y="390"/>
                  <a:pt x="167" y="391"/>
                </a:cubicBezTo>
                <a:cubicBezTo>
                  <a:pt x="167" y="391"/>
                  <a:pt x="167" y="392"/>
                  <a:pt x="167" y="392"/>
                </a:cubicBezTo>
                <a:close/>
                <a:moveTo>
                  <a:pt x="168" y="424"/>
                </a:moveTo>
                <a:cubicBezTo>
                  <a:pt x="168" y="424"/>
                  <a:pt x="167" y="424"/>
                  <a:pt x="167" y="424"/>
                </a:cubicBezTo>
                <a:cubicBezTo>
                  <a:pt x="166" y="423"/>
                  <a:pt x="168" y="423"/>
                  <a:pt x="168" y="424"/>
                </a:cubicBezTo>
                <a:close/>
                <a:moveTo>
                  <a:pt x="161" y="457"/>
                </a:moveTo>
                <a:cubicBezTo>
                  <a:pt x="161" y="458"/>
                  <a:pt x="158" y="461"/>
                  <a:pt x="157" y="460"/>
                </a:cubicBezTo>
                <a:cubicBezTo>
                  <a:pt x="156" y="458"/>
                  <a:pt x="159" y="456"/>
                  <a:pt x="161" y="457"/>
                </a:cubicBezTo>
                <a:close/>
                <a:moveTo>
                  <a:pt x="157" y="477"/>
                </a:move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lose/>
                <a:moveTo>
                  <a:pt x="161" y="502"/>
                </a:moveTo>
                <a:cubicBezTo>
                  <a:pt x="161" y="503"/>
                  <a:pt x="159" y="504"/>
                  <a:pt x="159" y="503"/>
                </a:cubicBezTo>
                <a:cubicBezTo>
                  <a:pt x="159" y="502"/>
                  <a:pt x="160" y="501"/>
                  <a:pt x="161" y="502"/>
                </a:cubicBezTo>
                <a:close/>
                <a:moveTo>
                  <a:pt x="159" y="482"/>
                </a:moveTo>
                <a:cubicBezTo>
                  <a:pt x="158" y="483"/>
                  <a:pt x="160" y="481"/>
                  <a:pt x="159" y="482"/>
                </a:cubicBezTo>
                <a:close/>
                <a:moveTo>
                  <a:pt x="162" y="484"/>
                </a:moveTo>
                <a:cubicBezTo>
                  <a:pt x="163" y="484"/>
                  <a:pt x="162" y="485"/>
                  <a:pt x="161" y="485"/>
                </a:cubicBezTo>
                <a:cubicBezTo>
                  <a:pt x="160" y="486"/>
                  <a:pt x="161" y="483"/>
                  <a:pt x="162" y="484"/>
                </a:cubicBezTo>
                <a:close/>
                <a:moveTo>
                  <a:pt x="161" y="428"/>
                </a:moveTo>
                <a:cubicBezTo>
                  <a:pt x="162" y="429"/>
                  <a:pt x="160" y="432"/>
                  <a:pt x="160" y="432"/>
                </a:cubicBezTo>
                <a:cubicBezTo>
                  <a:pt x="155" y="435"/>
                  <a:pt x="158" y="426"/>
                  <a:pt x="161" y="428"/>
                </a:cubicBezTo>
                <a:close/>
                <a:moveTo>
                  <a:pt x="164" y="506"/>
                </a:moveTo>
                <a:cubicBezTo>
                  <a:pt x="165" y="507"/>
                  <a:pt x="160" y="510"/>
                  <a:pt x="159" y="510"/>
                </a:cubicBezTo>
                <a:cubicBezTo>
                  <a:pt x="154" y="511"/>
                  <a:pt x="163" y="505"/>
                  <a:pt x="164" y="506"/>
                </a:cubicBezTo>
                <a:close/>
                <a:moveTo>
                  <a:pt x="163" y="443"/>
                </a:moveTo>
                <a:cubicBezTo>
                  <a:pt x="163" y="443"/>
                  <a:pt x="163" y="444"/>
                  <a:pt x="162" y="444"/>
                </a:cubicBezTo>
                <a:cubicBezTo>
                  <a:pt x="162" y="443"/>
                  <a:pt x="163" y="443"/>
                  <a:pt x="163" y="443"/>
                </a:cubicBezTo>
                <a:close/>
                <a:moveTo>
                  <a:pt x="159" y="351"/>
                </a:moveTo>
                <a:cubicBezTo>
                  <a:pt x="159" y="351"/>
                  <a:pt x="159" y="350"/>
                  <a:pt x="160" y="350"/>
                </a:cubicBezTo>
                <a:cubicBezTo>
                  <a:pt x="160" y="350"/>
                  <a:pt x="160" y="351"/>
                  <a:pt x="159" y="351"/>
                </a:cubicBezTo>
                <a:close/>
                <a:moveTo>
                  <a:pt x="160" y="259"/>
                </a:moveTo>
                <a:cubicBezTo>
                  <a:pt x="160" y="259"/>
                  <a:pt x="160" y="260"/>
                  <a:pt x="160" y="260"/>
                </a:cubicBezTo>
                <a:cubicBezTo>
                  <a:pt x="159" y="261"/>
                  <a:pt x="158" y="258"/>
                  <a:pt x="160" y="259"/>
                </a:cubicBezTo>
                <a:close/>
                <a:moveTo>
                  <a:pt x="160" y="349"/>
                </a:moveTo>
                <a:cubicBezTo>
                  <a:pt x="159" y="350"/>
                  <a:pt x="159" y="350"/>
                  <a:pt x="158" y="351"/>
                </a:cubicBezTo>
                <a:cubicBezTo>
                  <a:pt x="158" y="350"/>
                  <a:pt x="159" y="349"/>
                  <a:pt x="160" y="349"/>
                </a:cubicBezTo>
                <a:close/>
                <a:moveTo>
                  <a:pt x="159" y="352"/>
                </a:moveTo>
                <a:cubicBezTo>
                  <a:pt x="158" y="352"/>
                  <a:pt x="158" y="353"/>
                  <a:pt x="157" y="353"/>
                </a:cubicBezTo>
                <a:cubicBezTo>
                  <a:pt x="157" y="352"/>
                  <a:pt x="158" y="352"/>
                  <a:pt x="159" y="352"/>
                </a:cubicBezTo>
                <a:close/>
                <a:moveTo>
                  <a:pt x="156" y="354"/>
                </a:moveTo>
                <a:cubicBezTo>
                  <a:pt x="155" y="355"/>
                  <a:pt x="158" y="353"/>
                  <a:pt x="156" y="354"/>
                </a:cubicBezTo>
                <a:close/>
                <a:moveTo>
                  <a:pt x="157" y="415"/>
                </a:moveTo>
                <a:cubicBezTo>
                  <a:pt x="158" y="416"/>
                  <a:pt x="157" y="417"/>
                  <a:pt x="156" y="417"/>
                </a:cubicBezTo>
                <a:cubicBezTo>
                  <a:pt x="156" y="416"/>
                  <a:pt x="157" y="416"/>
                  <a:pt x="157" y="415"/>
                </a:cubicBezTo>
                <a:close/>
                <a:moveTo>
                  <a:pt x="133" y="461"/>
                </a:moveTo>
                <a:cubicBezTo>
                  <a:pt x="137" y="457"/>
                  <a:pt x="142" y="453"/>
                  <a:pt x="148" y="450"/>
                </a:cubicBezTo>
                <a:cubicBezTo>
                  <a:pt x="143" y="454"/>
                  <a:pt x="138" y="457"/>
                  <a:pt x="133" y="461"/>
                </a:cubicBezTo>
                <a:close/>
                <a:moveTo>
                  <a:pt x="138" y="463"/>
                </a:moveTo>
                <a:cubicBezTo>
                  <a:pt x="138" y="464"/>
                  <a:pt x="137" y="464"/>
                  <a:pt x="137" y="463"/>
                </a:cubicBezTo>
                <a:cubicBezTo>
                  <a:pt x="136" y="462"/>
                  <a:pt x="138" y="463"/>
                  <a:pt x="138" y="463"/>
                </a:cubicBezTo>
                <a:close/>
                <a:moveTo>
                  <a:pt x="147" y="446"/>
                </a:moveTo>
                <a:cubicBezTo>
                  <a:pt x="146" y="446"/>
                  <a:pt x="145" y="447"/>
                  <a:pt x="145" y="447"/>
                </a:cubicBezTo>
                <a:cubicBezTo>
                  <a:pt x="144" y="446"/>
                  <a:pt x="152" y="439"/>
                  <a:pt x="153" y="440"/>
                </a:cubicBezTo>
                <a:cubicBezTo>
                  <a:pt x="154" y="440"/>
                  <a:pt x="147" y="446"/>
                  <a:pt x="147" y="446"/>
                </a:cubicBezTo>
                <a:close/>
                <a:moveTo>
                  <a:pt x="148" y="401"/>
                </a:moveTo>
                <a:cubicBezTo>
                  <a:pt x="151" y="399"/>
                  <a:pt x="146" y="402"/>
                  <a:pt x="148" y="401"/>
                </a:cubicBezTo>
                <a:close/>
                <a:moveTo>
                  <a:pt x="150" y="439"/>
                </a:moveTo>
                <a:cubicBezTo>
                  <a:pt x="150" y="440"/>
                  <a:pt x="149" y="440"/>
                  <a:pt x="148" y="440"/>
                </a:cubicBezTo>
                <a:cubicBezTo>
                  <a:pt x="148" y="439"/>
                  <a:pt x="149" y="439"/>
                  <a:pt x="150" y="439"/>
                </a:cubicBezTo>
                <a:close/>
                <a:moveTo>
                  <a:pt x="151" y="379"/>
                </a:moveTo>
                <a:cubicBezTo>
                  <a:pt x="150" y="380"/>
                  <a:pt x="151" y="378"/>
                  <a:pt x="151" y="379"/>
                </a:cubicBezTo>
                <a:close/>
                <a:moveTo>
                  <a:pt x="153" y="447"/>
                </a:moveTo>
                <a:cubicBezTo>
                  <a:pt x="153" y="449"/>
                  <a:pt x="150" y="449"/>
                  <a:pt x="149" y="450"/>
                </a:cubicBezTo>
                <a:cubicBezTo>
                  <a:pt x="149" y="449"/>
                  <a:pt x="152" y="448"/>
                  <a:pt x="153" y="447"/>
                </a:cubicBezTo>
                <a:close/>
                <a:moveTo>
                  <a:pt x="156" y="472"/>
                </a:moveTo>
                <a:cubicBezTo>
                  <a:pt x="155" y="473"/>
                  <a:pt x="152" y="475"/>
                  <a:pt x="151" y="475"/>
                </a:cubicBezTo>
                <a:cubicBezTo>
                  <a:pt x="151" y="475"/>
                  <a:pt x="154" y="471"/>
                  <a:pt x="156" y="472"/>
                </a:cubicBezTo>
                <a:close/>
                <a:moveTo>
                  <a:pt x="156" y="435"/>
                </a:moveTo>
                <a:cubicBezTo>
                  <a:pt x="156" y="435"/>
                  <a:pt x="156" y="435"/>
                  <a:pt x="157" y="435"/>
                </a:cubicBezTo>
                <a:cubicBezTo>
                  <a:pt x="156" y="435"/>
                  <a:pt x="156" y="435"/>
                  <a:pt x="156" y="435"/>
                </a:cubicBezTo>
                <a:cubicBezTo>
                  <a:pt x="156" y="435"/>
                  <a:pt x="156" y="435"/>
                  <a:pt x="156" y="435"/>
                </a:cubicBezTo>
                <a:close/>
                <a:moveTo>
                  <a:pt x="155" y="447"/>
                </a:moveTo>
                <a:cubicBezTo>
                  <a:pt x="155" y="447"/>
                  <a:pt x="154" y="448"/>
                  <a:pt x="154" y="447"/>
                </a:cubicBezTo>
                <a:cubicBezTo>
                  <a:pt x="153" y="446"/>
                  <a:pt x="156" y="445"/>
                  <a:pt x="155" y="447"/>
                </a:cubicBezTo>
                <a:close/>
                <a:moveTo>
                  <a:pt x="155" y="434"/>
                </a:moveTo>
                <a:cubicBezTo>
                  <a:pt x="155" y="434"/>
                  <a:pt x="154" y="435"/>
                  <a:pt x="154" y="435"/>
                </a:cubicBezTo>
                <a:cubicBezTo>
                  <a:pt x="152" y="437"/>
                  <a:pt x="153" y="432"/>
                  <a:pt x="155" y="434"/>
                </a:cubicBezTo>
                <a:close/>
                <a:moveTo>
                  <a:pt x="152" y="391"/>
                </a:moveTo>
                <a:cubicBezTo>
                  <a:pt x="153" y="391"/>
                  <a:pt x="152" y="392"/>
                  <a:pt x="152" y="392"/>
                </a:cubicBezTo>
                <a:cubicBezTo>
                  <a:pt x="151" y="393"/>
                  <a:pt x="151" y="390"/>
                  <a:pt x="152" y="391"/>
                </a:cubicBezTo>
                <a:close/>
                <a:moveTo>
                  <a:pt x="151" y="438"/>
                </a:moveTo>
                <a:cubicBezTo>
                  <a:pt x="152" y="436"/>
                  <a:pt x="154" y="438"/>
                  <a:pt x="151" y="438"/>
                </a:cubicBezTo>
                <a:close/>
                <a:moveTo>
                  <a:pt x="151" y="253"/>
                </a:moveTo>
                <a:cubicBezTo>
                  <a:pt x="151" y="253"/>
                  <a:pt x="151" y="254"/>
                  <a:pt x="150" y="254"/>
                </a:cubicBezTo>
                <a:cubicBezTo>
                  <a:pt x="150" y="253"/>
                  <a:pt x="151" y="252"/>
                  <a:pt x="151" y="253"/>
                </a:cubicBezTo>
                <a:close/>
                <a:moveTo>
                  <a:pt x="150" y="436"/>
                </a:moveTo>
                <a:cubicBezTo>
                  <a:pt x="151" y="436"/>
                  <a:pt x="150" y="437"/>
                  <a:pt x="150" y="437"/>
                </a:cubicBezTo>
                <a:cubicBezTo>
                  <a:pt x="149" y="439"/>
                  <a:pt x="149" y="435"/>
                  <a:pt x="150" y="436"/>
                </a:cubicBezTo>
                <a:close/>
                <a:moveTo>
                  <a:pt x="149" y="322"/>
                </a:moveTo>
                <a:cubicBezTo>
                  <a:pt x="149" y="323"/>
                  <a:pt x="148" y="322"/>
                  <a:pt x="149" y="322"/>
                </a:cubicBezTo>
                <a:close/>
                <a:moveTo>
                  <a:pt x="149" y="365"/>
                </a:moveTo>
                <a:cubicBezTo>
                  <a:pt x="149" y="366"/>
                  <a:pt x="147" y="366"/>
                  <a:pt x="148" y="365"/>
                </a:cubicBezTo>
                <a:cubicBezTo>
                  <a:pt x="148" y="365"/>
                  <a:pt x="149" y="365"/>
                  <a:pt x="149" y="365"/>
                </a:cubicBezTo>
                <a:close/>
                <a:moveTo>
                  <a:pt x="147" y="197"/>
                </a:moveTo>
                <a:cubicBezTo>
                  <a:pt x="146" y="198"/>
                  <a:pt x="146" y="198"/>
                  <a:pt x="145" y="197"/>
                </a:cubicBezTo>
                <a:cubicBezTo>
                  <a:pt x="142" y="194"/>
                  <a:pt x="150" y="194"/>
                  <a:pt x="147" y="197"/>
                </a:cubicBezTo>
                <a:close/>
                <a:moveTo>
                  <a:pt x="145" y="359"/>
                </a:moveTo>
                <a:cubicBezTo>
                  <a:pt x="147" y="359"/>
                  <a:pt x="145" y="362"/>
                  <a:pt x="145" y="362"/>
                </a:cubicBezTo>
                <a:cubicBezTo>
                  <a:pt x="143" y="363"/>
                  <a:pt x="143" y="358"/>
                  <a:pt x="145" y="359"/>
                </a:cubicBezTo>
                <a:close/>
                <a:moveTo>
                  <a:pt x="145" y="402"/>
                </a:moveTo>
                <a:cubicBezTo>
                  <a:pt x="145" y="404"/>
                  <a:pt x="144" y="404"/>
                  <a:pt x="143" y="405"/>
                </a:cubicBezTo>
                <a:cubicBezTo>
                  <a:pt x="143" y="404"/>
                  <a:pt x="144" y="403"/>
                  <a:pt x="145" y="402"/>
                </a:cubicBezTo>
                <a:close/>
                <a:moveTo>
                  <a:pt x="132" y="456"/>
                </a:moveTo>
                <a:cubicBezTo>
                  <a:pt x="134" y="453"/>
                  <a:pt x="139" y="450"/>
                  <a:pt x="143" y="448"/>
                </a:cubicBezTo>
                <a:cubicBezTo>
                  <a:pt x="139" y="451"/>
                  <a:pt x="137" y="455"/>
                  <a:pt x="132" y="456"/>
                </a:cubicBezTo>
                <a:close/>
                <a:moveTo>
                  <a:pt x="131" y="395"/>
                </a:moveTo>
                <a:cubicBezTo>
                  <a:pt x="132" y="394"/>
                  <a:pt x="132" y="393"/>
                  <a:pt x="134" y="393"/>
                </a:cubicBezTo>
                <a:cubicBezTo>
                  <a:pt x="134" y="393"/>
                  <a:pt x="132" y="395"/>
                  <a:pt x="131" y="395"/>
                </a:cubicBezTo>
                <a:close/>
                <a:moveTo>
                  <a:pt x="134" y="448"/>
                </a:moveTo>
                <a:cubicBezTo>
                  <a:pt x="134" y="448"/>
                  <a:pt x="133" y="449"/>
                  <a:pt x="133" y="448"/>
                </a:cubicBezTo>
                <a:cubicBezTo>
                  <a:pt x="132" y="447"/>
                  <a:pt x="135" y="447"/>
                  <a:pt x="134" y="448"/>
                </a:cubicBezTo>
                <a:close/>
                <a:moveTo>
                  <a:pt x="132" y="422"/>
                </a:moveTo>
                <a:cubicBezTo>
                  <a:pt x="131" y="421"/>
                  <a:pt x="131" y="420"/>
                  <a:pt x="132" y="420"/>
                </a:cubicBezTo>
                <a:cubicBezTo>
                  <a:pt x="133" y="420"/>
                  <a:pt x="134" y="421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5" y="424"/>
                  <a:pt x="130" y="426"/>
                  <a:pt x="130" y="423"/>
                </a:cubicBezTo>
                <a:cubicBezTo>
                  <a:pt x="130" y="422"/>
                  <a:pt x="131" y="422"/>
                  <a:pt x="132" y="422"/>
                </a:cubicBezTo>
                <a:close/>
                <a:moveTo>
                  <a:pt x="138" y="416"/>
                </a:moveTo>
                <a:cubicBezTo>
                  <a:pt x="137" y="417"/>
                  <a:pt x="139" y="415"/>
                  <a:pt x="138" y="416"/>
                </a:cubicBezTo>
                <a:close/>
                <a:moveTo>
                  <a:pt x="139" y="433"/>
                </a:moveTo>
                <a:cubicBezTo>
                  <a:pt x="139" y="432"/>
                  <a:pt x="139" y="432"/>
                  <a:pt x="139" y="432"/>
                </a:cubicBezTo>
                <a:cubicBezTo>
                  <a:pt x="139" y="430"/>
                  <a:pt x="141" y="433"/>
                  <a:pt x="139" y="433"/>
                </a:cubicBezTo>
                <a:close/>
                <a:moveTo>
                  <a:pt x="140" y="443"/>
                </a:moveTo>
                <a:cubicBezTo>
                  <a:pt x="140" y="443"/>
                  <a:pt x="141" y="443"/>
                  <a:pt x="141" y="444"/>
                </a:cubicBezTo>
                <a:cubicBezTo>
                  <a:pt x="141" y="444"/>
                  <a:pt x="140" y="444"/>
                  <a:pt x="140" y="443"/>
                </a:cubicBezTo>
                <a:close/>
                <a:moveTo>
                  <a:pt x="142" y="387"/>
                </a:moveTo>
                <a:cubicBezTo>
                  <a:pt x="141" y="387"/>
                  <a:pt x="144" y="386"/>
                  <a:pt x="142" y="387"/>
                </a:cubicBezTo>
                <a:close/>
                <a:moveTo>
                  <a:pt x="142" y="436"/>
                </a:moveTo>
                <a:cubicBezTo>
                  <a:pt x="143" y="436"/>
                  <a:pt x="142" y="439"/>
                  <a:pt x="141" y="437"/>
                </a:cubicBezTo>
                <a:cubicBezTo>
                  <a:pt x="141" y="436"/>
                  <a:pt x="142" y="436"/>
                  <a:pt x="142" y="436"/>
                </a:cubicBezTo>
                <a:close/>
                <a:moveTo>
                  <a:pt x="142" y="387"/>
                </a:moveTo>
                <a:cubicBezTo>
                  <a:pt x="141" y="389"/>
                  <a:pt x="139" y="391"/>
                  <a:pt x="137" y="392"/>
                </a:cubicBezTo>
                <a:cubicBezTo>
                  <a:pt x="137" y="392"/>
                  <a:pt x="139" y="388"/>
                  <a:pt x="142" y="387"/>
                </a:cubicBezTo>
                <a:close/>
                <a:moveTo>
                  <a:pt x="136" y="246"/>
                </a:moveTo>
                <a:cubicBezTo>
                  <a:pt x="135" y="246"/>
                  <a:pt x="137" y="245"/>
                  <a:pt x="136" y="246"/>
                </a:cubicBezTo>
                <a:close/>
                <a:moveTo>
                  <a:pt x="134" y="301"/>
                </a:moveTo>
                <a:cubicBezTo>
                  <a:pt x="134" y="298"/>
                  <a:pt x="136" y="300"/>
                  <a:pt x="134" y="301"/>
                </a:cubicBezTo>
                <a:close/>
                <a:moveTo>
                  <a:pt x="135" y="342"/>
                </a:moveTo>
                <a:cubicBezTo>
                  <a:pt x="135" y="343"/>
                  <a:pt x="134" y="344"/>
                  <a:pt x="134" y="345"/>
                </a:cubicBezTo>
                <a:cubicBezTo>
                  <a:pt x="133" y="344"/>
                  <a:pt x="134" y="342"/>
                  <a:pt x="135" y="342"/>
                </a:cubicBezTo>
                <a:close/>
                <a:moveTo>
                  <a:pt x="129" y="351"/>
                </a:moveTo>
                <a:cubicBezTo>
                  <a:pt x="129" y="350"/>
                  <a:pt x="132" y="348"/>
                  <a:pt x="132" y="346"/>
                </a:cubicBezTo>
                <a:cubicBezTo>
                  <a:pt x="133" y="347"/>
                  <a:pt x="130" y="349"/>
                  <a:pt x="129" y="351"/>
                </a:cubicBezTo>
                <a:close/>
                <a:moveTo>
                  <a:pt x="132" y="280"/>
                </a:moveTo>
                <a:cubicBezTo>
                  <a:pt x="132" y="282"/>
                  <a:pt x="130" y="281"/>
                  <a:pt x="132" y="280"/>
                </a:cubicBezTo>
                <a:close/>
                <a:moveTo>
                  <a:pt x="129" y="305"/>
                </a:moveTo>
                <a:cubicBezTo>
                  <a:pt x="131" y="306"/>
                  <a:pt x="130" y="307"/>
                  <a:pt x="129" y="307"/>
                </a:cubicBezTo>
                <a:cubicBezTo>
                  <a:pt x="127" y="309"/>
                  <a:pt x="128" y="305"/>
                  <a:pt x="129" y="305"/>
                </a:cubicBezTo>
                <a:close/>
                <a:moveTo>
                  <a:pt x="118" y="327"/>
                </a:moveTo>
                <a:cubicBezTo>
                  <a:pt x="118" y="327"/>
                  <a:pt x="117" y="327"/>
                  <a:pt x="117" y="326"/>
                </a:cubicBezTo>
                <a:cubicBezTo>
                  <a:pt x="117" y="326"/>
                  <a:pt x="119" y="326"/>
                  <a:pt x="118" y="327"/>
                </a:cubicBezTo>
                <a:close/>
                <a:moveTo>
                  <a:pt x="118" y="336"/>
                </a:moveTo>
                <a:cubicBezTo>
                  <a:pt x="118" y="336"/>
                  <a:pt x="118" y="337"/>
                  <a:pt x="117" y="336"/>
                </a:cubicBezTo>
                <a:cubicBezTo>
                  <a:pt x="117" y="336"/>
                  <a:pt x="119" y="334"/>
                  <a:pt x="118" y="336"/>
                </a:cubicBezTo>
                <a:close/>
                <a:moveTo>
                  <a:pt x="115" y="336"/>
                </a:moveTo>
                <a:cubicBezTo>
                  <a:pt x="116" y="335"/>
                  <a:pt x="114" y="337"/>
                  <a:pt x="115" y="336"/>
                </a:cubicBezTo>
                <a:close/>
                <a:moveTo>
                  <a:pt x="115" y="386"/>
                </a:moveTo>
                <a:cubicBezTo>
                  <a:pt x="116" y="387"/>
                  <a:pt x="115" y="387"/>
                  <a:pt x="114" y="387"/>
                </a:cubicBezTo>
                <a:cubicBezTo>
                  <a:pt x="114" y="388"/>
                  <a:pt x="115" y="386"/>
                  <a:pt x="115" y="386"/>
                </a:cubicBezTo>
                <a:close/>
                <a:moveTo>
                  <a:pt x="114" y="388"/>
                </a:moveTo>
                <a:cubicBezTo>
                  <a:pt x="114" y="389"/>
                  <a:pt x="113" y="389"/>
                  <a:pt x="113" y="390"/>
                </a:cubicBezTo>
                <a:cubicBezTo>
                  <a:pt x="112" y="390"/>
                  <a:pt x="113" y="388"/>
                  <a:pt x="114" y="388"/>
                </a:cubicBezTo>
                <a:close/>
                <a:moveTo>
                  <a:pt x="111" y="394"/>
                </a:moveTo>
                <a:cubicBezTo>
                  <a:pt x="110" y="393"/>
                  <a:pt x="112" y="392"/>
                  <a:pt x="112" y="391"/>
                </a:cubicBezTo>
                <a:cubicBezTo>
                  <a:pt x="113" y="392"/>
                  <a:pt x="111" y="393"/>
                  <a:pt x="111" y="394"/>
                </a:cubicBezTo>
                <a:close/>
                <a:moveTo>
                  <a:pt x="112" y="243"/>
                </a:moveTo>
                <a:cubicBezTo>
                  <a:pt x="111" y="245"/>
                  <a:pt x="111" y="241"/>
                  <a:pt x="112" y="242"/>
                </a:cubicBezTo>
                <a:cubicBezTo>
                  <a:pt x="113" y="242"/>
                  <a:pt x="112" y="243"/>
                  <a:pt x="112" y="243"/>
                </a:cubicBezTo>
                <a:close/>
                <a:moveTo>
                  <a:pt x="115" y="433"/>
                </a:moveTo>
                <a:cubicBezTo>
                  <a:pt x="111" y="434"/>
                  <a:pt x="116" y="429"/>
                  <a:pt x="116" y="432"/>
                </a:cubicBezTo>
                <a:cubicBezTo>
                  <a:pt x="116" y="432"/>
                  <a:pt x="115" y="433"/>
                  <a:pt x="115" y="433"/>
                </a:cubicBezTo>
                <a:close/>
                <a:moveTo>
                  <a:pt x="116" y="435"/>
                </a:moveTo>
                <a:cubicBezTo>
                  <a:pt x="115" y="436"/>
                  <a:pt x="117" y="434"/>
                  <a:pt x="116" y="435"/>
                </a:cubicBezTo>
                <a:close/>
                <a:moveTo>
                  <a:pt x="113" y="417"/>
                </a:moveTo>
                <a:cubicBezTo>
                  <a:pt x="115" y="413"/>
                  <a:pt x="118" y="409"/>
                  <a:pt x="121" y="406"/>
                </a:cubicBezTo>
                <a:cubicBezTo>
                  <a:pt x="119" y="410"/>
                  <a:pt x="117" y="414"/>
                  <a:pt x="113" y="417"/>
                </a:cubicBezTo>
                <a:close/>
                <a:moveTo>
                  <a:pt x="121" y="276"/>
                </a:moveTo>
                <a:cubicBezTo>
                  <a:pt x="121" y="276"/>
                  <a:pt x="121" y="277"/>
                  <a:pt x="121" y="277"/>
                </a:cubicBezTo>
                <a:cubicBezTo>
                  <a:pt x="120" y="276"/>
                  <a:pt x="122" y="275"/>
                  <a:pt x="121" y="276"/>
                </a:cubicBezTo>
                <a:close/>
                <a:moveTo>
                  <a:pt x="122" y="193"/>
                </a:moveTo>
                <a:cubicBezTo>
                  <a:pt x="123" y="193"/>
                  <a:pt x="123" y="195"/>
                  <a:pt x="122" y="195"/>
                </a:cubicBezTo>
                <a:cubicBezTo>
                  <a:pt x="121" y="197"/>
                  <a:pt x="121" y="192"/>
                  <a:pt x="122" y="193"/>
                </a:cubicBezTo>
                <a:close/>
                <a:moveTo>
                  <a:pt x="122" y="472"/>
                </a:moveTo>
                <a:cubicBezTo>
                  <a:pt x="122" y="473"/>
                  <a:pt x="121" y="474"/>
                  <a:pt x="120" y="475"/>
                </a:cubicBezTo>
                <a:cubicBezTo>
                  <a:pt x="120" y="474"/>
                  <a:pt x="121" y="472"/>
                  <a:pt x="122" y="472"/>
                </a:cubicBezTo>
                <a:close/>
                <a:moveTo>
                  <a:pt x="120" y="461"/>
                </a:moveTo>
                <a:cubicBezTo>
                  <a:pt x="121" y="463"/>
                  <a:pt x="118" y="467"/>
                  <a:pt x="116" y="466"/>
                </a:cubicBezTo>
                <a:cubicBezTo>
                  <a:pt x="115" y="464"/>
                  <a:pt x="119" y="462"/>
                  <a:pt x="120" y="461"/>
                </a:cubicBezTo>
                <a:close/>
                <a:moveTo>
                  <a:pt x="111" y="479"/>
                </a:moveTo>
                <a:cubicBezTo>
                  <a:pt x="110" y="481"/>
                  <a:pt x="109" y="480"/>
                  <a:pt x="111" y="479"/>
                </a:cubicBezTo>
                <a:close/>
                <a:moveTo>
                  <a:pt x="110" y="496"/>
                </a:moveTo>
                <a:cubicBezTo>
                  <a:pt x="111" y="495"/>
                  <a:pt x="109" y="497"/>
                  <a:pt x="110" y="496"/>
                </a:cubicBezTo>
                <a:close/>
                <a:moveTo>
                  <a:pt x="107" y="477"/>
                </a:moveTo>
                <a:cubicBezTo>
                  <a:pt x="107" y="476"/>
                  <a:pt x="106" y="478"/>
                  <a:pt x="107" y="477"/>
                </a:cubicBezTo>
                <a:close/>
                <a:moveTo>
                  <a:pt x="109" y="509"/>
                </a:moveTo>
                <a:cubicBezTo>
                  <a:pt x="108" y="510"/>
                  <a:pt x="107" y="509"/>
                  <a:pt x="106" y="508"/>
                </a:cubicBezTo>
                <a:cubicBezTo>
                  <a:pt x="104" y="505"/>
                  <a:pt x="110" y="501"/>
                  <a:pt x="111" y="503"/>
                </a:cubicBezTo>
                <a:cubicBezTo>
                  <a:pt x="114" y="504"/>
                  <a:pt x="111" y="509"/>
                  <a:pt x="109" y="509"/>
                </a:cubicBezTo>
                <a:close/>
                <a:moveTo>
                  <a:pt x="115" y="501"/>
                </a:moveTo>
                <a:cubicBezTo>
                  <a:pt x="115" y="499"/>
                  <a:pt x="117" y="501"/>
                  <a:pt x="115" y="501"/>
                </a:cubicBezTo>
                <a:close/>
                <a:moveTo>
                  <a:pt x="115" y="498"/>
                </a:moveTo>
                <a:cubicBezTo>
                  <a:pt x="115" y="498"/>
                  <a:pt x="115" y="498"/>
                  <a:pt x="115" y="498"/>
                </a:cubicBezTo>
                <a:cubicBezTo>
                  <a:pt x="115" y="499"/>
                  <a:pt x="115" y="499"/>
                  <a:pt x="115" y="499"/>
                </a:cubicBezTo>
                <a:cubicBezTo>
                  <a:pt x="114" y="500"/>
                  <a:pt x="114" y="500"/>
                  <a:pt x="114" y="501"/>
                </a:cubicBezTo>
                <a:cubicBezTo>
                  <a:pt x="114" y="501"/>
                  <a:pt x="114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1"/>
                  <a:pt x="113" y="501"/>
                </a:cubicBezTo>
                <a:cubicBezTo>
                  <a:pt x="114" y="499"/>
                  <a:pt x="115" y="496"/>
                  <a:pt x="116" y="494"/>
                </a:cubicBezTo>
                <a:cubicBezTo>
                  <a:pt x="116" y="495"/>
                  <a:pt x="116" y="497"/>
                  <a:pt x="115" y="498"/>
                </a:cubicBezTo>
                <a:close/>
                <a:moveTo>
                  <a:pt x="115" y="482"/>
                </a:moveTo>
                <a:cubicBezTo>
                  <a:pt x="116" y="481"/>
                  <a:pt x="118" y="481"/>
                  <a:pt x="120" y="480"/>
                </a:cubicBezTo>
                <a:cubicBezTo>
                  <a:pt x="119" y="482"/>
                  <a:pt x="117" y="482"/>
                  <a:pt x="115" y="482"/>
                </a:cubicBezTo>
                <a:close/>
                <a:moveTo>
                  <a:pt x="121" y="500"/>
                </a:moveTo>
                <a:cubicBezTo>
                  <a:pt x="122" y="501"/>
                  <a:pt x="121" y="503"/>
                  <a:pt x="119" y="503"/>
                </a:cubicBezTo>
                <a:cubicBezTo>
                  <a:pt x="117" y="502"/>
                  <a:pt x="119" y="499"/>
                  <a:pt x="121" y="500"/>
                </a:cubicBezTo>
                <a:cubicBezTo>
                  <a:pt x="119" y="498"/>
                  <a:pt x="121" y="493"/>
                  <a:pt x="124" y="494"/>
                </a:cubicBezTo>
                <a:cubicBezTo>
                  <a:pt x="128" y="495"/>
                  <a:pt x="124" y="503"/>
                  <a:pt x="121" y="500"/>
                </a:cubicBezTo>
                <a:close/>
                <a:moveTo>
                  <a:pt x="123" y="425"/>
                </a:moveTo>
                <a:cubicBezTo>
                  <a:pt x="123" y="425"/>
                  <a:pt x="123" y="424"/>
                  <a:pt x="124" y="424"/>
                </a:cubicBezTo>
                <a:cubicBezTo>
                  <a:pt x="124" y="424"/>
                  <a:pt x="123" y="425"/>
                  <a:pt x="123" y="425"/>
                </a:cubicBezTo>
                <a:close/>
                <a:moveTo>
                  <a:pt x="123" y="474"/>
                </a:moveTo>
                <a:cubicBezTo>
                  <a:pt x="123" y="472"/>
                  <a:pt x="125" y="474"/>
                  <a:pt x="123" y="474"/>
                </a:cubicBezTo>
                <a:close/>
                <a:moveTo>
                  <a:pt x="123" y="471"/>
                </a:moveTo>
                <a:cubicBezTo>
                  <a:pt x="125" y="469"/>
                  <a:pt x="122" y="472"/>
                  <a:pt x="123" y="471"/>
                </a:cubicBezTo>
                <a:close/>
                <a:moveTo>
                  <a:pt x="126" y="472"/>
                </a:moveTo>
                <a:cubicBezTo>
                  <a:pt x="126" y="472"/>
                  <a:pt x="126" y="472"/>
                  <a:pt x="126" y="472"/>
                </a:cubicBezTo>
                <a:cubicBezTo>
                  <a:pt x="125" y="472"/>
                  <a:pt x="125" y="473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lose/>
                <a:moveTo>
                  <a:pt x="127" y="431"/>
                </a:moveTo>
                <a:cubicBezTo>
                  <a:pt x="127" y="431"/>
                  <a:pt x="128" y="431"/>
                  <a:pt x="127" y="432"/>
                </a:cubicBezTo>
                <a:cubicBezTo>
                  <a:pt x="127" y="433"/>
                  <a:pt x="126" y="431"/>
                  <a:pt x="127" y="431"/>
                </a:cubicBezTo>
                <a:close/>
                <a:moveTo>
                  <a:pt x="127" y="501"/>
                </a:moveTo>
                <a:cubicBezTo>
                  <a:pt x="127" y="500"/>
                  <a:pt x="127" y="500"/>
                  <a:pt x="127" y="500"/>
                </a:cubicBezTo>
                <a:cubicBezTo>
                  <a:pt x="127" y="498"/>
                  <a:pt x="129" y="501"/>
                  <a:pt x="127" y="501"/>
                </a:cubicBezTo>
                <a:close/>
                <a:moveTo>
                  <a:pt x="128" y="501"/>
                </a:moveTo>
                <a:cubicBezTo>
                  <a:pt x="127" y="502"/>
                  <a:pt x="128" y="499"/>
                  <a:pt x="129" y="500"/>
                </a:cubicBezTo>
                <a:cubicBezTo>
                  <a:pt x="130" y="501"/>
                  <a:pt x="129" y="501"/>
                  <a:pt x="128" y="501"/>
                </a:cubicBezTo>
                <a:close/>
                <a:moveTo>
                  <a:pt x="128" y="456"/>
                </a:moveTo>
                <a:cubicBezTo>
                  <a:pt x="129" y="455"/>
                  <a:pt x="127" y="457"/>
                  <a:pt x="128" y="456"/>
                </a:cubicBezTo>
                <a:close/>
                <a:moveTo>
                  <a:pt x="125" y="401"/>
                </a:moveTo>
                <a:cubicBezTo>
                  <a:pt x="125" y="401"/>
                  <a:pt x="122" y="406"/>
                  <a:pt x="123" y="403"/>
                </a:cubicBezTo>
                <a:cubicBezTo>
                  <a:pt x="123" y="401"/>
                  <a:pt x="128" y="398"/>
                  <a:pt x="130" y="396"/>
                </a:cubicBezTo>
                <a:cubicBezTo>
                  <a:pt x="129" y="398"/>
                  <a:pt x="127" y="399"/>
                  <a:pt x="125" y="401"/>
                </a:cubicBezTo>
                <a:close/>
                <a:moveTo>
                  <a:pt x="131" y="424"/>
                </a:moveTo>
                <a:cubicBezTo>
                  <a:pt x="131" y="424"/>
                  <a:pt x="131" y="425"/>
                  <a:pt x="130" y="426"/>
                </a:cubicBezTo>
                <a:cubicBezTo>
                  <a:pt x="130" y="426"/>
                  <a:pt x="130" y="424"/>
                  <a:pt x="131" y="424"/>
                </a:cubicBezTo>
                <a:close/>
                <a:moveTo>
                  <a:pt x="131" y="503"/>
                </a:moveTo>
                <a:cubicBezTo>
                  <a:pt x="129" y="502"/>
                  <a:pt x="134" y="500"/>
                  <a:pt x="132" y="503"/>
                </a:cubicBezTo>
                <a:cubicBezTo>
                  <a:pt x="132" y="503"/>
                  <a:pt x="131" y="504"/>
                  <a:pt x="131" y="503"/>
                </a:cubicBezTo>
                <a:close/>
                <a:moveTo>
                  <a:pt x="132" y="505"/>
                </a:moveTo>
                <a:cubicBezTo>
                  <a:pt x="132" y="506"/>
                  <a:pt x="133" y="504"/>
                  <a:pt x="132" y="505"/>
                </a:cubicBezTo>
                <a:close/>
                <a:moveTo>
                  <a:pt x="132" y="478"/>
                </a:moveTo>
                <a:cubicBezTo>
                  <a:pt x="130" y="480"/>
                  <a:pt x="130" y="474"/>
                  <a:pt x="132" y="475"/>
                </a:cubicBezTo>
                <a:cubicBezTo>
                  <a:pt x="134" y="476"/>
                  <a:pt x="133" y="478"/>
                  <a:pt x="132" y="478"/>
                </a:cubicBezTo>
                <a:close/>
                <a:moveTo>
                  <a:pt x="138" y="496"/>
                </a:moveTo>
                <a:cubicBezTo>
                  <a:pt x="136" y="498"/>
                  <a:pt x="135" y="493"/>
                  <a:pt x="137" y="494"/>
                </a:cubicBezTo>
                <a:cubicBezTo>
                  <a:pt x="138" y="494"/>
                  <a:pt x="138" y="496"/>
                  <a:pt x="138" y="496"/>
                </a:cubicBezTo>
                <a:close/>
                <a:moveTo>
                  <a:pt x="140" y="501"/>
                </a:moveTo>
                <a:cubicBezTo>
                  <a:pt x="141" y="500"/>
                  <a:pt x="141" y="502"/>
                  <a:pt x="140" y="501"/>
                </a:cubicBezTo>
                <a:close/>
                <a:moveTo>
                  <a:pt x="139" y="469"/>
                </a:moveTo>
                <a:cubicBezTo>
                  <a:pt x="138" y="471"/>
                  <a:pt x="136" y="474"/>
                  <a:pt x="135" y="475"/>
                </a:cubicBezTo>
                <a:cubicBezTo>
                  <a:pt x="130" y="476"/>
                  <a:pt x="139" y="468"/>
                  <a:pt x="141" y="467"/>
                </a:cubicBezTo>
                <a:cubicBezTo>
                  <a:pt x="138" y="469"/>
                  <a:pt x="141" y="465"/>
                  <a:pt x="142" y="466"/>
                </a:cubicBezTo>
                <a:cubicBezTo>
                  <a:pt x="143" y="467"/>
                  <a:pt x="140" y="469"/>
                  <a:pt x="139" y="469"/>
                </a:cubicBezTo>
                <a:close/>
                <a:moveTo>
                  <a:pt x="143" y="510"/>
                </a:moveTo>
                <a:cubicBezTo>
                  <a:pt x="142" y="510"/>
                  <a:pt x="142" y="511"/>
                  <a:pt x="142" y="511"/>
                </a:cubicBezTo>
                <a:cubicBezTo>
                  <a:pt x="143" y="510"/>
                  <a:pt x="143" y="509"/>
                  <a:pt x="143" y="510"/>
                </a:cubicBezTo>
                <a:close/>
                <a:moveTo>
                  <a:pt x="143" y="484"/>
                </a:moveTo>
                <a:cubicBezTo>
                  <a:pt x="143" y="484"/>
                  <a:pt x="144" y="483"/>
                  <a:pt x="144" y="483"/>
                </a:cubicBezTo>
                <a:cubicBezTo>
                  <a:pt x="144" y="483"/>
                  <a:pt x="144" y="484"/>
                  <a:pt x="143" y="484"/>
                </a:cubicBezTo>
                <a:close/>
                <a:moveTo>
                  <a:pt x="144" y="494"/>
                </a:moveTo>
                <a:cubicBezTo>
                  <a:pt x="144" y="493"/>
                  <a:pt x="147" y="493"/>
                  <a:pt x="147" y="494"/>
                </a:cubicBezTo>
                <a:cubicBezTo>
                  <a:pt x="147" y="495"/>
                  <a:pt x="144" y="497"/>
                  <a:pt x="144" y="494"/>
                </a:cubicBezTo>
                <a:close/>
                <a:moveTo>
                  <a:pt x="145" y="517"/>
                </a:moveTo>
                <a:cubicBezTo>
                  <a:pt x="144" y="515"/>
                  <a:pt x="148" y="516"/>
                  <a:pt x="148" y="517"/>
                </a:cubicBezTo>
                <a:cubicBezTo>
                  <a:pt x="147" y="518"/>
                  <a:pt x="145" y="519"/>
                  <a:pt x="145" y="517"/>
                </a:cubicBezTo>
                <a:close/>
                <a:moveTo>
                  <a:pt x="142" y="481"/>
                </a:moveTo>
                <a:cubicBezTo>
                  <a:pt x="144" y="479"/>
                  <a:pt x="146" y="477"/>
                  <a:pt x="149" y="476"/>
                </a:cubicBezTo>
                <a:cubicBezTo>
                  <a:pt x="147" y="478"/>
                  <a:pt x="145" y="480"/>
                  <a:pt x="142" y="481"/>
                </a:cubicBezTo>
                <a:close/>
                <a:moveTo>
                  <a:pt x="149" y="515"/>
                </a:moveTo>
                <a:cubicBezTo>
                  <a:pt x="149" y="515"/>
                  <a:pt x="147" y="515"/>
                  <a:pt x="148" y="514"/>
                </a:cubicBezTo>
                <a:cubicBezTo>
                  <a:pt x="148" y="514"/>
                  <a:pt x="150" y="515"/>
                  <a:pt x="149" y="515"/>
                </a:cubicBezTo>
                <a:close/>
                <a:moveTo>
                  <a:pt x="150" y="472"/>
                </a:moveTo>
                <a:cubicBezTo>
                  <a:pt x="149" y="472"/>
                  <a:pt x="150" y="470"/>
                  <a:pt x="150" y="470"/>
                </a:cubicBezTo>
                <a:cubicBezTo>
                  <a:pt x="151" y="471"/>
                  <a:pt x="149" y="472"/>
                  <a:pt x="150" y="472"/>
                </a:cubicBezTo>
                <a:close/>
                <a:moveTo>
                  <a:pt x="150" y="468"/>
                </a:moveTo>
                <a:cubicBezTo>
                  <a:pt x="150" y="468"/>
                  <a:pt x="150" y="468"/>
                  <a:pt x="151" y="468"/>
                </a:cubicBezTo>
                <a:cubicBezTo>
                  <a:pt x="151" y="468"/>
                  <a:pt x="151" y="467"/>
                  <a:pt x="151" y="467"/>
                </a:cubicBezTo>
                <a:cubicBezTo>
                  <a:pt x="151" y="467"/>
                  <a:pt x="151" y="467"/>
                  <a:pt x="151" y="467"/>
                </a:cubicBezTo>
                <a:cubicBezTo>
                  <a:pt x="151" y="468"/>
                  <a:pt x="151" y="468"/>
                  <a:pt x="151" y="468"/>
                </a:cubicBezTo>
                <a:cubicBezTo>
                  <a:pt x="150" y="468"/>
                  <a:pt x="150" y="468"/>
                  <a:pt x="150" y="468"/>
                </a:cubicBezTo>
                <a:close/>
                <a:moveTo>
                  <a:pt x="152" y="551"/>
                </a:moveTo>
                <a:cubicBezTo>
                  <a:pt x="151" y="551"/>
                  <a:pt x="151" y="551"/>
                  <a:pt x="151" y="551"/>
                </a:cubicBezTo>
                <a:cubicBezTo>
                  <a:pt x="150" y="550"/>
                  <a:pt x="153" y="549"/>
                  <a:pt x="152" y="551"/>
                </a:cubicBezTo>
                <a:close/>
                <a:moveTo>
                  <a:pt x="152" y="540"/>
                </a:moveTo>
                <a:cubicBezTo>
                  <a:pt x="150" y="541"/>
                  <a:pt x="150" y="536"/>
                  <a:pt x="153" y="537"/>
                </a:cubicBezTo>
                <a:cubicBezTo>
                  <a:pt x="154" y="537"/>
                  <a:pt x="153" y="539"/>
                  <a:pt x="152" y="540"/>
                </a:cubicBezTo>
                <a:close/>
                <a:moveTo>
                  <a:pt x="154" y="484"/>
                </a:moveTo>
                <a:cubicBezTo>
                  <a:pt x="153" y="483"/>
                  <a:pt x="155" y="483"/>
                  <a:pt x="155" y="484"/>
                </a:cubicBezTo>
                <a:cubicBezTo>
                  <a:pt x="155" y="484"/>
                  <a:pt x="154" y="485"/>
                  <a:pt x="154" y="484"/>
                </a:cubicBezTo>
                <a:close/>
                <a:moveTo>
                  <a:pt x="158" y="546"/>
                </a:moveTo>
                <a:cubicBezTo>
                  <a:pt x="158" y="546"/>
                  <a:pt x="158" y="547"/>
                  <a:pt x="158" y="547"/>
                </a:cubicBezTo>
                <a:cubicBezTo>
                  <a:pt x="158" y="547"/>
                  <a:pt x="158" y="547"/>
                  <a:pt x="158" y="547"/>
                </a:cubicBezTo>
                <a:cubicBezTo>
                  <a:pt x="157" y="547"/>
                  <a:pt x="155" y="548"/>
                  <a:pt x="154" y="548"/>
                </a:cubicBezTo>
                <a:cubicBezTo>
                  <a:pt x="155" y="546"/>
                  <a:pt x="158" y="546"/>
                  <a:pt x="160" y="545"/>
                </a:cubicBezTo>
                <a:cubicBezTo>
                  <a:pt x="160" y="545"/>
                  <a:pt x="159" y="546"/>
                  <a:pt x="158" y="546"/>
                </a:cubicBezTo>
                <a:close/>
                <a:moveTo>
                  <a:pt x="155" y="544"/>
                </a:moveTo>
                <a:cubicBezTo>
                  <a:pt x="155" y="544"/>
                  <a:pt x="156" y="543"/>
                  <a:pt x="156" y="544"/>
                </a:cubicBezTo>
                <a:cubicBezTo>
                  <a:pt x="156" y="544"/>
                  <a:pt x="155" y="546"/>
                  <a:pt x="155" y="544"/>
                </a:cubicBezTo>
                <a:close/>
                <a:moveTo>
                  <a:pt x="160" y="521"/>
                </a:moveTo>
                <a:cubicBezTo>
                  <a:pt x="151" y="525"/>
                  <a:pt x="154" y="511"/>
                  <a:pt x="161" y="512"/>
                </a:cubicBezTo>
                <a:cubicBezTo>
                  <a:pt x="165" y="513"/>
                  <a:pt x="162" y="520"/>
                  <a:pt x="160" y="521"/>
                </a:cubicBezTo>
                <a:close/>
                <a:moveTo>
                  <a:pt x="162" y="544"/>
                </a:moveTo>
                <a:cubicBezTo>
                  <a:pt x="162" y="545"/>
                  <a:pt x="161" y="545"/>
                  <a:pt x="161" y="545"/>
                </a:cubicBezTo>
                <a:cubicBezTo>
                  <a:pt x="160" y="544"/>
                  <a:pt x="165" y="543"/>
                  <a:pt x="162" y="544"/>
                </a:cubicBezTo>
                <a:close/>
                <a:moveTo>
                  <a:pt x="168" y="525"/>
                </a:moveTo>
                <a:cubicBezTo>
                  <a:pt x="168" y="525"/>
                  <a:pt x="169" y="525"/>
                  <a:pt x="169" y="525"/>
                </a:cubicBezTo>
                <a:cubicBezTo>
                  <a:pt x="169" y="526"/>
                  <a:pt x="168" y="526"/>
                  <a:pt x="168" y="525"/>
                </a:cubicBezTo>
                <a:close/>
                <a:moveTo>
                  <a:pt x="170" y="537"/>
                </a:moveTo>
                <a:cubicBezTo>
                  <a:pt x="168" y="538"/>
                  <a:pt x="168" y="535"/>
                  <a:pt x="170" y="535"/>
                </a:cubicBezTo>
                <a:cubicBezTo>
                  <a:pt x="171" y="536"/>
                  <a:pt x="170" y="536"/>
                  <a:pt x="170" y="537"/>
                </a:cubicBezTo>
                <a:close/>
                <a:moveTo>
                  <a:pt x="172" y="521"/>
                </a:moveTo>
                <a:cubicBezTo>
                  <a:pt x="170" y="522"/>
                  <a:pt x="165" y="524"/>
                  <a:pt x="161" y="525"/>
                </a:cubicBezTo>
                <a:cubicBezTo>
                  <a:pt x="164" y="523"/>
                  <a:pt x="170" y="520"/>
                  <a:pt x="173" y="519"/>
                </a:cubicBezTo>
                <a:cubicBezTo>
                  <a:pt x="172" y="519"/>
                  <a:pt x="175" y="519"/>
                  <a:pt x="175" y="519"/>
                </a:cubicBezTo>
                <a:cubicBezTo>
                  <a:pt x="175" y="520"/>
                  <a:pt x="173" y="520"/>
                  <a:pt x="172" y="521"/>
                </a:cubicBezTo>
                <a:close/>
                <a:moveTo>
                  <a:pt x="176" y="546"/>
                </a:moveTo>
                <a:cubicBezTo>
                  <a:pt x="175" y="547"/>
                  <a:pt x="175" y="547"/>
                  <a:pt x="175" y="546"/>
                </a:cubicBezTo>
                <a:cubicBezTo>
                  <a:pt x="174" y="545"/>
                  <a:pt x="177" y="545"/>
                  <a:pt x="176" y="546"/>
                </a:cubicBezTo>
                <a:close/>
                <a:moveTo>
                  <a:pt x="174" y="497"/>
                </a:moveTo>
                <a:cubicBezTo>
                  <a:pt x="174" y="496"/>
                  <a:pt x="176" y="497"/>
                  <a:pt x="176" y="497"/>
                </a:cubicBezTo>
                <a:cubicBezTo>
                  <a:pt x="176" y="498"/>
                  <a:pt x="174" y="499"/>
                  <a:pt x="174" y="497"/>
                </a:cubicBezTo>
                <a:close/>
                <a:moveTo>
                  <a:pt x="176" y="431"/>
                </a:moveTo>
                <a:cubicBezTo>
                  <a:pt x="176" y="431"/>
                  <a:pt x="176" y="431"/>
                  <a:pt x="176" y="431"/>
                </a:cubicBezTo>
                <a:cubicBezTo>
                  <a:pt x="175" y="433"/>
                  <a:pt x="176" y="429"/>
                  <a:pt x="176" y="431"/>
                </a:cubicBezTo>
                <a:close/>
                <a:moveTo>
                  <a:pt x="176" y="487"/>
                </a:moveTo>
                <a:cubicBezTo>
                  <a:pt x="176" y="485"/>
                  <a:pt x="181" y="484"/>
                  <a:pt x="181" y="486"/>
                </a:cubicBezTo>
                <a:cubicBezTo>
                  <a:pt x="182" y="489"/>
                  <a:pt x="176" y="491"/>
                  <a:pt x="176" y="487"/>
                </a:cubicBezTo>
                <a:close/>
                <a:moveTo>
                  <a:pt x="180" y="543"/>
                </a:moveTo>
                <a:cubicBezTo>
                  <a:pt x="180" y="543"/>
                  <a:pt x="181" y="542"/>
                  <a:pt x="182" y="543"/>
                </a:cubicBezTo>
                <a:cubicBezTo>
                  <a:pt x="182" y="544"/>
                  <a:pt x="180" y="544"/>
                  <a:pt x="180" y="543"/>
                </a:cubicBezTo>
                <a:close/>
                <a:moveTo>
                  <a:pt x="182" y="538"/>
                </a:moveTo>
                <a:cubicBezTo>
                  <a:pt x="181" y="539"/>
                  <a:pt x="182" y="536"/>
                  <a:pt x="183" y="537"/>
                </a:cubicBezTo>
                <a:cubicBezTo>
                  <a:pt x="183" y="537"/>
                  <a:pt x="183" y="538"/>
                  <a:pt x="182" y="538"/>
                </a:cubicBezTo>
                <a:close/>
                <a:moveTo>
                  <a:pt x="183" y="485"/>
                </a:moveTo>
                <a:cubicBezTo>
                  <a:pt x="183" y="484"/>
                  <a:pt x="181" y="483"/>
                  <a:pt x="181" y="482"/>
                </a:cubicBezTo>
                <a:cubicBezTo>
                  <a:pt x="182" y="480"/>
                  <a:pt x="183" y="482"/>
                  <a:pt x="184" y="481"/>
                </a:cubicBezTo>
                <a:cubicBezTo>
                  <a:pt x="186" y="479"/>
                  <a:pt x="186" y="475"/>
                  <a:pt x="189" y="472"/>
                </a:cubicBezTo>
                <a:cubicBezTo>
                  <a:pt x="188" y="476"/>
                  <a:pt x="185" y="481"/>
                  <a:pt x="183" y="485"/>
                </a:cubicBezTo>
                <a:close/>
                <a:moveTo>
                  <a:pt x="186" y="544"/>
                </a:moveTo>
                <a:cubicBezTo>
                  <a:pt x="184" y="546"/>
                  <a:pt x="184" y="543"/>
                  <a:pt x="186" y="544"/>
                </a:cubicBezTo>
                <a:close/>
                <a:moveTo>
                  <a:pt x="185" y="507"/>
                </a:moveTo>
                <a:cubicBezTo>
                  <a:pt x="183" y="504"/>
                  <a:pt x="190" y="504"/>
                  <a:pt x="187" y="507"/>
                </a:cubicBezTo>
                <a:cubicBezTo>
                  <a:pt x="187" y="507"/>
                  <a:pt x="186" y="507"/>
                  <a:pt x="185" y="507"/>
                </a:cubicBezTo>
                <a:close/>
                <a:moveTo>
                  <a:pt x="189" y="542"/>
                </a:moveTo>
                <a:cubicBezTo>
                  <a:pt x="189" y="542"/>
                  <a:pt x="190" y="541"/>
                  <a:pt x="190" y="541"/>
                </a:cubicBezTo>
                <a:cubicBezTo>
                  <a:pt x="191" y="541"/>
                  <a:pt x="190" y="541"/>
                  <a:pt x="189" y="542"/>
                </a:cubicBezTo>
                <a:close/>
                <a:moveTo>
                  <a:pt x="193" y="537"/>
                </a:moveTo>
                <a:cubicBezTo>
                  <a:pt x="193" y="537"/>
                  <a:pt x="193" y="538"/>
                  <a:pt x="193" y="538"/>
                </a:cubicBezTo>
                <a:cubicBezTo>
                  <a:pt x="191" y="539"/>
                  <a:pt x="193" y="535"/>
                  <a:pt x="193" y="537"/>
                </a:cubicBezTo>
                <a:close/>
                <a:moveTo>
                  <a:pt x="188" y="542"/>
                </a:moveTo>
                <a:cubicBezTo>
                  <a:pt x="188" y="540"/>
                  <a:pt x="191" y="536"/>
                  <a:pt x="193" y="535"/>
                </a:cubicBezTo>
                <a:cubicBezTo>
                  <a:pt x="191" y="537"/>
                  <a:pt x="190" y="540"/>
                  <a:pt x="188" y="542"/>
                </a:cubicBezTo>
                <a:close/>
                <a:moveTo>
                  <a:pt x="190" y="499"/>
                </a:moveTo>
                <a:cubicBezTo>
                  <a:pt x="191" y="498"/>
                  <a:pt x="192" y="497"/>
                  <a:pt x="194" y="497"/>
                </a:cubicBezTo>
                <a:cubicBezTo>
                  <a:pt x="193" y="498"/>
                  <a:pt x="192" y="499"/>
                  <a:pt x="190" y="499"/>
                </a:cubicBezTo>
                <a:close/>
                <a:moveTo>
                  <a:pt x="194" y="533"/>
                </a:moveTo>
                <a:cubicBezTo>
                  <a:pt x="193" y="533"/>
                  <a:pt x="195" y="531"/>
                  <a:pt x="195" y="531"/>
                </a:cubicBezTo>
                <a:cubicBezTo>
                  <a:pt x="196" y="531"/>
                  <a:pt x="194" y="533"/>
                  <a:pt x="194" y="533"/>
                </a:cubicBezTo>
                <a:close/>
                <a:moveTo>
                  <a:pt x="194" y="497"/>
                </a:moveTo>
                <a:cubicBezTo>
                  <a:pt x="194" y="497"/>
                  <a:pt x="194" y="497"/>
                  <a:pt x="194" y="497"/>
                </a:cubicBezTo>
                <a:close/>
                <a:moveTo>
                  <a:pt x="195" y="497"/>
                </a:move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7"/>
                </a:cubicBezTo>
                <a:close/>
                <a:moveTo>
                  <a:pt x="189" y="398"/>
                </a:moveTo>
                <a:cubicBezTo>
                  <a:pt x="192" y="394"/>
                  <a:pt x="196" y="392"/>
                  <a:pt x="201" y="389"/>
                </a:cubicBezTo>
                <a:cubicBezTo>
                  <a:pt x="198" y="392"/>
                  <a:pt x="192" y="395"/>
                  <a:pt x="189" y="398"/>
                </a:cubicBezTo>
                <a:close/>
                <a:moveTo>
                  <a:pt x="196" y="530"/>
                </a:moveTo>
                <a:cubicBezTo>
                  <a:pt x="196" y="531"/>
                  <a:pt x="195" y="529"/>
                  <a:pt x="196" y="530"/>
                </a:cubicBezTo>
                <a:close/>
                <a:moveTo>
                  <a:pt x="198" y="514"/>
                </a:moveTo>
                <a:cubicBezTo>
                  <a:pt x="198" y="514"/>
                  <a:pt x="198" y="515"/>
                  <a:pt x="197" y="515"/>
                </a:cubicBezTo>
                <a:cubicBezTo>
                  <a:pt x="196" y="516"/>
                  <a:pt x="197" y="513"/>
                  <a:pt x="198" y="514"/>
                </a:cubicBezTo>
                <a:close/>
                <a:moveTo>
                  <a:pt x="198" y="558"/>
                </a:moveTo>
                <a:cubicBezTo>
                  <a:pt x="198" y="556"/>
                  <a:pt x="204" y="555"/>
                  <a:pt x="204" y="558"/>
                </a:cubicBezTo>
                <a:cubicBezTo>
                  <a:pt x="205" y="561"/>
                  <a:pt x="197" y="562"/>
                  <a:pt x="198" y="558"/>
                </a:cubicBezTo>
                <a:close/>
                <a:moveTo>
                  <a:pt x="204" y="554"/>
                </a:moveTo>
                <a:cubicBezTo>
                  <a:pt x="205" y="554"/>
                  <a:pt x="206" y="553"/>
                  <a:pt x="207" y="553"/>
                </a:cubicBezTo>
                <a:cubicBezTo>
                  <a:pt x="207" y="554"/>
                  <a:pt x="204" y="555"/>
                  <a:pt x="204" y="554"/>
                </a:cubicBezTo>
                <a:close/>
                <a:moveTo>
                  <a:pt x="203" y="542"/>
                </a:moveTo>
                <a:cubicBezTo>
                  <a:pt x="200" y="539"/>
                  <a:pt x="203" y="534"/>
                  <a:pt x="205" y="533"/>
                </a:cubicBezTo>
                <a:cubicBezTo>
                  <a:pt x="207" y="532"/>
                  <a:pt x="210" y="533"/>
                  <a:pt x="211" y="532"/>
                </a:cubicBezTo>
                <a:cubicBezTo>
                  <a:pt x="215" y="532"/>
                  <a:pt x="213" y="532"/>
                  <a:pt x="215" y="534"/>
                </a:cubicBezTo>
                <a:cubicBezTo>
                  <a:pt x="217" y="537"/>
                  <a:pt x="216" y="541"/>
                  <a:pt x="213" y="540"/>
                </a:cubicBezTo>
                <a:cubicBezTo>
                  <a:pt x="214" y="535"/>
                  <a:pt x="211" y="542"/>
                  <a:pt x="210" y="543"/>
                </a:cubicBezTo>
                <a:cubicBezTo>
                  <a:pt x="209" y="543"/>
                  <a:pt x="204" y="543"/>
                  <a:pt x="203" y="542"/>
                </a:cubicBezTo>
                <a:close/>
                <a:moveTo>
                  <a:pt x="213" y="545"/>
                </a:moveTo>
                <a:cubicBezTo>
                  <a:pt x="213" y="544"/>
                  <a:pt x="216" y="545"/>
                  <a:pt x="215" y="546"/>
                </a:cubicBezTo>
                <a:cubicBezTo>
                  <a:pt x="215" y="546"/>
                  <a:pt x="214" y="546"/>
                  <a:pt x="213" y="545"/>
                </a:cubicBezTo>
                <a:close/>
                <a:moveTo>
                  <a:pt x="215" y="609"/>
                </a:moveTo>
                <a:cubicBezTo>
                  <a:pt x="215" y="609"/>
                  <a:pt x="215" y="609"/>
                  <a:pt x="215" y="609"/>
                </a:cubicBezTo>
                <a:cubicBezTo>
                  <a:pt x="214" y="607"/>
                  <a:pt x="217" y="611"/>
                  <a:pt x="215" y="609"/>
                </a:cubicBezTo>
                <a:close/>
                <a:moveTo>
                  <a:pt x="214" y="557"/>
                </a:moveTo>
                <a:cubicBezTo>
                  <a:pt x="214" y="556"/>
                  <a:pt x="216" y="555"/>
                  <a:pt x="217" y="556"/>
                </a:cubicBezTo>
                <a:cubicBezTo>
                  <a:pt x="217" y="558"/>
                  <a:pt x="214" y="557"/>
                  <a:pt x="214" y="557"/>
                </a:cubicBezTo>
                <a:close/>
                <a:moveTo>
                  <a:pt x="209" y="544"/>
                </a:moveTo>
                <a:cubicBezTo>
                  <a:pt x="210" y="544"/>
                  <a:pt x="217" y="540"/>
                  <a:pt x="217" y="542"/>
                </a:cubicBezTo>
                <a:cubicBezTo>
                  <a:pt x="217" y="543"/>
                  <a:pt x="211" y="545"/>
                  <a:pt x="209" y="544"/>
                </a:cubicBezTo>
                <a:close/>
                <a:moveTo>
                  <a:pt x="216" y="527"/>
                </a:moveTo>
                <a:cubicBezTo>
                  <a:pt x="216" y="526"/>
                  <a:pt x="216" y="526"/>
                  <a:pt x="216" y="526"/>
                </a:cubicBezTo>
                <a:cubicBezTo>
                  <a:pt x="217" y="525"/>
                  <a:pt x="217" y="527"/>
                  <a:pt x="216" y="527"/>
                </a:cubicBezTo>
                <a:close/>
                <a:moveTo>
                  <a:pt x="217" y="615"/>
                </a:moveTo>
                <a:cubicBezTo>
                  <a:pt x="216" y="614"/>
                  <a:pt x="218" y="613"/>
                  <a:pt x="218" y="614"/>
                </a:cubicBezTo>
                <a:cubicBezTo>
                  <a:pt x="218" y="614"/>
                  <a:pt x="217" y="614"/>
                  <a:pt x="217" y="615"/>
                </a:cubicBezTo>
                <a:close/>
                <a:moveTo>
                  <a:pt x="219" y="542"/>
                </a:moveTo>
                <a:cubicBezTo>
                  <a:pt x="216" y="544"/>
                  <a:pt x="217" y="538"/>
                  <a:pt x="219" y="539"/>
                </a:cubicBezTo>
                <a:cubicBezTo>
                  <a:pt x="221" y="540"/>
                  <a:pt x="219" y="542"/>
                  <a:pt x="219" y="542"/>
                </a:cubicBezTo>
                <a:close/>
                <a:moveTo>
                  <a:pt x="219" y="567"/>
                </a:moveTo>
                <a:cubicBezTo>
                  <a:pt x="219" y="566"/>
                  <a:pt x="220" y="566"/>
                  <a:pt x="221" y="566"/>
                </a:cubicBezTo>
                <a:cubicBezTo>
                  <a:pt x="220" y="567"/>
                  <a:pt x="220" y="567"/>
                  <a:pt x="219" y="567"/>
                </a:cubicBezTo>
                <a:close/>
                <a:moveTo>
                  <a:pt x="222" y="589"/>
                </a:moveTo>
                <a:cubicBezTo>
                  <a:pt x="222" y="589"/>
                  <a:pt x="221" y="589"/>
                  <a:pt x="220" y="589"/>
                </a:cubicBezTo>
                <a:cubicBezTo>
                  <a:pt x="220" y="589"/>
                  <a:pt x="222" y="588"/>
                  <a:pt x="222" y="589"/>
                </a:cubicBezTo>
                <a:close/>
                <a:moveTo>
                  <a:pt x="221" y="615"/>
                </a:moveTo>
                <a:cubicBezTo>
                  <a:pt x="221" y="614"/>
                  <a:pt x="222" y="614"/>
                  <a:pt x="223" y="614"/>
                </a:cubicBezTo>
                <a:cubicBezTo>
                  <a:pt x="222" y="615"/>
                  <a:pt x="221" y="614"/>
                  <a:pt x="221" y="615"/>
                </a:cubicBezTo>
                <a:close/>
                <a:moveTo>
                  <a:pt x="223" y="565"/>
                </a:moveTo>
                <a:cubicBezTo>
                  <a:pt x="223" y="565"/>
                  <a:pt x="223" y="565"/>
                  <a:pt x="223" y="566"/>
                </a:cubicBezTo>
                <a:cubicBezTo>
                  <a:pt x="223" y="566"/>
                  <a:pt x="223" y="566"/>
                  <a:pt x="223" y="566"/>
                </a:cubicBezTo>
                <a:cubicBezTo>
                  <a:pt x="223" y="567"/>
                  <a:pt x="223" y="566"/>
                  <a:pt x="223" y="566"/>
                </a:cubicBezTo>
                <a:cubicBezTo>
                  <a:pt x="223" y="565"/>
                  <a:pt x="223" y="565"/>
                  <a:pt x="223" y="565"/>
                </a:cubicBezTo>
                <a:close/>
                <a:moveTo>
                  <a:pt x="223" y="571"/>
                </a:moveTo>
                <a:cubicBezTo>
                  <a:pt x="223" y="569"/>
                  <a:pt x="227" y="570"/>
                  <a:pt x="226" y="571"/>
                </a:cubicBezTo>
                <a:cubicBezTo>
                  <a:pt x="226" y="572"/>
                  <a:pt x="223" y="572"/>
                  <a:pt x="223" y="571"/>
                </a:cubicBezTo>
                <a:close/>
                <a:moveTo>
                  <a:pt x="226" y="582"/>
                </a:moveTo>
                <a:cubicBezTo>
                  <a:pt x="226" y="581"/>
                  <a:pt x="226" y="583"/>
                  <a:pt x="226" y="582"/>
                </a:cubicBezTo>
                <a:close/>
                <a:moveTo>
                  <a:pt x="227" y="608"/>
                </a:moveTo>
                <a:cubicBezTo>
                  <a:pt x="227" y="608"/>
                  <a:pt x="225" y="608"/>
                  <a:pt x="224" y="607"/>
                </a:cubicBezTo>
                <a:cubicBezTo>
                  <a:pt x="224" y="606"/>
                  <a:pt x="228" y="607"/>
                  <a:pt x="227" y="608"/>
                </a:cubicBezTo>
                <a:close/>
                <a:moveTo>
                  <a:pt x="226" y="578"/>
                </a:moveTo>
                <a:cubicBezTo>
                  <a:pt x="226" y="578"/>
                  <a:pt x="227" y="577"/>
                  <a:pt x="227" y="578"/>
                </a:cubicBezTo>
                <a:cubicBezTo>
                  <a:pt x="227" y="578"/>
                  <a:pt x="226" y="578"/>
                  <a:pt x="226" y="578"/>
                </a:cubicBezTo>
                <a:close/>
                <a:moveTo>
                  <a:pt x="236" y="538"/>
                </a:moveTo>
                <a:cubicBezTo>
                  <a:pt x="237" y="537"/>
                  <a:pt x="238" y="536"/>
                  <a:pt x="239" y="537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40" y="538"/>
                  <a:pt x="239" y="539"/>
                  <a:pt x="239" y="539"/>
                </a:cubicBezTo>
                <a:cubicBezTo>
                  <a:pt x="238" y="540"/>
                  <a:pt x="237" y="539"/>
                  <a:pt x="237" y="539"/>
                </a:cubicBezTo>
                <a:cubicBezTo>
                  <a:pt x="236" y="539"/>
                  <a:pt x="236" y="538"/>
                  <a:pt x="235" y="539"/>
                </a:cubicBezTo>
                <a:cubicBezTo>
                  <a:pt x="234" y="539"/>
                  <a:pt x="228" y="544"/>
                  <a:pt x="227" y="543"/>
                </a:cubicBezTo>
                <a:cubicBezTo>
                  <a:pt x="226" y="541"/>
                  <a:pt x="235" y="538"/>
                  <a:pt x="236" y="538"/>
                </a:cubicBezTo>
                <a:close/>
                <a:moveTo>
                  <a:pt x="235" y="592"/>
                </a:moveTo>
                <a:cubicBezTo>
                  <a:pt x="235" y="592"/>
                  <a:pt x="234" y="593"/>
                  <a:pt x="234" y="592"/>
                </a:cubicBezTo>
                <a:cubicBezTo>
                  <a:pt x="233" y="592"/>
                  <a:pt x="235" y="591"/>
                  <a:pt x="235" y="592"/>
                </a:cubicBezTo>
                <a:close/>
                <a:moveTo>
                  <a:pt x="233" y="585"/>
                </a:moveTo>
                <a:cubicBezTo>
                  <a:pt x="233" y="585"/>
                  <a:pt x="234" y="583"/>
                  <a:pt x="235" y="584"/>
                </a:cubicBezTo>
                <a:cubicBezTo>
                  <a:pt x="235" y="585"/>
                  <a:pt x="233" y="586"/>
                  <a:pt x="233" y="585"/>
                </a:cubicBezTo>
                <a:close/>
                <a:moveTo>
                  <a:pt x="228" y="573"/>
                </a:moveTo>
                <a:cubicBezTo>
                  <a:pt x="228" y="571"/>
                  <a:pt x="230" y="572"/>
                  <a:pt x="228" y="573"/>
                </a:cubicBezTo>
                <a:close/>
                <a:moveTo>
                  <a:pt x="229" y="580"/>
                </a:moveTo>
                <a:cubicBezTo>
                  <a:pt x="229" y="581"/>
                  <a:pt x="228" y="581"/>
                  <a:pt x="228" y="581"/>
                </a:cubicBezTo>
                <a:cubicBezTo>
                  <a:pt x="227" y="579"/>
                  <a:pt x="230" y="579"/>
                  <a:pt x="229" y="580"/>
                </a:cubicBezTo>
                <a:close/>
                <a:moveTo>
                  <a:pt x="231" y="599"/>
                </a:moveTo>
                <a:cubicBezTo>
                  <a:pt x="231" y="599"/>
                  <a:pt x="233" y="598"/>
                  <a:pt x="233" y="599"/>
                </a:cubicBezTo>
                <a:cubicBezTo>
                  <a:pt x="233" y="600"/>
                  <a:pt x="231" y="601"/>
                  <a:pt x="231" y="599"/>
                </a:cubicBezTo>
                <a:close/>
                <a:moveTo>
                  <a:pt x="236" y="624"/>
                </a:moveTo>
                <a:cubicBezTo>
                  <a:pt x="236" y="624"/>
                  <a:pt x="237" y="623"/>
                  <a:pt x="237" y="623"/>
                </a:cubicBezTo>
                <a:cubicBezTo>
                  <a:pt x="237" y="623"/>
                  <a:pt x="237" y="624"/>
                  <a:pt x="236" y="624"/>
                </a:cubicBezTo>
                <a:close/>
                <a:moveTo>
                  <a:pt x="232" y="618"/>
                </a:moveTo>
                <a:cubicBezTo>
                  <a:pt x="233" y="616"/>
                  <a:pt x="237" y="616"/>
                  <a:pt x="239" y="615"/>
                </a:cubicBezTo>
                <a:cubicBezTo>
                  <a:pt x="237" y="617"/>
                  <a:pt x="234" y="617"/>
                  <a:pt x="232" y="618"/>
                </a:cubicBezTo>
                <a:close/>
                <a:moveTo>
                  <a:pt x="238" y="665"/>
                </a:moveTo>
                <a:cubicBezTo>
                  <a:pt x="238" y="664"/>
                  <a:pt x="239" y="665"/>
                  <a:pt x="240" y="665"/>
                </a:cubicBezTo>
                <a:cubicBezTo>
                  <a:pt x="240" y="666"/>
                  <a:pt x="239" y="665"/>
                  <a:pt x="238" y="665"/>
                </a:cubicBezTo>
                <a:close/>
                <a:moveTo>
                  <a:pt x="240" y="664"/>
                </a:moveTo>
                <a:cubicBezTo>
                  <a:pt x="240" y="664"/>
                  <a:pt x="239" y="663"/>
                  <a:pt x="239" y="663"/>
                </a:cubicBezTo>
                <a:cubicBezTo>
                  <a:pt x="239" y="662"/>
                  <a:pt x="241" y="663"/>
                  <a:pt x="240" y="664"/>
                </a:cubicBezTo>
                <a:close/>
                <a:moveTo>
                  <a:pt x="251" y="679"/>
                </a:moveTo>
                <a:cubicBezTo>
                  <a:pt x="249" y="681"/>
                  <a:pt x="247" y="678"/>
                  <a:pt x="244" y="678"/>
                </a:cubicBezTo>
                <a:cubicBezTo>
                  <a:pt x="242" y="678"/>
                  <a:pt x="238" y="679"/>
                  <a:pt x="237" y="677"/>
                </a:cubicBezTo>
                <a:cubicBezTo>
                  <a:pt x="237" y="676"/>
                  <a:pt x="243" y="677"/>
                  <a:pt x="243" y="677"/>
                </a:cubicBezTo>
                <a:cubicBezTo>
                  <a:pt x="243" y="676"/>
                  <a:pt x="241" y="672"/>
                  <a:pt x="241" y="672"/>
                </a:cubicBezTo>
                <a:cubicBezTo>
                  <a:pt x="240" y="664"/>
                  <a:pt x="252" y="669"/>
                  <a:pt x="255" y="671"/>
                </a:cubicBezTo>
                <a:cubicBezTo>
                  <a:pt x="259" y="674"/>
                  <a:pt x="250" y="671"/>
                  <a:pt x="253" y="676"/>
                </a:cubicBezTo>
                <a:cubicBezTo>
                  <a:pt x="250" y="674"/>
                  <a:pt x="251" y="679"/>
                  <a:pt x="251" y="679"/>
                </a:cubicBezTo>
                <a:close/>
                <a:moveTo>
                  <a:pt x="254" y="687"/>
                </a:moveTo>
                <a:cubicBezTo>
                  <a:pt x="254" y="686"/>
                  <a:pt x="254" y="685"/>
                  <a:pt x="255" y="686"/>
                </a:cubicBezTo>
                <a:cubicBezTo>
                  <a:pt x="257" y="686"/>
                  <a:pt x="254" y="689"/>
                  <a:pt x="254" y="687"/>
                </a:cubicBezTo>
                <a:close/>
                <a:moveTo>
                  <a:pt x="254" y="690"/>
                </a:moveTo>
                <a:cubicBezTo>
                  <a:pt x="255" y="689"/>
                  <a:pt x="256" y="689"/>
                  <a:pt x="258" y="689"/>
                </a:cubicBezTo>
                <a:cubicBezTo>
                  <a:pt x="257" y="690"/>
                  <a:pt x="255" y="690"/>
                  <a:pt x="254" y="690"/>
                </a:cubicBezTo>
                <a:close/>
                <a:moveTo>
                  <a:pt x="257" y="690"/>
                </a:moveTo>
                <a:cubicBezTo>
                  <a:pt x="257" y="689"/>
                  <a:pt x="258" y="689"/>
                  <a:pt x="258" y="690"/>
                </a:cubicBezTo>
                <a:cubicBezTo>
                  <a:pt x="258" y="689"/>
                  <a:pt x="258" y="691"/>
                  <a:pt x="257" y="690"/>
                </a:cubicBezTo>
                <a:close/>
                <a:moveTo>
                  <a:pt x="259" y="689"/>
                </a:moveTo>
                <a:cubicBezTo>
                  <a:pt x="258" y="689"/>
                  <a:pt x="261" y="689"/>
                  <a:pt x="259" y="689"/>
                </a:cubicBezTo>
                <a:close/>
                <a:moveTo>
                  <a:pt x="260" y="660"/>
                </a:moveTo>
                <a:cubicBezTo>
                  <a:pt x="259" y="660"/>
                  <a:pt x="259" y="659"/>
                  <a:pt x="260" y="660"/>
                </a:cubicBezTo>
                <a:close/>
                <a:moveTo>
                  <a:pt x="261" y="631"/>
                </a:moveTo>
                <a:cubicBezTo>
                  <a:pt x="260" y="631"/>
                  <a:pt x="261" y="630"/>
                  <a:pt x="261" y="630"/>
                </a:cubicBezTo>
                <a:cubicBezTo>
                  <a:pt x="262" y="630"/>
                  <a:pt x="261" y="631"/>
                  <a:pt x="261" y="631"/>
                </a:cubicBezTo>
                <a:close/>
                <a:moveTo>
                  <a:pt x="263" y="682"/>
                </a:moveTo>
                <a:cubicBezTo>
                  <a:pt x="263" y="681"/>
                  <a:pt x="265" y="681"/>
                  <a:pt x="265" y="682"/>
                </a:cubicBezTo>
                <a:cubicBezTo>
                  <a:pt x="266" y="682"/>
                  <a:pt x="263" y="683"/>
                  <a:pt x="263" y="682"/>
                </a:cubicBezTo>
                <a:close/>
                <a:moveTo>
                  <a:pt x="264" y="690"/>
                </a:moveTo>
                <a:cubicBezTo>
                  <a:pt x="263" y="689"/>
                  <a:pt x="265" y="690"/>
                  <a:pt x="265" y="690"/>
                </a:cubicBezTo>
                <a:cubicBezTo>
                  <a:pt x="265" y="691"/>
                  <a:pt x="264" y="691"/>
                  <a:pt x="264" y="690"/>
                </a:cubicBezTo>
                <a:close/>
                <a:moveTo>
                  <a:pt x="265" y="694"/>
                </a:moveTo>
                <a:cubicBezTo>
                  <a:pt x="266" y="694"/>
                  <a:pt x="266" y="694"/>
                  <a:pt x="267" y="694"/>
                </a:cubicBezTo>
                <a:cubicBezTo>
                  <a:pt x="266" y="695"/>
                  <a:pt x="266" y="695"/>
                  <a:pt x="265" y="694"/>
                </a:cubicBezTo>
                <a:close/>
                <a:moveTo>
                  <a:pt x="263" y="667"/>
                </a:moveTo>
                <a:cubicBezTo>
                  <a:pt x="264" y="666"/>
                  <a:pt x="273" y="668"/>
                  <a:pt x="273" y="668"/>
                </a:cubicBezTo>
                <a:cubicBezTo>
                  <a:pt x="272" y="669"/>
                  <a:pt x="265" y="667"/>
                  <a:pt x="263" y="667"/>
                </a:cubicBezTo>
                <a:close/>
                <a:moveTo>
                  <a:pt x="270" y="681"/>
                </a:moveTo>
                <a:cubicBezTo>
                  <a:pt x="269" y="683"/>
                  <a:pt x="268" y="680"/>
                  <a:pt x="270" y="681"/>
                </a:cubicBezTo>
                <a:close/>
                <a:moveTo>
                  <a:pt x="268" y="696"/>
                </a:moveTo>
                <a:cubicBezTo>
                  <a:pt x="268" y="695"/>
                  <a:pt x="269" y="695"/>
                  <a:pt x="269" y="695"/>
                </a:cubicBezTo>
                <a:cubicBezTo>
                  <a:pt x="270" y="695"/>
                  <a:pt x="269" y="696"/>
                  <a:pt x="268" y="696"/>
                </a:cubicBezTo>
                <a:close/>
                <a:moveTo>
                  <a:pt x="269" y="689"/>
                </a:moveTo>
                <a:cubicBezTo>
                  <a:pt x="268" y="688"/>
                  <a:pt x="270" y="688"/>
                  <a:pt x="270" y="688"/>
                </a:cubicBezTo>
                <a:cubicBezTo>
                  <a:pt x="270" y="689"/>
                  <a:pt x="269" y="689"/>
                  <a:pt x="269" y="689"/>
                </a:cubicBezTo>
                <a:close/>
                <a:moveTo>
                  <a:pt x="269" y="673"/>
                </a:moveTo>
                <a:cubicBezTo>
                  <a:pt x="269" y="671"/>
                  <a:pt x="274" y="673"/>
                  <a:pt x="273" y="674"/>
                </a:cubicBezTo>
                <a:cubicBezTo>
                  <a:pt x="273" y="676"/>
                  <a:pt x="268" y="676"/>
                  <a:pt x="269" y="673"/>
                </a:cubicBezTo>
                <a:close/>
                <a:moveTo>
                  <a:pt x="272" y="683"/>
                </a:moveTo>
                <a:cubicBezTo>
                  <a:pt x="271" y="681"/>
                  <a:pt x="276" y="682"/>
                  <a:pt x="276" y="683"/>
                </a:cubicBezTo>
                <a:cubicBezTo>
                  <a:pt x="277" y="685"/>
                  <a:pt x="272" y="686"/>
                  <a:pt x="272" y="683"/>
                </a:cubicBezTo>
                <a:close/>
                <a:moveTo>
                  <a:pt x="275" y="696"/>
                </a:moveTo>
                <a:cubicBezTo>
                  <a:pt x="275" y="696"/>
                  <a:pt x="274" y="696"/>
                  <a:pt x="274" y="696"/>
                </a:cubicBezTo>
                <a:cubicBezTo>
                  <a:pt x="274" y="694"/>
                  <a:pt x="277" y="698"/>
                  <a:pt x="275" y="696"/>
                </a:cubicBezTo>
                <a:close/>
                <a:moveTo>
                  <a:pt x="274" y="701"/>
                </a:moveTo>
                <a:cubicBezTo>
                  <a:pt x="274" y="699"/>
                  <a:pt x="277" y="699"/>
                  <a:pt x="277" y="700"/>
                </a:cubicBezTo>
                <a:cubicBezTo>
                  <a:pt x="278" y="701"/>
                  <a:pt x="274" y="701"/>
                  <a:pt x="274" y="701"/>
                </a:cubicBezTo>
                <a:close/>
                <a:moveTo>
                  <a:pt x="282" y="681"/>
                </a:moveTo>
                <a:cubicBezTo>
                  <a:pt x="284" y="680"/>
                  <a:pt x="289" y="680"/>
                  <a:pt x="291" y="681"/>
                </a:cubicBezTo>
                <a:cubicBezTo>
                  <a:pt x="292" y="682"/>
                  <a:pt x="291" y="684"/>
                  <a:pt x="290" y="683"/>
                </a:cubicBezTo>
                <a:cubicBezTo>
                  <a:pt x="289" y="683"/>
                  <a:pt x="289" y="682"/>
                  <a:pt x="289" y="682"/>
                </a:cubicBezTo>
                <a:cubicBezTo>
                  <a:pt x="288" y="681"/>
                  <a:pt x="287" y="683"/>
                  <a:pt x="287" y="683"/>
                </a:cubicBezTo>
                <a:cubicBezTo>
                  <a:pt x="287" y="684"/>
                  <a:pt x="288" y="684"/>
                  <a:pt x="288" y="685"/>
                </a:cubicBezTo>
                <a:cubicBezTo>
                  <a:pt x="289" y="684"/>
                  <a:pt x="289" y="685"/>
                  <a:pt x="288" y="685"/>
                </a:cubicBezTo>
                <a:cubicBezTo>
                  <a:pt x="287" y="686"/>
                  <a:pt x="286" y="685"/>
                  <a:pt x="286" y="685"/>
                </a:cubicBezTo>
                <a:cubicBezTo>
                  <a:pt x="285" y="685"/>
                  <a:pt x="284" y="686"/>
                  <a:pt x="283" y="685"/>
                </a:cubicBezTo>
                <a:cubicBezTo>
                  <a:pt x="282" y="685"/>
                  <a:pt x="278" y="682"/>
                  <a:pt x="282" y="681"/>
                </a:cubicBezTo>
                <a:close/>
                <a:moveTo>
                  <a:pt x="291" y="693"/>
                </a:moveTo>
                <a:cubicBezTo>
                  <a:pt x="290" y="694"/>
                  <a:pt x="288" y="696"/>
                  <a:pt x="287" y="694"/>
                </a:cubicBezTo>
                <a:cubicBezTo>
                  <a:pt x="285" y="693"/>
                  <a:pt x="290" y="692"/>
                  <a:pt x="291" y="693"/>
                </a:cubicBezTo>
                <a:close/>
                <a:moveTo>
                  <a:pt x="289" y="706"/>
                </a:moveTo>
                <a:cubicBezTo>
                  <a:pt x="290" y="707"/>
                  <a:pt x="288" y="706"/>
                  <a:pt x="289" y="706"/>
                </a:cubicBezTo>
                <a:close/>
                <a:moveTo>
                  <a:pt x="292" y="708"/>
                </a:moveTo>
                <a:cubicBezTo>
                  <a:pt x="291" y="707"/>
                  <a:pt x="292" y="708"/>
                  <a:pt x="293" y="708"/>
                </a:cubicBezTo>
                <a:cubicBezTo>
                  <a:pt x="293" y="708"/>
                  <a:pt x="292" y="708"/>
                  <a:pt x="292" y="708"/>
                </a:cubicBezTo>
                <a:close/>
                <a:moveTo>
                  <a:pt x="304" y="701"/>
                </a:moveTo>
                <a:cubicBezTo>
                  <a:pt x="299" y="701"/>
                  <a:pt x="295" y="701"/>
                  <a:pt x="290" y="702"/>
                </a:cubicBezTo>
                <a:cubicBezTo>
                  <a:pt x="289" y="702"/>
                  <a:pt x="282" y="702"/>
                  <a:pt x="282" y="700"/>
                </a:cubicBezTo>
                <a:cubicBezTo>
                  <a:pt x="281" y="699"/>
                  <a:pt x="290" y="699"/>
                  <a:pt x="292" y="700"/>
                </a:cubicBezTo>
                <a:cubicBezTo>
                  <a:pt x="296" y="700"/>
                  <a:pt x="299" y="700"/>
                  <a:pt x="301" y="699"/>
                </a:cubicBezTo>
                <a:cubicBezTo>
                  <a:pt x="299" y="699"/>
                  <a:pt x="297" y="697"/>
                  <a:pt x="297" y="695"/>
                </a:cubicBezTo>
                <a:cubicBezTo>
                  <a:pt x="299" y="690"/>
                  <a:pt x="306" y="693"/>
                  <a:pt x="309" y="695"/>
                </a:cubicBezTo>
                <a:cubicBezTo>
                  <a:pt x="309" y="695"/>
                  <a:pt x="309" y="696"/>
                  <a:pt x="310" y="696"/>
                </a:cubicBezTo>
                <a:cubicBezTo>
                  <a:pt x="310" y="697"/>
                  <a:pt x="307" y="699"/>
                  <a:pt x="305" y="699"/>
                </a:cubicBezTo>
                <a:cubicBezTo>
                  <a:pt x="306" y="699"/>
                  <a:pt x="307" y="699"/>
                  <a:pt x="309" y="700"/>
                </a:cubicBezTo>
                <a:cubicBezTo>
                  <a:pt x="313" y="700"/>
                  <a:pt x="305" y="701"/>
                  <a:pt x="304" y="701"/>
                </a:cubicBezTo>
                <a:close/>
                <a:moveTo>
                  <a:pt x="308" y="684"/>
                </a:moveTo>
                <a:cubicBezTo>
                  <a:pt x="309" y="683"/>
                  <a:pt x="312" y="683"/>
                  <a:pt x="314" y="683"/>
                </a:cubicBezTo>
                <a:cubicBezTo>
                  <a:pt x="312" y="684"/>
                  <a:pt x="310" y="684"/>
                  <a:pt x="308" y="684"/>
                </a:cubicBezTo>
                <a:close/>
                <a:moveTo>
                  <a:pt x="313" y="612"/>
                </a:moveTo>
                <a:cubicBezTo>
                  <a:pt x="314" y="612"/>
                  <a:pt x="309" y="616"/>
                  <a:pt x="308" y="614"/>
                </a:cubicBezTo>
                <a:cubicBezTo>
                  <a:pt x="307" y="612"/>
                  <a:pt x="313" y="611"/>
                  <a:pt x="313" y="612"/>
                </a:cubicBezTo>
                <a:close/>
                <a:moveTo>
                  <a:pt x="313" y="683"/>
                </a:moveTo>
                <a:cubicBezTo>
                  <a:pt x="312" y="682"/>
                  <a:pt x="314" y="681"/>
                  <a:pt x="314" y="682"/>
                </a:cubicBezTo>
                <a:cubicBezTo>
                  <a:pt x="314" y="682"/>
                  <a:pt x="313" y="683"/>
                  <a:pt x="313" y="683"/>
                </a:cubicBezTo>
                <a:close/>
                <a:moveTo>
                  <a:pt x="313" y="589"/>
                </a:moveTo>
                <a:cubicBezTo>
                  <a:pt x="311" y="590"/>
                  <a:pt x="308" y="592"/>
                  <a:pt x="307" y="592"/>
                </a:cubicBezTo>
                <a:cubicBezTo>
                  <a:pt x="304" y="593"/>
                  <a:pt x="309" y="590"/>
                  <a:pt x="309" y="590"/>
                </a:cubicBezTo>
                <a:cubicBezTo>
                  <a:pt x="310" y="590"/>
                  <a:pt x="312" y="589"/>
                  <a:pt x="313" y="589"/>
                </a:cubicBezTo>
                <a:cubicBezTo>
                  <a:pt x="314" y="589"/>
                  <a:pt x="314" y="589"/>
                  <a:pt x="315" y="589"/>
                </a:cubicBezTo>
                <a:cubicBezTo>
                  <a:pt x="314" y="589"/>
                  <a:pt x="314" y="589"/>
                  <a:pt x="313" y="589"/>
                </a:cubicBezTo>
                <a:close/>
                <a:moveTo>
                  <a:pt x="315" y="519"/>
                </a:moveTo>
                <a:cubicBezTo>
                  <a:pt x="315" y="517"/>
                  <a:pt x="318" y="518"/>
                  <a:pt x="315" y="519"/>
                </a:cubicBezTo>
                <a:close/>
                <a:moveTo>
                  <a:pt x="317" y="683"/>
                </a:moveTo>
                <a:cubicBezTo>
                  <a:pt x="315" y="684"/>
                  <a:pt x="315" y="682"/>
                  <a:pt x="317" y="683"/>
                </a:cubicBezTo>
                <a:close/>
                <a:moveTo>
                  <a:pt x="317" y="683"/>
                </a:moveTo>
                <a:cubicBezTo>
                  <a:pt x="318" y="682"/>
                  <a:pt x="319" y="682"/>
                  <a:pt x="321" y="682"/>
                </a:cubicBezTo>
                <a:cubicBezTo>
                  <a:pt x="321" y="683"/>
                  <a:pt x="318" y="683"/>
                  <a:pt x="317" y="683"/>
                </a:cubicBezTo>
                <a:close/>
                <a:moveTo>
                  <a:pt x="333" y="104"/>
                </a:moveTo>
                <a:cubicBezTo>
                  <a:pt x="333" y="104"/>
                  <a:pt x="336" y="103"/>
                  <a:pt x="334" y="104"/>
                </a:cubicBezTo>
                <a:cubicBezTo>
                  <a:pt x="331" y="106"/>
                  <a:pt x="326" y="107"/>
                  <a:pt x="322" y="108"/>
                </a:cubicBezTo>
                <a:cubicBezTo>
                  <a:pt x="325" y="106"/>
                  <a:pt x="329" y="104"/>
                  <a:pt x="333" y="104"/>
                </a:cubicBezTo>
                <a:close/>
                <a:moveTo>
                  <a:pt x="323" y="170"/>
                </a:moveTo>
                <a:cubicBezTo>
                  <a:pt x="324" y="170"/>
                  <a:pt x="324" y="170"/>
                  <a:pt x="325" y="170"/>
                </a:cubicBezTo>
                <a:cubicBezTo>
                  <a:pt x="325" y="171"/>
                  <a:pt x="324" y="171"/>
                  <a:pt x="323" y="170"/>
                </a:cubicBezTo>
                <a:close/>
                <a:moveTo>
                  <a:pt x="322" y="617"/>
                </a:moveTo>
                <a:cubicBezTo>
                  <a:pt x="323" y="616"/>
                  <a:pt x="324" y="618"/>
                  <a:pt x="322" y="617"/>
                </a:cubicBezTo>
                <a:close/>
                <a:moveTo>
                  <a:pt x="322" y="627"/>
                </a:moveTo>
                <a:cubicBezTo>
                  <a:pt x="323" y="627"/>
                  <a:pt x="327" y="626"/>
                  <a:pt x="327" y="627"/>
                </a:cubicBezTo>
                <a:cubicBezTo>
                  <a:pt x="326" y="626"/>
                  <a:pt x="324" y="628"/>
                  <a:pt x="322" y="627"/>
                </a:cubicBezTo>
                <a:close/>
                <a:moveTo>
                  <a:pt x="327" y="574"/>
                </a:moveTo>
                <a:cubicBezTo>
                  <a:pt x="327" y="572"/>
                  <a:pt x="330" y="573"/>
                  <a:pt x="329" y="574"/>
                </a:cubicBezTo>
                <a:cubicBezTo>
                  <a:pt x="329" y="575"/>
                  <a:pt x="328" y="574"/>
                  <a:pt x="327" y="574"/>
                </a:cubicBezTo>
                <a:close/>
                <a:moveTo>
                  <a:pt x="329" y="627"/>
                </a:moveTo>
                <a:cubicBezTo>
                  <a:pt x="329" y="626"/>
                  <a:pt x="331" y="626"/>
                  <a:pt x="331" y="626"/>
                </a:cubicBezTo>
                <a:cubicBezTo>
                  <a:pt x="331" y="626"/>
                  <a:pt x="330" y="627"/>
                  <a:pt x="329" y="627"/>
                </a:cubicBezTo>
                <a:close/>
                <a:moveTo>
                  <a:pt x="329" y="589"/>
                </a:moveTo>
                <a:cubicBezTo>
                  <a:pt x="328" y="587"/>
                  <a:pt x="332" y="588"/>
                  <a:pt x="332" y="589"/>
                </a:cubicBezTo>
                <a:cubicBezTo>
                  <a:pt x="332" y="590"/>
                  <a:pt x="329" y="590"/>
                  <a:pt x="329" y="589"/>
                </a:cubicBezTo>
                <a:close/>
                <a:moveTo>
                  <a:pt x="328" y="583"/>
                </a:moveTo>
                <a:cubicBezTo>
                  <a:pt x="329" y="579"/>
                  <a:pt x="336" y="581"/>
                  <a:pt x="336" y="583"/>
                </a:cubicBezTo>
                <a:cubicBezTo>
                  <a:pt x="335" y="586"/>
                  <a:pt x="328" y="587"/>
                  <a:pt x="328" y="583"/>
                </a:cubicBezTo>
                <a:close/>
                <a:moveTo>
                  <a:pt x="335" y="131"/>
                </a:moveTo>
                <a:cubicBezTo>
                  <a:pt x="334" y="130"/>
                  <a:pt x="336" y="131"/>
                  <a:pt x="335" y="131"/>
                </a:cubicBezTo>
                <a:close/>
                <a:moveTo>
                  <a:pt x="336" y="659"/>
                </a:moveTo>
                <a:cubicBezTo>
                  <a:pt x="337" y="661"/>
                  <a:pt x="335" y="659"/>
                  <a:pt x="336" y="659"/>
                </a:cubicBezTo>
                <a:close/>
                <a:moveTo>
                  <a:pt x="336" y="131"/>
                </a:moveTo>
                <a:cubicBezTo>
                  <a:pt x="336" y="130"/>
                  <a:pt x="338" y="130"/>
                  <a:pt x="338" y="130"/>
                </a:cubicBezTo>
                <a:cubicBezTo>
                  <a:pt x="338" y="131"/>
                  <a:pt x="337" y="130"/>
                  <a:pt x="336" y="131"/>
                </a:cubicBezTo>
                <a:close/>
                <a:moveTo>
                  <a:pt x="337" y="711"/>
                </a:moveTo>
                <a:cubicBezTo>
                  <a:pt x="336" y="711"/>
                  <a:pt x="337" y="710"/>
                  <a:pt x="337" y="710"/>
                </a:cubicBezTo>
                <a:cubicBezTo>
                  <a:pt x="338" y="711"/>
                  <a:pt x="338" y="712"/>
                  <a:pt x="337" y="711"/>
                </a:cubicBezTo>
                <a:close/>
                <a:moveTo>
                  <a:pt x="337" y="685"/>
                </a:moveTo>
                <a:cubicBezTo>
                  <a:pt x="337" y="684"/>
                  <a:pt x="339" y="684"/>
                  <a:pt x="339" y="685"/>
                </a:cubicBezTo>
                <a:cubicBezTo>
                  <a:pt x="340" y="685"/>
                  <a:pt x="338" y="686"/>
                  <a:pt x="337" y="685"/>
                </a:cubicBezTo>
                <a:close/>
                <a:moveTo>
                  <a:pt x="338" y="705"/>
                </a:moveTo>
                <a:cubicBezTo>
                  <a:pt x="338" y="704"/>
                  <a:pt x="340" y="704"/>
                  <a:pt x="340" y="705"/>
                </a:cubicBezTo>
                <a:cubicBezTo>
                  <a:pt x="340" y="705"/>
                  <a:pt x="339" y="706"/>
                  <a:pt x="338" y="705"/>
                </a:cubicBezTo>
                <a:close/>
                <a:moveTo>
                  <a:pt x="338" y="680"/>
                </a:moveTo>
                <a:cubicBezTo>
                  <a:pt x="338" y="680"/>
                  <a:pt x="341" y="680"/>
                  <a:pt x="341" y="680"/>
                </a:cubicBezTo>
                <a:cubicBezTo>
                  <a:pt x="341" y="681"/>
                  <a:pt x="337" y="682"/>
                  <a:pt x="338" y="680"/>
                </a:cubicBezTo>
                <a:close/>
                <a:moveTo>
                  <a:pt x="342" y="110"/>
                </a:moveTo>
                <a:cubicBezTo>
                  <a:pt x="341" y="111"/>
                  <a:pt x="341" y="109"/>
                  <a:pt x="342" y="110"/>
                </a:cubicBezTo>
                <a:close/>
                <a:moveTo>
                  <a:pt x="328" y="108"/>
                </a:moveTo>
                <a:cubicBezTo>
                  <a:pt x="326" y="108"/>
                  <a:pt x="329" y="107"/>
                  <a:pt x="331" y="106"/>
                </a:cubicBezTo>
                <a:cubicBezTo>
                  <a:pt x="334" y="106"/>
                  <a:pt x="339" y="104"/>
                  <a:pt x="342" y="104"/>
                </a:cubicBezTo>
                <a:cubicBezTo>
                  <a:pt x="343" y="104"/>
                  <a:pt x="344" y="105"/>
                  <a:pt x="344" y="105"/>
                </a:cubicBezTo>
                <a:cubicBezTo>
                  <a:pt x="344" y="105"/>
                  <a:pt x="330" y="108"/>
                  <a:pt x="328" y="108"/>
                </a:cubicBezTo>
                <a:close/>
                <a:moveTo>
                  <a:pt x="345" y="576"/>
                </a:moveTo>
                <a:cubicBezTo>
                  <a:pt x="345" y="576"/>
                  <a:pt x="345" y="576"/>
                  <a:pt x="345" y="576"/>
                </a:cubicBezTo>
                <a:cubicBezTo>
                  <a:pt x="346" y="576"/>
                  <a:pt x="346" y="576"/>
                  <a:pt x="346" y="576"/>
                </a:cubicBezTo>
                <a:cubicBezTo>
                  <a:pt x="346" y="576"/>
                  <a:pt x="345" y="576"/>
                  <a:pt x="345" y="576"/>
                </a:cubicBezTo>
                <a:close/>
                <a:moveTo>
                  <a:pt x="346" y="704"/>
                </a:moveTo>
                <a:cubicBezTo>
                  <a:pt x="346" y="703"/>
                  <a:pt x="347" y="703"/>
                  <a:pt x="347" y="703"/>
                </a:cubicBezTo>
                <a:cubicBezTo>
                  <a:pt x="348" y="704"/>
                  <a:pt x="346" y="704"/>
                  <a:pt x="346" y="704"/>
                </a:cubicBezTo>
                <a:close/>
                <a:moveTo>
                  <a:pt x="344" y="537"/>
                </a:moveTo>
                <a:cubicBezTo>
                  <a:pt x="345" y="535"/>
                  <a:pt x="348" y="535"/>
                  <a:pt x="349" y="534"/>
                </a:cubicBezTo>
                <a:cubicBezTo>
                  <a:pt x="348" y="535"/>
                  <a:pt x="345" y="536"/>
                  <a:pt x="344" y="537"/>
                </a:cubicBezTo>
                <a:close/>
                <a:moveTo>
                  <a:pt x="348" y="89"/>
                </a:moveTo>
                <a:cubicBezTo>
                  <a:pt x="347" y="90"/>
                  <a:pt x="346" y="89"/>
                  <a:pt x="348" y="89"/>
                </a:cubicBezTo>
                <a:close/>
                <a:moveTo>
                  <a:pt x="347" y="71"/>
                </a:moveTo>
                <a:cubicBezTo>
                  <a:pt x="347" y="72"/>
                  <a:pt x="348" y="72"/>
                  <a:pt x="347" y="72"/>
                </a:cubicBezTo>
                <a:cubicBezTo>
                  <a:pt x="347" y="72"/>
                  <a:pt x="347" y="72"/>
                  <a:pt x="347" y="71"/>
                </a:cubicBezTo>
                <a:close/>
                <a:moveTo>
                  <a:pt x="345" y="44"/>
                </a:moveTo>
                <a:cubicBezTo>
                  <a:pt x="346" y="42"/>
                  <a:pt x="350" y="42"/>
                  <a:pt x="350" y="45"/>
                </a:cubicBezTo>
                <a:cubicBezTo>
                  <a:pt x="349" y="47"/>
                  <a:pt x="345" y="46"/>
                  <a:pt x="345" y="44"/>
                </a:cubicBezTo>
                <a:close/>
                <a:moveTo>
                  <a:pt x="350" y="626"/>
                </a:moveTo>
                <a:cubicBezTo>
                  <a:pt x="350" y="627"/>
                  <a:pt x="349" y="625"/>
                  <a:pt x="350" y="626"/>
                </a:cubicBezTo>
                <a:close/>
                <a:moveTo>
                  <a:pt x="350" y="205"/>
                </a:moveTo>
                <a:cubicBezTo>
                  <a:pt x="349" y="205"/>
                  <a:pt x="350" y="203"/>
                  <a:pt x="350" y="204"/>
                </a:cubicBezTo>
                <a:cubicBezTo>
                  <a:pt x="351" y="204"/>
                  <a:pt x="351" y="205"/>
                  <a:pt x="350" y="205"/>
                </a:cubicBezTo>
                <a:close/>
                <a:moveTo>
                  <a:pt x="538" y="122"/>
                </a:moveTo>
                <a:cubicBezTo>
                  <a:pt x="538" y="121"/>
                  <a:pt x="540" y="121"/>
                  <a:pt x="540" y="122"/>
                </a:cubicBezTo>
                <a:cubicBezTo>
                  <a:pt x="542" y="121"/>
                  <a:pt x="543" y="121"/>
                  <a:pt x="543" y="123"/>
                </a:cubicBezTo>
                <a:cubicBezTo>
                  <a:pt x="543" y="124"/>
                  <a:pt x="539" y="125"/>
                  <a:pt x="538" y="124"/>
                </a:cubicBezTo>
                <a:cubicBezTo>
                  <a:pt x="538" y="123"/>
                  <a:pt x="538" y="123"/>
                  <a:pt x="538" y="122"/>
                </a:cubicBezTo>
                <a:cubicBezTo>
                  <a:pt x="538" y="122"/>
                  <a:pt x="538" y="122"/>
                  <a:pt x="538" y="122"/>
                </a:cubicBezTo>
                <a:close/>
                <a:moveTo>
                  <a:pt x="538" y="121"/>
                </a:moveTo>
                <a:cubicBezTo>
                  <a:pt x="538" y="121"/>
                  <a:pt x="536" y="122"/>
                  <a:pt x="536" y="121"/>
                </a:cubicBezTo>
                <a:cubicBezTo>
                  <a:pt x="536" y="121"/>
                  <a:pt x="537" y="121"/>
                  <a:pt x="538" y="121"/>
                </a:cubicBezTo>
                <a:close/>
                <a:moveTo>
                  <a:pt x="531" y="126"/>
                </a:moveTo>
                <a:cubicBezTo>
                  <a:pt x="531" y="126"/>
                  <a:pt x="531" y="127"/>
                  <a:pt x="530" y="127"/>
                </a:cubicBezTo>
                <a:cubicBezTo>
                  <a:pt x="530" y="127"/>
                  <a:pt x="531" y="126"/>
                  <a:pt x="531" y="126"/>
                </a:cubicBezTo>
                <a:close/>
                <a:moveTo>
                  <a:pt x="531" y="154"/>
                </a:moveTo>
                <a:cubicBezTo>
                  <a:pt x="529" y="157"/>
                  <a:pt x="525" y="158"/>
                  <a:pt x="522" y="159"/>
                </a:cubicBezTo>
                <a:cubicBezTo>
                  <a:pt x="524" y="156"/>
                  <a:pt x="528" y="156"/>
                  <a:pt x="531" y="154"/>
                </a:cubicBezTo>
                <a:close/>
                <a:moveTo>
                  <a:pt x="525" y="201"/>
                </a:moveTo>
                <a:cubicBezTo>
                  <a:pt x="524" y="202"/>
                  <a:pt x="523" y="203"/>
                  <a:pt x="521" y="203"/>
                </a:cubicBezTo>
                <a:cubicBezTo>
                  <a:pt x="522" y="202"/>
                  <a:pt x="523" y="201"/>
                  <a:pt x="525" y="201"/>
                </a:cubicBezTo>
                <a:close/>
                <a:moveTo>
                  <a:pt x="521" y="198"/>
                </a:moveTo>
                <a:cubicBezTo>
                  <a:pt x="521" y="198"/>
                  <a:pt x="521" y="197"/>
                  <a:pt x="522" y="197"/>
                </a:cubicBezTo>
                <a:cubicBezTo>
                  <a:pt x="524" y="195"/>
                  <a:pt x="523" y="200"/>
                  <a:pt x="521" y="198"/>
                </a:cubicBezTo>
                <a:close/>
                <a:moveTo>
                  <a:pt x="524" y="195"/>
                </a:moveTo>
                <a:cubicBezTo>
                  <a:pt x="524" y="194"/>
                  <a:pt x="525" y="194"/>
                  <a:pt x="525" y="194"/>
                </a:cubicBezTo>
                <a:cubicBezTo>
                  <a:pt x="526" y="195"/>
                  <a:pt x="524" y="195"/>
                  <a:pt x="524" y="195"/>
                </a:cubicBezTo>
                <a:close/>
                <a:moveTo>
                  <a:pt x="531" y="196"/>
                </a:moveTo>
                <a:cubicBezTo>
                  <a:pt x="530" y="198"/>
                  <a:pt x="527" y="199"/>
                  <a:pt x="525" y="201"/>
                </a:cubicBezTo>
                <a:cubicBezTo>
                  <a:pt x="526" y="199"/>
                  <a:pt x="529" y="197"/>
                  <a:pt x="531" y="196"/>
                </a:cubicBezTo>
                <a:close/>
                <a:moveTo>
                  <a:pt x="529" y="172"/>
                </a:moveTo>
                <a:cubicBezTo>
                  <a:pt x="531" y="170"/>
                  <a:pt x="530" y="174"/>
                  <a:pt x="528" y="173"/>
                </a:cubicBezTo>
                <a:cubicBezTo>
                  <a:pt x="528" y="173"/>
                  <a:pt x="529" y="172"/>
                  <a:pt x="529" y="172"/>
                </a:cubicBezTo>
                <a:close/>
                <a:moveTo>
                  <a:pt x="522" y="181"/>
                </a:moveTo>
                <a:cubicBezTo>
                  <a:pt x="521" y="181"/>
                  <a:pt x="523" y="180"/>
                  <a:pt x="523" y="181"/>
                </a:cubicBezTo>
                <a:cubicBezTo>
                  <a:pt x="524" y="181"/>
                  <a:pt x="522" y="182"/>
                  <a:pt x="522" y="181"/>
                </a:cubicBezTo>
                <a:close/>
                <a:moveTo>
                  <a:pt x="529" y="135"/>
                </a:moveTo>
                <a:cubicBezTo>
                  <a:pt x="528" y="136"/>
                  <a:pt x="526" y="138"/>
                  <a:pt x="524" y="138"/>
                </a:cubicBezTo>
                <a:cubicBezTo>
                  <a:pt x="525" y="138"/>
                  <a:pt x="526" y="138"/>
                  <a:pt x="525" y="139"/>
                </a:cubicBezTo>
                <a:cubicBezTo>
                  <a:pt x="525" y="140"/>
                  <a:pt x="522" y="140"/>
                  <a:pt x="522" y="139"/>
                </a:cubicBezTo>
                <a:cubicBezTo>
                  <a:pt x="522" y="139"/>
                  <a:pt x="523" y="138"/>
                  <a:pt x="524" y="138"/>
                </a:cubicBezTo>
                <a:cubicBezTo>
                  <a:pt x="524" y="138"/>
                  <a:pt x="524" y="138"/>
                  <a:pt x="524" y="138"/>
                </a:cubicBezTo>
                <a:cubicBezTo>
                  <a:pt x="525" y="136"/>
                  <a:pt x="527" y="136"/>
                  <a:pt x="529" y="135"/>
                </a:cubicBezTo>
                <a:close/>
                <a:moveTo>
                  <a:pt x="525" y="117"/>
                </a:moveTo>
                <a:cubicBezTo>
                  <a:pt x="525" y="117"/>
                  <a:pt x="525" y="117"/>
                  <a:pt x="524" y="117"/>
                </a:cubicBezTo>
                <a:cubicBezTo>
                  <a:pt x="524" y="117"/>
                  <a:pt x="524" y="116"/>
                  <a:pt x="525" y="117"/>
                </a:cubicBezTo>
                <a:close/>
                <a:moveTo>
                  <a:pt x="524" y="86"/>
                </a:moveTo>
                <a:cubicBezTo>
                  <a:pt x="523" y="86"/>
                  <a:pt x="522" y="86"/>
                  <a:pt x="521" y="86"/>
                </a:cubicBezTo>
                <a:cubicBezTo>
                  <a:pt x="522" y="85"/>
                  <a:pt x="523" y="85"/>
                  <a:pt x="524" y="86"/>
                </a:cubicBezTo>
                <a:close/>
                <a:moveTo>
                  <a:pt x="521" y="87"/>
                </a:moveTo>
                <a:cubicBezTo>
                  <a:pt x="521" y="87"/>
                  <a:pt x="523" y="88"/>
                  <a:pt x="523" y="88"/>
                </a:cubicBezTo>
                <a:cubicBezTo>
                  <a:pt x="523" y="88"/>
                  <a:pt x="520" y="88"/>
                  <a:pt x="521" y="87"/>
                </a:cubicBezTo>
                <a:close/>
                <a:moveTo>
                  <a:pt x="523" y="92"/>
                </a:moveTo>
                <a:cubicBezTo>
                  <a:pt x="523" y="92"/>
                  <a:pt x="521" y="92"/>
                  <a:pt x="521" y="91"/>
                </a:cubicBezTo>
                <a:cubicBezTo>
                  <a:pt x="522" y="90"/>
                  <a:pt x="523" y="91"/>
                  <a:pt x="523" y="92"/>
                </a:cubicBezTo>
                <a:close/>
                <a:moveTo>
                  <a:pt x="521" y="105"/>
                </a:moveTo>
                <a:cubicBezTo>
                  <a:pt x="521" y="106"/>
                  <a:pt x="520" y="104"/>
                  <a:pt x="521" y="105"/>
                </a:cubicBezTo>
                <a:close/>
                <a:moveTo>
                  <a:pt x="525" y="106"/>
                </a:moveTo>
                <a:cubicBezTo>
                  <a:pt x="527" y="106"/>
                  <a:pt x="528" y="108"/>
                  <a:pt x="526" y="111"/>
                </a:cubicBezTo>
                <a:cubicBezTo>
                  <a:pt x="525" y="112"/>
                  <a:pt x="523" y="112"/>
                  <a:pt x="522" y="112"/>
                </a:cubicBezTo>
                <a:cubicBezTo>
                  <a:pt x="520" y="112"/>
                  <a:pt x="518" y="112"/>
                  <a:pt x="518" y="112"/>
                </a:cubicBezTo>
                <a:cubicBezTo>
                  <a:pt x="518" y="112"/>
                  <a:pt x="519" y="112"/>
                  <a:pt x="519" y="112"/>
                </a:cubicBezTo>
                <a:cubicBezTo>
                  <a:pt x="519" y="112"/>
                  <a:pt x="518" y="112"/>
                  <a:pt x="518" y="112"/>
                </a:cubicBezTo>
                <a:cubicBezTo>
                  <a:pt x="518" y="112"/>
                  <a:pt x="518" y="111"/>
                  <a:pt x="518" y="111"/>
                </a:cubicBezTo>
                <a:cubicBezTo>
                  <a:pt x="517" y="110"/>
                  <a:pt x="522" y="106"/>
                  <a:pt x="525" y="106"/>
                </a:cubicBezTo>
                <a:close/>
                <a:moveTo>
                  <a:pt x="520" y="133"/>
                </a:moveTo>
                <a:cubicBezTo>
                  <a:pt x="522" y="131"/>
                  <a:pt x="522" y="133"/>
                  <a:pt x="520" y="133"/>
                </a:cubicBezTo>
                <a:close/>
                <a:moveTo>
                  <a:pt x="519" y="147"/>
                </a:moveTo>
                <a:cubicBezTo>
                  <a:pt x="519" y="146"/>
                  <a:pt x="521" y="145"/>
                  <a:pt x="521" y="146"/>
                </a:cubicBezTo>
                <a:cubicBezTo>
                  <a:pt x="522" y="147"/>
                  <a:pt x="520" y="147"/>
                  <a:pt x="519" y="147"/>
                </a:cubicBezTo>
                <a:close/>
                <a:moveTo>
                  <a:pt x="513" y="162"/>
                </a:moveTo>
                <a:cubicBezTo>
                  <a:pt x="512" y="161"/>
                  <a:pt x="516" y="159"/>
                  <a:pt x="516" y="161"/>
                </a:cubicBezTo>
                <a:cubicBezTo>
                  <a:pt x="517" y="162"/>
                  <a:pt x="513" y="163"/>
                  <a:pt x="513" y="162"/>
                </a:cubicBezTo>
                <a:close/>
                <a:moveTo>
                  <a:pt x="516" y="163"/>
                </a:moveTo>
                <a:cubicBezTo>
                  <a:pt x="516" y="164"/>
                  <a:pt x="515" y="165"/>
                  <a:pt x="516" y="164"/>
                </a:cubicBezTo>
                <a:cubicBezTo>
                  <a:pt x="516" y="164"/>
                  <a:pt x="516" y="164"/>
                  <a:pt x="516" y="163"/>
                </a:cubicBezTo>
                <a:close/>
                <a:moveTo>
                  <a:pt x="514" y="191"/>
                </a:moveTo>
                <a:cubicBezTo>
                  <a:pt x="515" y="190"/>
                  <a:pt x="516" y="192"/>
                  <a:pt x="514" y="191"/>
                </a:cubicBezTo>
                <a:close/>
                <a:moveTo>
                  <a:pt x="512" y="192"/>
                </a:moveTo>
                <a:cubicBezTo>
                  <a:pt x="512" y="191"/>
                  <a:pt x="514" y="191"/>
                  <a:pt x="514" y="191"/>
                </a:cubicBezTo>
                <a:cubicBezTo>
                  <a:pt x="514" y="192"/>
                  <a:pt x="512" y="192"/>
                  <a:pt x="512" y="192"/>
                </a:cubicBezTo>
                <a:close/>
                <a:moveTo>
                  <a:pt x="514" y="247"/>
                </a:moveTo>
                <a:cubicBezTo>
                  <a:pt x="514" y="248"/>
                  <a:pt x="513" y="245"/>
                  <a:pt x="514" y="247"/>
                </a:cubicBezTo>
                <a:close/>
                <a:moveTo>
                  <a:pt x="504" y="183"/>
                </a:moveTo>
                <a:cubicBezTo>
                  <a:pt x="506" y="182"/>
                  <a:pt x="506" y="181"/>
                  <a:pt x="504" y="181"/>
                </a:cubicBezTo>
                <a:cubicBezTo>
                  <a:pt x="505" y="178"/>
                  <a:pt x="508" y="175"/>
                  <a:pt x="511" y="176"/>
                </a:cubicBezTo>
                <a:cubicBezTo>
                  <a:pt x="517" y="179"/>
                  <a:pt x="509" y="186"/>
                  <a:pt x="504" y="183"/>
                </a:cubicBezTo>
                <a:close/>
                <a:moveTo>
                  <a:pt x="505" y="184"/>
                </a:moveTo>
                <a:cubicBezTo>
                  <a:pt x="505" y="184"/>
                  <a:pt x="505" y="184"/>
                  <a:pt x="505" y="184"/>
                </a:cubicBezTo>
                <a:cubicBezTo>
                  <a:pt x="506" y="186"/>
                  <a:pt x="503" y="183"/>
                  <a:pt x="505" y="184"/>
                </a:cubicBezTo>
                <a:close/>
                <a:moveTo>
                  <a:pt x="494" y="127"/>
                </a:moveTo>
                <a:cubicBezTo>
                  <a:pt x="494" y="127"/>
                  <a:pt x="497" y="125"/>
                  <a:pt x="498" y="127"/>
                </a:cubicBezTo>
                <a:cubicBezTo>
                  <a:pt x="498" y="128"/>
                  <a:pt x="494" y="129"/>
                  <a:pt x="494" y="127"/>
                </a:cubicBezTo>
                <a:close/>
                <a:moveTo>
                  <a:pt x="496" y="219"/>
                </a:moveTo>
                <a:cubicBezTo>
                  <a:pt x="495" y="219"/>
                  <a:pt x="496" y="218"/>
                  <a:pt x="496" y="218"/>
                </a:cubicBezTo>
                <a:cubicBezTo>
                  <a:pt x="497" y="218"/>
                  <a:pt x="496" y="219"/>
                  <a:pt x="496" y="219"/>
                </a:cubicBezTo>
                <a:close/>
                <a:moveTo>
                  <a:pt x="493" y="182"/>
                </a:moveTo>
                <a:cubicBezTo>
                  <a:pt x="493" y="181"/>
                  <a:pt x="495" y="181"/>
                  <a:pt x="495" y="181"/>
                </a:cubicBezTo>
                <a:cubicBezTo>
                  <a:pt x="496" y="182"/>
                  <a:pt x="494" y="183"/>
                  <a:pt x="493" y="182"/>
                </a:cubicBezTo>
                <a:close/>
                <a:moveTo>
                  <a:pt x="494" y="221"/>
                </a:moveTo>
                <a:cubicBezTo>
                  <a:pt x="494" y="221"/>
                  <a:pt x="495" y="220"/>
                  <a:pt x="495" y="220"/>
                </a:cubicBezTo>
                <a:cubicBezTo>
                  <a:pt x="495" y="220"/>
                  <a:pt x="494" y="222"/>
                  <a:pt x="494" y="221"/>
                </a:cubicBezTo>
                <a:close/>
                <a:moveTo>
                  <a:pt x="484" y="206"/>
                </a:moveTo>
                <a:cubicBezTo>
                  <a:pt x="487" y="204"/>
                  <a:pt x="490" y="201"/>
                  <a:pt x="492" y="200"/>
                </a:cubicBezTo>
                <a:cubicBezTo>
                  <a:pt x="492" y="200"/>
                  <a:pt x="494" y="199"/>
                  <a:pt x="493" y="200"/>
                </a:cubicBezTo>
                <a:cubicBezTo>
                  <a:pt x="492" y="203"/>
                  <a:pt x="487" y="205"/>
                  <a:pt x="484" y="206"/>
                </a:cubicBezTo>
                <a:close/>
                <a:moveTo>
                  <a:pt x="491" y="221"/>
                </a:moveTo>
                <a:cubicBezTo>
                  <a:pt x="491" y="220"/>
                  <a:pt x="493" y="220"/>
                  <a:pt x="493" y="221"/>
                </a:cubicBezTo>
                <a:cubicBezTo>
                  <a:pt x="493" y="222"/>
                  <a:pt x="491" y="222"/>
                  <a:pt x="491" y="221"/>
                </a:cubicBezTo>
                <a:close/>
                <a:moveTo>
                  <a:pt x="480" y="95"/>
                </a:moveTo>
                <a:cubicBezTo>
                  <a:pt x="482" y="94"/>
                  <a:pt x="483" y="93"/>
                  <a:pt x="485" y="93"/>
                </a:cubicBezTo>
                <a:cubicBezTo>
                  <a:pt x="483" y="94"/>
                  <a:pt x="482" y="95"/>
                  <a:pt x="480" y="95"/>
                </a:cubicBezTo>
                <a:close/>
                <a:moveTo>
                  <a:pt x="481" y="162"/>
                </a:moveTo>
                <a:cubicBezTo>
                  <a:pt x="481" y="160"/>
                  <a:pt x="484" y="161"/>
                  <a:pt x="481" y="162"/>
                </a:cubicBezTo>
                <a:close/>
                <a:moveTo>
                  <a:pt x="482" y="109"/>
                </a:moveTo>
                <a:cubicBezTo>
                  <a:pt x="481" y="112"/>
                  <a:pt x="478" y="110"/>
                  <a:pt x="482" y="109"/>
                </a:cubicBezTo>
                <a:close/>
                <a:moveTo>
                  <a:pt x="496" y="72"/>
                </a:moveTo>
                <a:cubicBezTo>
                  <a:pt x="496" y="73"/>
                  <a:pt x="495" y="73"/>
                  <a:pt x="494" y="73"/>
                </a:cubicBezTo>
                <a:cubicBezTo>
                  <a:pt x="494" y="73"/>
                  <a:pt x="496" y="71"/>
                  <a:pt x="496" y="72"/>
                </a:cubicBezTo>
                <a:close/>
                <a:moveTo>
                  <a:pt x="494" y="43"/>
                </a:moveTo>
                <a:cubicBezTo>
                  <a:pt x="494" y="43"/>
                  <a:pt x="496" y="43"/>
                  <a:pt x="496" y="43"/>
                </a:cubicBezTo>
                <a:cubicBezTo>
                  <a:pt x="497" y="45"/>
                  <a:pt x="494" y="44"/>
                  <a:pt x="494" y="43"/>
                </a:cubicBezTo>
                <a:close/>
                <a:moveTo>
                  <a:pt x="493" y="64"/>
                </a:moveTo>
                <a:cubicBezTo>
                  <a:pt x="493" y="64"/>
                  <a:pt x="494" y="64"/>
                  <a:pt x="495" y="65"/>
                </a:cubicBezTo>
                <a:cubicBezTo>
                  <a:pt x="495" y="66"/>
                  <a:pt x="493" y="65"/>
                  <a:pt x="493" y="64"/>
                </a:cubicBezTo>
                <a:close/>
                <a:moveTo>
                  <a:pt x="499" y="87"/>
                </a:moveTo>
                <a:cubicBezTo>
                  <a:pt x="498" y="89"/>
                  <a:pt x="488" y="88"/>
                  <a:pt x="488" y="87"/>
                </a:cubicBezTo>
                <a:cubicBezTo>
                  <a:pt x="489" y="86"/>
                  <a:pt x="496" y="88"/>
                  <a:pt x="499" y="87"/>
                </a:cubicBezTo>
                <a:close/>
                <a:moveTo>
                  <a:pt x="493" y="105"/>
                </a:moveTo>
                <a:cubicBezTo>
                  <a:pt x="493" y="105"/>
                  <a:pt x="493" y="105"/>
                  <a:pt x="493" y="105"/>
                </a:cubicBezTo>
                <a:cubicBezTo>
                  <a:pt x="493" y="105"/>
                  <a:pt x="493" y="105"/>
                  <a:pt x="492" y="105"/>
                </a:cubicBezTo>
                <a:cubicBezTo>
                  <a:pt x="489" y="105"/>
                  <a:pt x="493" y="97"/>
                  <a:pt x="497" y="101"/>
                </a:cubicBezTo>
                <a:cubicBezTo>
                  <a:pt x="498" y="102"/>
                  <a:pt x="498" y="102"/>
                  <a:pt x="498" y="103"/>
                </a:cubicBezTo>
                <a:cubicBezTo>
                  <a:pt x="498" y="106"/>
                  <a:pt x="494" y="107"/>
                  <a:pt x="493" y="105"/>
                </a:cubicBezTo>
                <a:close/>
                <a:moveTo>
                  <a:pt x="495" y="108"/>
                </a:moveTo>
                <a:cubicBezTo>
                  <a:pt x="495" y="108"/>
                  <a:pt x="494" y="109"/>
                  <a:pt x="494" y="108"/>
                </a:cubicBezTo>
                <a:cubicBezTo>
                  <a:pt x="493" y="108"/>
                  <a:pt x="495" y="107"/>
                  <a:pt x="495" y="108"/>
                </a:cubicBezTo>
                <a:close/>
                <a:moveTo>
                  <a:pt x="494" y="174"/>
                </a:moveTo>
                <a:cubicBezTo>
                  <a:pt x="494" y="175"/>
                  <a:pt x="492" y="176"/>
                  <a:pt x="492" y="175"/>
                </a:cubicBezTo>
                <a:cubicBezTo>
                  <a:pt x="492" y="174"/>
                  <a:pt x="494" y="173"/>
                  <a:pt x="494" y="174"/>
                </a:cubicBezTo>
                <a:close/>
                <a:moveTo>
                  <a:pt x="495" y="98"/>
                </a:moveTo>
                <a:cubicBezTo>
                  <a:pt x="496" y="99"/>
                  <a:pt x="494" y="98"/>
                  <a:pt x="495" y="98"/>
                </a:cubicBezTo>
                <a:close/>
                <a:moveTo>
                  <a:pt x="499" y="91"/>
                </a:moveTo>
                <a:cubicBezTo>
                  <a:pt x="498" y="92"/>
                  <a:pt x="497" y="91"/>
                  <a:pt x="499" y="91"/>
                </a:cubicBezTo>
                <a:close/>
                <a:moveTo>
                  <a:pt x="491" y="166"/>
                </a:moveTo>
                <a:cubicBezTo>
                  <a:pt x="491" y="167"/>
                  <a:pt x="489" y="169"/>
                  <a:pt x="488" y="169"/>
                </a:cubicBezTo>
                <a:cubicBezTo>
                  <a:pt x="488" y="167"/>
                  <a:pt x="490" y="167"/>
                  <a:pt x="491" y="166"/>
                </a:cubicBezTo>
                <a:close/>
                <a:moveTo>
                  <a:pt x="485" y="144"/>
                </a:moveTo>
                <a:cubicBezTo>
                  <a:pt x="488" y="143"/>
                  <a:pt x="489" y="145"/>
                  <a:pt x="485" y="144"/>
                </a:cubicBezTo>
                <a:close/>
                <a:moveTo>
                  <a:pt x="486" y="93"/>
                </a:moveTo>
                <a:cubicBezTo>
                  <a:pt x="488" y="92"/>
                  <a:pt x="489" y="91"/>
                  <a:pt x="491" y="90"/>
                </a:cubicBezTo>
                <a:cubicBezTo>
                  <a:pt x="490" y="92"/>
                  <a:pt x="488" y="92"/>
                  <a:pt x="486" y="93"/>
                </a:cubicBezTo>
                <a:close/>
                <a:moveTo>
                  <a:pt x="491" y="61"/>
                </a:moveTo>
                <a:cubicBezTo>
                  <a:pt x="491" y="60"/>
                  <a:pt x="492" y="60"/>
                  <a:pt x="493" y="61"/>
                </a:cubicBezTo>
                <a:cubicBezTo>
                  <a:pt x="492" y="61"/>
                  <a:pt x="492" y="61"/>
                  <a:pt x="491" y="61"/>
                </a:cubicBezTo>
                <a:close/>
                <a:moveTo>
                  <a:pt x="490" y="74"/>
                </a:moveTo>
                <a:cubicBezTo>
                  <a:pt x="491" y="73"/>
                  <a:pt x="491" y="75"/>
                  <a:pt x="490" y="74"/>
                </a:cubicBezTo>
                <a:close/>
                <a:moveTo>
                  <a:pt x="489" y="67"/>
                </a:moveTo>
                <a:cubicBezTo>
                  <a:pt x="488" y="66"/>
                  <a:pt x="490" y="66"/>
                  <a:pt x="490" y="66"/>
                </a:cubicBezTo>
                <a:cubicBezTo>
                  <a:pt x="491" y="67"/>
                  <a:pt x="489" y="68"/>
                  <a:pt x="489" y="67"/>
                </a:cubicBezTo>
                <a:close/>
                <a:moveTo>
                  <a:pt x="488" y="60"/>
                </a:moveTo>
                <a:cubicBezTo>
                  <a:pt x="488" y="60"/>
                  <a:pt x="489" y="60"/>
                  <a:pt x="489" y="60"/>
                </a:cubicBezTo>
                <a:cubicBezTo>
                  <a:pt x="489" y="60"/>
                  <a:pt x="489" y="61"/>
                  <a:pt x="488" y="60"/>
                </a:cubicBezTo>
                <a:close/>
                <a:moveTo>
                  <a:pt x="492" y="82"/>
                </a:moveTo>
                <a:cubicBezTo>
                  <a:pt x="492" y="84"/>
                  <a:pt x="487" y="83"/>
                  <a:pt x="487" y="81"/>
                </a:cubicBezTo>
                <a:cubicBezTo>
                  <a:pt x="487" y="79"/>
                  <a:pt x="492" y="79"/>
                  <a:pt x="492" y="82"/>
                </a:cubicBezTo>
                <a:close/>
                <a:moveTo>
                  <a:pt x="483" y="73"/>
                </a:moveTo>
                <a:cubicBezTo>
                  <a:pt x="482" y="71"/>
                  <a:pt x="487" y="70"/>
                  <a:pt x="487" y="72"/>
                </a:cubicBezTo>
                <a:cubicBezTo>
                  <a:pt x="488" y="75"/>
                  <a:pt x="483" y="74"/>
                  <a:pt x="483" y="73"/>
                </a:cubicBezTo>
                <a:close/>
                <a:moveTo>
                  <a:pt x="483" y="60"/>
                </a:moveTo>
                <a:cubicBezTo>
                  <a:pt x="483" y="60"/>
                  <a:pt x="483" y="60"/>
                  <a:pt x="483" y="60"/>
                </a:cubicBezTo>
                <a:cubicBezTo>
                  <a:pt x="484" y="62"/>
                  <a:pt x="481" y="59"/>
                  <a:pt x="483" y="60"/>
                </a:cubicBezTo>
                <a:close/>
                <a:moveTo>
                  <a:pt x="482" y="62"/>
                </a:moveTo>
                <a:cubicBezTo>
                  <a:pt x="483" y="63"/>
                  <a:pt x="481" y="63"/>
                  <a:pt x="481" y="62"/>
                </a:cubicBezTo>
                <a:cubicBezTo>
                  <a:pt x="481" y="62"/>
                  <a:pt x="482" y="62"/>
                  <a:pt x="482" y="62"/>
                </a:cubicBezTo>
                <a:close/>
                <a:moveTo>
                  <a:pt x="487" y="184"/>
                </a:moveTo>
                <a:cubicBezTo>
                  <a:pt x="487" y="185"/>
                  <a:pt x="485" y="186"/>
                  <a:pt x="484" y="186"/>
                </a:cubicBezTo>
                <a:cubicBezTo>
                  <a:pt x="485" y="185"/>
                  <a:pt x="486" y="185"/>
                  <a:pt x="487" y="184"/>
                </a:cubicBezTo>
                <a:close/>
                <a:moveTo>
                  <a:pt x="495" y="174"/>
                </a:moveTo>
                <a:cubicBezTo>
                  <a:pt x="495" y="174"/>
                  <a:pt x="495" y="174"/>
                  <a:pt x="495" y="174"/>
                </a:cubicBezTo>
                <a:cubicBezTo>
                  <a:pt x="495" y="175"/>
                  <a:pt x="494" y="175"/>
                  <a:pt x="495" y="174"/>
                </a:cubicBezTo>
                <a:close/>
                <a:moveTo>
                  <a:pt x="498" y="141"/>
                </a:moveTo>
                <a:cubicBezTo>
                  <a:pt x="499" y="142"/>
                  <a:pt x="497" y="143"/>
                  <a:pt x="497" y="142"/>
                </a:cubicBezTo>
                <a:cubicBezTo>
                  <a:pt x="496" y="141"/>
                  <a:pt x="498" y="141"/>
                  <a:pt x="498" y="141"/>
                </a:cubicBezTo>
                <a:close/>
                <a:moveTo>
                  <a:pt x="497" y="131"/>
                </a:moveTo>
                <a:cubicBezTo>
                  <a:pt x="497" y="131"/>
                  <a:pt x="498" y="131"/>
                  <a:pt x="498" y="131"/>
                </a:cubicBezTo>
                <a:cubicBezTo>
                  <a:pt x="499" y="132"/>
                  <a:pt x="497" y="132"/>
                  <a:pt x="497" y="131"/>
                </a:cubicBezTo>
                <a:close/>
                <a:moveTo>
                  <a:pt x="498" y="128"/>
                </a:moveTo>
                <a:cubicBezTo>
                  <a:pt x="499" y="129"/>
                  <a:pt x="500" y="126"/>
                  <a:pt x="501" y="126"/>
                </a:cubicBezTo>
                <a:cubicBezTo>
                  <a:pt x="508" y="122"/>
                  <a:pt x="510" y="132"/>
                  <a:pt x="502" y="132"/>
                </a:cubicBezTo>
                <a:cubicBezTo>
                  <a:pt x="501" y="132"/>
                  <a:pt x="498" y="131"/>
                  <a:pt x="498" y="128"/>
                </a:cubicBezTo>
                <a:close/>
                <a:moveTo>
                  <a:pt x="502" y="94"/>
                </a:moveTo>
                <a:cubicBezTo>
                  <a:pt x="503" y="93"/>
                  <a:pt x="504" y="95"/>
                  <a:pt x="502" y="94"/>
                </a:cubicBezTo>
                <a:close/>
                <a:moveTo>
                  <a:pt x="505" y="67"/>
                </a:moveTo>
                <a:cubicBezTo>
                  <a:pt x="505" y="67"/>
                  <a:pt x="505" y="68"/>
                  <a:pt x="504" y="68"/>
                </a:cubicBezTo>
                <a:cubicBezTo>
                  <a:pt x="502" y="68"/>
                  <a:pt x="504" y="64"/>
                  <a:pt x="505" y="67"/>
                </a:cubicBezTo>
                <a:close/>
                <a:moveTo>
                  <a:pt x="503" y="121"/>
                </a:moveTo>
                <a:cubicBezTo>
                  <a:pt x="504" y="121"/>
                  <a:pt x="502" y="123"/>
                  <a:pt x="501" y="122"/>
                </a:cubicBezTo>
                <a:cubicBezTo>
                  <a:pt x="502" y="122"/>
                  <a:pt x="502" y="122"/>
                  <a:pt x="503" y="121"/>
                </a:cubicBezTo>
                <a:close/>
                <a:moveTo>
                  <a:pt x="506" y="123"/>
                </a:moveTo>
                <a:cubicBezTo>
                  <a:pt x="507" y="123"/>
                  <a:pt x="505" y="124"/>
                  <a:pt x="505" y="124"/>
                </a:cubicBezTo>
                <a:cubicBezTo>
                  <a:pt x="505" y="123"/>
                  <a:pt x="505" y="122"/>
                  <a:pt x="506" y="123"/>
                </a:cubicBezTo>
                <a:close/>
                <a:moveTo>
                  <a:pt x="506" y="142"/>
                </a:moveTo>
                <a:cubicBezTo>
                  <a:pt x="507" y="142"/>
                  <a:pt x="505" y="143"/>
                  <a:pt x="505" y="142"/>
                </a:cubicBezTo>
                <a:cubicBezTo>
                  <a:pt x="505" y="142"/>
                  <a:pt x="506" y="142"/>
                  <a:pt x="506" y="142"/>
                </a:cubicBezTo>
                <a:close/>
                <a:moveTo>
                  <a:pt x="502" y="137"/>
                </a:moveTo>
                <a:cubicBezTo>
                  <a:pt x="503" y="139"/>
                  <a:pt x="499" y="139"/>
                  <a:pt x="499" y="138"/>
                </a:cubicBezTo>
                <a:cubicBezTo>
                  <a:pt x="499" y="136"/>
                  <a:pt x="502" y="136"/>
                  <a:pt x="502" y="137"/>
                </a:cubicBezTo>
                <a:close/>
                <a:moveTo>
                  <a:pt x="504" y="199"/>
                </a:moveTo>
                <a:cubicBezTo>
                  <a:pt x="504" y="199"/>
                  <a:pt x="503" y="200"/>
                  <a:pt x="503" y="200"/>
                </a:cubicBezTo>
                <a:cubicBezTo>
                  <a:pt x="501" y="200"/>
                  <a:pt x="503" y="197"/>
                  <a:pt x="504" y="199"/>
                </a:cubicBezTo>
                <a:close/>
                <a:moveTo>
                  <a:pt x="512" y="113"/>
                </a:moveTo>
                <a:cubicBezTo>
                  <a:pt x="512" y="114"/>
                  <a:pt x="509" y="116"/>
                  <a:pt x="507" y="114"/>
                </a:cubicBezTo>
                <a:cubicBezTo>
                  <a:pt x="506" y="113"/>
                  <a:pt x="511" y="111"/>
                  <a:pt x="512" y="113"/>
                </a:cubicBezTo>
                <a:close/>
                <a:moveTo>
                  <a:pt x="508" y="101"/>
                </a:moveTo>
                <a:cubicBezTo>
                  <a:pt x="508" y="100"/>
                  <a:pt x="509" y="100"/>
                  <a:pt x="510" y="101"/>
                </a:cubicBezTo>
                <a:cubicBezTo>
                  <a:pt x="511" y="102"/>
                  <a:pt x="508" y="102"/>
                  <a:pt x="508" y="101"/>
                </a:cubicBezTo>
                <a:close/>
                <a:moveTo>
                  <a:pt x="510" y="102"/>
                </a:moveTo>
                <a:cubicBezTo>
                  <a:pt x="511" y="101"/>
                  <a:pt x="512" y="103"/>
                  <a:pt x="510" y="102"/>
                </a:cubicBezTo>
                <a:close/>
                <a:moveTo>
                  <a:pt x="514" y="132"/>
                </a:moveTo>
                <a:cubicBezTo>
                  <a:pt x="514" y="132"/>
                  <a:pt x="514" y="133"/>
                  <a:pt x="514" y="134"/>
                </a:cubicBezTo>
                <a:cubicBezTo>
                  <a:pt x="512" y="137"/>
                  <a:pt x="512" y="131"/>
                  <a:pt x="514" y="132"/>
                </a:cubicBezTo>
                <a:close/>
                <a:moveTo>
                  <a:pt x="515" y="154"/>
                </a:moveTo>
                <a:cubicBezTo>
                  <a:pt x="515" y="154"/>
                  <a:pt x="515" y="153"/>
                  <a:pt x="515" y="153"/>
                </a:cubicBezTo>
                <a:cubicBezTo>
                  <a:pt x="516" y="154"/>
                  <a:pt x="515" y="155"/>
                  <a:pt x="515" y="154"/>
                </a:cubicBezTo>
                <a:close/>
                <a:moveTo>
                  <a:pt x="516" y="153"/>
                </a:moveTo>
                <a:cubicBezTo>
                  <a:pt x="516" y="151"/>
                  <a:pt x="519" y="152"/>
                  <a:pt x="516" y="153"/>
                </a:cubicBezTo>
                <a:close/>
                <a:moveTo>
                  <a:pt x="513" y="148"/>
                </a:moveTo>
                <a:cubicBezTo>
                  <a:pt x="514" y="147"/>
                  <a:pt x="516" y="145"/>
                  <a:pt x="517" y="145"/>
                </a:cubicBezTo>
                <a:cubicBezTo>
                  <a:pt x="520" y="143"/>
                  <a:pt x="516" y="149"/>
                  <a:pt x="513" y="148"/>
                </a:cubicBezTo>
                <a:close/>
                <a:moveTo>
                  <a:pt x="515" y="134"/>
                </a:moveTo>
                <a:cubicBezTo>
                  <a:pt x="514" y="133"/>
                  <a:pt x="515" y="133"/>
                  <a:pt x="515" y="134"/>
                </a:cubicBezTo>
                <a:close/>
                <a:moveTo>
                  <a:pt x="518" y="86"/>
                </a:moveTo>
                <a:cubicBezTo>
                  <a:pt x="517" y="86"/>
                  <a:pt x="519" y="86"/>
                  <a:pt x="519" y="86"/>
                </a:cubicBezTo>
                <a:cubicBezTo>
                  <a:pt x="520" y="86"/>
                  <a:pt x="518" y="87"/>
                  <a:pt x="518" y="86"/>
                </a:cubicBezTo>
                <a:close/>
                <a:moveTo>
                  <a:pt x="518" y="88"/>
                </a:moveTo>
                <a:cubicBezTo>
                  <a:pt x="519" y="87"/>
                  <a:pt x="520" y="88"/>
                  <a:pt x="518" y="88"/>
                </a:cubicBezTo>
                <a:close/>
                <a:moveTo>
                  <a:pt x="519" y="94"/>
                </a:moveTo>
                <a:cubicBezTo>
                  <a:pt x="519" y="96"/>
                  <a:pt x="514" y="96"/>
                  <a:pt x="515" y="93"/>
                </a:cubicBezTo>
                <a:cubicBezTo>
                  <a:pt x="515" y="92"/>
                  <a:pt x="519" y="92"/>
                  <a:pt x="519" y="94"/>
                </a:cubicBezTo>
                <a:close/>
                <a:moveTo>
                  <a:pt x="516" y="113"/>
                </a:moveTo>
                <a:cubicBezTo>
                  <a:pt x="516" y="112"/>
                  <a:pt x="516" y="112"/>
                  <a:pt x="516" y="112"/>
                </a:cubicBezTo>
                <a:cubicBezTo>
                  <a:pt x="518" y="110"/>
                  <a:pt x="517" y="114"/>
                  <a:pt x="516" y="113"/>
                </a:cubicBezTo>
                <a:close/>
                <a:moveTo>
                  <a:pt x="518" y="143"/>
                </a:moveTo>
                <a:cubicBezTo>
                  <a:pt x="518" y="143"/>
                  <a:pt x="516" y="144"/>
                  <a:pt x="516" y="144"/>
                </a:cubicBezTo>
                <a:cubicBezTo>
                  <a:pt x="516" y="143"/>
                  <a:pt x="517" y="142"/>
                  <a:pt x="518" y="143"/>
                </a:cubicBezTo>
                <a:close/>
                <a:moveTo>
                  <a:pt x="515" y="139"/>
                </a:moveTo>
                <a:cubicBezTo>
                  <a:pt x="516" y="140"/>
                  <a:pt x="515" y="140"/>
                  <a:pt x="515" y="140"/>
                </a:cubicBezTo>
                <a:cubicBezTo>
                  <a:pt x="515" y="140"/>
                  <a:pt x="515" y="139"/>
                  <a:pt x="515" y="139"/>
                </a:cubicBezTo>
                <a:close/>
                <a:moveTo>
                  <a:pt x="519" y="150"/>
                </a:moveTo>
                <a:cubicBezTo>
                  <a:pt x="520" y="150"/>
                  <a:pt x="518" y="151"/>
                  <a:pt x="518" y="151"/>
                </a:cubicBezTo>
                <a:cubicBezTo>
                  <a:pt x="517" y="150"/>
                  <a:pt x="519" y="150"/>
                  <a:pt x="519" y="150"/>
                </a:cubicBezTo>
                <a:close/>
                <a:moveTo>
                  <a:pt x="525" y="72"/>
                </a:moveTo>
                <a:cubicBezTo>
                  <a:pt x="525" y="72"/>
                  <a:pt x="525" y="72"/>
                  <a:pt x="524" y="72"/>
                </a:cubicBezTo>
                <a:cubicBezTo>
                  <a:pt x="524" y="72"/>
                  <a:pt x="525" y="71"/>
                  <a:pt x="525" y="72"/>
                </a:cubicBezTo>
                <a:close/>
                <a:moveTo>
                  <a:pt x="509" y="73"/>
                </a:moveTo>
                <a:cubicBezTo>
                  <a:pt x="510" y="72"/>
                  <a:pt x="513" y="74"/>
                  <a:pt x="516" y="74"/>
                </a:cubicBezTo>
                <a:cubicBezTo>
                  <a:pt x="517" y="73"/>
                  <a:pt x="522" y="72"/>
                  <a:pt x="523" y="73"/>
                </a:cubicBezTo>
                <a:cubicBezTo>
                  <a:pt x="523" y="75"/>
                  <a:pt x="517" y="75"/>
                  <a:pt x="517" y="75"/>
                </a:cubicBezTo>
                <a:cubicBezTo>
                  <a:pt x="517" y="76"/>
                  <a:pt x="520" y="79"/>
                  <a:pt x="520" y="79"/>
                </a:cubicBezTo>
                <a:cubicBezTo>
                  <a:pt x="522" y="87"/>
                  <a:pt x="509" y="84"/>
                  <a:pt x="506" y="82"/>
                </a:cubicBezTo>
                <a:cubicBezTo>
                  <a:pt x="501" y="80"/>
                  <a:pt x="510" y="81"/>
                  <a:pt x="507" y="77"/>
                </a:cubicBezTo>
                <a:cubicBezTo>
                  <a:pt x="511" y="79"/>
                  <a:pt x="508" y="74"/>
                  <a:pt x="509" y="73"/>
                </a:cubicBezTo>
                <a:close/>
                <a:moveTo>
                  <a:pt x="509" y="61"/>
                </a:moveTo>
                <a:cubicBezTo>
                  <a:pt x="510" y="61"/>
                  <a:pt x="508" y="62"/>
                  <a:pt x="507" y="61"/>
                </a:cubicBezTo>
                <a:cubicBezTo>
                  <a:pt x="507" y="61"/>
                  <a:pt x="509" y="60"/>
                  <a:pt x="509" y="61"/>
                </a:cubicBezTo>
                <a:close/>
                <a:moveTo>
                  <a:pt x="511" y="36"/>
                </a:moveTo>
                <a:cubicBezTo>
                  <a:pt x="511" y="37"/>
                  <a:pt x="509" y="37"/>
                  <a:pt x="509" y="36"/>
                </a:cubicBezTo>
                <a:cubicBezTo>
                  <a:pt x="509" y="35"/>
                  <a:pt x="510" y="35"/>
                  <a:pt x="511" y="36"/>
                </a:cubicBezTo>
                <a:close/>
                <a:moveTo>
                  <a:pt x="509" y="38"/>
                </a:moveTo>
                <a:cubicBezTo>
                  <a:pt x="509" y="40"/>
                  <a:pt x="506" y="39"/>
                  <a:pt x="506" y="38"/>
                </a:cubicBezTo>
                <a:cubicBezTo>
                  <a:pt x="506" y="37"/>
                  <a:pt x="509" y="36"/>
                  <a:pt x="509" y="38"/>
                </a:cubicBezTo>
                <a:close/>
                <a:moveTo>
                  <a:pt x="509" y="50"/>
                </a:moveTo>
                <a:cubicBezTo>
                  <a:pt x="504" y="53"/>
                  <a:pt x="503" y="50"/>
                  <a:pt x="509" y="50"/>
                </a:cubicBezTo>
                <a:close/>
                <a:moveTo>
                  <a:pt x="506" y="53"/>
                </a:moveTo>
                <a:cubicBezTo>
                  <a:pt x="505" y="54"/>
                  <a:pt x="504" y="53"/>
                  <a:pt x="504" y="53"/>
                </a:cubicBezTo>
                <a:cubicBezTo>
                  <a:pt x="504" y="53"/>
                  <a:pt x="506" y="53"/>
                  <a:pt x="506" y="53"/>
                </a:cubicBezTo>
                <a:close/>
                <a:moveTo>
                  <a:pt x="504" y="64"/>
                </a:moveTo>
                <a:cubicBezTo>
                  <a:pt x="503" y="65"/>
                  <a:pt x="502" y="65"/>
                  <a:pt x="501" y="65"/>
                </a:cubicBezTo>
                <a:cubicBezTo>
                  <a:pt x="501" y="64"/>
                  <a:pt x="503" y="63"/>
                  <a:pt x="504" y="64"/>
                </a:cubicBezTo>
                <a:close/>
                <a:moveTo>
                  <a:pt x="501" y="64"/>
                </a:moveTo>
                <a:cubicBezTo>
                  <a:pt x="501" y="64"/>
                  <a:pt x="500" y="65"/>
                  <a:pt x="500" y="64"/>
                </a:cubicBezTo>
                <a:cubicBezTo>
                  <a:pt x="500" y="64"/>
                  <a:pt x="501" y="63"/>
                  <a:pt x="501" y="64"/>
                </a:cubicBezTo>
                <a:close/>
                <a:moveTo>
                  <a:pt x="501" y="123"/>
                </a:moveTo>
                <a:cubicBezTo>
                  <a:pt x="501" y="123"/>
                  <a:pt x="501" y="123"/>
                  <a:pt x="501" y="123"/>
                </a:cubicBezTo>
                <a:cubicBezTo>
                  <a:pt x="502" y="125"/>
                  <a:pt x="499" y="121"/>
                  <a:pt x="501" y="123"/>
                </a:cubicBezTo>
                <a:close/>
                <a:moveTo>
                  <a:pt x="499" y="65"/>
                </a:moveTo>
                <a:cubicBezTo>
                  <a:pt x="501" y="65"/>
                  <a:pt x="497" y="65"/>
                  <a:pt x="499" y="65"/>
                </a:cubicBezTo>
                <a:close/>
                <a:moveTo>
                  <a:pt x="498" y="38"/>
                </a:moveTo>
                <a:cubicBezTo>
                  <a:pt x="498" y="38"/>
                  <a:pt x="497" y="39"/>
                  <a:pt x="497" y="38"/>
                </a:cubicBezTo>
                <a:cubicBezTo>
                  <a:pt x="497" y="38"/>
                  <a:pt x="497" y="37"/>
                  <a:pt x="498" y="38"/>
                </a:cubicBezTo>
                <a:close/>
                <a:moveTo>
                  <a:pt x="497" y="31"/>
                </a:moveTo>
                <a:cubicBezTo>
                  <a:pt x="497" y="32"/>
                  <a:pt x="495" y="32"/>
                  <a:pt x="495" y="31"/>
                </a:cubicBezTo>
                <a:cubicBezTo>
                  <a:pt x="495" y="31"/>
                  <a:pt x="496" y="31"/>
                  <a:pt x="497" y="31"/>
                </a:cubicBezTo>
                <a:close/>
                <a:moveTo>
                  <a:pt x="496" y="40"/>
                </a:moveTo>
                <a:cubicBezTo>
                  <a:pt x="496" y="41"/>
                  <a:pt x="493" y="42"/>
                  <a:pt x="493" y="41"/>
                </a:cubicBezTo>
                <a:cubicBezTo>
                  <a:pt x="492" y="40"/>
                  <a:pt x="495" y="39"/>
                  <a:pt x="496" y="40"/>
                </a:cubicBezTo>
                <a:close/>
                <a:moveTo>
                  <a:pt x="492" y="44"/>
                </a:moveTo>
                <a:cubicBezTo>
                  <a:pt x="493" y="43"/>
                  <a:pt x="494" y="45"/>
                  <a:pt x="492" y="44"/>
                </a:cubicBezTo>
                <a:close/>
                <a:moveTo>
                  <a:pt x="488" y="29"/>
                </a:moveTo>
                <a:cubicBezTo>
                  <a:pt x="489" y="30"/>
                  <a:pt x="486" y="30"/>
                  <a:pt x="486" y="29"/>
                </a:cubicBezTo>
                <a:cubicBezTo>
                  <a:pt x="486" y="28"/>
                  <a:pt x="488" y="28"/>
                  <a:pt x="488" y="29"/>
                </a:cubicBezTo>
                <a:close/>
                <a:moveTo>
                  <a:pt x="487" y="31"/>
                </a:moveTo>
                <a:cubicBezTo>
                  <a:pt x="487" y="31"/>
                  <a:pt x="488" y="31"/>
                  <a:pt x="488" y="31"/>
                </a:cubicBezTo>
                <a:cubicBezTo>
                  <a:pt x="489" y="32"/>
                  <a:pt x="487" y="32"/>
                  <a:pt x="487" y="31"/>
                </a:cubicBezTo>
                <a:close/>
                <a:moveTo>
                  <a:pt x="488" y="40"/>
                </a:moveTo>
                <a:cubicBezTo>
                  <a:pt x="488" y="41"/>
                  <a:pt x="487" y="41"/>
                  <a:pt x="486" y="41"/>
                </a:cubicBezTo>
                <a:cubicBezTo>
                  <a:pt x="486" y="40"/>
                  <a:pt x="487" y="40"/>
                  <a:pt x="488" y="40"/>
                </a:cubicBezTo>
                <a:close/>
                <a:moveTo>
                  <a:pt x="484" y="41"/>
                </a:moveTo>
                <a:cubicBezTo>
                  <a:pt x="485" y="42"/>
                  <a:pt x="483" y="42"/>
                  <a:pt x="483" y="42"/>
                </a:cubicBezTo>
                <a:cubicBezTo>
                  <a:pt x="483" y="41"/>
                  <a:pt x="484" y="41"/>
                  <a:pt x="484" y="41"/>
                </a:cubicBezTo>
                <a:close/>
                <a:moveTo>
                  <a:pt x="483" y="38"/>
                </a:moveTo>
                <a:cubicBezTo>
                  <a:pt x="482" y="37"/>
                  <a:pt x="484" y="38"/>
                  <a:pt x="483" y="38"/>
                </a:cubicBezTo>
                <a:close/>
                <a:moveTo>
                  <a:pt x="483" y="51"/>
                </a:moveTo>
                <a:cubicBezTo>
                  <a:pt x="485" y="47"/>
                  <a:pt x="492" y="43"/>
                  <a:pt x="496" y="48"/>
                </a:cubicBezTo>
                <a:cubicBezTo>
                  <a:pt x="496" y="49"/>
                  <a:pt x="494" y="53"/>
                  <a:pt x="493" y="53"/>
                </a:cubicBezTo>
                <a:cubicBezTo>
                  <a:pt x="493" y="53"/>
                  <a:pt x="491" y="53"/>
                  <a:pt x="490" y="53"/>
                </a:cubicBezTo>
                <a:cubicBezTo>
                  <a:pt x="490" y="53"/>
                  <a:pt x="490" y="54"/>
                  <a:pt x="489" y="54"/>
                </a:cubicBezTo>
                <a:cubicBezTo>
                  <a:pt x="488" y="54"/>
                  <a:pt x="485" y="54"/>
                  <a:pt x="483" y="54"/>
                </a:cubicBezTo>
                <a:cubicBezTo>
                  <a:pt x="483" y="54"/>
                  <a:pt x="483" y="54"/>
                  <a:pt x="482" y="54"/>
                </a:cubicBezTo>
                <a:cubicBezTo>
                  <a:pt x="482" y="53"/>
                  <a:pt x="483" y="52"/>
                  <a:pt x="483" y="51"/>
                </a:cubicBezTo>
                <a:close/>
                <a:moveTo>
                  <a:pt x="482" y="56"/>
                </a:moveTo>
                <a:cubicBezTo>
                  <a:pt x="483" y="57"/>
                  <a:pt x="480" y="57"/>
                  <a:pt x="480" y="57"/>
                </a:cubicBezTo>
                <a:cubicBezTo>
                  <a:pt x="479" y="55"/>
                  <a:pt x="482" y="55"/>
                  <a:pt x="482" y="56"/>
                </a:cubicBezTo>
                <a:close/>
                <a:moveTo>
                  <a:pt x="479" y="43"/>
                </a:moveTo>
                <a:cubicBezTo>
                  <a:pt x="479" y="45"/>
                  <a:pt x="475" y="45"/>
                  <a:pt x="474" y="44"/>
                </a:cubicBezTo>
                <a:cubicBezTo>
                  <a:pt x="474" y="43"/>
                  <a:pt x="478" y="42"/>
                  <a:pt x="479" y="43"/>
                </a:cubicBezTo>
                <a:close/>
                <a:moveTo>
                  <a:pt x="473" y="28"/>
                </a:moveTo>
                <a:cubicBezTo>
                  <a:pt x="472" y="28"/>
                  <a:pt x="474" y="28"/>
                  <a:pt x="473" y="28"/>
                </a:cubicBezTo>
                <a:close/>
                <a:moveTo>
                  <a:pt x="471" y="33"/>
                </a:moveTo>
                <a:cubicBezTo>
                  <a:pt x="471" y="34"/>
                  <a:pt x="470" y="34"/>
                  <a:pt x="469" y="34"/>
                </a:cubicBezTo>
                <a:cubicBezTo>
                  <a:pt x="469" y="33"/>
                  <a:pt x="471" y="32"/>
                  <a:pt x="471" y="33"/>
                </a:cubicBezTo>
                <a:close/>
                <a:moveTo>
                  <a:pt x="467" y="32"/>
                </a:moveTo>
                <a:cubicBezTo>
                  <a:pt x="469" y="31"/>
                  <a:pt x="470" y="33"/>
                  <a:pt x="467" y="32"/>
                </a:cubicBezTo>
                <a:close/>
                <a:moveTo>
                  <a:pt x="467" y="46"/>
                </a:moveTo>
                <a:cubicBezTo>
                  <a:pt x="468" y="44"/>
                  <a:pt x="469" y="47"/>
                  <a:pt x="467" y="46"/>
                </a:cubicBezTo>
                <a:close/>
                <a:moveTo>
                  <a:pt x="467" y="52"/>
                </a:moveTo>
                <a:cubicBezTo>
                  <a:pt x="466" y="52"/>
                  <a:pt x="468" y="53"/>
                  <a:pt x="467" y="52"/>
                </a:cubicBezTo>
                <a:close/>
                <a:moveTo>
                  <a:pt x="467" y="30"/>
                </a:moveTo>
                <a:cubicBezTo>
                  <a:pt x="467" y="30"/>
                  <a:pt x="468" y="31"/>
                  <a:pt x="467" y="31"/>
                </a:cubicBezTo>
                <a:cubicBezTo>
                  <a:pt x="465" y="31"/>
                  <a:pt x="467" y="28"/>
                  <a:pt x="467" y="30"/>
                </a:cubicBezTo>
                <a:close/>
                <a:moveTo>
                  <a:pt x="468" y="38"/>
                </a:moveTo>
                <a:cubicBezTo>
                  <a:pt x="468" y="39"/>
                  <a:pt x="466" y="40"/>
                  <a:pt x="465" y="39"/>
                </a:cubicBezTo>
                <a:cubicBezTo>
                  <a:pt x="465" y="38"/>
                  <a:pt x="467" y="37"/>
                  <a:pt x="468" y="38"/>
                </a:cubicBezTo>
                <a:close/>
                <a:moveTo>
                  <a:pt x="464" y="49"/>
                </a:moveTo>
                <a:cubicBezTo>
                  <a:pt x="463" y="50"/>
                  <a:pt x="462" y="48"/>
                  <a:pt x="462" y="49"/>
                </a:cubicBezTo>
                <a:cubicBezTo>
                  <a:pt x="460" y="46"/>
                  <a:pt x="468" y="49"/>
                  <a:pt x="464" y="49"/>
                </a:cubicBezTo>
                <a:close/>
                <a:moveTo>
                  <a:pt x="463" y="51"/>
                </a:moveTo>
                <a:cubicBezTo>
                  <a:pt x="463" y="51"/>
                  <a:pt x="464" y="51"/>
                  <a:pt x="464" y="51"/>
                </a:cubicBezTo>
                <a:cubicBezTo>
                  <a:pt x="465" y="52"/>
                  <a:pt x="464" y="51"/>
                  <a:pt x="463" y="51"/>
                </a:cubicBezTo>
                <a:close/>
                <a:moveTo>
                  <a:pt x="447" y="79"/>
                </a:moveTo>
                <a:cubicBezTo>
                  <a:pt x="448" y="79"/>
                  <a:pt x="446" y="80"/>
                  <a:pt x="446" y="80"/>
                </a:cubicBezTo>
                <a:cubicBezTo>
                  <a:pt x="446" y="79"/>
                  <a:pt x="446" y="79"/>
                  <a:pt x="447" y="79"/>
                </a:cubicBezTo>
                <a:close/>
                <a:moveTo>
                  <a:pt x="446" y="189"/>
                </a:moveTo>
                <a:cubicBezTo>
                  <a:pt x="446" y="188"/>
                  <a:pt x="448" y="188"/>
                  <a:pt x="448" y="189"/>
                </a:cubicBezTo>
                <a:cubicBezTo>
                  <a:pt x="448" y="190"/>
                  <a:pt x="446" y="190"/>
                  <a:pt x="446" y="189"/>
                </a:cubicBezTo>
                <a:close/>
                <a:moveTo>
                  <a:pt x="449" y="610"/>
                </a:moveTo>
                <a:cubicBezTo>
                  <a:pt x="448" y="610"/>
                  <a:pt x="447" y="610"/>
                  <a:pt x="446" y="610"/>
                </a:cubicBezTo>
                <a:cubicBezTo>
                  <a:pt x="447" y="609"/>
                  <a:pt x="448" y="609"/>
                  <a:pt x="449" y="610"/>
                </a:cubicBezTo>
                <a:close/>
                <a:moveTo>
                  <a:pt x="447" y="145"/>
                </a:moveTo>
                <a:cubicBezTo>
                  <a:pt x="446" y="146"/>
                  <a:pt x="445" y="145"/>
                  <a:pt x="447" y="145"/>
                </a:cubicBezTo>
                <a:close/>
                <a:moveTo>
                  <a:pt x="447" y="126"/>
                </a:moveTo>
                <a:cubicBezTo>
                  <a:pt x="447" y="126"/>
                  <a:pt x="446" y="127"/>
                  <a:pt x="446" y="127"/>
                </a:cubicBezTo>
                <a:cubicBezTo>
                  <a:pt x="446" y="127"/>
                  <a:pt x="446" y="126"/>
                  <a:pt x="447" y="126"/>
                </a:cubicBezTo>
                <a:close/>
                <a:moveTo>
                  <a:pt x="446" y="180"/>
                </a:moveTo>
                <a:cubicBezTo>
                  <a:pt x="446" y="184"/>
                  <a:pt x="439" y="183"/>
                  <a:pt x="438" y="180"/>
                </a:cubicBezTo>
                <a:cubicBezTo>
                  <a:pt x="438" y="178"/>
                  <a:pt x="446" y="176"/>
                  <a:pt x="446" y="180"/>
                </a:cubicBezTo>
                <a:close/>
                <a:moveTo>
                  <a:pt x="441" y="175"/>
                </a:moveTo>
                <a:cubicBezTo>
                  <a:pt x="441" y="173"/>
                  <a:pt x="444" y="173"/>
                  <a:pt x="444" y="174"/>
                </a:cubicBezTo>
                <a:cubicBezTo>
                  <a:pt x="445" y="176"/>
                  <a:pt x="442" y="176"/>
                  <a:pt x="441" y="175"/>
                </a:cubicBezTo>
                <a:close/>
                <a:moveTo>
                  <a:pt x="446" y="135"/>
                </a:moveTo>
                <a:cubicBezTo>
                  <a:pt x="444" y="136"/>
                  <a:pt x="441" y="137"/>
                  <a:pt x="440" y="136"/>
                </a:cubicBezTo>
                <a:cubicBezTo>
                  <a:pt x="442" y="136"/>
                  <a:pt x="444" y="134"/>
                  <a:pt x="446" y="135"/>
                </a:cubicBezTo>
                <a:close/>
                <a:moveTo>
                  <a:pt x="443" y="79"/>
                </a:moveTo>
                <a:cubicBezTo>
                  <a:pt x="444" y="78"/>
                  <a:pt x="445" y="80"/>
                  <a:pt x="443" y="79"/>
                </a:cubicBezTo>
                <a:close/>
                <a:moveTo>
                  <a:pt x="443" y="79"/>
                </a:moveTo>
                <a:cubicBezTo>
                  <a:pt x="442" y="80"/>
                  <a:pt x="440" y="81"/>
                  <a:pt x="439" y="81"/>
                </a:cubicBezTo>
                <a:cubicBezTo>
                  <a:pt x="439" y="79"/>
                  <a:pt x="441" y="80"/>
                  <a:pt x="443" y="79"/>
                </a:cubicBezTo>
                <a:close/>
                <a:moveTo>
                  <a:pt x="438" y="137"/>
                </a:moveTo>
                <a:cubicBezTo>
                  <a:pt x="439" y="137"/>
                  <a:pt x="437" y="138"/>
                  <a:pt x="437" y="138"/>
                </a:cubicBezTo>
                <a:cubicBezTo>
                  <a:pt x="437" y="138"/>
                  <a:pt x="438" y="137"/>
                  <a:pt x="438" y="137"/>
                </a:cubicBezTo>
                <a:close/>
                <a:moveTo>
                  <a:pt x="437" y="228"/>
                </a:moveTo>
                <a:cubicBezTo>
                  <a:pt x="436" y="229"/>
                  <a:pt x="433" y="230"/>
                  <a:pt x="432" y="232"/>
                </a:cubicBezTo>
                <a:cubicBezTo>
                  <a:pt x="433" y="230"/>
                  <a:pt x="435" y="229"/>
                  <a:pt x="437" y="228"/>
                </a:cubicBezTo>
                <a:close/>
                <a:moveTo>
                  <a:pt x="431" y="647"/>
                </a:moveTo>
                <a:cubicBezTo>
                  <a:pt x="432" y="648"/>
                  <a:pt x="430" y="646"/>
                  <a:pt x="431" y="647"/>
                </a:cubicBezTo>
                <a:close/>
                <a:moveTo>
                  <a:pt x="430" y="190"/>
                </a:move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lose/>
                <a:moveTo>
                  <a:pt x="430" y="233"/>
                </a:moveTo>
                <a:cubicBezTo>
                  <a:pt x="428" y="236"/>
                  <a:pt x="427" y="233"/>
                  <a:pt x="430" y="233"/>
                </a:cubicBezTo>
                <a:close/>
                <a:moveTo>
                  <a:pt x="430" y="647"/>
                </a:moveTo>
                <a:cubicBezTo>
                  <a:pt x="430" y="648"/>
                  <a:pt x="428" y="648"/>
                  <a:pt x="428" y="648"/>
                </a:cubicBezTo>
                <a:cubicBezTo>
                  <a:pt x="428" y="647"/>
                  <a:pt x="429" y="647"/>
                  <a:pt x="430" y="647"/>
                </a:cubicBezTo>
                <a:close/>
                <a:moveTo>
                  <a:pt x="427" y="105"/>
                </a:moveTo>
                <a:cubicBezTo>
                  <a:pt x="426" y="104"/>
                  <a:pt x="428" y="106"/>
                  <a:pt x="427" y="105"/>
                </a:cubicBezTo>
                <a:close/>
                <a:moveTo>
                  <a:pt x="426" y="572"/>
                </a:moveTo>
                <a:cubicBezTo>
                  <a:pt x="427" y="571"/>
                  <a:pt x="427" y="574"/>
                  <a:pt x="426" y="573"/>
                </a:cubicBezTo>
                <a:cubicBezTo>
                  <a:pt x="426" y="573"/>
                  <a:pt x="426" y="572"/>
                  <a:pt x="426" y="572"/>
                </a:cubicBezTo>
                <a:close/>
                <a:moveTo>
                  <a:pt x="424" y="210"/>
                </a:moveTo>
                <a:cubicBezTo>
                  <a:pt x="425" y="209"/>
                  <a:pt x="426" y="211"/>
                  <a:pt x="424" y="210"/>
                </a:cubicBezTo>
                <a:close/>
                <a:moveTo>
                  <a:pt x="422" y="80"/>
                </a:moveTo>
                <a:cubicBezTo>
                  <a:pt x="423" y="81"/>
                  <a:pt x="421" y="81"/>
                  <a:pt x="420" y="81"/>
                </a:cubicBezTo>
                <a:cubicBezTo>
                  <a:pt x="420" y="80"/>
                  <a:pt x="422" y="80"/>
                  <a:pt x="422" y="80"/>
                </a:cubicBezTo>
                <a:close/>
                <a:moveTo>
                  <a:pt x="423" y="85"/>
                </a:moveTo>
                <a:cubicBezTo>
                  <a:pt x="423" y="85"/>
                  <a:pt x="420" y="86"/>
                  <a:pt x="420" y="85"/>
                </a:cubicBezTo>
                <a:cubicBezTo>
                  <a:pt x="419" y="85"/>
                  <a:pt x="424" y="83"/>
                  <a:pt x="423" y="85"/>
                </a:cubicBezTo>
                <a:close/>
                <a:moveTo>
                  <a:pt x="421" y="667"/>
                </a:moveTo>
                <a:cubicBezTo>
                  <a:pt x="423" y="666"/>
                  <a:pt x="422" y="668"/>
                  <a:pt x="421" y="667"/>
                </a:cubicBezTo>
                <a:close/>
                <a:moveTo>
                  <a:pt x="419" y="54"/>
                </a:moveTo>
                <a:cubicBezTo>
                  <a:pt x="420" y="54"/>
                  <a:pt x="419" y="55"/>
                  <a:pt x="419" y="55"/>
                </a:cubicBezTo>
                <a:cubicBezTo>
                  <a:pt x="418" y="55"/>
                  <a:pt x="418" y="54"/>
                  <a:pt x="419" y="54"/>
                </a:cubicBezTo>
                <a:close/>
                <a:moveTo>
                  <a:pt x="419" y="61"/>
                </a:moveTo>
                <a:cubicBezTo>
                  <a:pt x="419" y="61"/>
                  <a:pt x="417" y="61"/>
                  <a:pt x="417" y="60"/>
                </a:cubicBezTo>
                <a:cubicBezTo>
                  <a:pt x="417" y="60"/>
                  <a:pt x="418" y="60"/>
                  <a:pt x="419" y="61"/>
                </a:cubicBezTo>
                <a:close/>
                <a:moveTo>
                  <a:pt x="411" y="63"/>
                </a:moveTo>
                <a:cubicBezTo>
                  <a:pt x="411" y="63"/>
                  <a:pt x="410" y="64"/>
                  <a:pt x="410" y="63"/>
                </a:cubicBezTo>
                <a:cubicBezTo>
                  <a:pt x="409" y="63"/>
                  <a:pt x="411" y="62"/>
                  <a:pt x="411" y="63"/>
                </a:cubicBezTo>
                <a:close/>
                <a:moveTo>
                  <a:pt x="408" y="93"/>
                </a:moveTo>
                <a:cubicBezTo>
                  <a:pt x="408" y="94"/>
                  <a:pt x="407" y="94"/>
                  <a:pt x="407" y="94"/>
                </a:cubicBezTo>
                <a:cubicBezTo>
                  <a:pt x="406" y="93"/>
                  <a:pt x="408" y="93"/>
                  <a:pt x="408" y="93"/>
                </a:cubicBezTo>
                <a:close/>
                <a:moveTo>
                  <a:pt x="406" y="125"/>
                </a:moveTo>
                <a:cubicBezTo>
                  <a:pt x="406" y="126"/>
                  <a:pt x="404" y="125"/>
                  <a:pt x="406" y="125"/>
                </a:cubicBezTo>
                <a:close/>
                <a:moveTo>
                  <a:pt x="405" y="97"/>
                </a:moveTo>
                <a:cubicBezTo>
                  <a:pt x="404" y="97"/>
                  <a:pt x="404" y="97"/>
                  <a:pt x="404" y="96"/>
                </a:cubicBezTo>
                <a:cubicBezTo>
                  <a:pt x="403" y="95"/>
                  <a:pt x="406" y="97"/>
                  <a:pt x="405" y="97"/>
                </a:cubicBezTo>
                <a:close/>
                <a:moveTo>
                  <a:pt x="408" y="154"/>
                </a:moveTo>
                <a:cubicBezTo>
                  <a:pt x="406" y="156"/>
                  <a:pt x="402" y="158"/>
                  <a:pt x="399" y="158"/>
                </a:cubicBezTo>
                <a:cubicBezTo>
                  <a:pt x="402" y="157"/>
                  <a:pt x="405" y="156"/>
                  <a:pt x="408" y="154"/>
                </a:cubicBezTo>
                <a:close/>
                <a:moveTo>
                  <a:pt x="399" y="122"/>
                </a:moveTo>
                <a:cubicBezTo>
                  <a:pt x="399" y="122"/>
                  <a:pt x="400" y="121"/>
                  <a:pt x="400" y="122"/>
                </a:cubicBezTo>
                <a:cubicBezTo>
                  <a:pt x="400" y="122"/>
                  <a:pt x="400" y="123"/>
                  <a:pt x="399" y="122"/>
                </a:cubicBezTo>
                <a:close/>
                <a:moveTo>
                  <a:pt x="401" y="71"/>
                </a:moveTo>
                <a:cubicBezTo>
                  <a:pt x="402" y="72"/>
                  <a:pt x="400" y="73"/>
                  <a:pt x="399" y="72"/>
                </a:cubicBezTo>
                <a:cubicBezTo>
                  <a:pt x="399" y="71"/>
                  <a:pt x="401" y="70"/>
                  <a:pt x="401" y="71"/>
                </a:cubicBezTo>
                <a:close/>
                <a:moveTo>
                  <a:pt x="399" y="97"/>
                </a:moveTo>
                <a:cubicBezTo>
                  <a:pt x="399" y="97"/>
                  <a:pt x="398" y="98"/>
                  <a:pt x="397" y="97"/>
                </a:cubicBezTo>
                <a:cubicBezTo>
                  <a:pt x="398" y="97"/>
                  <a:pt x="398" y="97"/>
                  <a:pt x="399" y="97"/>
                </a:cubicBezTo>
                <a:close/>
                <a:moveTo>
                  <a:pt x="398" y="160"/>
                </a:moveTo>
                <a:cubicBezTo>
                  <a:pt x="398" y="160"/>
                  <a:pt x="398" y="159"/>
                  <a:pt x="399" y="159"/>
                </a:cubicBezTo>
                <a:cubicBezTo>
                  <a:pt x="399" y="159"/>
                  <a:pt x="398" y="160"/>
                  <a:pt x="398" y="160"/>
                </a:cubicBezTo>
                <a:close/>
                <a:moveTo>
                  <a:pt x="398" y="169"/>
                </a:moveTo>
                <a:cubicBezTo>
                  <a:pt x="399" y="170"/>
                  <a:pt x="397" y="171"/>
                  <a:pt x="397" y="170"/>
                </a:cubicBezTo>
                <a:cubicBezTo>
                  <a:pt x="397" y="169"/>
                  <a:pt x="398" y="169"/>
                  <a:pt x="398" y="169"/>
                </a:cubicBezTo>
                <a:close/>
                <a:moveTo>
                  <a:pt x="397" y="159"/>
                </a:moveTo>
                <a:cubicBezTo>
                  <a:pt x="397" y="160"/>
                  <a:pt x="395" y="162"/>
                  <a:pt x="395" y="161"/>
                </a:cubicBezTo>
                <a:cubicBezTo>
                  <a:pt x="395" y="160"/>
                  <a:pt x="397" y="160"/>
                  <a:pt x="397" y="159"/>
                </a:cubicBezTo>
                <a:close/>
                <a:moveTo>
                  <a:pt x="395" y="78"/>
                </a:moveTo>
                <a:cubicBezTo>
                  <a:pt x="395" y="78"/>
                  <a:pt x="394" y="78"/>
                  <a:pt x="394" y="78"/>
                </a:cubicBezTo>
                <a:cubicBezTo>
                  <a:pt x="393" y="78"/>
                  <a:pt x="395" y="78"/>
                  <a:pt x="395" y="78"/>
                </a:cubicBezTo>
                <a:close/>
                <a:moveTo>
                  <a:pt x="392" y="104"/>
                </a:moveTo>
                <a:cubicBezTo>
                  <a:pt x="393" y="106"/>
                  <a:pt x="390" y="105"/>
                  <a:pt x="390" y="104"/>
                </a:cubicBezTo>
                <a:cubicBezTo>
                  <a:pt x="390" y="102"/>
                  <a:pt x="392" y="103"/>
                  <a:pt x="392" y="104"/>
                </a:cubicBezTo>
                <a:close/>
                <a:moveTo>
                  <a:pt x="388" y="79"/>
                </a:moveTo>
                <a:cubicBezTo>
                  <a:pt x="387" y="80"/>
                  <a:pt x="386" y="79"/>
                  <a:pt x="385" y="80"/>
                </a:cubicBezTo>
                <a:cubicBezTo>
                  <a:pt x="385" y="79"/>
                  <a:pt x="387" y="79"/>
                  <a:pt x="388" y="79"/>
                </a:cubicBezTo>
                <a:close/>
                <a:moveTo>
                  <a:pt x="385" y="112"/>
                </a:moveTo>
                <a:cubicBezTo>
                  <a:pt x="385" y="112"/>
                  <a:pt x="387" y="111"/>
                  <a:pt x="387" y="112"/>
                </a:cubicBezTo>
                <a:cubicBezTo>
                  <a:pt x="388" y="114"/>
                  <a:pt x="384" y="114"/>
                  <a:pt x="385" y="112"/>
                </a:cubicBezTo>
                <a:close/>
                <a:moveTo>
                  <a:pt x="382" y="113"/>
                </a:moveTo>
                <a:cubicBezTo>
                  <a:pt x="384" y="111"/>
                  <a:pt x="385" y="114"/>
                  <a:pt x="382" y="113"/>
                </a:cubicBezTo>
                <a:close/>
                <a:moveTo>
                  <a:pt x="379" y="110"/>
                </a:moveTo>
                <a:cubicBezTo>
                  <a:pt x="380" y="111"/>
                  <a:pt x="376" y="111"/>
                  <a:pt x="376" y="110"/>
                </a:cubicBezTo>
                <a:cubicBezTo>
                  <a:pt x="375" y="109"/>
                  <a:pt x="378" y="108"/>
                  <a:pt x="379" y="110"/>
                </a:cubicBezTo>
                <a:close/>
                <a:moveTo>
                  <a:pt x="379" y="80"/>
                </a:moveTo>
                <a:cubicBezTo>
                  <a:pt x="379" y="80"/>
                  <a:pt x="377" y="81"/>
                  <a:pt x="377" y="81"/>
                </a:cubicBezTo>
                <a:cubicBezTo>
                  <a:pt x="377" y="80"/>
                  <a:pt x="378" y="80"/>
                  <a:pt x="379" y="80"/>
                </a:cubicBezTo>
                <a:close/>
                <a:moveTo>
                  <a:pt x="376" y="81"/>
                </a:moveTo>
                <a:cubicBezTo>
                  <a:pt x="375" y="81"/>
                  <a:pt x="374" y="81"/>
                  <a:pt x="374" y="81"/>
                </a:cubicBezTo>
                <a:cubicBezTo>
                  <a:pt x="373" y="81"/>
                  <a:pt x="375" y="81"/>
                  <a:pt x="376" y="81"/>
                </a:cubicBezTo>
                <a:close/>
                <a:moveTo>
                  <a:pt x="372" y="76"/>
                </a:moveTo>
                <a:cubicBezTo>
                  <a:pt x="372" y="76"/>
                  <a:pt x="372" y="76"/>
                  <a:pt x="372" y="76"/>
                </a:cubicBezTo>
                <a:cubicBezTo>
                  <a:pt x="372" y="76"/>
                  <a:pt x="371" y="76"/>
                  <a:pt x="371" y="76"/>
                </a:cubicBezTo>
                <a:cubicBezTo>
                  <a:pt x="371" y="76"/>
                  <a:pt x="371" y="76"/>
                  <a:pt x="372" y="76"/>
                </a:cubicBezTo>
                <a:close/>
                <a:moveTo>
                  <a:pt x="363" y="95"/>
                </a:moveTo>
                <a:cubicBezTo>
                  <a:pt x="362" y="96"/>
                  <a:pt x="361" y="94"/>
                  <a:pt x="363" y="95"/>
                </a:cubicBezTo>
                <a:close/>
                <a:moveTo>
                  <a:pt x="362" y="110"/>
                </a:moveTo>
                <a:cubicBezTo>
                  <a:pt x="362" y="112"/>
                  <a:pt x="358" y="112"/>
                  <a:pt x="357" y="111"/>
                </a:cubicBezTo>
                <a:cubicBezTo>
                  <a:pt x="357" y="111"/>
                  <a:pt x="357" y="111"/>
                  <a:pt x="356" y="110"/>
                </a:cubicBezTo>
                <a:cubicBezTo>
                  <a:pt x="357" y="111"/>
                  <a:pt x="355" y="112"/>
                  <a:pt x="355" y="111"/>
                </a:cubicBezTo>
                <a:cubicBezTo>
                  <a:pt x="354" y="110"/>
                  <a:pt x="363" y="106"/>
                  <a:pt x="362" y="110"/>
                </a:cubicBezTo>
                <a:close/>
                <a:moveTo>
                  <a:pt x="357" y="127"/>
                </a:moveTo>
                <a:cubicBezTo>
                  <a:pt x="362" y="124"/>
                  <a:pt x="368" y="124"/>
                  <a:pt x="374" y="121"/>
                </a:cubicBezTo>
                <a:cubicBezTo>
                  <a:pt x="379" y="119"/>
                  <a:pt x="384" y="116"/>
                  <a:pt x="389" y="116"/>
                </a:cubicBezTo>
                <a:cubicBezTo>
                  <a:pt x="389" y="116"/>
                  <a:pt x="390" y="117"/>
                  <a:pt x="390" y="117"/>
                </a:cubicBezTo>
                <a:cubicBezTo>
                  <a:pt x="390" y="118"/>
                  <a:pt x="381" y="121"/>
                  <a:pt x="378" y="122"/>
                </a:cubicBezTo>
                <a:cubicBezTo>
                  <a:pt x="373" y="123"/>
                  <a:pt x="369" y="124"/>
                  <a:pt x="364" y="125"/>
                </a:cubicBezTo>
                <a:cubicBezTo>
                  <a:pt x="363" y="126"/>
                  <a:pt x="357" y="129"/>
                  <a:pt x="355" y="129"/>
                </a:cubicBezTo>
                <a:cubicBezTo>
                  <a:pt x="352" y="129"/>
                  <a:pt x="356" y="127"/>
                  <a:pt x="357" y="127"/>
                </a:cubicBezTo>
                <a:close/>
                <a:moveTo>
                  <a:pt x="357" y="587"/>
                </a:moveTo>
                <a:cubicBezTo>
                  <a:pt x="365" y="583"/>
                  <a:pt x="375" y="580"/>
                  <a:pt x="384" y="576"/>
                </a:cubicBezTo>
                <a:cubicBezTo>
                  <a:pt x="385" y="576"/>
                  <a:pt x="387" y="575"/>
                  <a:pt x="387" y="576"/>
                </a:cubicBezTo>
                <a:cubicBezTo>
                  <a:pt x="388" y="577"/>
                  <a:pt x="384" y="578"/>
                  <a:pt x="386" y="577"/>
                </a:cubicBezTo>
                <a:cubicBezTo>
                  <a:pt x="377" y="581"/>
                  <a:pt x="366" y="585"/>
                  <a:pt x="357" y="587"/>
                </a:cubicBezTo>
                <a:close/>
                <a:moveTo>
                  <a:pt x="376" y="609"/>
                </a:moveTo>
                <a:cubicBezTo>
                  <a:pt x="376" y="610"/>
                  <a:pt x="374" y="610"/>
                  <a:pt x="374" y="610"/>
                </a:cubicBezTo>
                <a:cubicBezTo>
                  <a:pt x="373" y="609"/>
                  <a:pt x="376" y="608"/>
                  <a:pt x="376" y="609"/>
                </a:cubicBezTo>
                <a:close/>
                <a:moveTo>
                  <a:pt x="374" y="600"/>
                </a:moveTo>
                <a:cubicBezTo>
                  <a:pt x="373" y="599"/>
                  <a:pt x="375" y="599"/>
                  <a:pt x="375" y="600"/>
                </a:cubicBezTo>
                <a:cubicBezTo>
                  <a:pt x="375" y="601"/>
                  <a:pt x="374" y="600"/>
                  <a:pt x="374" y="600"/>
                </a:cubicBezTo>
                <a:close/>
                <a:moveTo>
                  <a:pt x="372" y="610"/>
                </a:moveTo>
                <a:cubicBezTo>
                  <a:pt x="371" y="610"/>
                  <a:pt x="373" y="609"/>
                  <a:pt x="373" y="610"/>
                </a:cubicBezTo>
                <a:cubicBezTo>
                  <a:pt x="373" y="610"/>
                  <a:pt x="373" y="611"/>
                  <a:pt x="372" y="610"/>
                </a:cubicBezTo>
                <a:close/>
                <a:moveTo>
                  <a:pt x="364" y="137"/>
                </a:moveTo>
                <a:cubicBezTo>
                  <a:pt x="364" y="138"/>
                  <a:pt x="364" y="137"/>
                  <a:pt x="363" y="138"/>
                </a:cubicBezTo>
                <a:cubicBezTo>
                  <a:pt x="363" y="137"/>
                  <a:pt x="364" y="137"/>
                  <a:pt x="364" y="137"/>
                </a:cubicBezTo>
                <a:close/>
                <a:moveTo>
                  <a:pt x="376" y="167"/>
                </a:moveTo>
                <a:cubicBezTo>
                  <a:pt x="377" y="168"/>
                  <a:pt x="373" y="170"/>
                  <a:pt x="371" y="170"/>
                </a:cubicBezTo>
                <a:cubicBezTo>
                  <a:pt x="371" y="170"/>
                  <a:pt x="368" y="169"/>
                  <a:pt x="367" y="169"/>
                </a:cubicBezTo>
                <a:cubicBezTo>
                  <a:pt x="367" y="168"/>
                  <a:pt x="371" y="165"/>
                  <a:pt x="373" y="168"/>
                </a:cubicBezTo>
                <a:cubicBezTo>
                  <a:pt x="373" y="168"/>
                  <a:pt x="373" y="169"/>
                  <a:pt x="373" y="169"/>
                </a:cubicBezTo>
                <a:cubicBezTo>
                  <a:pt x="374" y="169"/>
                  <a:pt x="375" y="168"/>
                  <a:pt x="376" y="167"/>
                </a:cubicBezTo>
                <a:close/>
                <a:moveTo>
                  <a:pt x="369" y="576"/>
                </a:moveTo>
                <a:cubicBezTo>
                  <a:pt x="369" y="574"/>
                  <a:pt x="371" y="574"/>
                  <a:pt x="369" y="576"/>
                </a:cubicBezTo>
                <a:close/>
                <a:moveTo>
                  <a:pt x="368" y="211"/>
                </a:moveTo>
                <a:cubicBezTo>
                  <a:pt x="367" y="211"/>
                  <a:pt x="368" y="209"/>
                  <a:pt x="369" y="210"/>
                </a:cubicBezTo>
                <a:cubicBezTo>
                  <a:pt x="369" y="210"/>
                  <a:pt x="368" y="211"/>
                  <a:pt x="368" y="211"/>
                </a:cubicBezTo>
                <a:close/>
                <a:moveTo>
                  <a:pt x="368" y="576"/>
                </a:moveTo>
                <a:cubicBezTo>
                  <a:pt x="370" y="575"/>
                  <a:pt x="366" y="578"/>
                  <a:pt x="368" y="576"/>
                </a:cubicBezTo>
                <a:close/>
                <a:moveTo>
                  <a:pt x="379" y="184"/>
                </a:moveTo>
                <a:cubicBezTo>
                  <a:pt x="379" y="183"/>
                  <a:pt x="380" y="182"/>
                  <a:pt x="380" y="183"/>
                </a:cubicBezTo>
                <a:cubicBezTo>
                  <a:pt x="380" y="184"/>
                  <a:pt x="379" y="184"/>
                  <a:pt x="379" y="184"/>
                </a:cubicBezTo>
                <a:close/>
                <a:moveTo>
                  <a:pt x="356" y="609"/>
                </a:moveTo>
                <a:cubicBezTo>
                  <a:pt x="355" y="611"/>
                  <a:pt x="353" y="609"/>
                  <a:pt x="356" y="609"/>
                </a:cubicBezTo>
                <a:close/>
                <a:moveTo>
                  <a:pt x="354" y="556"/>
                </a:moveTo>
                <a:cubicBezTo>
                  <a:pt x="353" y="557"/>
                  <a:pt x="352" y="555"/>
                  <a:pt x="354" y="556"/>
                </a:cubicBezTo>
                <a:close/>
                <a:moveTo>
                  <a:pt x="352" y="532"/>
                </a:moveTo>
                <a:cubicBezTo>
                  <a:pt x="354" y="530"/>
                  <a:pt x="354" y="533"/>
                  <a:pt x="352" y="532"/>
                </a:cubicBezTo>
                <a:close/>
                <a:moveTo>
                  <a:pt x="354" y="674"/>
                </a:moveTo>
                <a:cubicBezTo>
                  <a:pt x="354" y="673"/>
                  <a:pt x="355" y="673"/>
                  <a:pt x="355" y="673"/>
                </a:cubicBezTo>
                <a:cubicBezTo>
                  <a:pt x="355" y="674"/>
                  <a:pt x="354" y="674"/>
                  <a:pt x="354" y="674"/>
                </a:cubicBezTo>
                <a:close/>
                <a:moveTo>
                  <a:pt x="357" y="697"/>
                </a:moveTo>
                <a:cubicBezTo>
                  <a:pt x="357" y="696"/>
                  <a:pt x="359" y="695"/>
                  <a:pt x="359" y="696"/>
                </a:cubicBezTo>
                <a:cubicBezTo>
                  <a:pt x="359" y="697"/>
                  <a:pt x="357" y="698"/>
                  <a:pt x="357" y="697"/>
                </a:cubicBezTo>
                <a:close/>
                <a:moveTo>
                  <a:pt x="357" y="671"/>
                </a:moveTo>
                <a:cubicBezTo>
                  <a:pt x="358" y="671"/>
                  <a:pt x="358" y="671"/>
                  <a:pt x="358" y="672"/>
                </a:cubicBezTo>
                <a:cubicBezTo>
                  <a:pt x="358" y="673"/>
                  <a:pt x="356" y="671"/>
                  <a:pt x="357" y="671"/>
                </a:cubicBezTo>
                <a:close/>
                <a:moveTo>
                  <a:pt x="360" y="643"/>
                </a:moveTo>
                <a:cubicBezTo>
                  <a:pt x="360" y="642"/>
                  <a:pt x="362" y="643"/>
                  <a:pt x="360" y="643"/>
                </a:cubicBezTo>
                <a:close/>
                <a:moveTo>
                  <a:pt x="360" y="630"/>
                </a:moveTo>
                <a:cubicBezTo>
                  <a:pt x="358" y="633"/>
                  <a:pt x="350" y="631"/>
                  <a:pt x="351" y="627"/>
                </a:cubicBezTo>
                <a:cubicBezTo>
                  <a:pt x="352" y="621"/>
                  <a:pt x="365" y="624"/>
                  <a:pt x="360" y="630"/>
                </a:cubicBezTo>
                <a:close/>
                <a:moveTo>
                  <a:pt x="371" y="611"/>
                </a:moveTo>
                <a:cubicBezTo>
                  <a:pt x="368" y="612"/>
                  <a:pt x="365" y="612"/>
                  <a:pt x="362" y="613"/>
                </a:cubicBezTo>
                <a:cubicBezTo>
                  <a:pt x="364" y="612"/>
                  <a:pt x="368" y="611"/>
                  <a:pt x="371" y="611"/>
                </a:cubicBezTo>
                <a:close/>
                <a:moveTo>
                  <a:pt x="363" y="671"/>
                </a:moveTo>
                <a:cubicBezTo>
                  <a:pt x="363" y="671"/>
                  <a:pt x="364" y="671"/>
                  <a:pt x="365" y="671"/>
                </a:cubicBezTo>
                <a:cubicBezTo>
                  <a:pt x="364" y="672"/>
                  <a:pt x="363" y="672"/>
                  <a:pt x="363" y="671"/>
                </a:cubicBezTo>
                <a:close/>
                <a:moveTo>
                  <a:pt x="364" y="691"/>
                </a:moveTo>
                <a:cubicBezTo>
                  <a:pt x="364" y="690"/>
                  <a:pt x="365" y="691"/>
                  <a:pt x="365" y="691"/>
                </a:cubicBezTo>
                <a:cubicBezTo>
                  <a:pt x="366" y="691"/>
                  <a:pt x="364" y="691"/>
                  <a:pt x="364" y="691"/>
                </a:cubicBezTo>
                <a:close/>
                <a:moveTo>
                  <a:pt x="365" y="647"/>
                </a:moveTo>
                <a:cubicBezTo>
                  <a:pt x="365" y="646"/>
                  <a:pt x="366" y="646"/>
                  <a:pt x="366" y="646"/>
                </a:cubicBezTo>
                <a:cubicBezTo>
                  <a:pt x="367" y="647"/>
                  <a:pt x="365" y="647"/>
                  <a:pt x="365" y="647"/>
                </a:cubicBezTo>
                <a:close/>
                <a:moveTo>
                  <a:pt x="370" y="666"/>
                </a:moveTo>
                <a:cubicBezTo>
                  <a:pt x="370" y="664"/>
                  <a:pt x="373" y="665"/>
                  <a:pt x="372" y="666"/>
                </a:cubicBezTo>
                <a:cubicBezTo>
                  <a:pt x="372" y="667"/>
                  <a:pt x="370" y="667"/>
                  <a:pt x="370" y="666"/>
                </a:cubicBezTo>
                <a:close/>
                <a:moveTo>
                  <a:pt x="371" y="691"/>
                </a:moveTo>
                <a:cubicBezTo>
                  <a:pt x="372" y="690"/>
                  <a:pt x="373" y="691"/>
                  <a:pt x="374" y="691"/>
                </a:cubicBezTo>
                <a:cubicBezTo>
                  <a:pt x="374" y="692"/>
                  <a:pt x="372" y="691"/>
                  <a:pt x="371" y="691"/>
                </a:cubicBezTo>
                <a:close/>
                <a:moveTo>
                  <a:pt x="379" y="659"/>
                </a:moveTo>
                <a:cubicBezTo>
                  <a:pt x="379" y="658"/>
                  <a:pt x="377" y="660"/>
                  <a:pt x="377" y="658"/>
                </a:cubicBezTo>
                <a:cubicBezTo>
                  <a:pt x="376" y="657"/>
                  <a:pt x="380" y="657"/>
                  <a:pt x="379" y="659"/>
                </a:cubicBezTo>
                <a:close/>
                <a:moveTo>
                  <a:pt x="381" y="691"/>
                </a:moveTo>
                <a:cubicBezTo>
                  <a:pt x="380" y="691"/>
                  <a:pt x="382" y="690"/>
                  <a:pt x="383" y="691"/>
                </a:cubicBezTo>
                <a:cubicBezTo>
                  <a:pt x="382" y="691"/>
                  <a:pt x="381" y="691"/>
                  <a:pt x="381" y="691"/>
                </a:cubicBezTo>
                <a:close/>
                <a:moveTo>
                  <a:pt x="382" y="658"/>
                </a:moveTo>
                <a:cubicBezTo>
                  <a:pt x="380" y="659"/>
                  <a:pt x="379" y="657"/>
                  <a:pt x="382" y="658"/>
                </a:cubicBezTo>
                <a:close/>
                <a:moveTo>
                  <a:pt x="383" y="691"/>
                </a:moveTo>
                <a:cubicBezTo>
                  <a:pt x="384" y="691"/>
                  <a:pt x="385" y="691"/>
                  <a:pt x="386" y="691"/>
                </a:cubicBezTo>
                <a:cubicBezTo>
                  <a:pt x="386" y="691"/>
                  <a:pt x="384" y="691"/>
                  <a:pt x="383" y="691"/>
                </a:cubicBezTo>
                <a:close/>
                <a:moveTo>
                  <a:pt x="387" y="696"/>
                </a:move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lose/>
                <a:moveTo>
                  <a:pt x="384" y="662"/>
                </a:moveTo>
                <a:cubicBezTo>
                  <a:pt x="384" y="660"/>
                  <a:pt x="388" y="661"/>
                  <a:pt x="388" y="662"/>
                </a:cubicBezTo>
                <a:cubicBezTo>
                  <a:pt x="388" y="663"/>
                  <a:pt x="385" y="664"/>
                  <a:pt x="384" y="662"/>
                </a:cubicBezTo>
                <a:close/>
                <a:moveTo>
                  <a:pt x="398" y="679"/>
                </a:moveTo>
                <a:cubicBezTo>
                  <a:pt x="400" y="678"/>
                  <a:pt x="400" y="680"/>
                  <a:pt x="398" y="679"/>
                </a:cubicBezTo>
                <a:close/>
                <a:moveTo>
                  <a:pt x="401" y="664"/>
                </a:moveTo>
                <a:cubicBezTo>
                  <a:pt x="402" y="662"/>
                  <a:pt x="405" y="663"/>
                  <a:pt x="406" y="663"/>
                </a:cubicBezTo>
                <a:cubicBezTo>
                  <a:pt x="406" y="663"/>
                  <a:pt x="407" y="664"/>
                  <a:pt x="407" y="664"/>
                </a:cubicBezTo>
                <a:cubicBezTo>
                  <a:pt x="406" y="664"/>
                  <a:pt x="408" y="663"/>
                  <a:pt x="409" y="664"/>
                </a:cubicBezTo>
                <a:cubicBezTo>
                  <a:pt x="409" y="665"/>
                  <a:pt x="400" y="667"/>
                  <a:pt x="401" y="664"/>
                </a:cubicBezTo>
                <a:close/>
                <a:moveTo>
                  <a:pt x="411" y="704"/>
                </a:moveTo>
                <a:cubicBezTo>
                  <a:pt x="410" y="704"/>
                  <a:pt x="411" y="704"/>
                  <a:pt x="411" y="704"/>
                </a:cubicBezTo>
                <a:cubicBezTo>
                  <a:pt x="411" y="704"/>
                  <a:pt x="411" y="704"/>
                  <a:pt x="411" y="704"/>
                </a:cubicBezTo>
                <a:close/>
                <a:moveTo>
                  <a:pt x="409" y="648"/>
                </a:moveTo>
                <a:cubicBezTo>
                  <a:pt x="403" y="650"/>
                  <a:pt x="397" y="649"/>
                  <a:pt x="391" y="651"/>
                </a:cubicBezTo>
                <a:cubicBezTo>
                  <a:pt x="386" y="652"/>
                  <a:pt x="381" y="655"/>
                  <a:pt x="376" y="654"/>
                </a:cubicBezTo>
                <a:cubicBezTo>
                  <a:pt x="375" y="654"/>
                  <a:pt x="375" y="653"/>
                  <a:pt x="375" y="653"/>
                </a:cubicBezTo>
                <a:cubicBezTo>
                  <a:pt x="374" y="652"/>
                  <a:pt x="384" y="650"/>
                  <a:pt x="387" y="650"/>
                </a:cubicBezTo>
                <a:cubicBezTo>
                  <a:pt x="393" y="649"/>
                  <a:pt x="396" y="649"/>
                  <a:pt x="401" y="648"/>
                </a:cubicBezTo>
                <a:cubicBezTo>
                  <a:pt x="403" y="648"/>
                  <a:pt x="408" y="646"/>
                  <a:pt x="410" y="646"/>
                </a:cubicBezTo>
                <a:cubicBezTo>
                  <a:pt x="413" y="647"/>
                  <a:pt x="409" y="648"/>
                  <a:pt x="409" y="648"/>
                </a:cubicBezTo>
                <a:close/>
                <a:moveTo>
                  <a:pt x="394" y="589"/>
                </a:moveTo>
                <a:cubicBezTo>
                  <a:pt x="394" y="588"/>
                  <a:pt x="395" y="588"/>
                  <a:pt x="395" y="589"/>
                </a:cubicBezTo>
                <a:cubicBezTo>
                  <a:pt x="395" y="589"/>
                  <a:pt x="394" y="590"/>
                  <a:pt x="394" y="589"/>
                </a:cubicBezTo>
                <a:close/>
                <a:moveTo>
                  <a:pt x="398" y="605"/>
                </a:moveTo>
                <a:cubicBezTo>
                  <a:pt x="398" y="605"/>
                  <a:pt x="399" y="604"/>
                  <a:pt x="399" y="604"/>
                </a:cubicBezTo>
                <a:cubicBezTo>
                  <a:pt x="398" y="604"/>
                  <a:pt x="396" y="605"/>
                  <a:pt x="395" y="605"/>
                </a:cubicBezTo>
                <a:cubicBezTo>
                  <a:pt x="395" y="605"/>
                  <a:pt x="399" y="603"/>
                  <a:pt x="400" y="603"/>
                </a:cubicBezTo>
                <a:cubicBezTo>
                  <a:pt x="401" y="603"/>
                  <a:pt x="404" y="605"/>
                  <a:pt x="404" y="605"/>
                </a:cubicBezTo>
                <a:cubicBezTo>
                  <a:pt x="404" y="606"/>
                  <a:pt x="400" y="608"/>
                  <a:pt x="398" y="605"/>
                </a:cubicBezTo>
                <a:close/>
                <a:moveTo>
                  <a:pt x="403" y="636"/>
                </a:moveTo>
                <a:cubicBezTo>
                  <a:pt x="403" y="636"/>
                  <a:pt x="404" y="637"/>
                  <a:pt x="404" y="636"/>
                </a:cubicBezTo>
                <a:cubicBezTo>
                  <a:pt x="404" y="637"/>
                  <a:pt x="403" y="637"/>
                  <a:pt x="403" y="636"/>
                </a:cubicBezTo>
                <a:close/>
                <a:moveTo>
                  <a:pt x="406" y="193"/>
                </a:moveTo>
                <a:cubicBezTo>
                  <a:pt x="406" y="195"/>
                  <a:pt x="404" y="195"/>
                  <a:pt x="406" y="193"/>
                </a:cubicBezTo>
                <a:close/>
                <a:moveTo>
                  <a:pt x="407" y="192"/>
                </a:moveTo>
                <a:cubicBezTo>
                  <a:pt x="406" y="194"/>
                  <a:pt x="409" y="190"/>
                  <a:pt x="407" y="192"/>
                </a:cubicBezTo>
                <a:close/>
                <a:moveTo>
                  <a:pt x="410" y="563"/>
                </a:moveTo>
                <a:cubicBezTo>
                  <a:pt x="410" y="564"/>
                  <a:pt x="410" y="565"/>
                  <a:pt x="409" y="564"/>
                </a:cubicBezTo>
                <a:cubicBezTo>
                  <a:pt x="408" y="564"/>
                  <a:pt x="409" y="563"/>
                  <a:pt x="410" y="563"/>
                </a:cubicBezTo>
                <a:close/>
                <a:moveTo>
                  <a:pt x="412" y="687"/>
                </a:moveTo>
                <a:cubicBezTo>
                  <a:pt x="414" y="686"/>
                  <a:pt x="414" y="687"/>
                  <a:pt x="412" y="687"/>
                </a:cubicBezTo>
                <a:close/>
                <a:moveTo>
                  <a:pt x="391" y="194"/>
                </a:moveTo>
                <a:cubicBezTo>
                  <a:pt x="391" y="194"/>
                  <a:pt x="389" y="196"/>
                  <a:pt x="388" y="195"/>
                </a:cubicBezTo>
                <a:cubicBezTo>
                  <a:pt x="388" y="194"/>
                  <a:pt x="391" y="193"/>
                  <a:pt x="390" y="194"/>
                </a:cubicBezTo>
                <a:cubicBezTo>
                  <a:pt x="398" y="189"/>
                  <a:pt x="408" y="183"/>
                  <a:pt x="417" y="179"/>
                </a:cubicBezTo>
                <a:cubicBezTo>
                  <a:pt x="409" y="185"/>
                  <a:pt x="400" y="189"/>
                  <a:pt x="391" y="194"/>
                </a:cubicBezTo>
                <a:close/>
                <a:moveTo>
                  <a:pt x="414" y="158"/>
                </a:moveTo>
                <a:cubicBezTo>
                  <a:pt x="415" y="156"/>
                  <a:pt x="417" y="157"/>
                  <a:pt x="414" y="158"/>
                </a:cubicBezTo>
                <a:close/>
                <a:moveTo>
                  <a:pt x="407" y="137"/>
                </a:moveTo>
                <a:cubicBezTo>
                  <a:pt x="409" y="134"/>
                  <a:pt x="417" y="135"/>
                  <a:pt x="417" y="139"/>
                </a:cubicBezTo>
                <a:cubicBezTo>
                  <a:pt x="417" y="145"/>
                  <a:pt x="403" y="144"/>
                  <a:pt x="407" y="137"/>
                </a:cubicBezTo>
                <a:close/>
                <a:moveTo>
                  <a:pt x="418" y="140"/>
                </a:moveTo>
                <a:cubicBezTo>
                  <a:pt x="418" y="139"/>
                  <a:pt x="419" y="142"/>
                  <a:pt x="418" y="140"/>
                </a:cubicBezTo>
                <a:close/>
                <a:moveTo>
                  <a:pt x="420" y="672"/>
                </a:moveTo>
                <a:cubicBezTo>
                  <a:pt x="419" y="672"/>
                  <a:pt x="418" y="672"/>
                  <a:pt x="418" y="672"/>
                </a:cubicBezTo>
                <a:cubicBezTo>
                  <a:pt x="418" y="671"/>
                  <a:pt x="432" y="670"/>
                  <a:pt x="435" y="670"/>
                </a:cubicBezTo>
                <a:cubicBezTo>
                  <a:pt x="437" y="671"/>
                  <a:pt x="433" y="672"/>
                  <a:pt x="432" y="672"/>
                </a:cubicBezTo>
                <a:cubicBezTo>
                  <a:pt x="428" y="672"/>
                  <a:pt x="423" y="673"/>
                  <a:pt x="420" y="672"/>
                </a:cubicBezTo>
                <a:close/>
                <a:moveTo>
                  <a:pt x="425" y="681"/>
                </a:moveTo>
                <a:cubicBezTo>
                  <a:pt x="425" y="681"/>
                  <a:pt x="425" y="680"/>
                  <a:pt x="425" y="680"/>
                </a:cubicBezTo>
                <a:cubicBezTo>
                  <a:pt x="425" y="680"/>
                  <a:pt x="425" y="680"/>
                  <a:pt x="425" y="681"/>
                </a:cubicBezTo>
                <a:cubicBezTo>
                  <a:pt x="425" y="681"/>
                  <a:pt x="425" y="681"/>
                  <a:pt x="425" y="681"/>
                </a:cubicBezTo>
                <a:cubicBezTo>
                  <a:pt x="426" y="681"/>
                  <a:pt x="426" y="681"/>
                  <a:pt x="425" y="681"/>
                </a:cubicBezTo>
                <a:close/>
                <a:moveTo>
                  <a:pt x="429" y="674"/>
                </a:moveTo>
                <a:cubicBezTo>
                  <a:pt x="429" y="674"/>
                  <a:pt x="426" y="674"/>
                  <a:pt x="428" y="673"/>
                </a:cubicBezTo>
                <a:cubicBezTo>
                  <a:pt x="431" y="672"/>
                  <a:pt x="437" y="672"/>
                  <a:pt x="441" y="672"/>
                </a:cubicBezTo>
                <a:cubicBezTo>
                  <a:pt x="438" y="673"/>
                  <a:pt x="433" y="674"/>
                  <a:pt x="429" y="674"/>
                </a:cubicBezTo>
                <a:close/>
                <a:moveTo>
                  <a:pt x="442" y="672"/>
                </a:moveTo>
                <a:cubicBezTo>
                  <a:pt x="444" y="671"/>
                  <a:pt x="448" y="669"/>
                  <a:pt x="452" y="670"/>
                </a:cubicBezTo>
                <a:cubicBezTo>
                  <a:pt x="449" y="671"/>
                  <a:pt x="445" y="671"/>
                  <a:pt x="442" y="672"/>
                </a:cubicBezTo>
                <a:close/>
                <a:moveTo>
                  <a:pt x="449" y="142"/>
                </a:moveTo>
                <a:cubicBezTo>
                  <a:pt x="450" y="141"/>
                  <a:pt x="450" y="141"/>
                  <a:pt x="451" y="142"/>
                </a:cubicBezTo>
                <a:cubicBezTo>
                  <a:pt x="451" y="142"/>
                  <a:pt x="450" y="142"/>
                  <a:pt x="449" y="142"/>
                </a:cubicBezTo>
                <a:close/>
                <a:moveTo>
                  <a:pt x="451" y="148"/>
                </a:moveTo>
                <a:cubicBezTo>
                  <a:pt x="452" y="149"/>
                  <a:pt x="450" y="147"/>
                  <a:pt x="451" y="148"/>
                </a:cubicBezTo>
                <a:close/>
                <a:moveTo>
                  <a:pt x="446" y="79"/>
                </a:moveTo>
                <a:cubicBezTo>
                  <a:pt x="448" y="77"/>
                  <a:pt x="450" y="78"/>
                  <a:pt x="452" y="77"/>
                </a:cubicBezTo>
                <a:cubicBezTo>
                  <a:pt x="451" y="78"/>
                  <a:pt x="448" y="79"/>
                  <a:pt x="446" y="79"/>
                </a:cubicBezTo>
                <a:close/>
                <a:moveTo>
                  <a:pt x="454" y="644"/>
                </a:moveTo>
                <a:cubicBezTo>
                  <a:pt x="454" y="644"/>
                  <a:pt x="454" y="644"/>
                  <a:pt x="454" y="644"/>
                </a:cubicBezTo>
                <a:cubicBezTo>
                  <a:pt x="455" y="642"/>
                  <a:pt x="455" y="647"/>
                  <a:pt x="454" y="644"/>
                </a:cubicBezTo>
                <a:close/>
                <a:moveTo>
                  <a:pt x="449" y="66"/>
                </a:moveTo>
                <a:cubicBezTo>
                  <a:pt x="449" y="66"/>
                  <a:pt x="448" y="65"/>
                  <a:pt x="448" y="65"/>
                </a:cubicBezTo>
                <a:cubicBezTo>
                  <a:pt x="448" y="64"/>
                  <a:pt x="451" y="62"/>
                  <a:pt x="453" y="61"/>
                </a:cubicBezTo>
                <a:cubicBezTo>
                  <a:pt x="451" y="61"/>
                  <a:pt x="450" y="62"/>
                  <a:pt x="448" y="62"/>
                </a:cubicBezTo>
                <a:cubicBezTo>
                  <a:pt x="444" y="62"/>
                  <a:pt x="452" y="60"/>
                  <a:pt x="453" y="60"/>
                </a:cubicBezTo>
                <a:cubicBezTo>
                  <a:pt x="458" y="59"/>
                  <a:pt x="462" y="58"/>
                  <a:pt x="466" y="57"/>
                </a:cubicBezTo>
                <a:cubicBezTo>
                  <a:pt x="468" y="57"/>
                  <a:pt x="475" y="56"/>
                  <a:pt x="475" y="57"/>
                </a:cubicBezTo>
                <a:cubicBezTo>
                  <a:pt x="476" y="58"/>
                  <a:pt x="468" y="59"/>
                  <a:pt x="465" y="59"/>
                </a:cubicBezTo>
                <a:cubicBezTo>
                  <a:pt x="461" y="60"/>
                  <a:pt x="459" y="60"/>
                  <a:pt x="456" y="61"/>
                </a:cubicBezTo>
                <a:cubicBezTo>
                  <a:pt x="458" y="61"/>
                  <a:pt x="461" y="62"/>
                  <a:pt x="460" y="64"/>
                </a:cubicBezTo>
                <a:cubicBezTo>
                  <a:pt x="460" y="69"/>
                  <a:pt x="453" y="68"/>
                  <a:pt x="449" y="66"/>
                </a:cubicBezTo>
                <a:close/>
                <a:moveTo>
                  <a:pt x="467" y="66"/>
                </a:moveTo>
                <a:cubicBezTo>
                  <a:pt x="468" y="65"/>
                  <a:pt x="470" y="62"/>
                  <a:pt x="471" y="63"/>
                </a:cubicBezTo>
                <a:cubicBezTo>
                  <a:pt x="473" y="65"/>
                  <a:pt x="469" y="66"/>
                  <a:pt x="467" y="66"/>
                </a:cubicBezTo>
                <a:close/>
                <a:moveTo>
                  <a:pt x="459" y="100"/>
                </a:moveTo>
                <a:cubicBezTo>
                  <a:pt x="458" y="100"/>
                  <a:pt x="458" y="99"/>
                  <a:pt x="459" y="98"/>
                </a:cubicBezTo>
                <a:cubicBezTo>
                  <a:pt x="461" y="96"/>
                  <a:pt x="462" y="100"/>
                  <a:pt x="459" y="100"/>
                </a:cubicBezTo>
                <a:close/>
                <a:moveTo>
                  <a:pt x="456" y="149"/>
                </a:moveTo>
                <a:cubicBezTo>
                  <a:pt x="456" y="149"/>
                  <a:pt x="460" y="145"/>
                  <a:pt x="461" y="146"/>
                </a:cubicBezTo>
                <a:cubicBezTo>
                  <a:pt x="463" y="148"/>
                  <a:pt x="457" y="150"/>
                  <a:pt x="456" y="149"/>
                </a:cubicBezTo>
                <a:close/>
                <a:moveTo>
                  <a:pt x="462" y="681"/>
                </a:moveTo>
                <a:cubicBezTo>
                  <a:pt x="464" y="680"/>
                  <a:pt x="464" y="682"/>
                  <a:pt x="462" y="681"/>
                </a:cubicBezTo>
                <a:close/>
                <a:moveTo>
                  <a:pt x="464" y="170"/>
                </a:moveTo>
                <a:cubicBezTo>
                  <a:pt x="463" y="171"/>
                  <a:pt x="461" y="171"/>
                  <a:pt x="460" y="171"/>
                </a:cubicBezTo>
                <a:cubicBezTo>
                  <a:pt x="459" y="172"/>
                  <a:pt x="459" y="172"/>
                  <a:pt x="458" y="172"/>
                </a:cubicBezTo>
                <a:cubicBezTo>
                  <a:pt x="459" y="172"/>
                  <a:pt x="459" y="172"/>
                  <a:pt x="460" y="171"/>
                </a:cubicBezTo>
                <a:cubicBezTo>
                  <a:pt x="462" y="170"/>
                  <a:pt x="464" y="168"/>
                  <a:pt x="465" y="168"/>
                </a:cubicBezTo>
                <a:cubicBezTo>
                  <a:pt x="468" y="167"/>
                  <a:pt x="464" y="170"/>
                  <a:pt x="464" y="170"/>
                </a:cubicBezTo>
                <a:close/>
                <a:moveTo>
                  <a:pt x="466" y="68"/>
                </a:moveTo>
                <a:cubicBezTo>
                  <a:pt x="466" y="68"/>
                  <a:pt x="466" y="68"/>
                  <a:pt x="466" y="68"/>
                </a:cubicBezTo>
                <a:cubicBezTo>
                  <a:pt x="467" y="70"/>
                  <a:pt x="464" y="67"/>
                  <a:pt x="466" y="68"/>
                </a:cubicBezTo>
                <a:close/>
                <a:moveTo>
                  <a:pt x="468" y="241"/>
                </a:moveTo>
                <a:cubicBezTo>
                  <a:pt x="468" y="243"/>
                  <a:pt x="465" y="242"/>
                  <a:pt x="468" y="241"/>
                </a:cubicBezTo>
                <a:close/>
                <a:moveTo>
                  <a:pt x="470" y="75"/>
                </a:moveTo>
                <a:cubicBezTo>
                  <a:pt x="470" y="75"/>
                  <a:pt x="470" y="76"/>
                  <a:pt x="470" y="77"/>
                </a:cubicBezTo>
                <a:cubicBezTo>
                  <a:pt x="471" y="77"/>
                  <a:pt x="472" y="75"/>
                  <a:pt x="472" y="75"/>
                </a:cubicBezTo>
                <a:cubicBezTo>
                  <a:pt x="472" y="74"/>
                  <a:pt x="471" y="74"/>
                  <a:pt x="471" y="73"/>
                </a:cubicBezTo>
                <a:cubicBezTo>
                  <a:pt x="471" y="74"/>
                  <a:pt x="470" y="73"/>
                  <a:pt x="471" y="73"/>
                </a:cubicBezTo>
                <a:cubicBezTo>
                  <a:pt x="472" y="72"/>
                  <a:pt x="473" y="73"/>
                  <a:pt x="473" y="73"/>
                </a:cubicBezTo>
                <a:cubicBezTo>
                  <a:pt x="474" y="72"/>
                  <a:pt x="475" y="72"/>
                  <a:pt x="476" y="72"/>
                </a:cubicBezTo>
                <a:cubicBezTo>
                  <a:pt x="477" y="72"/>
                  <a:pt x="481" y="75"/>
                  <a:pt x="478" y="76"/>
                </a:cubicBezTo>
                <a:cubicBezTo>
                  <a:pt x="476" y="77"/>
                  <a:pt x="471" y="78"/>
                  <a:pt x="469" y="77"/>
                </a:cubicBezTo>
                <a:cubicBezTo>
                  <a:pt x="468" y="77"/>
                  <a:pt x="468" y="74"/>
                  <a:pt x="470" y="75"/>
                </a:cubicBezTo>
                <a:close/>
                <a:moveTo>
                  <a:pt x="478" y="117"/>
                </a:moveTo>
                <a:cubicBezTo>
                  <a:pt x="479" y="118"/>
                  <a:pt x="477" y="118"/>
                  <a:pt x="476" y="118"/>
                </a:cubicBezTo>
                <a:cubicBezTo>
                  <a:pt x="476" y="117"/>
                  <a:pt x="478" y="117"/>
                  <a:pt x="478" y="117"/>
                </a:cubicBezTo>
                <a:close/>
                <a:moveTo>
                  <a:pt x="478" y="100"/>
                </a:move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lose/>
                <a:moveTo>
                  <a:pt x="478" y="100"/>
                </a:moveTo>
                <a:cubicBezTo>
                  <a:pt x="479" y="100"/>
                  <a:pt x="478" y="100"/>
                  <a:pt x="478" y="100"/>
                </a:cubicBezTo>
                <a:close/>
                <a:moveTo>
                  <a:pt x="476" y="97"/>
                </a:moveTo>
                <a:cubicBezTo>
                  <a:pt x="475" y="96"/>
                  <a:pt x="478" y="96"/>
                  <a:pt x="478" y="96"/>
                </a:cubicBezTo>
                <a:cubicBezTo>
                  <a:pt x="479" y="96"/>
                  <a:pt x="476" y="97"/>
                  <a:pt x="476" y="97"/>
                </a:cubicBezTo>
                <a:close/>
                <a:moveTo>
                  <a:pt x="474" y="91"/>
                </a:moveTo>
                <a:cubicBezTo>
                  <a:pt x="474" y="90"/>
                  <a:pt x="475" y="90"/>
                  <a:pt x="476" y="90"/>
                </a:cubicBezTo>
                <a:cubicBezTo>
                  <a:pt x="477" y="92"/>
                  <a:pt x="474" y="92"/>
                  <a:pt x="474" y="91"/>
                </a:cubicBezTo>
                <a:close/>
                <a:moveTo>
                  <a:pt x="477" y="107"/>
                </a:moveTo>
                <a:cubicBezTo>
                  <a:pt x="477" y="109"/>
                  <a:pt x="474" y="111"/>
                  <a:pt x="473" y="109"/>
                </a:cubicBezTo>
                <a:cubicBezTo>
                  <a:pt x="469" y="106"/>
                  <a:pt x="477" y="104"/>
                  <a:pt x="477" y="107"/>
                </a:cubicBezTo>
                <a:close/>
                <a:moveTo>
                  <a:pt x="472" y="112"/>
                </a:moveTo>
                <a:cubicBezTo>
                  <a:pt x="475" y="114"/>
                  <a:pt x="468" y="116"/>
                  <a:pt x="470" y="113"/>
                </a:cubicBezTo>
                <a:cubicBezTo>
                  <a:pt x="471" y="112"/>
                  <a:pt x="472" y="112"/>
                  <a:pt x="472" y="112"/>
                </a:cubicBezTo>
                <a:close/>
                <a:moveTo>
                  <a:pt x="475" y="122"/>
                </a:moveTo>
                <a:cubicBezTo>
                  <a:pt x="474" y="122"/>
                  <a:pt x="473" y="123"/>
                  <a:pt x="472" y="123"/>
                </a:cubicBezTo>
                <a:cubicBezTo>
                  <a:pt x="472" y="123"/>
                  <a:pt x="473" y="121"/>
                  <a:pt x="475" y="122"/>
                </a:cubicBezTo>
                <a:close/>
                <a:moveTo>
                  <a:pt x="474" y="123"/>
                </a:moveTo>
                <a:cubicBezTo>
                  <a:pt x="474" y="123"/>
                  <a:pt x="475" y="123"/>
                  <a:pt x="475" y="124"/>
                </a:cubicBezTo>
                <a:cubicBezTo>
                  <a:pt x="475" y="124"/>
                  <a:pt x="474" y="124"/>
                  <a:pt x="474" y="123"/>
                </a:cubicBezTo>
                <a:close/>
                <a:moveTo>
                  <a:pt x="477" y="158"/>
                </a:moveTo>
                <a:cubicBezTo>
                  <a:pt x="477" y="158"/>
                  <a:pt x="476" y="159"/>
                  <a:pt x="475" y="159"/>
                </a:cubicBezTo>
                <a:cubicBezTo>
                  <a:pt x="475" y="159"/>
                  <a:pt x="476" y="158"/>
                  <a:pt x="477" y="158"/>
                </a:cubicBezTo>
                <a:close/>
                <a:moveTo>
                  <a:pt x="476" y="121"/>
                </a:moveTo>
                <a:cubicBezTo>
                  <a:pt x="477" y="121"/>
                  <a:pt x="478" y="119"/>
                  <a:pt x="479" y="120"/>
                </a:cubicBezTo>
                <a:cubicBezTo>
                  <a:pt x="478" y="121"/>
                  <a:pt x="477" y="121"/>
                  <a:pt x="476" y="121"/>
                </a:cubicBezTo>
                <a:close/>
                <a:moveTo>
                  <a:pt x="472" y="165"/>
                </a:moveTo>
                <a:cubicBezTo>
                  <a:pt x="472" y="166"/>
                  <a:pt x="470" y="167"/>
                  <a:pt x="469" y="168"/>
                </a:cubicBezTo>
                <a:cubicBezTo>
                  <a:pt x="469" y="166"/>
                  <a:pt x="471" y="166"/>
                  <a:pt x="472" y="165"/>
                </a:cubicBezTo>
                <a:close/>
                <a:moveTo>
                  <a:pt x="471" y="178"/>
                </a:moveTo>
                <a:cubicBezTo>
                  <a:pt x="471" y="175"/>
                  <a:pt x="476" y="174"/>
                  <a:pt x="477" y="177"/>
                </a:cubicBezTo>
                <a:cubicBezTo>
                  <a:pt x="477" y="181"/>
                  <a:pt x="471" y="180"/>
                  <a:pt x="471" y="178"/>
                </a:cubicBezTo>
                <a:close/>
                <a:moveTo>
                  <a:pt x="472" y="233"/>
                </a:moveTo>
                <a:cubicBezTo>
                  <a:pt x="472" y="232"/>
                  <a:pt x="475" y="230"/>
                  <a:pt x="475" y="232"/>
                </a:cubicBezTo>
                <a:cubicBezTo>
                  <a:pt x="476" y="234"/>
                  <a:pt x="473" y="234"/>
                  <a:pt x="472" y="233"/>
                </a:cubicBezTo>
                <a:close/>
                <a:moveTo>
                  <a:pt x="475" y="180"/>
                </a:moveTo>
                <a:cubicBezTo>
                  <a:pt x="475" y="180"/>
                  <a:pt x="476" y="179"/>
                  <a:pt x="477" y="180"/>
                </a:cubicBezTo>
                <a:cubicBezTo>
                  <a:pt x="478" y="181"/>
                  <a:pt x="475" y="181"/>
                  <a:pt x="475" y="180"/>
                </a:cubicBezTo>
                <a:close/>
                <a:moveTo>
                  <a:pt x="482" y="155"/>
                </a:moveTo>
                <a:cubicBezTo>
                  <a:pt x="482" y="156"/>
                  <a:pt x="480" y="157"/>
                  <a:pt x="479" y="157"/>
                </a:cubicBezTo>
                <a:cubicBezTo>
                  <a:pt x="479" y="156"/>
                  <a:pt x="481" y="156"/>
                  <a:pt x="482" y="155"/>
                </a:cubicBezTo>
                <a:close/>
                <a:moveTo>
                  <a:pt x="479" y="164"/>
                </a:moveTo>
                <a:cubicBezTo>
                  <a:pt x="479" y="162"/>
                  <a:pt x="481" y="163"/>
                  <a:pt x="479" y="164"/>
                </a:cubicBezTo>
                <a:close/>
                <a:moveTo>
                  <a:pt x="479" y="175"/>
                </a:moveTo>
                <a:cubicBezTo>
                  <a:pt x="478" y="174"/>
                  <a:pt x="480" y="173"/>
                  <a:pt x="480" y="174"/>
                </a:cubicBezTo>
                <a:cubicBezTo>
                  <a:pt x="480" y="175"/>
                  <a:pt x="480" y="175"/>
                  <a:pt x="479" y="175"/>
                </a:cubicBezTo>
                <a:close/>
                <a:moveTo>
                  <a:pt x="480" y="164"/>
                </a:moveTo>
                <a:cubicBezTo>
                  <a:pt x="480" y="163"/>
                  <a:pt x="484" y="161"/>
                  <a:pt x="484" y="164"/>
                </a:cubicBezTo>
                <a:cubicBezTo>
                  <a:pt x="484" y="166"/>
                  <a:pt x="480" y="166"/>
                  <a:pt x="480" y="164"/>
                </a:cubicBezTo>
                <a:close/>
                <a:moveTo>
                  <a:pt x="482" y="188"/>
                </a:moveTo>
                <a:cubicBezTo>
                  <a:pt x="482" y="187"/>
                  <a:pt x="483" y="187"/>
                  <a:pt x="484" y="187"/>
                </a:cubicBezTo>
                <a:cubicBezTo>
                  <a:pt x="484" y="187"/>
                  <a:pt x="482" y="189"/>
                  <a:pt x="482" y="188"/>
                </a:cubicBezTo>
                <a:close/>
                <a:moveTo>
                  <a:pt x="487" y="253"/>
                </a:moveTo>
                <a:cubicBezTo>
                  <a:pt x="487" y="255"/>
                  <a:pt x="485" y="254"/>
                  <a:pt x="487" y="253"/>
                </a:cubicBezTo>
                <a:close/>
                <a:moveTo>
                  <a:pt x="484" y="228"/>
                </a:moveTo>
                <a:cubicBezTo>
                  <a:pt x="482" y="226"/>
                  <a:pt x="488" y="223"/>
                  <a:pt x="488" y="227"/>
                </a:cubicBezTo>
                <a:cubicBezTo>
                  <a:pt x="488" y="228"/>
                  <a:pt x="485" y="230"/>
                  <a:pt x="484" y="228"/>
                </a:cubicBezTo>
                <a:close/>
                <a:moveTo>
                  <a:pt x="486" y="208"/>
                </a:moveTo>
                <a:cubicBezTo>
                  <a:pt x="486" y="207"/>
                  <a:pt x="488" y="206"/>
                  <a:pt x="488" y="207"/>
                </a:cubicBezTo>
                <a:cubicBezTo>
                  <a:pt x="488" y="208"/>
                  <a:pt x="487" y="209"/>
                  <a:pt x="486" y="208"/>
                </a:cubicBezTo>
                <a:close/>
                <a:moveTo>
                  <a:pt x="490" y="250"/>
                </a:moveTo>
                <a:cubicBezTo>
                  <a:pt x="490" y="248"/>
                  <a:pt x="492" y="246"/>
                  <a:pt x="493" y="245"/>
                </a:cubicBezTo>
                <a:cubicBezTo>
                  <a:pt x="493" y="246"/>
                  <a:pt x="491" y="248"/>
                  <a:pt x="490" y="250"/>
                </a:cubicBezTo>
                <a:close/>
                <a:moveTo>
                  <a:pt x="494" y="245"/>
                </a:moveTo>
                <a:cubicBezTo>
                  <a:pt x="494" y="244"/>
                  <a:pt x="495" y="243"/>
                  <a:pt x="495" y="243"/>
                </a:cubicBezTo>
                <a:cubicBezTo>
                  <a:pt x="496" y="243"/>
                  <a:pt x="494" y="245"/>
                  <a:pt x="494" y="245"/>
                </a:cubicBezTo>
                <a:close/>
                <a:moveTo>
                  <a:pt x="499" y="230"/>
                </a:moveTo>
                <a:cubicBezTo>
                  <a:pt x="499" y="229"/>
                  <a:pt x="501" y="229"/>
                  <a:pt x="501" y="229"/>
                </a:cubicBezTo>
                <a:cubicBezTo>
                  <a:pt x="502" y="229"/>
                  <a:pt x="500" y="230"/>
                  <a:pt x="499" y="230"/>
                </a:cubicBezTo>
                <a:close/>
                <a:moveTo>
                  <a:pt x="496" y="230"/>
                </a:moveTo>
                <a:cubicBezTo>
                  <a:pt x="496" y="230"/>
                  <a:pt x="491" y="233"/>
                  <a:pt x="492" y="231"/>
                </a:cubicBezTo>
                <a:cubicBezTo>
                  <a:pt x="492" y="230"/>
                  <a:pt x="497" y="229"/>
                  <a:pt x="497" y="229"/>
                </a:cubicBezTo>
                <a:cubicBezTo>
                  <a:pt x="500" y="228"/>
                  <a:pt x="503" y="225"/>
                  <a:pt x="506" y="225"/>
                </a:cubicBezTo>
                <a:cubicBezTo>
                  <a:pt x="505" y="228"/>
                  <a:pt x="498" y="229"/>
                  <a:pt x="496" y="230"/>
                </a:cubicBezTo>
                <a:close/>
                <a:moveTo>
                  <a:pt x="505" y="195"/>
                </a:moveTo>
                <a:cubicBezTo>
                  <a:pt x="505" y="194"/>
                  <a:pt x="507" y="192"/>
                  <a:pt x="508" y="193"/>
                </a:cubicBezTo>
                <a:cubicBezTo>
                  <a:pt x="508" y="194"/>
                  <a:pt x="506" y="196"/>
                  <a:pt x="505" y="195"/>
                </a:cubicBezTo>
                <a:close/>
                <a:moveTo>
                  <a:pt x="507" y="222"/>
                </a:moveTo>
                <a:cubicBezTo>
                  <a:pt x="507" y="222"/>
                  <a:pt x="508" y="222"/>
                  <a:pt x="508" y="222"/>
                </a:cubicBezTo>
                <a:cubicBezTo>
                  <a:pt x="510" y="223"/>
                  <a:pt x="504" y="225"/>
                  <a:pt x="507" y="222"/>
                </a:cubicBezTo>
                <a:close/>
                <a:moveTo>
                  <a:pt x="506" y="190"/>
                </a:moveTo>
                <a:cubicBezTo>
                  <a:pt x="506" y="189"/>
                  <a:pt x="507" y="188"/>
                  <a:pt x="509" y="188"/>
                </a:cubicBezTo>
                <a:cubicBezTo>
                  <a:pt x="508" y="189"/>
                  <a:pt x="507" y="190"/>
                  <a:pt x="506" y="190"/>
                </a:cubicBezTo>
                <a:close/>
                <a:moveTo>
                  <a:pt x="516" y="247"/>
                </a:moveTo>
                <a:cubicBezTo>
                  <a:pt x="514" y="248"/>
                  <a:pt x="511" y="250"/>
                  <a:pt x="509" y="250"/>
                </a:cubicBezTo>
                <a:cubicBezTo>
                  <a:pt x="510" y="249"/>
                  <a:pt x="514" y="248"/>
                  <a:pt x="516" y="247"/>
                </a:cubicBezTo>
                <a:close/>
                <a:moveTo>
                  <a:pt x="512" y="258"/>
                </a:moveTo>
                <a:cubicBezTo>
                  <a:pt x="512" y="255"/>
                  <a:pt x="516" y="256"/>
                  <a:pt x="516" y="257"/>
                </a:cubicBezTo>
                <a:cubicBezTo>
                  <a:pt x="517" y="258"/>
                  <a:pt x="512" y="260"/>
                  <a:pt x="512" y="258"/>
                </a:cubicBezTo>
                <a:close/>
                <a:moveTo>
                  <a:pt x="517" y="268"/>
                </a:moveTo>
                <a:cubicBezTo>
                  <a:pt x="516" y="269"/>
                  <a:pt x="517" y="268"/>
                  <a:pt x="517" y="268"/>
                </a:cubicBezTo>
                <a:cubicBezTo>
                  <a:pt x="517" y="268"/>
                  <a:pt x="517" y="268"/>
                  <a:pt x="517" y="268"/>
                </a:cubicBezTo>
                <a:close/>
                <a:moveTo>
                  <a:pt x="517" y="247"/>
                </a:moveTo>
                <a:cubicBezTo>
                  <a:pt x="517" y="247"/>
                  <a:pt x="517" y="247"/>
                  <a:pt x="517" y="247"/>
                </a:cubicBezTo>
                <a:cubicBezTo>
                  <a:pt x="518" y="247"/>
                  <a:pt x="517" y="247"/>
                  <a:pt x="517" y="247"/>
                </a:cubicBezTo>
                <a:close/>
                <a:moveTo>
                  <a:pt x="518" y="154"/>
                </a:moveTo>
                <a:cubicBezTo>
                  <a:pt x="517" y="151"/>
                  <a:pt x="524" y="153"/>
                  <a:pt x="524" y="154"/>
                </a:cubicBezTo>
                <a:cubicBezTo>
                  <a:pt x="524" y="154"/>
                  <a:pt x="523" y="155"/>
                  <a:pt x="523" y="155"/>
                </a:cubicBezTo>
                <a:cubicBezTo>
                  <a:pt x="523" y="156"/>
                  <a:pt x="522" y="158"/>
                  <a:pt x="521" y="156"/>
                </a:cubicBezTo>
                <a:cubicBezTo>
                  <a:pt x="521" y="156"/>
                  <a:pt x="521" y="155"/>
                  <a:pt x="521" y="155"/>
                </a:cubicBezTo>
                <a:cubicBezTo>
                  <a:pt x="520" y="155"/>
                  <a:pt x="518" y="155"/>
                  <a:pt x="518" y="154"/>
                </a:cubicBezTo>
                <a:close/>
                <a:moveTo>
                  <a:pt x="518" y="188"/>
                </a:moveTo>
                <a:cubicBezTo>
                  <a:pt x="518" y="186"/>
                  <a:pt x="524" y="185"/>
                  <a:pt x="524" y="188"/>
                </a:cubicBezTo>
                <a:cubicBezTo>
                  <a:pt x="524" y="190"/>
                  <a:pt x="519" y="190"/>
                  <a:pt x="518" y="188"/>
                </a:cubicBezTo>
                <a:close/>
                <a:moveTo>
                  <a:pt x="522" y="286"/>
                </a:moveTo>
                <a:cubicBezTo>
                  <a:pt x="522" y="285"/>
                  <a:pt x="522" y="285"/>
                  <a:pt x="522" y="285"/>
                </a:cubicBezTo>
                <a:cubicBezTo>
                  <a:pt x="523" y="285"/>
                  <a:pt x="522" y="286"/>
                  <a:pt x="522" y="286"/>
                </a:cubicBezTo>
                <a:close/>
                <a:moveTo>
                  <a:pt x="521" y="231"/>
                </a:moveTo>
                <a:cubicBezTo>
                  <a:pt x="518" y="232"/>
                  <a:pt x="522" y="229"/>
                  <a:pt x="523" y="228"/>
                </a:cubicBezTo>
                <a:cubicBezTo>
                  <a:pt x="524" y="226"/>
                  <a:pt x="526" y="223"/>
                  <a:pt x="528" y="220"/>
                </a:cubicBezTo>
                <a:cubicBezTo>
                  <a:pt x="528" y="221"/>
                  <a:pt x="527" y="221"/>
                  <a:pt x="527" y="220"/>
                </a:cubicBezTo>
                <a:cubicBezTo>
                  <a:pt x="527" y="220"/>
                  <a:pt x="528" y="220"/>
                  <a:pt x="528" y="220"/>
                </a:cubicBezTo>
                <a:cubicBezTo>
                  <a:pt x="528" y="220"/>
                  <a:pt x="528" y="220"/>
                  <a:pt x="528" y="220"/>
                </a:cubicBezTo>
                <a:cubicBezTo>
                  <a:pt x="529" y="219"/>
                  <a:pt x="529" y="218"/>
                  <a:pt x="530" y="218"/>
                </a:cubicBezTo>
                <a:cubicBezTo>
                  <a:pt x="530" y="218"/>
                  <a:pt x="531" y="218"/>
                  <a:pt x="531" y="218"/>
                </a:cubicBezTo>
                <a:cubicBezTo>
                  <a:pt x="531" y="218"/>
                  <a:pt x="529" y="220"/>
                  <a:pt x="528" y="222"/>
                </a:cubicBezTo>
                <a:cubicBezTo>
                  <a:pt x="527" y="223"/>
                  <a:pt x="523" y="230"/>
                  <a:pt x="521" y="231"/>
                </a:cubicBezTo>
                <a:close/>
                <a:moveTo>
                  <a:pt x="530" y="232"/>
                </a:moveTo>
                <a:cubicBezTo>
                  <a:pt x="530" y="232"/>
                  <a:pt x="530" y="232"/>
                  <a:pt x="531" y="232"/>
                </a:cubicBezTo>
                <a:cubicBezTo>
                  <a:pt x="531" y="232"/>
                  <a:pt x="530" y="233"/>
                  <a:pt x="530" y="232"/>
                </a:cubicBezTo>
                <a:close/>
                <a:moveTo>
                  <a:pt x="530" y="268"/>
                </a:move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lose/>
                <a:moveTo>
                  <a:pt x="530" y="256"/>
                </a:moveTo>
                <a:cubicBezTo>
                  <a:pt x="530" y="256"/>
                  <a:pt x="531" y="255"/>
                  <a:pt x="531" y="256"/>
                </a:cubicBezTo>
                <a:cubicBezTo>
                  <a:pt x="532" y="258"/>
                  <a:pt x="529" y="258"/>
                  <a:pt x="530" y="256"/>
                </a:cubicBezTo>
                <a:close/>
                <a:moveTo>
                  <a:pt x="533" y="312"/>
                </a:moveTo>
                <a:cubicBezTo>
                  <a:pt x="533" y="311"/>
                  <a:pt x="533" y="310"/>
                  <a:pt x="534" y="310"/>
                </a:cubicBezTo>
                <a:cubicBezTo>
                  <a:pt x="536" y="308"/>
                  <a:pt x="535" y="313"/>
                  <a:pt x="533" y="312"/>
                </a:cubicBezTo>
                <a:close/>
                <a:moveTo>
                  <a:pt x="533" y="230"/>
                </a:moveTo>
                <a:cubicBezTo>
                  <a:pt x="534" y="229"/>
                  <a:pt x="535" y="232"/>
                  <a:pt x="533" y="231"/>
                </a:cubicBezTo>
                <a:cubicBezTo>
                  <a:pt x="533" y="231"/>
                  <a:pt x="533" y="230"/>
                  <a:pt x="533" y="230"/>
                </a:cubicBezTo>
                <a:close/>
                <a:moveTo>
                  <a:pt x="531" y="215"/>
                </a:moveTo>
                <a:cubicBezTo>
                  <a:pt x="530" y="213"/>
                  <a:pt x="535" y="211"/>
                  <a:pt x="535" y="214"/>
                </a:cubicBezTo>
                <a:cubicBezTo>
                  <a:pt x="535" y="215"/>
                  <a:pt x="531" y="217"/>
                  <a:pt x="531" y="215"/>
                </a:cubicBezTo>
                <a:close/>
                <a:moveTo>
                  <a:pt x="530" y="135"/>
                </a:moveTo>
                <a:cubicBezTo>
                  <a:pt x="532" y="134"/>
                  <a:pt x="534" y="133"/>
                  <a:pt x="536" y="131"/>
                </a:cubicBezTo>
                <a:cubicBezTo>
                  <a:pt x="535" y="134"/>
                  <a:pt x="532" y="134"/>
                  <a:pt x="530" y="135"/>
                </a:cubicBezTo>
                <a:close/>
                <a:moveTo>
                  <a:pt x="598" y="198"/>
                </a:moveTo>
                <a:cubicBezTo>
                  <a:pt x="598" y="198"/>
                  <a:pt x="597" y="199"/>
                  <a:pt x="597" y="199"/>
                </a:cubicBezTo>
                <a:cubicBezTo>
                  <a:pt x="596" y="198"/>
                  <a:pt x="598" y="198"/>
                  <a:pt x="598" y="198"/>
                </a:cubicBezTo>
                <a:close/>
                <a:moveTo>
                  <a:pt x="596" y="204"/>
                </a:moveTo>
                <a:cubicBezTo>
                  <a:pt x="598" y="202"/>
                  <a:pt x="597" y="205"/>
                  <a:pt x="596" y="205"/>
                </a:cubicBezTo>
                <a:cubicBezTo>
                  <a:pt x="596" y="204"/>
                  <a:pt x="596" y="204"/>
                  <a:pt x="596" y="204"/>
                </a:cubicBezTo>
                <a:close/>
                <a:moveTo>
                  <a:pt x="596" y="235"/>
                </a:moveTo>
                <a:cubicBezTo>
                  <a:pt x="597" y="235"/>
                  <a:pt x="598" y="234"/>
                  <a:pt x="598" y="235"/>
                </a:cubicBezTo>
                <a:cubicBezTo>
                  <a:pt x="601" y="237"/>
                  <a:pt x="594" y="238"/>
                  <a:pt x="596" y="235"/>
                </a:cubicBezTo>
                <a:close/>
                <a:moveTo>
                  <a:pt x="599" y="282"/>
                </a:moveTo>
                <a:cubicBezTo>
                  <a:pt x="598" y="284"/>
                  <a:pt x="597" y="283"/>
                  <a:pt x="599" y="282"/>
                </a:cubicBezTo>
                <a:close/>
                <a:moveTo>
                  <a:pt x="594" y="323"/>
                </a:moveTo>
                <a:cubicBezTo>
                  <a:pt x="594" y="322"/>
                  <a:pt x="595" y="322"/>
                  <a:pt x="595" y="322"/>
                </a:cubicBezTo>
                <a:cubicBezTo>
                  <a:pt x="597" y="323"/>
                  <a:pt x="593" y="325"/>
                  <a:pt x="594" y="323"/>
                </a:cubicBezTo>
                <a:close/>
                <a:moveTo>
                  <a:pt x="596" y="370"/>
                </a:moveTo>
                <a:cubicBezTo>
                  <a:pt x="597" y="370"/>
                  <a:pt x="594" y="371"/>
                  <a:pt x="596" y="370"/>
                </a:cubicBezTo>
                <a:close/>
                <a:moveTo>
                  <a:pt x="594" y="263"/>
                </a:moveTo>
                <a:cubicBezTo>
                  <a:pt x="595" y="262"/>
                  <a:pt x="596" y="264"/>
                  <a:pt x="594" y="263"/>
                </a:cubicBezTo>
                <a:close/>
                <a:moveTo>
                  <a:pt x="594" y="231"/>
                </a:moveTo>
                <a:cubicBezTo>
                  <a:pt x="595" y="231"/>
                  <a:pt x="594" y="232"/>
                  <a:pt x="594" y="231"/>
                </a:cubicBezTo>
                <a:cubicBezTo>
                  <a:pt x="594" y="231"/>
                  <a:pt x="594" y="231"/>
                  <a:pt x="594" y="231"/>
                </a:cubicBezTo>
                <a:close/>
                <a:moveTo>
                  <a:pt x="592" y="198"/>
                </a:moveTo>
                <a:cubicBezTo>
                  <a:pt x="594" y="196"/>
                  <a:pt x="594" y="199"/>
                  <a:pt x="592" y="198"/>
                </a:cubicBezTo>
                <a:close/>
                <a:moveTo>
                  <a:pt x="594" y="244"/>
                </a:moveTo>
                <a:cubicBezTo>
                  <a:pt x="594" y="245"/>
                  <a:pt x="593" y="245"/>
                  <a:pt x="591" y="246"/>
                </a:cubicBezTo>
                <a:cubicBezTo>
                  <a:pt x="592" y="245"/>
                  <a:pt x="593" y="244"/>
                  <a:pt x="594" y="244"/>
                </a:cubicBezTo>
                <a:close/>
                <a:moveTo>
                  <a:pt x="589" y="200"/>
                </a:moveTo>
                <a:cubicBezTo>
                  <a:pt x="590" y="201"/>
                  <a:pt x="588" y="202"/>
                  <a:pt x="588" y="202"/>
                </a:cubicBezTo>
                <a:cubicBezTo>
                  <a:pt x="588" y="201"/>
                  <a:pt x="589" y="201"/>
                  <a:pt x="589" y="200"/>
                </a:cubicBezTo>
                <a:close/>
                <a:moveTo>
                  <a:pt x="591" y="200"/>
                </a:moveTo>
                <a:cubicBezTo>
                  <a:pt x="590" y="203"/>
                  <a:pt x="589" y="206"/>
                  <a:pt x="586" y="208"/>
                </a:cubicBezTo>
                <a:cubicBezTo>
                  <a:pt x="588" y="206"/>
                  <a:pt x="589" y="203"/>
                  <a:pt x="591" y="200"/>
                </a:cubicBezTo>
                <a:close/>
                <a:moveTo>
                  <a:pt x="590" y="339"/>
                </a:moveTo>
                <a:cubicBezTo>
                  <a:pt x="591" y="338"/>
                  <a:pt x="590" y="340"/>
                  <a:pt x="590" y="339"/>
                </a:cubicBezTo>
                <a:close/>
                <a:moveTo>
                  <a:pt x="590" y="246"/>
                </a:moveTo>
                <a:cubicBezTo>
                  <a:pt x="591" y="246"/>
                  <a:pt x="591" y="246"/>
                  <a:pt x="590" y="246"/>
                </a:cubicBezTo>
                <a:close/>
                <a:moveTo>
                  <a:pt x="590" y="246"/>
                </a:moveTo>
                <a:cubicBezTo>
                  <a:pt x="590" y="246"/>
                  <a:pt x="590" y="247"/>
                  <a:pt x="590" y="247"/>
                </a:cubicBezTo>
                <a:cubicBezTo>
                  <a:pt x="590" y="247"/>
                  <a:pt x="590" y="247"/>
                  <a:pt x="590" y="247"/>
                </a:cubicBezTo>
                <a:cubicBezTo>
                  <a:pt x="590" y="247"/>
                  <a:pt x="590" y="247"/>
                  <a:pt x="590" y="246"/>
                </a:cubicBezTo>
                <a:close/>
                <a:moveTo>
                  <a:pt x="587" y="206"/>
                </a:moveTo>
                <a:cubicBezTo>
                  <a:pt x="587" y="206"/>
                  <a:pt x="586" y="205"/>
                  <a:pt x="586" y="205"/>
                </a:cubicBezTo>
                <a:cubicBezTo>
                  <a:pt x="587" y="204"/>
                  <a:pt x="587" y="208"/>
                  <a:pt x="587" y="206"/>
                </a:cubicBezTo>
                <a:close/>
                <a:moveTo>
                  <a:pt x="586" y="210"/>
                </a:moveTo>
                <a:cubicBezTo>
                  <a:pt x="587" y="211"/>
                  <a:pt x="585" y="212"/>
                  <a:pt x="585" y="213"/>
                </a:cubicBezTo>
                <a:cubicBezTo>
                  <a:pt x="584" y="212"/>
                  <a:pt x="586" y="210"/>
                  <a:pt x="586" y="210"/>
                </a:cubicBezTo>
                <a:close/>
                <a:moveTo>
                  <a:pt x="585" y="229"/>
                </a:moveTo>
                <a:cubicBezTo>
                  <a:pt x="586" y="228"/>
                  <a:pt x="585" y="230"/>
                  <a:pt x="584" y="230"/>
                </a:cubicBezTo>
                <a:cubicBezTo>
                  <a:pt x="584" y="230"/>
                  <a:pt x="585" y="229"/>
                  <a:pt x="585" y="229"/>
                </a:cubicBezTo>
                <a:close/>
                <a:moveTo>
                  <a:pt x="584" y="214"/>
                </a:moveTo>
                <a:cubicBezTo>
                  <a:pt x="584" y="212"/>
                  <a:pt x="585" y="214"/>
                  <a:pt x="584" y="214"/>
                </a:cubicBezTo>
                <a:close/>
                <a:moveTo>
                  <a:pt x="583" y="250"/>
                </a:moveTo>
                <a:cubicBezTo>
                  <a:pt x="583" y="250"/>
                  <a:pt x="583" y="251"/>
                  <a:pt x="582" y="251"/>
                </a:cubicBezTo>
                <a:cubicBezTo>
                  <a:pt x="582" y="251"/>
                  <a:pt x="581" y="251"/>
                  <a:pt x="581" y="251"/>
                </a:cubicBezTo>
                <a:cubicBezTo>
                  <a:pt x="582" y="251"/>
                  <a:pt x="583" y="251"/>
                  <a:pt x="583" y="250"/>
                </a:cubicBezTo>
                <a:close/>
                <a:moveTo>
                  <a:pt x="579" y="195"/>
                </a:moveTo>
                <a:cubicBezTo>
                  <a:pt x="578" y="194"/>
                  <a:pt x="581" y="195"/>
                  <a:pt x="579" y="195"/>
                </a:cubicBezTo>
                <a:close/>
                <a:moveTo>
                  <a:pt x="578" y="186"/>
                </a:moveTo>
                <a:cubicBezTo>
                  <a:pt x="578" y="188"/>
                  <a:pt x="573" y="190"/>
                  <a:pt x="572" y="187"/>
                </a:cubicBezTo>
                <a:cubicBezTo>
                  <a:pt x="571" y="184"/>
                  <a:pt x="579" y="182"/>
                  <a:pt x="578" y="186"/>
                </a:cubicBezTo>
                <a:close/>
                <a:moveTo>
                  <a:pt x="576" y="196"/>
                </a:moveTo>
                <a:cubicBezTo>
                  <a:pt x="576" y="196"/>
                  <a:pt x="576" y="196"/>
                  <a:pt x="576" y="196"/>
                </a:cubicBezTo>
                <a:cubicBezTo>
                  <a:pt x="577" y="198"/>
                  <a:pt x="574" y="195"/>
                  <a:pt x="576" y="196"/>
                </a:cubicBezTo>
                <a:close/>
                <a:moveTo>
                  <a:pt x="573" y="191"/>
                </a:moveTo>
                <a:cubicBezTo>
                  <a:pt x="572" y="191"/>
                  <a:pt x="571" y="192"/>
                  <a:pt x="570" y="192"/>
                </a:cubicBezTo>
                <a:cubicBezTo>
                  <a:pt x="570" y="191"/>
                  <a:pt x="573" y="190"/>
                  <a:pt x="573" y="191"/>
                </a:cubicBezTo>
                <a:close/>
                <a:moveTo>
                  <a:pt x="565" y="201"/>
                </a:moveTo>
                <a:cubicBezTo>
                  <a:pt x="565" y="202"/>
                  <a:pt x="563" y="202"/>
                  <a:pt x="563" y="201"/>
                </a:cubicBezTo>
                <a:cubicBezTo>
                  <a:pt x="563" y="200"/>
                  <a:pt x="564" y="200"/>
                  <a:pt x="565" y="201"/>
                </a:cubicBezTo>
                <a:close/>
                <a:moveTo>
                  <a:pt x="569" y="202"/>
                </a:moveTo>
                <a:cubicBezTo>
                  <a:pt x="568" y="201"/>
                  <a:pt x="562" y="207"/>
                  <a:pt x="562" y="205"/>
                </a:cubicBezTo>
                <a:cubicBezTo>
                  <a:pt x="562" y="204"/>
                  <a:pt x="567" y="200"/>
                  <a:pt x="569" y="202"/>
                </a:cubicBezTo>
                <a:close/>
                <a:moveTo>
                  <a:pt x="563" y="247"/>
                </a:moveTo>
                <a:cubicBezTo>
                  <a:pt x="563" y="247"/>
                  <a:pt x="561" y="248"/>
                  <a:pt x="561" y="248"/>
                </a:cubicBezTo>
                <a:cubicBezTo>
                  <a:pt x="560" y="247"/>
                  <a:pt x="562" y="245"/>
                  <a:pt x="563" y="247"/>
                </a:cubicBezTo>
                <a:close/>
                <a:moveTo>
                  <a:pt x="562" y="189"/>
                </a:moveTo>
                <a:cubicBezTo>
                  <a:pt x="563" y="190"/>
                  <a:pt x="560" y="191"/>
                  <a:pt x="560" y="190"/>
                </a:cubicBezTo>
                <a:cubicBezTo>
                  <a:pt x="560" y="189"/>
                  <a:pt x="562" y="189"/>
                  <a:pt x="562" y="189"/>
                </a:cubicBezTo>
                <a:close/>
                <a:moveTo>
                  <a:pt x="560" y="205"/>
                </a:moveTo>
                <a:cubicBezTo>
                  <a:pt x="563" y="203"/>
                  <a:pt x="562" y="209"/>
                  <a:pt x="560" y="207"/>
                </a:cubicBezTo>
                <a:cubicBezTo>
                  <a:pt x="558" y="207"/>
                  <a:pt x="560" y="205"/>
                  <a:pt x="560" y="205"/>
                </a:cubicBezTo>
                <a:close/>
                <a:moveTo>
                  <a:pt x="560" y="264"/>
                </a:moveTo>
                <a:cubicBezTo>
                  <a:pt x="562" y="263"/>
                  <a:pt x="559" y="266"/>
                  <a:pt x="560" y="264"/>
                </a:cubicBezTo>
                <a:cubicBezTo>
                  <a:pt x="560" y="264"/>
                  <a:pt x="560" y="264"/>
                  <a:pt x="560" y="264"/>
                </a:cubicBezTo>
                <a:close/>
                <a:moveTo>
                  <a:pt x="556" y="180"/>
                </a:moveTo>
                <a:cubicBezTo>
                  <a:pt x="557" y="181"/>
                  <a:pt x="555" y="182"/>
                  <a:pt x="555" y="181"/>
                </a:cubicBezTo>
                <a:cubicBezTo>
                  <a:pt x="555" y="181"/>
                  <a:pt x="556" y="181"/>
                  <a:pt x="556" y="180"/>
                </a:cubicBezTo>
                <a:close/>
                <a:moveTo>
                  <a:pt x="554" y="138"/>
                </a:moveTo>
                <a:cubicBezTo>
                  <a:pt x="554" y="138"/>
                  <a:pt x="555" y="138"/>
                  <a:pt x="555" y="138"/>
                </a:cubicBezTo>
                <a:cubicBezTo>
                  <a:pt x="555" y="140"/>
                  <a:pt x="552" y="136"/>
                  <a:pt x="554" y="138"/>
                </a:cubicBezTo>
                <a:close/>
                <a:moveTo>
                  <a:pt x="555" y="219"/>
                </a:moveTo>
                <a:cubicBezTo>
                  <a:pt x="555" y="219"/>
                  <a:pt x="554" y="221"/>
                  <a:pt x="553" y="221"/>
                </a:cubicBezTo>
                <a:cubicBezTo>
                  <a:pt x="553" y="220"/>
                  <a:pt x="554" y="218"/>
                  <a:pt x="555" y="219"/>
                </a:cubicBezTo>
                <a:close/>
                <a:moveTo>
                  <a:pt x="553" y="245"/>
                </a:moveTo>
                <a:cubicBezTo>
                  <a:pt x="554" y="245"/>
                  <a:pt x="552" y="246"/>
                  <a:pt x="552" y="245"/>
                </a:cubicBezTo>
                <a:cubicBezTo>
                  <a:pt x="552" y="244"/>
                  <a:pt x="553" y="244"/>
                  <a:pt x="553" y="245"/>
                </a:cubicBezTo>
                <a:close/>
                <a:moveTo>
                  <a:pt x="552" y="182"/>
                </a:move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lose/>
                <a:moveTo>
                  <a:pt x="552" y="133"/>
                </a:moveTo>
                <a:cubicBezTo>
                  <a:pt x="552" y="133"/>
                  <a:pt x="551" y="135"/>
                  <a:pt x="551" y="134"/>
                </a:cubicBezTo>
                <a:cubicBezTo>
                  <a:pt x="550" y="133"/>
                  <a:pt x="552" y="133"/>
                  <a:pt x="552" y="133"/>
                </a:cubicBezTo>
                <a:close/>
                <a:moveTo>
                  <a:pt x="552" y="158"/>
                </a:moveTo>
                <a:cubicBezTo>
                  <a:pt x="552" y="159"/>
                  <a:pt x="550" y="160"/>
                  <a:pt x="550" y="159"/>
                </a:cubicBezTo>
                <a:cubicBezTo>
                  <a:pt x="550" y="158"/>
                  <a:pt x="551" y="158"/>
                  <a:pt x="552" y="158"/>
                </a:cubicBezTo>
                <a:close/>
                <a:moveTo>
                  <a:pt x="552" y="177"/>
                </a:moveTo>
                <a:cubicBezTo>
                  <a:pt x="552" y="179"/>
                  <a:pt x="548" y="179"/>
                  <a:pt x="548" y="177"/>
                </a:cubicBezTo>
                <a:cubicBezTo>
                  <a:pt x="548" y="176"/>
                  <a:pt x="551" y="175"/>
                  <a:pt x="552" y="177"/>
                </a:cubicBezTo>
                <a:close/>
                <a:moveTo>
                  <a:pt x="547" y="170"/>
                </a:moveTo>
                <a:cubicBezTo>
                  <a:pt x="548" y="170"/>
                  <a:pt x="547" y="171"/>
                  <a:pt x="546" y="171"/>
                </a:cubicBezTo>
                <a:cubicBezTo>
                  <a:pt x="546" y="170"/>
                  <a:pt x="547" y="170"/>
                  <a:pt x="547" y="170"/>
                </a:cubicBezTo>
                <a:close/>
                <a:moveTo>
                  <a:pt x="547" y="166"/>
                </a:moveTo>
                <a:cubicBezTo>
                  <a:pt x="548" y="167"/>
                  <a:pt x="547" y="165"/>
                  <a:pt x="547" y="166"/>
                </a:cubicBezTo>
                <a:close/>
                <a:moveTo>
                  <a:pt x="548" y="133"/>
                </a:moveTo>
                <a:cubicBezTo>
                  <a:pt x="548" y="134"/>
                  <a:pt x="547" y="134"/>
                  <a:pt x="546" y="134"/>
                </a:cubicBezTo>
                <a:cubicBezTo>
                  <a:pt x="546" y="133"/>
                  <a:pt x="547" y="134"/>
                  <a:pt x="548" y="133"/>
                </a:cubicBezTo>
                <a:close/>
                <a:moveTo>
                  <a:pt x="547" y="176"/>
                </a:moveTo>
                <a:cubicBezTo>
                  <a:pt x="547" y="177"/>
                  <a:pt x="545" y="176"/>
                  <a:pt x="547" y="176"/>
                </a:cubicBezTo>
                <a:close/>
                <a:moveTo>
                  <a:pt x="546" y="168"/>
                </a:moveTo>
                <a:cubicBezTo>
                  <a:pt x="546" y="169"/>
                  <a:pt x="544" y="170"/>
                  <a:pt x="544" y="168"/>
                </a:cubicBezTo>
                <a:cubicBezTo>
                  <a:pt x="545" y="168"/>
                  <a:pt x="545" y="168"/>
                  <a:pt x="546" y="168"/>
                </a:cubicBezTo>
                <a:close/>
                <a:moveTo>
                  <a:pt x="545" y="141"/>
                </a:moveTo>
                <a:cubicBezTo>
                  <a:pt x="546" y="143"/>
                  <a:pt x="542" y="142"/>
                  <a:pt x="542" y="141"/>
                </a:cubicBezTo>
                <a:cubicBezTo>
                  <a:pt x="543" y="140"/>
                  <a:pt x="545" y="140"/>
                  <a:pt x="545" y="141"/>
                </a:cubicBezTo>
                <a:close/>
                <a:moveTo>
                  <a:pt x="540" y="150"/>
                </a:moveTo>
                <a:cubicBezTo>
                  <a:pt x="540" y="150"/>
                  <a:pt x="538" y="151"/>
                  <a:pt x="537" y="150"/>
                </a:cubicBezTo>
                <a:cubicBezTo>
                  <a:pt x="537" y="149"/>
                  <a:pt x="539" y="148"/>
                  <a:pt x="540" y="150"/>
                </a:cubicBezTo>
                <a:close/>
                <a:moveTo>
                  <a:pt x="537" y="158"/>
                </a:moveTo>
                <a:cubicBezTo>
                  <a:pt x="537" y="158"/>
                  <a:pt x="538" y="157"/>
                  <a:pt x="538" y="157"/>
                </a:cubicBezTo>
                <a:cubicBezTo>
                  <a:pt x="539" y="157"/>
                  <a:pt x="537" y="159"/>
                  <a:pt x="537" y="158"/>
                </a:cubicBezTo>
                <a:close/>
                <a:moveTo>
                  <a:pt x="538" y="165"/>
                </a:moveTo>
                <a:cubicBezTo>
                  <a:pt x="538" y="165"/>
                  <a:pt x="540" y="163"/>
                  <a:pt x="540" y="165"/>
                </a:cubicBezTo>
                <a:cubicBezTo>
                  <a:pt x="540" y="164"/>
                  <a:pt x="539" y="166"/>
                  <a:pt x="538" y="165"/>
                </a:cubicBezTo>
                <a:close/>
                <a:moveTo>
                  <a:pt x="540" y="214"/>
                </a:moveTo>
                <a:cubicBezTo>
                  <a:pt x="541" y="215"/>
                  <a:pt x="540" y="215"/>
                  <a:pt x="540" y="215"/>
                </a:cubicBezTo>
                <a:cubicBezTo>
                  <a:pt x="539" y="214"/>
                  <a:pt x="540" y="214"/>
                  <a:pt x="540" y="214"/>
                </a:cubicBezTo>
                <a:close/>
                <a:moveTo>
                  <a:pt x="541" y="291"/>
                </a:moveTo>
                <a:cubicBezTo>
                  <a:pt x="540" y="291"/>
                  <a:pt x="539" y="291"/>
                  <a:pt x="540" y="290"/>
                </a:cubicBezTo>
                <a:cubicBezTo>
                  <a:pt x="540" y="289"/>
                  <a:pt x="541" y="290"/>
                  <a:pt x="541" y="291"/>
                </a:cubicBezTo>
                <a:close/>
                <a:moveTo>
                  <a:pt x="541" y="212"/>
                </a:moveTo>
                <a:cubicBezTo>
                  <a:pt x="541" y="212"/>
                  <a:pt x="541" y="212"/>
                  <a:pt x="541" y="212"/>
                </a:cubicBezTo>
                <a:cubicBezTo>
                  <a:pt x="541" y="212"/>
                  <a:pt x="541" y="212"/>
                  <a:pt x="541" y="212"/>
                </a:cubicBezTo>
                <a:cubicBezTo>
                  <a:pt x="540" y="212"/>
                  <a:pt x="540" y="211"/>
                  <a:pt x="541" y="210"/>
                </a:cubicBezTo>
                <a:cubicBezTo>
                  <a:pt x="542" y="209"/>
                  <a:pt x="542" y="210"/>
                  <a:pt x="542" y="211"/>
                </a:cubicBezTo>
                <a:cubicBezTo>
                  <a:pt x="543" y="211"/>
                  <a:pt x="544" y="211"/>
                  <a:pt x="544" y="210"/>
                </a:cubicBezTo>
                <a:cubicBezTo>
                  <a:pt x="545" y="210"/>
                  <a:pt x="550" y="204"/>
                  <a:pt x="551" y="205"/>
                </a:cubicBezTo>
                <a:cubicBezTo>
                  <a:pt x="553" y="207"/>
                  <a:pt x="544" y="211"/>
                  <a:pt x="543" y="212"/>
                </a:cubicBezTo>
                <a:cubicBezTo>
                  <a:pt x="542" y="212"/>
                  <a:pt x="542" y="214"/>
                  <a:pt x="541" y="212"/>
                </a:cubicBezTo>
                <a:close/>
                <a:moveTo>
                  <a:pt x="549" y="242"/>
                </a:moveTo>
                <a:cubicBezTo>
                  <a:pt x="549" y="242"/>
                  <a:pt x="547" y="242"/>
                  <a:pt x="547" y="241"/>
                </a:cubicBezTo>
                <a:cubicBezTo>
                  <a:pt x="547" y="241"/>
                  <a:pt x="549" y="240"/>
                  <a:pt x="549" y="242"/>
                </a:cubicBezTo>
                <a:close/>
                <a:moveTo>
                  <a:pt x="543" y="245"/>
                </a:moveTo>
                <a:cubicBezTo>
                  <a:pt x="544" y="247"/>
                  <a:pt x="541" y="246"/>
                  <a:pt x="543" y="245"/>
                </a:cubicBezTo>
                <a:close/>
                <a:moveTo>
                  <a:pt x="547" y="220"/>
                </a:moveTo>
                <a:cubicBezTo>
                  <a:pt x="546" y="220"/>
                  <a:pt x="546" y="220"/>
                  <a:pt x="546" y="220"/>
                </a:cubicBezTo>
                <a:cubicBezTo>
                  <a:pt x="545" y="220"/>
                  <a:pt x="547" y="219"/>
                  <a:pt x="547" y="220"/>
                </a:cubicBezTo>
                <a:close/>
                <a:moveTo>
                  <a:pt x="546" y="265"/>
                </a:moveTo>
                <a:cubicBezTo>
                  <a:pt x="546" y="265"/>
                  <a:pt x="547" y="264"/>
                  <a:pt x="547" y="264"/>
                </a:cubicBezTo>
                <a:cubicBezTo>
                  <a:pt x="547" y="265"/>
                  <a:pt x="546" y="266"/>
                  <a:pt x="546" y="265"/>
                </a:cubicBezTo>
                <a:close/>
                <a:moveTo>
                  <a:pt x="548" y="300"/>
                </a:moveTo>
                <a:cubicBezTo>
                  <a:pt x="548" y="299"/>
                  <a:pt x="548" y="299"/>
                  <a:pt x="548" y="299"/>
                </a:cubicBezTo>
                <a:cubicBezTo>
                  <a:pt x="549" y="299"/>
                  <a:pt x="548" y="301"/>
                  <a:pt x="548" y="300"/>
                </a:cubicBezTo>
                <a:close/>
                <a:moveTo>
                  <a:pt x="547" y="280"/>
                </a:moveTo>
                <a:cubicBezTo>
                  <a:pt x="549" y="276"/>
                  <a:pt x="551" y="272"/>
                  <a:pt x="552" y="269"/>
                </a:cubicBezTo>
                <a:cubicBezTo>
                  <a:pt x="552" y="271"/>
                  <a:pt x="549" y="278"/>
                  <a:pt x="547" y="280"/>
                </a:cubicBezTo>
                <a:close/>
                <a:moveTo>
                  <a:pt x="553" y="329"/>
                </a:moveTo>
                <a:cubicBezTo>
                  <a:pt x="553" y="329"/>
                  <a:pt x="553" y="329"/>
                  <a:pt x="553" y="329"/>
                </a:cubicBezTo>
                <a:cubicBezTo>
                  <a:pt x="553" y="329"/>
                  <a:pt x="553" y="329"/>
                  <a:pt x="553" y="329"/>
                </a:cubicBezTo>
                <a:close/>
                <a:moveTo>
                  <a:pt x="551" y="261"/>
                </a:moveTo>
                <a:cubicBezTo>
                  <a:pt x="553" y="257"/>
                  <a:pt x="553" y="254"/>
                  <a:pt x="555" y="252"/>
                </a:cubicBezTo>
                <a:cubicBezTo>
                  <a:pt x="554" y="254"/>
                  <a:pt x="553" y="259"/>
                  <a:pt x="551" y="261"/>
                </a:cubicBezTo>
                <a:close/>
                <a:moveTo>
                  <a:pt x="554" y="222"/>
                </a:moveTo>
                <a:cubicBezTo>
                  <a:pt x="555" y="221"/>
                  <a:pt x="556" y="222"/>
                  <a:pt x="554" y="222"/>
                </a:cubicBezTo>
                <a:close/>
                <a:moveTo>
                  <a:pt x="554" y="184"/>
                </a:moveTo>
                <a:cubicBezTo>
                  <a:pt x="554" y="183"/>
                  <a:pt x="556" y="182"/>
                  <a:pt x="556" y="183"/>
                </a:cubicBezTo>
                <a:cubicBezTo>
                  <a:pt x="556" y="185"/>
                  <a:pt x="554" y="185"/>
                  <a:pt x="554" y="184"/>
                </a:cubicBezTo>
                <a:close/>
                <a:moveTo>
                  <a:pt x="557" y="285"/>
                </a:moveTo>
                <a:cubicBezTo>
                  <a:pt x="557" y="283"/>
                  <a:pt x="556" y="286"/>
                  <a:pt x="557" y="285"/>
                </a:cubicBezTo>
                <a:close/>
                <a:moveTo>
                  <a:pt x="560" y="320"/>
                </a:moveTo>
                <a:cubicBezTo>
                  <a:pt x="560" y="321"/>
                  <a:pt x="561" y="319"/>
                  <a:pt x="560" y="320"/>
                </a:cubicBezTo>
                <a:close/>
                <a:moveTo>
                  <a:pt x="557" y="283"/>
                </a:moveTo>
                <a:cubicBezTo>
                  <a:pt x="556" y="281"/>
                  <a:pt x="561" y="279"/>
                  <a:pt x="561" y="281"/>
                </a:cubicBezTo>
                <a:cubicBezTo>
                  <a:pt x="562" y="283"/>
                  <a:pt x="558" y="284"/>
                  <a:pt x="557" y="283"/>
                </a:cubicBezTo>
                <a:close/>
                <a:moveTo>
                  <a:pt x="562" y="258"/>
                </a:moveTo>
                <a:cubicBezTo>
                  <a:pt x="562" y="258"/>
                  <a:pt x="563" y="257"/>
                  <a:pt x="563" y="257"/>
                </a:cubicBezTo>
                <a:cubicBezTo>
                  <a:pt x="564" y="258"/>
                  <a:pt x="561" y="259"/>
                  <a:pt x="562" y="258"/>
                </a:cubicBezTo>
                <a:close/>
                <a:moveTo>
                  <a:pt x="565" y="221"/>
                </a:moveTo>
                <a:cubicBezTo>
                  <a:pt x="564" y="221"/>
                  <a:pt x="564" y="219"/>
                  <a:pt x="565" y="220"/>
                </a:cubicBezTo>
                <a:cubicBezTo>
                  <a:pt x="565" y="220"/>
                  <a:pt x="565" y="221"/>
                  <a:pt x="565" y="221"/>
                </a:cubicBezTo>
                <a:close/>
                <a:moveTo>
                  <a:pt x="566" y="206"/>
                </a:moveTo>
                <a:cubicBezTo>
                  <a:pt x="565" y="211"/>
                  <a:pt x="567" y="204"/>
                  <a:pt x="568" y="203"/>
                </a:cubicBezTo>
                <a:cubicBezTo>
                  <a:pt x="569" y="202"/>
                  <a:pt x="574" y="202"/>
                  <a:pt x="576" y="203"/>
                </a:cubicBezTo>
                <a:cubicBezTo>
                  <a:pt x="579" y="205"/>
                  <a:pt x="577" y="210"/>
                  <a:pt x="574" y="212"/>
                </a:cubicBezTo>
                <a:cubicBezTo>
                  <a:pt x="573" y="213"/>
                  <a:pt x="570" y="213"/>
                  <a:pt x="569" y="213"/>
                </a:cubicBezTo>
                <a:cubicBezTo>
                  <a:pt x="566" y="214"/>
                  <a:pt x="567" y="214"/>
                  <a:pt x="565" y="212"/>
                </a:cubicBezTo>
                <a:cubicBezTo>
                  <a:pt x="562" y="210"/>
                  <a:pt x="562" y="205"/>
                  <a:pt x="566" y="206"/>
                </a:cubicBezTo>
                <a:close/>
                <a:moveTo>
                  <a:pt x="573" y="236"/>
                </a:moveTo>
                <a:cubicBezTo>
                  <a:pt x="575" y="234"/>
                  <a:pt x="572" y="237"/>
                  <a:pt x="573" y="236"/>
                </a:cubicBezTo>
                <a:close/>
                <a:moveTo>
                  <a:pt x="571" y="238"/>
                </a:moveTo>
                <a:cubicBezTo>
                  <a:pt x="573" y="236"/>
                  <a:pt x="569" y="239"/>
                  <a:pt x="571" y="238"/>
                </a:cubicBezTo>
                <a:close/>
                <a:moveTo>
                  <a:pt x="569" y="326"/>
                </a:moveTo>
                <a:cubicBezTo>
                  <a:pt x="568" y="326"/>
                  <a:pt x="569" y="325"/>
                  <a:pt x="569" y="325"/>
                </a:cubicBezTo>
                <a:cubicBezTo>
                  <a:pt x="570" y="324"/>
                  <a:pt x="570" y="327"/>
                  <a:pt x="569" y="326"/>
                </a:cubicBezTo>
                <a:close/>
                <a:moveTo>
                  <a:pt x="567" y="224"/>
                </a:moveTo>
                <a:cubicBezTo>
                  <a:pt x="566" y="223"/>
                  <a:pt x="567" y="222"/>
                  <a:pt x="567" y="222"/>
                </a:cubicBezTo>
                <a:cubicBezTo>
                  <a:pt x="568" y="222"/>
                  <a:pt x="567" y="223"/>
                  <a:pt x="567" y="224"/>
                </a:cubicBezTo>
                <a:close/>
                <a:moveTo>
                  <a:pt x="567" y="311"/>
                </a:moveTo>
                <a:cubicBezTo>
                  <a:pt x="568" y="312"/>
                  <a:pt x="566" y="312"/>
                  <a:pt x="567" y="311"/>
                </a:cubicBezTo>
                <a:close/>
                <a:moveTo>
                  <a:pt x="565" y="280"/>
                </a:moveTo>
                <a:cubicBezTo>
                  <a:pt x="565" y="277"/>
                  <a:pt x="567" y="277"/>
                  <a:pt x="565" y="280"/>
                </a:cubicBezTo>
                <a:close/>
                <a:moveTo>
                  <a:pt x="566" y="411"/>
                </a:moveTo>
                <a:cubicBezTo>
                  <a:pt x="568" y="409"/>
                  <a:pt x="569" y="406"/>
                  <a:pt x="572" y="405"/>
                </a:cubicBezTo>
                <a:cubicBezTo>
                  <a:pt x="570" y="407"/>
                  <a:pt x="568" y="410"/>
                  <a:pt x="566" y="411"/>
                </a:cubicBezTo>
                <a:close/>
                <a:moveTo>
                  <a:pt x="571" y="279"/>
                </a:moveTo>
                <a:cubicBezTo>
                  <a:pt x="571" y="279"/>
                  <a:pt x="573" y="279"/>
                  <a:pt x="572" y="279"/>
                </a:cubicBezTo>
                <a:cubicBezTo>
                  <a:pt x="572" y="280"/>
                  <a:pt x="571" y="280"/>
                  <a:pt x="571" y="279"/>
                </a:cubicBezTo>
                <a:close/>
                <a:moveTo>
                  <a:pt x="573" y="383"/>
                </a:moveTo>
                <a:cubicBezTo>
                  <a:pt x="571" y="382"/>
                  <a:pt x="573" y="380"/>
                  <a:pt x="574" y="379"/>
                </a:cubicBezTo>
                <a:cubicBezTo>
                  <a:pt x="577" y="377"/>
                  <a:pt x="575" y="384"/>
                  <a:pt x="573" y="383"/>
                </a:cubicBezTo>
                <a:close/>
                <a:moveTo>
                  <a:pt x="578" y="218"/>
                </a:moveTo>
                <a:cubicBezTo>
                  <a:pt x="583" y="216"/>
                  <a:pt x="584" y="224"/>
                  <a:pt x="580" y="226"/>
                </a:cubicBezTo>
                <a:cubicBezTo>
                  <a:pt x="573" y="230"/>
                  <a:pt x="572" y="220"/>
                  <a:pt x="578" y="218"/>
                </a:cubicBezTo>
                <a:close/>
                <a:moveTo>
                  <a:pt x="577" y="295"/>
                </a:moveTo>
                <a:cubicBezTo>
                  <a:pt x="577" y="295"/>
                  <a:pt x="577" y="295"/>
                  <a:pt x="577" y="296"/>
                </a:cubicBezTo>
                <a:cubicBezTo>
                  <a:pt x="576" y="296"/>
                  <a:pt x="577" y="295"/>
                  <a:pt x="577" y="295"/>
                </a:cubicBezTo>
                <a:close/>
                <a:moveTo>
                  <a:pt x="577" y="425"/>
                </a:moveTo>
                <a:cubicBezTo>
                  <a:pt x="576" y="426"/>
                  <a:pt x="578" y="423"/>
                  <a:pt x="577" y="425"/>
                </a:cubicBezTo>
                <a:close/>
                <a:moveTo>
                  <a:pt x="577" y="371"/>
                </a:moveTo>
                <a:cubicBezTo>
                  <a:pt x="576" y="370"/>
                  <a:pt x="578" y="370"/>
                  <a:pt x="577" y="371"/>
                </a:cubicBezTo>
                <a:close/>
                <a:moveTo>
                  <a:pt x="577" y="297"/>
                </a:moveTo>
                <a:cubicBezTo>
                  <a:pt x="578" y="296"/>
                  <a:pt x="578" y="297"/>
                  <a:pt x="578" y="297"/>
                </a:cubicBezTo>
                <a:cubicBezTo>
                  <a:pt x="579" y="299"/>
                  <a:pt x="576" y="297"/>
                  <a:pt x="577" y="297"/>
                </a:cubicBezTo>
                <a:close/>
                <a:moveTo>
                  <a:pt x="580" y="277"/>
                </a:moveTo>
                <a:cubicBezTo>
                  <a:pt x="580" y="277"/>
                  <a:pt x="580" y="277"/>
                  <a:pt x="580" y="277"/>
                </a:cubicBezTo>
                <a:cubicBezTo>
                  <a:pt x="581" y="277"/>
                  <a:pt x="579" y="278"/>
                  <a:pt x="580" y="277"/>
                </a:cubicBezTo>
                <a:close/>
                <a:moveTo>
                  <a:pt x="580" y="387"/>
                </a:moveTo>
                <a:cubicBezTo>
                  <a:pt x="580" y="386"/>
                  <a:pt x="582" y="385"/>
                  <a:pt x="582" y="384"/>
                </a:cubicBezTo>
                <a:cubicBezTo>
                  <a:pt x="583" y="385"/>
                  <a:pt x="581" y="386"/>
                  <a:pt x="580" y="387"/>
                </a:cubicBezTo>
                <a:close/>
                <a:moveTo>
                  <a:pt x="578" y="268"/>
                </a:moveTo>
                <a:cubicBezTo>
                  <a:pt x="578" y="266"/>
                  <a:pt x="584" y="266"/>
                  <a:pt x="582" y="269"/>
                </a:cubicBezTo>
                <a:cubicBezTo>
                  <a:pt x="582" y="271"/>
                  <a:pt x="578" y="270"/>
                  <a:pt x="578" y="268"/>
                </a:cubicBezTo>
                <a:close/>
                <a:moveTo>
                  <a:pt x="582" y="302"/>
                </a:moveTo>
                <a:cubicBezTo>
                  <a:pt x="582" y="302"/>
                  <a:pt x="582" y="301"/>
                  <a:pt x="583" y="301"/>
                </a:cubicBezTo>
                <a:cubicBezTo>
                  <a:pt x="585" y="299"/>
                  <a:pt x="584" y="304"/>
                  <a:pt x="582" y="302"/>
                </a:cubicBezTo>
                <a:close/>
                <a:moveTo>
                  <a:pt x="584" y="367"/>
                </a:moveTo>
                <a:cubicBezTo>
                  <a:pt x="584" y="369"/>
                  <a:pt x="582" y="368"/>
                  <a:pt x="584" y="367"/>
                </a:cubicBezTo>
                <a:close/>
                <a:moveTo>
                  <a:pt x="584" y="364"/>
                </a:moveTo>
                <a:cubicBezTo>
                  <a:pt x="584" y="363"/>
                  <a:pt x="584" y="363"/>
                  <a:pt x="585" y="363"/>
                </a:cubicBezTo>
                <a:cubicBezTo>
                  <a:pt x="586" y="363"/>
                  <a:pt x="583" y="365"/>
                  <a:pt x="584" y="364"/>
                </a:cubicBezTo>
                <a:close/>
                <a:moveTo>
                  <a:pt x="585" y="305"/>
                </a:moveTo>
                <a:cubicBezTo>
                  <a:pt x="585" y="305"/>
                  <a:pt x="586" y="304"/>
                  <a:pt x="586" y="305"/>
                </a:cubicBezTo>
                <a:cubicBezTo>
                  <a:pt x="587" y="305"/>
                  <a:pt x="585" y="306"/>
                  <a:pt x="585" y="305"/>
                </a:cubicBezTo>
                <a:close/>
                <a:moveTo>
                  <a:pt x="585" y="289"/>
                </a:moveTo>
                <a:cubicBezTo>
                  <a:pt x="585" y="288"/>
                  <a:pt x="586" y="288"/>
                  <a:pt x="586" y="288"/>
                </a:cubicBezTo>
                <a:cubicBezTo>
                  <a:pt x="586" y="288"/>
                  <a:pt x="585" y="289"/>
                  <a:pt x="585" y="289"/>
                </a:cubicBezTo>
                <a:close/>
                <a:moveTo>
                  <a:pt x="585" y="250"/>
                </a:moveTo>
                <a:cubicBezTo>
                  <a:pt x="586" y="249"/>
                  <a:pt x="587" y="248"/>
                  <a:pt x="589" y="247"/>
                </a:cubicBezTo>
                <a:cubicBezTo>
                  <a:pt x="588" y="248"/>
                  <a:pt x="586" y="249"/>
                  <a:pt x="585" y="250"/>
                </a:cubicBezTo>
                <a:close/>
                <a:moveTo>
                  <a:pt x="590" y="437"/>
                </a:moveTo>
                <a:cubicBezTo>
                  <a:pt x="589" y="435"/>
                  <a:pt x="591" y="433"/>
                  <a:pt x="593" y="431"/>
                </a:cubicBezTo>
                <a:cubicBezTo>
                  <a:pt x="592" y="433"/>
                  <a:pt x="591" y="435"/>
                  <a:pt x="590" y="437"/>
                </a:cubicBezTo>
                <a:close/>
                <a:moveTo>
                  <a:pt x="594" y="251"/>
                </a:moveTo>
                <a:cubicBezTo>
                  <a:pt x="596" y="250"/>
                  <a:pt x="595" y="255"/>
                  <a:pt x="593" y="253"/>
                </a:cubicBezTo>
                <a:cubicBezTo>
                  <a:pt x="593" y="253"/>
                  <a:pt x="593" y="252"/>
                  <a:pt x="594" y="251"/>
                </a:cubicBezTo>
                <a:close/>
                <a:moveTo>
                  <a:pt x="594" y="357"/>
                </a:moveTo>
                <a:cubicBezTo>
                  <a:pt x="594" y="357"/>
                  <a:pt x="594" y="356"/>
                  <a:pt x="595" y="356"/>
                </a:cubicBezTo>
                <a:cubicBezTo>
                  <a:pt x="596" y="357"/>
                  <a:pt x="592" y="359"/>
                  <a:pt x="594" y="357"/>
                </a:cubicBezTo>
                <a:close/>
                <a:moveTo>
                  <a:pt x="595" y="371"/>
                </a:moveTo>
                <a:cubicBezTo>
                  <a:pt x="595" y="372"/>
                  <a:pt x="594" y="373"/>
                  <a:pt x="593" y="373"/>
                </a:cubicBezTo>
                <a:cubicBezTo>
                  <a:pt x="593" y="372"/>
                  <a:pt x="594" y="371"/>
                  <a:pt x="595" y="371"/>
                </a:cubicBezTo>
                <a:close/>
                <a:moveTo>
                  <a:pt x="593" y="429"/>
                </a:move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lose/>
                <a:moveTo>
                  <a:pt x="594" y="472"/>
                </a:moveTo>
                <a:cubicBezTo>
                  <a:pt x="594" y="472"/>
                  <a:pt x="595" y="470"/>
                  <a:pt x="595" y="470"/>
                </a:cubicBezTo>
                <a:cubicBezTo>
                  <a:pt x="596" y="471"/>
                  <a:pt x="594" y="472"/>
                  <a:pt x="594" y="472"/>
                </a:cubicBezTo>
                <a:close/>
                <a:moveTo>
                  <a:pt x="598" y="422"/>
                </a:moveTo>
                <a:cubicBezTo>
                  <a:pt x="598" y="423"/>
                  <a:pt x="596" y="426"/>
                  <a:pt x="594" y="428"/>
                </a:cubicBezTo>
                <a:cubicBezTo>
                  <a:pt x="594" y="425"/>
                  <a:pt x="599" y="418"/>
                  <a:pt x="598" y="422"/>
                </a:cubicBezTo>
                <a:close/>
                <a:moveTo>
                  <a:pt x="595" y="356"/>
                </a:moveTo>
                <a:cubicBezTo>
                  <a:pt x="596" y="355"/>
                  <a:pt x="597" y="354"/>
                  <a:pt x="599" y="353"/>
                </a:cubicBezTo>
                <a:cubicBezTo>
                  <a:pt x="598" y="355"/>
                  <a:pt x="597" y="355"/>
                  <a:pt x="595" y="356"/>
                </a:cubicBezTo>
                <a:close/>
                <a:moveTo>
                  <a:pt x="686" y="310"/>
                </a:moveTo>
                <a:cubicBezTo>
                  <a:pt x="686" y="309"/>
                  <a:pt x="686" y="312"/>
                  <a:pt x="686" y="310"/>
                </a:cubicBezTo>
                <a:close/>
                <a:moveTo>
                  <a:pt x="679" y="298"/>
                </a:moveTo>
                <a:cubicBezTo>
                  <a:pt x="682" y="297"/>
                  <a:pt x="678" y="302"/>
                  <a:pt x="678" y="299"/>
                </a:cubicBezTo>
                <a:cubicBezTo>
                  <a:pt x="678" y="299"/>
                  <a:pt x="678" y="298"/>
                  <a:pt x="679" y="298"/>
                </a:cubicBezTo>
                <a:close/>
                <a:moveTo>
                  <a:pt x="676" y="297"/>
                </a:moveTo>
                <a:cubicBezTo>
                  <a:pt x="677" y="295"/>
                  <a:pt x="676" y="298"/>
                  <a:pt x="676" y="297"/>
                </a:cubicBezTo>
                <a:close/>
                <a:moveTo>
                  <a:pt x="671" y="307"/>
                </a:moveTo>
                <a:cubicBezTo>
                  <a:pt x="671" y="307"/>
                  <a:pt x="672" y="308"/>
                  <a:pt x="671" y="308"/>
                </a:cubicBezTo>
                <a:cubicBezTo>
                  <a:pt x="670" y="309"/>
                  <a:pt x="671" y="307"/>
                  <a:pt x="671" y="307"/>
                </a:cubicBezTo>
                <a:close/>
                <a:moveTo>
                  <a:pt x="672" y="331"/>
                </a:moveTo>
                <a:cubicBezTo>
                  <a:pt x="672" y="331"/>
                  <a:pt x="675" y="326"/>
                  <a:pt x="675" y="328"/>
                </a:cubicBezTo>
                <a:cubicBezTo>
                  <a:pt x="675" y="331"/>
                  <a:pt x="670" y="334"/>
                  <a:pt x="668" y="337"/>
                </a:cubicBezTo>
                <a:cubicBezTo>
                  <a:pt x="669" y="335"/>
                  <a:pt x="671" y="333"/>
                  <a:pt x="672" y="331"/>
                </a:cubicBezTo>
                <a:close/>
                <a:moveTo>
                  <a:pt x="669" y="271"/>
                </a:moveTo>
                <a:cubicBezTo>
                  <a:pt x="668" y="270"/>
                  <a:pt x="671" y="264"/>
                  <a:pt x="672" y="266"/>
                </a:cubicBezTo>
                <a:cubicBezTo>
                  <a:pt x="674" y="267"/>
                  <a:pt x="670" y="270"/>
                  <a:pt x="669" y="271"/>
                </a:cubicBezTo>
                <a:close/>
                <a:moveTo>
                  <a:pt x="674" y="235"/>
                </a:moveTo>
                <a:cubicBezTo>
                  <a:pt x="673" y="236"/>
                  <a:pt x="675" y="233"/>
                  <a:pt x="674" y="235"/>
                </a:cubicBezTo>
                <a:close/>
                <a:moveTo>
                  <a:pt x="676" y="252"/>
                </a:moveTo>
                <a:cubicBezTo>
                  <a:pt x="676" y="250"/>
                  <a:pt x="677" y="251"/>
                  <a:pt x="676" y="252"/>
                </a:cubicBezTo>
                <a:close/>
                <a:moveTo>
                  <a:pt x="673" y="222"/>
                </a:moveTo>
                <a:cubicBezTo>
                  <a:pt x="674" y="221"/>
                  <a:pt x="676" y="222"/>
                  <a:pt x="676" y="222"/>
                </a:cubicBezTo>
                <a:cubicBezTo>
                  <a:pt x="678" y="225"/>
                  <a:pt x="674" y="230"/>
                  <a:pt x="672" y="229"/>
                </a:cubicBezTo>
                <a:cubicBezTo>
                  <a:pt x="669" y="227"/>
                  <a:pt x="671" y="223"/>
                  <a:pt x="673" y="222"/>
                </a:cubicBezTo>
                <a:close/>
                <a:moveTo>
                  <a:pt x="669" y="233"/>
                </a:moveTo>
                <a:cubicBezTo>
                  <a:pt x="669" y="232"/>
                  <a:pt x="670" y="231"/>
                  <a:pt x="670" y="230"/>
                </a:cubicBezTo>
                <a:cubicBezTo>
                  <a:pt x="669" y="230"/>
                  <a:pt x="669" y="230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1" y="229"/>
                </a:cubicBezTo>
                <a:cubicBezTo>
                  <a:pt x="670" y="230"/>
                  <a:pt x="670" y="230"/>
                  <a:pt x="670" y="230"/>
                </a:cubicBezTo>
                <a:cubicBezTo>
                  <a:pt x="670" y="233"/>
                  <a:pt x="669" y="236"/>
                  <a:pt x="668" y="238"/>
                </a:cubicBezTo>
                <a:cubicBezTo>
                  <a:pt x="668" y="237"/>
                  <a:pt x="668" y="235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lose/>
                <a:moveTo>
                  <a:pt x="668" y="231"/>
                </a:moveTo>
                <a:cubicBezTo>
                  <a:pt x="668" y="233"/>
                  <a:pt x="666" y="231"/>
                  <a:pt x="668" y="231"/>
                </a:cubicBezTo>
                <a:close/>
                <a:moveTo>
                  <a:pt x="671" y="249"/>
                </a:moveTo>
                <a:cubicBezTo>
                  <a:pt x="670" y="250"/>
                  <a:pt x="668" y="251"/>
                  <a:pt x="666" y="252"/>
                </a:cubicBezTo>
                <a:cubicBezTo>
                  <a:pt x="667" y="250"/>
                  <a:pt x="669" y="250"/>
                  <a:pt x="671" y="249"/>
                </a:cubicBezTo>
                <a:close/>
                <a:moveTo>
                  <a:pt x="667" y="257"/>
                </a:moveTo>
                <a:cubicBezTo>
                  <a:pt x="667" y="258"/>
                  <a:pt x="666" y="260"/>
                  <a:pt x="665" y="261"/>
                </a:cubicBezTo>
                <a:cubicBezTo>
                  <a:pt x="665" y="259"/>
                  <a:pt x="667" y="259"/>
                  <a:pt x="667" y="257"/>
                </a:cubicBezTo>
                <a:close/>
                <a:moveTo>
                  <a:pt x="666" y="302"/>
                </a:moveTo>
                <a:cubicBezTo>
                  <a:pt x="666" y="302"/>
                  <a:pt x="666" y="302"/>
                  <a:pt x="666" y="301"/>
                </a:cubicBezTo>
                <a:cubicBezTo>
                  <a:pt x="666" y="300"/>
                  <a:pt x="667" y="302"/>
                  <a:pt x="666" y="302"/>
                </a:cubicBezTo>
                <a:close/>
                <a:moveTo>
                  <a:pt x="657" y="233"/>
                </a:moveTo>
                <a:cubicBezTo>
                  <a:pt x="657" y="233"/>
                  <a:pt x="657" y="233"/>
                  <a:pt x="657" y="233"/>
                </a:cubicBezTo>
                <a:cubicBezTo>
                  <a:pt x="657" y="235"/>
                  <a:pt x="655" y="233"/>
                  <a:pt x="657" y="233"/>
                </a:cubicBezTo>
                <a:close/>
                <a:moveTo>
                  <a:pt x="655" y="232"/>
                </a:moveTo>
                <a:cubicBezTo>
                  <a:pt x="656" y="232"/>
                  <a:pt x="656" y="234"/>
                  <a:pt x="655" y="234"/>
                </a:cubicBezTo>
                <a:cubicBezTo>
                  <a:pt x="654" y="233"/>
                  <a:pt x="655" y="232"/>
                  <a:pt x="655" y="232"/>
                </a:cubicBezTo>
                <a:close/>
                <a:moveTo>
                  <a:pt x="655" y="256"/>
                </a:moveTo>
                <a:cubicBezTo>
                  <a:pt x="657" y="254"/>
                  <a:pt x="657" y="259"/>
                  <a:pt x="655" y="259"/>
                </a:cubicBezTo>
                <a:cubicBezTo>
                  <a:pt x="654" y="258"/>
                  <a:pt x="654" y="256"/>
                  <a:pt x="655" y="256"/>
                </a:cubicBezTo>
                <a:close/>
                <a:moveTo>
                  <a:pt x="651" y="231"/>
                </a:moveTo>
                <a:cubicBezTo>
                  <a:pt x="651" y="231"/>
                  <a:pt x="652" y="230"/>
                  <a:pt x="653" y="231"/>
                </a:cubicBezTo>
                <a:cubicBezTo>
                  <a:pt x="654" y="232"/>
                  <a:pt x="650" y="234"/>
                  <a:pt x="651" y="231"/>
                </a:cubicBezTo>
                <a:close/>
                <a:moveTo>
                  <a:pt x="651" y="229"/>
                </a:moveTo>
                <a:cubicBezTo>
                  <a:pt x="651" y="228"/>
                  <a:pt x="650" y="231"/>
                  <a:pt x="651" y="229"/>
                </a:cubicBezTo>
                <a:close/>
                <a:moveTo>
                  <a:pt x="647" y="239"/>
                </a:moveTo>
                <a:cubicBezTo>
                  <a:pt x="648" y="237"/>
                  <a:pt x="650" y="241"/>
                  <a:pt x="647" y="241"/>
                </a:cubicBezTo>
                <a:cubicBezTo>
                  <a:pt x="647" y="240"/>
                  <a:pt x="646" y="239"/>
                  <a:pt x="647" y="239"/>
                </a:cubicBezTo>
                <a:close/>
                <a:moveTo>
                  <a:pt x="649" y="265"/>
                </a:moveTo>
                <a:cubicBezTo>
                  <a:pt x="650" y="264"/>
                  <a:pt x="651" y="260"/>
                  <a:pt x="653" y="260"/>
                </a:cubicBezTo>
                <a:cubicBezTo>
                  <a:pt x="657" y="258"/>
                  <a:pt x="649" y="267"/>
                  <a:pt x="648" y="268"/>
                </a:cubicBezTo>
                <a:cubicBezTo>
                  <a:pt x="650" y="266"/>
                  <a:pt x="648" y="270"/>
                  <a:pt x="647" y="269"/>
                </a:cubicBezTo>
                <a:cubicBezTo>
                  <a:pt x="646" y="269"/>
                  <a:pt x="648" y="266"/>
                  <a:pt x="649" y="265"/>
                </a:cubicBezTo>
                <a:close/>
                <a:moveTo>
                  <a:pt x="652" y="271"/>
                </a:moveTo>
                <a:cubicBezTo>
                  <a:pt x="653" y="272"/>
                  <a:pt x="651" y="272"/>
                  <a:pt x="651" y="272"/>
                </a:cubicBezTo>
                <a:cubicBezTo>
                  <a:pt x="651" y="271"/>
                  <a:pt x="652" y="270"/>
                  <a:pt x="652" y="271"/>
                </a:cubicBezTo>
                <a:close/>
                <a:moveTo>
                  <a:pt x="657" y="273"/>
                </a:moveTo>
                <a:cubicBezTo>
                  <a:pt x="653" y="278"/>
                  <a:pt x="649" y="282"/>
                  <a:pt x="643" y="286"/>
                </a:cubicBezTo>
                <a:cubicBezTo>
                  <a:pt x="648" y="281"/>
                  <a:pt x="652" y="277"/>
                  <a:pt x="657" y="273"/>
                </a:cubicBezTo>
                <a:close/>
                <a:moveTo>
                  <a:pt x="645" y="387"/>
                </a:moveTo>
                <a:cubicBezTo>
                  <a:pt x="645" y="389"/>
                  <a:pt x="643" y="388"/>
                  <a:pt x="645" y="387"/>
                </a:cubicBezTo>
                <a:close/>
                <a:moveTo>
                  <a:pt x="645" y="390"/>
                </a:moveTo>
                <a:cubicBezTo>
                  <a:pt x="645" y="388"/>
                  <a:pt x="644" y="391"/>
                  <a:pt x="645" y="390"/>
                </a:cubicBezTo>
                <a:close/>
                <a:moveTo>
                  <a:pt x="641" y="392"/>
                </a:moveTo>
                <a:cubicBezTo>
                  <a:pt x="642" y="391"/>
                  <a:pt x="642" y="390"/>
                  <a:pt x="643" y="389"/>
                </a:cubicBezTo>
                <a:cubicBezTo>
                  <a:pt x="643" y="390"/>
                  <a:pt x="643" y="391"/>
                  <a:pt x="641" y="392"/>
                </a:cubicBezTo>
                <a:close/>
                <a:moveTo>
                  <a:pt x="642" y="393"/>
                </a:moveTo>
                <a:cubicBezTo>
                  <a:pt x="643" y="393"/>
                  <a:pt x="640" y="395"/>
                  <a:pt x="642" y="393"/>
                </a:cubicBezTo>
                <a:close/>
                <a:moveTo>
                  <a:pt x="643" y="300"/>
                </a:moveTo>
                <a:cubicBezTo>
                  <a:pt x="642" y="300"/>
                  <a:pt x="643" y="299"/>
                  <a:pt x="643" y="299"/>
                </a:cubicBezTo>
                <a:cubicBezTo>
                  <a:pt x="644" y="297"/>
                  <a:pt x="644" y="301"/>
                  <a:pt x="643" y="300"/>
                </a:cubicBezTo>
                <a:close/>
                <a:moveTo>
                  <a:pt x="642" y="297"/>
                </a:moveTo>
                <a:cubicBezTo>
                  <a:pt x="642" y="296"/>
                  <a:pt x="643" y="296"/>
                  <a:pt x="644" y="295"/>
                </a:cubicBezTo>
                <a:cubicBezTo>
                  <a:pt x="644" y="296"/>
                  <a:pt x="643" y="297"/>
                  <a:pt x="642" y="297"/>
                </a:cubicBezTo>
                <a:close/>
                <a:moveTo>
                  <a:pt x="639" y="297"/>
                </a:moveTo>
                <a:cubicBezTo>
                  <a:pt x="638" y="296"/>
                  <a:pt x="644" y="290"/>
                  <a:pt x="645" y="290"/>
                </a:cubicBezTo>
                <a:cubicBezTo>
                  <a:pt x="645" y="289"/>
                  <a:pt x="646" y="289"/>
                  <a:pt x="647" y="289"/>
                </a:cubicBezTo>
                <a:cubicBezTo>
                  <a:pt x="647" y="289"/>
                  <a:pt x="640" y="298"/>
                  <a:pt x="639" y="297"/>
                </a:cubicBezTo>
                <a:close/>
                <a:moveTo>
                  <a:pt x="642" y="298"/>
                </a:moveTo>
                <a:cubicBezTo>
                  <a:pt x="641" y="300"/>
                  <a:pt x="639" y="299"/>
                  <a:pt x="642" y="298"/>
                </a:cubicBezTo>
                <a:close/>
                <a:moveTo>
                  <a:pt x="639" y="303"/>
                </a:moveTo>
                <a:cubicBezTo>
                  <a:pt x="639" y="303"/>
                  <a:pt x="639" y="302"/>
                  <a:pt x="639" y="302"/>
                </a:cubicBezTo>
                <a:cubicBezTo>
                  <a:pt x="641" y="300"/>
                  <a:pt x="640" y="304"/>
                  <a:pt x="639" y="303"/>
                </a:cubicBezTo>
                <a:close/>
                <a:moveTo>
                  <a:pt x="640" y="320"/>
                </a:moveTo>
                <a:cubicBezTo>
                  <a:pt x="640" y="320"/>
                  <a:pt x="639" y="321"/>
                  <a:pt x="639" y="321"/>
                </a:cubicBezTo>
                <a:cubicBezTo>
                  <a:pt x="638" y="321"/>
                  <a:pt x="639" y="320"/>
                  <a:pt x="640" y="320"/>
                </a:cubicBezTo>
                <a:close/>
                <a:moveTo>
                  <a:pt x="638" y="266"/>
                </a:moveTo>
                <a:cubicBezTo>
                  <a:pt x="637" y="266"/>
                  <a:pt x="639" y="265"/>
                  <a:pt x="638" y="264"/>
                </a:cubicBezTo>
                <a:cubicBezTo>
                  <a:pt x="639" y="264"/>
                  <a:pt x="638" y="266"/>
                  <a:pt x="638" y="266"/>
                </a:cubicBezTo>
                <a:close/>
                <a:moveTo>
                  <a:pt x="638" y="268"/>
                </a:moveTo>
                <a:cubicBezTo>
                  <a:pt x="638" y="268"/>
                  <a:pt x="638" y="269"/>
                  <a:pt x="638" y="269"/>
                </a:cubicBezTo>
                <a:cubicBezTo>
                  <a:pt x="638" y="269"/>
                  <a:pt x="638" y="269"/>
                  <a:pt x="638" y="269"/>
                </a:cubicBezTo>
                <a:cubicBezTo>
                  <a:pt x="638" y="269"/>
                  <a:pt x="638" y="269"/>
                  <a:pt x="638" y="268"/>
                </a:cubicBezTo>
                <a:close/>
                <a:moveTo>
                  <a:pt x="642" y="286"/>
                </a:moveTo>
                <a:cubicBezTo>
                  <a:pt x="642" y="287"/>
                  <a:pt x="639" y="289"/>
                  <a:pt x="638" y="290"/>
                </a:cubicBezTo>
                <a:cubicBezTo>
                  <a:pt x="638" y="288"/>
                  <a:pt x="641" y="288"/>
                  <a:pt x="642" y="286"/>
                </a:cubicBezTo>
                <a:close/>
                <a:moveTo>
                  <a:pt x="644" y="234"/>
                </a:moveTo>
                <a:cubicBezTo>
                  <a:pt x="643" y="235"/>
                  <a:pt x="643" y="234"/>
                  <a:pt x="644" y="234"/>
                </a:cubicBezTo>
                <a:close/>
                <a:moveTo>
                  <a:pt x="643" y="251"/>
                </a:moveTo>
                <a:cubicBezTo>
                  <a:pt x="643" y="252"/>
                  <a:pt x="642" y="253"/>
                  <a:pt x="642" y="253"/>
                </a:cubicBezTo>
                <a:cubicBezTo>
                  <a:pt x="642" y="253"/>
                  <a:pt x="642" y="251"/>
                  <a:pt x="643" y="251"/>
                </a:cubicBezTo>
                <a:close/>
                <a:moveTo>
                  <a:pt x="645" y="254"/>
                </a:moveTo>
                <a:cubicBezTo>
                  <a:pt x="643" y="257"/>
                  <a:pt x="641" y="258"/>
                  <a:pt x="638" y="260"/>
                </a:cubicBezTo>
                <a:cubicBezTo>
                  <a:pt x="640" y="258"/>
                  <a:pt x="642" y="256"/>
                  <a:pt x="645" y="254"/>
                </a:cubicBezTo>
                <a:close/>
                <a:moveTo>
                  <a:pt x="640" y="225"/>
                </a:moveTo>
                <a:cubicBezTo>
                  <a:pt x="640" y="225"/>
                  <a:pt x="640" y="225"/>
                  <a:pt x="640" y="225"/>
                </a:cubicBezTo>
                <a:cubicBezTo>
                  <a:pt x="640" y="225"/>
                  <a:pt x="640" y="225"/>
                  <a:pt x="640" y="226"/>
                </a:cubicBezTo>
                <a:cubicBezTo>
                  <a:pt x="640" y="226"/>
                  <a:pt x="640" y="226"/>
                  <a:pt x="640" y="225"/>
                </a:cubicBezTo>
                <a:close/>
                <a:moveTo>
                  <a:pt x="640" y="241"/>
                </a:moveTo>
                <a:cubicBezTo>
                  <a:pt x="641" y="243"/>
                  <a:pt x="638" y="244"/>
                  <a:pt x="638" y="242"/>
                </a:cubicBezTo>
                <a:cubicBezTo>
                  <a:pt x="637" y="241"/>
                  <a:pt x="640" y="239"/>
                  <a:pt x="640" y="241"/>
                </a:cubicBezTo>
                <a:close/>
                <a:moveTo>
                  <a:pt x="638" y="290"/>
                </a:moveTo>
                <a:cubicBezTo>
                  <a:pt x="639" y="291"/>
                  <a:pt x="635" y="292"/>
                  <a:pt x="636" y="290"/>
                </a:cubicBezTo>
                <a:cubicBezTo>
                  <a:pt x="637" y="289"/>
                  <a:pt x="637" y="289"/>
                  <a:pt x="638" y="290"/>
                </a:cubicBezTo>
                <a:close/>
                <a:moveTo>
                  <a:pt x="637" y="302"/>
                </a:move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lose/>
                <a:moveTo>
                  <a:pt x="632" y="265"/>
                </a:moveTo>
                <a:cubicBezTo>
                  <a:pt x="633" y="264"/>
                  <a:pt x="635" y="262"/>
                  <a:pt x="636" y="262"/>
                </a:cubicBezTo>
                <a:cubicBezTo>
                  <a:pt x="636" y="262"/>
                  <a:pt x="634" y="265"/>
                  <a:pt x="632" y="265"/>
                </a:cubicBezTo>
                <a:close/>
                <a:moveTo>
                  <a:pt x="637" y="219"/>
                </a:moveTo>
                <a:cubicBezTo>
                  <a:pt x="637" y="221"/>
                  <a:pt x="634" y="221"/>
                  <a:pt x="634" y="219"/>
                </a:cubicBezTo>
                <a:cubicBezTo>
                  <a:pt x="634" y="218"/>
                  <a:pt x="636" y="217"/>
                  <a:pt x="637" y="219"/>
                </a:cubicBezTo>
                <a:close/>
                <a:moveTo>
                  <a:pt x="633" y="221"/>
                </a:moveTo>
                <a:cubicBezTo>
                  <a:pt x="633" y="221"/>
                  <a:pt x="635" y="221"/>
                  <a:pt x="634" y="222"/>
                </a:cubicBezTo>
                <a:cubicBezTo>
                  <a:pt x="634" y="222"/>
                  <a:pt x="632" y="222"/>
                  <a:pt x="633" y="221"/>
                </a:cubicBezTo>
                <a:close/>
                <a:moveTo>
                  <a:pt x="633" y="253"/>
                </a:moveTo>
                <a:cubicBezTo>
                  <a:pt x="633" y="254"/>
                  <a:pt x="632" y="254"/>
                  <a:pt x="631" y="254"/>
                </a:cubicBezTo>
                <a:cubicBezTo>
                  <a:pt x="631" y="253"/>
                  <a:pt x="632" y="252"/>
                  <a:pt x="633" y="253"/>
                </a:cubicBezTo>
                <a:close/>
                <a:moveTo>
                  <a:pt x="630" y="260"/>
                </a:moveTo>
                <a:cubicBezTo>
                  <a:pt x="630" y="260"/>
                  <a:pt x="630" y="260"/>
                  <a:pt x="630" y="261"/>
                </a:cubicBezTo>
                <a:cubicBezTo>
                  <a:pt x="630" y="261"/>
                  <a:pt x="630" y="261"/>
                  <a:pt x="630" y="261"/>
                </a:cubicBezTo>
                <a:cubicBezTo>
                  <a:pt x="630" y="261"/>
                  <a:pt x="630" y="260"/>
                  <a:pt x="630" y="260"/>
                </a:cubicBezTo>
                <a:close/>
                <a:moveTo>
                  <a:pt x="632" y="277"/>
                </a:moveTo>
                <a:cubicBezTo>
                  <a:pt x="634" y="279"/>
                  <a:pt x="631" y="281"/>
                  <a:pt x="629" y="281"/>
                </a:cubicBezTo>
                <a:cubicBezTo>
                  <a:pt x="629" y="280"/>
                  <a:pt x="631" y="277"/>
                  <a:pt x="632" y="277"/>
                </a:cubicBezTo>
                <a:close/>
                <a:moveTo>
                  <a:pt x="632" y="347"/>
                </a:moveTo>
                <a:cubicBezTo>
                  <a:pt x="632" y="347"/>
                  <a:pt x="632" y="346"/>
                  <a:pt x="632" y="346"/>
                </a:cubicBezTo>
                <a:cubicBezTo>
                  <a:pt x="633" y="344"/>
                  <a:pt x="632" y="348"/>
                  <a:pt x="632" y="347"/>
                </a:cubicBezTo>
                <a:close/>
                <a:moveTo>
                  <a:pt x="630" y="294"/>
                </a:moveTo>
                <a:cubicBezTo>
                  <a:pt x="630" y="295"/>
                  <a:pt x="629" y="295"/>
                  <a:pt x="629" y="295"/>
                </a:cubicBezTo>
                <a:cubicBezTo>
                  <a:pt x="629" y="295"/>
                  <a:pt x="629" y="294"/>
                  <a:pt x="630" y="294"/>
                </a:cubicBezTo>
                <a:close/>
                <a:moveTo>
                  <a:pt x="627" y="314"/>
                </a:moveTo>
                <a:cubicBezTo>
                  <a:pt x="627" y="314"/>
                  <a:pt x="628" y="314"/>
                  <a:pt x="628" y="314"/>
                </a:cubicBezTo>
                <a:cubicBezTo>
                  <a:pt x="629" y="315"/>
                  <a:pt x="627" y="315"/>
                  <a:pt x="627" y="314"/>
                </a:cubicBezTo>
                <a:close/>
                <a:moveTo>
                  <a:pt x="628" y="256"/>
                </a:moveTo>
                <a:cubicBezTo>
                  <a:pt x="628" y="254"/>
                  <a:pt x="627" y="257"/>
                  <a:pt x="628" y="256"/>
                </a:cubicBezTo>
                <a:close/>
                <a:moveTo>
                  <a:pt x="626" y="201"/>
                </a:moveTo>
                <a:cubicBezTo>
                  <a:pt x="624" y="200"/>
                  <a:pt x="625" y="198"/>
                  <a:pt x="626" y="198"/>
                </a:cubicBezTo>
                <a:cubicBezTo>
                  <a:pt x="629" y="196"/>
                  <a:pt x="628" y="201"/>
                  <a:pt x="626" y="201"/>
                </a:cubicBezTo>
                <a:close/>
                <a:moveTo>
                  <a:pt x="625" y="187"/>
                </a:moveTo>
                <a:cubicBezTo>
                  <a:pt x="625" y="186"/>
                  <a:pt x="626" y="186"/>
                  <a:pt x="626" y="186"/>
                </a:cubicBezTo>
                <a:cubicBezTo>
                  <a:pt x="627" y="187"/>
                  <a:pt x="624" y="188"/>
                  <a:pt x="625" y="187"/>
                </a:cubicBezTo>
                <a:close/>
                <a:moveTo>
                  <a:pt x="622" y="226"/>
                </a:moveTo>
                <a:cubicBezTo>
                  <a:pt x="617" y="226"/>
                  <a:pt x="619" y="218"/>
                  <a:pt x="621" y="217"/>
                </a:cubicBezTo>
                <a:cubicBezTo>
                  <a:pt x="629" y="212"/>
                  <a:pt x="628" y="227"/>
                  <a:pt x="622" y="226"/>
                </a:cubicBezTo>
                <a:close/>
                <a:moveTo>
                  <a:pt x="619" y="233"/>
                </a:moveTo>
                <a:cubicBezTo>
                  <a:pt x="618" y="232"/>
                  <a:pt x="623" y="228"/>
                  <a:pt x="624" y="228"/>
                </a:cubicBezTo>
                <a:cubicBezTo>
                  <a:pt x="628" y="226"/>
                  <a:pt x="620" y="234"/>
                  <a:pt x="619" y="233"/>
                </a:cubicBezTo>
                <a:close/>
                <a:moveTo>
                  <a:pt x="625" y="235"/>
                </a:moveTo>
                <a:cubicBezTo>
                  <a:pt x="625" y="236"/>
                  <a:pt x="623" y="237"/>
                  <a:pt x="623" y="236"/>
                </a:cubicBezTo>
                <a:cubicBezTo>
                  <a:pt x="622" y="235"/>
                  <a:pt x="624" y="234"/>
                  <a:pt x="625" y="235"/>
                </a:cubicBezTo>
                <a:close/>
                <a:moveTo>
                  <a:pt x="622" y="357"/>
                </a:move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lose/>
                <a:moveTo>
                  <a:pt x="608" y="328"/>
                </a:moveTo>
                <a:cubicBezTo>
                  <a:pt x="608" y="327"/>
                  <a:pt x="611" y="326"/>
                  <a:pt x="612" y="324"/>
                </a:cubicBezTo>
                <a:cubicBezTo>
                  <a:pt x="615" y="321"/>
                  <a:pt x="617" y="315"/>
                  <a:pt x="621" y="313"/>
                </a:cubicBezTo>
                <a:cubicBezTo>
                  <a:pt x="621" y="317"/>
                  <a:pt x="615" y="319"/>
                  <a:pt x="614" y="322"/>
                </a:cubicBezTo>
                <a:cubicBezTo>
                  <a:pt x="613" y="324"/>
                  <a:pt x="610" y="329"/>
                  <a:pt x="607" y="331"/>
                </a:cubicBezTo>
                <a:cubicBezTo>
                  <a:pt x="607" y="331"/>
                  <a:pt x="607" y="333"/>
                  <a:pt x="606" y="332"/>
                </a:cubicBezTo>
                <a:cubicBezTo>
                  <a:pt x="605" y="331"/>
                  <a:pt x="608" y="328"/>
                  <a:pt x="608" y="328"/>
                </a:cubicBezTo>
                <a:close/>
                <a:moveTo>
                  <a:pt x="605" y="271"/>
                </a:moveTo>
                <a:cubicBezTo>
                  <a:pt x="604" y="270"/>
                  <a:pt x="605" y="269"/>
                  <a:pt x="605" y="269"/>
                </a:cubicBezTo>
                <a:cubicBezTo>
                  <a:pt x="608" y="267"/>
                  <a:pt x="606" y="272"/>
                  <a:pt x="605" y="271"/>
                </a:cubicBezTo>
                <a:close/>
                <a:moveTo>
                  <a:pt x="609" y="243"/>
                </a:moveTo>
                <a:cubicBezTo>
                  <a:pt x="608" y="242"/>
                  <a:pt x="610" y="241"/>
                  <a:pt x="611" y="243"/>
                </a:cubicBezTo>
                <a:cubicBezTo>
                  <a:pt x="611" y="244"/>
                  <a:pt x="609" y="244"/>
                  <a:pt x="609" y="243"/>
                </a:cubicBezTo>
                <a:close/>
                <a:moveTo>
                  <a:pt x="611" y="305"/>
                </a:moveTo>
                <a:cubicBezTo>
                  <a:pt x="610" y="306"/>
                  <a:pt x="611" y="304"/>
                  <a:pt x="611" y="305"/>
                </a:cubicBezTo>
                <a:close/>
                <a:moveTo>
                  <a:pt x="613" y="298"/>
                </a:moveTo>
                <a:cubicBezTo>
                  <a:pt x="613" y="298"/>
                  <a:pt x="613" y="298"/>
                  <a:pt x="613" y="298"/>
                </a:cubicBezTo>
                <a:cubicBezTo>
                  <a:pt x="614" y="295"/>
                  <a:pt x="613" y="300"/>
                  <a:pt x="613" y="298"/>
                </a:cubicBezTo>
                <a:close/>
                <a:moveTo>
                  <a:pt x="617" y="261"/>
                </a:moveTo>
                <a:cubicBezTo>
                  <a:pt x="617" y="262"/>
                  <a:pt x="616" y="262"/>
                  <a:pt x="615" y="263"/>
                </a:cubicBezTo>
                <a:cubicBezTo>
                  <a:pt x="615" y="262"/>
                  <a:pt x="616" y="261"/>
                  <a:pt x="617" y="261"/>
                </a:cubicBezTo>
                <a:close/>
                <a:moveTo>
                  <a:pt x="616" y="238"/>
                </a:moveTo>
                <a:cubicBezTo>
                  <a:pt x="616" y="238"/>
                  <a:pt x="616" y="239"/>
                  <a:pt x="615" y="239"/>
                </a:cubicBezTo>
                <a:cubicBezTo>
                  <a:pt x="615" y="238"/>
                  <a:pt x="615" y="238"/>
                  <a:pt x="616" y="238"/>
                </a:cubicBezTo>
                <a:close/>
                <a:moveTo>
                  <a:pt x="618" y="309"/>
                </a:moveTo>
                <a:cubicBezTo>
                  <a:pt x="618" y="309"/>
                  <a:pt x="618" y="308"/>
                  <a:pt x="618" y="308"/>
                </a:cubicBezTo>
                <a:cubicBezTo>
                  <a:pt x="619" y="306"/>
                  <a:pt x="618" y="311"/>
                  <a:pt x="618" y="309"/>
                </a:cubicBezTo>
                <a:close/>
                <a:moveTo>
                  <a:pt x="618" y="295"/>
                </a:moveTo>
                <a:cubicBezTo>
                  <a:pt x="619" y="293"/>
                  <a:pt x="618" y="296"/>
                  <a:pt x="618" y="295"/>
                </a:cubicBezTo>
                <a:close/>
                <a:moveTo>
                  <a:pt x="620" y="301"/>
                </a:moveTo>
                <a:cubicBezTo>
                  <a:pt x="619" y="302"/>
                  <a:pt x="621" y="300"/>
                  <a:pt x="620" y="301"/>
                </a:cubicBezTo>
                <a:close/>
                <a:moveTo>
                  <a:pt x="621" y="333"/>
                </a:moveTo>
                <a:cubicBezTo>
                  <a:pt x="620" y="335"/>
                  <a:pt x="619" y="336"/>
                  <a:pt x="618" y="337"/>
                </a:cubicBezTo>
                <a:cubicBezTo>
                  <a:pt x="619" y="336"/>
                  <a:pt x="620" y="334"/>
                  <a:pt x="621" y="333"/>
                </a:cubicBezTo>
                <a:close/>
                <a:moveTo>
                  <a:pt x="622" y="194"/>
                </a:moveTo>
                <a:cubicBezTo>
                  <a:pt x="621" y="194"/>
                  <a:pt x="622" y="192"/>
                  <a:pt x="623" y="193"/>
                </a:cubicBezTo>
                <a:cubicBezTo>
                  <a:pt x="623" y="194"/>
                  <a:pt x="622" y="195"/>
                  <a:pt x="622" y="194"/>
                </a:cubicBezTo>
                <a:close/>
                <a:moveTo>
                  <a:pt x="619" y="192"/>
                </a:moveTo>
                <a:cubicBezTo>
                  <a:pt x="619" y="192"/>
                  <a:pt x="619" y="192"/>
                  <a:pt x="620" y="191"/>
                </a:cubicBezTo>
                <a:cubicBezTo>
                  <a:pt x="620" y="192"/>
                  <a:pt x="620" y="192"/>
                  <a:pt x="620" y="192"/>
                </a:cubicBezTo>
                <a:cubicBezTo>
                  <a:pt x="621" y="191"/>
                  <a:pt x="622" y="190"/>
                  <a:pt x="623" y="190"/>
                </a:cubicBezTo>
                <a:cubicBezTo>
                  <a:pt x="622" y="192"/>
                  <a:pt x="620" y="193"/>
                  <a:pt x="617" y="194"/>
                </a:cubicBezTo>
                <a:cubicBezTo>
                  <a:pt x="618" y="193"/>
                  <a:pt x="618" y="193"/>
                  <a:pt x="619" y="192"/>
                </a:cubicBezTo>
                <a:close/>
                <a:moveTo>
                  <a:pt x="615" y="194"/>
                </a:moveTo>
                <a:cubicBezTo>
                  <a:pt x="616" y="194"/>
                  <a:pt x="617" y="193"/>
                  <a:pt x="617" y="194"/>
                </a:cubicBezTo>
                <a:cubicBezTo>
                  <a:pt x="618" y="195"/>
                  <a:pt x="613" y="196"/>
                  <a:pt x="615" y="194"/>
                </a:cubicBezTo>
                <a:close/>
                <a:moveTo>
                  <a:pt x="612" y="214"/>
                </a:moveTo>
                <a:cubicBezTo>
                  <a:pt x="613" y="215"/>
                  <a:pt x="612" y="215"/>
                  <a:pt x="611" y="214"/>
                </a:cubicBezTo>
                <a:cubicBezTo>
                  <a:pt x="611" y="214"/>
                  <a:pt x="612" y="213"/>
                  <a:pt x="612" y="214"/>
                </a:cubicBezTo>
                <a:close/>
                <a:moveTo>
                  <a:pt x="609" y="203"/>
                </a:moveTo>
                <a:cubicBezTo>
                  <a:pt x="611" y="201"/>
                  <a:pt x="611" y="205"/>
                  <a:pt x="609" y="205"/>
                </a:cubicBezTo>
                <a:cubicBezTo>
                  <a:pt x="609" y="204"/>
                  <a:pt x="609" y="204"/>
                  <a:pt x="609" y="203"/>
                </a:cubicBezTo>
                <a:close/>
                <a:moveTo>
                  <a:pt x="609" y="219"/>
                </a:moveTo>
                <a:cubicBezTo>
                  <a:pt x="612" y="218"/>
                  <a:pt x="616" y="215"/>
                  <a:pt x="620" y="214"/>
                </a:cubicBezTo>
                <a:cubicBezTo>
                  <a:pt x="617" y="216"/>
                  <a:pt x="611" y="220"/>
                  <a:pt x="608" y="221"/>
                </a:cubicBezTo>
                <a:cubicBezTo>
                  <a:pt x="609" y="221"/>
                  <a:pt x="607" y="222"/>
                  <a:pt x="607" y="221"/>
                </a:cubicBezTo>
                <a:cubicBezTo>
                  <a:pt x="606" y="220"/>
                  <a:pt x="609" y="220"/>
                  <a:pt x="609" y="219"/>
                </a:cubicBezTo>
                <a:close/>
                <a:moveTo>
                  <a:pt x="610" y="253"/>
                </a:moveTo>
                <a:cubicBezTo>
                  <a:pt x="610" y="255"/>
                  <a:pt x="605" y="256"/>
                  <a:pt x="605" y="255"/>
                </a:cubicBezTo>
                <a:cubicBezTo>
                  <a:pt x="604" y="252"/>
                  <a:pt x="610" y="249"/>
                  <a:pt x="610" y="253"/>
                </a:cubicBezTo>
                <a:close/>
                <a:moveTo>
                  <a:pt x="602" y="194"/>
                </a:moveTo>
                <a:cubicBezTo>
                  <a:pt x="602" y="194"/>
                  <a:pt x="603" y="194"/>
                  <a:pt x="603" y="194"/>
                </a:cubicBezTo>
                <a:cubicBezTo>
                  <a:pt x="604" y="196"/>
                  <a:pt x="601" y="196"/>
                  <a:pt x="602" y="194"/>
                </a:cubicBezTo>
                <a:close/>
                <a:moveTo>
                  <a:pt x="604" y="256"/>
                </a:moveTo>
                <a:cubicBezTo>
                  <a:pt x="604" y="257"/>
                  <a:pt x="606" y="258"/>
                  <a:pt x="606" y="259"/>
                </a:cubicBezTo>
                <a:cubicBezTo>
                  <a:pt x="605" y="261"/>
                  <a:pt x="604" y="259"/>
                  <a:pt x="603" y="260"/>
                </a:cubicBezTo>
                <a:cubicBezTo>
                  <a:pt x="601" y="262"/>
                  <a:pt x="602" y="267"/>
                  <a:pt x="600" y="270"/>
                </a:cubicBezTo>
                <a:cubicBezTo>
                  <a:pt x="600" y="265"/>
                  <a:pt x="602" y="261"/>
                  <a:pt x="604" y="256"/>
                </a:cubicBezTo>
                <a:close/>
                <a:moveTo>
                  <a:pt x="600" y="272"/>
                </a:moveTo>
                <a:cubicBezTo>
                  <a:pt x="600" y="271"/>
                  <a:pt x="602" y="269"/>
                  <a:pt x="603" y="271"/>
                </a:cubicBezTo>
                <a:cubicBezTo>
                  <a:pt x="603" y="273"/>
                  <a:pt x="601" y="273"/>
                  <a:pt x="600" y="272"/>
                </a:cubicBezTo>
                <a:close/>
                <a:moveTo>
                  <a:pt x="601" y="310"/>
                </a:moveTo>
                <a:cubicBezTo>
                  <a:pt x="600" y="310"/>
                  <a:pt x="601" y="310"/>
                  <a:pt x="601" y="310"/>
                </a:cubicBezTo>
                <a:cubicBezTo>
                  <a:pt x="602" y="310"/>
                  <a:pt x="601" y="310"/>
                  <a:pt x="601" y="310"/>
                </a:cubicBezTo>
                <a:close/>
                <a:moveTo>
                  <a:pt x="602" y="303"/>
                </a:moveTo>
                <a:cubicBezTo>
                  <a:pt x="602" y="302"/>
                  <a:pt x="603" y="302"/>
                  <a:pt x="603" y="302"/>
                </a:cubicBezTo>
                <a:cubicBezTo>
                  <a:pt x="604" y="302"/>
                  <a:pt x="602" y="304"/>
                  <a:pt x="602" y="303"/>
                </a:cubicBezTo>
                <a:close/>
                <a:moveTo>
                  <a:pt x="607" y="416"/>
                </a:moveTo>
                <a:cubicBezTo>
                  <a:pt x="607" y="415"/>
                  <a:pt x="607" y="415"/>
                  <a:pt x="608" y="414"/>
                </a:cubicBezTo>
                <a:cubicBezTo>
                  <a:pt x="607" y="415"/>
                  <a:pt x="607" y="416"/>
                  <a:pt x="607" y="416"/>
                </a:cubicBezTo>
                <a:close/>
                <a:moveTo>
                  <a:pt x="608" y="393"/>
                </a:moveTo>
                <a:cubicBezTo>
                  <a:pt x="608" y="392"/>
                  <a:pt x="609" y="391"/>
                  <a:pt x="610" y="390"/>
                </a:cubicBezTo>
                <a:cubicBezTo>
                  <a:pt x="610" y="390"/>
                  <a:pt x="609" y="392"/>
                  <a:pt x="608" y="393"/>
                </a:cubicBezTo>
                <a:close/>
                <a:moveTo>
                  <a:pt x="600" y="353"/>
                </a:moveTo>
                <a:cubicBezTo>
                  <a:pt x="601" y="350"/>
                  <a:pt x="607" y="346"/>
                  <a:pt x="610" y="343"/>
                </a:cubicBezTo>
                <a:cubicBezTo>
                  <a:pt x="608" y="347"/>
                  <a:pt x="603" y="350"/>
                  <a:pt x="600" y="353"/>
                </a:cubicBezTo>
                <a:close/>
                <a:moveTo>
                  <a:pt x="611" y="388"/>
                </a:moveTo>
                <a:cubicBezTo>
                  <a:pt x="610" y="388"/>
                  <a:pt x="612" y="387"/>
                  <a:pt x="611" y="388"/>
                </a:cubicBezTo>
                <a:close/>
                <a:moveTo>
                  <a:pt x="612" y="387"/>
                </a:moveTo>
                <a:cubicBezTo>
                  <a:pt x="612" y="386"/>
                  <a:pt x="612" y="386"/>
                  <a:pt x="613" y="385"/>
                </a:cubicBezTo>
                <a:cubicBezTo>
                  <a:pt x="613" y="386"/>
                  <a:pt x="612" y="387"/>
                  <a:pt x="612" y="387"/>
                </a:cubicBezTo>
                <a:close/>
                <a:moveTo>
                  <a:pt x="611" y="344"/>
                </a:moveTo>
                <a:cubicBezTo>
                  <a:pt x="612" y="342"/>
                  <a:pt x="613" y="341"/>
                  <a:pt x="616" y="339"/>
                </a:cubicBezTo>
                <a:cubicBezTo>
                  <a:pt x="614" y="341"/>
                  <a:pt x="613" y="343"/>
                  <a:pt x="611" y="344"/>
                </a:cubicBezTo>
                <a:close/>
                <a:moveTo>
                  <a:pt x="615" y="357"/>
                </a:moveTo>
                <a:cubicBezTo>
                  <a:pt x="615" y="357"/>
                  <a:pt x="616" y="356"/>
                  <a:pt x="617" y="356"/>
                </a:cubicBezTo>
                <a:cubicBezTo>
                  <a:pt x="616" y="357"/>
                  <a:pt x="615" y="357"/>
                  <a:pt x="615" y="357"/>
                </a:cubicBezTo>
                <a:close/>
                <a:moveTo>
                  <a:pt x="617" y="539"/>
                </a:moveTo>
                <a:cubicBezTo>
                  <a:pt x="616" y="539"/>
                  <a:pt x="617" y="537"/>
                  <a:pt x="618" y="537"/>
                </a:cubicBezTo>
                <a:cubicBezTo>
                  <a:pt x="618" y="538"/>
                  <a:pt x="617" y="539"/>
                  <a:pt x="617" y="539"/>
                </a:cubicBezTo>
                <a:close/>
                <a:moveTo>
                  <a:pt x="618" y="445"/>
                </a:moveTo>
                <a:cubicBezTo>
                  <a:pt x="617" y="445"/>
                  <a:pt x="618" y="443"/>
                  <a:pt x="618" y="443"/>
                </a:cubicBezTo>
                <a:cubicBezTo>
                  <a:pt x="620" y="441"/>
                  <a:pt x="619" y="446"/>
                  <a:pt x="618" y="445"/>
                </a:cubicBezTo>
                <a:close/>
                <a:moveTo>
                  <a:pt x="619" y="557"/>
                </a:moveTo>
                <a:cubicBezTo>
                  <a:pt x="619" y="557"/>
                  <a:pt x="619" y="556"/>
                  <a:pt x="619" y="557"/>
                </a:cubicBezTo>
                <a:cubicBezTo>
                  <a:pt x="620" y="557"/>
                  <a:pt x="619" y="558"/>
                  <a:pt x="619" y="557"/>
                </a:cubicBezTo>
                <a:close/>
                <a:moveTo>
                  <a:pt x="619" y="347"/>
                </a:moveTo>
                <a:cubicBezTo>
                  <a:pt x="618" y="347"/>
                  <a:pt x="619" y="345"/>
                  <a:pt x="619" y="345"/>
                </a:cubicBezTo>
                <a:cubicBezTo>
                  <a:pt x="621" y="342"/>
                  <a:pt x="620" y="348"/>
                  <a:pt x="619" y="347"/>
                </a:cubicBezTo>
                <a:close/>
                <a:moveTo>
                  <a:pt x="620" y="435"/>
                </a:moveTo>
                <a:cubicBezTo>
                  <a:pt x="621" y="434"/>
                  <a:pt x="619" y="437"/>
                  <a:pt x="620" y="435"/>
                </a:cubicBezTo>
                <a:close/>
                <a:moveTo>
                  <a:pt x="623" y="526"/>
                </a:moveTo>
                <a:cubicBezTo>
                  <a:pt x="624" y="527"/>
                  <a:pt x="622" y="529"/>
                  <a:pt x="621" y="530"/>
                </a:cubicBezTo>
                <a:cubicBezTo>
                  <a:pt x="621" y="529"/>
                  <a:pt x="623" y="527"/>
                  <a:pt x="623" y="526"/>
                </a:cubicBezTo>
                <a:close/>
                <a:moveTo>
                  <a:pt x="622" y="561"/>
                </a:moveTo>
                <a:cubicBezTo>
                  <a:pt x="621" y="560"/>
                  <a:pt x="622" y="558"/>
                  <a:pt x="622" y="558"/>
                </a:cubicBezTo>
                <a:cubicBezTo>
                  <a:pt x="625" y="555"/>
                  <a:pt x="624" y="562"/>
                  <a:pt x="622" y="561"/>
                </a:cubicBezTo>
                <a:close/>
                <a:moveTo>
                  <a:pt x="624" y="492"/>
                </a:moveTo>
                <a:cubicBezTo>
                  <a:pt x="624" y="490"/>
                  <a:pt x="623" y="493"/>
                  <a:pt x="624" y="492"/>
                </a:cubicBezTo>
                <a:close/>
                <a:moveTo>
                  <a:pt x="625" y="381"/>
                </a:moveTo>
                <a:cubicBezTo>
                  <a:pt x="625" y="381"/>
                  <a:pt x="624" y="381"/>
                  <a:pt x="624" y="381"/>
                </a:cubicBezTo>
                <a:cubicBezTo>
                  <a:pt x="625" y="379"/>
                  <a:pt x="626" y="381"/>
                  <a:pt x="625" y="381"/>
                </a:cubicBezTo>
                <a:close/>
                <a:moveTo>
                  <a:pt x="624" y="254"/>
                </a:moveTo>
                <a:cubicBezTo>
                  <a:pt x="624" y="254"/>
                  <a:pt x="625" y="253"/>
                  <a:pt x="625" y="253"/>
                </a:cubicBezTo>
                <a:cubicBezTo>
                  <a:pt x="626" y="252"/>
                  <a:pt x="625" y="255"/>
                  <a:pt x="624" y="254"/>
                </a:cubicBezTo>
                <a:close/>
                <a:moveTo>
                  <a:pt x="626" y="488"/>
                </a:moveTo>
                <a:cubicBezTo>
                  <a:pt x="626" y="488"/>
                  <a:pt x="627" y="486"/>
                  <a:pt x="627" y="486"/>
                </a:cubicBezTo>
                <a:cubicBezTo>
                  <a:pt x="627" y="487"/>
                  <a:pt x="626" y="487"/>
                  <a:pt x="626" y="488"/>
                </a:cubicBezTo>
                <a:close/>
                <a:moveTo>
                  <a:pt x="628" y="522"/>
                </a:moveTo>
                <a:cubicBezTo>
                  <a:pt x="626" y="521"/>
                  <a:pt x="628" y="521"/>
                  <a:pt x="628" y="522"/>
                </a:cubicBezTo>
                <a:close/>
                <a:moveTo>
                  <a:pt x="633" y="526"/>
                </a:moveTo>
                <a:cubicBezTo>
                  <a:pt x="634" y="528"/>
                  <a:pt x="631" y="529"/>
                  <a:pt x="633" y="526"/>
                </a:cubicBezTo>
                <a:close/>
                <a:moveTo>
                  <a:pt x="628" y="417"/>
                </a:moveTo>
                <a:cubicBezTo>
                  <a:pt x="630" y="415"/>
                  <a:pt x="631" y="410"/>
                  <a:pt x="634" y="409"/>
                </a:cubicBezTo>
                <a:cubicBezTo>
                  <a:pt x="633" y="409"/>
                  <a:pt x="631" y="417"/>
                  <a:pt x="628" y="417"/>
                </a:cubicBezTo>
                <a:close/>
                <a:moveTo>
                  <a:pt x="633" y="310"/>
                </a:moveTo>
                <a:cubicBezTo>
                  <a:pt x="632" y="309"/>
                  <a:pt x="634" y="305"/>
                  <a:pt x="634" y="305"/>
                </a:cubicBezTo>
                <a:cubicBezTo>
                  <a:pt x="638" y="302"/>
                  <a:pt x="636" y="311"/>
                  <a:pt x="633" y="310"/>
                </a:cubicBezTo>
                <a:close/>
                <a:moveTo>
                  <a:pt x="637" y="496"/>
                </a:moveTo>
                <a:cubicBezTo>
                  <a:pt x="636" y="497"/>
                  <a:pt x="637" y="495"/>
                  <a:pt x="637" y="496"/>
                </a:cubicBezTo>
                <a:close/>
                <a:moveTo>
                  <a:pt x="637" y="495"/>
                </a:moveTo>
                <a:cubicBezTo>
                  <a:pt x="635" y="495"/>
                  <a:pt x="637" y="490"/>
                  <a:pt x="638" y="490"/>
                </a:cubicBezTo>
                <a:cubicBezTo>
                  <a:pt x="640" y="489"/>
                  <a:pt x="639" y="496"/>
                  <a:pt x="637" y="495"/>
                </a:cubicBezTo>
                <a:close/>
                <a:moveTo>
                  <a:pt x="638" y="424"/>
                </a:move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lose/>
                <a:moveTo>
                  <a:pt x="634" y="368"/>
                </a:moveTo>
                <a:cubicBezTo>
                  <a:pt x="637" y="365"/>
                  <a:pt x="639" y="361"/>
                  <a:pt x="643" y="358"/>
                </a:cubicBezTo>
                <a:cubicBezTo>
                  <a:pt x="641" y="362"/>
                  <a:pt x="638" y="365"/>
                  <a:pt x="634" y="368"/>
                </a:cubicBezTo>
                <a:close/>
                <a:moveTo>
                  <a:pt x="641" y="395"/>
                </a:moveTo>
                <a:cubicBezTo>
                  <a:pt x="641" y="395"/>
                  <a:pt x="641" y="395"/>
                  <a:pt x="641" y="395"/>
                </a:cubicBezTo>
                <a:cubicBezTo>
                  <a:pt x="641" y="395"/>
                  <a:pt x="641" y="394"/>
                  <a:pt x="641" y="395"/>
                </a:cubicBezTo>
                <a:close/>
                <a:moveTo>
                  <a:pt x="640" y="430"/>
                </a:moveTo>
                <a:cubicBezTo>
                  <a:pt x="640" y="430"/>
                  <a:pt x="640" y="428"/>
                  <a:pt x="642" y="428"/>
                </a:cubicBezTo>
                <a:cubicBezTo>
                  <a:pt x="643" y="427"/>
                  <a:pt x="644" y="427"/>
                  <a:pt x="645" y="428"/>
                </a:cubicBezTo>
                <a:cubicBezTo>
                  <a:pt x="648" y="432"/>
                  <a:pt x="641" y="434"/>
                  <a:pt x="640" y="430"/>
                </a:cubicBezTo>
                <a:close/>
                <a:moveTo>
                  <a:pt x="645" y="387"/>
                </a:moveTo>
                <a:cubicBezTo>
                  <a:pt x="645" y="386"/>
                  <a:pt x="645" y="385"/>
                  <a:pt x="646" y="385"/>
                </a:cubicBezTo>
                <a:cubicBezTo>
                  <a:pt x="646" y="386"/>
                  <a:pt x="646" y="386"/>
                  <a:pt x="645" y="387"/>
                </a:cubicBezTo>
                <a:close/>
                <a:moveTo>
                  <a:pt x="647" y="552"/>
                </a:moveTo>
                <a:cubicBezTo>
                  <a:pt x="646" y="553"/>
                  <a:pt x="648" y="551"/>
                  <a:pt x="647" y="552"/>
                </a:cubicBezTo>
                <a:close/>
                <a:moveTo>
                  <a:pt x="647" y="429"/>
                </a:moveTo>
                <a:cubicBezTo>
                  <a:pt x="648" y="428"/>
                  <a:pt x="645" y="431"/>
                  <a:pt x="647" y="429"/>
                </a:cubicBezTo>
                <a:close/>
                <a:moveTo>
                  <a:pt x="646" y="388"/>
                </a:moveTo>
                <a:cubicBezTo>
                  <a:pt x="646" y="387"/>
                  <a:pt x="647" y="386"/>
                  <a:pt x="647" y="385"/>
                </a:cubicBezTo>
                <a:cubicBezTo>
                  <a:pt x="647" y="386"/>
                  <a:pt x="647" y="387"/>
                  <a:pt x="646" y="388"/>
                </a:cubicBezTo>
                <a:close/>
                <a:moveTo>
                  <a:pt x="646" y="385"/>
                </a:moveTo>
                <a:cubicBezTo>
                  <a:pt x="647" y="384"/>
                  <a:pt x="647" y="383"/>
                  <a:pt x="648" y="383"/>
                </a:cubicBezTo>
                <a:cubicBezTo>
                  <a:pt x="648" y="384"/>
                  <a:pt x="647" y="384"/>
                  <a:pt x="646" y="385"/>
                </a:cubicBezTo>
                <a:close/>
                <a:moveTo>
                  <a:pt x="647" y="345"/>
                </a:moveTo>
                <a:cubicBezTo>
                  <a:pt x="646" y="345"/>
                  <a:pt x="647" y="344"/>
                  <a:pt x="647" y="344"/>
                </a:cubicBezTo>
                <a:cubicBezTo>
                  <a:pt x="648" y="342"/>
                  <a:pt x="648" y="345"/>
                  <a:pt x="647" y="345"/>
                </a:cubicBezTo>
                <a:close/>
                <a:moveTo>
                  <a:pt x="648" y="529"/>
                </a:moveTo>
                <a:cubicBezTo>
                  <a:pt x="647" y="529"/>
                  <a:pt x="648" y="528"/>
                  <a:pt x="648" y="528"/>
                </a:cubicBezTo>
                <a:cubicBezTo>
                  <a:pt x="649" y="528"/>
                  <a:pt x="648" y="529"/>
                  <a:pt x="648" y="529"/>
                </a:cubicBezTo>
                <a:close/>
                <a:moveTo>
                  <a:pt x="648" y="382"/>
                </a:moveTo>
                <a:cubicBezTo>
                  <a:pt x="649" y="381"/>
                  <a:pt x="647" y="383"/>
                  <a:pt x="648" y="382"/>
                </a:cubicBezTo>
                <a:close/>
                <a:moveTo>
                  <a:pt x="650" y="335"/>
                </a:moveTo>
                <a:cubicBezTo>
                  <a:pt x="647" y="337"/>
                  <a:pt x="652" y="333"/>
                  <a:pt x="650" y="335"/>
                </a:cubicBezTo>
                <a:close/>
                <a:moveTo>
                  <a:pt x="651" y="357"/>
                </a:moveTo>
                <a:cubicBezTo>
                  <a:pt x="651" y="355"/>
                  <a:pt x="650" y="358"/>
                  <a:pt x="651" y="357"/>
                </a:cubicBezTo>
                <a:close/>
                <a:moveTo>
                  <a:pt x="651" y="299"/>
                </a:moveTo>
                <a:cubicBezTo>
                  <a:pt x="649" y="299"/>
                  <a:pt x="651" y="296"/>
                  <a:pt x="652" y="298"/>
                </a:cubicBezTo>
                <a:cubicBezTo>
                  <a:pt x="652" y="298"/>
                  <a:pt x="651" y="299"/>
                  <a:pt x="651" y="299"/>
                </a:cubicBezTo>
                <a:close/>
                <a:moveTo>
                  <a:pt x="651" y="291"/>
                </a:moveTo>
                <a:cubicBezTo>
                  <a:pt x="651" y="291"/>
                  <a:pt x="652" y="291"/>
                  <a:pt x="652" y="291"/>
                </a:cubicBezTo>
                <a:cubicBezTo>
                  <a:pt x="652" y="292"/>
                  <a:pt x="651" y="291"/>
                  <a:pt x="651" y="291"/>
                </a:cubicBezTo>
                <a:close/>
                <a:moveTo>
                  <a:pt x="652" y="333"/>
                </a:moveTo>
                <a:cubicBezTo>
                  <a:pt x="652" y="331"/>
                  <a:pt x="654" y="331"/>
                  <a:pt x="654" y="330"/>
                </a:cubicBezTo>
                <a:cubicBezTo>
                  <a:pt x="654" y="331"/>
                  <a:pt x="653" y="332"/>
                  <a:pt x="652" y="333"/>
                </a:cubicBezTo>
                <a:close/>
                <a:moveTo>
                  <a:pt x="654" y="302"/>
                </a:moveTo>
                <a:cubicBezTo>
                  <a:pt x="655" y="302"/>
                  <a:pt x="654" y="302"/>
                  <a:pt x="654" y="302"/>
                </a:cubicBezTo>
                <a:cubicBezTo>
                  <a:pt x="655" y="304"/>
                  <a:pt x="652" y="302"/>
                  <a:pt x="654" y="302"/>
                </a:cubicBezTo>
                <a:close/>
                <a:moveTo>
                  <a:pt x="654" y="370"/>
                </a:moveTo>
                <a:cubicBezTo>
                  <a:pt x="654" y="369"/>
                  <a:pt x="656" y="369"/>
                  <a:pt x="655" y="370"/>
                </a:cubicBezTo>
                <a:cubicBezTo>
                  <a:pt x="655" y="370"/>
                  <a:pt x="654" y="370"/>
                  <a:pt x="654" y="370"/>
                </a:cubicBezTo>
                <a:close/>
                <a:moveTo>
                  <a:pt x="648" y="287"/>
                </a:moveTo>
                <a:cubicBezTo>
                  <a:pt x="651" y="284"/>
                  <a:pt x="653" y="280"/>
                  <a:pt x="658" y="277"/>
                </a:cubicBezTo>
                <a:cubicBezTo>
                  <a:pt x="657" y="281"/>
                  <a:pt x="652" y="285"/>
                  <a:pt x="648" y="287"/>
                </a:cubicBezTo>
                <a:close/>
                <a:moveTo>
                  <a:pt x="657" y="286"/>
                </a:moveTo>
                <a:cubicBezTo>
                  <a:pt x="657" y="285"/>
                  <a:pt x="658" y="285"/>
                  <a:pt x="658" y="285"/>
                </a:cubicBezTo>
                <a:cubicBezTo>
                  <a:pt x="659" y="286"/>
                  <a:pt x="656" y="287"/>
                  <a:pt x="657" y="286"/>
                </a:cubicBezTo>
                <a:close/>
                <a:moveTo>
                  <a:pt x="658" y="318"/>
                </a:moveTo>
                <a:cubicBezTo>
                  <a:pt x="659" y="317"/>
                  <a:pt x="657" y="319"/>
                  <a:pt x="658" y="318"/>
                </a:cubicBezTo>
                <a:close/>
                <a:moveTo>
                  <a:pt x="658" y="348"/>
                </a:moveTo>
                <a:cubicBezTo>
                  <a:pt x="659" y="347"/>
                  <a:pt x="656" y="349"/>
                  <a:pt x="658" y="348"/>
                </a:cubicBezTo>
                <a:close/>
                <a:moveTo>
                  <a:pt x="658" y="477"/>
                </a:moveTo>
                <a:cubicBezTo>
                  <a:pt x="658" y="476"/>
                  <a:pt x="658" y="476"/>
                  <a:pt x="658" y="476"/>
                </a:cubicBezTo>
                <a:cubicBezTo>
                  <a:pt x="659" y="474"/>
                  <a:pt x="660" y="477"/>
                  <a:pt x="658" y="477"/>
                </a:cubicBezTo>
                <a:close/>
                <a:moveTo>
                  <a:pt x="658" y="376"/>
                </a:moveTo>
                <a:cubicBezTo>
                  <a:pt x="657" y="375"/>
                  <a:pt x="658" y="373"/>
                  <a:pt x="658" y="373"/>
                </a:cubicBezTo>
                <a:cubicBezTo>
                  <a:pt x="661" y="371"/>
                  <a:pt x="661" y="376"/>
                  <a:pt x="658" y="376"/>
                </a:cubicBezTo>
                <a:close/>
                <a:moveTo>
                  <a:pt x="660" y="413"/>
                </a:moveTo>
                <a:cubicBezTo>
                  <a:pt x="660" y="412"/>
                  <a:pt x="661" y="412"/>
                  <a:pt x="660" y="413"/>
                </a:cubicBezTo>
                <a:close/>
                <a:moveTo>
                  <a:pt x="658" y="347"/>
                </a:moveTo>
                <a:cubicBezTo>
                  <a:pt x="659" y="345"/>
                  <a:pt x="660" y="343"/>
                  <a:pt x="662" y="342"/>
                </a:cubicBezTo>
                <a:cubicBezTo>
                  <a:pt x="662" y="342"/>
                  <a:pt x="660" y="346"/>
                  <a:pt x="658" y="347"/>
                </a:cubicBezTo>
                <a:close/>
                <a:moveTo>
                  <a:pt x="663" y="312"/>
                </a:moveTo>
                <a:cubicBezTo>
                  <a:pt x="663" y="312"/>
                  <a:pt x="664" y="313"/>
                  <a:pt x="663" y="313"/>
                </a:cubicBezTo>
                <a:cubicBezTo>
                  <a:pt x="662" y="314"/>
                  <a:pt x="661" y="312"/>
                  <a:pt x="662" y="312"/>
                </a:cubicBezTo>
                <a:cubicBezTo>
                  <a:pt x="662" y="312"/>
                  <a:pt x="662" y="312"/>
                  <a:pt x="662" y="312"/>
                </a:cubicBezTo>
                <a:cubicBezTo>
                  <a:pt x="662" y="311"/>
                  <a:pt x="662" y="311"/>
                  <a:pt x="661" y="311"/>
                </a:cubicBezTo>
                <a:cubicBezTo>
                  <a:pt x="660" y="310"/>
                  <a:pt x="664" y="308"/>
                  <a:pt x="664" y="310"/>
                </a:cubicBezTo>
                <a:cubicBezTo>
                  <a:pt x="664" y="311"/>
                  <a:pt x="664" y="311"/>
                  <a:pt x="663" y="312"/>
                </a:cubicBezTo>
                <a:close/>
                <a:moveTo>
                  <a:pt x="662" y="277"/>
                </a:moveTo>
                <a:cubicBezTo>
                  <a:pt x="661" y="279"/>
                  <a:pt x="662" y="276"/>
                  <a:pt x="662" y="277"/>
                </a:cubicBezTo>
                <a:close/>
                <a:moveTo>
                  <a:pt x="662" y="261"/>
                </a:moveTo>
                <a:cubicBezTo>
                  <a:pt x="662" y="261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ubicBezTo>
                  <a:pt x="662" y="260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lose/>
                <a:moveTo>
                  <a:pt x="664" y="309"/>
                </a:moveTo>
                <a:cubicBezTo>
                  <a:pt x="663" y="309"/>
                  <a:pt x="663" y="308"/>
                  <a:pt x="664" y="308"/>
                </a:cubicBezTo>
                <a:cubicBezTo>
                  <a:pt x="664" y="307"/>
                  <a:pt x="665" y="309"/>
                  <a:pt x="664" y="309"/>
                </a:cubicBezTo>
                <a:close/>
                <a:moveTo>
                  <a:pt x="664" y="258"/>
                </a:moveTo>
                <a:cubicBezTo>
                  <a:pt x="664" y="260"/>
                  <a:pt x="662" y="259"/>
                  <a:pt x="664" y="258"/>
                </a:cubicBezTo>
                <a:close/>
                <a:moveTo>
                  <a:pt x="665" y="262"/>
                </a:moveTo>
                <a:cubicBezTo>
                  <a:pt x="663" y="263"/>
                  <a:pt x="666" y="260"/>
                  <a:pt x="665" y="262"/>
                </a:cubicBezTo>
                <a:close/>
                <a:moveTo>
                  <a:pt x="663" y="233"/>
                </a:moveTo>
                <a:cubicBezTo>
                  <a:pt x="665" y="234"/>
                  <a:pt x="663" y="240"/>
                  <a:pt x="660" y="239"/>
                </a:cubicBezTo>
                <a:cubicBezTo>
                  <a:pt x="657" y="239"/>
                  <a:pt x="659" y="230"/>
                  <a:pt x="663" y="233"/>
                </a:cubicBezTo>
                <a:cubicBezTo>
                  <a:pt x="662" y="232"/>
                  <a:pt x="662" y="229"/>
                  <a:pt x="664" y="230"/>
                </a:cubicBezTo>
                <a:cubicBezTo>
                  <a:pt x="666" y="230"/>
                  <a:pt x="665" y="234"/>
                  <a:pt x="663" y="233"/>
                </a:cubicBezTo>
                <a:close/>
                <a:moveTo>
                  <a:pt x="665" y="341"/>
                </a:moveTo>
                <a:cubicBezTo>
                  <a:pt x="665" y="340"/>
                  <a:pt x="667" y="338"/>
                  <a:pt x="668" y="337"/>
                </a:cubicBezTo>
                <a:cubicBezTo>
                  <a:pt x="667" y="339"/>
                  <a:pt x="667" y="340"/>
                  <a:pt x="665" y="341"/>
                </a:cubicBezTo>
                <a:close/>
                <a:moveTo>
                  <a:pt x="668" y="481"/>
                </a:moveTo>
                <a:cubicBezTo>
                  <a:pt x="668" y="481"/>
                  <a:pt x="668" y="480"/>
                  <a:pt x="668" y="481"/>
                </a:cubicBezTo>
                <a:cubicBezTo>
                  <a:pt x="669" y="481"/>
                  <a:pt x="668" y="482"/>
                  <a:pt x="668" y="481"/>
                </a:cubicBezTo>
                <a:close/>
                <a:moveTo>
                  <a:pt x="671" y="391"/>
                </a:moveTo>
                <a:cubicBezTo>
                  <a:pt x="671" y="390"/>
                  <a:pt x="672" y="389"/>
                  <a:pt x="672" y="388"/>
                </a:cubicBezTo>
                <a:cubicBezTo>
                  <a:pt x="673" y="389"/>
                  <a:pt x="672" y="391"/>
                  <a:pt x="671" y="391"/>
                </a:cubicBezTo>
                <a:close/>
                <a:moveTo>
                  <a:pt x="673" y="387"/>
                </a:moveTo>
                <a:cubicBezTo>
                  <a:pt x="673" y="385"/>
                  <a:pt x="675" y="383"/>
                  <a:pt x="675" y="381"/>
                </a:cubicBezTo>
                <a:cubicBezTo>
                  <a:pt x="676" y="383"/>
                  <a:pt x="674" y="385"/>
                  <a:pt x="673" y="387"/>
                </a:cubicBezTo>
                <a:close/>
                <a:moveTo>
                  <a:pt x="683" y="314"/>
                </a:moveTo>
                <a:cubicBezTo>
                  <a:pt x="681" y="318"/>
                  <a:pt x="678" y="322"/>
                  <a:pt x="676" y="326"/>
                </a:cubicBezTo>
                <a:cubicBezTo>
                  <a:pt x="678" y="322"/>
                  <a:pt x="679" y="317"/>
                  <a:pt x="683" y="314"/>
                </a:cubicBezTo>
                <a:close/>
                <a:moveTo>
                  <a:pt x="678" y="432"/>
                </a:moveTo>
                <a:cubicBezTo>
                  <a:pt x="678" y="434"/>
                  <a:pt x="676" y="433"/>
                  <a:pt x="678" y="432"/>
                </a:cubicBezTo>
                <a:close/>
                <a:moveTo>
                  <a:pt x="682" y="426"/>
                </a:moveTo>
                <a:cubicBezTo>
                  <a:pt x="681" y="426"/>
                  <a:pt x="681" y="425"/>
                  <a:pt x="682" y="424"/>
                </a:cubicBezTo>
                <a:cubicBezTo>
                  <a:pt x="683" y="423"/>
                  <a:pt x="684" y="427"/>
                  <a:pt x="682" y="426"/>
                </a:cubicBezTo>
                <a:close/>
                <a:moveTo>
                  <a:pt x="683" y="451"/>
                </a:moveTo>
                <a:cubicBezTo>
                  <a:pt x="683" y="450"/>
                  <a:pt x="685" y="451"/>
                  <a:pt x="683" y="451"/>
                </a:cubicBezTo>
                <a:close/>
                <a:moveTo>
                  <a:pt x="683" y="486"/>
                </a:moveTo>
                <a:cubicBezTo>
                  <a:pt x="684" y="486"/>
                  <a:pt x="682" y="487"/>
                  <a:pt x="683" y="486"/>
                </a:cubicBezTo>
                <a:close/>
                <a:moveTo>
                  <a:pt x="685" y="289"/>
                </a:moveTo>
                <a:cubicBezTo>
                  <a:pt x="686" y="289"/>
                  <a:pt x="684" y="290"/>
                  <a:pt x="684" y="290"/>
                </a:cubicBezTo>
                <a:cubicBezTo>
                  <a:pt x="684" y="290"/>
                  <a:pt x="685" y="290"/>
                  <a:pt x="685" y="289"/>
                </a:cubicBezTo>
                <a:close/>
                <a:moveTo>
                  <a:pt x="685" y="345"/>
                </a:moveTo>
                <a:cubicBezTo>
                  <a:pt x="684" y="344"/>
                  <a:pt x="685" y="344"/>
                  <a:pt x="685" y="343"/>
                </a:cubicBezTo>
                <a:cubicBezTo>
                  <a:pt x="686" y="343"/>
                  <a:pt x="685" y="345"/>
                  <a:pt x="685" y="345"/>
                </a:cubicBezTo>
                <a:close/>
                <a:moveTo>
                  <a:pt x="686" y="342"/>
                </a:moveTo>
                <a:cubicBezTo>
                  <a:pt x="685" y="341"/>
                  <a:pt x="686" y="341"/>
                  <a:pt x="686" y="340"/>
                </a:cubicBezTo>
                <a:cubicBezTo>
                  <a:pt x="687" y="340"/>
                  <a:pt x="686" y="342"/>
                  <a:pt x="686" y="342"/>
                </a:cubicBezTo>
                <a:close/>
                <a:moveTo>
                  <a:pt x="687" y="340"/>
                </a:moveTo>
                <a:cubicBezTo>
                  <a:pt x="686" y="339"/>
                  <a:pt x="687" y="337"/>
                  <a:pt x="688" y="336"/>
                </a:cubicBezTo>
                <a:cubicBezTo>
                  <a:pt x="688" y="337"/>
                  <a:pt x="687" y="339"/>
                  <a:pt x="687" y="340"/>
                </a:cubicBezTo>
                <a:close/>
                <a:moveTo>
                  <a:pt x="688" y="329"/>
                </a:moveTo>
                <a:cubicBezTo>
                  <a:pt x="688" y="329"/>
                  <a:pt x="688" y="329"/>
                  <a:pt x="688" y="329"/>
                </a:cubicBezTo>
                <a:cubicBezTo>
                  <a:pt x="688" y="329"/>
                  <a:pt x="687" y="330"/>
                  <a:pt x="688" y="329"/>
                </a:cubicBezTo>
                <a:close/>
                <a:moveTo>
                  <a:pt x="688" y="284"/>
                </a:moveTo>
                <a:cubicBezTo>
                  <a:pt x="689" y="283"/>
                  <a:pt x="686" y="286"/>
                  <a:pt x="688" y="284"/>
                </a:cubicBezTo>
                <a:close/>
                <a:moveTo>
                  <a:pt x="693" y="290"/>
                </a:moveTo>
                <a:cubicBezTo>
                  <a:pt x="697" y="288"/>
                  <a:pt x="695" y="297"/>
                  <a:pt x="692" y="296"/>
                </a:cubicBezTo>
                <a:cubicBezTo>
                  <a:pt x="690" y="295"/>
                  <a:pt x="692" y="291"/>
                  <a:pt x="693" y="290"/>
                </a:cubicBezTo>
                <a:close/>
                <a:moveTo>
                  <a:pt x="691" y="285"/>
                </a:moveTo>
                <a:cubicBezTo>
                  <a:pt x="691" y="286"/>
                  <a:pt x="692" y="284"/>
                  <a:pt x="691" y="285"/>
                </a:cubicBezTo>
                <a:close/>
                <a:moveTo>
                  <a:pt x="689" y="285"/>
                </a:moveTo>
                <a:cubicBezTo>
                  <a:pt x="690" y="285"/>
                  <a:pt x="690" y="284"/>
                  <a:pt x="691" y="284"/>
                </a:cubicBezTo>
                <a:cubicBezTo>
                  <a:pt x="693" y="285"/>
                  <a:pt x="688" y="288"/>
                  <a:pt x="689" y="285"/>
                </a:cubicBezTo>
                <a:close/>
                <a:moveTo>
                  <a:pt x="689" y="316"/>
                </a:moveTo>
                <a:cubicBezTo>
                  <a:pt x="690" y="317"/>
                  <a:pt x="688" y="316"/>
                  <a:pt x="689" y="316"/>
                </a:cubicBezTo>
                <a:close/>
                <a:moveTo>
                  <a:pt x="689" y="395"/>
                </a:moveTo>
                <a:cubicBezTo>
                  <a:pt x="689" y="395"/>
                  <a:pt x="689" y="394"/>
                  <a:pt x="689" y="394"/>
                </a:cubicBezTo>
                <a:cubicBezTo>
                  <a:pt x="690" y="394"/>
                  <a:pt x="688" y="397"/>
                  <a:pt x="689" y="395"/>
                </a:cubicBezTo>
                <a:close/>
                <a:moveTo>
                  <a:pt x="690" y="404"/>
                </a:moveTo>
                <a:cubicBezTo>
                  <a:pt x="690" y="403"/>
                  <a:pt x="691" y="404"/>
                  <a:pt x="691" y="404"/>
                </a:cubicBezTo>
                <a:cubicBezTo>
                  <a:pt x="691" y="405"/>
                  <a:pt x="689" y="405"/>
                  <a:pt x="690" y="404"/>
                </a:cubicBezTo>
                <a:close/>
                <a:moveTo>
                  <a:pt x="691" y="343"/>
                </a:moveTo>
                <a:cubicBezTo>
                  <a:pt x="691" y="342"/>
                  <a:pt x="691" y="341"/>
                  <a:pt x="691" y="341"/>
                </a:cubicBezTo>
                <a:cubicBezTo>
                  <a:pt x="692" y="340"/>
                  <a:pt x="692" y="343"/>
                  <a:pt x="691" y="343"/>
                </a:cubicBezTo>
                <a:close/>
                <a:moveTo>
                  <a:pt x="692" y="394"/>
                </a:moveTo>
                <a:cubicBezTo>
                  <a:pt x="691" y="395"/>
                  <a:pt x="693" y="393"/>
                  <a:pt x="692" y="394"/>
                </a:cubicBezTo>
                <a:close/>
                <a:moveTo>
                  <a:pt x="692" y="300"/>
                </a:moveTo>
                <a:cubicBezTo>
                  <a:pt x="690" y="300"/>
                  <a:pt x="691" y="299"/>
                  <a:pt x="692" y="298"/>
                </a:cubicBezTo>
                <a:cubicBezTo>
                  <a:pt x="693" y="297"/>
                  <a:pt x="693" y="300"/>
                  <a:pt x="692" y="300"/>
                </a:cubicBezTo>
                <a:close/>
                <a:moveTo>
                  <a:pt x="694" y="330"/>
                </a:moveTo>
                <a:cubicBezTo>
                  <a:pt x="695" y="329"/>
                  <a:pt x="695" y="332"/>
                  <a:pt x="694" y="331"/>
                </a:cubicBezTo>
                <a:cubicBezTo>
                  <a:pt x="693" y="331"/>
                  <a:pt x="694" y="330"/>
                  <a:pt x="694" y="330"/>
                </a:cubicBezTo>
                <a:close/>
                <a:moveTo>
                  <a:pt x="694" y="454"/>
                </a:moveTo>
                <a:cubicBezTo>
                  <a:pt x="694" y="454"/>
                  <a:pt x="694" y="454"/>
                  <a:pt x="695" y="454"/>
                </a:cubicBezTo>
                <a:cubicBezTo>
                  <a:pt x="696" y="454"/>
                  <a:pt x="693" y="455"/>
                  <a:pt x="694" y="454"/>
                </a:cubicBezTo>
                <a:close/>
                <a:moveTo>
                  <a:pt x="696" y="312"/>
                </a:moveTo>
                <a:cubicBezTo>
                  <a:pt x="694" y="313"/>
                  <a:pt x="694" y="308"/>
                  <a:pt x="695" y="307"/>
                </a:cubicBezTo>
                <a:cubicBezTo>
                  <a:pt x="700" y="304"/>
                  <a:pt x="697" y="312"/>
                  <a:pt x="696" y="312"/>
                </a:cubicBezTo>
                <a:close/>
                <a:moveTo>
                  <a:pt x="699" y="327"/>
                </a:moveTo>
                <a:cubicBezTo>
                  <a:pt x="699" y="327"/>
                  <a:pt x="700" y="326"/>
                  <a:pt x="700" y="326"/>
                </a:cubicBezTo>
                <a:cubicBezTo>
                  <a:pt x="702" y="327"/>
                  <a:pt x="698" y="329"/>
                  <a:pt x="699" y="327"/>
                </a:cubicBezTo>
                <a:close/>
                <a:moveTo>
                  <a:pt x="702" y="431"/>
                </a:moveTo>
                <a:cubicBezTo>
                  <a:pt x="702" y="430"/>
                  <a:pt x="704" y="429"/>
                  <a:pt x="704" y="428"/>
                </a:cubicBezTo>
                <a:cubicBezTo>
                  <a:pt x="704" y="429"/>
                  <a:pt x="704" y="431"/>
                  <a:pt x="702" y="431"/>
                </a:cubicBezTo>
                <a:close/>
                <a:moveTo>
                  <a:pt x="704" y="427"/>
                </a:moveTo>
                <a:cubicBezTo>
                  <a:pt x="705" y="425"/>
                  <a:pt x="705" y="423"/>
                  <a:pt x="706" y="421"/>
                </a:cubicBezTo>
                <a:cubicBezTo>
                  <a:pt x="707" y="422"/>
                  <a:pt x="705" y="426"/>
                  <a:pt x="704" y="427"/>
                </a:cubicBezTo>
                <a:close/>
                <a:moveTo>
                  <a:pt x="706" y="392"/>
                </a:moveTo>
                <a:cubicBezTo>
                  <a:pt x="706" y="393"/>
                  <a:pt x="706" y="393"/>
                  <a:pt x="706" y="392"/>
                </a:cubicBezTo>
                <a:close/>
                <a:moveTo>
                  <a:pt x="709" y="396"/>
                </a:moveTo>
                <a:cubicBezTo>
                  <a:pt x="710" y="397"/>
                  <a:pt x="708" y="397"/>
                  <a:pt x="709" y="396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r>
              <a:rPr lang="en-ID" b="1" dirty="0">
                <a:solidFill>
                  <a:schemeClr val="bg1"/>
                </a:solidFill>
              </a:rPr>
              <a:t>LOREM IPSUM</a:t>
            </a:r>
          </a:p>
        </p:txBody>
      </p:sp>
      <p:sp>
        <p:nvSpPr>
          <p:cNvPr id="26" name="Freeform 97">
            <a:extLst>
              <a:ext uri="{FF2B5EF4-FFF2-40B4-BE49-F238E27FC236}">
                <a16:creationId xmlns="" xmlns:a16="http://schemas.microsoft.com/office/drawing/2014/main" id="{42BED4D9-06D1-4C74-8327-8D0C80206F8C}"/>
              </a:ext>
            </a:extLst>
          </p:cNvPr>
          <p:cNvSpPr>
            <a:spLocks noEditPoints="1"/>
          </p:cNvSpPr>
          <p:nvPr/>
        </p:nvSpPr>
        <p:spPr bwMode="auto">
          <a:xfrm>
            <a:off x="9432278" y="1408942"/>
            <a:ext cx="2119312" cy="2119312"/>
          </a:xfrm>
          <a:custGeom>
            <a:avLst/>
            <a:gdLst>
              <a:gd name="T0" fmla="*/ 677 w 714"/>
              <a:gd name="T1" fmla="*/ 212 h 715"/>
              <a:gd name="T2" fmla="*/ 626 w 714"/>
              <a:gd name="T3" fmla="*/ 179 h 715"/>
              <a:gd name="T4" fmla="*/ 573 w 714"/>
              <a:gd name="T5" fmla="*/ 139 h 715"/>
              <a:gd name="T6" fmla="*/ 553 w 714"/>
              <a:gd name="T7" fmla="*/ 94 h 715"/>
              <a:gd name="T8" fmla="*/ 516 w 714"/>
              <a:gd name="T9" fmla="*/ 53 h 715"/>
              <a:gd name="T10" fmla="*/ 421 w 714"/>
              <a:gd name="T11" fmla="*/ 60 h 715"/>
              <a:gd name="T12" fmla="*/ 429 w 714"/>
              <a:gd name="T13" fmla="*/ 26 h 715"/>
              <a:gd name="T14" fmla="*/ 22 w 714"/>
              <a:gd name="T15" fmla="*/ 436 h 715"/>
              <a:gd name="T16" fmla="*/ 39 w 714"/>
              <a:gd name="T17" fmla="*/ 451 h 715"/>
              <a:gd name="T18" fmla="*/ 60 w 714"/>
              <a:gd name="T19" fmla="*/ 465 h 715"/>
              <a:gd name="T20" fmla="*/ 108 w 714"/>
              <a:gd name="T21" fmla="*/ 446 h 715"/>
              <a:gd name="T22" fmla="*/ 102 w 714"/>
              <a:gd name="T23" fmla="*/ 508 h 715"/>
              <a:gd name="T24" fmla="*/ 146 w 714"/>
              <a:gd name="T25" fmla="*/ 552 h 715"/>
              <a:gd name="T26" fmla="*/ 190 w 714"/>
              <a:gd name="T27" fmla="*/ 596 h 715"/>
              <a:gd name="T28" fmla="*/ 214 w 714"/>
              <a:gd name="T29" fmla="*/ 647 h 715"/>
              <a:gd name="T30" fmla="*/ 296 w 714"/>
              <a:gd name="T31" fmla="*/ 709 h 715"/>
              <a:gd name="T32" fmla="*/ 684 w 714"/>
              <a:gd name="T33" fmla="*/ 227 h 715"/>
              <a:gd name="T34" fmla="*/ 434 w 714"/>
              <a:gd name="T35" fmla="*/ 24 h 715"/>
              <a:gd name="T36" fmla="*/ 9 w 714"/>
              <a:gd name="T37" fmla="*/ 371 h 715"/>
              <a:gd name="T38" fmla="*/ 37 w 714"/>
              <a:gd name="T39" fmla="*/ 344 h 715"/>
              <a:gd name="T40" fmla="*/ 45 w 714"/>
              <a:gd name="T41" fmla="*/ 192 h 715"/>
              <a:gd name="T42" fmla="*/ 64 w 714"/>
              <a:gd name="T43" fmla="*/ 419 h 715"/>
              <a:gd name="T44" fmla="*/ 84 w 714"/>
              <a:gd name="T45" fmla="*/ 332 h 715"/>
              <a:gd name="T46" fmla="*/ 87 w 714"/>
              <a:gd name="T47" fmla="*/ 502 h 715"/>
              <a:gd name="T48" fmla="*/ 234 w 714"/>
              <a:gd name="T49" fmla="*/ 679 h 715"/>
              <a:gd name="T50" fmla="*/ 287 w 714"/>
              <a:gd name="T51" fmla="*/ 641 h 715"/>
              <a:gd name="T52" fmla="*/ 303 w 714"/>
              <a:gd name="T53" fmla="*/ 67 h 715"/>
              <a:gd name="T54" fmla="*/ 270 w 714"/>
              <a:gd name="T55" fmla="*/ 571 h 715"/>
              <a:gd name="T56" fmla="*/ 246 w 714"/>
              <a:gd name="T57" fmla="*/ 640 h 715"/>
              <a:gd name="T58" fmla="*/ 249 w 714"/>
              <a:gd name="T59" fmla="*/ 640 h 715"/>
              <a:gd name="T60" fmla="*/ 227 w 714"/>
              <a:gd name="T61" fmla="*/ 527 h 715"/>
              <a:gd name="T62" fmla="*/ 209 w 714"/>
              <a:gd name="T63" fmla="*/ 468 h 715"/>
              <a:gd name="T64" fmla="*/ 178 w 714"/>
              <a:gd name="T65" fmla="*/ 383 h 715"/>
              <a:gd name="T66" fmla="*/ 165 w 714"/>
              <a:gd name="T67" fmla="*/ 345 h 715"/>
              <a:gd name="T68" fmla="*/ 156 w 714"/>
              <a:gd name="T69" fmla="*/ 435 h 715"/>
              <a:gd name="T70" fmla="*/ 132 w 714"/>
              <a:gd name="T71" fmla="*/ 280 h 715"/>
              <a:gd name="T72" fmla="*/ 123 w 714"/>
              <a:gd name="T73" fmla="*/ 474 h 715"/>
              <a:gd name="T74" fmla="*/ 154 w 714"/>
              <a:gd name="T75" fmla="*/ 484 h 715"/>
              <a:gd name="T76" fmla="*/ 189 w 714"/>
              <a:gd name="T77" fmla="*/ 398 h 715"/>
              <a:gd name="T78" fmla="*/ 235 w 714"/>
              <a:gd name="T79" fmla="*/ 592 h 715"/>
              <a:gd name="T80" fmla="*/ 277 w 714"/>
              <a:gd name="T81" fmla="*/ 700 h 715"/>
              <a:gd name="T82" fmla="*/ 335 w 714"/>
              <a:gd name="T83" fmla="*/ 131 h 715"/>
              <a:gd name="T84" fmla="*/ 522 w 714"/>
              <a:gd name="T85" fmla="*/ 181 h 715"/>
              <a:gd name="T86" fmla="*/ 480 w 714"/>
              <a:gd name="T87" fmla="*/ 95 h 715"/>
              <a:gd name="T88" fmla="*/ 502 w 714"/>
              <a:gd name="T89" fmla="*/ 132 h 715"/>
              <a:gd name="T90" fmla="*/ 509 w 714"/>
              <a:gd name="T91" fmla="*/ 36 h 715"/>
              <a:gd name="T92" fmla="*/ 462 w 714"/>
              <a:gd name="T93" fmla="*/ 49 h 715"/>
              <a:gd name="T94" fmla="*/ 406 w 714"/>
              <a:gd name="T95" fmla="*/ 125 h 715"/>
              <a:gd name="T96" fmla="*/ 372 w 714"/>
              <a:gd name="T97" fmla="*/ 610 h 715"/>
              <a:gd name="T98" fmla="*/ 398 w 714"/>
              <a:gd name="T99" fmla="*/ 679 h 715"/>
              <a:gd name="T100" fmla="*/ 454 w 714"/>
              <a:gd name="T101" fmla="*/ 644 h 715"/>
              <a:gd name="T102" fmla="*/ 469 w 714"/>
              <a:gd name="T103" fmla="*/ 168 h 715"/>
              <a:gd name="T104" fmla="*/ 522 w 714"/>
              <a:gd name="T105" fmla="*/ 285 h 715"/>
              <a:gd name="T106" fmla="*/ 585 w 714"/>
              <a:gd name="T107" fmla="*/ 213 h 715"/>
              <a:gd name="T108" fmla="*/ 544 w 714"/>
              <a:gd name="T109" fmla="*/ 168 h 715"/>
              <a:gd name="T110" fmla="*/ 573 w 714"/>
              <a:gd name="T111" fmla="*/ 236 h 715"/>
              <a:gd name="T112" fmla="*/ 595 w 714"/>
              <a:gd name="T113" fmla="*/ 470 h 715"/>
              <a:gd name="T114" fmla="*/ 651 w 714"/>
              <a:gd name="T115" fmla="*/ 272 h 715"/>
              <a:gd name="T116" fmla="*/ 630 w 714"/>
              <a:gd name="T117" fmla="*/ 261 h 715"/>
              <a:gd name="T118" fmla="*/ 615 w 714"/>
              <a:gd name="T119" fmla="*/ 194 h 715"/>
              <a:gd name="T120" fmla="*/ 625 w 714"/>
              <a:gd name="T121" fmla="*/ 381 h 715"/>
              <a:gd name="T122" fmla="*/ 658 w 714"/>
              <a:gd name="T123" fmla="*/ 277 h 715"/>
              <a:gd name="T124" fmla="*/ 686 w 714"/>
              <a:gd name="T125" fmla="*/ 342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14" h="715">
                <a:moveTo>
                  <a:pt x="710" y="304"/>
                </a:moveTo>
                <a:cubicBezTo>
                  <a:pt x="710" y="305"/>
                  <a:pt x="710" y="305"/>
                  <a:pt x="709" y="305"/>
                </a:cubicBezTo>
                <a:cubicBezTo>
                  <a:pt x="709" y="304"/>
                  <a:pt x="710" y="303"/>
                  <a:pt x="710" y="303"/>
                </a:cubicBezTo>
                <a:cubicBezTo>
                  <a:pt x="710" y="303"/>
                  <a:pt x="710" y="303"/>
                  <a:pt x="710" y="303"/>
                </a:cubicBezTo>
                <a:cubicBezTo>
                  <a:pt x="709" y="297"/>
                  <a:pt x="708" y="292"/>
                  <a:pt x="707" y="286"/>
                </a:cubicBezTo>
                <a:cubicBezTo>
                  <a:pt x="707" y="287"/>
                  <a:pt x="707" y="288"/>
                  <a:pt x="706" y="290"/>
                </a:cubicBezTo>
                <a:cubicBezTo>
                  <a:pt x="706" y="289"/>
                  <a:pt x="707" y="289"/>
                  <a:pt x="707" y="289"/>
                </a:cubicBezTo>
                <a:cubicBezTo>
                  <a:pt x="707" y="290"/>
                  <a:pt x="706" y="290"/>
                  <a:pt x="706" y="290"/>
                </a:cubicBezTo>
                <a:cubicBezTo>
                  <a:pt x="706" y="292"/>
                  <a:pt x="706" y="294"/>
                  <a:pt x="705" y="295"/>
                </a:cubicBezTo>
                <a:cubicBezTo>
                  <a:pt x="703" y="298"/>
                  <a:pt x="703" y="301"/>
                  <a:pt x="703" y="301"/>
                </a:cubicBezTo>
                <a:cubicBezTo>
                  <a:pt x="702" y="302"/>
                  <a:pt x="700" y="300"/>
                  <a:pt x="699" y="300"/>
                </a:cubicBezTo>
                <a:cubicBezTo>
                  <a:pt x="697" y="301"/>
                  <a:pt x="697" y="303"/>
                  <a:pt x="696" y="300"/>
                </a:cubicBezTo>
                <a:cubicBezTo>
                  <a:pt x="696" y="299"/>
                  <a:pt x="696" y="301"/>
                  <a:pt x="695" y="298"/>
                </a:cubicBezTo>
                <a:cubicBezTo>
                  <a:pt x="695" y="297"/>
                  <a:pt x="697" y="291"/>
                  <a:pt x="700" y="292"/>
                </a:cubicBezTo>
                <a:cubicBezTo>
                  <a:pt x="701" y="293"/>
                  <a:pt x="702" y="295"/>
                  <a:pt x="703" y="292"/>
                </a:cubicBezTo>
                <a:cubicBezTo>
                  <a:pt x="703" y="291"/>
                  <a:pt x="703" y="290"/>
                  <a:pt x="703" y="289"/>
                </a:cubicBezTo>
                <a:cubicBezTo>
                  <a:pt x="703" y="287"/>
                  <a:pt x="705" y="284"/>
                  <a:pt x="706" y="282"/>
                </a:cubicBezTo>
                <a:cubicBezTo>
                  <a:pt x="705" y="276"/>
                  <a:pt x="704" y="270"/>
                  <a:pt x="702" y="264"/>
                </a:cubicBezTo>
                <a:cubicBezTo>
                  <a:pt x="701" y="268"/>
                  <a:pt x="695" y="273"/>
                  <a:pt x="691" y="270"/>
                </a:cubicBezTo>
                <a:cubicBezTo>
                  <a:pt x="691" y="271"/>
                  <a:pt x="691" y="270"/>
                  <a:pt x="690" y="270"/>
                </a:cubicBezTo>
                <a:cubicBezTo>
                  <a:pt x="690" y="270"/>
                  <a:pt x="690" y="270"/>
                  <a:pt x="690" y="270"/>
                </a:cubicBezTo>
                <a:cubicBezTo>
                  <a:pt x="690" y="271"/>
                  <a:pt x="690" y="270"/>
                  <a:pt x="690" y="270"/>
                </a:cubicBezTo>
                <a:cubicBezTo>
                  <a:pt x="690" y="270"/>
                  <a:pt x="690" y="270"/>
                  <a:pt x="690" y="269"/>
                </a:cubicBezTo>
                <a:cubicBezTo>
                  <a:pt x="689" y="270"/>
                  <a:pt x="688" y="271"/>
                  <a:pt x="688" y="271"/>
                </a:cubicBezTo>
                <a:cubicBezTo>
                  <a:pt x="686" y="270"/>
                  <a:pt x="686" y="273"/>
                  <a:pt x="685" y="274"/>
                </a:cubicBezTo>
                <a:cubicBezTo>
                  <a:pt x="684" y="274"/>
                  <a:pt x="682" y="273"/>
                  <a:pt x="682" y="275"/>
                </a:cubicBezTo>
                <a:cubicBezTo>
                  <a:pt x="681" y="270"/>
                  <a:pt x="674" y="279"/>
                  <a:pt x="674" y="281"/>
                </a:cubicBezTo>
                <a:cubicBezTo>
                  <a:pt x="675" y="280"/>
                  <a:pt x="681" y="280"/>
                  <a:pt x="680" y="280"/>
                </a:cubicBezTo>
                <a:cubicBezTo>
                  <a:pt x="680" y="280"/>
                  <a:pt x="681" y="280"/>
                  <a:pt x="681" y="280"/>
                </a:cubicBezTo>
                <a:cubicBezTo>
                  <a:pt x="681" y="280"/>
                  <a:pt x="681" y="280"/>
                  <a:pt x="681" y="280"/>
                </a:cubicBezTo>
                <a:cubicBezTo>
                  <a:pt x="681" y="279"/>
                  <a:pt x="682" y="278"/>
                  <a:pt x="682" y="279"/>
                </a:cubicBezTo>
                <a:cubicBezTo>
                  <a:pt x="684" y="280"/>
                  <a:pt x="681" y="280"/>
                  <a:pt x="681" y="281"/>
                </a:cubicBezTo>
                <a:cubicBezTo>
                  <a:pt x="681" y="282"/>
                  <a:pt x="681" y="282"/>
                  <a:pt x="681" y="282"/>
                </a:cubicBezTo>
                <a:cubicBezTo>
                  <a:pt x="682" y="282"/>
                  <a:pt x="683" y="282"/>
                  <a:pt x="683" y="284"/>
                </a:cubicBezTo>
                <a:cubicBezTo>
                  <a:pt x="683" y="284"/>
                  <a:pt x="683" y="284"/>
                  <a:pt x="683" y="284"/>
                </a:cubicBezTo>
                <a:cubicBezTo>
                  <a:pt x="683" y="284"/>
                  <a:pt x="684" y="285"/>
                  <a:pt x="684" y="286"/>
                </a:cubicBezTo>
                <a:cubicBezTo>
                  <a:pt x="684" y="286"/>
                  <a:pt x="681" y="289"/>
                  <a:pt x="681" y="290"/>
                </a:cubicBezTo>
                <a:cubicBezTo>
                  <a:pt x="680" y="290"/>
                  <a:pt x="679" y="295"/>
                  <a:pt x="678" y="295"/>
                </a:cubicBezTo>
                <a:cubicBezTo>
                  <a:pt x="676" y="295"/>
                  <a:pt x="679" y="293"/>
                  <a:pt x="677" y="292"/>
                </a:cubicBezTo>
                <a:cubicBezTo>
                  <a:pt x="677" y="291"/>
                  <a:pt x="675" y="293"/>
                  <a:pt x="674" y="293"/>
                </a:cubicBezTo>
                <a:cubicBezTo>
                  <a:pt x="673" y="292"/>
                  <a:pt x="674" y="291"/>
                  <a:pt x="673" y="290"/>
                </a:cubicBezTo>
                <a:cubicBezTo>
                  <a:pt x="673" y="290"/>
                  <a:pt x="671" y="292"/>
                  <a:pt x="670" y="290"/>
                </a:cubicBezTo>
                <a:cubicBezTo>
                  <a:pt x="669" y="288"/>
                  <a:pt x="672" y="289"/>
                  <a:pt x="672" y="288"/>
                </a:cubicBezTo>
                <a:cubicBezTo>
                  <a:pt x="672" y="287"/>
                  <a:pt x="671" y="287"/>
                  <a:pt x="671" y="287"/>
                </a:cubicBezTo>
                <a:cubicBezTo>
                  <a:pt x="671" y="286"/>
                  <a:pt x="672" y="285"/>
                  <a:pt x="672" y="283"/>
                </a:cubicBezTo>
                <a:cubicBezTo>
                  <a:pt x="672" y="283"/>
                  <a:pt x="672" y="282"/>
                  <a:pt x="672" y="282"/>
                </a:cubicBezTo>
                <a:cubicBezTo>
                  <a:pt x="673" y="279"/>
                  <a:pt x="678" y="276"/>
                  <a:pt x="677" y="271"/>
                </a:cubicBezTo>
                <a:cubicBezTo>
                  <a:pt x="676" y="270"/>
                  <a:pt x="675" y="271"/>
                  <a:pt x="674" y="272"/>
                </a:cubicBezTo>
                <a:cubicBezTo>
                  <a:pt x="675" y="269"/>
                  <a:pt x="676" y="260"/>
                  <a:pt x="681" y="259"/>
                </a:cubicBezTo>
                <a:cubicBezTo>
                  <a:pt x="681" y="259"/>
                  <a:pt x="684" y="259"/>
                  <a:pt x="685" y="259"/>
                </a:cubicBezTo>
                <a:cubicBezTo>
                  <a:pt x="685" y="259"/>
                  <a:pt x="686" y="260"/>
                  <a:pt x="687" y="261"/>
                </a:cubicBezTo>
                <a:cubicBezTo>
                  <a:pt x="687" y="261"/>
                  <a:pt x="687" y="261"/>
                  <a:pt x="688" y="261"/>
                </a:cubicBezTo>
                <a:cubicBezTo>
                  <a:pt x="688" y="261"/>
                  <a:pt x="688" y="261"/>
                  <a:pt x="688" y="261"/>
                </a:cubicBezTo>
                <a:cubicBezTo>
                  <a:pt x="688" y="262"/>
                  <a:pt x="688" y="262"/>
                  <a:pt x="689" y="262"/>
                </a:cubicBezTo>
                <a:cubicBezTo>
                  <a:pt x="690" y="261"/>
                  <a:pt x="691" y="259"/>
                  <a:pt x="692" y="258"/>
                </a:cubicBezTo>
                <a:cubicBezTo>
                  <a:pt x="691" y="257"/>
                  <a:pt x="690" y="258"/>
                  <a:pt x="689" y="259"/>
                </a:cubicBezTo>
                <a:cubicBezTo>
                  <a:pt x="689" y="258"/>
                  <a:pt x="689" y="258"/>
                  <a:pt x="689" y="258"/>
                </a:cubicBezTo>
                <a:cubicBezTo>
                  <a:pt x="688" y="258"/>
                  <a:pt x="687" y="258"/>
                  <a:pt x="687" y="257"/>
                </a:cubicBezTo>
                <a:cubicBezTo>
                  <a:pt x="686" y="256"/>
                  <a:pt x="688" y="256"/>
                  <a:pt x="688" y="256"/>
                </a:cubicBezTo>
                <a:cubicBezTo>
                  <a:pt x="689" y="254"/>
                  <a:pt x="687" y="255"/>
                  <a:pt x="688" y="253"/>
                </a:cubicBezTo>
                <a:cubicBezTo>
                  <a:pt x="689" y="252"/>
                  <a:pt x="692" y="252"/>
                  <a:pt x="692" y="251"/>
                </a:cubicBezTo>
                <a:cubicBezTo>
                  <a:pt x="692" y="251"/>
                  <a:pt x="692" y="250"/>
                  <a:pt x="692" y="250"/>
                </a:cubicBezTo>
                <a:cubicBezTo>
                  <a:pt x="692" y="250"/>
                  <a:pt x="691" y="249"/>
                  <a:pt x="691" y="249"/>
                </a:cubicBezTo>
                <a:cubicBezTo>
                  <a:pt x="691" y="249"/>
                  <a:pt x="692" y="247"/>
                  <a:pt x="691" y="246"/>
                </a:cubicBezTo>
                <a:cubicBezTo>
                  <a:pt x="690" y="245"/>
                  <a:pt x="690" y="246"/>
                  <a:pt x="690" y="246"/>
                </a:cubicBezTo>
                <a:cubicBezTo>
                  <a:pt x="689" y="246"/>
                  <a:pt x="688" y="242"/>
                  <a:pt x="688" y="242"/>
                </a:cubicBezTo>
                <a:cubicBezTo>
                  <a:pt x="689" y="240"/>
                  <a:pt x="691" y="242"/>
                  <a:pt x="693" y="241"/>
                </a:cubicBezTo>
                <a:cubicBezTo>
                  <a:pt x="692" y="241"/>
                  <a:pt x="693" y="239"/>
                  <a:pt x="694" y="239"/>
                </a:cubicBezTo>
                <a:cubicBezTo>
                  <a:pt x="693" y="235"/>
                  <a:pt x="691" y="231"/>
                  <a:pt x="690" y="227"/>
                </a:cubicBezTo>
                <a:cubicBezTo>
                  <a:pt x="690" y="227"/>
                  <a:pt x="689" y="227"/>
                  <a:pt x="689" y="227"/>
                </a:cubicBezTo>
                <a:cubicBezTo>
                  <a:pt x="688" y="227"/>
                  <a:pt x="689" y="225"/>
                  <a:pt x="688" y="224"/>
                </a:cubicBezTo>
                <a:cubicBezTo>
                  <a:pt x="688" y="223"/>
                  <a:pt x="688" y="223"/>
                  <a:pt x="688" y="223"/>
                </a:cubicBezTo>
                <a:cubicBezTo>
                  <a:pt x="688" y="222"/>
                  <a:pt x="688" y="222"/>
                  <a:pt x="688" y="221"/>
                </a:cubicBezTo>
                <a:cubicBezTo>
                  <a:pt x="685" y="222"/>
                  <a:pt x="682" y="222"/>
                  <a:pt x="681" y="222"/>
                </a:cubicBezTo>
                <a:cubicBezTo>
                  <a:pt x="679" y="222"/>
                  <a:pt x="680" y="219"/>
                  <a:pt x="678" y="220"/>
                </a:cubicBezTo>
                <a:cubicBezTo>
                  <a:pt x="680" y="218"/>
                  <a:pt x="676" y="218"/>
                  <a:pt x="676" y="216"/>
                </a:cubicBezTo>
                <a:cubicBezTo>
                  <a:pt x="675" y="215"/>
                  <a:pt x="677" y="215"/>
                  <a:pt x="677" y="215"/>
                </a:cubicBezTo>
                <a:cubicBezTo>
                  <a:pt x="678" y="214"/>
                  <a:pt x="676" y="213"/>
                  <a:pt x="677" y="212"/>
                </a:cubicBezTo>
                <a:cubicBezTo>
                  <a:pt x="677" y="212"/>
                  <a:pt x="677" y="212"/>
                  <a:pt x="677" y="212"/>
                </a:cubicBezTo>
                <a:cubicBezTo>
                  <a:pt x="676" y="212"/>
                  <a:pt x="675" y="210"/>
                  <a:pt x="675" y="209"/>
                </a:cubicBezTo>
                <a:cubicBezTo>
                  <a:pt x="674" y="209"/>
                  <a:pt x="674" y="209"/>
                  <a:pt x="673" y="209"/>
                </a:cubicBezTo>
                <a:cubicBezTo>
                  <a:pt x="674" y="210"/>
                  <a:pt x="674" y="210"/>
                  <a:pt x="674" y="211"/>
                </a:cubicBezTo>
                <a:cubicBezTo>
                  <a:pt x="674" y="212"/>
                  <a:pt x="674" y="212"/>
                  <a:pt x="673" y="213"/>
                </a:cubicBezTo>
                <a:cubicBezTo>
                  <a:pt x="673" y="214"/>
                  <a:pt x="673" y="214"/>
                  <a:pt x="673" y="215"/>
                </a:cubicBezTo>
                <a:cubicBezTo>
                  <a:pt x="673" y="215"/>
                  <a:pt x="673" y="215"/>
                  <a:pt x="673" y="215"/>
                </a:cubicBezTo>
                <a:cubicBezTo>
                  <a:pt x="673" y="215"/>
                  <a:pt x="672" y="216"/>
                  <a:pt x="672" y="216"/>
                </a:cubicBezTo>
                <a:cubicBezTo>
                  <a:pt x="671" y="217"/>
                  <a:pt x="669" y="218"/>
                  <a:pt x="669" y="220"/>
                </a:cubicBezTo>
                <a:cubicBezTo>
                  <a:pt x="670" y="217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7" y="219"/>
                </a:cubicBezTo>
                <a:cubicBezTo>
                  <a:pt x="668" y="220"/>
                  <a:pt x="668" y="224"/>
                  <a:pt x="667" y="225"/>
                </a:cubicBezTo>
                <a:cubicBezTo>
                  <a:pt x="667" y="225"/>
                  <a:pt x="667" y="224"/>
                  <a:pt x="666" y="224"/>
                </a:cubicBezTo>
                <a:cubicBezTo>
                  <a:pt x="665" y="225"/>
                  <a:pt x="663" y="228"/>
                  <a:pt x="660" y="228"/>
                </a:cubicBezTo>
                <a:cubicBezTo>
                  <a:pt x="661" y="226"/>
                  <a:pt x="663" y="226"/>
                  <a:pt x="663" y="225"/>
                </a:cubicBezTo>
                <a:cubicBezTo>
                  <a:pt x="663" y="224"/>
                  <a:pt x="662" y="225"/>
                  <a:pt x="661" y="224"/>
                </a:cubicBezTo>
                <a:cubicBezTo>
                  <a:pt x="660" y="223"/>
                  <a:pt x="662" y="219"/>
                  <a:pt x="665" y="218"/>
                </a:cubicBezTo>
                <a:cubicBezTo>
                  <a:pt x="665" y="217"/>
                  <a:pt x="665" y="216"/>
                  <a:pt x="665" y="216"/>
                </a:cubicBezTo>
                <a:cubicBezTo>
                  <a:pt x="665" y="215"/>
                  <a:pt x="664" y="215"/>
                  <a:pt x="664" y="215"/>
                </a:cubicBezTo>
                <a:cubicBezTo>
                  <a:pt x="663" y="217"/>
                  <a:pt x="661" y="218"/>
                  <a:pt x="660" y="220"/>
                </a:cubicBezTo>
                <a:cubicBezTo>
                  <a:pt x="660" y="221"/>
                  <a:pt x="661" y="222"/>
                  <a:pt x="660" y="223"/>
                </a:cubicBezTo>
                <a:cubicBezTo>
                  <a:pt x="660" y="223"/>
                  <a:pt x="659" y="224"/>
                  <a:pt x="659" y="225"/>
                </a:cubicBezTo>
                <a:cubicBezTo>
                  <a:pt x="659" y="226"/>
                  <a:pt x="661" y="225"/>
                  <a:pt x="660" y="226"/>
                </a:cubicBezTo>
                <a:cubicBezTo>
                  <a:pt x="660" y="227"/>
                  <a:pt x="659" y="228"/>
                  <a:pt x="659" y="227"/>
                </a:cubicBezTo>
                <a:cubicBezTo>
                  <a:pt x="658" y="227"/>
                  <a:pt x="658" y="225"/>
                  <a:pt x="657" y="224"/>
                </a:cubicBezTo>
                <a:cubicBezTo>
                  <a:pt x="657" y="223"/>
                  <a:pt x="656" y="224"/>
                  <a:pt x="655" y="223"/>
                </a:cubicBezTo>
                <a:cubicBezTo>
                  <a:pt x="653" y="223"/>
                  <a:pt x="653" y="221"/>
                  <a:pt x="650" y="224"/>
                </a:cubicBezTo>
                <a:cubicBezTo>
                  <a:pt x="653" y="220"/>
                  <a:pt x="649" y="222"/>
                  <a:pt x="648" y="221"/>
                </a:cubicBezTo>
                <a:cubicBezTo>
                  <a:pt x="648" y="222"/>
                  <a:pt x="647" y="215"/>
                  <a:pt x="647" y="215"/>
                </a:cubicBezTo>
                <a:cubicBezTo>
                  <a:pt x="647" y="214"/>
                  <a:pt x="648" y="211"/>
                  <a:pt x="648" y="209"/>
                </a:cubicBezTo>
                <a:cubicBezTo>
                  <a:pt x="648" y="210"/>
                  <a:pt x="648" y="210"/>
                  <a:pt x="647" y="210"/>
                </a:cubicBezTo>
                <a:cubicBezTo>
                  <a:pt x="647" y="210"/>
                  <a:pt x="647" y="209"/>
                  <a:pt x="648" y="208"/>
                </a:cubicBezTo>
                <a:cubicBezTo>
                  <a:pt x="648" y="208"/>
                  <a:pt x="648" y="208"/>
                  <a:pt x="648" y="208"/>
                </a:cubicBezTo>
                <a:cubicBezTo>
                  <a:pt x="647" y="208"/>
                  <a:pt x="647" y="209"/>
                  <a:pt x="647" y="209"/>
                </a:cubicBezTo>
                <a:cubicBezTo>
                  <a:pt x="647" y="209"/>
                  <a:pt x="647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4" y="211"/>
                  <a:pt x="639" y="212"/>
                  <a:pt x="635" y="212"/>
                </a:cubicBezTo>
                <a:cubicBezTo>
                  <a:pt x="635" y="213"/>
                  <a:pt x="635" y="214"/>
                  <a:pt x="635" y="214"/>
                </a:cubicBezTo>
                <a:cubicBezTo>
                  <a:pt x="634" y="214"/>
                  <a:pt x="634" y="213"/>
                  <a:pt x="634" y="212"/>
                </a:cubicBezTo>
                <a:cubicBezTo>
                  <a:pt x="633" y="212"/>
                  <a:pt x="633" y="212"/>
                  <a:pt x="633" y="212"/>
                </a:cubicBezTo>
                <a:cubicBezTo>
                  <a:pt x="633" y="211"/>
                  <a:pt x="633" y="210"/>
                  <a:pt x="635" y="210"/>
                </a:cubicBezTo>
                <a:cubicBezTo>
                  <a:pt x="634" y="210"/>
                  <a:pt x="634" y="209"/>
                  <a:pt x="634" y="209"/>
                </a:cubicBezTo>
                <a:cubicBezTo>
                  <a:pt x="633" y="208"/>
                  <a:pt x="634" y="207"/>
                  <a:pt x="635" y="206"/>
                </a:cubicBezTo>
                <a:cubicBezTo>
                  <a:pt x="634" y="205"/>
                  <a:pt x="634" y="204"/>
                  <a:pt x="635" y="203"/>
                </a:cubicBezTo>
                <a:cubicBezTo>
                  <a:pt x="636" y="203"/>
                  <a:pt x="636" y="203"/>
                  <a:pt x="637" y="203"/>
                </a:cubicBezTo>
                <a:cubicBezTo>
                  <a:pt x="637" y="202"/>
                  <a:pt x="636" y="202"/>
                  <a:pt x="635" y="203"/>
                </a:cubicBezTo>
                <a:cubicBezTo>
                  <a:pt x="634" y="203"/>
                  <a:pt x="632" y="206"/>
                  <a:pt x="632" y="206"/>
                </a:cubicBezTo>
                <a:cubicBezTo>
                  <a:pt x="632" y="207"/>
                  <a:pt x="632" y="207"/>
                  <a:pt x="633" y="207"/>
                </a:cubicBezTo>
                <a:cubicBezTo>
                  <a:pt x="629" y="209"/>
                  <a:pt x="629" y="201"/>
                  <a:pt x="631" y="201"/>
                </a:cubicBezTo>
                <a:cubicBezTo>
                  <a:pt x="631" y="201"/>
                  <a:pt x="632" y="203"/>
                  <a:pt x="632" y="203"/>
                </a:cubicBezTo>
                <a:cubicBezTo>
                  <a:pt x="633" y="203"/>
                  <a:pt x="636" y="199"/>
                  <a:pt x="638" y="198"/>
                </a:cubicBezTo>
                <a:cubicBezTo>
                  <a:pt x="638" y="198"/>
                  <a:pt x="638" y="197"/>
                  <a:pt x="639" y="197"/>
                </a:cubicBezTo>
                <a:cubicBezTo>
                  <a:pt x="639" y="196"/>
                  <a:pt x="637" y="195"/>
                  <a:pt x="637" y="194"/>
                </a:cubicBezTo>
                <a:cubicBezTo>
                  <a:pt x="637" y="193"/>
                  <a:pt x="639" y="193"/>
                  <a:pt x="639" y="193"/>
                </a:cubicBezTo>
                <a:cubicBezTo>
                  <a:pt x="639" y="192"/>
                  <a:pt x="640" y="189"/>
                  <a:pt x="639" y="189"/>
                </a:cubicBezTo>
                <a:cubicBezTo>
                  <a:pt x="639" y="188"/>
                  <a:pt x="637" y="189"/>
                  <a:pt x="638" y="190"/>
                </a:cubicBezTo>
                <a:cubicBezTo>
                  <a:pt x="638" y="190"/>
                  <a:pt x="636" y="188"/>
                  <a:pt x="637" y="187"/>
                </a:cubicBezTo>
                <a:cubicBezTo>
                  <a:pt x="637" y="187"/>
                  <a:pt x="637" y="187"/>
                  <a:pt x="637" y="187"/>
                </a:cubicBezTo>
                <a:cubicBezTo>
                  <a:pt x="637" y="186"/>
                  <a:pt x="637" y="186"/>
                  <a:pt x="636" y="186"/>
                </a:cubicBezTo>
                <a:cubicBezTo>
                  <a:pt x="636" y="187"/>
                  <a:pt x="636" y="188"/>
                  <a:pt x="636" y="188"/>
                </a:cubicBezTo>
                <a:cubicBezTo>
                  <a:pt x="636" y="188"/>
                  <a:pt x="636" y="188"/>
                  <a:pt x="637" y="188"/>
                </a:cubicBezTo>
                <a:cubicBezTo>
                  <a:pt x="637" y="189"/>
                  <a:pt x="637" y="189"/>
                  <a:pt x="636" y="189"/>
                </a:cubicBezTo>
                <a:cubicBezTo>
                  <a:pt x="637" y="190"/>
                  <a:pt x="636" y="191"/>
                  <a:pt x="635" y="190"/>
                </a:cubicBezTo>
                <a:cubicBezTo>
                  <a:pt x="635" y="190"/>
                  <a:pt x="635" y="190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4" y="190"/>
                  <a:pt x="633" y="190"/>
                  <a:pt x="632" y="189"/>
                </a:cubicBezTo>
                <a:cubicBezTo>
                  <a:pt x="631" y="188"/>
                  <a:pt x="631" y="186"/>
                  <a:pt x="632" y="185"/>
                </a:cubicBezTo>
                <a:cubicBezTo>
                  <a:pt x="632" y="185"/>
                  <a:pt x="632" y="185"/>
                  <a:pt x="631" y="185"/>
                </a:cubicBezTo>
                <a:cubicBezTo>
                  <a:pt x="630" y="186"/>
                  <a:pt x="632" y="185"/>
                  <a:pt x="631" y="184"/>
                </a:cubicBezTo>
                <a:cubicBezTo>
                  <a:pt x="630" y="184"/>
                  <a:pt x="630" y="185"/>
                  <a:pt x="630" y="185"/>
                </a:cubicBezTo>
                <a:cubicBezTo>
                  <a:pt x="629" y="185"/>
                  <a:pt x="630" y="185"/>
                  <a:pt x="630" y="185"/>
                </a:cubicBezTo>
                <a:cubicBezTo>
                  <a:pt x="629" y="185"/>
                  <a:pt x="629" y="186"/>
                  <a:pt x="628" y="185"/>
                </a:cubicBezTo>
                <a:cubicBezTo>
                  <a:pt x="625" y="185"/>
                  <a:pt x="628" y="181"/>
                  <a:pt x="626" y="179"/>
                </a:cubicBezTo>
                <a:cubicBezTo>
                  <a:pt x="625" y="180"/>
                  <a:pt x="624" y="180"/>
                  <a:pt x="624" y="180"/>
                </a:cubicBezTo>
                <a:cubicBezTo>
                  <a:pt x="623" y="181"/>
                  <a:pt x="623" y="182"/>
                  <a:pt x="623" y="183"/>
                </a:cubicBezTo>
                <a:cubicBezTo>
                  <a:pt x="624" y="184"/>
                  <a:pt x="625" y="185"/>
                  <a:pt x="624" y="186"/>
                </a:cubicBezTo>
                <a:cubicBezTo>
                  <a:pt x="624" y="191"/>
                  <a:pt x="618" y="190"/>
                  <a:pt x="617" y="188"/>
                </a:cubicBezTo>
                <a:cubicBezTo>
                  <a:pt x="616" y="188"/>
                  <a:pt x="615" y="188"/>
                  <a:pt x="615" y="189"/>
                </a:cubicBezTo>
                <a:cubicBezTo>
                  <a:pt x="615" y="189"/>
                  <a:pt x="616" y="188"/>
                  <a:pt x="615" y="188"/>
                </a:cubicBezTo>
                <a:cubicBezTo>
                  <a:pt x="614" y="189"/>
                  <a:pt x="612" y="190"/>
                  <a:pt x="610" y="190"/>
                </a:cubicBezTo>
                <a:cubicBezTo>
                  <a:pt x="609" y="191"/>
                  <a:pt x="607" y="191"/>
                  <a:pt x="607" y="191"/>
                </a:cubicBezTo>
                <a:cubicBezTo>
                  <a:pt x="607" y="190"/>
                  <a:pt x="608" y="190"/>
                  <a:pt x="609" y="189"/>
                </a:cubicBezTo>
                <a:cubicBezTo>
                  <a:pt x="609" y="189"/>
                  <a:pt x="608" y="189"/>
                  <a:pt x="608" y="189"/>
                </a:cubicBezTo>
                <a:cubicBezTo>
                  <a:pt x="608" y="188"/>
                  <a:pt x="607" y="187"/>
                  <a:pt x="607" y="186"/>
                </a:cubicBezTo>
                <a:cubicBezTo>
                  <a:pt x="606" y="186"/>
                  <a:pt x="604" y="186"/>
                  <a:pt x="605" y="183"/>
                </a:cubicBezTo>
                <a:cubicBezTo>
                  <a:pt x="606" y="181"/>
                  <a:pt x="605" y="180"/>
                  <a:pt x="605" y="179"/>
                </a:cubicBezTo>
                <a:cubicBezTo>
                  <a:pt x="605" y="179"/>
                  <a:pt x="606" y="178"/>
                  <a:pt x="605" y="177"/>
                </a:cubicBezTo>
                <a:cubicBezTo>
                  <a:pt x="604" y="179"/>
                  <a:pt x="603" y="181"/>
                  <a:pt x="601" y="183"/>
                </a:cubicBezTo>
                <a:cubicBezTo>
                  <a:pt x="604" y="184"/>
                  <a:pt x="606" y="186"/>
                  <a:pt x="602" y="189"/>
                </a:cubicBezTo>
                <a:cubicBezTo>
                  <a:pt x="602" y="189"/>
                  <a:pt x="601" y="189"/>
                  <a:pt x="600" y="190"/>
                </a:cubicBezTo>
                <a:cubicBezTo>
                  <a:pt x="602" y="190"/>
                  <a:pt x="602" y="194"/>
                  <a:pt x="599" y="193"/>
                </a:cubicBezTo>
                <a:cubicBezTo>
                  <a:pt x="598" y="192"/>
                  <a:pt x="599" y="191"/>
                  <a:pt x="599" y="191"/>
                </a:cubicBezTo>
                <a:cubicBezTo>
                  <a:pt x="600" y="190"/>
                  <a:pt x="600" y="190"/>
                  <a:pt x="600" y="190"/>
                </a:cubicBezTo>
                <a:cubicBezTo>
                  <a:pt x="598" y="190"/>
                  <a:pt x="596" y="191"/>
                  <a:pt x="595" y="192"/>
                </a:cubicBezTo>
                <a:cubicBezTo>
                  <a:pt x="593" y="194"/>
                  <a:pt x="594" y="195"/>
                  <a:pt x="592" y="194"/>
                </a:cubicBezTo>
                <a:cubicBezTo>
                  <a:pt x="592" y="193"/>
                  <a:pt x="591" y="192"/>
                  <a:pt x="590" y="193"/>
                </a:cubicBezTo>
                <a:cubicBezTo>
                  <a:pt x="590" y="193"/>
                  <a:pt x="587" y="198"/>
                  <a:pt x="587" y="195"/>
                </a:cubicBezTo>
                <a:cubicBezTo>
                  <a:pt x="587" y="194"/>
                  <a:pt x="588" y="194"/>
                  <a:pt x="588" y="194"/>
                </a:cubicBezTo>
                <a:cubicBezTo>
                  <a:pt x="587" y="193"/>
                  <a:pt x="584" y="194"/>
                  <a:pt x="583" y="193"/>
                </a:cubicBezTo>
                <a:cubicBezTo>
                  <a:pt x="583" y="192"/>
                  <a:pt x="587" y="190"/>
                  <a:pt x="584" y="189"/>
                </a:cubicBezTo>
                <a:cubicBezTo>
                  <a:pt x="583" y="188"/>
                  <a:pt x="583" y="188"/>
                  <a:pt x="583" y="188"/>
                </a:cubicBezTo>
                <a:cubicBezTo>
                  <a:pt x="583" y="188"/>
                  <a:pt x="583" y="188"/>
                  <a:pt x="583" y="187"/>
                </a:cubicBezTo>
                <a:cubicBezTo>
                  <a:pt x="584" y="186"/>
                  <a:pt x="584" y="185"/>
                  <a:pt x="583" y="185"/>
                </a:cubicBezTo>
                <a:cubicBezTo>
                  <a:pt x="582" y="186"/>
                  <a:pt x="581" y="186"/>
                  <a:pt x="580" y="185"/>
                </a:cubicBezTo>
                <a:cubicBezTo>
                  <a:pt x="580" y="184"/>
                  <a:pt x="581" y="184"/>
                  <a:pt x="581" y="183"/>
                </a:cubicBezTo>
                <a:cubicBezTo>
                  <a:pt x="582" y="183"/>
                  <a:pt x="582" y="183"/>
                  <a:pt x="582" y="183"/>
                </a:cubicBezTo>
                <a:cubicBezTo>
                  <a:pt x="581" y="182"/>
                  <a:pt x="580" y="182"/>
                  <a:pt x="579" y="182"/>
                </a:cubicBezTo>
                <a:cubicBezTo>
                  <a:pt x="578" y="181"/>
                  <a:pt x="580" y="179"/>
                  <a:pt x="580" y="178"/>
                </a:cubicBezTo>
                <a:cubicBezTo>
                  <a:pt x="578" y="176"/>
                  <a:pt x="577" y="179"/>
                  <a:pt x="574" y="179"/>
                </a:cubicBezTo>
                <a:cubicBezTo>
                  <a:pt x="574" y="179"/>
                  <a:pt x="572" y="177"/>
                  <a:pt x="570" y="179"/>
                </a:cubicBezTo>
                <a:cubicBezTo>
                  <a:pt x="569" y="180"/>
                  <a:pt x="571" y="182"/>
                  <a:pt x="568" y="184"/>
                </a:cubicBezTo>
                <a:cubicBezTo>
                  <a:pt x="567" y="184"/>
                  <a:pt x="562" y="186"/>
                  <a:pt x="562" y="185"/>
                </a:cubicBezTo>
                <a:cubicBezTo>
                  <a:pt x="561" y="184"/>
                  <a:pt x="563" y="184"/>
                  <a:pt x="563" y="184"/>
                </a:cubicBezTo>
                <a:cubicBezTo>
                  <a:pt x="564" y="182"/>
                  <a:pt x="562" y="180"/>
                  <a:pt x="562" y="181"/>
                </a:cubicBezTo>
                <a:cubicBezTo>
                  <a:pt x="563" y="179"/>
                  <a:pt x="565" y="179"/>
                  <a:pt x="565" y="178"/>
                </a:cubicBezTo>
                <a:cubicBezTo>
                  <a:pt x="565" y="178"/>
                  <a:pt x="565" y="178"/>
                  <a:pt x="564" y="178"/>
                </a:cubicBezTo>
                <a:cubicBezTo>
                  <a:pt x="564" y="177"/>
                  <a:pt x="565" y="177"/>
                  <a:pt x="565" y="177"/>
                </a:cubicBezTo>
                <a:cubicBezTo>
                  <a:pt x="565" y="176"/>
                  <a:pt x="564" y="174"/>
                  <a:pt x="565" y="173"/>
                </a:cubicBezTo>
                <a:cubicBezTo>
                  <a:pt x="565" y="173"/>
                  <a:pt x="565" y="173"/>
                  <a:pt x="565" y="173"/>
                </a:cubicBezTo>
                <a:cubicBezTo>
                  <a:pt x="565" y="173"/>
                  <a:pt x="565" y="172"/>
                  <a:pt x="565" y="172"/>
                </a:cubicBezTo>
                <a:cubicBezTo>
                  <a:pt x="564" y="172"/>
                  <a:pt x="564" y="171"/>
                  <a:pt x="566" y="170"/>
                </a:cubicBezTo>
                <a:cubicBezTo>
                  <a:pt x="566" y="170"/>
                  <a:pt x="566" y="170"/>
                  <a:pt x="566" y="170"/>
                </a:cubicBezTo>
                <a:cubicBezTo>
                  <a:pt x="566" y="170"/>
                  <a:pt x="565" y="170"/>
                  <a:pt x="565" y="170"/>
                </a:cubicBezTo>
                <a:cubicBezTo>
                  <a:pt x="564" y="170"/>
                  <a:pt x="563" y="170"/>
                  <a:pt x="563" y="169"/>
                </a:cubicBezTo>
                <a:cubicBezTo>
                  <a:pt x="562" y="169"/>
                  <a:pt x="562" y="169"/>
                  <a:pt x="562" y="169"/>
                </a:cubicBezTo>
                <a:cubicBezTo>
                  <a:pt x="562" y="169"/>
                  <a:pt x="562" y="168"/>
                  <a:pt x="563" y="167"/>
                </a:cubicBezTo>
                <a:cubicBezTo>
                  <a:pt x="563" y="167"/>
                  <a:pt x="563" y="166"/>
                  <a:pt x="562" y="166"/>
                </a:cubicBezTo>
                <a:cubicBezTo>
                  <a:pt x="563" y="165"/>
                  <a:pt x="566" y="165"/>
                  <a:pt x="568" y="164"/>
                </a:cubicBezTo>
                <a:cubicBezTo>
                  <a:pt x="567" y="165"/>
                  <a:pt x="568" y="167"/>
                  <a:pt x="569" y="165"/>
                </a:cubicBezTo>
                <a:cubicBezTo>
                  <a:pt x="571" y="164"/>
                  <a:pt x="569" y="164"/>
                  <a:pt x="569" y="164"/>
                </a:cubicBezTo>
                <a:cubicBezTo>
                  <a:pt x="569" y="164"/>
                  <a:pt x="570" y="163"/>
                  <a:pt x="569" y="162"/>
                </a:cubicBezTo>
                <a:cubicBezTo>
                  <a:pt x="569" y="162"/>
                  <a:pt x="569" y="162"/>
                  <a:pt x="569" y="162"/>
                </a:cubicBezTo>
                <a:cubicBezTo>
                  <a:pt x="567" y="163"/>
                  <a:pt x="565" y="164"/>
                  <a:pt x="563" y="163"/>
                </a:cubicBezTo>
                <a:cubicBezTo>
                  <a:pt x="563" y="163"/>
                  <a:pt x="563" y="163"/>
                  <a:pt x="563" y="164"/>
                </a:cubicBezTo>
                <a:cubicBezTo>
                  <a:pt x="563" y="164"/>
                  <a:pt x="564" y="164"/>
                  <a:pt x="564" y="164"/>
                </a:cubicBezTo>
                <a:cubicBezTo>
                  <a:pt x="563" y="165"/>
                  <a:pt x="563" y="164"/>
                  <a:pt x="563" y="163"/>
                </a:cubicBezTo>
                <a:cubicBezTo>
                  <a:pt x="562" y="163"/>
                  <a:pt x="562" y="162"/>
                  <a:pt x="562" y="161"/>
                </a:cubicBezTo>
                <a:cubicBezTo>
                  <a:pt x="562" y="160"/>
                  <a:pt x="564" y="158"/>
                  <a:pt x="567" y="158"/>
                </a:cubicBezTo>
                <a:cubicBezTo>
                  <a:pt x="566" y="157"/>
                  <a:pt x="565" y="156"/>
                  <a:pt x="566" y="155"/>
                </a:cubicBezTo>
                <a:cubicBezTo>
                  <a:pt x="566" y="153"/>
                  <a:pt x="570" y="153"/>
                  <a:pt x="569" y="152"/>
                </a:cubicBezTo>
                <a:cubicBezTo>
                  <a:pt x="570" y="152"/>
                  <a:pt x="572" y="151"/>
                  <a:pt x="574" y="151"/>
                </a:cubicBezTo>
                <a:cubicBezTo>
                  <a:pt x="576" y="153"/>
                  <a:pt x="575" y="153"/>
                  <a:pt x="579" y="152"/>
                </a:cubicBezTo>
                <a:cubicBezTo>
                  <a:pt x="579" y="152"/>
                  <a:pt x="580" y="151"/>
                  <a:pt x="581" y="151"/>
                </a:cubicBezTo>
                <a:cubicBezTo>
                  <a:pt x="584" y="150"/>
                  <a:pt x="583" y="150"/>
                  <a:pt x="582" y="148"/>
                </a:cubicBezTo>
                <a:cubicBezTo>
                  <a:pt x="584" y="150"/>
                  <a:pt x="583" y="148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0" y="147"/>
                  <a:pt x="580" y="147"/>
                </a:cubicBezTo>
                <a:cubicBezTo>
                  <a:pt x="580" y="147"/>
                  <a:pt x="579" y="149"/>
                  <a:pt x="578" y="148"/>
                </a:cubicBezTo>
                <a:cubicBezTo>
                  <a:pt x="577" y="147"/>
                  <a:pt x="581" y="144"/>
                  <a:pt x="577" y="144"/>
                </a:cubicBezTo>
                <a:cubicBezTo>
                  <a:pt x="583" y="142"/>
                  <a:pt x="575" y="140"/>
                  <a:pt x="573" y="139"/>
                </a:cubicBezTo>
                <a:cubicBezTo>
                  <a:pt x="572" y="138"/>
                  <a:pt x="571" y="137"/>
                  <a:pt x="570" y="135"/>
                </a:cubicBezTo>
                <a:cubicBezTo>
                  <a:pt x="570" y="135"/>
                  <a:pt x="569" y="134"/>
                  <a:pt x="569" y="134"/>
                </a:cubicBezTo>
                <a:cubicBezTo>
                  <a:pt x="569" y="134"/>
                  <a:pt x="569" y="134"/>
                  <a:pt x="569" y="133"/>
                </a:cubicBezTo>
                <a:cubicBezTo>
                  <a:pt x="569" y="133"/>
                  <a:pt x="568" y="132"/>
                  <a:pt x="568" y="132"/>
                </a:cubicBezTo>
                <a:cubicBezTo>
                  <a:pt x="567" y="132"/>
                  <a:pt x="567" y="132"/>
                  <a:pt x="567" y="132"/>
                </a:cubicBezTo>
                <a:cubicBezTo>
                  <a:pt x="567" y="132"/>
                  <a:pt x="566" y="133"/>
                  <a:pt x="566" y="133"/>
                </a:cubicBezTo>
                <a:cubicBezTo>
                  <a:pt x="566" y="134"/>
                  <a:pt x="564" y="135"/>
                  <a:pt x="563" y="135"/>
                </a:cubicBezTo>
                <a:cubicBezTo>
                  <a:pt x="562" y="135"/>
                  <a:pt x="561" y="134"/>
                  <a:pt x="561" y="133"/>
                </a:cubicBezTo>
                <a:cubicBezTo>
                  <a:pt x="560" y="134"/>
                  <a:pt x="559" y="134"/>
                  <a:pt x="558" y="134"/>
                </a:cubicBezTo>
                <a:cubicBezTo>
                  <a:pt x="557" y="134"/>
                  <a:pt x="559" y="133"/>
                  <a:pt x="560" y="133"/>
                </a:cubicBezTo>
                <a:cubicBezTo>
                  <a:pt x="560" y="132"/>
                  <a:pt x="560" y="131"/>
                  <a:pt x="561" y="131"/>
                </a:cubicBezTo>
                <a:cubicBezTo>
                  <a:pt x="560" y="131"/>
                  <a:pt x="558" y="131"/>
                  <a:pt x="557" y="131"/>
                </a:cubicBezTo>
                <a:cubicBezTo>
                  <a:pt x="557" y="131"/>
                  <a:pt x="557" y="131"/>
                  <a:pt x="557" y="131"/>
                </a:cubicBezTo>
                <a:cubicBezTo>
                  <a:pt x="558" y="131"/>
                  <a:pt x="559" y="131"/>
                  <a:pt x="559" y="132"/>
                </a:cubicBezTo>
                <a:cubicBezTo>
                  <a:pt x="558" y="132"/>
                  <a:pt x="557" y="132"/>
                  <a:pt x="556" y="132"/>
                </a:cubicBezTo>
                <a:cubicBezTo>
                  <a:pt x="555" y="132"/>
                  <a:pt x="555" y="132"/>
                  <a:pt x="555" y="133"/>
                </a:cubicBezTo>
                <a:cubicBezTo>
                  <a:pt x="556" y="133"/>
                  <a:pt x="555" y="135"/>
                  <a:pt x="554" y="134"/>
                </a:cubicBezTo>
                <a:cubicBezTo>
                  <a:pt x="553" y="135"/>
                  <a:pt x="552" y="135"/>
                  <a:pt x="552" y="135"/>
                </a:cubicBezTo>
                <a:cubicBezTo>
                  <a:pt x="552" y="134"/>
                  <a:pt x="552" y="134"/>
                  <a:pt x="553" y="133"/>
                </a:cubicBezTo>
                <a:cubicBezTo>
                  <a:pt x="552" y="133"/>
                  <a:pt x="551" y="131"/>
                  <a:pt x="553" y="132"/>
                </a:cubicBezTo>
                <a:cubicBezTo>
                  <a:pt x="553" y="132"/>
                  <a:pt x="553" y="132"/>
                  <a:pt x="553" y="132"/>
                </a:cubicBezTo>
                <a:cubicBezTo>
                  <a:pt x="553" y="133"/>
                  <a:pt x="553" y="133"/>
                  <a:pt x="553" y="133"/>
                </a:cubicBezTo>
                <a:cubicBezTo>
                  <a:pt x="554" y="133"/>
                  <a:pt x="554" y="132"/>
                  <a:pt x="554" y="132"/>
                </a:cubicBezTo>
                <a:cubicBezTo>
                  <a:pt x="553" y="132"/>
                  <a:pt x="552" y="131"/>
                  <a:pt x="552" y="131"/>
                </a:cubicBezTo>
                <a:cubicBezTo>
                  <a:pt x="552" y="131"/>
                  <a:pt x="553" y="131"/>
                  <a:pt x="555" y="131"/>
                </a:cubicBezTo>
                <a:cubicBezTo>
                  <a:pt x="554" y="130"/>
                  <a:pt x="554" y="130"/>
                  <a:pt x="554" y="130"/>
                </a:cubicBezTo>
                <a:cubicBezTo>
                  <a:pt x="553" y="130"/>
                  <a:pt x="552" y="131"/>
                  <a:pt x="552" y="131"/>
                </a:cubicBezTo>
                <a:cubicBezTo>
                  <a:pt x="551" y="130"/>
                  <a:pt x="550" y="127"/>
                  <a:pt x="548" y="129"/>
                </a:cubicBezTo>
                <a:cubicBezTo>
                  <a:pt x="548" y="130"/>
                  <a:pt x="549" y="131"/>
                  <a:pt x="549" y="130"/>
                </a:cubicBezTo>
                <a:cubicBezTo>
                  <a:pt x="549" y="131"/>
                  <a:pt x="549" y="131"/>
                  <a:pt x="549" y="131"/>
                </a:cubicBezTo>
                <a:cubicBezTo>
                  <a:pt x="549" y="131"/>
                  <a:pt x="549" y="131"/>
                  <a:pt x="550" y="131"/>
                </a:cubicBezTo>
                <a:cubicBezTo>
                  <a:pt x="551" y="131"/>
                  <a:pt x="549" y="133"/>
                  <a:pt x="549" y="132"/>
                </a:cubicBezTo>
                <a:cubicBezTo>
                  <a:pt x="549" y="132"/>
                  <a:pt x="549" y="132"/>
                  <a:pt x="549" y="132"/>
                </a:cubicBezTo>
                <a:cubicBezTo>
                  <a:pt x="548" y="133"/>
                  <a:pt x="544" y="131"/>
                  <a:pt x="543" y="131"/>
                </a:cubicBezTo>
                <a:cubicBezTo>
                  <a:pt x="545" y="130"/>
                  <a:pt x="543" y="130"/>
                  <a:pt x="542" y="129"/>
                </a:cubicBezTo>
                <a:cubicBezTo>
                  <a:pt x="540" y="130"/>
                  <a:pt x="539" y="131"/>
                  <a:pt x="537" y="132"/>
                </a:cubicBezTo>
                <a:cubicBezTo>
                  <a:pt x="538" y="130"/>
                  <a:pt x="540" y="129"/>
                  <a:pt x="542" y="129"/>
                </a:cubicBezTo>
                <a:cubicBezTo>
                  <a:pt x="541" y="128"/>
                  <a:pt x="541" y="127"/>
                  <a:pt x="541" y="127"/>
                </a:cubicBezTo>
                <a:cubicBezTo>
                  <a:pt x="542" y="125"/>
                  <a:pt x="546" y="126"/>
                  <a:pt x="546" y="124"/>
                </a:cubicBezTo>
                <a:cubicBezTo>
                  <a:pt x="547" y="123"/>
                  <a:pt x="545" y="124"/>
                  <a:pt x="545" y="124"/>
                </a:cubicBezTo>
                <a:cubicBezTo>
                  <a:pt x="546" y="122"/>
                  <a:pt x="547" y="121"/>
                  <a:pt x="545" y="120"/>
                </a:cubicBezTo>
                <a:cubicBezTo>
                  <a:pt x="545" y="120"/>
                  <a:pt x="540" y="120"/>
                  <a:pt x="538" y="120"/>
                </a:cubicBezTo>
                <a:cubicBezTo>
                  <a:pt x="536" y="120"/>
                  <a:pt x="534" y="121"/>
                  <a:pt x="531" y="119"/>
                </a:cubicBezTo>
                <a:cubicBezTo>
                  <a:pt x="534" y="119"/>
                  <a:pt x="535" y="117"/>
                  <a:pt x="537" y="117"/>
                </a:cubicBezTo>
                <a:cubicBezTo>
                  <a:pt x="537" y="117"/>
                  <a:pt x="537" y="116"/>
                  <a:pt x="537" y="116"/>
                </a:cubicBezTo>
                <a:cubicBezTo>
                  <a:pt x="537" y="116"/>
                  <a:pt x="537" y="117"/>
                  <a:pt x="537" y="117"/>
                </a:cubicBezTo>
                <a:cubicBezTo>
                  <a:pt x="538" y="116"/>
                  <a:pt x="538" y="116"/>
                  <a:pt x="539" y="116"/>
                </a:cubicBezTo>
                <a:cubicBezTo>
                  <a:pt x="542" y="115"/>
                  <a:pt x="545" y="118"/>
                  <a:pt x="548" y="117"/>
                </a:cubicBezTo>
                <a:cubicBezTo>
                  <a:pt x="548" y="117"/>
                  <a:pt x="551" y="114"/>
                  <a:pt x="552" y="114"/>
                </a:cubicBezTo>
                <a:cubicBezTo>
                  <a:pt x="553" y="114"/>
                  <a:pt x="554" y="115"/>
                  <a:pt x="554" y="114"/>
                </a:cubicBezTo>
                <a:cubicBezTo>
                  <a:pt x="553" y="114"/>
                  <a:pt x="553" y="113"/>
                  <a:pt x="553" y="113"/>
                </a:cubicBezTo>
                <a:cubicBezTo>
                  <a:pt x="553" y="113"/>
                  <a:pt x="552" y="113"/>
                  <a:pt x="552" y="113"/>
                </a:cubicBezTo>
                <a:cubicBezTo>
                  <a:pt x="552" y="114"/>
                  <a:pt x="551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8" y="114"/>
                  <a:pt x="547" y="114"/>
                  <a:pt x="547" y="114"/>
                </a:cubicBezTo>
                <a:cubicBezTo>
                  <a:pt x="547" y="114"/>
                  <a:pt x="547" y="113"/>
                  <a:pt x="547" y="113"/>
                </a:cubicBezTo>
                <a:cubicBezTo>
                  <a:pt x="547" y="112"/>
                  <a:pt x="548" y="111"/>
                  <a:pt x="549" y="110"/>
                </a:cubicBezTo>
                <a:cubicBezTo>
                  <a:pt x="550" y="110"/>
                  <a:pt x="552" y="111"/>
                  <a:pt x="552" y="112"/>
                </a:cubicBezTo>
                <a:cubicBezTo>
                  <a:pt x="552" y="112"/>
                  <a:pt x="552" y="112"/>
                  <a:pt x="553" y="112"/>
                </a:cubicBezTo>
                <a:cubicBezTo>
                  <a:pt x="552" y="111"/>
                  <a:pt x="554" y="110"/>
                  <a:pt x="555" y="111"/>
                </a:cubicBezTo>
                <a:cubicBezTo>
                  <a:pt x="555" y="110"/>
                  <a:pt x="555" y="110"/>
                  <a:pt x="554" y="109"/>
                </a:cubicBezTo>
                <a:cubicBezTo>
                  <a:pt x="554" y="110"/>
                  <a:pt x="554" y="110"/>
                  <a:pt x="554" y="110"/>
                </a:cubicBezTo>
                <a:cubicBezTo>
                  <a:pt x="554" y="110"/>
                  <a:pt x="554" y="109"/>
                  <a:pt x="554" y="109"/>
                </a:cubicBezTo>
                <a:cubicBezTo>
                  <a:pt x="553" y="108"/>
                  <a:pt x="550" y="108"/>
                  <a:pt x="549" y="107"/>
                </a:cubicBezTo>
                <a:cubicBezTo>
                  <a:pt x="550" y="106"/>
                  <a:pt x="551" y="106"/>
                  <a:pt x="550" y="105"/>
                </a:cubicBezTo>
                <a:cubicBezTo>
                  <a:pt x="549" y="106"/>
                  <a:pt x="546" y="106"/>
                  <a:pt x="548" y="104"/>
                </a:cubicBezTo>
                <a:cubicBezTo>
                  <a:pt x="548" y="104"/>
                  <a:pt x="548" y="104"/>
                  <a:pt x="548" y="104"/>
                </a:cubicBezTo>
                <a:cubicBezTo>
                  <a:pt x="548" y="104"/>
                  <a:pt x="547" y="103"/>
                  <a:pt x="547" y="103"/>
                </a:cubicBezTo>
                <a:cubicBezTo>
                  <a:pt x="545" y="104"/>
                  <a:pt x="543" y="105"/>
                  <a:pt x="541" y="106"/>
                </a:cubicBezTo>
                <a:cubicBezTo>
                  <a:pt x="537" y="107"/>
                  <a:pt x="541" y="104"/>
                  <a:pt x="543" y="103"/>
                </a:cubicBezTo>
                <a:cubicBezTo>
                  <a:pt x="544" y="103"/>
                  <a:pt x="546" y="102"/>
                  <a:pt x="548" y="101"/>
                </a:cubicBezTo>
                <a:cubicBezTo>
                  <a:pt x="548" y="101"/>
                  <a:pt x="548" y="101"/>
                  <a:pt x="548" y="100"/>
                </a:cubicBezTo>
                <a:cubicBezTo>
                  <a:pt x="549" y="100"/>
                  <a:pt x="549" y="100"/>
                  <a:pt x="550" y="100"/>
                </a:cubicBezTo>
                <a:cubicBezTo>
                  <a:pt x="552" y="99"/>
                  <a:pt x="553" y="99"/>
                  <a:pt x="554" y="98"/>
                </a:cubicBezTo>
                <a:cubicBezTo>
                  <a:pt x="555" y="97"/>
                  <a:pt x="555" y="95"/>
                  <a:pt x="555" y="94"/>
                </a:cubicBezTo>
                <a:cubicBezTo>
                  <a:pt x="554" y="95"/>
                  <a:pt x="554" y="94"/>
                  <a:pt x="553" y="94"/>
                </a:cubicBezTo>
                <a:cubicBezTo>
                  <a:pt x="553" y="94"/>
                  <a:pt x="553" y="94"/>
                  <a:pt x="553" y="94"/>
                </a:cubicBezTo>
                <a:cubicBezTo>
                  <a:pt x="553" y="94"/>
                  <a:pt x="553" y="94"/>
                  <a:pt x="552" y="94"/>
                </a:cubicBezTo>
                <a:cubicBezTo>
                  <a:pt x="552" y="94"/>
                  <a:pt x="550" y="93"/>
                  <a:pt x="550" y="93"/>
                </a:cubicBezTo>
                <a:cubicBezTo>
                  <a:pt x="550" y="93"/>
                  <a:pt x="550" y="93"/>
                  <a:pt x="550" y="92"/>
                </a:cubicBezTo>
                <a:cubicBezTo>
                  <a:pt x="549" y="91"/>
                  <a:pt x="551" y="90"/>
                  <a:pt x="552" y="90"/>
                </a:cubicBezTo>
                <a:cubicBezTo>
                  <a:pt x="552" y="89"/>
                  <a:pt x="552" y="89"/>
                  <a:pt x="553" y="88"/>
                </a:cubicBezTo>
                <a:cubicBezTo>
                  <a:pt x="553" y="88"/>
                  <a:pt x="553" y="88"/>
                  <a:pt x="553" y="88"/>
                </a:cubicBezTo>
                <a:cubicBezTo>
                  <a:pt x="552" y="87"/>
                  <a:pt x="550" y="87"/>
                  <a:pt x="549" y="87"/>
                </a:cubicBezTo>
                <a:cubicBezTo>
                  <a:pt x="548" y="87"/>
                  <a:pt x="546" y="87"/>
                  <a:pt x="546" y="86"/>
                </a:cubicBezTo>
                <a:cubicBezTo>
                  <a:pt x="545" y="86"/>
                  <a:pt x="544" y="85"/>
                  <a:pt x="544" y="84"/>
                </a:cubicBezTo>
                <a:cubicBezTo>
                  <a:pt x="543" y="85"/>
                  <a:pt x="542" y="85"/>
                  <a:pt x="542" y="84"/>
                </a:cubicBezTo>
                <a:cubicBezTo>
                  <a:pt x="541" y="84"/>
                  <a:pt x="540" y="82"/>
                  <a:pt x="542" y="81"/>
                </a:cubicBezTo>
                <a:cubicBezTo>
                  <a:pt x="542" y="81"/>
                  <a:pt x="542" y="81"/>
                  <a:pt x="542" y="81"/>
                </a:cubicBezTo>
                <a:cubicBezTo>
                  <a:pt x="541" y="80"/>
                  <a:pt x="542" y="80"/>
                  <a:pt x="542" y="79"/>
                </a:cubicBezTo>
                <a:cubicBezTo>
                  <a:pt x="541" y="80"/>
                  <a:pt x="540" y="80"/>
                  <a:pt x="539" y="80"/>
                </a:cubicBezTo>
                <a:cubicBezTo>
                  <a:pt x="539" y="80"/>
                  <a:pt x="538" y="81"/>
                  <a:pt x="539" y="82"/>
                </a:cubicBezTo>
                <a:cubicBezTo>
                  <a:pt x="538" y="82"/>
                  <a:pt x="536" y="83"/>
                  <a:pt x="535" y="84"/>
                </a:cubicBezTo>
                <a:cubicBezTo>
                  <a:pt x="534" y="85"/>
                  <a:pt x="533" y="85"/>
                  <a:pt x="532" y="86"/>
                </a:cubicBezTo>
                <a:cubicBezTo>
                  <a:pt x="532" y="86"/>
                  <a:pt x="532" y="87"/>
                  <a:pt x="532" y="87"/>
                </a:cubicBezTo>
                <a:cubicBezTo>
                  <a:pt x="531" y="87"/>
                  <a:pt x="530" y="86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8" y="87"/>
                </a:cubicBezTo>
                <a:cubicBezTo>
                  <a:pt x="527" y="87"/>
                  <a:pt x="527" y="88"/>
                  <a:pt x="526" y="88"/>
                </a:cubicBezTo>
                <a:cubicBezTo>
                  <a:pt x="526" y="88"/>
                  <a:pt x="526" y="87"/>
                  <a:pt x="526" y="87"/>
                </a:cubicBezTo>
                <a:cubicBezTo>
                  <a:pt x="525" y="85"/>
                  <a:pt x="521" y="83"/>
                  <a:pt x="520" y="81"/>
                </a:cubicBezTo>
                <a:cubicBezTo>
                  <a:pt x="520" y="79"/>
                  <a:pt x="524" y="78"/>
                  <a:pt x="525" y="76"/>
                </a:cubicBezTo>
                <a:cubicBezTo>
                  <a:pt x="526" y="76"/>
                  <a:pt x="524" y="74"/>
                  <a:pt x="525" y="74"/>
                </a:cubicBezTo>
                <a:cubicBezTo>
                  <a:pt x="526" y="73"/>
                  <a:pt x="526" y="75"/>
                  <a:pt x="527" y="75"/>
                </a:cubicBezTo>
                <a:cubicBezTo>
                  <a:pt x="528" y="76"/>
                  <a:pt x="533" y="76"/>
                  <a:pt x="535" y="76"/>
                </a:cubicBezTo>
                <a:cubicBezTo>
                  <a:pt x="536" y="76"/>
                  <a:pt x="537" y="76"/>
                  <a:pt x="538" y="77"/>
                </a:cubicBezTo>
                <a:cubicBezTo>
                  <a:pt x="539" y="75"/>
                  <a:pt x="543" y="75"/>
                  <a:pt x="543" y="74"/>
                </a:cubicBezTo>
                <a:cubicBezTo>
                  <a:pt x="544" y="74"/>
                  <a:pt x="542" y="74"/>
                  <a:pt x="542" y="73"/>
                </a:cubicBezTo>
                <a:cubicBezTo>
                  <a:pt x="543" y="73"/>
                  <a:pt x="544" y="73"/>
                  <a:pt x="545" y="74"/>
                </a:cubicBezTo>
                <a:cubicBezTo>
                  <a:pt x="547" y="73"/>
                  <a:pt x="550" y="72"/>
                  <a:pt x="553" y="72"/>
                </a:cubicBezTo>
                <a:cubicBezTo>
                  <a:pt x="552" y="71"/>
                  <a:pt x="552" y="70"/>
                  <a:pt x="551" y="70"/>
                </a:cubicBezTo>
                <a:cubicBezTo>
                  <a:pt x="551" y="70"/>
                  <a:pt x="550" y="71"/>
                  <a:pt x="550" y="71"/>
                </a:cubicBezTo>
                <a:cubicBezTo>
                  <a:pt x="550" y="71"/>
                  <a:pt x="547" y="70"/>
                  <a:pt x="545" y="69"/>
                </a:cubicBezTo>
                <a:cubicBezTo>
                  <a:pt x="544" y="69"/>
                  <a:pt x="543" y="69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2" y="67"/>
                  <a:pt x="543" y="66"/>
                  <a:pt x="542" y="66"/>
                </a:cubicBezTo>
                <a:cubicBezTo>
                  <a:pt x="540" y="64"/>
                  <a:pt x="537" y="66"/>
                  <a:pt x="535" y="66"/>
                </a:cubicBezTo>
                <a:cubicBezTo>
                  <a:pt x="535" y="66"/>
                  <a:pt x="534" y="65"/>
                  <a:pt x="534" y="65"/>
                </a:cubicBezTo>
                <a:cubicBezTo>
                  <a:pt x="534" y="65"/>
                  <a:pt x="534" y="65"/>
                  <a:pt x="534" y="65"/>
                </a:cubicBezTo>
                <a:cubicBezTo>
                  <a:pt x="534" y="67"/>
                  <a:pt x="529" y="69"/>
                  <a:pt x="528" y="68"/>
                </a:cubicBezTo>
                <a:cubicBezTo>
                  <a:pt x="527" y="66"/>
                  <a:pt x="528" y="64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2"/>
                  <a:pt x="529" y="62"/>
                </a:cubicBezTo>
                <a:cubicBezTo>
                  <a:pt x="529" y="62"/>
                  <a:pt x="529" y="62"/>
                  <a:pt x="529" y="62"/>
                </a:cubicBezTo>
                <a:cubicBezTo>
                  <a:pt x="528" y="62"/>
                  <a:pt x="527" y="63"/>
                  <a:pt x="526" y="63"/>
                </a:cubicBezTo>
                <a:cubicBezTo>
                  <a:pt x="526" y="63"/>
                  <a:pt x="526" y="63"/>
                  <a:pt x="526" y="63"/>
                </a:cubicBezTo>
                <a:cubicBezTo>
                  <a:pt x="526" y="64"/>
                  <a:pt x="526" y="64"/>
                  <a:pt x="526" y="65"/>
                </a:cubicBezTo>
                <a:cubicBezTo>
                  <a:pt x="525" y="66"/>
                  <a:pt x="522" y="66"/>
                  <a:pt x="520" y="68"/>
                </a:cubicBezTo>
                <a:cubicBezTo>
                  <a:pt x="519" y="69"/>
                  <a:pt x="517" y="72"/>
                  <a:pt x="515" y="72"/>
                </a:cubicBezTo>
                <a:cubicBezTo>
                  <a:pt x="514" y="71"/>
                  <a:pt x="514" y="70"/>
                  <a:pt x="513" y="70"/>
                </a:cubicBezTo>
                <a:cubicBezTo>
                  <a:pt x="513" y="69"/>
                  <a:pt x="513" y="70"/>
                  <a:pt x="512" y="70"/>
                </a:cubicBezTo>
                <a:cubicBezTo>
                  <a:pt x="511" y="71"/>
                  <a:pt x="510" y="70"/>
                  <a:pt x="510" y="69"/>
                </a:cubicBezTo>
                <a:cubicBezTo>
                  <a:pt x="509" y="69"/>
                  <a:pt x="508" y="69"/>
                  <a:pt x="508" y="68"/>
                </a:cubicBezTo>
                <a:cubicBezTo>
                  <a:pt x="508" y="68"/>
                  <a:pt x="509" y="67"/>
                  <a:pt x="510" y="66"/>
                </a:cubicBezTo>
                <a:cubicBezTo>
                  <a:pt x="510" y="65"/>
                  <a:pt x="511" y="65"/>
                  <a:pt x="512" y="66"/>
                </a:cubicBezTo>
                <a:cubicBezTo>
                  <a:pt x="513" y="67"/>
                  <a:pt x="513" y="66"/>
                  <a:pt x="513" y="65"/>
                </a:cubicBezTo>
                <a:cubicBezTo>
                  <a:pt x="512" y="64"/>
                  <a:pt x="511" y="64"/>
                  <a:pt x="511" y="63"/>
                </a:cubicBezTo>
                <a:cubicBezTo>
                  <a:pt x="511" y="63"/>
                  <a:pt x="511" y="62"/>
                  <a:pt x="513" y="61"/>
                </a:cubicBezTo>
                <a:cubicBezTo>
                  <a:pt x="511" y="61"/>
                  <a:pt x="510" y="60"/>
                  <a:pt x="509" y="59"/>
                </a:cubicBezTo>
                <a:cubicBezTo>
                  <a:pt x="509" y="59"/>
                  <a:pt x="510" y="56"/>
                  <a:pt x="511" y="55"/>
                </a:cubicBezTo>
                <a:cubicBezTo>
                  <a:pt x="512" y="54"/>
                  <a:pt x="515" y="54"/>
                  <a:pt x="515" y="53"/>
                </a:cubicBezTo>
                <a:cubicBezTo>
                  <a:pt x="515" y="53"/>
                  <a:pt x="514" y="53"/>
                  <a:pt x="514" y="53"/>
                </a:cubicBezTo>
                <a:cubicBezTo>
                  <a:pt x="514" y="53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2" y="54"/>
                  <a:pt x="511" y="55"/>
                  <a:pt x="510" y="54"/>
                </a:cubicBezTo>
                <a:cubicBezTo>
                  <a:pt x="510" y="54"/>
                  <a:pt x="510" y="53"/>
                  <a:pt x="510" y="53"/>
                </a:cubicBezTo>
                <a:cubicBezTo>
                  <a:pt x="510" y="53"/>
                  <a:pt x="510" y="53"/>
                  <a:pt x="510" y="53"/>
                </a:cubicBezTo>
                <a:cubicBezTo>
                  <a:pt x="510" y="53"/>
                  <a:pt x="510" y="52"/>
                  <a:pt x="510" y="52"/>
                </a:cubicBezTo>
                <a:cubicBezTo>
                  <a:pt x="510" y="52"/>
                  <a:pt x="510" y="52"/>
                  <a:pt x="510" y="52"/>
                </a:cubicBezTo>
                <a:cubicBezTo>
                  <a:pt x="511" y="51"/>
                  <a:pt x="513" y="51"/>
                  <a:pt x="513" y="52"/>
                </a:cubicBezTo>
                <a:cubicBezTo>
                  <a:pt x="515" y="52"/>
                  <a:pt x="517" y="52"/>
                  <a:pt x="516" y="53"/>
                </a:cubicBezTo>
                <a:cubicBezTo>
                  <a:pt x="516" y="53"/>
                  <a:pt x="515" y="54"/>
                  <a:pt x="515" y="54"/>
                </a:cubicBezTo>
                <a:cubicBezTo>
                  <a:pt x="516" y="54"/>
                  <a:pt x="517" y="54"/>
                  <a:pt x="517" y="54"/>
                </a:cubicBezTo>
                <a:cubicBezTo>
                  <a:pt x="518" y="54"/>
                  <a:pt x="519" y="55"/>
                  <a:pt x="520" y="55"/>
                </a:cubicBezTo>
                <a:cubicBezTo>
                  <a:pt x="521" y="55"/>
                  <a:pt x="522" y="55"/>
                  <a:pt x="522" y="56"/>
                </a:cubicBezTo>
                <a:cubicBezTo>
                  <a:pt x="522" y="57"/>
                  <a:pt x="522" y="57"/>
                  <a:pt x="521" y="57"/>
                </a:cubicBezTo>
                <a:cubicBezTo>
                  <a:pt x="521" y="57"/>
                  <a:pt x="521" y="58"/>
                  <a:pt x="521" y="58"/>
                </a:cubicBezTo>
                <a:cubicBezTo>
                  <a:pt x="522" y="57"/>
                  <a:pt x="523" y="57"/>
                  <a:pt x="525" y="58"/>
                </a:cubicBezTo>
                <a:cubicBezTo>
                  <a:pt x="525" y="59"/>
                  <a:pt x="524" y="59"/>
                  <a:pt x="524" y="59"/>
                </a:cubicBezTo>
                <a:cubicBezTo>
                  <a:pt x="525" y="59"/>
                  <a:pt x="526" y="58"/>
                  <a:pt x="528" y="58"/>
                </a:cubicBezTo>
                <a:cubicBezTo>
                  <a:pt x="528" y="58"/>
                  <a:pt x="528" y="57"/>
                  <a:pt x="528" y="57"/>
                </a:cubicBezTo>
                <a:cubicBezTo>
                  <a:pt x="528" y="57"/>
                  <a:pt x="527" y="57"/>
                  <a:pt x="527" y="56"/>
                </a:cubicBezTo>
                <a:cubicBezTo>
                  <a:pt x="527" y="54"/>
                  <a:pt x="532" y="55"/>
                  <a:pt x="530" y="57"/>
                </a:cubicBezTo>
                <a:cubicBezTo>
                  <a:pt x="530" y="57"/>
                  <a:pt x="530" y="57"/>
                  <a:pt x="530" y="57"/>
                </a:cubicBezTo>
                <a:cubicBezTo>
                  <a:pt x="531" y="56"/>
                  <a:pt x="533" y="55"/>
                  <a:pt x="533" y="55"/>
                </a:cubicBezTo>
                <a:cubicBezTo>
                  <a:pt x="532" y="54"/>
                  <a:pt x="530" y="55"/>
                  <a:pt x="529" y="54"/>
                </a:cubicBezTo>
                <a:cubicBezTo>
                  <a:pt x="529" y="53"/>
                  <a:pt x="532" y="51"/>
                  <a:pt x="532" y="51"/>
                </a:cubicBezTo>
                <a:cubicBezTo>
                  <a:pt x="532" y="51"/>
                  <a:pt x="532" y="50"/>
                  <a:pt x="532" y="50"/>
                </a:cubicBezTo>
                <a:cubicBezTo>
                  <a:pt x="530" y="52"/>
                  <a:pt x="527" y="52"/>
                  <a:pt x="525" y="52"/>
                </a:cubicBezTo>
                <a:cubicBezTo>
                  <a:pt x="523" y="51"/>
                  <a:pt x="522" y="48"/>
                  <a:pt x="521" y="48"/>
                </a:cubicBezTo>
                <a:cubicBezTo>
                  <a:pt x="520" y="48"/>
                  <a:pt x="518" y="48"/>
                  <a:pt x="516" y="49"/>
                </a:cubicBezTo>
                <a:cubicBezTo>
                  <a:pt x="517" y="48"/>
                  <a:pt x="518" y="48"/>
                  <a:pt x="519" y="47"/>
                </a:cubicBezTo>
                <a:cubicBezTo>
                  <a:pt x="519" y="47"/>
                  <a:pt x="520" y="47"/>
                  <a:pt x="520" y="47"/>
                </a:cubicBezTo>
                <a:cubicBezTo>
                  <a:pt x="521" y="46"/>
                  <a:pt x="521" y="46"/>
                  <a:pt x="521" y="45"/>
                </a:cubicBezTo>
                <a:cubicBezTo>
                  <a:pt x="520" y="45"/>
                  <a:pt x="520" y="45"/>
                  <a:pt x="519" y="45"/>
                </a:cubicBezTo>
                <a:cubicBezTo>
                  <a:pt x="519" y="44"/>
                  <a:pt x="520" y="44"/>
                  <a:pt x="521" y="44"/>
                </a:cubicBezTo>
                <a:cubicBezTo>
                  <a:pt x="521" y="44"/>
                  <a:pt x="521" y="44"/>
                  <a:pt x="521" y="44"/>
                </a:cubicBezTo>
                <a:cubicBezTo>
                  <a:pt x="521" y="43"/>
                  <a:pt x="521" y="41"/>
                  <a:pt x="521" y="40"/>
                </a:cubicBezTo>
                <a:cubicBezTo>
                  <a:pt x="521" y="40"/>
                  <a:pt x="520" y="40"/>
                  <a:pt x="520" y="40"/>
                </a:cubicBezTo>
                <a:cubicBezTo>
                  <a:pt x="520" y="40"/>
                  <a:pt x="520" y="40"/>
                  <a:pt x="520" y="40"/>
                </a:cubicBezTo>
                <a:cubicBezTo>
                  <a:pt x="520" y="40"/>
                  <a:pt x="520" y="40"/>
                  <a:pt x="520" y="39"/>
                </a:cubicBezTo>
                <a:cubicBezTo>
                  <a:pt x="520" y="39"/>
                  <a:pt x="520" y="39"/>
                  <a:pt x="520" y="39"/>
                </a:cubicBezTo>
                <a:cubicBezTo>
                  <a:pt x="510" y="34"/>
                  <a:pt x="501" y="30"/>
                  <a:pt x="491" y="26"/>
                </a:cubicBezTo>
                <a:cubicBezTo>
                  <a:pt x="491" y="26"/>
                  <a:pt x="489" y="27"/>
                  <a:pt x="489" y="27"/>
                </a:cubicBezTo>
                <a:cubicBezTo>
                  <a:pt x="489" y="26"/>
                  <a:pt x="489" y="26"/>
                  <a:pt x="490" y="26"/>
                </a:cubicBezTo>
                <a:cubicBezTo>
                  <a:pt x="487" y="24"/>
                  <a:pt x="483" y="23"/>
                  <a:pt x="480" y="22"/>
                </a:cubicBezTo>
                <a:cubicBezTo>
                  <a:pt x="480" y="22"/>
                  <a:pt x="480" y="22"/>
                  <a:pt x="480" y="22"/>
                </a:cubicBezTo>
                <a:cubicBezTo>
                  <a:pt x="478" y="22"/>
                  <a:pt x="476" y="25"/>
                  <a:pt x="474" y="25"/>
                </a:cubicBezTo>
                <a:cubicBezTo>
                  <a:pt x="472" y="25"/>
                  <a:pt x="473" y="25"/>
                  <a:pt x="471" y="25"/>
                </a:cubicBezTo>
                <a:cubicBezTo>
                  <a:pt x="471" y="25"/>
                  <a:pt x="469" y="26"/>
                  <a:pt x="468" y="27"/>
                </a:cubicBezTo>
                <a:cubicBezTo>
                  <a:pt x="467" y="27"/>
                  <a:pt x="464" y="29"/>
                  <a:pt x="464" y="29"/>
                </a:cubicBezTo>
                <a:cubicBezTo>
                  <a:pt x="462" y="30"/>
                  <a:pt x="464" y="30"/>
                  <a:pt x="462" y="30"/>
                </a:cubicBezTo>
                <a:cubicBezTo>
                  <a:pt x="461" y="30"/>
                  <a:pt x="461" y="30"/>
                  <a:pt x="460" y="30"/>
                </a:cubicBezTo>
                <a:cubicBezTo>
                  <a:pt x="461" y="30"/>
                  <a:pt x="461" y="30"/>
                  <a:pt x="461" y="30"/>
                </a:cubicBezTo>
                <a:cubicBezTo>
                  <a:pt x="462" y="31"/>
                  <a:pt x="459" y="32"/>
                  <a:pt x="459" y="31"/>
                </a:cubicBezTo>
                <a:cubicBezTo>
                  <a:pt x="459" y="31"/>
                  <a:pt x="458" y="32"/>
                  <a:pt x="458" y="32"/>
                </a:cubicBezTo>
                <a:cubicBezTo>
                  <a:pt x="458" y="32"/>
                  <a:pt x="458" y="33"/>
                  <a:pt x="458" y="33"/>
                </a:cubicBezTo>
                <a:cubicBezTo>
                  <a:pt x="461" y="34"/>
                  <a:pt x="463" y="32"/>
                  <a:pt x="461" y="36"/>
                </a:cubicBezTo>
                <a:cubicBezTo>
                  <a:pt x="461" y="37"/>
                  <a:pt x="462" y="37"/>
                  <a:pt x="461" y="37"/>
                </a:cubicBezTo>
                <a:cubicBezTo>
                  <a:pt x="460" y="39"/>
                  <a:pt x="459" y="37"/>
                  <a:pt x="459" y="36"/>
                </a:cubicBezTo>
                <a:cubicBezTo>
                  <a:pt x="458" y="37"/>
                  <a:pt x="458" y="38"/>
                  <a:pt x="460" y="39"/>
                </a:cubicBezTo>
                <a:cubicBezTo>
                  <a:pt x="460" y="39"/>
                  <a:pt x="457" y="39"/>
                  <a:pt x="456" y="39"/>
                </a:cubicBezTo>
                <a:cubicBezTo>
                  <a:pt x="456" y="39"/>
                  <a:pt x="454" y="36"/>
                  <a:pt x="453" y="35"/>
                </a:cubicBezTo>
                <a:cubicBezTo>
                  <a:pt x="452" y="35"/>
                  <a:pt x="451" y="36"/>
                  <a:pt x="451" y="36"/>
                </a:cubicBezTo>
                <a:cubicBezTo>
                  <a:pt x="449" y="37"/>
                  <a:pt x="446" y="38"/>
                  <a:pt x="444" y="39"/>
                </a:cubicBezTo>
                <a:cubicBezTo>
                  <a:pt x="443" y="40"/>
                  <a:pt x="443" y="40"/>
                  <a:pt x="442" y="40"/>
                </a:cubicBezTo>
                <a:cubicBezTo>
                  <a:pt x="441" y="40"/>
                  <a:pt x="440" y="41"/>
                  <a:pt x="439" y="41"/>
                </a:cubicBezTo>
                <a:cubicBezTo>
                  <a:pt x="437" y="42"/>
                  <a:pt x="435" y="43"/>
                  <a:pt x="432" y="44"/>
                </a:cubicBezTo>
                <a:cubicBezTo>
                  <a:pt x="433" y="44"/>
                  <a:pt x="433" y="44"/>
                  <a:pt x="433" y="44"/>
                </a:cubicBezTo>
                <a:cubicBezTo>
                  <a:pt x="433" y="44"/>
                  <a:pt x="433" y="44"/>
                  <a:pt x="432" y="44"/>
                </a:cubicBezTo>
                <a:cubicBezTo>
                  <a:pt x="432" y="44"/>
                  <a:pt x="431" y="44"/>
                  <a:pt x="431" y="44"/>
                </a:cubicBezTo>
                <a:cubicBezTo>
                  <a:pt x="430" y="44"/>
                  <a:pt x="427" y="45"/>
                  <a:pt x="427" y="46"/>
                </a:cubicBezTo>
                <a:cubicBezTo>
                  <a:pt x="427" y="46"/>
                  <a:pt x="433" y="44"/>
                  <a:pt x="432" y="48"/>
                </a:cubicBezTo>
                <a:cubicBezTo>
                  <a:pt x="432" y="49"/>
                  <a:pt x="431" y="49"/>
                  <a:pt x="431" y="49"/>
                </a:cubicBezTo>
                <a:cubicBezTo>
                  <a:pt x="435" y="49"/>
                  <a:pt x="440" y="49"/>
                  <a:pt x="444" y="50"/>
                </a:cubicBezTo>
                <a:cubicBezTo>
                  <a:pt x="444" y="47"/>
                  <a:pt x="436" y="48"/>
                  <a:pt x="436" y="45"/>
                </a:cubicBezTo>
                <a:cubicBezTo>
                  <a:pt x="436" y="42"/>
                  <a:pt x="442" y="45"/>
                  <a:pt x="444" y="43"/>
                </a:cubicBezTo>
                <a:cubicBezTo>
                  <a:pt x="445" y="43"/>
                  <a:pt x="444" y="42"/>
                  <a:pt x="445" y="42"/>
                </a:cubicBezTo>
                <a:cubicBezTo>
                  <a:pt x="446" y="42"/>
                  <a:pt x="449" y="43"/>
                  <a:pt x="448" y="41"/>
                </a:cubicBezTo>
                <a:cubicBezTo>
                  <a:pt x="448" y="38"/>
                  <a:pt x="459" y="43"/>
                  <a:pt x="460" y="46"/>
                </a:cubicBezTo>
                <a:cubicBezTo>
                  <a:pt x="460" y="48"/>
                  <a:pt x="459" y="52"/>
                  <a:pt x="458" y="52"/>
                </a:cubicBezTo>
                <a:cubicBezTo>
                  <a:pt x="458" y="53"/>
                  <a:pt x="452" y="54"/>
                  <a:pt x="452" y="54"/>
                </a:cubicBezTo>
                <a:cubicBezTo>
                  <a:pt x="451" y="53"/>
                  <a:pt x="449" y="53"/>
                  <a:pt x="448" y="53"/>
                </a:cubicBezTo>
                <a:cubicBezTo>
                  <a:pt x="449" y="53"/>
                  <a:pt x="449" y="53"/>
                  <a:pt x="449" y="54"/>
                </a:cubicBezTo>
                <a:cubicBezTo>
                  <a:pt x="450" y="55"/>
                  <a:pt x="450" y="57"/>
                  <a:pt x="450" y="58"/>
                </a:cubicBezTo>
                <a:cubicBezTo>
                  <a:pt x="447" y="62"/>
                  <a:pt x="436" y="61"/>
                  <a:pt x="432" y="59"/>
                </a:cubicBezTo>
                <a:cubicBezTo>
                  <a:pt x="432" y="60"/>
                  <a:pt x="432" y="61"/>
                  <a:pt x="432" y="62"/>
                </a:cubicBezTo>
                <a:cubicBezTo>
                  <a:pt x="431" y="65"/>
                  <a:pt x="423" y="63"/>
                  <a:pt x="423" y="60"/>
                </a:cubicBezTo>
                <a:cubicBezTo>
                  <a:pt x="423" y="61"/>
                  <a:pt x="421" y="60"/>
                  <a:pt x="421" y="60"/>
                </a:cubicBezTo>
                <a:cubicBezTo>
                  <a:pt x="421" y="59"/>
                  <a:pt x="423" y="59"/>
                  <a:pt x="423" y="60"/>
                </a:cubicBezTo>
                <a:cubicBezTo>
                  <a:pt x="424" y="58"/>
                  <a:pt x="427" y="58"/>
                  <a:pt x="429" y="58"/>
                </a:cubicBezTo>
                <a:cubicBezTo>
                  <a:pt x="430" y="58"/>
                  <a:pt x="431" y="57"/>
                  <a:pt x="432" y="55"/>
                </a:cubicBezTo>
                <a:cubicBezTo>
                  <a:pt x="432" y="55"/>
                  <a:pt x="432" y="53"/>
                  <a:pt x="432" y="54"/>
                </a:cubicBezTo>
                <a:cubicBezTo>
                  <a:pt x="432" y="53"/>
                  <a:pt x="434" y="52"/>
                  <a:pt x="435" y="52"/>
                </a:cubicBezTo>
                <a:cubicBezTo>
                  <a:pt x="435" y="50"/>
                  <a:pt x="431" y="50"/>
                  <a:pt x="429" y="50"/>
                </a:cubicBezTo>
                <a:cubicBezTo>
                  <a:pt x="427" y="50"/>
                  <a:pt x="423" y="49"/>
                  <a:pt x="422" y="48"/>
                </a:cubicBezTo>
                <a:cubicBezTo>
                  <a:pt x="422" y="48"/>
                  <a:pt x="422" y="47"/>
                  <a:pt x="422" y="47"/>
                </a:cubicBezTo>
                <a:cubicBezTo>
                  <a:pt x="422" y="47"/>
                  <a:pt x="421" y="47"/>
                  <a:pt x="421" y="48"/>
                </a:cubicBezTo>
                <a:cubicBezTo>
                  <a:pt x="420" y="48"/>
                  <a:pt x="419" y="49"/>
                  <a:pt x="417" y="50"/>
                </a:cubicBezTo>
                <a:cubicBezTo>
                  <a:pt x="417" y="50"/>
                  <a:pt x="416" y="50"/>
                  <a:pt x="416" y="51"/>
                </a:cubicBezTo>
                <a:cubicBezTo>
                  <a:pt x="418" y="53"/>
                  <a:pt x="416" y="54"/>
                  <a:pt x="414" y="54"/>
                </a:cubicBezTo>
                <a:cubicBezTo>
                  <a:pt x="413" y="54"/>
                  <a:pt x="412" y="54"/>
                  <a:pt x="412" y="54"/>
                </a:cubicBezTo>
                <a:cubicBezTo>
                  <a:pt x="412" y="54"/>
                  <a:pt x="412" y="54"/>
                  <a:pt x="412" y="53"/>
                </a:cubicBezTo>
                <a:cubicBezTo>
                  <a:pt x="411" y="53"/>
                  <a:pt x="411" y="53"/>
                  <a:pt x="411" y="53"/>
                </a:cubicBezTo>
                <a:cubicBezTo>
                  <a:pt x="410" y="53"/>
                  <a:pt x="410" y="53"/>
                  <a:pt x="410" y="53"/>
                </a:cubicBezTo>
                <a:cubicBezTo>
                  <a:pt x="409" y="53"/>
                  <a:pt x="409" y="54"/>
                  <a:pt x="409" y="54"/>
                </a:cubicBezTo>
                <a:cubicBezTo>
                  <a:pt x="408" y="55"/>
                  <a:pt x="407" y="54"/>
                  <a:pt x="407" y="55"/>
                </a:cubicBezTo>
                <a:cubicBezTo>
                  <a:pt x="406" y="55"/>
                  <a:pt x="405" y="56"/>
                  <a:pt x="404" y="57"/>
                </a:cubicBezTo>
                <a:cubicBezTo>
                  <a:pt x="404" y="57"/>
                  <a:pt x="404" y="58"/>
                  <a:pt x="402" y="58"/>
                </a:cubicBezTo>
                <a:cubicBezTo>
                  <a:pt x="401" y="59"/>
                  <a:pt x="401" y="59"/>
                  <a:pt x="400" y="60"/>
                </a:cubicBezTo>
                <a:cubicBezTo>
                  <a:pt x="396" y="62"/>
                  <a:pt x="392" y="63"/>
                  <a:pt x="388" y="64"/>
                </a:cubicBezTo>
                <a:cubicBezTo>
                  <a:pt x="387" y="65"/>
                  <a:pt x="387" y="65"/>
                  <a:pt x="387" y="65"/>
                </a:cubicBezTo>
                <a:cubicBezTo>
                  <a:pt x="387" y="65"/>
                  <a:pt x="388" y="65"/>
                  <a:pt x="388" y="65"/>
                </a:cubicBezTo>
                <a:cubicBezTo>
                  <a:pt x="389" y="65"/>
                  <a:pt x="391" y="66"/>
                  <a:pt x="392" y="67"/>
                </a:cubicBezTo>
                <a:cubicBezTo>
                  <a:pt x="392" y="67"/>
                  <a:pt x="393" y="68"/>
                  <a:pt x="392" y="68"/>
                </a:cubicBezTo>
                <a:cubicBezTo>
                  <a:pt x="393" y="69"/>
                  <a:pt x="394" y="70"/>
                  <a:pt x="393" y="71"/>
                </a:cubicBezTo>
                <a:cubicBezTo>
                  <a:pt x="393" y="78"/>
                  <a:pt x="380" y="78"/>
                  <a:pt x="374" y="76"/>
                </a:cubicBezTo>
                <a:cubicBezTo>
                  <a:pt x="373" y="75"/>
                  <a:pt x="371" y="73"/>
                  <a:pt x="370" y="72"/>
                </a:cubicBezTo>
                <a:cubicBezTo>
                  <a:pt x="368" y="73"/>
                  <a:pt x="366" y="74"/>
                  <a:pt x="366" y="73"/>
                </a:cubicBezTo>
                <a:cubicBezTo>
                  <a:pt x="365" y="72"/>
                  <a:pt x="367" y="71"/>
                  <a:pt x="369" y="70"/>
                </a:cubicBezTo>
                <a:cubicBezTo>
                  <a:pt x="369" y="70"/>
                  <a:pt x="369" y="70"/>
                  <a:pt x="369" y="70"/>
                </a:cubicBezTo>
                <a:cubicBezTo>
                  <a:pt x="368" y="69"/>
                  <a:pt x="366" y="69"/>
                  <a:pt x="366" y="69"/>
                </a:cubicBezTo>
                <a:cubicBezTo>
                  <a:pt x="366" y="67"/>
                  <a:pt x="370" y="65"/>
                  <a:pt x="374" y="64"/>
                </a:cubicBezTo>
                <a:cubicBezTo>
                  <a:pt x="369" y="65"/>
                  <a:pt x="362" y="65"/>
                  <a:pt x="358" y="66"/>
                </a:cubicBezTo>
                <a:cubicBezTo>
                  <a:pt x="358" y="66"/>
                  <a:pt x="351" y="68"/>
                  <a:pt x="351" y="67"/>
                </a:cubicBezTo>
                <a:cubicBezTo>
                  <a:pt x="350" y="66"/>
                  <a:pt x="356" y="66"/>
                  <a:pt x="357" y="65"/>
                </a:cubicBezTo>
                <a:cubicBezTo>
                  <a:pt x="363" y="65"/>
                  <a:pt x="372" y="62"/>
                  <a:pt x="379" y="62"/>
                </a:cubicBezTo>
                <a:cubicBezTo>
                  <a:pt x="379" y="62"/>
                  <a:pt x="379" y="62"/>
                  <a:pt x="379" y="62"/>
                </a:cubicBezTo>
                <a:cubicBezTo>
                  <a:pt x="379" y="62"/>
                  <a:pt x="380" y="62"/>
                  <a:pt x="379" y="62"/>
                </a:cubicBezTo>
                <a:cubicBezTo>
                  <a:pt x="379" y="63"/>
                  <a:pt x="379" y="63"/>
                  <a:pt x="378" y="63"/>
                </a:cubicBezTo>
                <a:cubicBezTo>
                  <a:pt x="379" y="63"/>
                  <a:pt x="381" y="63"/>
                  <a:pt x="382" y="63"/>
                </a:cubicBezTo>
                <a:cubicBezTo>
                  <a:pt x="382" y="62"/>
                  <a:pt x="383" y="61"/>
                  <a:pt x="383" y="61"/>
                </a:cubicBezTo>
                <a:cubicBezTo>
                  <a:pt x="384" y="61"/>
                  <a:pt x="384" y="62"/>
                  <a:pt x="384" y="62"/>
                </a:cubicBezTo>
                <a:cubicBezTo>
                  <a:pt x="385" y="61"/>
                  <a:pt x="385" y="60"/>
                  <a:pt x="386" y="60"/>
                </a:cubicBezTo>
                <a:cubicBezTo>
                  <a:pt x="387" y="59"/>
                  <a:pt x="389" y="59"/>
                  <a:pt x="390" y="59"/>
                </a:cubicBezTo>
                <a:cubicBezTo>
                  <a:pt x="392" y="58"/>
                  <a:pt x="393" y="57"/>
                  <a:pt x="395" y="56"/>
                </a:cubicBezTo>
                <a:cubicBezTo>
                  <a:pt x="396" y="56"/>
                  <a:pt x="396" y="56"/>
                  <a:pt x="396" y="56"/>
                </a:cubicBezTo>
                <a:cubicBezTo>
                  <a:pt x="398" y="55"/>
                  <a:pt x="399" y="53"/>
                  <a:pt x="400" y="52"/>
                </a:cubicBezTo>
                <a:cubicBezTo>
                  <a:pt x="401" y="52"/>
                  <a:pt x="402" y="53"/>
                  <a:pt x="402" y="52"/>
                </a:cubicBezTo>
                <a:cubicBezTo>
                  <a:pt x="404" y="52"/>
                  <a:pt x="405" y="51"/>
                  <a:pt x="407" y="50"/>
                </a:cubicBezTo>
                <a:cubicBezTo>
                  <a:pt x="409" y="50"/>
                  <a:pt x="411" y="48"/>
                  <a:pt x="411" y="48"/>
                </a:cubicBezTo>
                <a:cubicBezTo>
                  <a:pt x="412" y="48"/>
                  <a:pt x="412" y="49"/>
                  <a:pt x="412" y="49"/>
                </a:cubicBezTo>
                <a:cubicBezTo>
                  <a:pt x="413" y="48"/>
                  <a:pt x="413" y="48"/>
                  <a:pt x="413" y="47"/>
                </a:cubicBezTo>
                <a:cubicBezTo>
                  <a:pt x="414" y="47"/>
                  <a:pt x="414" y="48"/>
                  <a:pt x="415" y="48"/>
                </a:cubicBezTo>
                <a:cubicBezTo>
                  <a:pt x="415" y="47"/>
                  <a:pt x="415" y="47"/>
                  <a:pt x="416" y="46"/>
                </a:cubicBezTo>
                <a:cubicBezTo>
                  <a:pt x="416" y="46"/>
                  <a:pt x="416" y="47"/>
                  <a:pt x="417" y="47"/>
                </a:cubicBezTo>
                <a:cubicBezTo>
                  <a:pt x="417" y="47"/>
                  <a:pt x="417" y="46"/>
                  <a:pt x="418" y="45"/>
                </a:cubicBezTo>
                <a:cubicBezTo>
                  <a:pt x="419" y="45"/>
                  <a:pt x="419" y="46"/>
                  <a:pt x="420" y="45"/>
                </a:cubicBezTo>
                <a:cubicBezTo>
                  <a:pt x="420" y="45"/>
                  <a:pt x="420" y="44"/>
                  <a:pt x="421" y="44"/>
                </a:cubicBezTo>
                <a:cubicBezTo>
                  <a:pt x="422" y="43"/>
                  <a:pt x="424" y="43"/>
                  <a:pt x="425" y="42"/>
                </a:cubicBezTo>
                <a:cubicBezTo>
                  <a:pt x="427" y="40"/>
                  <a:pt x="432" y="39"/>
                  <a:pt x="435" y="36"/>
                </a:cubicBezTo>
                <a:cubicBezTo>
                  <a:pt x="438" y="35"/>
                  <a:pt x="441" y="33"/>
                  <a:pt x="444" y="32"/>
                </a:cubicBezTo>
                <a:cubicBezTo>
                  <a:pt x="444" y="32"/>
                  <a:pt x="443" y="32"/>
                  <a:pt x="443" y="32"/>
                </a:cubicBezTo>
                <a:cubicBezTo>
                  <a:pt x="440" y="31"/>
                  <a:pt x="439" y="28"/>
                  <a:pt x="438" y="28"/>
                </a:cubicBezTo>
                <a:cubicBezTo>
                  <a:pt x="437" y="28"/>
                  <a:pt x="437" y="28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5" y="30"/>
                  <a:pt x="434" y="30"/>
                  <a:pt x="433" y="31"/>
                </a:cubicBezTo>
                <a:cubicBezTo>
                  <a:pt x="432" y="31"/>
                  <a:pt x="431" y="31"/>
                  <a:pt x="431" y="30"/>
                </a:cubicBezTo>
                <a:cubicBezTo>
                  <a:pt x="431" y="30"/>
                  <a:pt x="431" y="30"/>
                  <a:pt x="431" y="30"/>
                </a:cubicBezTo>
                <a:cubicBezTo>
                  <a:pt x="430" y="30"/>
                  <a:pt x="430" y="31"/>
                  <a:pt x="429" y="31"/>
                </a:cubicBezTo>
                <a:cubicBezTo>
                  <a:pt x="428" y="32"/>
                  <a:pt x="425" y="32"/>
                  <a:pt x="424" y="31"/>
                </a:cubicBezTo>
                <a:cubicBezTo>
                  <a:pt x="424" y="31"/>
                  <a:pt x="425" y="30"/>
                  <a:pt x="426" y="30"/>
                </a:cubicBezTo>
                <a:cubicBezTo>
                  <a:pt x="426" y="30"/>
                  <a:pt x="425" y="29"/>
                  <a:pt x="425" y="29"/>
                </a:cubicBezTo>
                <a:cubicBezTo>
                  <a:pt x="424" y="30"/>
                  <a:pt x="423" y="30"/>
                  <a:pt x="423" y="30"/>
                </a:cubicBezTo>
                <a:cubicBezTo>
                  <a:pt x="418" y="29"/>
                  <a:pt x="416" y="25"/>
                  <a:pt x="419" y="23"/>
                </a:cubicBezTo>
                <a:cubicBezTo>
                  <a:pt x="421" y="21"/>
                  <a:pt x="429" y="22"/>
                  <a:pt x="429" y="26"/>
                </a:cubicBezTo>
                <a:cubicBezTo>
                  <a:pt x="429" y="29"/>
                  <a:pt x="428" y="27"/>
                  <a:pt x="431" y="27"/>
                </a:cubicBezTo>
                <a:cubicBezTo>
                  <a:pt x="434" y="26"/>
                  <a:pt x="435" y="27"/>
                  <a:pt x="436" y="25"/>
                </a:cubicBezTo>
                <a:cubicBezTo>
                  <a:pt x="439" y="21"/>
                  <a:pt x="442" y="21"/>
                  <a:pt x="446" y="22"/>
                </a:cubicBezTo>
                <a:cubicBezTo>
                  <a:pt x="446" y="21"/>
                  <a:pt x="448" y="21"/>
                  <a:pt x="449" y="22"/>
                </a:cubicBezTo>
                <a:cubicBezTo>
                  <a:pt x="450" y="22"/>
                  <a:pt x="450" y="21"/>
                  <a:pt x="451" y="21"/>
                </a:cubicBezTo>
                <a:cubicBezTo>
                  <a:pt x="452" y="22"/>
                  <a:pt x="451" y="23"/>
                  <a:pt x="450" y="24"/>
                </a:cubicBezTo>
                <a:cubicBezTo>
                  <a:pt x="451" y="25"/>
                  <a:pt x="452" y="26"/>
                  <a:pt x="452" y="28"/>
                </a:cubicBezTo>
                <a:cubicBezTo>
                  <a:pt x="451" y="28"/>
                  <a:pt x="451" y="29"/>
                  <a:pt x="451" y="30"/>
                </a:cubicBezTo>
                <a:cubicBezTo>
                  <a:pt x="451" y="29"/>
                  <a:pt x="451" y="29"/>
                  <a:pt x="452" y="29"/>
                </a:cubicBezTo>
                <a:cubicBezTo>
                  <a:pt x="453" y="29"/>
                  <a:pt x="455" y="29"/>
                  <a:pt x="457" y="29"/>
                </a:cubicBezTo>
                <a:cubicBezTo>
                  <a:pt x="458" y="28"/>
                  <a:pt x="458" y="27"/>
                  <a:pt x="460" y="27"/>
                </a:cubicBezTo>
                <a:cubicBezTo>
                  <a:pt x="461" y="26"/>
                  <a:pt x="463" y="26"/>
                  <a:pt x="465" y="26"/>
                </a:cubicBezTo>
                <a:cubicBezTo>
                  <a:pt x="463" y="25"/>
                  <a:pt x="462" y="25"/>
                  <a:pt x="460" y="25"/>
                </a:cubicBezTo>
                <a:cubicBezTo>
                  <a:pt x="462" y="25"/>
                  <a:pt x="462" y="23"/>
                  <a:pt x="461" y="23"/>
                </a:cubicBezTo>
                <a:cubicBezTo>
                  <a:pt x="461" y="23"/>
                  <a:pt x="462" y="21"/>
                  <a:pt x="463" y="20"/>
                </a:cubicBezTo>
                <a:cubicBezTo>
                  <a:pt x="464" y="20"/>
                  <a:pt x="465" y="20"/>
                  <a:pt x="466" y="20"/>
                </a:cubicBezTo>
                <a:cubicBezTo>
                  <a:pt x="466" y="20"/>
                  <a:pt x="467" y="20"/>
                  <a:pt x="468" y="20"/>
                </a:cubicBezTo>
                <a:cubicBezTo>
                  <a:pt x="468" y="21"/>
                  <a:pt x="467" y="21"/>
                  <a:pt x="466" y="21"/>
                </a:cubicBezTo>
                <a:cubicBezTo>
                  <a:pt x="468" y="22"/>
                  <a:pt x="468" y="23"/>
                  <a:pt x="468" y="24"/>
                </a:cubicBezTo>
                <a:cubicBezTo>
                  <a:pt x="469" y="23"/>
                  <a:pt x="470" y="23"/>
                  <a:pt x="471" y="22"/>
                </a:cubicBezTo>
                <a:cubicBezTo>
                  <a:pt x="471" y="22"/>
                  <a:pt x="470" y="22"/>
                  <a:pt x="470" y="21"/>
                </a:cubicBezTo>
                <a:cubicBezTo>
                  <a:pt x="469" y="20"/>
                  <a:pt x="471" y="19"/>
                  <a:pt x="473" y="19"/>
                </a:cubicBezTo>
                <a:cubicBezTo>
                  <a:pt x="473" y="19"/>
                  <a:pt x="473" y="19"/>
                  <a:pt x="473" y="19"/>
                </a:cubicBezTo>
                <a:cubicBezTo>
                  <a:pt x="456" y="13"/>
                  <a:pt x="438" y="9"/>
                  <a:pt x="419" y="5"/>
                </a:cubicBezTo>
                <a:cubicBezTo>
                  <a:pt x="427" y="10"/>
                  <a:pt x="416" y="16"/>
                  <a:pt x="410" y="12"/>
                </a:cubicBezTo>
                <a:cubicBezTo>
                  <a:pt x="408" y="10"/>
                  <a:pt x="409" y="9"/>
                  <a:pt x="407" y="7"/>
                </a:cubicBezTo>
                <a:cubicBezTo>
                  <a:pt x="408" y="6"/>
                  <a:pt x="410" y="5"/>
                  <a:pt x="412" y="4"/>
                </a:cubicBezTo>
                <a:cubicBezTo>
                  <a:pt x="408" y="4"/>
                  <a:pt x="405" y="3"/>
                  <a:pt x="401" y="3"/>
                </a:cubicBezTo>
                <a:cubicBezTo>
                  <a:pt x="401" y="3"/>
                  <a:pt x="401" y="3"/>
                  <a:pt x="401" y="3"/>
                </a:cubicBezTo>
                <a:cubicBezTo>
                  <a:pt x="398" y="2"/>
                  <a:pt x="396" y="2"/>
                  <a:pt x="393" y="2"/>
                </a:cubicBezTo>
                <a:cubicBezTo>
                  <a:pt x="392" y="6"/>
                  <a:pt x="385" y="4"/>
                  <a:pt x="382" y="1"/>
                </a:cubicBezTo>
                <a:cubicBezTo>
                  <a:pt x="374" y="0"/>
                  <a:pt x="366" y="0"/>
                  <a:pt x="357" y="0"/>
                </a:cubicBezTo>
                <a:cubicBezTo>
                  <a:pt x="343" y="0"/>
                  <a:pt x="328" y="1"/>
                  <a:pt x="314" y="3"/>
                </a:cubicBezTo>
                <a:cubicBezTo>
                  <a:pt x="314" y="3"/>
                  <a:pt x="314" y="3"/>
                  <a:pt x="315" y="3"/>
                </a:cubicBezTo>
                <a:cubicBezTo>
                  <a:pt x="315" y="3"/>
                  <a:pt x="315" y="3"/>
                  <a:pt x="315" y="3"/>
                </a:cubicBezTo>
                <a:cubicBezTo>
                  <a:pt x="315" y="4"/>
                  <a:pt x="314" y="3"/>
                  <a:pt x="314" y="3"/>
                </a:cubicBezTo>
                <a:cubicBezTo>
                  <a:pt x="138" y="24"/>
                  <a:pt x="1" y="173"/>
                  <a:pt x="0" y="354"/>
                </a:cubicBezTo>
                <a:cubicBezTo>
                  <a:pt x="0" y="354"/>
                  <a:pt x="0" y="353"/>
                  <a:pt x="1" y="353"/>
                </a:cubicBezTo>
                <a:cubicBezTo>
                  <a:pt x="1" y="353"/>
                  <a:pt x="2" y="356"/>
                  <a:pt x="1" y="356"/>
                </a:cubicBezTo>
                <a:cubicBezTo>
                  <a:pt x="0" y="357"/>
                  <a:pt x="0" y="356"/>
                  <a:pt x="0" y="356"/>
                </a:cubicBezTo>
                <a:cubicBezTo>
                  <a:pt x="0" y="356"/>
                  <a:pt x="0" y="357"/>
                  <a:pt x="0" y="357"/>
                </a:cubicBezTo>
                <a:cubicBezTo>
                  <a:pt x="0" y="375"/>
                  <a:pt x="1" y="392"/>
                  <a:pt x="4" y="409"/>
                </a:cubicBezTo>
                <a:cubicBezTo>
                  <a:pt x="4" y="409"/>
                  <a:pt x="4" y="409"/>
                  <a:pt x="4" y="409"/>
                </a:cubicBezTo>
                <a:cubicBezTo>
                  <a:pt x="5" y="409"/>
                  <a:pt x="5" y="412"/>
                  <a:pt x="5" y="412"/>
                </a:cubicBezTo>
                <a:cubicBezTo>
                  <a:pt x="4" y="413"/>
                  <a:pt x="4" y="413"/>
                  <a:pt x="4" y="413"/>
                </a:cubicBezTo>
                <a:cubicBezTo>
                  <a:pt x="5" y="418"/>
                  <a:pt x="6" y="424"/>
                  <a:pt x="7" y="429"/>
                </a:cubicBezTo>
                <a:cubicBezTo>
                  <a:pt x="8" y="429"/>
                  <a:pt x="8" y="429"/>
                  <a:pt x="8" y="429"/>
                </a:cubicBezTo>
                <a:cubicBezTo>
                  <a:pt x="9" y="430"/>
                  <a:pt x="8" y="430"/>
                  <a:pt x="7" y="431"/>
                </a:cubicBezTo>
                <a:cubicBezTo>
                  <a:pt x="8" y="433"/>
                  <a:pt x="8" y="435"/>
                  <a:pt x="9" y="438"/>
                </a:cubicBezTo>
                <a:cubicBezTo>
                  <a:pt x="9" y="438"/>
                  <a:pt x="9" y="438"/>
                  <a:pt x="9" y="438"/>
                </a:cubicBezTo>
                <a:cubicBezTo>
                  <a:pt x="9" y="440"/>
                  <a:pt x="10" y="441"/>
                  <a:pt x="10" y="443"/>
                </a:cubicBezTo>
                <a:cubicBezTo>
                  <a:pt x="10" y="443"/>
                  <a:pt x="10" y="443"/>
                  <a:pt x="10" y="442"/>
                </a:cubicBezTo>
                <a:cubicBezTo>
                  <a:pt x="10" y="442"/>
                  <a:pt x="10" y="442"/>
                  <a:pt x="10" y="441"/>
                </a:cubicBezTo>
                <a:cubicBezTo>
                  <a:pt x="10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2" y="441"/>
                  <a:pt x="13" y="440"/>
                  <a:pt x="14" y="440"/>
                </a:cubicBezTo>
                <a:cubicBezTo>
                  <a:pt x="14" y="439"/>
                  <a:pt x="15" y="438"/>
                  <a:pt x="16" y="439"/>
                </a:cubicBezTo>
                <a:cubicBezTo>
                  <a:pt x="17" y="439"/>
                  <a:pt x="17" y="439"/>
                  <a:pt x="18" y="440"/>
                </a:cubicBezTo>
                <a:cubicBezTo>
                  <a:pt x="20" y="443"/>
                  <a:pt x="19" y="438"/>
                  <a:pt x="18" y="438"/>
                </a:cubicBezTo>
                <a:cubicBezTo>
                  <a:pt x="18" y="438"/>
                  <a:pt x="18" y="438"/>
                  <a:pt x="17" y="437"/>
                </a:cubicBezTo>
                <a:cubicBezTo>
                  <a:pt x="17" y="437"/>
                  <a:pt x="17" y="437"/>
                  <a:pt x="17" y="436"/>
                </a:cubicBezTo>
                <a:cubicBezTo>
                  <a:pt x="17" y="435"/>
                  <a:pt x="17" y="432"/>
                  <a:pt x="17" y="431"/>
                </a:cubicBezTo>
                <a:cubicBezTo>
                  <a:pt x="17" y="433"/>
                  <a:pt x="18" y="434"/>
                  <a:pt x="19" y="435"/>
                </a:cubicBezTo>
                <a:cubicBezTo>
                  <a:pt x="19" y="435"/>
                  <a:pt x="19" y="435"/>
                  <a:pt x="19" y="435"/>
                </a:cubicBezTo>
                <a:cubicBezTo>
                  <a:pt x="20" y="435"/>
                  <a:pt x="19" y="436"/>
                  <a:pt x="19" y="436"/>
                </a:cubicBezTo>
                <a:cubicBezTo>
                  <a:pt x="19" y="437"/>
                  <a:pt x="19" y="437"/>
                  <a:pt x="19" y="438"/>
                </a:cubicBezTo>
                <a:cubicBezTo>
                  <a:pt x="20" y="437"/>
                  <a:pt x="19" y="435"/>
                  <a:pt x="21" y="434"/>
                </a:cubicBezTo>
                <a:cubicBezTo>
                  <a:pt x="20" y="436"/>
                  <a:pt x="20" y="437"/>
                  <a:pt x="21" y="438"/>
                </a:cubicBezTo>
                <a:cubicBezTo>
                  <a:pt x="21" y="438"/>
                  <a:pt x="22" y="438"/>
                  <a:pt x="22" y="438"/>
                </a:cubicBezTo>
                <a:cubicBezTo>
                  <a:pt x="22" y="438"/>
                  <a:pt x="22" y="438"/>
                  <a:pt x="22" y="438"/>
                </a:cubicBezTo>
                <a:cubicBezTo>
                  <a:pt x="23" y="438"/>
                  <a:pt x="23" y="438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3" y="435"/>
                  <a:pt x="23" y="434"/>
                  <a:pt x="23" y="434"/>
                </a:cubicBezTo>
                <a:cubicBezTo>
                  <a:pt x="23" y="433"/>
                  <a:pt x="22" y="433"/>
                  <a:pt x="21" y="434"/>
                </a:cubicBezTo>
                <a:cubicBezTo>
                  <a:pt x="20" y="434"/>
                  <a:pt x="20" y="435"/>
                  <a:pt x="19" y="434"/>
                </a:cubicBezTo>
                <a:cubicBezTo>
                  <a:pt x="19" y="434"/>
                  <a:pt x="19" y="434"/>
                  <a:pt x="19" y="433"/>
                </a:cubicBezTo>
                <a:cubicBezTo>
                  <a:pt x="19" y="433"/>
                  <a:pt x="19" y="433"/>
                  <a:pt x="19" y="433"/>
                </a:cubicBezTo>
                <a:cubicBezTo>
                  <a:pt x="18" y="433"/>
                  <a:pt x="19" y="431"/>
                  <a:pt x="18" y="429"/>
                </a:cubicBezTo>
                <a:cubicBezTo>
                  <a:pt x="17" y="430"/>
                  <a:pt x="16" y="429"/>
                  <a:pt x="16" y="426"/>
                </a:cubicBezTo>
                <a:cubicBezTo>
                  <a:pt x="16" y="426"/>
                  <a:pt x="16" y="426"/>
                  <a:pt x="16" y="426"/>
                </a:cubicBezTo>
                <a:cubicBezTo>
                  <a:pt x="16" y="427"/>
                  <a:pt x="14" y="432"/>
                  <a:pt x="15" y="433"/>
                </a:cubicBezTo>
                <a:cubicBezTo>
                  <a:pt x="15" y="433"/>
                  <a:pt x="16" y="437"/>
                  <a:pt x="14" y="435"/>
                </a:cubicBezTo>
                <a:cubicBezTo>
                  <a:pt x="12" y="434"/>
                  <a:pt x="15" y="429"/>
                  <a:pt x="15" y="426"/>
                </a:cubicBezTo>
                <a:cubicBezTo>
                  <a:pt x="14" y="426"/>
                  <a:pt x="14" y="426"/>
                  <a:pt x="14" y="425"/>
                </a:cubicBezTo>
                <a:cubicBezTo>
                  <a:pt x="13" y="424"/>
                  <a:pt x="14" y="424"/>
                  <a:pt x="14" y="423"/>
                </a:cubicBezTo>
                <a:cubicBezTo>
                  <a:pt x="14" y="423"/>
                  <a:pt x="14" y="422"/>
                  <a:pt x="15" y="422"/>
                </a:cubicBezTo>
                <a:cubicBezTo>
                  <a:pt x="14" y="421"/>
                  <a:pt x="13" y="422"/>
                  <a:pt x="12" y="421"/>
                </a:cubicBezTo>
                <a:cubicBezTo>
                  <a:pt x="13" y="421"/>
                  <a:pt x="11" y="419"/>
                  <a:pt x="11" y="420"/>
                </a:cubicBezTo>
                <a:cubicBezTo>
                  <a:pt x="11" y="417"/>
                  <a:pt x="14" y="417"/>
                  <a:pt x="15" y="419"/>
                </a:cubicBezTo>
                <a:cubicBezTo>
                  <a:pt x="14" y="418"/>
                  <a:pt x="16" y="419"/>
                  <a:pt x="17" y="418"/>
                </a:cubicBezTo>
                <a:cubicBezTo>
                  <a:pt x="16" y="418"/>
                  <a:pt x="17" y="413"/>
                  <a:pt x="19" y="413"/>
                </a:cubicBezTo>
                <a:cubicBezTo>
                  <a:pt x="19" y="413"/>
                  <a:pt x="18" y="416"/>
                  <a:pt x="19" y="417"/>
                </a:cubicBezTo>
                <a:cubicBezTo>
                  <a:pt x="19" y="417"/>
                  <a:pt x="19" y="417"/>
                  <a:pt x="19" y="417"/>
                </a:cubicBezTo>
                <a:cubicBezTo>
                  <a:pt x="19" y="417"/>
                  <a:pt x="19" y="416"/>
                  <a:pt x="20" y="417"/>
                </a:cubicBezTo>
                <a:cubicBezTo>
                  <a:pt x="20" y="417"/>
                  <a:pt x="21" y="418"/>
                  <a:pt x="20" y="419"/>
                </a:cubicBezTo>
                <a:cubicBezTo>
                  <a:pt x="20" y="419"/>
                  <a:pt x="20" y="419"/>
                  <a:pt x="20" y="419"/>
                </a:cubicBezTo>
                <a:cubicBezTo>
                  <a:pt x="21" y="419"/>
                  <a:pt x="20" y="420"/>
                  <a:pt x="19" y="420"/>
                </a:cubicBezTo>
                <a:cubicBezTo>
                  <a:pt x="17" y="421"/>
                  <a:pt x="19" y="421"/>
                  <a:pt x="20" y="422"/>
                </a:cubicBezTo>
                <a:cubicBezTo>
                  <a:pt x="20" y="422"/>
                  <a:pt x="20" y="422"/>
                  <a:pt x="21" y="422"/>
                </a:cubicBezTo>
                <a:cubicBezTo>
                  <a:pt x="21" y="422"/>
                  <a:pt x="21" y="422"/>
                  <a:pt x="21" y="422"/>
                </a:cubicBezTo>
                <a:cubicBezTo>
                  <a:pt x="22" y="423"/>
                  <a:pt x="22" y="423"/>
                  <a:pt x="22" y="424"/>
                </a:cubicBezTo>
                <a:cubicBezTo>
                  <a:pt x="22" y="424"/>
                  <a:pt x="23" y="423"/>
                  <a:pt x="24" y="423"/>
                </a:cubicBezTo>
                <a:cubicBezTo>
                  <a:pt x="25" y="423"/>
                  <a:pt x="24" y="425"/>
                  <a:pt x="26" y="425"/>
                </a:cubicBezTo>
                <a:cubicBezTo>
                  <a:pt x="26" y="425"/>
                  <a:pt x="26" y="425"/>
                  <a:pt x="26" y="425"/>
                </a:cubicBezTo>
                <a:cubicBezTo>
                  <a:pt x="27" y="422"/>
                  <a:pt x="30" y="417"/>
                  <a:pt x="26" y="418"/>
                </a:cubicBezTo>
                <a:cubicBezTo>
                  <a:pt x="29" y="416"/>
                  <a:pt x="25" y="414"/>
                  <a:pt x="24" y="414"/>
                </a:cubicBezTo>
                <a:cubicBezTo>
                  <a:pt x="23" y="412"/>
                  <a:pt x="25" y="415"/>
                  <a:pt x="25" y="414"/>
                </a:cubicBezTo>
                <a:cubicBezTo>
                  <a:pt x="27" y="413"/>
                  <a:pt x="24" y="411"/>
                  <a:pt x="24" y="408"/>
                </a:cubicBezTo>
                <a:cubicBezTo>
                  <a:pt x="24" y="408"/>
                  <a:pt x="26" y="406"/>
                  <a:pt x="26" y="406"/>
                </a:cubicBezTo>
                <a:cubicBezTo>
                  <a:pt x="27" y="404"/>
                  <a:pt x="24" y="405"/>
                  <a:pt x="27" y="404"/>
                </a:cubicBezTo>
                <a:cubicBezTo>
                  <a:pt x="29" y="404"/>
                  <a:pt x="29" y="400"/>
                  <a:pt x="30" y="399"/>
                </a:cubicBezTo>
                <a:cubicBezTo>
                  <a:pt x="30" y="399"/>
                  <a:pt x="34" y="398"/>
                  <a:pt x="34" y="396"/>
                </a:cubicBezTo>
                <a:cubicBezTo>
                  <a:pt x="30" y="400"/>
                  <a:pt x="28" y="395"/>
                  <a:pt x="29" y="394"/>
                </a:cubicBezTo>
                <a:cubicBezTo>
                  <a:pt x="29" y="394"/>
                  <a:pt x="28" y="391"/>
                  <a:pt x="31" y="391"/>
                </a:cubicBezTo>
                <a:cubicBezTo>
                  <a:pt x="33" y="390"/>
                  <a:pt x="32" y="391"/>
                  <a:pt x="34" y="389"/>
                </a:cubicBezTo>
                <a:cubicBezTo>
                  <a:pt x="35" y="388"/>
                  <a:pt x="34" y="396"/>
                  <a:pt x="35" y="396"/>
                </a:cubicBezTo>
                <a:cubicBezTo>
                  <a:pt x="36" y="398"/>
                  <a:pt x="36" y="395"/>
                  <a:pt x="37" y="398"/>
                </a:cubicBezTo>
                <a:cubicBezTo>
                  <a:pt x="38" y="404"/>
                  <a:pt x="42" y="414"/>
                  <a:pt x="34" y="417"/>
                </a:cubicBezTo>
                <a:cubicBezTo>
                  <a:pt x="32" y="418"/>
                  <a:pt x="31" y="417"/>
                  <a:pt x="30" y="418"/>
                </a:cubicBezTo>
                <a:cubicBezTo>
                  <a:pt x="28" y="420"/>
                  <a:pt x="28" y="422"/>
                  <a:pt x="27" y="425"/>
                </a:cubicBezTo>
                <a:cubicBezTo>
                  <a:pt x="27" y="425"/>
                  <a:pt x="27" y="425"/>
                  <a:pt x="27" y="425"/>
                </a:cubicBezTo>
                <a:cubicBezTo>
                  <a:pt x="28" y="425"/>
                  <a:pt x="27" y="426"/>
                  <a:pt x="28" y="427"/>
                </a:cubicBezTo>
                <a:cubicBezTo>
                  <a:pt x="28" y="427"/>
                  <a:pt x="29" y="427"/>
                  <a:pt x="30" y="427"/>
                </a:cubicBezTo>
                <a:cubicBezTo>
                  <a:pt x="30" y="426"/>
                  <a:pt x="30" y="426"/>
                  <a:pt x="31" y="426"/>
                </a:cubicBezTo>
                <a:cubicBezTo>
                  <a:pt x="31" y="426"/>
                  <a:pt x="31" y="426"/>
                  <a:pt x="31" y="427"/>
                </a:cubicBezTo>
                <a:cubicBezTo>
                  <a:pt x="31" y="427"/>
                  <a:pt x="32" y="427"/>
                  <a:pt x="32" y="427"/>
                </a:cubicBezTo>
                <a:cubicBezTo>
                  <a:pt x="32" y="428"/>
                  <a:pt x="31" y="430"/>
                  <a:pt x="33" y="429"/>
                </a:cubicBezTo>
                <a:cubicBezTo>
                  <a:pt x="33" y="430"/>
                  <a:pt x="33" y="432"/>
                  <a:pt x="33" y="433"/>
                </a:cubicBezTo>
                <a:cubicBezTo>
                  <a:pt x="33" y="433"/>
                  <a:pt x="33" y="433"/>
                  <a:pt x="33" y="433"/>
                </a:cubicBezTo>
                <a:cubicBezTo>
                  <a:pt x="34" y="433"/>
                  <a:pt x="36" y="432"/>
                  <a:pt x="35" y="432"/>
                </a:cubicBezTo>
                <a:cubicBezTo>
                  <a:pt x="36" y="432"/>
                  <a:pt x="35" y="435"/>
                  <a:pt x="34" y="436"/>
                </a:cubicBezTo>
                <a:cubicBezTo>
                  <a:pt x="34" y="437"/>
                  <a:pt x="34" y="437"/>
                  <a:pt x="35" y="437"/>
                </a:cubicBezTo>
                <a:cubicBezTo>
                  <a:pt x="34" y="437"/>
                  <a:pt x="38" y="431"/>
                  <a:pt x="39" y="435"/>
                </a:cubicBezTo>
                <a:cubicBezTo>
                  <a:pt x="39" y="434"/>
                  <a:pt x="39" y="434"/>
                  <a:pt x="39" y="434"/>
                </a:cubicBezTo>
                <a:cubicBezTo>
                  <a:pt x="39" y="434"/>
                  <a:pt x="41" y="432"/>
                  <a:pt x="41" y="432"/>
                </a:cubicBezTo>
                <a:cubicBezTo>
                  <a:pt x="43" y="433"/>
                  <a:pt x="41" y="437"/>
                  <a:pt x="40" y="439"/>
                </a:cubicBezTo>
                <a:cubicBezTo>
                  <a:pt x="42" y="439"/>
                  <a:pt x="43" y="440"/>
                  <a:pt x="42" y="441"/>
                </a:cubicBezTo>
                <a:cubicBezTo>
                  <a:pt x="42" y="441"/>
                  <a:pt x="42" y="442"/>
                  <a:pt x="42" y="442"/>
                </a:cubicBezTo>
                <a:cubicBezTo>
                  <a:pt x="42" y="442"/>
                  <a:pt x="42" y="443"/>
                  <a:pt x="41" y="443"/>
                </a:cubicBezTo>
                <a:cubicBezTo>
                  <a:pt x="41" y="443"/>
                  <a:pt x="40" y="444"/>
                  <a:pt x="40" y="444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5"/>
                  <a:pt x="39" y="447"/>
                  <a:pt x="38" y="448"/>
                </a:cubicBezTo>
                <a:cubicBezTo>
                  <a:pt x="38" y="449"/>
                  <a:pt x="38" y="449"/>
                  <a:pt x="38" y="450"/>
                </a:cubicBezTo>
                <a:cubicBezTo>
                  <a:pt x="38" y="450"/>
                  <a:pt x="38" y="450"/>
                  <a:pt x="39" y="450"/>
                </a:cubicBezTo>
                <a:cubicBezTo>
                  <a:pt x="39" y="449"/>
                  <a:pt x="40" y="448"/>
                  <a:pt x="41" y="447"/>
                </a:cubicBezTo>
                <a:cubicBezTo>
                  <a:pt x="41" y="448"/>
                  <a:pt x="40" y="450"/>
                  <a:pt x="39" y="451"/>
                </a:cubicBezTo>
                <a:cubicBezTo>
                  <a:pt x="39" y="451"/>
                  <a:pt x="39" y="451"/>
                  <a:pt x="39" y="451"/>
                </a:cubicBezTo>
                <a:cubicBezTo>
                  <a:pt x="39" y="451"/>
                  <a:pt x="40" y="451"/>
                  <a:pt x="40" y="451"/>
                </a:cubicBezTo>
                <a:cubicBezTo>
                  <a:pt x="40" y="451"/>
                  <a:pt x="39" y="452"/>
                  <a:pt x="39" y="451"/>
                </a:cubicBezTo>
                <a:cubicBezTo>
                  <a:pt x="38" y="453"/>
                  <a:pt x="35" y="455"/>
                  <a:pt x="35" y="457"/>
                </a:cubicBezTo>
                <a:cubicBezTo>
                  <a:pt x="35" y="456"/>
                  <a:pt x="35" y="456"/>
                  <a:pt x="35" y="456"/>
                </a:cubicBezTo>
                <a:cubicBezTo>
                  <a:pt x="36" y="456"/>
                  <a:pt x="36" y="458"/>
                  <a:pt x="36" y="459"/>
                </a:cubicBezTo>
                <a:cubicBezTo>
                  <a:pt x="36" y="459"/>
                  <a:pt x="37" y="459"/>
                  <a:pt x="37" y="460"/>
                </a:cubicBezTo>
                <a:cubicBezTo>
                  <a:pt x="37" y="461"/>
                  <a:pt x="35" y="463"/>
                  <a:pt x="34" y="463"/>
                </a:cubicBezTo>
                <a:cubicBezTo>
                  <a:pt x="34" y="463"/>
                  <a:pt x="34" y="462"/>
                  <a:pt x="34" y="462"/>
                </a:cubicBezTo>
                <a:cubicBezTo>
                  <a:pt x="34" y="462"/>
                  <a:pt x="34" y="462"/>
                  <a:pt x="34" y="462"/>
                </a:cubicBezTo>
                <a:cubicBezTo>
                  <a:pt x="34" y="462"/>
                  <a:pt x="33" y="463"/>
                  <a:pt x="33" y="463"/>
                </a:cubicBezTo>
                <a:cubicBezTo>
                  <a:pt x="31" y="462"/>
                  <a:pt x="33" y="461"/>
                  <a:pt x="34" y="461"/>
                </a:cubicBezTo>
                <a:cubicBezTo>
                  <a:pt x="34" y="461"/>
                  <a:pt x="34" y="460"/>
                  <a:pt x="33" y="460"/>
                </a:cubicBezTo>
                <a:cubicBezTo>
                  <a:pt x="33" y="460"/>
                  <a:pt x="33" y="460"/>
                  <a:pt x="33" y="461"/>
                </a:cubicBezTo>
                <a:cubicBezTo>
                  <a:pt x="32" y="462"/>
                  <a:pt x="31" y="461"/>
                  <a:pt x="32" y="460"/>
                </a:cubicBezTo>
                <a:cubicBezTo>
                  <a:pt x="29" y="460"/>
                  <a:pt x="23" y="461"/>
                  <a:pt x="24" y="461"/>
                </a:cubicBezTo>
                <a:cubicBezTo>
                  <a:pt x="23" y="461"/>
                  <a:pt x="21" y="469"/>
                  <a:pt x="21" y="464"/>
                </a:cubicBezTo>
                <a:cubicBezTo>
                  <a:pt x="21" y="464"/>
                  <a:pt x="21" y="465"/>
                  <a:pt x="20" y="465"/>
                </a:cubicBezTo>
                <a:cubicBezTo>
                  <a:pt x="20" y="465"/>
                  <a:pt x="20" y="465"/>
                  <a:pt x="20" y="465"/>
                </a:cubicBezTo>
                <a:cubicBezTo>
                  <a:pt x="20" y="465"/>
                  <a:pt x="20" y="466"/>
                  <a:pt x="19" y="465"/>
                </a:cubicBezTo>
                <a:cubicBezTo>
                  <a:pt x="19" y="465"/>
                  <a:pt x="19" y="466"/>
                  <a:pt x="19" y="466"/>
                </a:cubicBezTo>
                <a:cubicBezTo>
                  <a:pt x="19" y="467"/>
                  <a:pt x="18" y="465"/>
                  <a:pt x="18" y="465"/>
                </a:cubicBezTo>
                <a:cubicBezTo>
                  <a:pt x="17" y="464"/>
                  <a:pt x="17" y="464"/>
                  <a:pt x="16" y="464"/>
                </a:cubicBezTo>
                <a:cubicBezTo>
                  <a:pt x="16" y="464"/>
                  <a:pt x="16" y="463"/>
                  <a:pt x="16" y="463"/>
                </a:cubicBezTo>
                <a:cubicBezTo>
                  <a:pt x="17" y="466"/>
                  <a:pt x="17" y="468"/>
                  <a:pt x="18" y="470"/>
                </a:cubicBezTo>
                <a:cubicBezTo>
                  <a:pt x="18" y="471"/>
                  <a:pt x="19" y="471"/>
                  <a:pt x="18" y="471"/>
                </a:cubicBezTo>
                <a:cubicBezTo>
                  <a:pt x="18" y="472"/>
                  <a:pt x="19" y="472"/>
                  <a:pt x="19" y="472"/>
                </a:cubicBezTo>
                <a:cubicBezTo>
                  <a:pt x="19" y="472"/>
                  <a:pt x="19" y="472"/>
                  <a:pt x="19" y="471"/>
                </a:cubicBezTo>
                <a:cubicBezTo>
                  <a:pt x="20" y="470"/>
                  <a:pt x="21" y="470"/>
                  <a:pt x="22" y="469"/>
                </a:cubicBezTo>
                <a:cubicBezTo>
                  <a:pt x="21" y="468"/>
                  <a:pt x="22" y="466"/>
                  <a:pt x="23" y="467"/>
                </a:cubicBezTo>
                <a:cubicBezTo>
                  <a:pt x="24" y="467"/>
                  <a:pt x="24" y="468"/>
                  <a:pt x="23" y="469"/>
                </a:cubicBezTo>
                <a:cubicBezTo>
                  <a:pt x="23" y="469"/>
                  <a:pt x="23" y="469"/>
                  <a:pt x="24" y="469"/>
                </a:cubicBezTo>
                <a:cubicBezTo>
                  <a:pt x="24" y="469"/>
                  <a:pt x="24" y="469"/>
                  <a:pt x="24" y="469"/>
                </a:cubicBezTo>
                <a:cubicBezTo>
                  <a:pt x="26" y="468"/>
                  <a:pt x="28" y="469"/>
                  <a:pt x="29" y="470"/>
                </a:cubicBezTo>
                <a:cubicBezTo>
                  <a:pt x="29" y="470"/>
                  <a:pt x="30" y="470"/>
                  <a:pt x="30" y="470"/>
                </a:cubicBezTo>
                <a:cubicBezTo>
                  <a:pt x="30" y="470"/>
                  <a:pt x="30" y="470"/>
                  <a:pt x="30" y="470"/>
                </a:cubicBezTo>
                <a:cubicBezTo>
                  <a:pt x="30" y="470"/>
                  <a:pt x="31" y="471"/>
                  <a:pt x="30" y="471"/>
                </a:cubicBezTo>
                <a:cubicBezTo>
                  <a:pt x="32" y="472"/>
                  <a:pt x="33" y="475"/>
                  <a:pt x="33" y="477"/>
                </a:cubicBezTo>
                <a:cubicBezTo>
                  <a:pt x="33" y="477"/>
                  <a:pt x="32" y="480"/>
                  <a:pt x="31" y="480"/>
                </a:cubicBezTo>
                <a:cubicBezTo>
                  <a:pt x="31" y="480"/>
                  <a:pt x="30" y="479"/>
                  <a:pt x="30" y="480"/>
                </a:cubicBezTo>
                <a:cubicBezTo>
                  <a:pt x="30" y="480"/>
                  <a:pt x="30" y="480"/>
                  <a:pt x="30" y="480"/>
                </a:cubicBezTo>
                <a:cubicBezTo>
                  <a:pt x="29" y="480"/>
                  <a:pt x="29" y="481"/>
                  <a:pt x="29" y="481"/>
                </a:cubicBezTo>
                <a:cubicBezTo>
                  <a:pt x="29" y="481"/>
                  <a:pt x="30" y="481"/>
                  <a:pt x="30" y="482"/>
                </a:cubicBezTo>
                <a:cubicBezTo>
                  <a:pt x="30" y="482"/>
                  <a:pt x="29" y="483"/>
                  <a:pt x="28" y="482"/>
                </a:cubicBezTo>
                <a:cubicBezTo>
                  <a:pt x="28" y="482"/>
                  <a:pt x="28" y="482"/>
                  <a:pt x="28" y="482"/>
                </a:cubicBezTo>
                <a:cubicBezTo>
                  <a:pt x="28" y="483"/>
                  <a:pt x="28" y="484"/>
                  <a:pt x="28" y="485"/>
                </a:cubicBezTo>
                <a:cubicBezTo>
                  <a:pt x="29" y="485"/>
                  <a:pt x="31" y="483"/>
                  <a:pt x="32" y="485"/>
                </a:cubicBezTo>
                <a:cubicBezTo>
                  <a:pt x="29" y="485"/>
                  <a:pt x="31" y="486"/>
                  <a:pt x="31" y="489"/>
                </a:cubicBezTo>
                <a:cubicBezTo>
                  <a:pt x="31" y="493"/>
                  <a:pt x="30" y="491"/>
                  <a:pt x="32" y="488"/>
                </a:cubicBezTo>
                <a:cubicBezTo>
                  <a:pt x="33" y="487"/>
                  <a:pt x="33" y="489"/>
                  <a:pt x="35" y="487"/>
                </a:cubicBezTo>
                <a:cubicBezTo>
                  <a:pt x="35" y="486"/>
                  <a:pt x="35" y="484"/>
                  <a:pt x="35" y="482"/>
                </a:cubicBezTo>
                <a:cubicBezTo>
                  <a:pt x="35" y="482"/>
                  <a:pt x="35" y="482"/>
                  <a:pt x="35" y="482"/>
                </a:cubicBezTo>
                <a:cubicBezTo>
                  <a:pt x="35" y="481"/>
                  <a:pt x="35" y="481"/>
                  <a:pt x="35" y="480"/>
                </a:cubicBezTo>
                <a:cubicBezTo>
                  <a:pt x="35" y="482"/>
                  <a:pt x="31" y="480"/>
                  <a:pt x="33" y="479"/>
                </a:cubicBezTo>
                <a:cubicBezTo>
                  <a:pt x="33" y="479"/>
                  <a:pt x="33" y="479"/>
                  <a:pt x="34" y="478"/>
                </a:cubicBezTo>
                <a:cubicBezTo>
                  <a:pt x="34" y="477"/>
                  <a:pt x="35" y="474"/>
                  <a:pt x="36" y="473"/>
                </a:cubicBezTo>
                <a:cubicBezTo>
                  <a:pt x="36" y="470"/>
                  <a:pt x="37" y="470"/>
                  <a:pt x="36" y="473"/>
                </a:cubicBezTo>
                <a:cubicBezTo>
                  <a:pt x="36" y="475"/>
                  <a:pt x="36" y="477"/>
                  <a:pt x="35" y="478"/>
                </a:cubicBezTo>
                <a:cubicBezTo>
                  <a:pt x="37" y="477"/>
                  <a:pt x="35" y="476"/>
                  <a:pt x="36" y="475"/>
                </a:cubicBezTo>
                <a:cubicBezTo>
                  <a:pt x="36" y="474"/>
                  <a:pt x="38" y="473"/>
                  <a:pt x="39" y="472"/>
                </a:cubicBezTo>
                <a:cubicBezTo>
                  <a:pt x="39" y="472"/>
                  <a:pt x="39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39" y="469"/>
                  <a:pt x="43" y="469"/>
                  <a:pt x="42" y="470"/>
                </a:cubicBezTo>
                <a:cubicBezTo>
                  <a:pt x="43" y="470"/>
                  <a:pt x="43" y="470"/>
                  <a:pt x="43" y="470"/>
                </a:cubicBezTo>
                <a:cubicBezTo>
                  <a:pt x="43" y="470"/>
                  <a:pt x="44" y="470"/>
                  <a:pt x="44" y="471"/>
                </a:cubicBezTo>
                <a:cubicBezTo>
                  <a:pt x="44" y="471"/>
                  <a:pt x="44" y="471"/>
                  <a:pt x="44" y="471"/>
                </a:cubicBezTo>
                <a:cubicBezTo>
                  <a:pt x="44" y="471"/>
                  <a:pt x="45" y="473"/>
                  <a:pt x="46" y="474"/>
                </a:cubicBezTo>
                <a:cubicBezTo>
                  <a:pt x="46" y="474"/>
                  <a:pt x="47" y="474"/>
                  <a:pt x="47" y="474"/>
                </a:cubicBezTo>
                <a:cubicBezTo>
                  <a:pt x="47" y="474"/>
                  <a:pt x="47" y="475"/>
                  <a:pt x="47" y="475"/>
                </a:cubicBezTo>
                <a:cubicBezTo>
                  <a:pt x="47" y="475"/>
                  <a:pt x="48" y="475"/>
                  <a:pt x="48" y="474"/>
                </a:cubicBezTo>
                <a:cubicBezTo>
                  <a:pt x="48" y="474"/>
                  <a:pt x="48" y="473"/>
                  <a:pt x="48" y="473"/>
                </a:cubicBezTo>
                <a:cubicBezTo>
                  <a:pt x="49" y="473"/>
                  <a:pt x="56" y="472"/>
                  <a:pt x="53" y="470"/>
                </a:cubicBezTo>
                <a:cubicBezTo>
                  <a:pt x="52" y="470"/>
                  <a:pt x="52" y="471"/>
                  <a:pt x="52" y="471"/>
                </a:cubicBezTo>
                <a:cubicBezTo>
                  <a:pt x="52" y="471"/>
                  <a:pt x="52" y="470"/>
                  <a:pt x="51" y="470"/>
                </a:cubicBezTo>
                <a:cubicBezTo>
                  <a:pt x="50" y="470"/>
                  <a:pt x="49" y="472"/>
                  <a:pt x="48" y="472"/>
                </a:cubicBezTo>
                <a:cubicBezTo>
                  <a:pt x="50" y="471"/>
                  <a:pt x="48" y="468"/>
                  <a:pt x="49" y="467"/>
                </a:cubicBezTo>
                <a:cubicBezTo>
                  <a:pt x="51" y="467"/>
                  <a:pt x="53" y="470"/>
                  <a:pt x="55" y="470"/>
                </a:cubicBezTo>
                <a:cubicBezTo>
                  <a:pt x="58" y="469"/>
                  <a:pt x="59" y="467"/>
                  <a:pt x="60" y="465"/>
                </a:cubicBezTo>
                <a:cubicBezTo>
                  <a:pt x="59" y="466"/>
                  <a:pt x="57" y="466"/>
                  <a:pt x="56" y="465"/>
                </a:cubicBezTo>
                <a:cubicBezTo>
                  <a:pt x="55" y="466"/>
                  <a:pt x="54" y="467"/>
                  <a:pt x="53" y="465"/>
                </a:cubicBezTo>
                <a:cubicBezTo>
                  <a:pt x="52" y="463"/>
                  <a:pt x="48" y="460"/>
                  <a:pt x="50" y="458"/>
                </a:cubicBezTo>
                <a:cubicBezTo>
                  <a:pt x="53" y="455"/>
                  <a:pt x="58" y="451"/>
                  <a:pt x="59" y="445"/>
                </a:cubicBezTo>
                <a:cubicBezTo>
                  <a:pt x="55" y="450"/>
                  <a:pt x="54" y="444"/>
                  <a:pt x="59" y="443"/>
                </a:cubicBezTo>
                <a:cubicBezTo>
                  <a:pt x="58" y="445"/>
                  <a:pt x="60" y="444"/>
                  <a:pt x="61" y="445"/>
                </a:cubicBezTo>
                <a:cubicBezTo>
                  <a:pt x="61" y="445"/>
                  <a:pt x="61" y="446"/>
                  <a:pt x="61" y="446"/>
                </a:cubicBezTo>
                <a:cubicBezTo>
                  <a:pt x="61" y="446"/>
                  <a:pt x="61" y="446"/>
                  <a:pt x="61" y="446"/>
                </a:cubicBezTo>
                <a:cubicBezTo>
                  <a:pt x="63" y="446"/>
                  <a:pt x="60" y="450"/>
                  <a:pt x="60" y="447"/>
                </a:cubicBezTo>
                <a:cubicBezTo>
                  <a:pt x="60" y="447"/>
                  <a:pt x="60" y="447"/>
                  <a:pt x="60" y="447"/>
                </a:cubicBezTo>
                <a:cubicBezTo>
                  <a:pt x="60" y="448"/>
                  <a:pt x="59" y="448"/>
                  <a:pt x="59" y="449"/>
                </a:cubicBezTo>
                <a:cubicBezTo>
                  <a:pt x="59" y="452"/>
                  <a:pt x="59" y="456"/>
                  <a:pt x="60" y="459"/>
                </a:cubicBezTo>
                <a:cubicBezTo>
                  <a:pt x="61" y="459"/>
                  <a:pt x="61" y="459"/>
                  <a:pt x="62" y="460"/>
                </a:cubicBezTo>
                <a:cubicBezTo>
                  <a:pt x="62" y="460"/>
                  <a:pt x="62" y="460"/>
                  <a:pt x="62" y="461"/>
                </a:cubicBezTo>
                <a:cubicBezTo>
                  <a:pt x="63" y="462"/>
                  <a:pt x="64" y="461"/>
                  <a:pt x="66" y="457"/>
                </a:cubicBezTo>
                <a:cubicBezTo>
                  <a:pt x="67" y="464"/>
                  <a:pt x="71" y="455"/>
                  <a:pt x="70" y="453"/>
                </a:cubicBezTo>
                <a:cubicBezTo>
                  <a:pt x="70" y="453"/>
                  <a:pt x="68" y="453"/>
                  <a:pt x="68" y="452"/>
                </a:cubicBezTo>
                <a:cubicBezTo>
                  <a:pt x="67" y="452"/>
                  <a:pt x="68" y="449"/>
                  <a:pt x="68" y="447"/>
                </a:cubicBezTo>
                <a:cubicBezTo>
                  <a:pt x="69" y="446"/>
                  <a:pt x="73" y="440"/>
                  <a:pt x="72" y="445"/>
                </a:cubicBezTo>
                <a:cubicBezTo>
                  <a:pt x="71" y="446"/>
                  <a:pt x="71" y="448"/>
                  <a:pt x="71" y="449"/>
                </a:cubicBezTo>
                <a:cubicBezTo>
                  <a:pt x="72" y="449"/>
                  <a:pt x="72" y="449"/>
                  <a:pt x="71" y="449"/>
                </a:cubicBezTo>
                <a:cubicBezTo>
                  <a:pt x="71" y="449"/>
                  <a:pt x="71" y="449"/>
                  <a:pt x="71" y="449"/>
                </a:cubicBezTo>
                <a:cubicBezTo>
                  <a:pt x="71" y="450"/>
                  <a:pt x="71" y="452"/>
                  <a:pt x="71" y="453"/>
                </a:cubicBezTo>
                <a:cubicBezTo>
                  <a:pt x="71" y="455"/>
                  <a:pt x="70" y="457"/>
                  <a:pt x="70" y="458"/>
                </a:cubicBezTo>
                <a:cubicBezTo>
                  <a:pt x="70" y="458"/>
                  <a:pt x="70" y="458"/>
                  <a:pt x="71" y="459"/>
                </a:cubicBezTo>
                <a:cubicBezTo>
                  <a:pt x="71" y="459"/>
                  <a:pt x="72" y="459"/>
                  <a:pt x="72" y="460"/>
                </a:cubicBezTo>
                <a:cubicBezTo>
                  <a:pt x="71" y="460"/>
                  <a:pt x="71" y="460"/>
                  <a:pt x="71" y="460"/>
                </a:cubicBezTo>
                <a:cubicBezTo>
                  <a:pt x="71" y="461"/>
                  <a:pt x="72" y="461"/>
                  <a:pt x="72" y="461"/>
                </a:cubicBezTo>
                <a:cubicBezTo>
                  <a:pt x="74" y="461"/>
                  <a:pt x="74" y="453"/>
                  <a:pt x="73" y="450"/>
                </a:cubicBezTo>
                <a:cubicBezTo>
                  <a:pt x="73" y="450"/>
                  <a:pt x="73" y="451"/>
                  <a:pt x="73" y="450"/>
                </a:cubicBezTo>
                <a:cubicBezTo>
                  <a:pt x="72" y="450"/>
                  <a:pt x="73" y="449"/>
                  <a:pt x="73" y="449"/>
                </a:cubicBezTo>
                <a:cubicBezTo>
                  <a:pt x="73" y="449"/>
                  <a:pt x="73" y="449"/>
                  <a:pt x="73" y="449"/>
                </a:cubicBezTo>
                <a:cubicBezTo>
                  <a:pt x="73" y="449"/>
                  <a:pt x="74" y="448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5"/>
                  <a:pt x="74" y="442"/>
                  <a:pt x="75" y="442"/>
                </a:cubicBezTo>
                <a:cubicBezTo>
                  <a:pt x="78" y="440"/>
                  <a:pt x="73" y="455"/>
                  <a:pt x="78" y="450"/>
                </a:cubicBezTo>
                <a:cubicBezTo>
                  <a:pt x="79" y="450"/>
                  <a:pt x="83" y="445"/>
                  <a:pt x="83" y="445"/>
                </a:cubicBezTo>
                <a:cubicBezTo>
                  <a:pt x="82" y="444"/>
                  <a:pt x="81" y="445"/>
                  <a:pt x="80" y="445"/>
                </a:cubicBezTo>
                <a:cubicBezTo>
                  <a:pt x="78" y="444"/>
                  <a:pt x="79" y="441"/>
                  <a:pt x="80" y="441"/>
                </a:cubicBezTo>
                <a:cubicBezTo>
                  <a:pt x="82" y="440"/>
                  <a:pt x="82" y="442"/>
                  <a:pt x="83" y="442"/>
                </a:cubicBezTo>
                <a:cubicBezTo>
                  <a:pt x="85" y="441"/>
                  <a:pt x="85" y="439"/>
                  <a:pt x="86" y="437"/>
                </a:cubicBezTo>
                <a:cubicBezTo>
                  <a:pt x="86" y="438"/>
                  <a:pt x="85" y="438"/>
                  <a:pt x="85" y="438"/>
                </a:cubicBezTo>
                <a:cubicBezTo>
                  <a:pt x="85" y="437"/>
                  <a:pt x="86" y="437"/>
                  <a:pt x="86" y="437"/>
                </a:cubicBezTo>
                <a:cubicBezTo>
                  <a:pt x="86" y="435"/>
                  <a:pt x="87" y="434"/>
                  <a:pt x="88" y="432"/>
                </a:cubicBezTo>
                <a:cubicBezTo>
                  <a:pt x="90" y="430"/>
                  <a:pt x="91" y="426"/>
                  <a:pt x="91" y="426"/>
                </a:cubicBezTo>
                <a:cubicBezTo>
                  <a:pt x="91" y="426"/>
                  <a:pt x="93" y="428"/>
                  <a:pt x="95" y="428"/>
                </a:cubicBezTo>
                <a:cubicBezTo>
                  <a:pt x="97" y="428"/>
                  <a:pt x="96" y="426"/>
                  <a:pt x="97" y="428"/>
                </a:cubicBezTo>
                <a:cubicBezTo>
                  <a:pt x="97" y="430"/>
                  <a:pt x="98" y="428"/>
                  <a:pt x="98" y="430"/>
                </a:cubicBezTo>
                <a:cubicBezTo>
                  <a:pt x="98" y="432"/>
                  <a:pt x="95" y="437"/>
                  <a:pt x="92" y="435"/>
                </a:cubicBezTo>
                <a:cubicBezTo>
                  <a:pt x="91" y="435"/>
                  <a:pt x="91" y="433"/>
                  <a:pt x="89" y="435"/>
                </a:cubicBezTo>
                <a:cubicBezTo>
                  <a:pt x="89" y="436"/>
                  <a:pt x="90" y="437"/>
                  <a:pt x="89" y="439"/>
                </a:cubicBezTo>
                <a:cubicBezTo>
                  <a:pt x="88" y="441"/>
                  <a:pt x="84" y="445"/>
                  <a:pt x="83" y="448"/>
                </a:cubicBezTo>
                <a:cubicBezTo>
                  <a:pt x="82" y="450"/>
                  <a:pt x="83" y="453"/>
                  <a:pt x="81" y="456"/>
                </a:cubicBezTo>
                <a:cubicBezTo>
                  <a:pt x="80" y="458"/>
                  <a:pt x="75" y="461"/>
                  <a:pt x="75" y="463"/>
                </a:cubicBezTo>
                <a:cubicBezTo>
                  <a:pt x="75" y="463"/>
                  <a:pt x="76" y="464"/>
                  <a:pt x="76" y="464"/>
                </a:cubicBezTo>
                <a:cubicBezTo>
                  <a:pt x="77" y="464"/>
                  <a:pt x="77" y="464"/>
                  <a:pt x="77" y="464"/>
                </a:cubicBezTo>
                <a:cubicBezTo>
                  <a:pt x="77" y="465"/>
                  <a:pt x="77" y="465"/>
                  <a:pt x="77" y="465"/>
                </a:cubicBezTo>
                <a:cubicBezTo>
                  <a:pt x="79" y="466"/>
                  <a:pt x="83" y="467"/>
                  <a:pt x="86" y="467"/>
                </a:cubicBezTo>
                <a:cubicBezTo>
                  <a:pt x="86" y="467"/>
                  <a:pt x="86" y="466"/>
                  <a:pt x="86" y="466"/>
                </a:cubicBezTo>
                <a:cubicBezTo>
                  <a:pt x="86" y="465"/>
                  <a:pt x="86" y="465"/>
                  <a:pt x="86" y="464"/>
                </a:cubicBezTo>
                <a:cubicBezTo>
                  <a:pt x="87" y="460"/>
                  <a:pt x="94" y="456"/>
                  <a:pt x="98" y="458"/>
                </a:cubicBezTo>
                <a:cubicBezTo>
                  <a:pt x="98" y="458"/>
                  <a:pt x="98" y="459"/>
                  <a:pt x="99" y="459"/>
                </a:cubicBezTo>
                <a:cubicBezTo>
                  <a:pt x="99" y="459"/>
                  <a:pt x="99" y="459"/>
                  <a:pt x="99" y="459"/>
                </a:cubicBezTo>
                <a:cubicBezTo>
                  <a:pt x="100" y="458"/>
                  <a:pt x="99" y="459"/>
                  <a:pt x="99" y="459"/>
                </a:cubicBezTo>
                <a:cubicBezTo>
                  <a:pt x="99" y="459"/>
                  <a:pt x="99" y="459"/>
                  <a:pt x="99" y="460"/>
                </a:cubicBezTo>
                <a:cubicBezTo>
                  <a:pt x="100" y="459"/>
                  <a:pt x="101" y="459"/>
                  <a:pt x="101" y="458"/>
                </a:cubicBezTo>
                <a:cubicBezTo>
                  <a:pt x="103" y="459"/>
                  <a:pt x="103" y="456"/>
                  <a:pt x="105" y="456"/>
                </a:cubicBezTo>
                <a:cubicBezTo>
                  <a:pt x="106" y="455"/>
                  <a:pt x="108" y="458"/>
                  <a:pt x="108" y="455"/>
                </a:cubicBezTo>
                <a:cubicBezTo>
                  <a:pt x="108" y="460"/>
                  <a:pt x="116" y="452"/>
                  <a:pt x="116" y="451"/>
                </a:cubicBezTo>
                <a:cubicBezTo>
                  <a:pt x="116" y="451"/>
                  <a:pt x="110" y="450"/>
                  <a:pt x="110" y="450"/>
                </a:cubicBezTo>
                <a:cubicBezTo>
                  <a:pt x="110" y="450"/>
                  <a:pt x="110" y="450"/>
                  <a:pt x="110" y="450"/>
                </a:cubicBezTo>
                <a:cubicBezTo>
                  <a:pt x="110" y="451"/>
                  <a:pt x="110" y="451"/>
                  <a:pt x="110" y="451"/>
                </a:cubicBezTo>
                <a:cubicBezTo>
                  <a:pt x="109" y="451"/>
                  <a:pt x="109" y="452"/>
                  <a:pt x="108" y="451"/>
                </a:cubicBezTo>
                <a:cubicBezTo>
                  <a:pt x="107" y="450"/>
                  <a:pt x="109" y="450"/>
                  <a:pt x="110" y="449"/>
                </a:cubicBezTo>
                <a:cubicBezTo>
                  <a:pt x="110" y="449"/>
                  <a:pt x="110" y="449"/>
                  <a:pt x="109" y="449"/>
                </a:cubicBezTo>
                <a:cubicBezTo>
                  <a:pt x="109" y="449"/>
                  <a:pt x="108" y="448"/>
                  <a:pt x="108" y="447"/>
                </a:cubicBezTo>
                <a:cubicBezTo>
                  <a:pt x="108" y="447"/>
                  <a:pt x="108" y="446"/>
                  <a:pt x="108" y="446"/>
                </a:cubicBezTo>
                <a:cubicBezTo>
                  <a:pt x="108" y="446"/>
                  <a:pt x="108" y="445"/>
                  <a:pt x="108" y="444"/>
                </a:cubicBezTo>
                <a:cubicBezTo>
                  <a:pt x="108" y="444"/>
                  <a:pt x="110" y="441"/>
                  <a:pt x="111" y="441"/>
                </a:cubicBezTo>
                <a:cubicBezTo>
                  <a:pt x="112" y="440"/>
                  <a:pt x="114" y="435"/>
                  <a:pt x="115" y="436"/>
                </a:cubicBezTo>
                <a:cubicBezTo>
                  <a:pt x="116" y="436"/>
                  <a:pt x="114" y="438"/>
                  <a:pt x="115" y="439"/>
                </a:cubicBezTo>
                <a:cubicBezTo>
                  <a:pt x="115" y="440"/>
                  <a:pt x="117" y="439"/>
                  <a:pt x="118" y="439"/>
                </a:cubicBezTo>
                <a:cubicBezTo>
                  <a:pt x="119" y="439"/>
                  <a:pt x="118" y="441"/>
                  <a:pt x="119" y="442"/>
                </a:cubicBezTo>
                <a:cubicBezTo>
                  <a:pt x="119" y="441"/>
                  <a:pt x="121" y="440"/>
                  <a:pt x="122" y="442"/>
                </a:cubicBezTo>
                <a:cubicBezTo>
                  <a:pt x="122" y="444"/>
                  <a:pt x="120" y="443"/>
                  <a:pt x="120" y="444"/>
                </a:cubicBezTo>
                <a:cubicBezTo>
                  <a:pt x="119" y="444"/>
                  <a:pt x="120" y="445"/>
                  <a:pt x="120" y="445"/>
                </a:cubicBezTo>
                <a:cubicBezTo>
                  <a:pt x="121" y="446"/>
                  <a:pt x="119" y="447"/>
                  <a:pt x="118" y="448"/>
                </a:cubicBezTo>
                <a:cubicBezTo>
                  <a:pt x="118" y="449"/>
                  <a:pt x="119" y="450"/>
                  <a:pt x="119" y="450"/>
                </a:cubicBezTo>
                <a:cubicBezTo>
                  <a:pt x="117" y="453"/>
                  <a:pt x="112" y="455"/>
                  <a:pt x="113" y="460"/>
                </a:cubicBezTo>
                <a:cubicBezTo>
                  <a:pt x="113" y="461"/>
                  <a:pt x="114" y="460"/>
                  <a:pt x="115" y="460"/>
                </a:cubicBezTo>
                <a:cubicBezTo>
                  <a:pt x="114" y="463"/>
                  <a:pt x="112" y="471"/>
                  <a:pt x="107" y="472"/>
                </a:cubicBezTo>
                <a:cubicBezTo>
                  <a:pt x="106" y="472"/>
                  <a:pt x="104" y="471"/>
                  <a:pt x="103" y="471"/>
                </a:cubicBezTo>
                <a:cubicBezTo>
                  <a:pt x="102" y="471"/>
                  <a:pt x="102" y="470"/>
                  <a:pt x="101" y="469"/>
                </a:cubicBezTo>
                <a:cubicBezTo>
                  <a:pt x="101" y="469"/>
                  <a:pt x="100" y="469"/>
                  <a:pt x="100" y="468"/>
                </a:cubicBezTo>
                <a:cubicBezTo>
                  <a:pt x="100" y="468"/>
                  <a:pt x="100" y="468"/>
                  <a:pt x="100" y="468"/>
                </a:cubicBezTo>
                <a:cubicBezTo>
                  <a:pt x="100" y="468"/>
                  <a:pt x="100" y="467"/>
                  <a:pt x="99" y="467"/>
                </a:cubicBezTo>
                <a:cubicBezTo>
                  <a:pt x="98" y="468"/>
                  <a:pt x="96" y="470"/>
                  <a:pt x="95" y="470"/>
                </a:cubicBezTo>
                <a:cubicBezTo>
                  <a:pt x="96" y="472"/>
                  <a:pt x="98" y="470"/>
                  <a:pt x="99" y="470"/>
                </a:cubicBezTo>
                <a:cubicBezTo>
                  <a:pt x="98" y="471"/>
                  <a:pt x="98" y="471"/>
                  <a:pt x="98" y="472"/>
                </a:cubicBezTo>
                <a:cubicBezTo>
                  <a:pt x="99" y="472"/>
                  <a:pt x="100" y="472"/>
                  <a:pt x="100" y="472"/>
                </a:cubicBezTo>
                <a:cubicBezTo>
                  <a:pt x="101" y="473"/>
                  <a:pt x="99" y="473"/>
                  <a:pt x="99" y="473"/>
                </a:cubicBezTo>
                <a:cubicBezTo>
                  <a:pt x="98" y="475"/>
                  <a:pt x="100" y="474"/>
                  <a:pt x="99" y="476"/>
                </a:cubicBezTo>
                <a:cubicBezTo>
                  <a:pt x="98" y="478"/>
                  <a:pt x="95" y="477"/>
                  <a:pt x="94" y="478"/>
                </a:cubicBezTo>
                <a:cubicBezTo>
                  <a:pt x="94" y="478"/>
                  <a:pt x="94" y="478"/>
                  <a:pt x="94" y="479"/>
                </a:cubicBezTo>
                <a:cubicBezTo>
                  <a:pt x="95" y="479"/>
                  <a:pt x="95" y="479"/>
                  <a:pt x="96" y="479"/>
                </a:cubicBezTo>
                <a:cubicBezTo>
                  <a:pt x="96" y="480"/>
                  <a:pt x="94" y="481"/>
                  <a:pt x="95" y="483"/>
                </a:cubicBezTo>
                <a:cubicBezTo>
                  <a:pt x="95" y="483"/>
                  <a:pt x="96" y="483"/>
                  <a:pt x="96" y="483"/>
                </a:cubicBezTo>
                <a:cubicBezTo>
                  <a:pt x="96" y="483"/>
                  <a:pt x="97" y="487"/>
                  <a:pt x="97" y="487"/>
                </a:cubicBezTo>
                <a:cubicBezTo>
                  <a:pt x="96" y="489"/>
                  <a:pt x="94" y="487"/>
                  <a:pt x="92" y="488"/>
                </a:cubicBezTo>
                <a:cubicBezTo>
                  <a:pt x="93" y="488"/>
                  <a:pt x="90" y="490"/>
                  <a:pt x="90" y="490"/>
                </a:cubicBezTo>
                <a:cubicBezTo>
                  <a:pt x="90" y="491"/>
                  <a:pt x="91" y="491"/>
                  <a:pt x="91" y="492"/>
                </a:cubicBezTo>
                <a:cubicBezTo>
                  <a:pt x="90" y="495"/>
                  <a:pt x="89" y="494"/>
                  <a:pt x="89" y="497"/>
                </a:cubicBezTo>
                <a:cubicBezTo>
                  <a:pt x="89" y="498"/>
                  <a:pt x="86" y="502"/>
                  <a:pt x="84" y="502"/>
                </a:cubicBezTo>
                <a:cubicBezTo>
                  <a:pt x="80" y="502"/>
                  <a:pt x="82" y="494"/>
                  <a:pt x="76" y="496"/>
                </a:cubicBezTo>
                <a:cubicBezTo>
                  <a:pt x="75" y="491"/>
                  <a:pt x="70" y="501"/>
                  <a:pt x="69" y="501"/>
                </a:cubicBezTo>
                <a:cubicBezTo>
                  <a:pt x="69" y="501"/>
                  <a:pt x="69" y="501"/>
                  <a:pt x="69" y="501"/>
                </a:cubicBezTo>
                <a:cubicBezTo>
                  <a:pt x="69" y="501"/>
                  <a:pt x="69" y="502"/>
                  <a:pt x="68" y="501"/>
                </a:cubicBezTo>
                <a:cubicBezTo>
                  <a:pt x="68" y="501"/>
                  <a:pt x="68" y="501"/>
                  <a:pt x="68" y="501"/>
                </a:cubicBezTo>
                <a:cubicBezTo>
                  <a:pt x="68" y="500"/>
                  <a:pt x="69" y="500"/>
                  <a:pt x="69" y="501"/>
                </a:cubicBezTo>
                <a:cubicBezTo>
                  <a:pt x="69" y="499"/>
                  <a:pt x="73" y="494"/>
                  <a:pt x="68" y="496"/>
                </a:cubicBezTo>
                <a:cubicBezTo>
                  <a:pt x="67" y="497"/>
                  <a:pt x="69" y="499"/>
                  <a:pt x="68" y="500"/>
                </a:cubicBezTo>
                <a:cubicBezTo>
                  <a:pt x="67" y="501"/>
                  <a:pt x="64" y="500"/>
                  <a:pt x="62" y="500"/>
                </a:cubicBezTo>
                <a:cubicBezTo>
                  <a:pt x="62" y="500"/>
                  <a:pt x="61" y="504"/>
                  <a:pt x="61" y="505"/>
                </a:cubicBezTo>
                <a:cubicBezTo>
                  <a:pt x="62" y="506"/>
                  <a:pt x="63" y="506"/>
                  <a:pt x="62" y="508"/>
                </a:cubicBezTo>
                <a:cubicBezTo>
                  <a:pt x="62" y="508"/>
                  <a:pt x="62" y="507"/>
                  <a:pt x="63" y="507"/>
                </a:cubicBezTo>
                <a:cubicBezTo>
                  <a:pt x="62" y="508"/>
                  <a:pt x="62" y="509"/>
                  <a:pt x="65" y="508"/>
                </a:cubicBezTo>
                <a:cubicBezTo>
                  <a:pt x="63" y="511"/>
                  <a:pt x="60" y="511"/>
                  <a:pt x="61" y="514"/>
                </a:cubicBezTo>
                <a:cubicBezTo>
                  <a:pt x="61" y="514"/>
                  <a:pt x="67" y="516"/>
                  <a:pt x="66" y="517"/>
                </a:cubicBezTo>
                <a:cubicBezTo>
                  <a:pt x="70" y="515"/>
                  <a:pt x="64" y="513"/>
                  <a:pt x="65" y="510"/>
                </a:cubicBezTo>
                <a:cubicBezTo>
                  <a:pt x="66" y="507"/>
                  <a:pt x="68" y="514"/>
                  <a:pt x="69" y="514"/>
                </a:cubicBezTo>
                <a:cubicBezTo>
                  <a:pt x="70" y="515"/>
                  <a:pt x="69" y="514"/>
                  <a:pt x="70" y="514"/>
                </a:cubicBezTo>
                <a:cubicBezTo>
                  <a:pt x="72" y="513"/>
                  <a:pt x="73" y="516"/>
                  <a:pt x="74" y="514"/>
                </a:cubicBezTo>
                <a:cubicBezTo>
                  <a:pt x="74" y="514"/>
                  <a:pt x="71" y="514"/>
                  <a:pt x="72" y="512"/>
                </a:cubicBezTo>
                <a:cubicBezTo>
                  <a:pt x="73" y="511"/>
                  <a:pt x="75" y="513"/>
                  <a:pt x="75" y="513"/>
                </a:cubicBezTo>
                <a:cubicBezTo>
                  <a:pt x="76" y="513"/>
                  <a:pt x="77" y="513"/>
                  <a:pt x="78" y="514"/>
                </a:cubicBezTo>
                <a:cubicBezTo>
                  <a:pt x="78" y="513"/>
                  <a:pt x="78" y="513"/>
                  <a:pt x="78" y="513"/>
                </a:cubicBezTo>
                <a:cubicBezTo>
                  <a:pt x="78" y="513"/>
                  <a:pt x="78" y="514"/>
                  <a:pt x="78" y="515"/>
                </a:cubicBezTo>
                <a:cubicBezTo>
                  <a:pt x="78" y="517"/>
                  <a:pt x="78" y="519"/>
                  <a:pt x="78" y="520"/>
                </a:cubicBezTo>
                <a:cubicBezTo>
                  <a:pt x="78" y="520"/>
                  <a:pt x="78" y="520"/>
                  <a:pt x="78" y="520"/>
                </a:cubicBezTo>
                <a:cubicBezTo>
                  <a:pt x="79" y="520"/>
                  <a:pt x="78" y="519"/>
                  <a:pt x="79" y="519"/>
                </a:cubicBezTo>
                <a:cubicBezTo>
                  <a:pt x="80" y="520"/>
                  <a:pt x="80" y="520"/>
                  <a:pt x="81" y="520"/>
                </a:cubicBezTo>
                <a:cubicBezTo>
                  <a:pt x="81" y="518"/>
                  <a:pt x="82" y="515"/>
                  <a:pt x="82" y="515"/>
                </a:cubicBezTo>
                <a:cubicBezTo>
                  <a:pt x="84" y="514"/>
                  <a:pt x="85" y="516"/>
                  <a:pt x="86" y="514"/>
                </a:cubicBezTo>
                <a:cubicBezTo>
                  <a:pt x="86" y="513"/>
                  <a:pt x="84" y="512"/>
                  <a:pt x="84" y="511"/>
                </a:cubicBezTo>
                <a:cubicBezTo>
                  <a:pt x="84" y="511"/>
                  <a:pt x="83" y="509"/>
                  <a:pt x="84" y="509"/>
                </a:cubicBezTo>
                <a:cubicBezTo>
                  <a:pt x="82" y="509"/>
                  <a:pt x="80" y="511"/>
                  <a:pt x="80" y="510"/>
                </a:cubicBezTo>
                <a:cubicBezTo>
                  <a:pt x="79" y="510"/>
                  <a:pt x="80" y="508"/>
                  <a:pt x="81" y="507"/>
                </a:cubicBezTo>
                <a:cubicBezTo>
                  <a:pt x="82" y="510"/>
                  <a:pt x="84" y="506"/>
                  <a:pt x="85" y="505"/>
                </a:cubicBezTo>
                <a:cubicBezTo>
                  <a:pt x="86" y="504"/>
                  <a:pt x="89" y="504"/>
                  <a:pt x="89" y="504"/>
                </a:cubicBezTo>
                <a:cubicBezTo>
                  <a:pt x="90" y="503"/>
                  <a:pt x="88" y="501"/>
                  <a:pt x="90" y="501"/>
                </a:cubicBezTo>
                <a:cubicBezTo>
                  <a:pt x="91" y="501"/>
                  <a:pt x="90" y="502"/>
                  <a:pt x="90" y="502"/>
                </a:cubicBezTo>
                <a:cubicBezTo>
                  <a:pt x="91" y="503"/>
                  <a:pt x="93" y="501"/>
                  <a:pt x="94" y="502"/>
                </a:cubicBezTo>
                <a:cubicBezTo>
                  <a:pt x="95" y="502"/>
                  <a:pt x="94" y="504"/>
                  <a:pt x="94" y="505"/>
                </a:cubicBezTo>
                <a:cubicBezTo>
                  <a:pt x="94" y="506"/>
                  <a:pt x="94" y="507"/>
                  <a:pt x="94" y="508"/>
                </a:cubicBezTo>
                <a:cubicBezTo>
                  <a:pt x="97" y="507"/>
                  <a:pt x="101" y="507"/>
                  <a:pt x="102" y="508"/>
                </a:cubicBezTo>
                <a:cubicBezTo>
                  <a:pt x="103" y="509"/>
                  <a:pt x="101" y="511"/>
                  <a:pt x="104" y="510"/>
                </a:cubicBezTo>
                <a:cubicBezTo>
                  <a:pt x="102" y="512"/>
                  <a:pt x="106" y="513"/>
                  <a:pt x="106" y="514"/>
                </a:cubicBezTo>
                <a:cubicBezTo>
                  <a:pt x="106" y="515"/>
                  <a:pt x="104" y="516"/>
                  <a:pt x="104" y="516"/>
                </a:cubicBezTo>
                <a:cubicBezTo>
                  <a:pt x="104" y="516"/>
                  <a:pt x="105" y="517"/>
                  <a:pt x="104" y="518"/>
                </a:cubicBezTo>
                <a:cubicBezTo>
                  <a:pt x="104" y="518"/>
                  <a:pt x="104" y="518"/>
                  <a:pt x="104" y="518"/>
                </a:cubicBezTo>
                <a:cubicBezTo>
                  <a:pt x="105" y="519"/>
                  <a:pt x="106" y="520"/>
                  <a:pt x="106" y="522"/>
                </a:cubicBezTo>
                <a:cubicBezTo>
                  <a:pt x="106" y="522"/>
                  <a:pt x="107" y="522"/>
                  <a:pt x="107" y="522"/>
                </a:cubicBezTo>
                <a:cubicBezTo>
                  <a:pt x="107" y="521"/>
                  <a:pt x="106" y="521"/>
                  <a:pt x="106" y="520"/>
                </a:cubicBezTo>
                <a:cubicBezTo>
                  <a:pt x="106" y="519"/>
                  <a:pt x="107" y="518"/>
                  <a:pt x="108" y="518"/>
                </a:cubicBezTo>
                <a:cubicBezTo>
                  <a:pt x="108" y="517"/>
                  <a:pt x="108" y="517"/>
                  <a:pt x="109" y="516"/>
                </a:cubicBezTo>
                <a:cubicBezTo>
                  <a:pt x="109" y="516"/>
                  <a:pt x="108" y="516"/>
                  <a:pt x="108" y="516"/>
                </a:cubicBezTo>
                <a:cubicBezTo>
                  <a:pt x="108" y="515"/>
                  <a:pt x="109" y="515"/>
                  <a:pt x="109" y="515"/>
                </a:cubicBezTo>
                <a:cubicBezTo>
                  <a:pt x="111" y="514"/>
                  <a:pt x="112" y="513"/>
                  <a:pt x="113" y="512"/>
                </a:cubicBezTo>
                <a:cubicBezTo>
                  <a:pt x="112" y="514"/>
                  <a:pt x="115" y="514"/>
                  <a:pt x="115" y="514"/>
                </a:cubicBezTo>
                <a:cubicBezTo>
                  <a:pt x="115" y="514"/>
                  <a:pt x="116" y="514"/>
                  <a:pt x="116" y="514"/>
                </a:cubicBezTo>
                <a:cubicBezTo>
                  <a:pt x="116" y="514"/>
                  <a:pt x="116" y="514"/>
                  <a:pt x="116" y="514"/>
                </a:cubicBezTo>
                <a:cubicBezTo>
                  <a:pt x="115" y="514"/>
                  <a:pt x="115" y="513"/>
                  <a:pt x="115" y="513"/>
                </a:cubicBezTo>
                <a:cubicBezTo>
                  <a:pt x="114" y="512"/>
                  <a:pt x="115" y="508"/>
                  <a:pt x="115" y="507"/>
                </a:cubicBezTo>
                <a:cubicBezTo>
                  <a:pt x="116" y="507"/>
                  <a:pt x="116" y="508"/>
                  <a:pt x="117" y="508"/>
                </a:cubicBezTo>
                <a:cubicBezTo>
                  <a:pt x="118" y="507"/>
                  <a:pt x="120" y="504"/>
                  <a:pt x="123" y="505"/>
                </a:cubicBezTo>
                <a:cubicBezTo>
                  <a:pt x="122" y="507"/>
                  <a:pt x="120" y="506"/>
                  <a:pt x="120" y="507"/>
                </a:cubicBezTo>
                <a:cubicBezTo>
                  <a:pt x="119" y="508"/>
                  <a:pt x="121" y="508"/>
                  <a:pt x="121" y="508"/>
                </a:cubicBezTo>
                <a:cubicBezTo>
                  <a:pt x="122" y="510"/>
                  <a:pt x="120" y="514"/>
                  <a:pt x="117" y="514"/>
                </a:cubicBezTo>
                <a:cubicBezTo>
                  <a:pt x="117" y="515"/>
                  <a:pt x="117" y="516"/>
                  <a:pt x="116" y="517"/>
                </a:cubicBezTo>
                <a:cubicBezTo>
                  <a:pt x="117" y="517"/>
                  <a:pt x="117" y="517"/>
                  <a:pt x="117" y="517"/>
                </a:cubicBezTo>
                <a:cubicBezTo>
                  <a:pt x="118" y="515"/>
                  <a:pt x="121" y="515"/>
                  <a:pt x="122" y="513"/>
                </a:cubicBezTo>
                <a:cubicBezTo>
                  <a:pt x="122" y="512"/>
                  <a:pt x="122" y="511"/>
                  <a:pt x="122" y="510"/>
                </a:cubicBezTo>
                <a:cubicBezTo>
                  <a:pt x="122" y="510"/>
                  <a:pt x="123" y="509"/>
                  <a:pt x="123" y="508"/>
                </a:cubicBezTo>
                <a:cubicBezTo>
                  <a:pt x="123" y="507"/>
                  <a:pt x="122" y="508"/>
                  <a:pt x="122" y="507"/>
                </a:cubicBezTo>
                <a:cubicBezTo>
                  <a:pt x="123" y="506"/>
                  <a:pt x="124" y="505"/>
                  <a:pt x="124" y="506"/>
                </a:cubicBezTo>
                <a:cubicBezTo>
                  <a:pt x="125" y="506"/>
                  <a:pt x="124" y="508"/>
                  <a:pt x="125" y="510"/>
                </a:cubicBezTo>
                <a:cubicBezTo>
                  <a:pt x="125" y="510"/>
                  <a:pt x="127" y="510"/>
                  <a:pt x="128" y="510"/>
                </a:cubicBezTo>
                <a:cubicBezTo>
                  <a:pt x="129" y="511"/>
                  <a:pt x="129" y="513"/>
                  <a:pt x="132" y="511"/>
                </a:cubicBezTo>
                <a:cubicBezTo>
                  <a:pt x="129" y="514"/>
                  <a:pt x="133" y="512"/>
                  <a:pt x="134" y="513"/>
                </a:cubicBezTo>
                <a:cubicBezTo>
                  <a:pt x="133" y="513"/>
                  <a:pt x="134" y="519"/>
                  <a:pt x="134" y="520"/>
                </a:cubicBezTo>
                <a:cubicBezTo>
                  <a:pt x="134" y="521"/>
                  <a:pt x="132" y="523"/>
                  <a:pt x="132" y="525"/>
                </a:cubicBezTo>
                <a:cubicBezTo>
                  <a:pt x="132" y="525"/>
                  <a:pt x="133" y="524"/>
                  <a:pt x="133" y="524"/>
                </a:cubicBezTo>
                <a:cubicBezTo>
                  <a:pt x="133" y="525"/>
                  <a:pt x="133" y="525"/>
                  <a:pt x="132" y="526"/>
                </a:cubicBezTo>
                <a:cubicBezTo>
                  <a:pt x="132" y="526"/>
                  <a:pt x="132" y="526"/>
                  <a:pt x="132" y="527"/>
                </a:cubicBezTo>
                <a:cubicBezTo>
                  <a:pt x="133" y="526"/>
                  <a:pt x="133" y="526"/>
                  <a:pt x="133" y="526"/>
                </a:cubicBezTo>
                <a:cubicBezTo>
                  <a:pt x="133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6" y="524"/>
                  <a:pt x="142" y="524"/>
                  <a:pt x="145" y="524"/>
                </a:cubicBezTo>
                <a:cubicBezTo>
                  <a:pt x="145" y="523"/>
                  <a:pt x="146" y="522"/>
                  <a:pt x="146" y="522"/>
                </a:cubicBezTo>
                <a:cubicBezTo>
                  <a:pt x="147" y="522"/>
                  <a:pt x="147" y="523"/>
                  <a:pt x="147" y="524"/>
                </a:cubicBezTo>
                <a:cubicBezTo>
                  <a:pt x="147" y="524"/>
                  <a:pt x="148" y="524"/>
                  <a:pt x="148" y="525"/>
                </a:cubicBezTo>
                <a:cubicBezTo>
                  <a:pt x="148" y="526"/>
                  <a:pt x="147" y="526"/>
                  <a:pt x="145" y="527"/>
                </a:cubicBezTo>
                <a:cubicBezTo>
                  <a:pt x="146" y="527"/>
                  <a:pt x="146" y="527"/>
                  <a:pt x="146" y="527"/>
                </a:cubicBezTo>
                <a:cubicBezTo>
                  <a:pt x="146" y="529"/>
                  <a:pt x="146" y="530"/>
                  <a:pt x="145" y="530"/>
                </a:cubicBezTo>
                <a:cubicBezTo>
                  <a:pt x="145" y="531"/>
                  <a:pt x="145" y="532"/>
                  <a:pt x="144" y="533"/>
                </a:cubicBezTo>
                <a:cubicBezTo>
                  <a:pt x="144" y="533"/>
                  <a:pt x="143" y="533"/>
                  <a:pt x="142" y="533"/>
                </a:cubicBezTo>
                <a:cubicBezTo>
                  <a:pt x="142" y="534"/>
                  <a:pt x="143" y="534"/>
                  <a:pt x="144" y="533"/>
                </a:cubicBezTo>
                <a:cubicBezTo>
                  <a:pt x="145" y="533"/>
                  <a:pt x="147" y="530"/>
                  <a:pt x="147" y="530"/>
                </a:cubicBezTo>
                <a:cubicBezTo>
                  <a:pt x="148" y="530"/>
                  <a:pt x="148" y="529"/>
                  <a:pt x="147" y="529"/>
                </a:cubicBezTo>
                <a:cubicBezTo>
                  <a:pt x="151" y="528"/>
                  <a:pt x="150" y="537"/>
                  <a:pt x="148" y="535"/>
                </a:cubicBezTo>
                <a:cubicBezTo>
                  <a:pt x="148" y="535"/>
                  <a:pt x="147" y="533"/>
                  <a:pt x="147" y="533"/>
                </a:cubicBezTo>
                <a:cubicBezTo>
                  <a:pt x="146" y="533"/>
                  <a:pt x="143" y="537"/>
                  <a:pt x="141" y="538"/>
                </a:cubicBezTo>
                <a:cubicBezTo>
                  <a:pt x="140" y="538"/>
                  <a:pt x="140" y="538"/>
                  <a:pt x="139" y="539"/>
                </a:cubicBezTo>
                <a:cubicBezTo>
                  <a:pt x="140" y="540"/>
                  <a:pt x="141" y="541"/>
                  <a:pt x="140" y="542"/>
                </a:cubicBezTo>
                <a:cubicBezTo>
                  <a:pt x="140" y="542"/>
                  <a:pt x="139" y="543"/>
                  <a:pt x="139" y="543"/>
                </a:cubicBezTo>
                <a:cubicBezTo>
                  <a:pt x="139" y="543"/>
                  <a:pt x="138" y="546"/>
                  <a:pt x="138" y="547"/>
                </a:cubicBezTo>
                <a:cubicBezTo>
                  <a:pt x="138" y="547"/>
                  <a:pt x="140" y="546"/>
                  <a:pt x="139" y="546"/>
                </a:cubicBezTo>
                <a:cubicBezTo>
                  <a:pt x="139" y="546"/>
                  <a:pt x="141" y="548"/>
                  <a:pt x="140" y="549"/>
                </a:cubicBezTo>
                <a:cubicBezTo>
                  <a:pt x="140" y="549"/>
                  <a:pt x="140" y="549"/>
                  <a:pt x="139" y="549"/>
                </a:cubicBezTo>
                <a:cubicBezTo>
                  <a:pt x="140" y="549"/>
                  <a:pt x="140" y="550"/>
                  <a:pt x="141" y="550"/>
                </a:cubicBezTo>
                <a:cubicBezTo>
                  <a:pt x="141" y="549"/>
                  <a:pt x="141" y="548"/>
                  <a:pt x="142" y="548"/>
                </a:cubicBezTo>
                <a:cubicBezTo>
                  <a:pt x="141" y="548"/>
                  <a:pt x="141" y="548"/>
                  <a:pt x="140" y="548"/>
                </a:cubicBezTo>
                <a:cubicBezTo>
                  <a:pt x="140" y="547"/>
                  <a:pt x="140" y="547"/>
                  <a:pt x="141" y="547"/>
                </a:cubicBezTo>
                <a:cubicBezTo>
                  <a:pt x="141" y="546"/>
                  <a:pt x="142" y="544"/>
                  <a:pt x="142" y="546"/>
                </a:cubicBezTo>
                <a:cubicBezTo>
                  <a:pt x="143" y="546"/>
                  <a:pt x="142" y="546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3" y="546"/>
                  <a:pt x="144" y="546"/>
                  <a:pt x="145" y="548"/>
                </a:cubicBezTo>
                <a:cubicBezTo>
                  <a:pt x="146" y="549"/>
                  <a:pt x="145" y="550"/>
                  <a:pt x="145" y="551"/>
                </a:cubicBezTo>
                <a:cubicBezTo>
                  <a:pt x="145" y="551"/>
                  <a:pt x="145" y="551"/>
                  <a:pt x="145" y="551"/>
                </a:cubicBezTo>
                <a:cubicBezTo>
                  <a:pt x="147" y="551"/>
                  <a:pt x="145" y="551"/>
                  <a:pt x="146" y="552"/>
                </a:cubicBezTo>
                <a:cubicBezTo>
                  <a:pt x="146" y="552"/>
                  <a:pt x="146" y="552"/>
                  <a:pt x="147" y="552"/>
                </a:cubicBezTo>
                <a:cubicBezTo>
                  <a:pt x="147" y="552"/>
                  <a:pt x="147" y="552"/>
                  <a:pt x="147" y="552"/>
                </a:cubicBezTo>
                <a:cubicBezTo>
                  <a:pt x="147" y="551"/>
                  <a:pt x="148" y="551"/>
                  <a:pt x="148" y="551"/>
                </a:cubicBezTo>
                <a:cubicBezTo>
                  <a:pt x="151" y="552"/>
                  <a:pt x="148" y="556"/>
                  <a:pt x="149" y="558"/>
                </a:cubicBezTo>
                <a:cubicBezTo>
                  <a:pt x="150" y="558"/>
                  <a:pt x="152" y="558"/>
                  <a:pt x="152" y="557"/>
                </a:cubicBezTo>
                <a:cubicBezTo>
                  <a:pt x="153" y="557"/>
                  <a:pt x="153" y="556"/>
                  <a:pt x="154" y="555"/>
                </a:cubicBezTo>
                <a:cubicBezTo>
                  <a:pt x="152" y="554"/>
                  <a:pt x="152" y="553"/>
                  <a:pt x="152" y="551"/>
                </a:cubicBezTo>
                <a:cubicBezTo>
                  <a:pt x="154" y="547"/>
                  <a:pt x="159" y="548"/>
                  <a:pt x="160" y="551"/>
                </a:cubicBezTo>
                <a:cubicBezTo>
                  <a:pt x="161" y="551"/>
                  <a:pt x="161" y="551"/>
                  <a:pt x="162" y="550"/>
                </a:cubicBezTo>
                <a:cubicBezTo>
                  <a:pt x="161" y="550"/>
                  <a:pt x="161" y="551"/>
                  <a:pt x="161" y="551"/>
                </a:cubicBezTo>
                <a:cubicBezTo>
                  <a:pt x="163" y="550"/>
                  <a:pt x="165" y="549"/>
                  <a:pt x="167" y="550"/>
                </a:cubicBezTo>
                <a:cubicBezTo>
                  <a:pt x="169" y="549"/>
                  <a:pt x="170" y="549"/>
                  <a:pt x="170" y="549"/>
                </a:cubicBezTo>
                <a:cubicBezTo>
                  <a:pt x="171" y="550"/>
                  <a:pt x="170" y="550"/>
                  <a:pt x="168" y="551"/>
                </a:cubicBezTo>
                <a:cubicBezTo>
                  <a:pt x="168" y="551"/>
                  <a:pt x="169" y="551"/>
                  <a:pt x="169" y="551"/>
                </a:cubicBezTo>
                <a:cubicBezTo>
                  <a:pt x="169" y="552"/>
                  <a:pt x="169" y="553"/>
                  <a:pt x="169" y="554"/>
                </a:cubicBezTo>
                <a:cubicBezTo>
                  <a:pt x="171" y="554"/>
                  <a:pt x="172" y="555"/>
                  <a:pt x="171" y="557"/>
                </a:cubicBezTo>
                <a:cubicBezTo>
                  <a:pt x="170" y="559"/>
                  <a:pt x="171" y="560"/>
                  <a:pt x="171" y="561"/>
                </a:cubicBezTo>
                <a:cubicBezTo>
                  <a:pt x="171" y="561"/>
                  <a:pt x="170" y="562"/>
                  <a:pt x="170" y="563"/>
                </a:cubicBezTo>
                <a:cubicBezTo>
                  <a:pt x="172" y="561"/>
                  <a:pt x="173" y="559"/>
                  <a:pt x="175" y="558"/>
                </a:cubicBezTo>
                <a:cubicBezTo>
                  <a:pt x="173" y="556"/>
                  <a:pt x="171" y="554"/>
                  <a:pt x="175" y="552"/>
                </a:cubicBezTo>
                <a:cubicBezTo>
                  <a:pt x="175" y="551"/>
                  <a:pt x="176" y="551"/>
                  <a:pt x="177" y="551"/>
                </a:cubicBezTo>
                <a:cubicBezTo>
                  <a:pt x="175" y="551"/>
                  <a:pt x="176" y="547"/>
                  <a:pt x="178" y="548"/>
                </a:cubicBezTo>
                <a:cubicBezTo>
                  <a:pt x="179" y="549"/>
                  <a:pt x="178" y="550"/>
                  <a:pt x="178" y="550"/>
                </a:cubicBezTo>
                <a:cubicBezTo>
                  <a:pt x="177" y="551"/>
                  <a:pt x="177" y="551"/>
                  <a:pt x="177" y="551"/>
                </a:cubicBezTo>
                <a:cubicBezTo>
                  <a:pt x="179" y="551"/>
                  <a:pt x="181" y="550"/>
                  <a:pt x="182" y="550"/>
                </a:cubicBezTo>
                <a:cubicBezTo>
                  <a:pt x="184" y="548"/>
                  <a:pt x="183" y="547"/>
                  <a:pt x="185" y="549"/>
                </a:cubicBezTo>
                <a:cubicBezTo>
                  <a:pt x="186" y="549"/>
                  <a:pt x="186" y="550"/>
                  <a:pt x="188" y="549"/>
                </a:cubicBezTo>
                <a:cubicBezTo>
                  <a:pt x="188" y="549"/>
                  <a:pt x="191" y="545"/>
                  <a:pt x="191" y="548"/>
                </a:cubicBezTo>
                <a:cubicBezTo>
                  <a:pt x="191" y="549"/>
                  <a:pt x="189" y="549"/>
                  <a:pt x="189" y="549"/>
                </a:cubicBezTo>
                <a:cubicBezTo>
                  <a:pt x="190" y="550"/>
                  <a:pt x="194" y="550"/>
                  <a:pt x="194" y="550"/>
                </a:cubicBezTo>
                <a:cubicBezTo>
                  <a:pt x="194" y="551"/>
                  <a:pt x="190" y="553"/>
                  <a:pt x="192" y="555"/>
                </a:cubicBezTo>
                <a:cubicBezTo>
                  <a:pt x="193" y="555"/>
                  <a:pt x="194" y="555"/>
                  <a:pt x="194" y="555"/>
                </a:cubicBezTo>
                <a:cubicBezTo>
                  <a:pt x="194" y="555"/>
                  <a:pt x="193" y="556"/>
                  <a:pt x="193" y="556"/>
                </a:cubicBezTo>
                <a:cubicBezTo>
                  <a:pt x="192" y="558"/>
                  <a:pt x="192" y="558"/>
                  <a:pt x="193" y="558"/>
                </a:cubicBezTo>
                <a:cubicBezTo>
                  <a:pt x="194" y="558"/>
                  <a:pt x="195" y="558"/>
                  <a:pt x="196" y="559"/>
                </a:cubicBezTo>
                <a:cubicBezTo>
                  <a:pt x="196" y="560"/>
                  <a:pt x="195" y="560"/>
                  <a:pt x="194" y="560"/>
                </a:cubicBezTo>
                <a:cubicBezTo>
                  <a:pt x="194" y="561"/>
                  <a:pt x="194" y="561"/>
                  <a:pt x="194" y="561"/>
                </a:cubicBezTo>
                <a:cubicBezTo>
                  <a:pt x="194" y="562"/>
                  <a:pt x="196" y="561"/>
                  <a:pt x="196" y="562"/>
                </a:cubicBezTo>
                <a:cubicBezTo>
                  <a:pt x="197" y="563"/>
                  <a:pt x="195" y="565"/>
                  <a:pt x="195" y="566"/>
                </a:cubicBezTo>
                <a:cubicBezTo>
                  <a:pt x="197" y="568"/>
                  <a:pt x="199" y="565"/>
                  <a:pt x="201" y="566"/>
                </a:cubicBezTo>
                <a:cubicBezTo>
                  <a:pt x="201" y="566"/>
                  <a:pt x="203" y="568"/>
                  <a:pt x="205" y="566"/>
                </a:cubicBezTo>
                <a:cubicBezTo>
                  <a:pt x="206" y="565"/>
                  <a:pt x="204" y="563"/>
                  <a:pt x="208" y="562"/>
                </a:cubicBezTo>
                <a:cubicBezTo>
                  <a:pt x="209" y="561"/>
                  <a:pt x="214" y="560"/>
                  <a:pt x="214" y="562"/>
                </a:cubicBezTo>
                <a:cubicBezTo>
                  <a:pt x="214" y="563"/>
                  <a:pt x="213" y="562"/>
                  <a:pt x="212" y="563"/>
                </a:cubicBezTo>
                <a:cubicBezTo>
                  <a:pt x="211" y="563"/>
                  <a:pt x="213" y="566"/>
                  <a:pt x="213" y="566"/>
                </a:cubicBezTo>
                <a:cubicBezTo>
                  <a:pt x="212" y="567"/>
                  <a:pt x="210" y="567"/>
                  <a:pt x="210" y="568"/>
                </a:cubicBezTo>
                <a:cubicBezTo>
                  <a:pt x="210" y="568"/>
                  <a:pt x="210" y="568"/>
                  <a:pt x="210" y="568"/>
                </a:cubicBezTo>
                <a:cubicBezTo>
                  <a:pt x="210" y="569"/>
                  <a:pt x="210" y="569"/>
                  <a:pt x="210" y="569"/>
                </a:cubicBezTo>
                <a:cubicBezTo>
                  <a:pt x="210" y="570"/>
                  <a:pt x="211" y="572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10" y="574"/>
                  <a:pt x="210" y="575"/>
                  <a:pt x="208" y="576"/>
                </a:cubicBezTo>
                <a:cubicBezTo>
                  <a:pt x="208" y="576"/>
                  <a:pt x="208" y="576"/>
                  <a:pt x="208" y="576"/>
                </a:cubicBezTo>
                <a:cubicBezTo>
                  <a:pt x="208" y="576"/>
                  <a:pt x="209" y="576"/>
                  <a:pt x="209" y="576"/>
                </a:cubicBezTo>
                <a:cubicBezTo>
                  <a:pt x="210" y="576"/>
                  <a:pt x="210" y="576"/>
                  <a:pt x="211" y="577"/>
                </a:cubicBezTo>
                <a:cubicBezTo>
                  <a:pt x="211" y="577"/>
                  <a:pt x="212" y="577"/>
                  <a:pt x="212" y="577"/>
                </a:cubicBezTo>
                <a:cubicBezTo>
                  <a:pt x="212" y="578"/>
                  <a:pt x="211" y="578"/>
                  <a:pt x="211" y="579"/>
                </a:cubicBezTo>
                <a:cubicBezTo>
                  <a:pt x="211" y="579"/>
                  <a:pt x="211" y="580"/>
                  <a:pt x="211" y="580"/>
                </a:cubicBezTo>
                <a:cubicBezTo>
                  <a:pt x="210" y="581"/>
                  <a:pt x="207" y="580"/>
                  <a:pt x="205" y="581"/>
                </a:cubicBezTo>
                <a:cubicBezTo>
                  <a:pt x="206" y="580"/>
                  <a:pt x="206" y="578"/>
                  <a:pt x="204" y="580"/>
                </a:cubicBezTo>
                <a:cubicBezTo>
                  <a:pt x="202" y="581"/>
                  <a:pt x="204" y="581"/>
                  <a:pt x="204" y="582"/>
                </a:cubicBezTo>
                <a:cubicBezTo>
                  <a:pt x="204" y="582"/>
                  <a:pt x="203" y="582"/>
                  <a:pt x="204" y="583"/>
                </a:cubicBezTo>
                <a:cubicBezTo>
                  <a:pt x="204" y="583"/>
                  <a:pt x="204" y="583"/>
                  <a:pt x="204" y="583"/>
                </a:cubicBezTo>
                <a:cubicBezTo>
                  <a:pt x="206" y="582"/>
                  <a:pt x="208" y="582"/>
                  <a:pt x="210" y="583"/>
                </a:cubicBezTo>
                <a:cubicBezTo>
                  <a:pt x="209" y="583"/>
                  <a:pt x="209" y="582"/>
                  <a:pt x="209" y="582"/>
                </a:cubicBezTo>
                <a:cubicBezTo>
                  <a:pt x="209" y="582"/>
                  <a:pt x="209" y="582"/>
                  <a:pt x="209" y="582"/>
                </a:cubicBezTo>
                <a:cubicBezTo>
                  <a:pt x="210" y="581"/>
                  <a:pt x="210" y="582"/>
                  <a:pt x="210" y="583"/>
                </a:cubicBezTo>
                <a:cubicBezTo>
                  <a:pt x="210" y="583"/>
                  <a:pt x="211" y="584"/>
                  <a:pt x="210" y="585"/>
                </a:cubicBezTo>
                <a:cubicBezTo>
                  <a:pt x="210" y="586"/>
                  <a:pt x="208" y="588"/>
                  <a:pt x="205" y="588"/>
                </a:cubicBezTo>
                <a:cubicBezTo>
                  <a:pt x="206" y="588"/>
                  <a:pt x="206" y="590"/>
                  <a:pt x="206" y="591"/>
                </a:cubicBezTo>
                <a:cubicBezTo>
                  <a:pt x="205" y="592"/>
                  <a:pt x="201" y="592"/>
                  <a:pt x="202" y="593"/>
                </a:cubicBezTo>
                <a:cubicBezTo>
                  <a:pt x="201" y="593"/>
                  <a:pt x="199" y="594"/>
                  <a:pt x="198" y="593"/>
                </a:cubicBezTo>
                <a:cubicBezTo>
                  <a:pt x="195" y="591"/>
                  <a:pt x="196" y="591"/>
                  <a:pt x="192" y="592"/>
                </a:cubicBezTo>
                <a:cubicBezTo>
                  <a:pt x="192" y="592"/>
                  <a:pt x="191" y="592"/>
                  <a:pt x="190" y="592"/>
                </a:cubicBezTo>
                <a:cubicBezTo>
                  <a:pt x="188" y="592"/>
                  <a:pt x="189" y="593"/>
                  <a:pt x="189" y="595"/>
                </a:cubicBezTo>
                <a:cubicBezTo>
                  <a:pt x="187" y="593"/>
                  <a:pt x="188" y="595"/>
                  <a:pt x="189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1" y="597"/>
                  <a:pt x="191" y="596"/>
                </a:cubicBezTo>
                <a:cubicBezTo>
                  <a:pt x="190" y="597"/>
                  <a:pt x="192" y="594"/>
                  <a:pt x="193" y="596"/>
                </a:cubicBezTo>
                <a:cubicBezTo>
                  <a:pt x="193" y="596"/>
                  <a:pt x="190" y="600"/>
                  <a:pt x="193" y="600"/>
                </a:cubicBezTo>
                <a:cubicBezTo>
                  <a:pt x="187" y="601"/>
                  <a:pt x="195" y="604"/>
                  <a:pt x="197" y="605"/>
                </a:cubicBezTo>
                <a:cubicBezTo>
                  <a:pt x="198" y="606"/>
                  <a:pt x="198" y="608"/>
                  <a:pt x="198" y="609"/>
                </a:cubicBezTo>
                <a:cubicBezTo>
                  <a:pt x="199" y="610"/>
                  <a:pt x="200" y="610"/>
                  <a:pt x="199" y="611"/>
                </a:cubicBezTo>
                <a:cubicBezTo>
                  <a:pt x="199" y="611"/>
                  <a:pt x="199" y="611"/>
                  <a:pt x="199" y="611"/>
                </a:cubicBezTo>
                <a:cubicBezTo>
                  <a:pt x="200" y="612"/>
                  <a:pt x="200" y="613"/>
                  <a:pt x="201" y="613"/>
                </a:cubicBezTo>
                <a:cubicBezTo>
                  <a:pt x="201" y="613"/>
                  <a:pt x="201" y="613"/>
                  <a:pt x="202" y="613"/>
                </a:cubicBezTo>
                <a:cubicBezTo>
                  <a:pt x="202" y="613"/>
                  <a:pt x="202" y="613"/>
                  <a:pt x="202" y="612"/>
                </a:cubicBezTo>
                <a:cubicBezTo>
                  <a:pt x="203" y="611"/>
                  <a:pt x="204" y="611"/>
                  <a:pt x="206" y="611"/>
                </a:cubicBezTo>
                <a:cubicBezTo>
                  <a:pt x="207" y="611"/>
                  <a:pt x="208" y="612"/>
                  <a:pt x="208" y="613"/>
                </a:cubicBezTo>
                <a:cubicBezTo>
                  <a:pt x="209" y="613"/>
                  <a:pt x="209" y="612"/>
                  <a:pt x="211" y="612"/>
                </a:cubicBezTo>
                <a:cubicBezTo>
                  <a:pt x="211" y="613"/>
                  <a:pt x="210" y="613"/>
                  <a:pt x="208" y="613"/>
                </a:cubicBezTo>
                <a:cubicBezTo>
                  <a:pt x="208" y="614"/>
                  <a:pt x="208" y="615"/>
                  <a:pt x="207" y="615"/>
                </a:cubicBezTo>
                <a:cubicBezTo>
                  <a:pt x="209" y="616"/>
                  <a:pt x="211" y="616"/>
                  <a:pt x="211" y="616"/>
                </a:cubicBezTo>
                <a:cubicBezTo>
                  <a:pt x="211" y="616"/>
                  <a:pt x="211" y="616"/>
                  <a:pt x="212" y="616"/>
                </a:cubicBezTo>
                <a:cubicBezTo>
                  <a:pt x="211" y="615"/>
                  <a:pt x="210" y="615"/>
                  <a:pt x="209" y="615"/>
                </a:cubicBezTo>
                <a:cubicBezTo>
                  <a:pt x="210" y="614"/>
                  <a:pt x="211" y="614"/>
                  <a:pt x="213" y="615"/>
                </a:cubicBezTo>
                <a:cubicBezTo>
                  <a:pt x="213" y="614"/>
                  <a:pt x="213" y="614"/>
                  <a:pt x="213" y="614"/>
                </a:cubicBezTo>
                <a:cubicBezTo>
                  <a:pt x="213" y="614"/>
                  <a:pt x="214" y="612"/>
                  <a:pt x="215" y="613"/>
                </a:cubicBezTo>
                <a:cubicBezTo>
                  <a:pt x="216" y="612"/>
                  <a:pt x="216" y="612"/>
                  <a:pt x="217" y="613"/>
                </a:cubicBezTo>
                <a:cubicBezTo>
                  <a:pt x="217" y="613"/>
                  <a:pt x="216" y="613"/>
                  <a:pt x="216" y="614"/>
                </a:cubicBezTo>
                <a:cubicBezTo>
                  <a:pt x="216" y="614"/>
                  <a:pt x="217" y="616"/>
                  <a:pt x="216" y="615"/>
                </a:cubicBezTo>
                <a:cubicBezTo>
                  <a:pt x="216" y="615"/>
                  <a:pt x="215" y="615"/>
                  <a:pt x="215" y="615"/>
                </a:cubicBezTo>
                <a:cubicBezTo>
                  <a:pt x="215" y="614"/>
                  <a:pt x="215" y="614"/>
                  <a:pt x="215" y="614"/>
                </a:cubicBezTo>
                <a:cubicBezTo>
                  <a:pt x="215" y="614"/>
                  <a:pt x="214" y="615"/>
                  <a:pt x="214" y="615"/>
                </a:cubicBezTo>
                <a:cubicBezTo>
                  <a:pt x="215" y="615"/>
                  <a:pt x="216" y="616"/>
                  <a:pt x="216" y="616"/>
                </a:cubicBezTo>
                <a:cubicBezTo>
                  <a:pt x="216" y="617"/>
                  <a:pt x="215" y="616"/>
                  <a:pt x="214" y="616"/>
                </a:cubicBezTo>
                <a:cubicBezTo>
                  <a:pt x="214" y="616"/>
                  <a:pt x="214" y="617"/>
                  <a:pt x="214" y="617"/>
                </a:cubicBezTo>
                <a:cubicBezTo>
                  <a:pt x="215" y="617"/>
                  <a:pt x="216" y="616"/>
                  <a:pt x="216" y="616"/>
                </a:cubicBezTo>
                <a:cubicBezTo>
                  <a:pt x="217" y="617"/>
                  <a:pt x="218" y="620"/>
                  <a:pt x="220" y="618"/>
                </a:cubicBezTo>
                <a:cubicBezTo>
                  <a:pt x="220" y="618"/>
                  <a:pt x="219" y="617"/>
                  <a:pt x="219" y="617"/>
                </a:cubicBezTo>
                <a:cubicBezTo>
                  <a:pt x="219" y="617"/>
                  <a:pt x="219" y="617"/>
                  <a:pt x="219" y="617"/>
                </a:cubicBezTo>
                <a:cubicBezTo>
                  <a:pt x="219" y="617"/>
                  <a:pt x="219" y="617"/>
                  <a:pt x="218" y="617"/>
                </a:cubicBezTo>
                <a:cubicBezTo>
                  <a:pt x="218" y="616"/>
                  <a:pt x="219" y="615"/>
                  <a:pt x="220" y="616"/>
                </a:cubicBezTo>
                <a:cubicBezTo>
                  <a:pt x="220" y="616"/>
                  <a:pt x="220" y="616"/>
                  <a:pt x="220" y="616"/>
                </a:cubicBezTo>
                <a:cubicBezTo>
                  <a:pt x="221" y="615"/>
                  <a:pt x="224" y="617"/>
                  <a:pt x="225" y="617"/>
                </a:cubicBezTo>
                <a:cubicBezTo>
                  <a:pt x="223" y="618"/>
                  <a:pt x="225" y="619"/>
                  <a:pt x="226" y="620"/>
                </a:cubicBezTo>
                <a:cubicBezTo>
                  <a:pt x="227" y="619"/>
                  <a:pt x="229" y="618"/>
                  <a:pt x="231" y="618"/>
                </a:cubicBezTo>
                <a:cubicBezTo>
                  <a:pt x="230" y="619"/>
                  <a:pt x="228" y="620"/>
                  <a:pt x="226" y="620"/>
                </a:cubicBezTo>
                <a:cubicBezTo>
                  <a:pt x="227" y="621"/>
                  <a:pt x="227" y="621"/>
                  <a:pt x="226" y="622"/>
                </a:cubicBezTo>
                <a:cubicBezTo>
                  <a:pt x="225" y="624"/>
                  <a:pt x="222" y="622"/>
                  <a:pt x="221" y="624"/>
                </a:cubicBezTo>
                <a:cubicBezTo>
                  <a:pt x="220" y="624"/>
                  <a:pt x="222" y="624"/>
                  <a:pt x="222" y="624"/>
                </a:cubicBezTo>
                <a:cubicBezTo>
                  <a:pt x="221" y="626"/>
                  <a:pt x="219" y="627"/>
                  <a:pt x="222" y="628"/>
                </a:cubicBezTo>
                <a:cubicBezTo>
                  <a:pt x="222" y="628"/>
                  <a:pt x="227" y="629"/>
                  <a:pt x="228" y="629"/>
                </a:cubicBezTo>
                <a:cubicBezTo>
                  <a:pt x="231" y="629"/>
                  <a:pt x="233" y="629"/>
                  <a:pt x="235" y="631"/>
                </a:cubicBezTo>
                <a:cubicBezTo>
                  <a:pt x="232" y="631"/>
                  <a:pt x="231" y="632"/>
                  <a:pt x="228" y="633"/>
                </a:cubicBezTo>
                <a:cubicBezTo>
                  <a:pt x="228" y="633"/>
                  <a:pt x="229" y="633"/>
                  <a:pt x="229" y="633"/>
                </a:cubicBezTo>
                <a:cubicBezTo>
                  <a:pt x="229" y="633"/>
                  <a:pt x="228" y="633"/>
                  <a:pt x="228" y="633"/>
                </a:cubicBezTo>
                <a:cubicBezTo>
                  <a:pt x="228" y="633"/>
                  <a:pt x="228" y="633"/>
                  <a:pt x="227" y="633"/>
                </a:cubicBezTo>
                <a:cubicBezTo>
                  <a:pt x="224" y="633"/>
                  <a:pt x="221" y="630"/>
                  <a:pt x="218" y="630"/>
                </a:cubicBezTo>
                <a:cubicBezTo>
                  <a:pt x="218" y="630"/>
                  <a:pt x="215" y="633"/>
                  <a:pt x="214" y="633"/>
                </a:cubicBezTo>
                <a:cubicBezTo>
                  <a:pt x="213" y="633"/>
                  <a:pt x="212" y="632"/>
                  <a:pt x="212" y="633"/>
                </a:cubicBezTo>
                <a:cubicBezTo>
                  <a:pt x="212" y="633"/>
                  <a:pt x="213" y="633"/>
                  <a:pt x="213" y="634"/>
                </a:cubicBezTo>
                <a:cubicBezTo>
                  <a:pt x="213" y="634"/>
                  <a:pt x="213" y="634"/>
                  <a:pt x="214" y="634"/>
                </a:cubicBezTo>
                <a:cubicBezTo>
                  <a:pt x="214" y="633"/>
                  <a:pt x="215" y="633"/>
                  <a:pt x="216" y="633"/>
                </a:cubicBezTo>
                <a:cubicBezTo>
                  <a:pt x="216" y="633"/>
                  <a:pt x="217" y="633"/>
                  <a:pt x="217" y="633"/>
                </a:cubicBezTo>
                <a:cubicBezTo>
                  <a:pt x="217" y="633"/>
                  <a:pt x="217" y="633"/>
                  <a:pt x="217" y="633"/>
                </a:cubicBezTo>
                <a:cubicBezTo>
                  <a:pt x="218" y="633"/>
                  <a:pt x="219" y="633"/>
                  <a:pt x="219" y="634"/>
                </a:cubicBezTo>
                <a:cubicBezTo>
                  <a:pt x="219" y="634"/>
                  <a:pt x="219" y="635"/>
                  <a:pt x="218" y="635"/>
                </a:cubicBezTo>
                <a:cubicBezTo>
                  <a:pt x="218" y="636"/>
                  <a:pt x="217" y="637"/>
                  <a:pt x="216" y="637"/>
                </a:cubicBezTo>
                <a:cubicBezTo>
                  <a:pt x="215" y="637"/>
                  <a:pt x="213" y="636"/>
                  <a:pt x="213" y="635"/>
                </a:cubicBezTo>
                <a:cubicBezTo>
                  <a:pt x="213" y="635"/>
                  <a:pt x="213" y="635"/>
                  <a:pt x="213" y="635"/>
                </a:cubicBezTo>
                <a:cubicBezTo>
                  <a:pt x="213" y="636"/>
                  <a:pt x="211" y="636"/>
                  <a:pt x="210" y="636"/>
                </a:cubicBezTo>
                <a:cubicBezTo>
                  <a:pt x="210" y="636"/>
                  <a:pt x="210" y="637"/>
                  <a:pt x="211" y="637"/>
                </a:cubicBezTo>
                <a:cubicBezTo>
                  <a:pt x="211" y="637"/>
                  <a:pt x="211" y="637"/>
                  <a:pt x="211" y="637"/>
                </a:cubicBezTo>
                <a:cubicBezTo>
                  <a:pt x="212" y="637"/>
                  <a:pt x="211" y="637"/>
                  <a:pt x="211" y="637"/>
                </a:cubicBezTo>
                <a:cubicBezTo>
                  <a:pt x="212" y="639"/>
                  <a:pt x="215" y="640"/>
                  <a:pt x="216" y="641"/>
                </a:cubicBezTo>
                <a:cubicBezTo>
                  <a:pt x="214" y="641"/>
                  <a:pt x="214" y="642"/>
                  <a:pt x="214" y="642"/>
                </a:cubicBezTo>
                <a:cubicBezTo>
                  <a:pt x="216" y="641"/>
                  <a:pt x="219" y="642"/>
                  <a:pt x="216" y="643"/>
                </a:cubicBezTo>
                <a:cubicBezTo>
                  <a:pt x="216" y="643"/>
                  <a:pt x="216" y="644"/>
                  <a:pt x="216" y="644"/>
                </a:cubicBezTo>
                <a:cubicBezTo>
                  <a:pt x="216" y="644"/>
                  <a:pt x="217" y="644"/>
                  <a:pt x="217" y="645"/>
                </a:cubicBezTo>
                <a:cubicBezTo>
                  <a:pt x="219" y="644"/>
                  <a:pt x="222" y="643"/>
                  <a:pt x="224" y="643"/>
                </a:cubicBezTo>
                <a:cubicBezTo>
                  <a:pt x="228" y="642"/>
                  <a:pt x="223" y="645"/>
                  <a:pt x="221" y="645"/>
                </a:cubicBezTo>
                <a:cubicBezTo>
                  <a:pt x="220" y="645"/>
                  <a:pt x="218" y="646"/>
                  <a:pt x="216" y="646"/>
                </a:cubicBezTo>
                <a:cubicBezTo>
                  <a:pt x="216" y="647"/>
                  <a:pt x="216" y="647"/>
                  <a:pt x="215" y="647"/>
                </a:cubicBezTo>
                <a:cubicBezTo>
                  <a:pt x="215" y="647"/>
                  <a:pt x="214" y="647"/>
                  <a:pt x="214" y="647"/>
                </a:cubicBezTo>
                <a:cubicBezTo>
                  <a:pt x="212" y="648"/>
                  <a:pt x="211" y="648"/>
                  <a:pt x="210" y="649"/>
                </a:cubicBezTo>
                <a:cubicBezTo>
                  <a:pt x="209" y="650"/>
                  <a:pt x="208" y="651"/>
                  <a:pt x="208" y="652"/>
                </a:cubicBezTo>
                <a:cubicBezTo>
                  <a:pt x="209" y="652"/>
                  <a:pt x="209" y="652"/>
                  <a:pt x="210" y="653"/>
                </a:cubicBezTo>
                <a:cubicBezTo>
                  <a:pt x="210" y="653"/>
                  <a:pt x="210" y="653"/>
                  <a:pt x="210" y="653"/>
                </a:cubicBezTo>
                <a:cubicBezTo>
                  <a:pt x="210" y="653"/>
                  <a:pt x="210" y="653"/>
                  <a:pt x="211" y="653"/>
                </a:cubicBezTo>
                <a:cubicBezTo>
                  <a:pt x="211" y="653"/>
                  <a:pt x="213" y="654"/>
                  <a:pt x="213" y="654"/>
                </a:cubicBezTo>
                <a:cubicBezTo>
                  <a:pt x="213" y="654"/>
                  <a:pt x="213" y="655"/>
                  <a:pt x="213" y="655"/>
                </a:cubicBezTo>
                <a:cubicBezTo>
                  <a:pt x="213" y="656"/>
                  <a:pt x="212" y="657"/>
                  <a:pt x="210" y="657"/>
                </a:cubicBezTo>
                <a:cubicBezTo>
                  <a:pt x="210" y="658"/>
                  <a:pt x="210" y="658"/>
                  <a:pt x="209" y="659"/>
                </a:cubicBezTo>
                <a:cubicBezTo>
                  <a:pt x="209" y="659"/>
                  <a:pt x="209" y="659"/>
                  <a:pt x="209" y="659"/>
                </a:cubicBezTo>
                <a:cubicBezTo>
                  <a:pt x="210" y="660"/>
                  <a:pt x="212" y="660"/>
                  <a:pt x="213" y="660"/>
                </a:cubicBezTo>
                <a:cubicBezTo>
                  <a:pt x="214" y="660"/>
                  <a:pt x="216" y="660"/>
                  <a:pt x="216" y="661"/>
                </a:cubicBezTo>
                <a:cubicBezTo>
                  <a:pt x="217" y="662"/>
                  <a:pt x="218" y="663"/>
                  <a:pt x="218" y="663"/>
                </a:cubicBezTo>
                <a:cubicBezTo>
                  <a:pt x="218" y="663"/>
                  <a:pt x="219" y="663"/>
                  <a:pt x="220" y="664"/>
                </a:cubicBezTo>
                <a:cubicBezTo>
                  <a:pt x="221" y="665"/>
                  <a:pt x="221" y="667"/>
                  <a:pt x="219" y="667"/>
                </a:cubicBezTo>
                <a:cubicBezTo>
                  <a:pt x="219" y="667"/>
                  <a:pt x="219" y="667"/>
                  <a:pt x="219" y="667"/>
                </a:cubicBezTo>
                <a:cubicBezTo>
                  <a:pt x="219" y="668"/>
                  <a:pt x="219" y="668"/>
                  <a:pt x="219" y="669"/>
                </a:cubicBezTo>
                <a:cubicBezTo>
                  <a:pt x="220" y="669"/>
                  <a:pt x="221" y="668"/>
                  <a:pt x="222" y="669"/>
                </a:cubicBezTo>
                <a:cubicBezTo>
                  <a:pt x="222" y="668"/>
                  <a:pt x="223" y="667"/>
                  <a:pt x="223" y="667"/>
                </a:cubicBezTo>
                <a:cubicBezTo>
                  <a:pt x="223" y="667"/>
                  <a:pt x="225" y="666"/>
                  <a:pt x="226" y="666"/>
                </a:cubicBezTo>
                <a:cubicBezTo>
                  <a:pt x="227" y="664"/>
                  <a:pt x="228" y="664"/>
                  <a:pt x="229" y="664"/>
                </a:cubicBezTo>
                <a:cubicBezTo>
                  <a:pt x="230" y="664"/>
                  <a:pt x="229" y="663"/>
                  <a:pt x="230" y="663"/>
                </a:cubicBezTo>
                <a:cubicBezTo>
                  <a:pt x="231" y="662"/>
                  <a:pt x="232" y="664"/>
                  <a:pt x="232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4" y="663"/>
                </a:cubicBezTo>
                <a:cubicBezTo>
                  <a:pt x="235" y="664"/>
                  <a:pt x="235" y="662"/>
                  <a:pt x="236" y="663"/>
                </a:cubicBezTo>
                <a:cubicBezTo>
                  <a:pt x="236" y="663"/>
                  <a:pt x="235" y="664"/>
                  <a:pt x="235" y="664"/>
                </a:cubicBezTo>
                <a:cubicBezTo>
                  <a:pt x="236" y="665"/>
                  <a:pt x="241" y="668"/>
                  <a:pt x="241" y="670"/>
                </a:cubicBezTo>
                <a:cubicBezTo>
                  <a:pt x="241" y="672"/>
                  <a:pt x="236" y="672"/>
                  <a:pt x="235" y="674"/>
                </a:cubicBezTo>
                <a:cubicBezTo>
                  <a:pt x="235" y="675"/>
                  <a:pt x="236" y="676"/>
                  <a:pt x="235" y="677"/>
                </a:cubicBezTo>
                <a:cubicBezTo>
                  <a:pt x="233" y="677"/>
                  <a:pt x="234" y="675"/>
                  <a:pt x="233" y="675"/>
                </a:cubicBezTo>
                <a:cubicBezTo>
                  <a:pt x="232" y="674"/>
                  <a:pt x="227" y="674"/>
                  <a:pt x="225" y="673"/>
                </a:cubicBezTo>
                <a:cubicBezTo>
                  <a:pt x="225" y="673"/>
                  <a:pt x="224" y="672"/>
                  <a:pt x="223" y="672"/>
                </a:cubicBezTo>
                <a:cubicBezTo>
                  <a:pt x="221" y="673"/>
                  <a:pt x="217" y="673"/>
                  <a:pt x="217" y="674"/>
                </a:cubicBezTo>
                <a:cubicBezTo>
                  <a:pt x="216" y="674"/>
                  <a:pt x="218" y="674"/>
                  <a:pt x="218" y="675"/>
                </a:cubicBezTo>
                <a:cubicBezTo>
                  <a:pt x="217" y="675"/>
                  <a:pt x="216" y="674"/>
                  <a:pt x="215" y="674"/>
                </a:cubicBezTo>
                <a:cubicBezTo>
                  <a:pt x="213" y="674"/>
                  <a:pt x="210" y="675"/>
                  <a:pt x="207" y="675"/>
                </a:cubicBezTo>
                <a:cubicBezTo>
                  <a:pt x="208" y="676"/>
                  <a:pt x="208" y="677"/>
                  <a:pt x="208" y="677"/>
                </a:cubicBezTo>
                <a:cubicBezTo>
                  <a:pt x="209" y="677"/>
                  <a:pt x="209" y="676"/>
                  <a:pt x="209" y="676"/>
                </a:cubicBezTo>
                <a:cubicBezTo>
                  <a:pt x="210" y="676"/>
                  <a:pt x="212" y="677"/>
                  <a:pt x="214" y="679"/>
                </a:cubicBezTo>
                <a:cubicBezTo>
                  <a:pt x="215" y="679"/>
                  <a:pt x="216" y="679"/>
                  <a:pt x="216" y="679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7" y="681"/>
                  <a:pt x="216" y="682"/>
                  <a:pt x="216" y="682"/>
                </a:cubicBezTo>
                <a:cubicBezTo>
                  <a:pt x="218" y="684"/>
                  <a:pt x="222" y="683"/>
                  <a:pt x="224" y="683"/>
                </a:cubicBezTo>
                <a:cubicBezTo>
                  <a:pt x="224" y="683"/>
                  <a:pt x="224" y="684"/>
                  <a:pt x="225" y="684"/>
                </a:cubicBezTo>
                <a:cubicBezTo>
                  <a:pt x="225" y="684"/>
                  <a:pt x="225" y="684"/>
                  <a:pt x="225" y="684"/>
                </a:cubicBezTo>
                <a:cubicBezTo>
                  <a:pt x="225" y="683"/>
                  <a:pt x="230" y="681"/>
                  <a:pt x="231" y="682"/>
                </a:cubicBezTo>
                <a:cubicBezTo>
                  <a:pt x="232" y="684"/>
                  <a:pt x="231" y="686"/>
                  <a:pt x="229" y="686"/>
                </a:cubicBezTo>
                <a:cubicBezTo>
                  <a:pt x="229" y="686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30" y="688"/>
                  <a:pt x="231" y="688"/>
                  <a:pt x="232" y="687"/>
                </a:cubicBezTo>
                <a:cubicBezTo>
                  <a:pt x="232" y="687"/>
                  <a:pt x="232" y="687"/>
                  <a:pt x="232" y="687"/>
                </a:cubicBezTo>
                <a:cubicBezTo>
                  <a:pt x="232" y="687"/>
                  <a:pt x="233" y="686"/>
                  <a:pt x="233" y="686"/>
                </a:cubicBezTo>
                <a:cubicBezTo>
                  <a:pt x="234" y="685"/>
                  <a:pt x="237" y="685"/>
                  <a:pt x="239" y="683"/>
                </a:cubicBezTo>
                <a:cubicBezTo>
                  <a:pt x="240" y="682"/>
                  <a:pt x="243" y="680"/>
                  <a:pt x="244" y="680"/>
                </a:cubicBezTo>
                <a:cubicBezTo>
                  <a:pt x="245" y="681"/>
                  <a:pt x="245" y="682"/>
                  <a:pt x="246" y="683"/>
                </a:cubicBezTo>
                <a:cubicBezTo>
                  <a:pt x="246" y="683"/>
                  <a:pt x="246" y="682"/>
                  <a:pt x="247" y="682"/>
                </a:cubicBezTo>
                <a:cubicBezTo>
                  <a:pt x="248" y="682"/>
                  <a:pt x="249" y="683"/>
                  <a:pt x="249" y="684"/>
                </a:cubicBezTo>
                <a:cubicBezTo>
                  <a:pt x="250" y="684"/>
                  <a:pt x="251" y="684"/>
                  <a:pt x="251" y="685"/>
                </a:cubicBezTo>
                <a:cubicBezTo>
                  <a:pt x="251" y="685"/>
                  <a:pt x="250" y="686"/>
                  <a:pt x="249" y="686"/>
                </a:cubicBezTo>
                <a:cubicBezTo>
                  <a:pt x="248" y="687"/>
                  <a:pt x="247" y="688"/>
                  <a:pt x="246" y="686"/>
                </a:cubicBezTo>
                <a:cubicBezTo>
                  <a:pt x="246" y="685"/>
                  <a:pt x="246" y="686"/>
                  <a:pt x="246" y="687"/>
                </a:cubicBezTo>
                <a:cubicBezTo>
                  <a:pt x="247" y="688"/>
                  <a:pt x="248" y="688"/>
                  <a:pt x="248" y="689"/>
                </a:cubicBezTo>
                <a:cubicBezTo>
                  <a:pt x="248" y="690"/>
                  <a:pt x="247" y="690"/>
                  <a:pt x="245" y="691"/>
                </a:cubicBezTo>
                <a:cubicBezTo>
                  <a:pt x="247" y="692"/>
                  <a:pt x="248" y="693"/>
                  <a:pt x="248" y="694"/>
                </a:cubicBezTo>
                <a:cubicBezTo>
                  <a:pt x="248" y="694"/>
                  <a:pt x="247" y="696"/>
                  <a:pt x="246" y="697"/>
                </a:cubicBezTo>
                <a:cubicBezTo>
                  <a:pt x="252" y="699"/>
                  <a:pt x="257" y="700"/>
                  <a:pt x="263" y="702"/>
                </a:cubicBezTo>
                <a:cubicBezTo>
                  <a:pt x="263" y="702"/>
                  <a:pt x="263" y="702"/>
                  <a:pt x="264" y="701"/>
                </a:cubicBezTo>
                <a:cubicBezTo>
                  <a:pt x="264" y="701"/>
                  <a:pt x="265" y="702"/>
                  <a:pt x="266" y="702"/>
                </a:cubicBezTo>
                <a:cubicBezTo>
                  <a:pt x="267" y="702"/>
                  <a:pt x="267" y="701"/>
                  <a:pt x="268" y="701"/>
                </a:cubicBezTo>
                <a:cubicBezTo>
                  <a:pt x="269" y="701"/>
                  <a:pt x="271" y="702"/>
                  <a:pt x="273" y="702"/>
                </a:cubicBezTo>
                <a:cubicBezTo>
                  <a:pt x="274" y="703"/>
                  <a:pt x="274" y="702"/>
                  <a:pt x="274" y="703"/>
                </a:cubicBezTo>
                <a:cubicBezTo>
                  <a:pt x="275" y="703"/>
                  <a:pt x="274" y="704"/>
                  <a:pt x="274" y="705"/>
                </a:cubicBezTo>
                <a:cubicBezTo>
                  <a:pt x="281" y="707"/>
                  <a:pt x="289" y="708"/>
                  <a:pt x="296" y="709"/>
                </a:cubicBezTo>
                <a:cubicBezTo>
                  <a:pt x="297" y="708"/>
                  <a:pt x="297" y="708"/>
                  <a:pt x="298" y="707"/>
                </a:cubicBezTo>
                <a:cubicBezTo>
                  <a:pt x="298" y="707"/>
                  <a:pt x="304" y="707"/>
                  <a:pt x="305" y="707"/>
                </a:cubicBezTo>
                <a:cubicBezTo>
                  <a:pt x="306" y="707"/>
                  <a:pt x="307" y="708"/>
                  <a:pt x="308" y="708"/>
                </a:cubicBezTo>
                <a:cubicBezTo>
                  <a:pt x="307" y="708"/>
                  <a:pt x="307" y="708"/>
                  <a:pt x="307" y="707"/>
                </a:cubicBezTo>
                <a:cubicBezTo>
                  <a:pt x="306" y="706"/>
                  <a:pt x="306" y="704"/>
                  <a:pt x="307" y="703"/>
                </a:cubicBezTo>
                <a:cubicBezTo>
                  <a:pt x="311" y="699"/>
                  <a:pt x="321" y="702"/>
                  <a:pt x="325" y="704"/>
                </a:cubicBezTo>
                <a:cubicBezTo>
                  <a:pt x="325" y="703"/>
                  <a:pt x="325" y="703"/>
                  <a:pt x="325" y="702"/>
                </a:cubicBezTo>
                <a:cubicBezTo>
                  <a:pt x="326" y="699"/>
                  <a:pt x="334" y="701"/>
                  <a:pt x="334" y="704"/>
                </a:cubicBezTo>
                <a:cubicBezTo>
                  <a:pt x="334" y="704"/>
                  <a:pt x="336" y="705"/>
                  <a:pt x="336" y="705"/>
                </a:cubicBezTo>
                <a:cubicBezTo>
                  <a:pt x="336" y="706"/>
                  <a:pt x="334" y="706"/>
                  <a:pt x="334" y="705"/>
                </a:cubicBezTo>
                <a:cubicBezTo>
                  <a:pt x="333" y="706"/>
                  <a:pt x="330" y="707"/>
                  <a:pt x="328" y="706"/>
                </a:cubicBezTo>
                <a:cubicBezTo>
                  <a:pt x="327" y="706"/>
                  <a:pt x="325" y="706"/>
                  <a:pt x="324" y="708"/>
                </a:cubicBezTo>
                <a:cubicBezTo>
                  <a:pt x="324" y="708"/>
                  <a:pt x="324" y="710"/>
                  <a:pt x="324" y="710"/>
                </a:cubicBezTo>
                <a:cubicBezTo>
                  <a:pt x="323" y="711"/>
                  <a:pt x="321" y="711"/>
                  <a:pt x="321" y="711"/>
                </a:cubicBezTo>
                <a:cubicBezTo>
                  <a:pt x="321" y="712"/>
                  <a:pt x="322" y="713"/>
                  <a:pt x="323" y="713"/>
                </a:cubicBezTo>
                <a:cubicBezTo>
                  <a:pt x="328" y="713"/>
                  <a:pt x="334" y="714"/>
                  <a:pt x="339" y="714"/>
                </a:cubicBezTo>
                <a:cubicBezTo>
                  <a:pt x="338" y="712"/>
                  <a:pt x="340" y="712"/>
                  <a:pt x="342" y="712"/>
                </a:cubicBezTo>
                <a:cubicBezTo>
                  <a:pt x="342" y="712"/>
                  <a:pt x="343" y="712"/>
                  <a:pt x="344" y="712"/>
                </a:cubicBezTo>
                <a:cubicBezTo>
                  <a:pt x="344" y="712"/>
                  <a:pt x="344" y="713"/>
                  <a:pt x="344" y="713"/>
                </a:cubicBezTo>
                <a:cubicBezTo>
                  <a:pt x="344" y="713"/>
                  <a:pt x="345" y="713"/>
                  <a:pt x="345" y="714"/>
                </a:cubicBezTo>
                <a:cubicBezTo>
                  <a:pt x="345" y="714"/>
                  <a:pt x="346" y="714"/>
                  <a:pt x="346" y="714"/>
                </a:cubicBezTo>
                <a:cubicBezTo>
                  <a:pt x="346" y="713"/>
                  <a:pt x="347" y="712"/>
                  <a:pt x="347" y="712"/>
                </a:cubicBezTo>
                <a:cubicBezTo>
                  <a:pt x="348" y="712"/>
                  <a:pt x="349" y="712"/>
                  <a:pt x="349" y="712"/>
                </a:cubicBezTo>
                <a:cubicBezTo>
                  <a:pt x="350" y="712"/>
                  <a:pt x="351" y="711"/>
                  <a:pt x="352" y="711"/>
                </a:cubicBezTo>
                <a:cubicBezTo>
                  <a:pt x="352" y="710"/>
                  <a:pt x="352" y="710"/>
                  <a:pt x="354" y="709"/>
                </a:cubicBezTo>
                <a:cubicBezTo>
                  <a:pt x="355" y="709"/>
                  <a:pt x="355" y="708"/>
                  <a:pt x="357" y="708"/>
                </a:cubicBezTo>
                <a:cubicBezTo>
                  <a:pt x="360" y="707"/>
                  <a:pt x="365" y="706"/>
                  <a:pt x="369" y="705"/>
                </a:cubicBezTo>
                <a:cubicBezTo>
                  <a:pt x="370" y="705"/>
                  <a:pt x="370" y="705"/>
                  <a:pt x="370" y="705"/>
                </a:cubicBezTo>
                <a:cubicBezTo>
                  <a:pt x="370" y="705"/>
                  <a:pt x="369" y="705"/>
                  <a:pt x="369" y="705"/>
                </a:cubicBezTo>
                <a:cubicBezTo>
                  <a:pt x="368" y="705"/>
                  <a:pt x="367" y="704"/>
                  <a:pt x="366" y="702"/>
                </a:cubicBezTo>
                <a:cubicBezTo>
                  <a:pt x="365" y="702"/>
                  <a:pt x="365" y="702"/>
                  <a:pt x="365" y="701"/>
                </a:cubicBezTo>
                <a:cubicBezTo>
                  <a:pt x="365" y="700"/>
                  <a:pt x="364" y="699"/>
                  <a:pt x="365" y="698"/>
                </a:cubicBezTo>
                <a:cubicBezTo>
                  <a:pt x="366" y="692"/>
                  <a:pt x="379" y="693"/>
                  <a:pt x="384" y="696"/>
                </a:cubicBezTo>
                <a:cubicBezTo>
                  <a:pt x="386" y="697"/>
                  <a:pt x="387" y="699"/>
                  <a:pt x="388" y="701"/>
                </a:cubicBezTo>
                <a:cubicBezTo>
                  <a:pt x="390" y="700"/>
                  <a:pt x="392" y="699"/>
                  <a:pt x="392" y="700"/>
                </a:cubicBezTo>
                <a:cubicBezTo>
                  <a:pt x="393" y="701"/>
                  <a:pt x="391" y="702"/>
                  <a:pt x="389" y="702"/>
                </a:cubicBezTo>
                <a:cubicBezTo>
                  <a:pt x="389" y="702"/>
                  <a:pt x="389" y="702"/>
                  <a:pt x="389" y="702"/>
                </a:cubicBezTo>
                <a:cubicBezTo>
                  <a:pt x="390" y="703"/>
                  <a:pt x="391" y="704"/>
                  <a:pt x="391" y="704"/>
                </a:cubicBezTo>
                <a:cubicBezTo>
                  <a:pt x="391" y="706"/>
                  <a:pt x="387" y="707"/>
                  <a:pt x="383" y="708"/>
                </a:cubicBezTo>
                <a:cubicBezTo>
                  <a:pt x="388" y="708"/>
                  <a:pt x="395" y="708"/>
                  <a:pt x="399" y="708"/>
                </a:cubicBezTo>
                <a:cubicBezTo>
                  <a:pt x="399" y="708"/>
                  <a:pt x="406" y="707"/>
                  <a:pt x="406" y="708"/>
                </a:cubicBezTo>
                <a:cubicBezTo>
                  <a:pt x="407" y="710"/>
                  <a:pt x="401" y="709"/>
                  <a:pt x="400" y="709"/>
                </a:cubicBezTo>
                <a:cubicBezTo>
                  <a:pt x="394" y="709"/>
                  <a:pt x="384" y="709"/>
                  <a:pt x="378" y="709"/>
                </a:cubicBezTo>
                <a:cubicBezTo>
                  <a:pt x="378" y="709"/>
                  <a:pt x="377" y="709"/>
                  <a:pt x="377" y="709"/>
                </a:cubicBezTo>
                <a:cubicBezTo>
                  <a:pt x="377" y="709"/>
                  <a:pt x="377" y="709"/>
                  <a:pt x="377" y="708"/>
                </a:cubicBezTo>
                <a:cubicBezTo>
                  <a:pt x="378" y="708"/>
                  <a:pt x="378" y="708"/>
                  <a:pt x="379" y="708"/>
                </a:cubicBezTo>
                <a:cubicBezTo>
                  <a:pt x="377" y="708"/>
                  <a:pt x="376" y="708"/>
                  <a:pt x="375" y="708"/>
                </a:cubicBezTo>
                <a:cubicBezTo>
                  <a:pt x="374" y="708"/>
                  <a:pt x="374" y="709"/>
                  <a:pt x="373" y="709"/>
                </a:cubicBezTo>
                <a:cubicBezTo>
                  <a:pt x="373" y="709"/>
                  <a:pt x="372" y="709"/>
                  <a:pt x="372" y="709"/>
                </a:cubicBezTo>
                <a:cubicBezTo>
                  <a:pt x="372" y="709"/>
                  <a:pt x="371" y="710"/>
                  <a:pt x="370" y="710"/>
                </a:cubicBezTo>
                <a:cubicBezTo>
                  <a:pt x="369" y="710"/>
                  <a:pt x="367" y="710"/>
                  <a:pt x="366" y="711"/>
                </a:cubicBezTo>
                <a:cubicBezTo>
                  <a:pt x="364" y="711"/>
                  <a:pt x="363" y="712"/>
                  <a:pt x="361" y="713"/>
                </a:cubicBezTo>
                <a:cubicBezTo>
                  <a:pt x="360" y="713"/>
                  <a:pt x="360" y="713"/>
                  <a:pt x="360" y="713"/>
                </a:cubicBezTo>
                <a:cubicBezTo>
                  <a:pt x="359" y="713"/>
                  <a:pt x="358" y="714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554" y="715"/>
                  <a:pt x="714" y="555"/>
                  <a:pt x="714" y="357"/>
                </a:cubicBezTo>
                <a:cubicBezTo>
                  <a:pt x="714" y="339"/>
                  <a:pt x="713" y="322"/>
                  <a:pt x="710" y="304"/>
                </a:cubicBezTo>
                <a:close/>
                <a:moveTo>
                  <a:pt x="703" y="277"/>
                </a:moveTo>
                <a:cubicBezTo>
                  <a:pt x="704" y="277"/>
                  <a:pt x="703" y="279"/>
                  <a:pt x="702" y="279"/>
                </a:cubicBezTo>
                <a:cubicBezTo>
                  <a:pt x="702" y="278"/>
                  <a:pt x="703" y="278"/>
                  <a:pt x="703" y="277"/>
                </a:cubicBezTo>
                <a:close/>
                <a:moveTo>
                  <a:pt x="702" y="292"/>
                </a:moveTo>
                <a:cubicBezTo>
                  <a:pt x="702" y="292"/>
                  <a:pt x="702" y="292"/>
                  <a:pt x="702" y="292"/>
                </a:cubicBezTo>
                <a:cubicBezTo>
                  <a:pt x="702" y="292"/>
                  <a:pt x="701" y="293"/>
                  <a:pt x="701" y="293"/>
                </a:cubicBezTo>
                <a:cubicBezTo>
                  <a:pt x="701" y="293"/>
                  <a:pt x="701" y="292"/>
                  <a:pt x="702" y="292"/>
                </a:cubicBezTo>
                <a:close/>
                <a:moveTo>
                  <a:pt x="699" y="271"/>
                </a:moveTo>
                <a:cubicBezTo>
                  <a:pt x="697" y="274"/>
                  <a:pt x="700" y="270"/>
                  <a:pt x="699" y="271"/>
                </a:cubicBezTo>
                <a:close/>
                <a:moveTo>
                  <a:pt x="681" y="279"/>
                </a:moveTo>
                <a:cubicBezTo>
                  <a:pt x="681" y="277"/>
                  <a:pt x="683" y="278"/>
                  <a:pt x="681" y="279"/>
                </a:cubicBezTo>
                <a:close/>
                <a:moveTo>
                  <a:pt x="682" y="275"/>
                </a:moveTo>
                <a:cubicBezTo>
                  <a:pt x="683" y="276"/>
                  <a:pt x="681" y="277"/>
                  <a:pt x="682" y="275"/>
                </a:cubicBezTo>
                <a:close/>
                <a:moveTo>
                  <a:pt x="686" y="247"/>
                </a:moveTo>
                <a:cubicBezTo>
                  <a:pt x="687" y="248"/>
                  <a:pt x="687" y="250"/>
                  <a:pt x="687" y="252"/>
                </a:cubicBezTo>
                <a:cubicBezTo>
                  <a:pt x="686" y="251"/>
                  <a:pt x="686" y="249"/>
                  <a:pt x="686" y="247"/>
                </a:cubicBezTo>
                <a:close/>
                <a:moveTo>
                  <a:pt x="680" y="254"/>
                </a:moveTo>
                <a:cubicBezTo>
                  <a:pt x="680" y="255"/>
                  <a:pt x="681" y="252"/>
                  <a:pt x="680" y="254"/>
                </a:cubicBezTo>
                <a:close/>
                <a:moveTo>
                  <a:pt x="684" y="227"/>
                </a:moveTo>
                <a:cubicBezTo>
                  <a:pt x="687" y="230"/>
                  <a:pt x="682" y="233"/>
                  <a:pt x="680" y="234"/>
                </a:cubicBezTo>
                <a:cubicBezTo>
                  <a:pt x="678" y="231"/>
                  <a:pt x="681" y="225"/>
                  <a:pt x="684" y="227"/>
                </a:cubicBezTo>
                <a:close/>
                <a:moveTo>
                  <a:pt x="634" y="190"/>
                </a:moveTo>
                <a:cubicBezTo>
                  <a:pt x="634" y="190"/>
                  <a:pt x="634" y="191"/>
                  <a:pt x="634" y="191"/>
                </a:cubicBezTo>
                <a:cubicBezTo>
                  <a:pt x="635" y="194"/>
                  <a:pt x="630" y="192"/>
                  <a:pt x="634" y="190"/>
                </a:cubicBezTo>
                <a:close/>
                <a:moveTo>
                  <a:pt x="574" y="146"/>
                </a:moveTo>
                <a:cubicBezTo>
                  <a:pt x="575" y="147"/>
                  <a:pt x="573" y="147"/>
                  <a:pt x="573" y="146"/>
                </a:cubicBezTo>
                <a:cubicBezTo>
                  <a:pt x="572" y="146"/>
                  <a:pt x="574" y="145"/>
                  <a:pt x="574" y="146"/>
                </a:cubicBezTo>
                <a:close/>
                <a:moveTo>
                  <a:pt x="571" y="138"/>
                </a:moveTo>
                <a:cubicBezTo>
                  <a:pt x="571" y="138"/>
                  <a:pt x="571" y="138"/>
                  <a:pt x="571" y="138"/>
                </a:cubicBezTo>
                <a:cubicBezTo>
                  <a:pt x="572" y="140"/>
                  <a:pt x="569" y="137"/>
                  <a:pt x="571" y="138"/>
                </a:cubicBezTo>
                <a:close/>
                <a:moveTo>
                  <a:pt x="566" y="136"/>
                </a:moveTo>
                <a:cubicBezTo>
                  <a:pt x="566" y="137"/>
                  <a:pt x="564" y="137"/>
                  <a:pt x="564" y="137"/>
                </a:cubicBezTo>
                <a:cubicBezTo>
                  <a:pt x="564" y="136"/>
                  <a:pt x="566" y="135"/>
                  <a:pt x="566" y="136"/>
                </a:cubicBezTo>
                <a:close/>
                <a:moveTo>
                  <a:pt x="562" y="145"/>
                </a:moveTo>
                <a:cubicBezTo>
                  <a:pt x="563" y="146"/>
                  <a:pt x="562" y="146"/>
                  <a:pt x="562" y="146"/>
                </a:cubicBezTo>
                <a:cubicBezTo>
                  <a:pt x="561" y="145"/>
                  <a:pt x="562" y="145"/>
                  <a:pt x="562" y="145"/>
                </a:cubicBezTo>
                <a:close/>
                <a:moveTo>
                  <a:pt x="549" y="88"/>
                </a:moveTo>
                <a:cubicBezTo>
                  <a:pt x="549" y="88"/>
                  <a:pt x="549" y="88"/>
                  <a:pt x="549" y="88"/>
                </a:cubicBezTo>
                <a:cubicBezTo>
                  <a:pt x="549" y="88"/>
                  <a:pt x="549" y="88"/>
                  <a:pt x="549" y="88"/>
                </a:cubicBezTo>
                <a:close/>
                <a:moveTo>
                  <a:pt x="549" y="88"/>
                </a:moveTo>
                <a:cubicBezTo>
                  <a:pt x="549" y="88"/>
                  <a:pt x="548" y="88"/>
                  <a:pt x="549" y="88"/>
                </a:cubicBezTo>
                <a:close/>
                <a:moveTo>
                  <a:pt x="549" y="90"/>
                </a:moveTo>
                <a:cubicBezTo>
                  <a:pt x="549" y="91"/>
                  <a:pt x="548" y="91"/>
                  <a:pt x="548" y="91"/>
                </a:cubicBezTo>
                <a:cubicBezTo>
                  <a:pt x="548" y="91"/>
                  <a:pt x="549" y="90"/>
                  <a:pt x="549" y="90"/>
                </a:cubicBezTo>
                <a:close/>
                <a:moveTo>
                  <a:pt x="547" y="89"/>
                </a:moveTo>
                <a:cubicBezTo>
                  <a:pt x="546" y="89"/>
                  <a:pt x="546" y="90"/>
                  <a:pt x="545" y="90"/>
                </a:cubicBezTo>
                <a:cubicBezTo>
                  <a:pt x="546" y="90"/>
                  <a:pt x="544" y="88"/>
                  <a:pt x="544" y="88"/>
                </a:cubicBezTo>
                <a:cubicBezTo>
                  <a:pt x="545" y="87"/>
                  <a:pt x="547" y="87"/>
                  <a:pt x="547" y="89"/>
                </a:cubicBezTo>
                <a:close/>
                <a:moveTo>
                  <a:pt x="540" y="94"/>
                </a:moveTo>
                <a:cubicBezTo>
                  <a:pt x="541" y="94"/>
                  <a:pt x="539" y="94"/>
                  <a:pt x="539" y="94"/>
                </a:cubicBezTo>
                <a:cubicBezTo>
                  <a:pt x="539" y="93"/>
                  <a:pt x="540" y="93"/>
                  <a:pt x="540" y="94"/>
                </a:cubicBezTo>
                <a:close/>
                <a:moveTo>
                  <a:pt x="540" y="97"/>
                </a:moveTo>
                <a:cubicBezTo>
                  <a:pt x="540" y="96"/>
                  <a:pt x="538" y="98"/>
                  <a:pt x="539" y="97"/>
                </a:cubicBezTo>
                <a:cubicBezTo>
                  <a:pt x="539" y="96"/>
                  <a:pt x="542" y="93"/>
                  <a:pt x="544" y="93"/>
                </a:cubicBezTo>
                <a:cubicBezTo>
                  <a:pt x="546" y="93"/>
                  <a:pt x="549" y="94"/>
                  <a:pt x="548" y="96"/>
                </a:cubicBezTo>
                <a:cubicBezTo>
                  <a:pt x="548" y="98"/>
                  <a:pt x="544" y="100"/>
                  <a:pt x="542" y="100"/>
                </a:cubicBezTo>
                <a:cubicBezTo>
                  <a:pt x="541" y="100"/>
                  <a:pt x="540" y="99"/>
                  <a:pt x="540" y="99"/>
                </a:cubicBezTo>
                <a:cubicBezTo>
                  <a:pt x="539" y="99"/>
                  <a:pt x="538" y="101"/>
                  <a:pt x="538" y="99"/>
                </a:cubicBezTo>
                <a:cubicBezTo>
                  <a:pt x="538" y="99"/>
                  <a:pt x="540" y="97"/>
                  <a:pt x="540" y="97"/>
                </a:cubicBezTo>
                <a:close/>
                <a:moveTo>
                  <a:pt x="535" y="95"/>
                </a:moveTo>
                <a:cubicBezTo>
                  <a:pt x="536" y="96"/>
                  <a:pt x="533" y="95"/>
                  <a:pt x="535" y="95"/>
                </a:cubicBezTo>
                <a:close/>
                <a:moveTo>
                  <a:pt x="535" y="97"/>
                </a:moveTo>
                <a:cubicBezTo>
                  <a:pt x="535" y="97"/>
                  <a:pt x="535" y="96"/>
                  <a:pt x="535" y="96"/>
                </a:cubicBezTo>
                <a:cubicBezTo>
                  <a:pt x="535" y="97"/>
                  <a:pt x="536" y="97"/>
                  <a:pt x="535" y="97"/>
                </a:cubicBezTo>
                <a:close/>
                <a:moveTo>
                  <a:pt x="534" y="111"/>
                </a:moveTo>
                <a:cubicBezTo>
                  <a:pt x="534" y="110"/>
                  <a:pt x="535" y="109"/>
                  <a:pt x="536" y="110"/>
                </a:cubicBezTo>
                <a:cubicBezTo>
                  <a:pt x="537" y="111"/>
                  <a:pt x="535" y="111"/>
                  <a:pt x="534" y="111"/>
                </a:cubicBezTo>
                <a:close/>
                <a:moveTo>
                  <a:pt x="535" y="84"/>
                </a:moveTo>
                <a:cubicBezTo>
                  <a:pt x="538" y="83"/>
                  <a:pt x="536" y="88"/>
                  <a:pt x="534" y="87"/>
                </a:cubicBezTo>
                <a:cubicBezTo>
                  <a:pt x="532" y="86"/>
                  <a:pt x="534" y="85"/>
                  <a:pt x="535" y="84"/>
                </a:cubicBezTo>
                <a:close/>
                <a:moveTo>
                  <a:pt x="545" y="73"/>
                </a:moveTo>
                <a:cubicBezTo>
                  <a:pt x="544" y="74"/>
                  <a:pt x="544" y="72"/>
                  <a:pt x="545" y="73"/>
                </a:cubicBezTo>
                <a:close/>
                <a:moveTo>
                  <a:pt x="541" y="72"/>
                </a:moveTo>
                <a:cubicBezTo>
                  <a:pt x="540" y="73"/>
                  <a:pt x="539" y="73"/>
                  <a:pt x="537" y="73"/>
                </a:cubicBezTo>
                <a:cubicBezTo>
                  <a:pt x="539" y="73"/>
                  <a:pt x="539" y="71"/>
                  <a:pt x="541" y="72"/>
                </a:cubicBezTo>
                <a:close/>
                <a:moveTo>
                  <a:pt x="534" y="73"/>
                </a:moveTo>
                <a:cubicBezTo>
                  <a:pt x="534" y="74"/>
                  <a:pt x="532" y="75"/>
                  <a:pt x="532" y="74"/>
                </a:cubicBezTo>
                <a:cubicBezTo>
                  <a:pt x="531" y="74"/>
                  <a:pt x="534" y="73"/>
                  <a:pt x="534" y="73"/>
                </a:cubicBezTo>
                <a:close/>
                <a:moveTo>
                  <a:pt x="531" y="74"/>
                </a:moveTo>
                <a:cubicBezTo>
                  <a:pt x="532" y="75"/>
                  <a:pt x="530" y="74"/>
                  <a:pt x="530" y="74"/>
                </a:cubicBezTo>
                <a:cubicBezTo>
                  <a:pt x="529" y="73"/>
                  <a:pt x="531" y="73"/>
                  <a:pt x="531" y="74"/>
                </a:cubicBezTo>
                <a:close/>
                <a:moveTo>
                  <a:pt x="458" y="41"/>
                </a:moveTo>
                <a:cubicBezTo>
                  <a:pt x="458" y="42"/>
                  <a:pt x="458" y="42"/>
                  <a:pt x="458" y="42"/>
                </a:cubicBezTo>
                <a:cubicBezTo>
                  <a:pt x="458" y="41"/>
                  <a:pt x="457" y="40"/>
                  <a:pt x="458" y="41"/>
                </a:cubicBezTo>
                <a:close/>
                <a:moveTo>
                  <a:pt x="421" y="34"/>
                </a:moveTo>
                <a:cubicBezTo>
                  <a:pt x="420" y="34"/>
                  <a:pt x="420" y="33"/>
                  <a:pt x="421" y="34"/>
                </a:cubicBezTo>
                <a:close/>
                <a:moveTo>
                  <a:pt x="421" y="29"/>
                </a:moveTo>
                <a:cubicBezTo>
                  <a:pt x="422" y="30"/>
                  <a:pt x="420" y="30"/>
                  <a:pt x="420" y="30"/>
                </a:cubicBezTo>
                <a:cubicBezTo>
                  <a:pt x="419" y="29"/>
                  <a:pt x="421" y="29"/>
                  <a:pt x="421" y="29"/>
                </a:cubicBezTo>
                <a:close/>
                <a:moveTo>
                  <a:pt x="461" y="19"/>
                </a:moveTo>
                <a:cubicBezTo>
                  <a:pt x="461" y="20"/>
                  <a:pt x="458" y="20"/>
                  <a:pt x="458" y="19"/>
                </a:cubicBezTo>
                <a:cubicBezTo>
                  <a:pt x="457" y="18"/>
                  <a:pt x="461" y="17"/>
                  <a:pt x="461" y="19"/>
                </a:cubicBezTo>
                <a:close/>
                <a:moveTo>
                  <a:pt x="456" y="20"/>
                </a:moveTo>
                <a:cubicBezTo>
                  <a:pt x="457" y="21"/>
                  <a:pt x="454" y="22"/>
                  <a:pt x="454" y="20"/>
                </a:cubicBezTo>
                <a:cubicBezTo>
                  <a:pt x="454" y="20"/>
                  <a:pt x="456" y="20"/>
                  <a:pt x="456" y="20"/>
                </a:cubicBezTo>
                <a:close/>
                <a:moveTo>
                  <a:pt x="455" y="23"/>
                </a:moveTo>
                <a:cubicBezTo>
                  <a:pt x="456" y="24"/>
                  <a:pt x="453" y="23"/>
                  <a:pt x="453" y="23"/>
                </a:cubicBezTo>
                <a:cubicBezTo>
                  <a:pt x="453" y="22"/>
                  <a:pt x="455" y="22"/>
                  <a:pt x="455" y="23"/>
                </a:cubicBezTo>
                <a:close/>
                <a:moveTo>
                  <a:pt x="434" y="24"/>
                </a:moveTo>
                <a:cubicBezTo>
                  <a:pt x="434" y="25"/>
                  <a:pt x="430" y="24"/>
                  <a:pt x="430" y="23"/>
                </a:cubicBezTo>
                <a:cubicBezTo>
                  <a:pt x="430" y="22"/>
                  <a:pt x="433" y="22"/>
                  <a:pt x="434" y="24"/>
                </a:cubicBezTo>
                <a:close/>
                <a:moveTo>
                  <a:pt x="427" y="20"/>
                </a:moveTo>
                <a:cubicBezTo>
                  <a:pt x="427" y="21"/>
                  <a:pt x="425" y="20"/>
                  <a:pt x="425" y="20"/>
                </a:cubicBezTo>
                <a:cubicBezTo>
                  <a:pt x="425" y="20"/>
                  <a:pt x="427" y="19"/>
                  <a:pt x="427" y="20"/>
                </a:cubicBezTo>
                <a:close/>
                <a:moveTo>
                  <a:pt x="418" y="41"/>
                </a:moveTo>
                <a:cubicBezTo>
                  <a:pt x="418" y="41"/>
                  <a:pt x="418" y="40"/>
                  <a:pt x="418" y="40"/>
                </a:cubicBezTo>
                <a:cubicBezTo>
                  <a:pt x="416" y="39"/>
                  <a:pt x="420" y="40"/>
                  <a:pt x="418" y="41"/>
                </a:cubicBezTo>
                <a:close/>
                <a:moveTo>
                  <a:pt x="415" y="43"/>
                </a:moveTo>
                <a:cubicBezTo>
                  <a:pt x="416" y="44"/>
                  <a:pt x="414" y="44"/>
                  <a:pt x="414" y="44"/>
                </a:cubicBezTo>
                <a:cubicBezTo>
                  <a:pt x="414" y="44"/>
                  <a:pt x="414" y="43"/>
                  <a:pt x="415" y="43"/>
                </a:cubicBezTo>
                <a:close/>
                <a:moveTo>
                  <a:pt x="388" y="45"/>
                </a:moveTo>
                <a:cubicBezTo>
                  <a:pt x="388" y="43"/>
                  <a:pt x="393" y="43"/>
                  <a:pt x="393" y="45"/>
                </a:cubicBezTo>
                <a:cubicBezTo>
                  <a:pt x="393" y="48"/>
                  <a:pt x="388" y="46"/>
                  <a:pt x="388" y="45"/>
                </a:cubicBezTo>
                <a:close/>
                <a:moveTo>
                  <a:pt x="394" y="10"/>
                </a:moveTo>
                <a:cubicBezTo>
                  <a:pt x="394" y="11"/>
                  <a:pt x="393" y="11"/>
                  <a:pt x="392" y="11"/>
                </a:cubicBezTo>
                <a:cubicBezTo>
                  <a:pt x="393" y="10"/>
                  <a:pt x="394" y="10"/>
                  <a:pt x="394" y="10"/>
                </a:cubicBezTo>
                <a:close/>
                <a:moveTo>
                  <a:pt x="389" y="10"/>
                </a:moveTo>
                <a:cubicBezTo>
                  <a:pt x="391" y="9"/>
                  <a:pt x="391" y="12"/>
                  <a:pt x="389" y="10"/>
                </a:cubicBezTo>
                <a:close/>
                <a:moveTo>
                  <a:pt x="387" y="32"/>
                </a:moveTo>
                <a:cubicBezTo>
                  <a:pt x="393" y="30"/>
                  <a:pt x="399" y="30"/>
                  <a:pt x="404" y="30"/>
                </a:cubicBezTo>
                <a:cubicBezTo>
                  <a:pt x="399" y="31"/>
                  <a:pt x="391" y="32"/>
                  <a:pt x="384" y="33"/>
                </a:cubicBezTo>
                <a:cubicBezTo>
                  <a:pt x="379" y="35"/>
                  <a:pt x="386" y="32"/>
                  <a:pt x="387" y="32"/>
                </a:cubicBezTo>
                <a:close/>
                <a:moveTo>
                  <a:pt x="380" y="25"/>
                </a:moveTo>
                <a:cubicBezTo>
                  <a:pt x="381" y="24"/>
                  <a:pt x="382" y="26"/>
                  <a:pt x="380" y="25"/>
                </a:cubicBezTo>
                <a:close/>
                <a:moveTo>
                  <a:pt x="355" y="52"/>
                </a:moveTo>
                <a:cubicBezTo>
                  <a:pt x="355" y="51"/>
                  <a:pt x="357" y="50"/>
                  <a:pt x="357" y="51"/>
                </a:cubicBezTo>
                <a:cubicBezTo>
                  <a:pt x="358" y="53"/>
                  <a:pt x="356" y="52"/>
                  <a:pt x="355" y="52"/>
                </a:cubicBezTo>
                <a:close/>
                <a:moveTo>
                  <a:pt x="375" y="42"/>
                </a:move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lose/>
                <a:moveTo>
                  <a:pt x="371" y="6"/>
                </a:moveTo>
                <a:cubicBezTo>
                  <a:pt x="372" y="5"/>
                  <a:pt x="373" y="7"/>
                  <a:pt x="371" y="6"/>
                </a:cubicBezTo>
                <a:close/>
                <a:moveTo>
                  <a:pt x="367" y="52"/>
                </a:moveTo>
                <a:cubicBezTo>
                  <a:pt x="366" y="53"/>
                  <a:pt x="365" y="53"/>
                  <a:pt x="364" y="53"/>
                </a:cubicBezTo>
                <a:cubicBezTo>
                  <a:pt x="365" y="52"/>
                  <a:pt x="366" y="52"/>
                  <a:pt x="367" y="52"/>
                </a:cubicBezTo>
                <a:close/>
                <a:moveTo>
                  <a:pt x="360" y="41"/>
                </a:moveTo>
                <a:cubicBezTo>
                  <a:pt x="358" y="42"/>
                  <a:pt x="354" y="43"/>
                  <a:pt x="351" y="41"/>
                </a:cubicBezTo>
                <a:cubicBezTo>
                  <a:pt x="351" y="40"/>
                  <a:pt x="360" y="41"/>
                  <a:pt x="360" y="41"/>
                </a:cubicBezTo>
                <a:close/>
                <a:moveTo>
                  <a:pt x="2" y="391"/>
                </a:moveTo>
                <a:cubicBezTo>
                  <a:pt x="2" y="392"/>
                  <a:pt x="2" y="389"/>
                  <a:pt x="2" y="391"/>
                </a:cubicBezTo>
                <a:close/>
                <a:moveTo>
                  <a:pt x="2" y="338"/>
                </a:moveTo>
                <a:cubicBezTo>
                  <a:pt x="1" y="339"/>
                  <a:pt x="1" y="336"/>
                  <a:pt x="2" y="337"/>
                </a:cubicBezTo>
                <a:cubicBezTo>
                  <a:pt x="2" y="337"/>
                  <a:pt x="2" y="337"/>
                  <a:pt x="2" y="338"/>
                </a:cubicBezTo>
                <a:close/>
                <a:moveTo>
                  <a:pt x="6" y="411"/>
                </a:moveTo>
                <a:cubicBezTo>
                  <a:pt x="7" y="410"/>
                  <a:pt x="8" y="410"/>
                  <a:pt x="6" y="411"/>
                </a:cubicBezTo>
                <a:close/>
                <a:moveTo>
                  <a:pt x="7" y="377"/>
                </a:moveTo>
                <a:cubicBezTo>
                  <a:pt x="8" y="377"/>
                  <a:pt x="8" y="378"/>
                  <a:pt x="7" y="379"/>
                </a:cubicBezTo>
                <a:cubicBezTo>
                  <a:pt x="6" y="380"/>
                  <a:pt x="7" y="377"/>
                  <a:pt x="7" y="377"/>
                </a:cubicBezTo>
                <a:close/>
                <a:moveTo>
                  <a:pt x="7" y="415"/>
                </a:moveTo>
                <a:cubicBezTo>
                  <a:pt x="7" y="416"/>
                  <a:pt x="7" y="413"/>
                  <a:pt x="8" y="414"/>
                </a:cubicBezTo>
                <a:cubicBezTo>
                  <a:pt x="9" y="414"/>
                  <a:pt x="8" y="415"/>
                  <a:pt x="7" y="415"/>
                </a:cubicBezTo>
                <a:close/>
                <a:moveTo>
                  <a:pt x="7" y="368"/>
                </a:moveTo>
                <a:cubicBezTo>
                  <a:pt x="6" y="367"/>
                  <a:pt x="7" y="364"/>
                  <a:pt x="8" y="363"/>
                </a:cubicBezTo>
                <a:cubicBezTo>
                  <a:pt x="8" y="365"/>
                  <a:pt x="7" y="366"/>
                  <a:pt x="7" y="368"/>
                </a:cubicBezTo>
                <a:close/>
                <a:moveTo>
                  <a:pt x="13" y="438"/>
                </a:moveTo>
                <a:cubicBezTo>
                  <a:pt x="13" y="438"/>
                  <a:pt x="13" y="439"/>
                  <a:pt x="13" y="439"/>
                </a:cubicBezTo>
                <a:cubicBezTo>
                  <a:pt x="13" y="441"/>
                  <a:pt x="12" y="437"/>
                  <a:pt x="13" y="438"/>
                </a:cubicBezTo>
                <a:close/>
                <a:moveTo>
                  <a:pt x="12" y="423"/>
                </a:moveTo>
                <a:cubicBezTo>
                  <a:pt x="13" y="423"/>
                  <a:pt x="11" y="425"/>
                  <a:pt x="12" y="423"/>
                </a:cubicBezTo>
                <a:close/>
                <a:moveTo>
                  <a:pt x="15" y="295"/>
                </a:moveTo>
                <a:cubicBezTo>
                  <a:pt x="15" y="298"/>
                  <a:pt x="13" y="296"/>
                  <a:pt x="15" y="295"/>
                </a:cubicBezTo>
                <a:close/>
                <a:moveTo>
                  <a:pt x="13" y="368"/>
                </a:moveTo>
                <a:cubicBezTo>
                  <a:pt x="14" y="368"/>
                  <a:pt x="13" y="369"/>
                  <a:pt x="13" y="369"/>
                </a:cubicBezTo>
                <a:cubicBezTo>
                  <a:pt x="12" y="370"/>
                  <a:pt x="12" y="367"/>
                  <a:pt x="13" y="368"/>
                </a:cubicBezTo>
                <a:close/>
                <a:moveTo>
                  <a:pt x="12" y="352"/>
                </a:moveTo>
                <a:cubicBezTo>
                  <a:pt x="11" y="353"/>
                  <a:pt x="11" y="350"/>
                  <a:pt x="12" y="351"/>
                </a:cubicBezTo>
                <a:cubicBezTo>
                  <a:pt x="13" y="351"/>
                  <a:pt x="12" y="352"/>
                  <a:pt x="12" y="352"/>
                </a:cubicBezTo>
                <a:close/>
                <a:moveTo>
                  <a:pt x="10" y="333"/>
                </a:moveTo>
                <a:cubicBezTo>
                  <a:pt x="12" y="332"/>
                  <a:pt x="14" y="337"/>
                  <a:pt x="12" y="338"/>
                </a:cubicBezTo>
                <a:cubicBezTo>
                  <a:pt x="9" y="339"/>
                  <a:pt x="9" y="334"/>
                  <a:pt x="10" y="333"/>
                </a:cubicBezTo>
                <a:close/>
                <a:moveTo>
                  <a:pt x="10" y="355"/>
                </a:moveTo>
                <a:cubicBezTo>
                  <a:pt x="9" y="356"/>
                  <a:pt x="10" y="353"/>
                  <a:pt x="10" y="353"/>
                </a:cubicBezTo>
                <a:cubicBezTo>
                  <a:pt x="11" y="354"/>
                  <a:pt x="10" y="355"/>
                  <a:pt x="10" y="355"/>
                </a:cubicBezTo>
                <a:close/>
                <a:moveTo>
                  <a:pt x="9" y="371"/>
                </a:moveTo>
                <a:cubicBezTo>
                  <a:pt x="8" y="372"/>
                  <a:pt x="8" y="369"/>
                  <a:pt x="9" y="370"/>
                </a:cubicBezTo>
                <a:cubicBezTo>
                  <a:pt x="9" y="370"/>
                  <a:pt x="9" y="371"/>
                  <a:pt x="9" y="371"/>
                </a:cubicBezTo>
                <a:close/>
                <a:moveTo>
                  <a:pt x="9" y="359"/>
                </a:moveTo>
                <a:cubicBezTo>
                  <a:pt x="8" y="359"/>
                  <a:pt x="9" y="357"/>
                  <a:pt x="10" y="357"/>
                </a:cubicBezTo>
                <a:cubicBezTo>
                  <a:pt x="9" y="358"/>
                  <a:pt x="9" y="358"/>
                  <a:pt x="9" y="359"/>
                </a:cubicBezTo>
                <a:close/>
                <a:moveTo>
                  <a:pt x="10" y="438"/>
                </a:moveTo>
                <a:cubicBezTo>
                  <a:pt x="9" y="439"/>
                  <a:pt x="10" y="436"/>
                  <a:pt x="11" y="436"/>
                </a:cubicBezTo>
                <a:cubicBezTo>
                  <a:pt x="12" y="437"/>
                  <a:pt x="11" y="437"/>
                  <a:pt x="10" y="438"/>
                </a:cubicBezTo>
                <a:close/>
                <a:moveTo>
                  <a:pt x="10" y="424"/>
                </a:moveTo>
                <a:cubicBezTo>
                  <a:pt x="9" y="425"/>
                  <a:pt x="10" y="422"/>
                  <a:pt x="11" y="423"/>
                </a:cubicBezTo>
                <a:cubicBezTo>
                  <a:pt x="12" y="424"/>
                  <a:pt x="11" y="424"/>
                  <a:pt x="10" y="424"/>
                </a:cubicBezTo>
                <a:close/>
                <a:moveTo>
                  <a:pt x="11" y="386"/>
                </a:moveTo>
                <a:cubicBezTo>
                  <a:pt x="10" y="386"/>
                  <a:pt x="10" y="387"/>
                  <a:pt x="10" y="385"/>
                </a:cubicBezTo>
                <a:cubicBezTo>
                  <a:pt x="10" y="383"/>
                  <a:pt x="14" y="374"/>
                  <a:pt x="14" y="374"/>
                </a:cubicBezTo>
                <a:cubicBezTo>
                  <a:pt x="16" y="374"/>
                  <a:pt x="13" y="377"/>
                  <a:pt x="13" y="378"/>
                </a:cubicBezTo>
                <a:cubicBezTo>
                  <a:pt x="12" y="381"/>
                  <a:pt x="14" y="385"/>
                  <a:pt x="11" y="386"/>
                </a:cubicBezTo>
                <a:close/>
                <a:moveTo>
                  <a:pt x="14" y="394"/>
                </a:moveTo>
                <a:cubicBezTo>
                  <a:pt x="13" y="396"/>
                  <a:pt x="14" y="393"/>
                  <a:pt x="14" y="393"/>
                </a:cubicBezTo>
                <a:cubicBezTo>
                  <a:pt x="15" y="393"/>
                  <a:pt x="15" y="394"/>
                  <a:pt x="14" y="394"/>
                </a:cubicBezTo>
                <a:close/>
                <a:moveTo>
                  <a:pt x="15" y="388"/>
                </a:moveTo>
                <a:cubicBezTo>
                  <a:pt x="14" y="388"/>
                  <a:pt x="15" y="387"/>
                  <a:pt x="15" y="387"/>
                </a:cubicBezTo>
                <a:cubicBezTo>
                  <a:pt x="15" y="387"/>
                  <a:pt x="15" y="388"/>
                  <a:pt x="15" y="388"/>
                </a:cubicBezTo>
                <a:close/>
                <a:moveTo>
                  <a:pt x="15" y="300"/>
                </a:moveTo>
                <a:cubicBezTo>
                  <a:pt x="16" y="302"/>
                  <a:pt x="14" y="301"/>
                  <a:pt x="15" y="300"/>
                </a:cubicBezTo>
                <a:close/>
                <a:moveTo>
                  <a:pt x="16" y="366"/>
                </a:moveTo>
                <a:cubicBezTo>
                  <a:pt x="15" y="367"/>
                  <a:pt x="17" y="364"/>
                  <a:pt x="16" y="366"/>
                </a:cubicBezTo>
                <a:close/>
                <a:moveTo>
                  <a:pt x="17" y="380"/>
                </a:moveTo>
                <a:cubicBezTo>
                  <a:pt x="16" y="381"/>
                  <a:pt x="16" y="379"/>
                  <a:pt x="17" y="379"/>
                </a:cubicBezTo>
                <a:cubicBezTo>
                  <a:pt x="17" y="378"/>
                  <a:pt x="17" y="380"/>
                  <a:pt x="17" y="380"/>
                </a:cubicBezTo>
                <a:close/>
                <a:moveTo>
                  <a:pt x="27" y="420"/>
                </a:move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lose/>
                <a:moveTo>
                  <a:pt x="23" y="346"/>
                </a:moveTo>
                <a:cubicBezTo>
                  <a:pt x="23" y="346"/>
                  <a:pt x="23" y="347"/>
                  <a:pt x="23" y="347"/>
                </a:cubicBezTo>
                <a:cubicBezTo>
                  <a:pt x="22" y="347"/>
                  <a:pt x="22" y="346"/>
                  <a:pt x="23" y="346"/>
                </a:cubicBezTo>
                <a:close/>
                <a:moveTo>
                  <a:pt x="19" y="405"/>
                </a:moveTo>
                <a:cubicBezTo>
                  <a:pt x="19" y="405"/>
                  <a:pt x="18" y="404"/>
                  <a:pt x="18" y="404"/>
                </a:cubicBezTo>
                <a:cubicBezTo>
                  <a:pt x="18" y="404"/>
                  <a:pt x="20" y="404"/>
                  <a:pt x="19" y="405"/>
                </a:cubicBezTo>
                <a:close/>
                <a:moveTo>
                  <a:pt x="20" y="406"/>
                </a:moveTo>
                <a:cubicBezTo>
                  <a:pt x="19" y="406"/>
                  <a:pt x="20" y="405"/>
                  <a:pt x="20" y="404"/>
                </a:cubicBezTo>
                <a:cubicBezTo>
                  <a:pt x="21" y="404"/>
                  <a:pt x="20" y="405"/>
                  <a:pt x="20" y="406"/>
                </a:cubicBezTo>
                <a:close/>
                <a:moveTo>
                  <a:pt x="20" y="360"/>
                </a:moveTo>
                <a:cubicBezTo>
                  <a:pt x="19" y="359"/>
                  <a:pt x="21" y="359"/>
                  <a:pt x="20" y="360"/>
                </a:cubicBezTo>
                <a:close/>
                <a:moveTo>
                  <a:pt x="22" y="268"/>
                </a:moveTo>
                <a:cubicBezTo>
                  <a:pt x="23" y="268"/>
                  <a:pt x="22" y="270"/>
                  <a:pt x="22" y="271"/>
                </a:cubicBezTo>
                <a:cubicBezTo>
                  <a:pt x="19" y="273"/>
                  <a:pt x="19" y="267"/>
                  <a:pt x="22" y="268"/>
                </a:cubicBezTo>
                <a:close/>
                <a:moveTo>
                  <a:pt x="21" y="397"/>
                </a:moveTo>
                <a:cubicBezTo>
                  <a:pt x="21" y="396"/>
                  <a:pt x="22" y="397"/>
                  <a:pt x="22" y="398"/>
                </a:cubicBezTo>
                <a:cubicBezTo>
                  <a:pt x="21" y="399"/>
                  <a:pt x="20" y="397"/>
                  <a:pt x="21" y="397"/>
                </a:cubicBezTo>
                <a:close/>
                <a:moveTo>
                  <a:pt x="21" y="415"/>
                </a:moveTo>
                <a:cubicBezTo>
                  <a:pt x="22" y="416"/>
                  <a:pt x="21" y="417"/>
                  <a:pt x="21" y="415"/>
                </a:cubicBezTo>
                <a:close/>
                <a:moveTo>
                  <a:pt x="21" y="413"/>
                </a:moveTo>
                <a:cubicBezTo>
                  <a:pt x="21" y="413"/>
                  <a:pt x="23" y="413"/>
                  <a:pt x="23" y="413"/>
                </a:cubicBezTo>
                <a:cubicBezTo>
                  <a:pt x="23" y="414"/>
                  <a:pt x="20" y="414"/>
                  <a:pt x="21" y="413"/>
                </a:cubicBezTo>
                <a:close/>
                <a:moveTo>
                  <a:pt x="24" y="367"/>
                </a:moveTo>
                <a:cubicBezTo>
                  <a:pt x="25" y="368"/>
                  <a:pt x="23" y="369"/>
                  <a:pt x="24" y="367"/>
                </a:cubicBezTo>
                <a:close/>
                <a:moveTo>
                  <a:pt x="24" y="412"/>
                </a:moveTo>
                <a:cubicBezTo>
                  <a:pt x="24" y="413"/>
                  <a:pt x="24" y="410"/>
                  <a:pt x="24" y="412"/>
                </a:cubicBezTo>
                <a:close/>
                <a:moveTo>
                  <a:pt x="25" y="401"/>
                </a:moveTo>
                <a:cubicBezTo>
                  <a:pt x="24" y="402"/>
                  <a:pt x="24" y="400"/>
                  <a:pt x="24" y="399"/>
                </a:cubicBezTo>
                <a:cubicBezTo>
                  <a:pt x="25" y="399"/>
                  <a:pt x="25" y="401"/>
                  <a:pt x="25" y="401"/>
                </a:cubicBezTo>
                <a:close/>
                <a:moveTo>
                  <a:pt x="27" y="397"/>
                </a:moveTo>
                <a:cubicBezTo>
                  <a:pt x="27" y="398"/>
                  <a:pt x="28" y="396"/>
                  <a:pt x="27" y="397"/>
                </a:cubicBezTo>
                <a:close/>
                <a:moveTo>
                  <a:pt x="25" y="343"/>
                </a:moveTo>
                <a:cubicBezTo>
                  <a:pt x="23" y="342"/>
                  <a:pt x="25" y="340"/>
                  <a:pt x="25" y="338"/>
                </a:cubicBezTo>
                <a:cubicBezTo>
                  <a:pt x="25" y="340"/>
                  <a:pt x="26" y="339"/>
                  <a:pt x="27" y="340"/>
                </a:cubicBezTo>
                <a:cubicBezTo>
                  <a:pt x="29" y="342"/>
                  <a:pt x="26" y="345"/>
                  <a:pt x="25" y="343"/>
                </a:cubicBezTo>
                <a:close/>
                <a:moveTo>
                  <a:pt x="31" y="233"/>
                </a:moveTo>
                <a:cubicBezTo>
                  <a:pt x="30" y="234"/>
                  <a:pt x="30" y="231"/>
                  <a:pt x="30" y="231"/>
                </a:cubicBezTo>
                <a:cubicBezTo>
                  <a:pt x="32" y="231"/>
                  <a:pt x="31" y="233"/>
                  <a:pt x="31" y="233"/>
                </a:cubicBezTo>
                <a:close/>
                <a:moveTo>
                  <a:pt x="33" y="290"/>
                </a:moveTo>
                <a:cubicBezTo>
                  <a:pt x="32" y="291"/>
                  <a:pt x="32" y="288"/>
                  <a:pt x="33" y="289"/>
                </a:cubicBezTo>
                <a:cubicBezTo>
                  <a:pt x="34" y="289"/>
                  <a:pt x="33" y="290"/>
                  <a:pt x="33" y="290"/>
                </a:cubicBezTo>
                <a:close/>
                <a:moveTo>
                  <a:pt x="34" y="385"/>
                </a:moveTo>
                <a:cubicBezTo>
                  <a:pt x="33" y="386"/>
                  <a:pt x="34" y="383"/>
                  <a:pt x="35" y="383"/>
                </a:cubicBezTo>
                <a:cubicBezTo>
                  <a:pt x="35" y="384"/>
                  <a:pt x="34" y="385"/>
                  <a:pt x="34" y="385"/>
                </a:cubicBezTo>
                <a:close/>
                <a:moveTo>
                  <a:pt x="36" y="305"/>
                </a:moveTo>
                <a:cubicBezTo>
                  <a:pt x="35" y="307"/>
                  <a:pt x="37" y="303"/>
                  <a:pt x="36" y="305"/>
                </a:cubicBezTo>
                <a:close/>
                <a:moveTo>
                  <a:pt x="37" y="344"/>
                </a:moveTo>
                <a:cubicBezTo>
                  <a:pt x="37" y="344"/>
                  <a:pt x="38" y="344"/>
                  <a:pt x="38" y="344"/>
                </a:cubicBezTo>
                <a:cubicBezTo>
                  <a:pt x="38" y="345"/>
                  <a:pt x="37" y="345"/>
                  <a:pt x="37" y="344"/>
                </a:cubicBezTo>
                <a:close/>
                <a:moveTo>
                  <a:pt x="29" y="469"/>
                </a:moveTo>
                <a:cubicBezTo>
                  <a:pt x="25" y="471"/>
                  <a:pt x="25" y="463"/>
                  <a:pt x="29" y="464"/>
                </a:cubicBezTo>
                <a:cubicBezTo>
                  <a:pt x="31" y="464"/>
                  <a:pt x="31" y="468"/>
                  <a:pt x="29" y="469"/>
                </a:cubicBezTo>
                <a:close/>
                <a:moveTo>
                  <a:pt x="34" y="484"/>
                </a:moveTo>
                <a:cubicBezTo>
                  <a:pt x="34" y="485"/>
                  <a:pt x="34" y="485"/>
                  <a:pt x="33" y="485"/>
                </a:cubicBezTo>
                <a:cubicBezTo>
                  <a:pt x="32" y="486"/>
                  <a:pt x="33" y="483"/>
                  <a:pt x="34" y="484"/>
                </a:cubicBezTo>
                <a:close/>
                <a:moveTo>
                  <a:pt x="36" y="466"/>
                </a:moveTo>
                <a:cubicBezTo>
                  <a:pt x="34" y="467"/>
                  <a:pt x="34" y="464"/>
                  <a:pt x="35" y="463"/>
                </a:cubicBezTo>
                <a:cubicBezTo>
                  <a:pt x="36" y="463"/>
                  <a:pt x="37" y="465"/>
                  <a:pt x="36" y="466"/>
                </a:cubicBezTo>
                <a:close/>
                <a:moveTo>
                  <a:pt x="38" y="455"/>
                </a:moveTo>
                <a:cubicBezTo>
                  <a:pt x="38" y="455"/>
                  <a:pt x="38" y="456"/>
                  <a:pt x="38" y="456"/>
                </a:cubicBezTo>
                <a:cubicBezTo>
                  <a:pt x="37" y="458"/>
                  <a:pt x="36" y="454"/>
                  <a:pt x="38" y="455"/>
                </a:cubicBezTo>
                <a:close/>
                <a:moveTo>
                  <a:pt x="38" y="461"/>
                </a:moveTo>
                <a:cubicBezTo>
                  <a:pt x="36" y="462"/>
                  <a:pt x="38" y="459"/>
                  <a:pt x="39" y="459"/>
                </a:cubicBezTo>
                <a:cubicBezTo>
                  <a:pt x="39" y="460"/>
                  <a:pt x="38" y="461"/>
                  <a:pt x="38" y="461"/>
                </a:cubicBezTo>
                <a:close/>
                <a:moveTo>
                  <a:pt x="66" y="337"/>
                </a:moveTo>
                <a:cubicBezTo>
                  <a:pt x="66" y="337"/>
                  <a:pt x="66" y="338"/>
                  <a:pt x="66" y="338"/>
                </a:cubicBezTo>
                <a:cubicBezTo>
                  <a:pt x="65" y="339"/>
                  <a:pt x="65" y="336"/>
                  <a:pt x="66" y="337"/>
                </a:cubicBezTo>
                <a:close/>
                <a:moveTo>
                  <a:pt x="66" y="380"/>
                </a:moveTo>
                <a:cubicBezTo>
                  <a:pt x="67" y="380"/>
                  <a:pt x="67" y="382"/>
                  <a:pt x="66" y="382"/>
                </a:cubicBezTo>
                <a:cubicBezTo>
                  <a:pt x="65" y="384"/>
                  <a:pt x="65" y="379"/>
                  <a:pt x="66" y="380"/>
                </a:cubicBezTo>
                <a:close/>
                <a:moveTo>
                  <a:pt x="63" y="330"/>
                </a:moveTo>
                <a:cubicBezTo>
                  <a:pt x="62" y="331"/>
                  <a:pt x="64" y="329"/>
                  <a:pt x="63" y="330"/>
                </a:cubicBezTo>
                <a:close/>
                <a:moveTo>
                  <a:pt x="64" y="346"/>
                </a:moveTo>
                <a:cubicBezTo>
                  <a:pt x="66" y="346"/>
                  <a:pt x="65" y="351"/>
                  <a:pt x="62" y="351"/>
                </a:cubicBezTo>
                <a:cubicBezTo>
                  <a:pt x="62" y="351"/>
                  <a:pt x="62" y="345"/>
                  <a:pt x="64" y="346"/>
                </a:cubicBezTo>
                <a:close/>
                <a:moveTo>
                  <a:pt x="64" y="393"/>
                </a:moveTo>
                <a:cubicBezTo>
                  <a:pt x="64" y="392"/>
                  <a:pt x="65" y="394"/>
                  <a:pt x="64" y="393"/>
                </a:cubicBezTo>
                <a:close/>
                <a:moveTo>
                  <a:pt x="61" y="364"/>
                </a:moveTo>
                <a:cubicBezTo>
                  <a:pt x="61" y="362"/>
                  <a:pt x="62" y="363"/>
                  <a:pt x="61" y="364"/>
                </a:cubicBezTo>
                <a:close/>
                <a:moveTo>
                  <a:pt x="61" y="403"/>
                </a:moveTo>
                <a:cubicBezTo>
                  <a:pt x="61" y="403"/>
                  <a:pt x="61" y="403"/>
                  <a:pt x="62" y="403"/>
                </a:cubicBezTo>
                <a:cubicBezTo>
                  <a:pt x="63" y="402"/>
                  <a:pt x="61" y="403"/>
                  <a:pt x="61" y="403"/>
                </a:cubicBezTo>
                <a:close/>
                <a:moveTo>
                  <a:pt x="61" y="365"/>
                </a:moveTo>
                <a:cubicBezTo>
                  <a:pt x="61" y="366"/>
                  <a:pt x="59" y="365"/>
                  <a:pt x="61" y="365"/>
                </a:cubicBezTo>
                <a:close/>
                <a:moveTo>
                  <a:pt x="58" y="357"/>
                </a:moveTo>
                <a:cubicBezTo>
                  <a:pt x="59" y="357"/>
                  <a:pt x="58" y="359"/>
                  <a:pt x="58" y="359"/>
                </a:cubicBezTo>
                <a:cubicBezTo>
                  <a:pt x="56" y="361"/>
                  <a:pt x="55" y="356"/>
                  <a:pt x="58" y="357"/>
                </a:cubicBezTo>
                <a:close/>
                <a:moveTo>
                  <a:pt x="56" y="405"/>
                </a:moveTo>
                <a:cubicBezTo>
                  <a:pt x="56" y="405"/>
                  <a:pt x="56" y="406"/>
                  <a:pt x="56" y="406"/>
                </a:cubicBezTo>
                <a:cubicBezTo>
                  <a:pt x="55" y="407"/>
                  <a:pt x="55" y="405"/>
                  <a:pt x="56" y="405"/>
                </a:cubicBezTo>
                <a:close/>
                <a:moveTo>
                  <a:pt x="54" y="374"/>
                </a:moveTo>
                <a:cubicBezTo>
                  <a:pt x="55" y="374"/>
                  <a:pt x="55" y="375"/>
                  <a:pt x="54" y="375"/>
                </a:cubicBezTo>
                <a:cubicBezTo>
                  <a:pt x="53" y="376"/>
                  <a:pt x="53" y="374"/>
                  <a:pt x="54" y="374"/>
                </a:cubicBezTo>
                <a:close/>
                <a:moveTo>
                  <a:pt x="49" y="398"/>
                </a:moveTo>
                <a:cubicBezTo>
                  <a:pt x="51" y="396"/>
                  <a:pt x="52" y="393"/>
                  <a:pt x="54" y="390"/>
                </a:cubicBezTo>
                <a:cubicBezTo>
                  <a:pt x="53" y="393"/>
                  <a:pt x="51" y="396"/>
                  <a:pt x="49" y="398"/>
                </a:cubicBezTo>
                <a:close/>
                <a:moveTo>
                  <a:pt x="51" y="408"/>
                </a:moveTo>
                <a:cubicBezTo>
                  <a:pt x="50" y="407"/>
                  <a:pt x="52" y="406"/>
                  <a:pt x="52" y="407"/>
                </a:cubicBezTo>
                <a:cubicBezTo>
                  <a:pt x="54" y="408"/>
                  <a:pt x="52" y="410"/>
                  <a:pt x="51" y="408"/>
                </a:cubicBezTo>
                <a:close/>
                <a:moveTo>
                  <a:pt x="46" y="404"/>
                </a:moveTo>
                <a:cubicBezTo>
                  <a:pt x="46" y="404"/>
                  <a:pt x="47" y="400"/>
                  <a:pt x="48" y="399"/>
                </a:cubicBezTo>
                <a:cubicBezTo>
                  <a:pt x="48" y="400"/>
                  <a:pt x="47" y="404"/>
                  <a:pt x="46" y="404"/>
                </a:cubicBezTo>
                <a:close/>
                <a:moveTo>
                  <a:pt x="47" y="409"/>
                </a:moveTo>
                <a:cubicBezTo>
                  <a:pt x="48" y="408"/>
                  <a:pt x="47" y="410"/>
                  <a:pt x="47" y="409"/>
                </a:cubicBezTo>
                <a:close/>
                <a:moveTo>
                  <a:pt x="48" y="392"/>
                </a:moveTo>
                <a:cubicBezTo>
                  <a:pt x="46" y="393"/>
                  <a:pt x="46" y="388"/>
                  <a:pt x="49" y="389"/>
                </a:cubicBezTo>
                <a:cubicBezTo>
                  <a:pt x="50" y="389"/>
                  <a:pt x="49" y="392"/>
                  <a:pt x="48" y="392"/>
                </a:cubicBezTo>
                <a:close/>
                <a:moveTo>
                  <a:pt x="53" y="323"/>
                </a:moveTo>
                <a:cubicBezTo>
                  <a:pt x="54" y="323"/>
                  <a:pt x="54" y="325"/>
                  <a:pt x="53" y="325"/>
                </a:cubicBezTo>
                <a:cubicBezTo>
                  <a:pt x="52" y="326"/>
                  <a:pt x="52" y="323"/>
                  <a:pt x="53" y="323"/>
                </a:cubicBezTo>
                <a:close/>
                <a:moveTo>
                  <a:pt x="50" y="354"/>
                </a:moveTo>
                <a:cubicBezTo>
                  <a:pt x="53" y="355"/>
                  <a:pt x="51" y="360"/>
                  <a:pt x="50" y="360"/>
                </a:cubicBezTo>
                <a:cubicBezTo>
                  <a:pt x="45" y="362"/>
                  <a:pt x="47" y="352"/>
                  <a:pt x="50" y="354"/>
                </a:cubicBezTo>
                <a:close/>
                <a:moveTo>
                  <a:pt x="47" y="328"/>
                </a:moveTo>
                <a:cubicBezTo>
                  <a:pt x="47" y="328"/>
                  <a:pt x="48" y="328"/>
                  <a:pt x="48" y="327"/>
                </a:cubicBezTo>
                <a:cubicBezTo>
                  <a:pt x="49" y="327"/>
                  <a:pt x="49" y="328"/>
                  <a:pt x="47" y="328"/>
                </a:cubicBezTo>
                <a:close/>
                <a:moveTo>
                  <a:pt x="48" y="267"/>
                </a:moveTo>
                <a:cubicBezTo>
                  <a:pt x="47" y="267"/>
                  <a:pt x="47" y="267"/>
                  <a:pt x="47" y="266"/>
                </a:cubicBezTo>
                <a:cubicBezTo>
                  <a:pt x="47" y="266"/>
                  <a:pt x="49" y="266"/>
                  <a:pt x="48" y="267"/>
                </a:cubicBezTo>
                <a:close/>
                <a:moveTo>
                  <a:pt x="46" y="377"/>
                </a:moveTo>
                <a:cubicBezTo>
                  <a:pt x="45" y="378"/>
                  <a:pt x="45" y="376"/>
                  <a:pt x="46" y="376"/>
                </a:cubicBezTo>
                <a:cubicBezTo>
                  <a:pt x="47" y="376"/>
                  <a:pt x="46" y="377"/>
                  <a:pt x="46" y="377"/>
                </a:cubicBezTo>
                <a:close/>
                <a:moveTo>
                  <a:pt x="45" y="192"/>
                </a:moveTo>
                <a:cubicBezTo>
                  <a:pt x="46" y="192"/>
                  <a:pt x="46" y="193"/>
                  <a:pt x="46" y="193"/>
                </a:cubicBezTo>
                <a:cubicBezTo>
                  <a:pt x="44" y="195"/>
                  <a:pt x="44" y="191"/>
                  <a:pt x="45" y="192"/>
                </a:cubicBezTo>
                <a:close/>
                <a:moveTo>
                  <a:pt x="45" y="207"/>
                </a:moveTo>
                <a:cubicBezTo>
                  <a:pt x="46" y="207"/>
                  <a:pt x="45" y="208"/>
                  <a:pt x="45" y="209"/>
                </a:cubicBezTo>
                <a:cubicBezTo>
                  <a:pt x="44" y="210"/>
                  <a:pt x="44" y="207"/>
                  <a:pt x="45" y="207"/>
                </a:cubicBezTo>
                <a:close/>
                <a:moveTo>
                  <a:pt x="44" y="360"/>
                </a:moveTo>
                <a:cubicBezTo>
                  <a:pt x="45" y="361"/>
                  <a:pt x="44" y="363"/>
                  <a:pt x="44" y="363"/>
                </a:cubicBezTo>
                <a:cubicBezTo>
                  <a:pt x="42" y="364"/>
                  <a:pt x="43" y="360"/>
                  <a:pt x="44" y="360"/>
                </a:cubicBezTo>
                <a:close/>
                <a:moveTo>
                  <a:pt x="43" y="227"/>
                </a:moveTo>
                <a:cubicBezTo>
                  <a:pt x="43" y="227"/>
                  <a:pt x="43" y="228"/>
                  <a:pt x="43" y="228"/>
                </a:cubicBezTo>
                <a:cubicBezTo>
                  <a:pt x="42" y="229"/>
                  <a:pt x="43" y="226"/>
                  <a:pt x="43" y="227"/>
                </a:cubicBezTo>
                <a:close/>
                <a:moveTo>
                  <a:pt x="40" y="322"/>
                </a:moveTo>
                <a:cubicBezTo>
                  <a:pt x="41" y="320"/>
                  <a:pt x="39" y="322"/>
                  <a:pt x="40" y="322"/>
                </a:cubicBezTo>
                <a:close/>
                <a:moveTo>
                  <a:pt x="36" y="429"/>
                </a:moveTo>
                <a:cubicBezTo>
                  <a:pt x="35" y="431"/>
                  <a:pt x="35" y="428"/>
                  <a:pt x="36" y="428"/>
                </a:cubicBezTo>
                <a:cubicBezTo>
                  <a:pt x="36" y="429"/>
                  <a:pt x="36" y="429"/>
                  <a:pt x="36" y="429"/>
                </a:cubicBezTo>
                <a:close/>
                <a:moveTo>
                  <a:pt x="35" y="428"/>
                </a:moveTo>
                <a:cubicBezTo>
                  <a:pt x="34" y="427"/>
                  <a:pt x="36" y="425"/>
                  <a:pt x="36" y="426"/>
                </a:cubicBezTo>
                <a:cubicBezTo>
                  <a:pt x="37" y="428"/>
                  <a:pt x="35" y="429"/>
                  <a:pt x="35" y="428"/>
                </a:cubicBezTo>
                <a:close/>
                <a:moveTo>
                  <a:pt x="38" y="424"/>
                </a:moveTo>
                <a:cubicBezTo>
                  <a:pt x="35" y="427"/>
                  <a:pt x="33" y="418"/>
                  <a:pt x="37" y="417"/>
                </a:cubicBezTo>
                <a:cubicBezTo>
                  <a:pt x="35" y="420"/>
                  <a:pt x="39" y="419"/>
                  <a:pt x="39" y="420"/>
                </a:cubicBezTo>
                <a:cubicBezTo>
                  <a:pt x="39" y="421"/>
                  <a:pt x="39" y="423"/>
                  <a:pt x="38" y="424"/>
                </a:cubicBezTo>
                <a:close/>
                <a:moveTo>
                  <a:pt x="40" y="358"/>
                </a:moveTo>
                <a:cubicBezTo>
                  <a:pt x="38" y="358"/>
                  <a:pt x="41" y="356"/>
                  <a:pt x="40" y="357"/>
                </a:cubicBezTo>
                <a:cubicBezTo>
                  <a:pt x="40" y="357"/>
                  <a:pt x="40" y="358"/>
                  <a:pt x="40" y="358"/>
                </a:cubicBezTo>
                <a:close/>
                <a:moveTo>
                  <a:pt x="41" y="431"/>
                </a:moveTo>
                <a:cubicBezTo>
                  <a:pt x="42" y="430"/>
                  <a:pt x="43" y="432"/>
                  <a:pt x="41" y="431"/>
                </a:cubicBezTo>
                <a:close/>
                <a:moveTo>
                  <a:pt x="42" y="382"/>
                </a:moveTo>
                <a:cubicBezTo>
                  <a:pt x="42" y="380"/>
                  <a:pt x="43" y="381"/>
                  <a:pt x="44" y="380"/>
                </a:cubicBezTo>
                <a:cubicBezTo>
                  <a:pt x="44" y="379"/>
                  <a:pt x="44" y="378"/>
                  <a:pt x="46" y="378"/>
                </a:cubicBezTo>
                <a:cubicBezTo>
                  <a:pt x="50" y="378"/>
                  <a:pt x="48" y="384"/>
                  <a:pt x="45" y="385"/>
                </a:cubicBezTo>
                <a:cubicBezTo>
                  <a:pt x="43" y="385"/>
                  <a:pt x="41" y="385"/>
                  <a:pt x="42" y="382"/>
                </a:cubicBezTo>
                <a:close/>
                <a:moveTo>
                  <a:pt x="44" y="391"/>
                </a:moveTo>
                <a:cubicBezTo>
                  <a:pt x="43" y="392"/>
                  <a:pt x="45" y="389"/>
                  <a:pt x="44" y="391"/>
                </a:cubicBezTo>
                <a:close/>
                <a:moveTo>
                  <a:pt x="42" y="449"/>
                </a:moveTo>
                <a:cubicBezTo>
                  <a:pt x="42" y="450"/>
                  <a:pt x="43" y="447"/>
                  <a:pt x="42" y="449"/>
                </a:cubicBezTo>
                <a:close/>
                <a:moveTo>
                  <a:pt x="44" y="465"/>
                </a:moveTo>
                <a:cubicBezTo>
                  <a:pt x="45" y="464"/>
                  <a:pt x="43" y="466"/>
                  <a:pt x="44" y="465"/>
                </a:cubicBezTo>
                <a:close/>
                <a:moveTo>
                  <a:pt x="45" y="462"/>
                </a:moveTo>
                <a:cubicBezTo>
                  <a:pt x="45" y="462"/>
                  <a:pt x="45" y="462"/>
                  <a:pt x="46" y="462"/>
                </a:cubicBezTo>
                <a:cubicBezTo>
                  <a:pt x="46" y="462"/>
                  <a:pt x="46" y="462"/>
                  <a:pt x="46" y="462"/>
                </a:cubicBezTo>
                <a:cubicBezTo>
                  <a:pt x="46" y="462"/>
                  <a:pt x="45" y="462"/>
                  <a:pt x="45" y="462"/>
                </a:cubicBezTo>
                <a:close/>
                <a:moveTo>
                  <a:pt x="43" y="445"/>
                </a:moveTo>
                <a:cubicBezTo>
                  <a:pt x="43" y="443"/>
                  <a:pt x="45" y="441"/>
                  <a:pt x="47" y="439"/>
                </a:cubicBezTo>
                <a:cubicBezTo>
                  <a:pt x="47" y="442"/>
                  <a:pt x="44" y="443"/>
                  <a:pt x="43" y="445"/>
                </a:cubicBezTo>
                <a:close/>
                <a:moveTo>
                  <a:pt x="46" y="434"/>
                </a:moveTo>
                <a:cubicBezTo>
                  <a:pt x="46" y="434"/>
                  <a:pt x="47" y="433"/>
                  <a:pt x="46" y="434"/>
                </a:cubicBezTo>
                <a:cubicBezTo>
                  <a:pt x="46" y="434"/>
                  <a:pt x="46" y="434"/>
                  <a:pt x="46" y="434"/>
                </a:cubicBezTo>
                <a:close/>
                <a:moveTo>
                  <a:pt x="47" y="432"/>
                </a:moveTo>
                <a:cubicBezTo>
                  <a:pt x="48" y="430"/>
                  <a:pt x="50" y="431"/>
                  <a:pt x="47" y="432"/>
                </a:cubicBezTo>
                <a:close/>
                <a:moveTo>
                  <a:pt x="50" y="418"/>
                </a:moveTo>
                <a:cubicBezTo>
                  <a:pt x="50" y="419"/>
                  <a:pt x="52" y="419"/>
                  <a:pt x="51" y="420"/>
                </a:cubicBezTo>
                <a:cubicBezTo>
                  <a:pt x="52" y="419"/>
                  <a:pt x="48" y="420"/>
                  <a:pt x="49" y="421"/>
                </a:cubicBezTo>
                <a:cubicBezTo>
                  <a:pt x="48" y="420"/>
                  <a:pt x="48" y="419"/>
                  <a:pt x="49" y="418"/>
                </a:cubicBezTo>
                <a:cubicBezTo>
                  <a:pt x="47" y="418"/>
                  <a:pt x="45" y="417"/>
                  <a:pt x="45" y="416"/>
                </a:cubicBezTo>
                <a:cubicBezTo>
                  <a:pt x="44" y="413"/>
                  <a:pt x="47" y="411"/>
                  <a:pt x="49" y="410"/>
                </a:cubicBezTo>
                <a:cubicBezTo>
                  <a:pt x="49" y="410"/>
                  <a:pt x="49" y="409"/>
                  <a:pt x="49" y="409"/>
                </a:cubicBezTo>
                <a:cubicBezTo>
                  <a:pt x="50" y="409"/>
                  <a:pt x="51" y="411"/>
                  <a:pt x="51" y="411"/>
                </a:cubicBezTo>
                <a:cubicBezTo>
                  <a:pt x="53" y="412"/>
                  <a:pt x="52" y="407"/>
                  <a:pt x="54" y="407"/>
                </a:cubicBezTo>
                <a:cubicBezTo>
                  <a:pt x="56" y="408"/>
                  <a:pt x="54" y="410"/>
                  <a:pt x="54" y="411"/>
                </a:cubicBezTo>
                <a:cubicBezTo>
                  <a:pt x="54" y="413"/>
                  <a:pt x="55" y="413"/>
                  <a:pt x="53" y="414"/>
                </a:cubicBezTo>
                <a:cubicBezTo>
                  <a:pt x="52" y="415"/>
                  <a:pt x="51" y="418"/>
                  <a:pt x="50" y="418"/>
                </a:cubicBezTo>
                <a:close/>
                <a:moveTo>
                  <a:pt x="58" y="443"/>
                </a:moveTo>
                <a:cubicBezTo>
                  <a:pt x="57" y="444"/>
                  <a:pt x="57" y="442"/>
                  <a:pt x="58" y="441"/>
                </a:cubicBezTo>
                <a:cubicBezTo>
                  <a:pt x="59" y="441"/>
                  <a:pt x="58" y="442"/>
                  <a:pt x="58" y="443"/>
                </a:cubicBezTo>
                <a:close/>
                <a:moveTo>
                  <a:pt x="59" y="440"/>
                </a:moveTo>
                <a:cubicBezTo>
                  <a:pt x="57" y="441"/>
                  <a:pt x="59" y="437"/>
                  <a:pt x="60" y="439"/>
                </a:cubicBezTo>
                <a:cubicBezTo>
                  <a:pt x="60" y="439"/>
                  <a:pt x="59" y="440"/>
                  <a:pt x="59" y="440"/>
                </a:cubicBezTo>
                <a:close/>
                <a:moveTo>
                  <a:pt x="63" y="454"/>
                </a:moveTo>
                <a:cubicBezTo>
                  <a:pt x="64" y="455"/>
                  <a:pt x="62" y="456"/>
                  <a:pt x="63" y="454"/>
                </a:cubicBezTo>
                <a:close/>
                <a:moveTo>
                  <a:pt x="60" y="436"/>
                </a:moveTo>
                <a:cubicBezTo>
                  <a:pt x="60" y="435"/>
                  <a:pt x="64" y="434"/>
                  <a:pt x="64" y="437"/>
                </a:cubicBezTo>
                <a:cubicBezTo>
                  <a:pt x="64" y="439"/>
                  <a:pt x="58" y="440"/>
                  <a:pt x="60" y="436"/>
                </a:cubicBezTo>
                <a:close/>
                <a:moveTo>
                  <a:pt x="63" y="432"/>
                </a:moveTo>
                <a:cubicBezTo>
                  <a:pt x="62" y="431"/>
                  <a:pt x="64" y="430"/>
                  <a:pt x="63" y="432"/>
                </a:cubicBezTo>
                <a:close/>
                <a:moveTo>
                  <a:pt x="64" y="427"/>
                </a:moveTo>
                <a:cubicBezTo>
                  <a:pt x="64" y="427"/>
                  <a:pt x="64" y="428"/>
                  <a:pt x="64" y="428"/>
                </a:cubicBezTo>
                <a:cubicBezTo>
                  <a:pt x="63" y="429"/>
                  <a:pt x="63" y="426"/>
                  <a:pt x="64" y="427"/>
                </a:cubicBezTo>
                <a:close/>
                <a:moveTo>
                  <a:pt x="64" y="419"/>
                </a:moveTo>
                <a:cubicBezTo>
                  <a:pt x="62" y="420"/>
                  <a:pt x="59" y="423"/>
                  <a:pt x="58" y="424"/>
                </a:cubicBezTo>
                <a:cubicBezTo>
                  <a:pt x="57" y="426"/>
                  <a:pt x="56" y="428"/>
                  <a:pt x="54" y="429"/>
                </a:cubicBezTo>
                <a:cubicBezTo>
                  <a:pt x="57" y="423"/>
                  <a:pt x="63" y="418"/>
                  <a:pt x="66" y="413"/>
                </a:cubicBezTo>
                <a:cubicBezTo>
                  <a:pt x="69" y="409"/>
                  <a:pt x="65" y="417"/>
                  <a:pt x="64" y="419"/>
                </a:cubicBezTo>
                <a:close/>
                <a:moveTo>
                  <a:pt x="66" y="423"/>
                </a:moveTo>
                <a:cubicBezTo>
                  <a:pt x="66" y="423"/>
                  <a:pt x="65" y="423"/>
                  <a:pt x="65" y="423"/>
                </a:cubicBezTo>
                <a:cubicBezTo>
                  <a:pt x="64" y="423"/>
                  <a:pt x="66" y="422"/>
                  <a:pt x="66" y="423"/>
                </a:cubicBezTo>
                <a:close/>
                <a:moveTo>
                  <a:pt x="67" y="443"/>
                </a:moveTo>
                <a:cubicBezTo>
                  <a:pt x="67" y="443"/>
                  <a:pt x="67" y="443"/>
                  <a:pt x="67" y="443"/>
                </a:cubicBezTo>
                <a:cubicBezTo>
                  <a:pt x="67" y="441"/>
                  <a:pt x="69" y="445"/>
                  <a:pt x="67" y="443"/>
                </a:cubicBezTo>
                <a:close/>
                <a:moveTo>
                  <a:pt x="67" y="430"/>
                </a:moveTo>
                <a:cubicBezTo>
                  <a:pt x="67" y="431"/>
                  <a:pt x="66" y="432"/>
                  <a:pt x="66" y="431"/>
                </a:cubicBezTo>
                <a:cubicBezTo>
                  <a:pt x="62" y="428"/>
                  <a:pt x="71" y="428"/>
                  <a:pt x="67" y="430"/>
                </a:cubicBezTo>
                <a:close/>
                <a:moveTo>
                  <a:pt x="68" y="358"/>
                </a:moveTo>
                <a:cubicBezTo>
                  <a:pt x="65" y="360"/>
                  <a:pt x="65" y="354"/>
                  <a:pt x="67" y="355"/>
                </a:cubicBezTo>
                <a:cubicBezTo>
                  <a:pt x="69" y="355"/>
                  <a:pt x="68" y="357"/>
                  <a:pt x="68" y="358"/>
                </a:cubicBezTo>
                <a:close/>
                <a:moveTo>
                  <a:pt x="80" y="396"/>
                </a:moveTo>
                <a:cubicBezTo>
                  <a:pt x="79" y="397"/>
                  <a:pt x="80" y="395"/>
                  <a:pt x="80" y="396"/>
                </a:cubicBezTo>
                <a:close/>
                <a:moveTo>
                  <a:pt x="76" y="428"/>
                </a:moveTo>
                <a:cubicBezTo>
                  <a:pt x="76" y="428"/>
                  <a:pt x="76" y="428"/>
                  <a:pt x="76" y="428"/>
                </a:cubicBezTo>
                <a:cubicBezTo>
                  <a:pt x="77" y="427"/>
                  <a:pt x="76" y="428"/>
                  <a:pt x="76" y="428"/>
                </a:cubicBezTo>
                <a:close/>
                <a:moveTo>
                  <a:pt x="76" y="353"/>
                </a:moveTo>
                <a:cubicBezTo>
                  <a:pt x="76" y="355"/>
                  <a:pt x="75" y="355"/>
                  <a:pt x="75" y="356"/>
                </a:cubicBezTo>
                <a:cubicBezTo>
                  <a:pt x="74" y="355"/>
                  <a:pt x="76" y="354"/>
                  <a:pt x="76" y="353"/>
                </a:cubicBezTo>
                <a:close/>
                <a:moveTo>
                  <a:pt x="75" y="387"/>
                </a:moveTo>
                <a:cubicBezTo>
                  <a:pt x="74" y="387"/>
                  <a:pt x="77" y="386"/>
                  <a:pt x="75" y="387"/>
                </a:cubicBezTo>
                <a:close/>
                <a:moveTo>
                  <a:pt x="73" y="290"/>
                </a:moveTo>
                <a:cubicBezTo>
                  <a:pt x="73" y="291"/>
                  <a:pt x="73" y="292"/>
                  <a:pt x="72" y="293"/>
                </a:cubicBezTo>
                <a:cubicBezTo>
                  <a:pt x="72" y="292"/>
                  <a:pt x="73" y="290"/>
                  <a:pt x="73" y="290"/>
                </a:cubicBezTo>
                <a:close/>
                <a:moveTo>
                  <a:pt x="69" y="327"/>
                </a:moveTo>
                <a:cubicBezTo>
                  <a:pt x="69" y="326"/>
                  <a:pt x="71" y="325"/>
                  <a:pt x="72" y="324"/>
                </a:cubicBezTo>
                <a:cubicBezTo>
                  <a:pt x="72" y="326"/>
                  <a:pt x="70" y="326"/>
                  <a:pt x="69" y="327"/>
                </a:cubicBezTo>
                <a:close/>
                <a:moveTo>
                  <a:pt x="72" y="428"/>
                </a:moveTo>
                <a:cubicBezTo>
                  <a:pt x="70" y="430"/>
                  <a:pt x="71" y="426"/>
                  <a:pt x="72" y="427"/>
                </a:cubicBezTo>
                <a:cubicBezTo>
                  <a:pt x="73" y="427"/>
                  <a:pt x="73" y="428"/>
                  <a:pt x="72" y="428"/>
                </a:cubicBezTo>
                <a:close/>
                <a:moveTo>
                  <a:pt x="72" y="367"/>
                </a:moveTo>
                <a:cubicBezTo>
                  <a:pt x="72" y="367"/>
                  <a:pt x="72" y="368"/>
                  <a:pt x="72" y="368"/>
                </a:cubicBezTo>
                <a:cubicBezTo>
                  <a:pt x="71" y="369"/>
                  <a:pt x="71" y="366"/>
                  <a:pt x="72" y="367"/>
                </a:cubicBezTo>
                <a:close/>
                <a:moveTo>
                  <a:pt x="73" y="356"/>
                </a:moveTo>
                <a:cubicBezTo>
                  <a:pt x="70" y="358"/>
                  <a:pt x="71" y="351"/>
                  <a:pt x="73" y="352"/>
                </a:cubicBezTo>
                <a:cubicBezTo>
                  <a:pt x="75" y="353"/>
                  <a:pt x="73" y="356"/>
                  <a:pt x="73" y="356"/>
                </a:cubicBezTo>
                <a:close/>
                <a:moveTo>
                  <a:pt x="75" y="401"/>
                </a:moveTo>
                <a:cubicBezTo>
                  <a:pt x="73" y="402"/>
                  <a:pt x="73" y="397"/>
                  <a:pt x="75" y="398"/>
                </a:cubicBezTo>
                <a:cubicBezTo>
                  <a:pt x="76" y="399"/>
                  <a:pt x="76" y="400"/>
                  <a:pt x="75" y="401"/>
                </a:cubicBezTo>
                <a:close/>
                <a:moveTo>
                  <a:pt x="76" y="434"/>
                </a:moveTo>
                <a:cubicBezTo>
                  <a:pt x="77" y="432"/>
                  <a:pt x="79" y="430"/>
                  <a:pt x="80" y="429"/>
                </a:cubicBezTo>
                <a:cubicBezTo>
                  <a:pt x="79" y="431"/>
                  <a:pt x="78" y="432"/>
                  <a:pt x="76" y="434"/>
                </a:cubicBezTo>
                <a:close/>
                <a:moveTo>
                  <a:pt x="81" y="418"/>
                </a:moveTo>
                <a:cubicBezTo>
                  <a:pt x="80" y="418"/>
                  <a:pt x="82" y="417"/>
                  <a:pt x="81" y="418"/>
                </a:cubicBezTo>
                <a:close/>
                <a:moveTo>
                  <a:pt x="81" y="339"/>
                </a:moveTo>
                <a:cubicBezTo>
                  <a:pt x="80" y="339"/>
                  <a:pt x="81" y="337"/>
                  <a:pt x="82" y="337"/>
                </a:cubicBezTo>
                <a:cubicBezTo>
                  <a:pt x="82" y="338"/>
                  <a:pt x="81" y="338"/>
                  <a:pt x="81" y="339"/>
                </a:cubicBezTo>
                <a:close/>
                <a:moveTo>
                  <a:pt x="87" y="450"/>
                </a:moveTo>
                <a:cubicBezTo>
                  <a:pt x="87" y="450"/>
                  <a:pt x="88" y="449"/>
                  <a:pt x="89" y="449"/>
                </a:cubicBezTo>
                <a:cubicBezTo>
                  <a:pt x="89" y="449"/>
                  <a:pt x="88" y="450"/>
                  <a:pt x="87" y="450"/>
                </a:cubicBezTo>
                <a:close/>
                <a:moveTo>
                  <a:pt x="90" y="457"/>
                </a:moveTo>
                <a:cubicBezTo>
                  <a:pt x="90" y="457"/>
                  <a:pt x="90" y="457"/>
                  <a:pt x="90" y="456"/>
                </a:cubicBezTo>
                <a:cubicBezTo>
                  <a:pt x="92" y="455"/>
                  <a:pt x="91" y="456"/>
                  <a:pt x="90" y="457"/>
                </a:cubicBezTo>
                <a:close/>
                <a:moveTo>
                  <a:pt x="91" y="435"/>
                </a:moveTo>
                <a:cubicBezTo>
                  <a:pt x="89" y="437"/>
                  <a:pt x="92" y="434"/>
                  <a:pt x="91" y="435"/>
                </a:cubicBezTo>
                <a:close/>
                <a:moveTo>
                  <a:pt x="109" y="452"/>
                </a:moveTo>
                <a:cubicBezTo>
                  <a:pt x="109" y="453"/>
                  <a:pt x="108" y="452"/>
                  <a:pt x="109" y="452"/>
                </a:cubicBezTo>
                <a:close/>
                <a:moveTo>
                  <a:pt x="104" y="235"/>
                </a:moveTo>
                <a:cubicBezTo>
                  <a:pt x="103" y="236"/>
                  <a:pt x="105" y="234"/>
                  <a:pt x="104" y="235"/>
                </a:cubicBezTo>
                <a:close/>
                <a:moveTo>
                  <a:pt x="100" y="336"/>
                </a:moveTo>
                <a:cubicBezTo>
                  <a:pt x="101" y="335"/>
                  <a:pt x="101" y="335"/>
                  <a:pt x="100" y="336"/>
                </a:cubicBezTo>
                <a:close/>
                <a:moveTo>
                  <a:pt x="98" y="332"/>
                </a:moveTo>
                <a:cubicBezTo>
                  <a:pt x="97" y="331"/>
                  <a:pt x="100" y="331"/>
                  <a:pt x="98" y="332"/>
                </a:cubicBezTo>
                <a:close/>
                <a:moveTo>
                  <a:pt x="96" y="215"/>
                </a:moveTo>
                <a:cubicBezTo>
                  <a:pt x="97" y="215"/>
                  <a:pt x="97" y="216"/>
                  <a:pt x="96" y="217"/>
                </a:cubicBezTo>
                <a:cubicBezTo>
                  <a:pt x="95" y="219"/>
                  <a:pt x="95" y="214"/>
                  <a:pt x="96" y="215"/>
                </a:cubicBezTo>
                <a:close/>
                <a:moveTo>
                  <a:pt x="87" y="329"/>
                </a:moveTo>
                <a:cubicBezTo>
                  <a:pt x="87" y="330"/>
                  <a:pt x="86" y="330"/>
                  <a:pt x="86" y="331"/>
                </a:cubicBezTo>
                <a:cubicBezTo>
                  <a:pt x="85" y="331"/>
                  <a:pt x="86" y="329"/>
                  <a:pt x="87" y="329"/>
                </a:cubicBezTo>
                <a:close/>
                <a:moveTo>
                  <a:pt x="85" y="293"/>
                </a:moveTo>
                <a:cubicBezTo>
                  <a:pt x="85" y="293"/>
                  <a:pt x="85" y="294"/>
                  <a:pt x="85" y="294"/>
                </a:cubicBezTo>
                <a:cubicBezTo>
                  <a:pt x="83" y="296"/>
                  <a:pt x="83" y="291"/>
                  <a:pt x="85" y="293"/>
                </a:cubicBezTo>
                <a:close/>
                <a:moveTo>
                  <a:pt x="84" y="332"/>
                </a:moveTo>
                <a:cubicBezTo>
                  <a:pt x="86" y="333"/>
                  <a:pt x="84" y="335"/>
                  <a:pt x="82" y="336"/>
                </a:cubicBezTo>
                <a:cubicBezTo>
                  <a:pt x="83" y="334"/>
                  <a:pt x="85" y="333"/>
                  <a:pt x="84" y="332"/>
                </a:cubicBezTo>
                <a:close/>
                <a:moveTo>
                  <a:pt x="83" y="441"/>
                </a:moveTo>
                <a:cubicBezTo>
                  <a:pt x="82" y="442"/>
                  <a:pt x="84" y="440"/>
                  <a:pt x="83" y="441"/>
                </a:cubicBezTo>
                <a:close/>
                <a:moveTo>
                  <a:pt x="84" y="423"/>
                </a:moveTo>
                <a:cubicBezTo>
                  <a:pt x="83" y="424"/>
                  <a:pt x="84" y="421"/>
                  <a:pt x="85" y="422"/>
                </a:cubicBezTo>
                <a:cubicBezTo>
                  <a:pt x="86" y="422"/>
                  <a:pt x="85" y="423"/>
                  <a:pt x="84" y="423"/>
                </a:cubicBezTo>
                <a:close/>
                <a:moveTo>
                  <a:pt x="88" y="356"/>
                </a:moveTo>
                <a:cubicBezTo>
                  <a:pt x="86" y="358"/>
                  <a:pt x="87" y="353"/>
                  <a:pt x="88" y="354"/>
                </a:cubicBezTo>
                <a:cubicBezTo>
                  <a:pt x="89" y="355"/>
                  <a:pt x="88" y="356"/>
                  <a:pt x="88" y="356"/>
                </a:cubicBezTo>
                <a:close/>
                <a:moveTo>
                  <a:pt x="96" y="325"/>
                </a:moveTo>
                <a:cubicBezTo>
                  <a:pt x="96" y="326"/>
                  <a:pt x="95" y="326"/>
                  <a:pt x="94" y="328"/>
                </a:cubicBezTo>
                <a:cubicBezTo>
                  <a:pt x="92" y="330"/>
                  <a:pt x="89" y="335"/>
                  <a:pt x="87" y="340"/>
                </a:cubicBezTo>
                <a:cubicBezTo>
                  <a:pt x="85" y="344"/>
                  <a:pt x="85" y="347"/>
                  <a:pt x="83" y="350"/>
                </a:cubicBezTo>
                <a:cubicBezTo>
                  <a:pt x="83" y="350"/>
                  <a:pt x="82" y="350"/>
                  <a:pt x="82" y="350"/>
                </a:cubicBezTo>
                <a:cubicBezTo>
                  <a:pt x="81" y="350"/>
                  <a:pt x="84" y="344"/>
                  <a:pt x="85" y="342"/>
                </a:cubicBezTo>
                <a:cubicBezTo>
                  <a:pt x="86" y="339"/>
                  <a:pt x="87" y="337"/>
                  <a:pt x="89" y="334"/>
                </a:cubicBezTo>
                <a:cubicBezTo>
                  <a:pt x="90" y="332"/>
                  <a:pt x="93" y="329"/>
                  <a:pt x="93" y="326"/>
                </a:cubicBezTo>
                <a:cubicBezTo>
                  <a:pt x="93" y="326"/>
                  <a:pt x="92" y="325"/>
                  <a:pt x="92" y="324"/>
                </a:cubicBezTo>
                <a:cubicBezTo>
                  <a:pt x="92" y="320"/>
                  <a:pt x="99" y="320"/>
                  <a:pt x="96" y="325"/>
                </a:cubicBezTo>
                <a:close/>
                <a:moveTo>
                  <a:pt x="96" y="227"/>
                </a:moveTo>
                <a:cubicBezTo>
                  <a:pt x="97" y="227"/>
                  <a:pt x="97" y="228"/>
                  <a:pt x="97" y="229"/>
                </a:cubicBezTo>
                <a:cubicBezTo>
                  <a:pt x="96" y="230"/>
                  <a:pt x="96" y="227"/>
                  <a:pt x="96" y="227"/>
                </a:cubicBezTo>
                <a:close/>
                <a:moveTo>
                  <a:pt x="98" y="402"/>
                </a:moveTo>
                <a:cubicBezTo>
                  <a:pt x="98" y="402"/>
                  <a:pt x="98" y="402"/>
                  <a:pt x="97" y="402"/>
                </a:cubicBezTo>
                <a:cubicBezTo>
                  <a:pt x="95" y="401"/>
                  <a:pt x="100" y="400"/>
                  <a:pt x="98" y="402"/>
                </a:cubicBezTo>
                <a:close/>
                <a:moveTo>
                  <a:pt x="99" y="416"/>
                </a:moveTo>
                <a:cubicBezTo>
                  <a:pt x="101" y="416"/>
                  <a:pt x="100" y="421"/>
                  <a:pt x="99" y="422"/>
                </a:cubicBezTo>
                <a:cubicBezTo>
                  <a:pt x="94" y="424"/>
                  <a:pt x="98" y="416"/>
                  <a:pt x="99" y="416"/>
                </a:cubicBezTo>
                <a:close/>
                <a:moveTo>
                  <a:pt x="101" y="433"/>
                </a:moveTo>
                <a:cubicBezTo>
                  <a:pt x="103" y="434"/>
                  <a:pt x="100" y="438"/>
                  <a:pt x="100" y="439"/>
                </a:cubicBezTo>
                <a:cubicBezTo>
                  <a:pt x="94" y="441"/>
                  <a:pt x="98" y="431"/>
                  <a:pt x="101" y="433"/>
                </a:cubicBezTo>
                <a:close/>
                <a:moveTo>
                  <a:pt x="100" y="444"/>
                </a:moveTo>
                <a:cubicBezTo>
                  <a:pt x="101" y="443"/>
                  <a:pt x="99" y="445"/>
                  <a:pt x="100" y="444"/>
                </a:cubicBezTo>
                <a:close/>
                <a:moveTo>
                  <a:pt x="102" y="444"/>
                </a:moveTo>
                <a:cubicBezTo>
                  <a:pt x="102" y="445"/>
                  <a:pt x="101" y="445"/>
                  <a:pt x="101" y="445"/>
                </a:cubicBezTo>
                <a:cubicBezTo>
                  <a:pt x="99" y="443"/>
                  <a:pt x="104" y="442"/>
                  <a:pt x="102" y="444"/>
                </a:cubicBezTo>
                <a:close/>
                <a:moveTo>
                  <a:pt x="102" y="431"/>
                </a:moveTo>
                <a:cubicBezTo>
                  <a:pt x="100" y="432"/>
                  <a:pt x="100" y="428"/>
                  <a:pt x="102" y="429"/>
                </a:cubicBezTo>
                <a:cubicBezTo>
                  <a:pt x="103" y="429"/>
                  <a:pt x="103" y="430"/>
                  <a:pt x="102" y="431"/>
                </a:cubicBezTo>
                <a:close/>
                <a:moveTo>
                  <a:pt x="103" y="445"/>
                </a:moveTo>
                <a:cubicBezTo>
                  <a:pt x="102" y="447"/>
                  <a:pt x="105" y="444"/>
                  <a:pt x="103" y="445"/>
                </a:cubicBezTo>
                <a:close/>
                <a:moveTo>
                  <a:pt x="104" y="399"/>
                </a:moveTo>
                <a:cubicBezTo>
                  <a:pt x="103" y="399"/>
                  <a:pt x="103" y="397"/>
                  <a:pt x="104" y="398"/>
                </a:cubicBezTo>
                <a:cubicBezTo>
                  <a:pt x="104" y="398"/>
                  <a:pt x="104" y="399"/>
                  <a:pt x="104" y="399"/>
                </a:cubicBezTo>
                <a:close/>
                <a:moveTo>
                  <a:pt x="104" y="288"/>
                </a:moveTo>
                <a:cubicBezTo>
                  <a:pt x="103" y="290"/>
                  <a:pt x="105" y="287"/>
                  <a:pt x="104" y="288"/>
                </a:cubicBezTo>
                <a:close/>
                <a:moveTo>
                  <a:pt x="105" y="307"/>
                </a:moveTo>
                <a:cubicBezTo>
                  <a:pt x="104" y="306"/>
                  <a:pt x="106" y="303"/>
                  <a:pt x="107" y="302"/>
                </a:cubicBezTo>
                <a:cubicBezTo>
                  <a:pt x="107" y="304"/>
                  <a:pt x="106" y="306"/>
                  <a:pt x="105" y="307"/>
                </a:cubicBezTo>
                <a:close/>
                <a:moveTo>
                  <a:pt x="106" y="414"/>
                </a:moveTo>
                <a:cubicBezTo>
                  <a:pt x="106" y="413"/>
                  <a:pt x="108" y="413"/>
                  <a:pt x="106" y="414"/>
                </a:cubicBezTo>
                <a:close/>
                <a:moveTo>
                  <a:pt x="108" y="455"/>
                </a:moveTo>
                <a:cubicBezTo>
                  <a:pt x="107" y="454"/>
                  <a:pt x="109" y="454"/>
                  <a:pt x="108" y="455"/>
                </a:cubicBezTo>
                <a:close/>
                <a:moveTo>
                  <a:pt x="107" y="441"/>
                </a:moveTo>
                <a:cubicBezTo>
                  <a:pt x="106" y="441"/>
                  <a:pt x="108" y="440"/>
                  <a:pt x="108" y="440"/>
                </a:cubicBezTo>
                <a:cubicBezTo>
                  <a:pt x="108" y="440"/>
                  <a:pt x="107" y="440"/>
                  <a:pt x="107" y="441"/>
                </a:cubicBezTo>
                <a:close/>
                <a:moveTo>
                  <a:pt x="108" y="388"/>
                </a:moveTo>
                <a:cubicBezTo>
                  <a:pt x="107" y="390"/>
                  <a:pt x="107" y="386"/>
                  <a:pt x="108" y="387"/>
                </a:cubicBezTo>
                <a:cubicBezTo>
                  <a:pt x="109" y="387"/>
                  <a:pt x="108" y="388"/>
                  <a:pt x="108" y="388"/>
                </a:cubicBezTo>
                <a:close/>
                <a:moveTo>
                  <a:pt x="109" y="420"/>
                </a:moveTo>
                <a:cubicBezTo>
                  <a:pt x="109" y="421"/>
                  <a:pt x="109" y="418"/>
                  <a:pt x="109" y="420"/>
                </a:cubicBezTo>
                <a:close/>
                <a:moveTo>
                  <a:pt x="108" y="301"/>
                </a:moveTo>
                <a:cubicBezTo>
                  <a:pt x="107" y="300"/>
                  <a:pt x="108" y="298"/>
                  <a:pt x="110" y="298"/>
                </a:cubicBezTo>
                <a:cubicBezTo>
                  <a:pt x="110" y="299"/>
                  <a:pt x="108" y="300"/>
                  <a:pt x="108" y="301"/>
                </a:cubicBezTo>
                <a:close/>
                <a:moveTo>
                  <a:pt x="110" y="401"/>
                </a:moveTo>
                <a:cubicBezTo>
                  <a:pt x="110" y="401"/>
                  <a:pt x="110" y="401"/>
                  <a:pt x="110" y="401"/>
                </a:cubicBezTo>
                <a:cubicBezTo>
                  <a:pt x="110" y="401"/>
                  <a:pt x="110" y="400"/>
                  <a:pt x="110" y="401"/>
                </a:cubicBezTo>
                <a:close/>
                <a:moveTo>
                  <a:pt x="69" y="513"/>
                </a:moveTo>
                <a:cubicBezTo>
                  <a:pt x="69" y="513"/>
                  <a:pt x="70" y="512"/>
                  <a:pt x="70" y="512"/>
                </a:cubicBezTo>
                <a:cubicBezTo>
                  <a:pt x="70" y="513"/>
                  <a:pt x="69" y="513"/>
                  <a:pt x="69" y="513"/>
                </a:cubicBezTo>
                <a:close/>
                <a:moveTo>
                  <a:pt x="73" y="498"/>
                </a:moveTo>
                <a:cubicBezTo>
                  <a:pt x="73" y="497"/>
                  <a:pt x="74" y="496"/>
                  <a:pt x="75" y="496"/>
                </a:cubicBezTo>
                <a:cubicBezTo>
                  <a:pt x="75" y="497"/>
                  <a:pt x="74" y="498"/>
                  <a:pt x="73" y="498"/>
                </a:cubicBezTo>
                <a:close/>
                <a:moveTo>
                  <a:pt x="76" y="499"/>
                </a:moveTo>
                <a:cubicBezTo>
                  <a:pt x="76" y="500"/>
                  <a:pt x="77" y="498"/>
                  <a:pt x="76" y="499"/>
                </a:cubicBezTo>
                <a:close/>
                <a:moveTo>
                  <a:pt x="87" y="502"/>
                </a:moveTo>
                <a:cubicBezTo>
                  <a:pt x="86" y="500"/>
                  <a:pt x="89" y="499"/>
                  <a:pt x="87" y="502"/>
                </a:cubicBezTo>
                <a:close/>
                <a:moveTo>
                  <a:pt x="100" y="477"/>
                </a:moveTo>
                <a:cubicBezTo>
                  <a:pt x="101" y="479"/>
                  <a:pt x="100" y="481"/>
                  <a:pt x="100" y="483"/>
                </a:cubicBezTo>
                <a:cubicBezTo>
                  <a:pt x="99" y="481"/>
                  <a:pt x="99" y="479"/>
                  <a:pt x="100" y="477"/>
                </a:cubicBezTo>
                <a:close/>
                <a:moveTo>
                  <a:pt x="100" y="502"/>
                </a:moveTo>
                <a:cubicBezTo>
                  <a:pt x="97" y="499"/>
                  <a:pt x="102" y="497"/>
                  <a:pt x="104" y="496"/>
                </a:cubicBezTo>
                <a:cubicBezTo>
                  <a:pt x="105" y="499"/>
                  <a:pt x="102" y="505"/>
                  <a:pt x="100" y="502"/>
                </a:cubicBezTo>
                <a:close/>
                <a:moveTo>
                  <a:pt x="144" y="546"/>
                </a:moveTo>
                <a:cubicBezTo>
                  <a:pt x="143" y="546"/>
                  <a:pt x="144" y="546"/>
                  <a:pt x="144" y="545"/>
                </a:cubicBezTo>
                <a:cubicBezTo>
                  <a:pt x="143" y="542"/>
                  <a:pt x="147" y="545"/>
                  <a:pt x="144" y="546"/>
                </a:cubicBezTo>
                <a:close/>
                <a:moveTo>
                  <a:pt x="196" y="598"/>
                </a:moveTo>
                <a:cubicBezTo>
                  <a:pt x="196" y="598"/>
                  <a:pt x="198" y="597"/>
                  <a:pt x="198" y="598"/>
                </a:cubicBezTo>
                <a:cubicBezTo>
                  <a:pt x="198" y="599"/>
                  <a:pt x="197" y="599"/>
                  <a:pt x="196" y="598"/>
                </a:cubicBezTo>
                <a:close/>
                <a:moveTo>
                  <a:pt x="199" y="607"/>
                </a:moveTo>
                <a:cubicBezTo>
                  <a:pt x="198" y="607"/>
                  <a:pt x="198" y="607"/>
                  <a:pt x="198" y="607"/>
                </a:cubicBezTo>
                <a:cubicBezTo>
                  <a:pt x="198" y="605"/>
                  <a:pt x="200" y="608"/>
                  <a:pt x="199" y="607"/>
                </a:cubicBezTo>
                <a:close/>
                <a:moveTo>
                  <a:pt x="203" y="609"/>
                </a:moveTo>
                <a:cubicBezTo>
                  <a:pt x="203" y="608"/>
                  <a:pt x="205" y="608"/>
                  <a:pt x="205" y="609"/>
                </a:cubicBezTo>
                <a:cubicBezTo>
                  <a:pt x="205" y="609"/>
                  <a:pt x="203" y="610"/>
                  <a:pt x="203" y="609"/>
                </a:cubicBezTo>
                <a:close/>
                <a:moveTo>
                  <a:pt x="208" y="600"/>
                </a:moveTo>
                <a:cubicBezTo>
                  <a:pt x="207" y="600"/>
                  <a:pt x="209" y="600"/>
                  <a:pt x="209" y="600"/>
                </a:cubicBezTo>
                <a:cubicBezTo>
                  <a:pt x="209" y="601"/>
                  <a:pt x="208" y="601"/>
                  <a:pt x="208" y="600"/>
                </a:cubicBezTo>
                <a:close/>
                <a:moveTo>
                  <a:pt x="226" y="627"/>
                </a:moveTo>
                <a:cubicBezTo>
                  <a:pt x="225" y="627"/>
                  <a:pt x="223" y="627"/>
                  <a:pt x="224" y="625"/>
                </a:cubicBezTo>
                <a:cubicBezTo>
                  <a:pt x="225" y="624"/>
                  <a:pt x="229" y="624"/>
                  <a:pt x="229" y="625"/>
                </a:cubicBezTo>
                <a:cubicBezTo>
                  <a:pt x="229" y="626"/>
                  <a:pt x="229" y="626"/>
                  <a:pt x="228" y="627"/>
                </a:cubicBezTo>
                <a:cubicBezTo>
                  <a:pt x="229" y="627"/>
                  <a:pt x="229" y="627"/>
                  <a:pt x="229" y="627"/>
                </a:cubicBezTo>
                <a:cubicBezTo>
                  <a:pt x="228" y="628"/>
                  <a:pt x="227" y="628"/>
                  <a:pt x="226" y="627"/>
                </a:cubicBezTo>
                <a:close/>
                <a:moveTo>
                  <a:pt x="229" y="628"/>
                </a:moveTo>
                <a:cubicBezTo>
                  <a:pt x="229" y="628"/>
                  <a:pt x="231" y="628"/>
                  <a:pt x="231" y="628"/>
                </a:cubicBezTo>
                <a:cubicBezTo>
                  <a:pt x="231" y="629"/>
                  <a:pt x="229" y="628"/>
                  <a:pt x="229" y="628"/>
                </a:cubicBezTo>
                <a:close/>
                <a:moveTo>
                  <a:pt x="228" y="653"/>
                </a:moveTo>
                <a:cubicBezTo>
                  <a:pt x="228" y="653"/>
                  <a:pt x="228" y="653"/>
                  <a:pt x="228" y="653"/>
                </a:cubicBezTo>
                <a:cubicBezTo>
                  <a:pt x="228" y="653"/>
                  <a:pt x="228" y="652"/>
                  <a:pt x="228" y="653"/>
                </a:cubicBezTo>
                <a:close/>
                <a:moveTo>
                  <a:pt x="213" y="659"/>
                </a:moveTo>
                <a:cubicBezTo>
                  <a:pt x="213" y="659"/>
                  <a:pt x="213" y="659"/>
                  <a:pt x="213" y="659"/>
                </a:cubicBezTo>
                <a:cubicBezTo>
                  <a:pt x="213" y="659"/>
                  <a:pt x="213" y="659"/>
                  <a:pt x="213" y="659"/>
                </a:cubicBezTo>
                <a:close/>
                <a:moveTo>
                  <a:pt x="213" y="659"/>
                </a:moveTo>
                <a:cubicBezTo>
                  <a:pt x="214" y="659"/>
                  <a:pt x="213" y="659"/>
                  <a:pt x="213" y="659"/>
                </a:cubicBezTo>
                <a:close/>
                <a:moveTo>
                  <a:pt x="213" y="657"/>
                </a:moveTo>
                <a:cubicBezTo>
                  <a:pt x="213" y="656"/>
                  <a:pt x="214" y="656"/>
                  <a:pt x="214" y="656"/>
                </a:cubicBezTo>
                <a:cubicBezTo>
                  <a:pt x="215" y="657"/>
                  <a:pt x="214" y="657"/>
                  <a:pt x="213" y="657"/>
                </a:cubicBezTo>
                <a:close/>
                <a:moveTo>
                  <a:pt x="216" y="659"/>
                </a:moveTo>
                <a:cubicBezTo>
                  <a:pt x="216" y="658"/>
                  <a:pt x="216" y="657"/>
                  <a:pt x="217" y="658"/>
                </a:cubicBezTo>
                <a:cubicBezTo>
                  <a:pt x="216" y="658"/>
                  <a:pt x="218" y="660"/>
                  <a:pt x="218" y="660"/>
                </a:cubicBezTo>
                <a:cubicBezTo>
                  <a:pt x="217" y="661"/>
                  <a:pt x="215" y="661"/>
                  <a:pt x="216" y="659"/>
                </a:cubicBezTo>
                <a:close/>
                <a:moveTo>
                  <a:pt x="223" y="655"/>
                </a:moveTo>
                <a:cubicBezTo>
                  <a:pt x="222" y="654"/>
                  <a:pt x="224" y="654"/>
                  <a:pt x="224" y="655"/>
                </a:cubicBezTo>
                <a:cubicBezTo>
                  <a:pt x="224" y="655"/>
                  <a:pt x="223" y="655"/>
                  <a:pt x="223" y="655"/>
                </a:cubicBezTo>
                <a:close/>
                <a:moveTo>
                  <a:pt x="218" y="655"/>
                </a:moveTo>
                <a:cubicBezTo>
                  <a:pt x="217" y="655"/>
                  <a:pt x="214" y="653"/>
                  <a:pt x="215" y="651"/>
                </a:cubicBezTo>
                <a:cubicBezTo>
                  <a:pt x="216" y="650"/>
                  <a:pt x="220" y="648"/>
                  <a:pt x="222" y="648"/>
                </a:cubicBezTo>
                <a:cubicBezTo>
                  <a:pt x="223" y="649"/>
                  <a:pt x="224" y="649"/>
                  <a:pt x="224" y="650"/>
                </a:cubicBezTo>
                <a:cubicBezTo>
                  <a:pt x="224" y="650"/>
                  <a:pt x="226" y="648"/>
                  <a:pt x="225" y="650"/>
                </a:cubicBezTo>
                <a:cubicBezTo>
                  <a:pt x="225" y="650"/>
                  <a:pt x="223" y="651"/>
                  <a:pt x="223" y="652"/>
                </a:cubicBezTo>
                <a:cubicBezTo>
                  <a:pt x="224" y="652"/>
                  <a:pt x="225" y="651"/>
                  <a:pt x="225" y="652"/>
                </a:cubicBezTo>
                <a:cubicBezTo>
                  <a:pt x="224" y="652"/>
                  <a:pt x="221" y="655"/>
                  <a:pt x="218" y="655"/>
                </a:cubicBezTo>
                <a:close/>
                <a:moveTo>
                  <a:pt x="227" y="665"/>
                </a:moveTo>
                <a:cubicBezTo>
                  <a:pt x="223" y="666"/>
                  <a:pt x="226" y="661"/>
                  <a:pt x="228" y="662"/>
                </a:cubicBezTo>
                <a:cubicBezTo>
                  <a:pt x="229" y="664"/>
                  <a:pt x="228" y="664"/>
                  <a:pt x="227" y="665"/>
                </a:cubicBezTo>
                <a:close/>
                <a:moveTo>
                  <a:pt x="228" y="654"/>
                </a:moveTo>
                <a:cubicBezTo>
                  <a:pt x="227" y="653"/>
                  <a:pt x="230" y="655"/>
                  <a:pt x="228" y="654"/>
                </a:cubicBezTo>
                <a:close/>
                <a:moveTo>
                  <a:pt x="229" y="639"/>
                </a:moveTo>
                <a:cubicBezTo>
                  <a:pt x="228" y="638"/>
                  <a:pt x="231" y="638"/>
                  <a:pt x="231" y="639"/>
                </a:cubicBezTo>
                <a:cubicBezTo>
                  <a:pt x="231" y="639"/>
                  <a:pt x="230" y="640"/>
                  <a:pt x="229" y="639"/>
                </a:cubicBezTo>
                <a:close/>
                <a:moveTo>
                  <a:pt x="215" y="675"/>
                </a:moveTo>
                <a:cubicBezTo>
                  <a:pt x="216" y="673"/>
                  <a:pt x="216" y="675"/>
                  <a:pt x="215" y="675"/>
                </a:cubicBezTo>
                <a:close/>
                <a:moveTo>
                  <a:pt x="219" y="676"/>
                </a:moveTo>
                <a:cubicBezTo>
                  <a:pt x="220" y="675"/>
                  <a:pt x="221" y="676"/>
                  <a:pt x="223" y="676"/>
                </a:cubicBezTo>
                <a:cubicBezTo>
                  <a:pt x="221" y="676"/>
                  <a:pt x="220" y="677"/>
                  <a:pt x="219" y="676"/>
                </a:cubicBezTo>
                <a:close/>
                <a:moveTo>
                  <a:pt x="226" y="676"/>
                </a:moveTo>
                <a:cubicBezTo>
                  <a:pt x="226" y="675"/>
                  <a:pt x="228" y="675"/>
                  <a:pt x="228" y="675"/>
                </a:cubicBezTo>
                <a:cubicBezTo>
                  <a:pt x="228" y="676"/>
                  <a:pt x="226" y="676"/>
                  <a:pt x="226" y="676"/>
                </a:cubicBezTo>
                <a:close/>
                <a:moveTo>
                  <a:pt x="229" y="676"/>
                </a:moveTo>
                <a:cubicBezTo>
                  <a:pt x="229" y="675"/>
                  <a:pt x="230" y="676"/>
                  <a:pt x="230" y="676"/>
                </a:cubicBezTo>
                <a:cubicBezTo>
                  <a:pt x="230" y="676"/>
                  <a:pt x="229" y="677"/>
                  <a:pt x="229" y="676"/>
                </a:cubicBezTo>
                <a:close/>
                <a:moveTo>
                  <a:pt x="234" y="679"/>
                </a:moveTo>
                <a:cubicBezTo>
                  <a:pt x="234" y="678"/>
                  <a:pt x="235" y="678"/>
                  <a:pt x="235" y="678"/>
                </a:cubicBezTo>
                <a:cubicBezTo>
                  <a:pt x="236" y="679"/>
                  <a:pt x="234" y="679"/>
                  <a:pt x="234" y="679"/>
                </a:cubicBezTo>
                <a:close/>
                <a:moveTo>
                  <a:pt x="248" y="692"/>
                </a:moveTo>
                <a:cubicBezTo>
                  <a:pt x="248" y="691"/>
                  <a:pt x="250" y="691"/>
                  <a:pt x="250" y="691"/>
                </a:cubicBezTo>
                <a:cubicBezTo>
                  <a:pt x="251" y="692"/>
                  <a:pt x="249" y="692"/>
                  <a:pt x="248" y="692"/>
                </a:cubicBezTo>
                <a:close/>
                <a:moveTo>
                  <a:pt x="349" y="41"/>
                </a:moveTo>
                <a:cubicBezTo>
                  <a:pt x="348" y="41"/>
                  <a:pt x="345" y="42"/>
                  <a:pt x="344" y="41"/>
                </a:cubicBezTo>
                <a:cubicBezTo>
                  <a:pt x="344" y="40"/>
                  <a:pt x="348" y="40"/>
                  <a:pt x="349" y="41"/>
                </a:cubicBezTo>
                <a:close/>
                <a:moveTo>
                  <a:pt x="343" y="7"/>
                </a:moveTo>
                <a:cubicBezTo>
                  <a:pt x="344" y="6"/>
                  <a:pt x="345" y="8"/>
                  <a:pt x="343" y="7"/>
                </a:cubicBezTo>
                <a:close/>
                <a:moveTo>
                  <a:pt x="342" y="38"/>
                </a:moveTo>
                <a:cubicBezTo>
                  <a:pt x="341" y="38"/>
                  <a:pt x="340" y="37"/>
                  <a:pt x="339" y="38"/>
                </a:cubicBezTo>
                <a:cubicBezTo>
                  <a:pt x="339" y="37"/>
                  <a:pt x="341" y="37"/>
                  <a:pt x="342" y="38"/>
                </a:cubicBezTo>
                <a:close/>
                <a:moveTo>
                  <a:pt x="335" y="37"/>
                </a:moveTo>
                <a:cubicBezTo>
                  <a:pt x="336" y="36"/>
                  <a:pt x="337" y="39"/>
                  <a:pt x="335" y="37"/>
                </a:cubicBezTo>
                <a:close/>
                <a:moveTo>
                  <a:pt x="336" y="97"/>
                </a:move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5" y="96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lose/>
                <a:moveTo>
                  <a:pt x="316" y="49"/>
                </a:moveTo>
                <a:cubicBezTo>
                  <a:pt x="316" y="49"/>
                  <a:pt x="313" y="50"/>
                  <a:pt x="313" y="49"/>
                </a:cubicBezTo>
                <a:cubicBezTo>
                  <a:pt x="312" y="49"/>
                  <a:pt x="315" y="48"/>
                  <a:pt x="316" y="49"/>
                </a:cubicBezTo>
                <a:close/>
                <a:moveTo>
                  <a:pt x="321" y="108"/>
                </a:moveTo>
                <a:cubicBezTo>
                  <a:pt x="319" y="109"/>
                  <a:pt x="315" y="112"/>
                  <a:pt x="311" y="111"/>
                </a:cubicBezTo>
                <a:cubicBezTo>
                  <a:pt x="314" y="109"/>
                  <a:pt x="317" y="109"/>
                  <a:pt x="321" y="108"/>
                </a:cubicBezTo>
                <a:close/>
                <a:moveTo>
                  <a:pt x="320" y="636"/>
                </a:moveTo>
                <a:cubicBezTo>
                  <a:pt x="319" y="636"/>
                  <a:pt x="320" y="635"/>
                  <a:pt x="320" y="635"/>
                </a:cubicBezTo>
                <a:cubicBezTo>
                  <a:pt x="321" y="635"/>
                  <a:pt x="320" y="636"/>
                  <a:pt x="320" y="636"/>
                </a:cubicBezTo>
                <a:close/>
                <a:moveTo>
                  <a:pt x="319" y="620"/>
                </a:moveTo>
                <a:cubicBezTo>
                  <a:pt x="319" y="620"/>
                  <a:pt x="318" y="620"/>
                  <a:pt x="317" y="620"/>
                </a:cubicBezTo>
                <a:cubicBezTo>
                  <a:pt x="318" y="620"/>
                  <a:pt x="319" y="619"/>
                  <a:pt x="319" y="620"/>
                </a:cubicBezTo>
                <a:close/>
                <a:moveTo>
                  <a:pt x="318" y="614"/>
                </a:moveTo>
                <a:cubicBezTo>
                  <a:pt x="317" y="613"/>
                  <a:pt x="319" y="615"/>
                  <a:pt x="318" y="614"/>
                </a:cubicBezTo>
                <a:close/>
                <a:moveTo>
                  <a:pt x="313" y="137"/>
                </a:moveTo>
                <a:cubicBezTo>
                  <a:pt x="312" y="140"/>
                  <a:pt x="312" y="135"/>
                  <a:pt x="312" y="137"/>
                </a:cubicBezTo>
                <a:cubicBezTo>
                  <a:pt x="312" y="137"/>
                  <a:pt x="313" y="137"/>
                  <a:pt x="313" y="137"/>
                </a:cubicBezTo>
                <a:close/>
                <a:moveTo>
                  <a:pt x="311" y="41"/>
                </a:moveTo>
                <a:cubicBezTo>
                  <a:pt x="310" y="42"/>
                  <a:pt x="309" y="40"/>
                  <a:pt x="311" y="41"/>
                </a:cubicBezTo>
                <a:close/>
                <a:moveTo>
                  <a:pt x="309" y="527"/>
                </a:moveTo>
                <a:cubicBezTo>
                  <a:pt x="309" y="528"/>
                  <a:pt x="306" y="529"/>
                  <a:pt x="306" y="527"/>
                </a:cubicBezTo>
                <a:cubicBezTo>
                  <a:pt x="306" y="525"/>
                  <a:pt x="309" y="526"/>
                  <a:pt x="309" y="527"/>
                </a:cubicBezTo>
                <a:close/>
                <a:moveTo>
                  <a:pt x="307" y="61"/>
                </a:moveTo>
                <a:cubicBezTo>
                  <a:pt x="306" y="60"/>
                  <a:pt x="308" y="61"/>
                  <a:pt x="307" y="61"/>
                </a:cubicBezTo>
                <a:close/>
                <a:moveTo>
                  <a:pt x="293" y="53"/>
                </a:moveTo>
                <a:cubicBezTo>
                  <a:pt x="298" y="52"/>
                  <a:pt x="304" y="52"/>
                  <a:pt x="309" y="51"/>
                </a:cubicBezTo>
                <a:cubicBezTo>
                  <a:pt x="304" y="53"/>
                  <a:pt x="299" y="53"/>
                  <a:pt x="293" y="53"/>
                </a:cubicBezTo>
                <a:close/>
                <a:moveTo>
                  <a:pt x="282" y="662"/>
                </a:moveTo>
                <a:cubicBezTo>
                  <a:pt x="281" y="662"/>
                  <a:pt x="279" y="663"/>
                  <a:pt x="277" y="663"/>
                </a:cubicBezTo>
                <a:cubicBezTo>
                  <a:pt x="279" y="662"/>
                  <a:pt x="281" y="661"/>
                  <a:pt x="282" y="662"/>
                </a:cubicBezTo>
                <a:close/>
                <a:moveTo>
                  <a:pt x="278" y="582"/>
                </a:moveTo>
                <a:cubicBezTo>
                  <a:pt x="278" y="581"/>
                  <a:pt x="280" y="581"/>
                  <a:pt x="279" y="582"/>
                </a:cubicBezTo>
                <a:cubicBezTo>
                  <a:pt x="279" y="582"/>
                  <a:pt x="279" y="582"/>
                  <a:pt x="278" y="582"/>
                </a:cubicBezTo>
                <a:close/>
                <a:moveTo>
                  <a:pt x="282" y="582"/>
                </a:moveTo>
                <a:cubicBezTo>
                  <a:pt x="282" y="582"/>
                  <a:pt x="280" y="583"/>
                  <a:pt x="280" y="581"/>
                </a:cubicBezTo>
                <a:cubicBezTo>
                  <a:pt x="280" y="580"/>
                  <a:pt x="282" y="581"/>
                  <a:pt x="282" y="582"/>
                </a:cubicBezTo>
                <a:close/>
                <a:moveTo>
                  <a:pt x="281" y="574"/>
                </a:moveTo>
                <a:cubicBezTo>
                  <a:pt x="281" y="575"/>
                  <a:pt x="280" y="575"/>
                  <a:pt x="280" y="574"/>
                </a:cubicBezTo>
                <a:cubicBezTo>
                  <a:pt x="279" y="574"/>
                  <a:pt x="281" y="573"/>
                  <a:pt x="281" y="574"/>
                </a:cubicBezTo>
                <a:close/>
                <a:moveTo>
                  <a:pt x="294" y="551"/>
                </a:moveTo>
                <a:cubicBezTo>
                  <a:pt x="291" y="553"/>
                  <a:pt x="287" y="555"/>
                  <a:pt x="285" y="556"/>
                </a:cubicBezTo>
                <a:cubicBezTo>
                  <a:pt x="285" y="556"/>
                  <a:pt x="283" y="557"/>
                  <a:pt x="284" y="556"/>
                </a:cubicBezTo>
                <a:cubicBezTo>
                  <a:pt x="286" y="553"/>
                  <a:pt x="291" y="553"/>
                  <a:pt x="294" y="551"/>
                </a:cubicBezTo>
                <a:close/>
                <a:moveTo>
                  <a:pt x="286" y="536"/>
                </a:moveTo>
                <a:cubicBezTo>
                  <a:pt x="286" y="535"/>
                  <a:pt x="286" y="536"/>
                  <a:pt x="286" y="536"/>
                </a:cubicBezTo>
                <a:cubicBezTo>
                  <a:pt x="285" y="536"/>
                  <a:pt x="286" y="535"/>
                  <a:pt x="286" y="536"/>
                </a:cubicBezTo>
                <a:close/>
                <a:moveTo>
                  <a:pt x="287" y="536"/>
                </a:moveTo>
                <a:cubicBezTo>
                  <a:pt x="287" y="534"/>
                  <a:pt x="289" y="534"/>
                  <a:pt x="289" y="536"/>
                </a:cubicBezTo>
                <a:cubicBezTo>
                  <a:pt x="289" y="537"/>
                  <a:pt x="287" y="536"/>
                  <a:pt x="287" y="536"/>
                </a:cubicBezTo>
                <a:close/>
                <a:moveTo>
                  <a:pt x="290" y="512"/>
                </a:moveTo>
                <a:cubicBezTo>
                  <a:pt x="291" y="510"/>
                  <a:pt x="293" y="509"/>
                  <a:pt x="294" y="508"/>
                </a:cubicBezTo>
                <a:cubicBezTo>
                  <a:pt x="294" y="509"/>
                  <a:pt x="292" y="510"/>
                  <a:pt x="290" y="512"/>
                </a:cubicBezTo>
                <a:close/>
                <a:moveTo>
                  <a:pt x="290" y="550"/>
                </a:moveTo>
                <a:cubicBezTo>
                  <a:pt x="290" y="549"/>
                  <a:pt x="291" y="548"/>
                  <a:pt x="292" y="549"/>
                </a:cubicBezTo>
                <a:cubicBezTo>
                  <a:pt x="292" y="550"/>
                  <a:pt x="290" y="551"/>
                  <a:pt x="290" y="550"/>
                </a:cubicBezTo>
                <a:close/>
                <a:moveTo>
                  <a:pt x="287" y="638"/>
                </a:moveTo>
                <a:cubicBezTo>
                  <a:pt x="288" y="637"/>
                  <a:pt x="289" y="637"/>
                  <a:pt x="290" y="637"/>
                </a:cubicBezTo>
                <a:cubicBezTo>
                  <a:pt x="289" y="637"/>
                  <a:pt x="288" y="638"/>
                  <a:pt x="287" y="638"/>
                </a:cubicBezTo>
                <a:close/>
                <a:moveTo>
                  <a:pt x="290" y="640"/>
                </a:moveTo>
                <a:cubicBezTo>
                  <a:pt x="289" y="641"/>
                  <a:pt x="288" y="640"/>
                  <a:pt x="287" y="641"/>
                </a:cubicBezTo>
                <a:cubicBezTo>
                  <a:pt x="287" y="640"/>
                  <a:pt x="289" y="639"/>
                  <a:pt x="290" y="640"/>
                </a:cubicBezTo>
                <a:close/>
                <a:moveTo>
                  <a:pt x="292" y="594"/>
                </a:moveTo>
                <a:cubicBezTo>
                  <a:pt x="292" y="595"/>
                  <a:pt x="288" y="596"/>
                  <a:pt x="288" y="593"/>
                </a:cubicBezTo>
                <a:cubicBezTo>
                  <a:pt x="288" y="591"/>
                  <a:pt x="292" y="592"/>
                  <a:pt x="292" y="594"/>
                </a:cubicBezTo>
                <a:close/>
                <a:moveTo>
                  <a:pt x="288" y="573"/>
                </a:moveTo>
                <a:cubicBezTo>
                  <a:pt x="288" y="572"/>
                  <a:pt x="290" y="571"/>
                  <a:pt x="291" y="571"/>
                </a:cubicBezTo>
                <a:cubicBezTo>
                  <a:pt x="290" y="572"/>
                  <a:pt x="289" y="572"/>
                  <a:pt x="288" y="573"/>
                </a:cubicBezTo>
                <a:close/>
                <a:moveTo>
                  <a:pt x="292" y="571"/>
                </a:moveTo>
                <a:cubicBezTo>
                  <a:pt x="292" y="570"/>
                  <a:pt x="293" y="569"/>
                  <a:pt x="294" y="570"/>
                </a:cubicBezTo>
                <a:cubicBezTo>
                  <a:pt x="294" y="571"/>
                  <a:pt x="292" y="571"/>
                  <a:pt x="292" y="571"/>
                </a:cubicBezTo>
                <a:close/>
                <a:moveTo>
                  <a:pt x="293" y="594"/>
                </a:moveTo>
                <a:cubicBezTo>
                  <a:pt x="293" y="596"/>
                  <a:pt x="291" y="595"/>
                  <a:pt x="293" y="594"/>
                </a:cubicBezTo>
                <a:close/>
                <a:moveTo>
                  <a:pt x="291" y="595"/>
                </a:moveTo>
                <a:cubicBezTo>
                  <a:pt x="290" y="597"/>
                  <a:pt x="288" y="596"/>
                  <a:pt x="291" y="595"/>
                </a:cubicBezTo>
                <a:close/>
                <a:moveTo>
                  <a:pt x="290" y="625"/>
                </a:moveTo>
                <a:cubicBezTo>
                  <a:pt x="291" y="626"/>
                  <a:pt x="290" y="625"/>
                  <a:pt x="290" y="625"/>
                </a:cubicBezTo>
                <a:cubicBezTo>
                  <a:pt x="290" y="625"/>
                  <a:pt x="290" y="625"/>
                  <a:pt x="290" y="625"/>
                </a:cubicBezTo>
                <a:close/>
                <a:moveTo>
                  <a:pt x="289" y="602"/>
                </a:moveTo>
                <a:cubicBezTo>
                  <a:pt x="289" y="601"/>
                  <a:pt x="292" y="601"/>
                  <a:pt x="293" y="601"/>
                </a:cubicBezTo>
                <a:cubicBezTo>
                  <a:pt x="292" y="602"/>
                  <a:pt x="290" y="602"/>
                  <a:pt x="289" y="602"/>
                </a:cubicBezTo>
                <a:close/>
                <a:moveTo>
                  <a:pt x="291" y="634"/>
                </a:moveTo>
                <a:cubicBezTo>
                  <a:pt x="292" y="634"/>
                  <a:pt x="293" y="634"/>
                  <a:pt x="292" y="635"/>
                </a:cubicBezTo>
                <a:cubicBezTo>
                  <a:pt x="292" y="636"/>
                  <a:pt x="291" y="635"/>
                  <a:pt x="291" y="634"/>
                </a:cubicBezTo>
                <a:close/>
                <a:moveTo>
                  <a:pt x="295" y="635"/>
                </a:moveTo>
                <a:cubicBezTo>
                  <a:pt x="294" y="636"/>
                  <a:pt x="293" y="637"/>
                  <a:pt x="291" y="636"/>
                </a:cubicBezTo>
                <a:cubicBezTo>
                  <a:pt x="292" y="636"/>
                  <a:pt x="294" y="636"/>
                  <a:pt x="295" y="635"/>
                </a:cubicBezTo>
                <a:close/>
                <a:moveTo>
                  <a:pt x="293" y="583"/>
                </a:moveTo>
                <a:cubicBezTo>
                  <a:pt x="293" y="583"/>
                  <a:pt x="294" y="583"/>
                  <a:pt x="294" y="583"/>
                </a:cubicBezTo>
                <a:cubicBezTo>
                  <a:pt x="295" y="584"/>
                  <a:pt x="293" y="585"/>
                  <a:pt x="293" y="583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538"/>
                </a:moveTo>
                <a:cubicBezTo>
                  <a:pt x="283" y="538"/>
                  <a:pt x="284" y="537"/>
                  <a:pt x="284" y="537"/>
                </a:cubicBezTo>
                <a:cubicBezTo>
                  <a:pt x="285" y="537"/>
                  <a:pt x="284" y="538"/>
                  <a:pt x="284" y="538"/>
                </a:cubicBezTo>
                <a:close/>
                <a:moveTo>
                  <a:pt x="285" y="588"/>
                </a:moveTo>
                <a:cubicBezTo>
                  <a:pt x="284" y="589"/>
                  <a:pt x="283" y="589"/>
                  <a:pt x="282" y="590"/>
                </a:cubicBezTo>
                <a:cubicBezTo>
                  <a:pt x="282" y="590"/>
                  <a:pt x="284" y="588"/>
                  <a:pt x="285" y="588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612"/>
                </a:moveTo>
                <a:cubicBezTo>
                  <a:pt x="281" y="614"/>
                  <a:pt x="281" y="612"/>
                  <a:pt x="284" y="612"/>
                </a:cubicBezTo>
                <a:close/>
                <a:moveTo>
                  <a:pt x="283" y="648"/>
                </a:moveTo>
                <a:cubicBezTo>
                  <a:pt x="284" y="645"/>
                  <a:pt x="286" y="647"/>
                  <a:pt x="283" y="648"/>
                </a:cubicBezTo>
                <a:close/>
                <a:moveTo>
                  <a:pt x="287" y="661"/>
                </a:moveTo>
                <a:cubicBezTo>
                  <a:pt x="287" y="661"/>
                  <a:pt x="285" y="662"/>
                  <a:pt x="284" y="662"/>
                </a:cubicBezTo>
                <a:cubicBezTo>
                  <a:pt x="284" y="661"/>
                  <a:pt x="287" y="660"/>
                  <a:pt x="287" y="661"/>
                </a:cubicBezTo>
                <a:close/>
                <a:moveTo>
                  <a:pt x="288" y="667"/>
                </a:moveTo>
                <a:cubicBezTo>
                  <a:pt x="288" y="668"/>
                  <a:pt x="286" y="668"/>
                  <a:pt x="286" y="667"/>
                </a:cubicBezTo>
                <a:cubicBezTo>
                  <a:pt x="285" y="666"/>
                  <a:pt x="288" y="666"/>
                  <a:pt x="288" y="667"/>
                </a:cubicBezTo>
                <a:close/>
                <a:moveTo>
                  <a:pt x="287" y="650"/>
                </a:moveTo>
                <a:cubicBezTo>
                  <a:pt x="287" y="648"/>
                  <a:pt x="290" y="647"/>
                  <a:pt x="291" y="649"/>
                </a:cubicBezTo>
                <a:cubicBezTo>
                  <a:pt x="295" y="653"/>
                  <a:pt x="286" y="654"/>
                  <a:pt x="287" y="650"/>
                </a:cubicBezTo>
                <a:close/>
                <a:moveTo>
                  <a:pt x="292" y="691"/>
                </a:moveTo>
                <a:cubicBezTo>
                  <a:pt x="292" y="691"/>
                  <a:pt x="292" y="691"/>
                  <a:pt x="292" y="691"/>
                </a:cubicBezTo>
                <a:cubicBezTo>
                  <a:pt x="292" y="689"/>
                  <a:pt x="294" y="692"/>
                  <a:pt x="292" y="691"/>
                </a:cubicBezTo>
                <a:close/>
                <a:moveTo>
                  <a:pt x="292" y="646"/>
                </a:moveTo>
                <a:cubicBezTo>
                  <a:pt x="290" y="644"/>
                  <a:pt x="297" y="643"/>
                  <a:pt x="294" y="646"/>
                </a:cubicBezTo>
                <a:cubicBezTo>
                  <a:pt x="294" y="646"/>
                  <a:pt x="293" y="646"/>
                  <a:pt x="292" y="646"/>
                </a:cubicBezTo>
                <a:close/>
                <a:moveTo>
                  <a:pt x="294" y="600"/>
                </a:moveTo>
                <a:cubicBezTo>
                  <a:pt x="294" y="600"/>
                  <a:pt x="296" y="599"/>
                  <a:pt x="297" y="599"/>
                </a:cubicBezTo>
                <a:cubicBezTo>
                  <a:pt x="296" y="600"/>
                  <a:pt x="295" y="600"/>
                  <a:pt x="294" y="600"/>
                </a:cubicBezTo>
                <a:close/>
                <a:moveTo>
                  <a:pt x="293" y="530"/>
                </a:moveTo>
                <a:cubicBezTo>
                  <a:pt x="294" y="529"/>
                  <a:pt x="296" y="528"/>
                  <a:pt x="297" y="530"/>
                </a:cubicBezTo>
                <a:cubicBezTo>
                  <a:pt x="298" y="532"/>
                  <a:pt x="293" y="534"/>
                  <a:pt x="293" y="530"/>
                </a:cubicBezTo>
                <a:close/>
                <a:moveTo>
                  <a:pt x="303" y="581"/>
                </a:moveTo>
                <a:cubicBezTo>
                  <a:pt x="303" y="584"/>
                  <a:pt x="298" y="584"/>
                  <a:pt x="297" y="581"/>
                </a:cubicBezTo>
                <a:cubicBezTo>
                  <a:pt x="297" y="578"/>
                  <a:pt x="303" y="579"/>
                  <a:pt x="303" y="581"/>
                </a:cubicBezTo>
                <a:close/>
                <a:moveTo>
                  <a:pt x="298" y="504"/>
                </a:moveTo>
                <a:cubicBezTo>
                  <a:pt x="298" y="503"/>
                  <a:pt x="300" y="504"/>
                  <a:pt x="298" y="504"/>
                </a:cubicBezTo>
                <a:close/>
                <a:moveTo>
                  <a:pt x="300" y="102"/>
                </a:moveTo>
                <a:cubicBezTo>
                  <a:pt x="298" y="103"/>
                  <a:pt x="297" y="101"/>
                  <a:pt x="300" y="102"/>
                </a:cubicBezTo>
                <a:close/>
                <a:moveTo>
                  <a:pt x="299" y="578"/>
                </a:moveTo>
                <a:cubicBezTo>
                  <a:pt x="299" y="578"/>
                  <a:pt x="298" y="579"/>
                  <a:pt x="298" y="578"/>
                </a:cubicBezTo>
                <a:cubicBezTo>
                  <a:pt x="297" y="577"/>
                  <a:pt x="300" y="577"/>
                  <a:pt x="299" y="578"/>
                </a:cubicBezTo>
                <a:close/>
                <a:moveTo>
                  <a:pt x="303" y="67"/>
                </a:moveTo>
                <a:cubicBezTo>
                  <a:pt x="302" y="69"/>
                  <a:pt x="302" y="67"/>
                  <a:pt x="303" y="67"/>
                </a:cubicBezTo>
                <a:close/>
                <a:moveTo>
                  <a:pt x="304" y="592"/>
                </a:moveTo>
                <a:cubicBezTo>
                  <a:pt x="304" y="593"/>
                  <a:pt x="301" y="593"/>
                  <a:pt x="300" y="594"/>
                </a:cubicBezTo>
                <a:cubicBezTo>
                  <a:pt x="301" y="593"/>
                  <a:pt x="303" y="592"/>
                  <a:pt x="304" y="592"/>
                </a:cubicBezTo>
                <a:close/>
                <a:moveTo>
                  <a:pt x="304" y="660"/>
                </a:moveTo>
                <a:cubicBezTo>
                  <a:pt x="304" y="661"/>
                  <a:pt x="304" y="662"/>
                  <a:pt x="304" y="662"/>
                </a:cubicBezTo>
                <a:cubicBezTo>
                  <a:pt x="302" y="664"/>
                  <a:pt x="301" y="659"/>
                  <a:pt x="304" y="660"/>
                </a:cubicBezTo>
                <a:close/>
                <a:moveTo>
                  <a:pt x="308" y="41"/>
                </a:moveTo>
                <a:cubicBezTo>
                  <a:pt x="308" y="41"/>
                  <a:pt x="307" y="42"/>
                  <a:pt x="307" y="42"/>
                </a:cubicBezTo>
                <a:cubicBezTo>
                  <a:pt x="306" y="42"/>
                  <a:pt x="307" y="41"/>
                  <a:pt x="308" y="41"/>
                </a:cubicBezTo>
                <a:close/>
                <a:moveTo>
                  <a:pt x="298" y="26"/>
                </a:moveTo>
                <a:cubicBezTo>
                  <a:pt x="300" y="25"/>
                  <a:pt x="300" y="27"/>
                  <a:pt x="298" y="26"/>
                </a:cubicBezTo>
                <a:close/>
                <a:moveTo>
                  <a:pt x="299" y="30"/>
                </a:moveTo>
                <a:cubicBezTo>
                  <a:pt x="297" y="31"/>
                  <a:pt x="295" y="30"/>
                  <a:pt x="293" y="30"/>
                </a:cubicBezTo>
                <a:cubicBezTo>
                  <a:pt x="295" y="29"/>
                  <a:pt x="297" y="29"/>
                  <a:pt x="299" y="30"/>
                </a:cubicBezTo>
                <a:close/>
                <a:moveTo>
                  <a:pt x="291" y="53"/>
                </a:moveTo>
                <a:cubicBezTo>
                  <a:pt x="287" y="54"/>
                  <a:pt x="283" y="55"/>
                  <a:pt x="279" y="55"/>
                </a:cubicBezTo>
                <a:cubicBezTo>
                  <a:pt x="283" y="54"/>
                  <a:pt x="287" y="53"/>
                  <a:pt x="291" y="53"/>
                </a:cubicBezTo>
                <a:close/>
                <a:moveTo>
                  <a:pt x="288" y="513"/>
                </a:moveTo>
                <a:cubicBezTo>
                  <a:pt x="287" y="513"/>
                  <a:pt x="290" y="512"/>
                  <a:pt x="289" y="512"/>
                </a:cubicBezTo>
                <a:cubicBezTo>
                  <a:pt x="290" y="512"/>
                  <a:pt x="289" y="514"/>
                  <a:pt x="288" y="513"/>
                </a:cubicBezTo>
                <a:close/>
                <a:moveTo>
                  <a:pt x="282" y="526"/>
                </a:moveTo>
                <a:cubicBezTo>
                  <a:pt x="282" y="526"/>
                  <a:pt x="281" y="527"/>
                  <a:pt x="280" y="526"/>
                </a:cubicBezTo>
                <a:cubicBezTo>
                  <a:pt x="280" y="526"/>
                  <a:pt x="282" y="525"/>
                  <a:pt x="282" y="526"/>
                </a:cubicBezTo>
                <a:close/>
                <a:moveTo>
                  <a:pt x="286" y="526"/>
                </a:moveTo>
                <a:cubicBezTo>
                  <a:pt x="286" y="526"/>
                  <a:pt x="291" y="524"/>
                  <a:pt x="290" y="526"/>
                </a:cubicBezTo>
                <a:cubicBezTo>
                  <a:pt x="290" y="527"/>
                  <a:pt x="285" y="527"/>
                  <a:pt x="284" y="527"/>
                </a:cubicBezTo>
                <a:cubicBezTo>
                  <a:pt x="281" y="527"/>
                  <a:pt x="278" y="530"/>
                  <a:pt x="275" y="529"/>
                </a:cubicBezTo>
                <a:cubicBezTo>
                  <a:pt x="276" y="527"/>
                  <a:pt x="284" y="527"/>
                  <a:pt x="286" y="526"/>
                </a:cubicBezTo>
                <a:close/>
                <a:moveTo>
                  <a:pt x="277" y="694"/>
                </a:moveTo>
                <a:cubicBezTo>
                  <a:pt x="277" y="695"/>
                  <a:pt x="275" y="695"/>
                  <a:pt x="275" y="694"/>
                </a:cubicBezTo>
                <a:cubicBezTo>
                  <a:pt x="275" y="693"/>
                  <a:pt x="277" y="694"/>
                  <a:pt x="277" y="694"/>
                </a:cubicBezTo>
                <a:close/>
                <a:moveTo>
                  <a:pt x="266" y="653"/>
                </a:moveTo>
                <a:cubicBezTo>
                  <a:pt x="266" y="653"/>
                  <a:pt x="266" y="652"/>
                  <a:pt x="266" y="651"/>
                </a:cubicBezTo>
                <a:cubicBezTo>
                  <a:pt x="267" y="648"/>
                  <a:pt x="270" y="649"/>
                  <a:pt x="271" y="650"/>
                </a:cubicBezTo>
                <a:cubicBezTo>
                  <a:pt x="271" y="650"/>
                  <a:pt x="271" y="650"/>
                  <a:pt x="271" y="650"/>
                </a:cubicBezTo>
                <a:cubicBezTo>
                  <a:pt x="271" y="650"/>
                  <a:pt x="271" y="650"/>
                  <a:pt x="272" y="650"/>
                </a:cubicBezTo>
                <a:cubicBezTo>
                  <a:pt x="275" y="651"/>
                  <a:pt x="270" y="659"/>
                  <a:pt x="266" y="653"/>
                </a:cubicBezTo>
                <a:close/>
                <a:moveTo>
                  <a:pt x="268" y="657"/>
                </a:moveTo>
                <a:cubicBezTo>
                  <a:pt x="267" y="656"/>
                  <a:pt x="269" y="657"/>
                  <a:pt x="268" y="657"/>
                </a:cubicBezTo>
                <a:close/>
                <a:moveTo>
                  <a:pt x="264" y="633"/>
                </a:moveTo>
                <a:cubicBezTo>
                  <a:pt x="263" y="633"/>
                  <a:pt x="264" y="632"/>
                  <a:pt x="265" y="632"/>
                </a:cubicBezTo>
                <a:cubicBezTo>
                  <a:pt x="265" y="633"/>
                  <a:pt x="264" y="632"/>
                  <a:pt x="264" y="633"/>
                </a:cubicBezTo>
                <a:close/>
                <a:moveTo>
                  <a:pt x="263" y="663"/>
                </a:moveTo>
                <a:cubicBezTo>
                  <a:pt x="265" y="662"/>
                  <a:pt x="265" y="664"/>
                  <a:pt x="263" y="663"/>
                </a:cubicBezTo>
                <a:close/>
                <a:moveTo>
                  <a:pt x="265" y="623"/>
                </a:moveTo>
                <a:cubicBezTo>
                  <a:pt x="267" y="623"/>
                  <a:pt x="269" y="624"/>
                  <a:pt x="269" y="627"/>
                </a:cubicBezTo>
                <a:cubicBezTo>
                  <a:pt x="268" y="625"/>
                  <a:pt x="267" y="628"/>
                  <a:pt x="265" y="629"/>
                </a:cubicBezTo>
                <a:cubicBezTo>
                  <a:pt x="258" y="631"/>
                  <a:pt x="258" y="621"/>
                  <a:pt x="265" y="623"/>
                </a:cubicBezTo>
                <a:close/>
                <a:moveTo>
                  <a:pt x="271" y="560"/>
                </a:moveTo>
                <a:cubicBezTo>
                  <a:pt x="272" y="561"/>
                  <a:pt x="269" y="562"/>
                  <a:pt x="269" y="561"/>
                </a:cubicBezTo>
                <a:cubicBezTo>
                  <a:pt x="269" y="560"/>
                  <a:pt x="271" y="559"/>
                  <a:pt x="271" y="560"/>
                </a:cubicBezTo>
                <a:close/>
                <a:moveTo>
                  <a:pt x="271" y="507"/>
                </a:moveTo>
                <a:cubicBezTo>
                  <a:pt x="271" y="505"/>
                  <a:pt x="271" y="509"/>
                  <a:pt x="271" y="507"/>
                </a:cubicBezTo>
                <a:close/>
                <a:moveTo>
                  <a:pt x="273" y="532"/>
                </a:moveTo>
                <a:cubicBezTo>
                  <a:pt x="273" y="532"/>
                  <a:pt x="273" y="533"/>
                  <a:pt x="273" y="533"/>
                </a:cubicBezTo>
                <a:cubicBezTo>
                  <a:pt x="270" y="531"/>
                  <a:pt x="277" y="530"/>
                  <a:pt x="273" y="532"/>
                </a:cubicBezTo>
                <a:close/>
                <a:moveTo>
                  <a:pt x="273" y="556"/>
                </a:moveTo>
                <a:cubicBezTo>
                  <a:pt x="273" y="555"/>
                  <a:pt x="274" y="555"/>
                  <a:pt x="274" y="555"/>
                </a:cubicBezTo>
                <a:cubicBezTo>
                  <a:pt x="277" y="555"/>
                  <a:pt x="274" y="558"/>
                  <a:pt x="273" y="556"/>
                </a:cubicBezTo>
                <a:close/>
                <a:moveTo>
                  <a:pt x="270" y="624"/>
                </a:moveTo>
                <a:cubicBezTo>
                  <a:pt x="270" y="624"/>
                  <a:pt x="269" y="624"/>
                  <a:pt x="269" y="624"/>
                </a:cubicBezTo>
                <a:cubicBezTo>
                  <a:pt x="269" y="623"/>
                  <a:pt x="271" y="623"/>
                  <a:pt x="270" y="624"/>
                </a:cubicBezTo>
                <a:close/>
                <a:moveTo>
                  <a:pt x="266" y="617"/>
                </a:moveTo>
                <a:cubicBezTo>
                  <a:pt x="266" y="615"/>
                  <a:pt x="269" y="616"/>
                  <a:pt x="269" y="617"/>
                </a:cubicBezTo>
                <a:cubicBezTo>
                  <a:pt x="269" y="618"/>
                  <a:pt x="267" y="618"/>
                  <a:pt x="266" y="617"/>
                </a:cubicBezTo>
                <a:close/>
                <a:moveTo>
                  <a:pt x="271" y="647"/>
                </a:moveTo>
                <a:cubicBezTo>
                  <a:pt x="271" y="648"/>
                  <a:pt x="269" y="648"/>
                  <a:pt x="269" y="647"/>
                </a:cubicBezTo>
                <a:cubicBezTo>
                  <a:pt x="269" y="647"/>
                  <a:pt x="270" y="646"/>
                  <a:pt x="271" y="647"/>
                </a:cubicBezTo>
                <a:close/>
                <a:moveTo>
                  <a:pt x="270" y="628"/>
                </a:moveTo>
                <a:cubicBezTo>
                  <a:pt x="270" y="627"/>
                  <a:pt x="273" y="626"/>
                  <a:pt x="273" y="628"/>
                </a:cubicBezTo>
                <a:cubicBezTo>
                  <a:pt x="273" y="628"/>
                  <a:pt x="270" y="630"/>
                  <a:pt x="270" y="628"/>
                </a:cubicBezTo>
                <a:close/>
                <a:moveTo>
                  <a:pt x="273" y="613"/>
                </a:moveTo>
                <a:cubicBezTo>
                  <a:pt x="273" y="614"/>
                  <a:pt x="271" y="614"/>
                  <a:pt x="271" y="614"/>
                </a:cubicBezTo>
                <a:cubicBezTo>
                  <a:pt x="270" y="613"/>
                  <a:pt x="272" y="613"/>
                  <a:pt x="273" y="613"/>
                </a:cubicBezTo>
                <a:close/>
                <a:moveTo>
                  <a:pt x="270" y="571"/>
                </a:moveTo>
                <a:cubicBezTo>
                  <a:pt x="270" y="571"/>
                  <a:pt x="270" y="571"/>
                  <a:pt x="270" y="571"/>
                </a:cubicBezTo>
                <a:cubicBezTo>
                  <a:pt x="270" y="569"/>
                  <a:pt x="272" y="572"/>
                  <a:pt x="270" y="571"/>
                </a:cubicBezTo>
                <a:close/>
                <a:moveTo>
                  <a:pt x="271" y="564"/>
                </a:moveTo>
                <a:cubicBezTo>
                  <a:pt x="269" y="565"/>
                  <a:pt x="268" y="566"/>
                  <a:pt x="267" y="566"/>
                </a:cubicBezTo>
                <a:cubicBezTo>
                  <a:pt x="268" y="565"/>
                  <a:pt x="269" y="564"/>
                  <a:pt x="271" y="564"/>
                </a:cubicBezTo>
                <a:close/>
                <a:moveTo>
                  <a:pt x="271" y="572"/>
                </a:moveTo>
                <a:cubicBezTo>
                  <a:pt x="269" y="573"/>
                  <a:pt x="269" y="574"/>
                  <a:pt x="271" y="574"/>
                </a:cubicBezTo>
                <a:cubicBezTo>
                  <a:pt x="270" y="576"/>
                  <a:pt x="266" y="579"/>
                  <a:pt x="263" y="577"/>
                </a:cubicBezTo>
                <a:cubicBezTo>
                  <a:pt x="258" y="573"/>
                  <a:pt x="266" y="568"/>
                  <a:pt x="271" y="572"/>
                </a:cubicBezTo>
                <a:close/>
                <a:moveTo>
                  <a:pt x="264" y="612"/>
                </a:moveTo>
                <a:cubicBezTo>
                  <a:pt x="265" y="612"/>
                  <a:pt x="263" y="612"/>
                  <a:pt x="263" y="612"/>
                </a:cubicBezTo>
                <a:cubicBezTo>
                  <a:pt x="263" y="611"/>
                  <a:pt x="264" y="611"/>
                  <a:pt x="264" y="612"/>
                </a:cubicBezTo>
                <a:close/>
                <a:moveTo>
                  <a:pt x="266" y="632"/>
                </a:moveTo>
                <a:cubicBezTo>
                  <a:pt x="266" y="632"/>
                  <a:pt x="266" y="632"/>
                  <a:pt x="266" y="632"/>
                </a:cubicBezTo>
                <a:cubicBezTo>
                  <a:pt x="265" y="630"/>
                  <a:pt x="268" y="633"/>
                  <a:pt x="266" y="632"/>
                </a:cubicBezTo>
                <a:close/>
                <a:moveTo>
                  <a:pt x="276" y="663"/>
                </a:moveTo>
                <a:cubicBezTo>
                  <a:pt x="274" y="664"/>
                  <a:pt x="273" y="665"/>
                  <a:pt x="271" y="665"/>
                </a:cubicBezTo>
                <a:cubicBezTo>
                  <a:pt x="272" y="663"/>
                  <a:pt x="274" y="663"/>
                  <a:pt x="276" y="663"/>
                </a:cubicBezTo>
                <a:close/>
                <a:moveTo>
                  <a:pt x="270" y="486"/>
                </a:moveTo>
                <a:cubicBezTo>
                  <a:pt x="270" y="486"/>
                  <a:pt x="270" y="486"/>
                  <a:pt x="270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0" y="485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lose/>
                <a:moveTo>
                  <a:pt x="274" y="496"/>
                </a:moveTo>
                <a:cubicBezTo>
                  <a:pt x="274" y="499"/>
                  <a:pt x="269" y="498"/>
                  <a:pt x="269" y="496"/>
                </a:cubicBezTo>
                <a:cubicBezTo>
                  <a:pt x="269" y="496"/>
                  <a:pt x="274" y="494"/>
                  <a:pt x="274" y="496"/>
                </a:cubicBezTo>
                <a:close/>
                <a:moveTo>
                  <a:pt x="276" y="504"/>
                </a:moveTo>
                <a:cubicBezTo>
                  <a:pt x="274" y="506"/>
                  <a:pt x="271" y="506"/>
                  <a:pt x="269" y="507"/>
                </a:cubicBezTo>
                <a:cubicBezTo>
                  <a:pt x="270" y="506"/>
                  <a:pt x="274" y="504"/>
                  <a:pt x="276" y="504"/>
                </a:cubicBezTo>
                <a:close/>
                <a:moveTo>
                  <a:pt x="268" y="467"/>
                </a:moveTo>
                <a:cubicBezTo>
                  <a:pt x="268" y="468"/>
                  <a:pt x="268" y="468"/>
                  <a:pt x="267" y="468"/>
                </a:cubicBezTo>
                <a:cubicBezTo>
                  <a:pt x="267" y="468"/>
                  <a:pt x="268" y="467"/>
                  <a:pt x="268" y="467"/>
                </a:cubicBezTo>
                <a:close/>
                <a:moveTo>
                  <a:pt x="267" y="506"/>
                </a:moveTo>
                <a:cubicBezTo>
                  <a:pt x="268" y="506"/>
                  <a:pt x="267" y="507"/>
                  <a:pt x="267" y="507"/>
                </a:cubicBezTo>
                <a:cubicBezTo>
                  <a:pt x="266" y="506"/>
                  <a:pt x="267" y="506"/>
                  <a:pt x="267" y="506"/>
                </a:cubicBezTo>
                <a:close/>
                <a:moveTo>
                  <a:pt x="264" y="562"/>
                </a:moveTo>
                <a:cubicBezTo>
                  <a:pt x="265" y="562"/>
                  <a:pt x="262" y="562"/>
                  <a:pt x="262" y="562"/>
                </a:cubicBezTo>
                <a:cubicBezTo>
                  <a:pt x="262" y="562"/>
                  <a:pt x="264" y="561"/>
                  <a:pt x="264" y="562"/>
                </a:cubicBezTo>
                <a:close/>
                <a:moveTo>
                  <a:pt x="262" y="562"/>
                </a:moveTo>
                <a:cubicBezTo>
                  <a:pt x="261" y="563"/>
                  <a:pt x="260" y="561"/>
                  <a:pt x="262" y="562"/>
                </a:cubicBezTo>
                <a:close/>
                <a:moveTo>
                  <a:pt x="260" y="440"/>
                </a:moveTo>
                <a:cubicBezTo>
                  <a:pt x="261" y="440"/>
                  <a:pt x="260" y="441"/>
                  <a:pt x="260" y="441"/>
                </a:cubicBezTo>
                <a:cubicBezTo>
                  <a:pt x="257" y="443"/>
                  <a:pt x="259" y="439"/>
                  <a:pt x="260" y="440"/>
                </a:cubicBezTo>
                <a:close/>
                <a:moveTo>
                  <a:pt x="257" y="484"/>
                </a:moveTo>
                <a:cubicBezTo>
                  <a:pt x="257" y="484"/>
                  <a:pt x="257" y="483"/>
                  <a:pt x="257" y="483"/>
                </a:cubicBezTo>
                <a:cubicBezTo>
                  <a:pt x="257" y="484"/>
                  <a:pt x="257" y="484"/>
                  <a:pt x="257" y="484"/>
                </a:cubicBezTo>
                <a:cubicBezTo>
                  <a:pt x="257" y="484"/>
                  <a:pt x="257" y="484"/>
                  <a:pt x="257" y="484"/>
                </a:cubicBezTo>
                <a:close/>
                <a:moveTo>
                  <a:pt x="256" y="495"/>
                </a:moveTo>
                <a:cubicBezTo>
                  <a:pt x="255" y="496"/>
                  <a:pt x="255" y="496"/>
                  <a:pt x="254" y="495"/>
                </a:cubicBezTo>
                <a:cubicBezTo>
                  <a:pt x="254" y="494"/>
                  <a:pt x="257" y="494"/>
                  <a:pt x="256" y="495"/>
                </a:cubicBezTo>
                <a:close/>
                <a:moveTo>
                  <a:pt x="252" y="519"/>
                </a:moveTo>
                <a:cubicBezTo>
                  <a:pt x="252" y="519"/>
                  <a:pt x="252" y="520"/>
                  <a:pt x="252" y="520"/>
                </a:cubicBezTo>
                <a:cubicBezTo>
                  <a:pt x="251" y="519"/>
                  <a:pt x="252" y="518"/>
                  <a:pt x="252" y="519"/>
                </a:cubicBezTo>
                <a:close/>
                <a:moveTo>
                  <a:pt x="250" y="460"/>
                </a:moveTo>
                <a:cubicBezTo>
                  <a:pt x="251" y="459"/>
                  <a:pt x="251" y="460"/>
                  <a:pt x="251" y="461"/>
                </a:cubicBezTo>
                <a:cubicBezTo>
                  <a:pt x="250" y="462"/>
                  <a:pt x="249" y="460"/>
                  <a:pt x="250" y="460"/>
                </a:cubicBezTo>
                <a:close/>
                <a:moveTo>
                  <a:pt x="253" y="530"/>
                </a:moveTo>
                <a:cubicBezTo>
                  <a:pt x="254" y="528"/>
                  <a:pt x="259" y="522"/>
                  <a:pt x="261" y="522"/>
                </a:cubicBezTo>
                <a:cubicBezTo>
                  <a:pt x="264" y="521"/>
                  <a:pt x="260" y="524"/>
                  <a:pt x="259" y="524"/>
                </a:cubicBezTo>
                <a:cubicBezTo>
                  <a:pt x="257" y="526"/>
                  <a:pt x="255" y="529"/>
                  <a:pt x="253" y="531"/>
                </a:cubicBezTo>
                <a:cubicBezTo>
                  <a:pt x="253" y="531"/>
                  <a:pt x="253" y="531"/>
                  <a:pt x="253" y="531"/>
                </a:cubicBezTo>
                <a:cubicBezTo>
                  <a:pt x="253" y="531"/>
                  <a:pt x="253" y="532"/>
                  <a:pt x="252" y="532"/>
                </a:cubicBezTo>
                <a:cubicBezTo>
                  <a:pt x="252" y="532"/>
                  <a:pt x="252" y="532"/>
                  <a:pt x="252" y="532"/>
                </a:cubicBezTo>
                <a:cubicBezTo>
                  <a:pt x="251" y="533"/>
                  <a:pt x="251" y="533"/>
                  <a:pt x="250" y="534"/>
                </a:cubicBezTo>
                <a:cubicBezTo>
                  <a:pt x="250" y="534"/>
                  <a:pt x="249" y="533"/>
                  <a:pt x="249" y="533"/>
                </a:cubicBezTo>
                <a:cubicBezTo>
                  <a:pt x="249" y="533"/>
                  <a:pt x="251" y="531"/>
                  <a:pt x="253" y="530"/>
                </a:cubicBezTo>
                <a:close/>
                <a:moveTo>
                  <a:pt x="253" y="640"/>
                </a:moveTo>
                <a:cubicBezTo>
                  <a:pt x="253" y="638"/>
                  <a:pt x="257" y="638"/>
                  <a:pt x="258" y="639"/>
                </a:cubicBezTo>
                <a:cubicBezTo>
                  <a:pt x="259" y="641"/>
                  <a:pt x="254" y="642"/>
                  <a:pt x="253" y="640"/>
                </a:cubicBezTo>
                <a:close/>
                <a:moveTo>
                  <a:pt x="255" y="652"/>
                </a:moveTo>
                <a:cubicBezTo>
                  <a:pt x="256" y="653"/>
                  <a:pt x="254" y="653"/>
                  <a:pt x="254" y="652"/>
                </a:cubicBezTo>
                <a:cubicBezTo>
                  <a:pt x="253" y="651"/>
                  <a:pt x="255" y="651"/>
                  <a:pt x="255" y="652"/>
                </a:cubicBezTo>
                <a:close/>
                <a:moveTo>
                  <a:pt x="240" y="645"/>
                </a:moveTo>
                <a:cubicBezTo>
                  <a:pt x="238" y="644"/>
                  <a:pt x="237" y="642"/>
                  <a:pt x="239" y="640"/>
                </a:cubicBezTo>
                <a:cubicBezTo>
                  <a:pt x="240" y="639"/>
                  <a:pt x="242" y="639"/>
                  <a:pt x="244" y="639"/>
                </a:cubicBezTo>
                <a:cubicBezTo>
                  <a:pt x="245" y="639"/>
                  <a:pt x="247" y="639"/>
                  <a:pt x="247" y="640"/>
                </a:cubicBezTo>
                <a:cubicBezTo>
                  <a:pt x="247" y="640"/>
                  <a:pt x="247" y="640"/>
                  <a:pt x="246" y="640"/>
                </a:cubicBezTo>
                <a:cubicBezTo>
                  <a:pt x="246" y="640"/>
                  <a:pt x="247" y="640"/>
                  <a:pt x="247" y="640"/>
                </a:cubicBezTo>
                <a:cubicBezTo>
                  <a:pt x="247" y="640"/>
                  <a:pt x="247" y="641"/>
                  <a:pt x="247" y="641"/>
                </a:cubicBezTo>
                <a:cubicBezTo>
                  <a:pt x="248" y="642"/>
                  <a:pt x="242" y="646"/>
                  <a:pt x="240" y="645"/>
                </a:cubicBezTo>
                <a:close/>
                <a:moveTo>
                  <a:pt x="241" y="660"/>
                </a:moveTo>
                <a:cubicBezTo>
                  <a:pt x="240" y="661"/>
                  <a:pt x="239" y="660"/>
                  <a:pt x="240" y="659"/>
                </a:cubicBezTo>
                <a:cubicBezTo>
                  <a:pt x="240" y="659"/>
                  <a:pt x="242" y="659"/>
                  <a:pt x="241" y="660"/>
                </a:cubicBezTo>
                <a:close/>
                <a:moveTo>
                  <a:pt x="250" y="593"/>
                </a:moveTo>
                <a:cubicBezTo>
                  <a:pt x="247" y="595"/>
                  <a:pt x="244" y="594"/>
                  <a:pt x="240" y="596"/>
                </a:cubicBezTo>
                <a:cubicBezTo>
                  <a:pt x="243" y="594"/>
                  <a:pt x="247" y="594"/>
                  <a:pt x="250" y="593"/>
                </a:cubicBezTo>
                <a:close/>
                <a:moveTo>
                  <a:pt x="245" y="578"/>
                </a:moveTo>
                <a:cubicBezTo>
                  <a:pt x="246" y="579"/>
                  <a:pt x="245" y="579"/>
                  <a:pt x="245" y="579"/>
                </a:cubicBezTo>
                <a:cubicBezTo>
                  <a:pt x="243" y="581"/>
                  <a:pt x="244" y="577"/>
                  <a:pt x="245" y="578"/>
                </a:cubicBezTo>
                <a:close/>
                <a:moveTo>
                  <a:pt x="253" y="551"/>
                </a:moveTo>
                <a:cubicBezTo>
                  <a:pt x="254" y="550"/>
                  <a:pt x="255" y="549"/>
                  <a:pt x="257" y="549"/>
                </a:cubicBezTo>
                <a:cubicBezTo>
                  <a:pt x="256" y="550"/>
                  <a:pt x="254" y="551"/>
                  <a:pt x="253" y="551"/>
                </a:cubicBezTo>
                <a:close/>
                <a:moveTo>
                  <a:pt x="255" y="555"/>
                </a:moveTo>
                <a:cubicBezTo>
                  <a:pt x="253" y="557"/>
                  <a:pt x="254" y="552"/>
                  <a:pt x="256" y="554"/>
                </a:cubicBezTo>
                <a:cubicBezTo>
                  <a:pt x="257" y="554"/>
                  <a:pt x="256" y="555"/>
                  <a:pt x="255" y="555"/>
                </a:cubicBezTo>
                <a:close/>
                <a:moveTo>
                  <a:pt x="258" y="564"/>
                </a:moveTo>
                <a:cubicBezTo>
                  <a:pt x="258" y="566"/>
                  <a:pt x="252" y="567"/>
                  <a:pt x="252" y="564"/>
                </a:cubicBezTo>
                <a:cubicBezTo>
                  <a:pt x="252" y="561"/>
                  <a:pt x="258" y="562"/>
                  <a:pt x="258" y="564"/>
                </a:cubicBezTo>
                <a:close/>
                <a:moveTo>
                  <a:pt x="257" y="589"/>
                </a:moveTo>
                <a:cubicBezTo>
                  <a:pt x="256" y="590"/>
                  <a:pt x="258" y="588"/>
                  <a:pt x="257" y="589"/>
                </a:cubicBezTo>
                <a:close/>
                <a:moveTo>
                  <a:pt x="254" y="619"/>
                </a:moveTo>
                <a:cubicBezTo>
                  <a:pt x="254" y="619"/>
                  <a:pt x="253" y="619"/>
                  <a:pt x="254" y="619"/>
                </a:cubicBezTo>
                <a:close/>
                <a:moveTo>
                  <a:pt x="254" y="612"/>
                </a:moveTo>
                <a:cubicBezTo>
                  <a:pt x="254" y="612"/>
                  <a:pt x="254" y="613"/>
                  <a:pt x="254" y="613"/>
                </a:cubicBezTo>
                <a:cubicBezTo>
                  <a:pt x="253" y="613"/>
                  <a:pt x="254" y="612"/>
                  <a:pt x="254" y="612"/>
                </a:cubicBezTo>
                <a:close/>
                <a:moveTo>
                  <a:pt x="254" y="619"/>
                </a:moveTo>
                <a:cubicBezTo>
                  <a:pt x="257" y="616"/>
                  <a:pt x="255" y="621"/>
                  <a:pt x="254" y="620"/>
                </a:cubicBezTo>
                <a:cubicBezTo>
                  <a:pt x="254" y="620"/>
                  <a:pt x="254" y="619"/>
                  <a:pt x="254" y="619"/>
                </a:cubicBezTo>
                <a:close/>
                <a:moveTo>
                  <a:pt x="253" y="608"/>
                </a:moveTo>
                <a:cubicBezTo>
                  <a:pt x="250" y="609"/>
                  <a:pt x="255" y="604"/>
                  <a:pt x="257" y="605"/>
                </a:cubicBezTo>
                <a:cubicBezTo>
                  <a:pt x="256" y="605"/>
                  <a:pt x="254" y="607"/>
                  <a:pt x="253" y="608"/>
                </a:cubicBezTo>
                <a:close/>
                <a:moveTo>
                  <a:pt x="255" y="600"/>
                </a:moveTo>
                <a:cubicBezTo>
                  <a:pt x="254" y="602"/>
                  <a:pt x="252" y="601"/>
                  <a:pt x="255" y="600"/>
                </a:cubicBezTo>
                <a:close/>
                <a:moveTo>
                  <a:pt x="256" y="599"/>
                </a:moveTo>
                <a:cubicBezTo>
                  <a:pt x="255" y="599"/>
                  <a:pt x="256" y="598"/>
                  <a:pt x="256" y="599"/>
                </a:cubicBezTo>
                <a:cubicBezTo>
                  <a:pt x="256" y="599"/>
                  <a:pt x="256" y="599"/>
                  <a:pt x="256" y="599"/>
                </a:cubicBezTo>
                <a:close/>
                <a:moveTo>
                  <a:pt x="253" y="571"/>
                </a:moveTo>
                <a:cubicBezTo>
                  <a:pt x="253" y="571"/>
                  <a:pt x="252" y="572"/>
                  <a:pt x="252" y="571"/>
                </a:cubicBezTo>
                <a:cubicBezTo>
                  <a:pt x="251" y="570"/>
                  <a:pt x="253" y="570"/>
                  <a:pt x="253" y="571"/>
                </a:cubicBezTo>
                <a:close/>
                <a:moveTo>
                  <a:pt x="251" y="558"/>
                </a:moveTo>
                <a:cubicBezTo>
                  <a:pt x="251" y="557"/>
                  <a:pt x="253" y="556"/>
                  <a:pt x="253" y="557"/>
                </a:cubicBezTo>
                <a:cubicBezTo>
                  <a:pt x="253" y="558"/>
                  <a:pt x="252" y="558"/>
                  <a:pt x="251" y="558"/>
                </a:cubicBezTo>
                <a:close/>
                <a:moveTo>
                  <a:pt x="246" y="555"/>
                </a:moveTo>
                <a:cubicBezTo>
                  <a:pt x="247" y="553"/>
                  <a:pt x="251" y="552"/>
                  <a:pt x="253" y="551"/>
                </a:cubicBezTo>
                <a:cubicBezTo>
                  <a:pt x="251" y="553"/>
                  <a:pt x="248" y="554"/>
                  <a:pt x="246" y="555"/>
                </a:cubicBezTo>
                <a:close/>
                <a:moveTo>
                  <a:pt x="245" y="613"/>
                </a:moveTo>
                <a:cubicBezTo>
                  <a:pt x="244" y="615"/>
                  <a:pt x="242" y="615"/>
                  <a:pt x="240" y="615"/>
                </a:cubicBezTo>
                <a:cubicBezTo>
                  <a:pt x="241" y="614"/>
                  <a:pt x="243" y="613"/>
                  <a:pt x="244" y="613"/>
                </a:cubicBezTo>
                <a:cubicBezTo>
                  <a:pt x="244" y="613"/>
                  <a:pt x="243" y="613"/>
                  <a:pt x="244" y="612"/>
                </a:cubicBezTo>
                <a:cubicBezTo>
                  <a:pt x="244" y="611"/>
                  <a:pt x="247" y="612"/>
                  <a:pt x="247" y="612"/>
                </a:cubicBezTo>
                <a:cubicBezTo>
                  <a:pt x="247" y="613"/>
                  <a:pt x="246" y="613"/>
                  <a:pt x="245" y="613"/>
                </a:cubicBezTo>
                <a:cubicBezTo>
                  <a:pt x="245" y="613"/>
                  <a:pt x="245" y="613"/>
                  <a:pt x="245" y="613"/>
                </a:cubicBezTo>
                <a:close/>
                <a:moveTo>
                  <a:pt x="241" y="634"/>
                </a:moveTo>
                <a:cubicBezTo>
                  <a:pt x="241" y="634"/>
                  <a:pt x="241" y="634"/>
                  <a:pt x="242" y="634"/>
                </a:cubicBezTo>
                <a:cubicBezTo>
                  <a:pt x="242" y="634"/>
                  <a:pt x="242" y="635"/>
                  <a:pt x="241" y="634"/>
                </a:cubicBezTo>
                <a:close/>
                <a:moveTo>
                  <a:pt x="240" y="485"/>
                </a:moveTo>
                <a:cubicBezTo>
                  <a:pt x="240" y="485"/>
                  <a:pt x="241" y="484"/>
                  <a:pt x="241" y="484"/>
                </a:cubicBezTo>
                <a:cubicBezTo>
                  <a:pt x="241" y="485"/>
                  <a:pt x="240" y="485"/>
                  <a:pt x="240" y="485"/>
                </a:cubicBezTo>
                <a:close/>
                <a:moveTo>
                  <a:pt x="240" y="535"/>
                </a:moveTo>
                <a:cubicBezTo>
                  <a:pt x="240" y="535"/>
                  <a:pt x="240" y="535"/>
                  <a:pt x="239" y="535"/>
                </a:cubicBezTo>
                <a:cubicBezTo>
                  <a:pt x="239" y="535"/>
                  <a:pt x="240" y="534"/>
                  <a:pt x="240" y="535"/>
                </a:cubicBezTo>
                <a:close/>
                <a:moveTo>
                  <a:pt x="243" y="647"/>
                </a:moveTo>
                <a:cubicBezTo>
                  <a:pt x="243" y="646"/>
                  <a:pt x="244" y="647"/>
                  <a:pt x="243" y="647"/>
                </a:cubicBezTo>
                <a:close/>
                <a:moveTo>
                  <a:pt x="243" y="664"/>
                </a:moveTo>
                <a:cubicBezTo>
                  <a:pt x="242" y="665"/>
                  <a:pt x="242" y="663"/>
                  <a:pt x="243" y="664"/>
                </a:cubicBezTo>
                <a:close/>
                <a:moveTo>
                  <a:pt x="244" y="665"/>
                </a:moveTo>
                <a:cubicBezTo>
                  <a:pt x="244" y="666"/>
                  <a:pt x="243" y="666"/>
                  <a:pt x="243" y="666"/>
                </a:cubicBezTo>
                <a:cubicBezTo>
                  <a:pt x="242" y="665"/>
                  <a:pt x="244" y="665"/>
                  <a:pt x="244" y="665"/>
                </a:cubicBezTo>
                <a:close/>
                <a:moveTo>
                  <a:pt x="244" y="658"/>
                </a:moveTo>
                <a:cubicBezTo>
                  <a:pt x="244" y="656"/>
                  <a:pt x="249" y="657"/>
                  <a:pt x="247" y="659"/>
                </a:cubicBezTo>
                <a:cubicBezTo>
                  <a:pt x="247" y="660"/>
                  <a:pt x="244" y="659"/>
                  <a:pt x="244" y="658"/>
                </a:cubicBezTo>
                <a:close/>
                <a:moveTo>
                  <a:pt x="248" y="619"/>
                </a:moveTo>
                <a:cubicBezTo>
                  <a:pt x="246" y="620"/>
                  <a:pt x="246" y="618"/>
                  <a:pt x="248" y="619"/>
                </a:cubicBezTo>
                <a:close/>
                <a:moveTo>
                  <a:pt x="249" y="639"/>
                </a:moveTo>
                <a:cubicBezTo>
                  <a:pt x="250" y="640"/>
                  <a:pt x="249" y="640"/>
                  <a:pt x="249" y="640"/>
                </a:cubicBezTo>
                <a:cubicBezTo>
                  <a:pt x="247" y="642"/>
                  <a:pt x="248" y="638"/>
                  <a:pt x="249" y="639"/>
                </a:cubicBezTo>
                <a:close/>
                <a:moveTo>
                  <a:pt x="249" y="606"/>
                </a:moveTo>
                <a:cubicBezTo>
                  <a:pt x="248" y="605"/>
                  <a:pt x="251" y="605"/>
                  <a:pt x="251" y="605"/>
                </a:cubicBezTo>
                <a:cubicBezTo>
                  <a:pt x="251" y="606"/>
                  <a:pt x="249" y="606"/>
                  <a:pt x="249" y="606"/>
                </a:cubicBezTo>
                <a:close/>
                <a:moveTo>
                  <a:pt x="247" y="598"/>
                </a:moveTo>
                <a:cubicBezTo>
                  <a:pt x="247" y="598"/>
                  <a:pt x="248" y="596"/>
                  <a:pt x="248" y="596"/>
                </a:cubicBezTo>
                <a:cubicBezTo>
                  <a:pt x="249" y="595"/>
                  <a:pt x="250" y="594"/>
                  <a:pt x="251" y="596"/>
                </a:cubicBezTo>
                <a:cubicBezTo>
                  <a:pt x="251" y="596"/>
                  <a:pt x="251" y="596"/>
                  <a:pt x="250" y="597"/>
                </a:cubicBezTo>
                <a:cubicBezTo>
                  <a:pt x="251" y="597"/>
                  <a:pt x="253" y="598"/>
                  <a:pt x="253" y="598"/>
                </a:cubicBezTo>
                <a:cubicBezTo>
                  <a:pt x="254" y="602"/>
                  <a:pt x="247" y="599"/>
                  <a:pt x="247" y="598"/>
                </a:cubicBezTo>
                <a:close/>
                <a:moveTo>
                  <a:pt x="253" y="601"/>
                </a:moveTo>
                <a:cubicBezTo>
                  <a:pt x="253" y="602"/>
                  <a:pt x="252" y="602"/>
                  <a:pt x="251" y="602"/>
                </a:cubicBezTo>
                <a:cubicBezTo>
                  <a:pt x="251" y="602"/>
                  <a:pt x="252" y="601"/>
                  <a:pt x="253" y="601"/>
                </a:cubicBezTo>
                <a:close/>
                <a:moveTo>
                  <a:pt x="253" y="609"/>
                </a:moveTo>
                <a:cubicBezTo>
                  <a:pt x="254" y="609"/>
                  <a:pt x="252" y="610"/>
                  <a:pt x="252" y="610"/>
                </a:cubicBezTo>
                <a:cubicBezTo>
                  <a:pt x="251" y="609"/>
                  <a:pt x="253" y="608"/>
                  <a:pt x="253" y="609"/>
                </a:cubicBezTo>
                <a:close/>
                <a:moveTo>
                  <a:pt x="254" y="650"/>
                </a:moveTo>
                <a:cubicBezTo>
                  <a:pt x="253" y="652"/>
                  <a:pt x="252" y="649"/>
                  <a:pt x="254" y="650"/>
                </a:cubicBezTo>
                <a:close/>
                <a:moveTo>
                  <a:pt x="256" y="592"/>
                </a:moveTo>
                <a:cubicBezTo>
                  <a:pt x="255" y="590"/>
                  <a:pt x="259" y="590"/>
                  <a:pt x="260" y="591"/>
                </a:cubicBezTo>
                <a:cubicBezTo>
                  <a:pt x="260" y="592"/>
                  <a:pt x="256" y="594"/>
                  <a:pt x="256" y="592"/>
                </a:cubicBezTo>
                <a:close/>
                <a:moveTo>
                  <a:pt x="249" y="520"/>
                </a:moveTo>
                <a:cubicBezTo>
                  <a:pt x="249" y="520"/>
                  <a:pt x="249" y="521"/>
                  <a:pt x="249" y="521"/>
                </a:cubicBezTo>
                <a:cubicBezTo>
                  <a:pt x="248" y="522"/>
                  <a:pt x="248" y="519"/>
                  <a:pt x="249" y="520"/>
                </a:cubicBezTo>
                <a:close/>
                <a:moveTo>
                  <a:pt x="249" y="536"/>
                </a:moveTo>
                <a:cubicBezTo>
                  <a:pt x="249" y="538"/>
                  <a:pt x="244" y="540"/>
                  <a:pt x="244" y="536"/>
                </a:cubicBezTo>
                <a:cubicBezTo>
                  <a:pt x="244" y="535"/>
                  <a:pt x="249" y="534"/>
                  <a:pt x="249" y="536"/>
                </a:cubicBezTo>
                <a:close/>
                <a:moveTo>
                  <a:pt x="244" y="450"/>
                </a:moveTo>
                <a:cubicBezTo>
                  <a:pt x="244" y="450"/>
                  <a:pt x="244" y="450"/>
                  <a:pt x="244" y="450"/>
                </a:cubicBezTo>
                <a:cubicBezTo>
                  <a:pt x="243" y="450"/>
                  <a:pt x="244" y="449"/>
                  <a:pt x="244" y="450"/>
                </a:cubicBezTo>
                <a:close/>
                <a:moveTo>
                  <a:pt x="243" y="420"/>
                </a:moveTo>
                <a:cubicBezTo>
                  <a:pt x="243" y="420"/>
                  <a:pt x="243" y="420"/>
                  <a:pt x="243" y="420"/>
                </a:cubicBezTo>
                <a:cubicBezTo>
                  <a:pt x="244" y="420"/>
                  <a:pt x="244" y="420"/>
                  <a:pt x="243" y="420"/>
                </a:cubicBezTo>
                <a:close/>
                <a:moveTo>
                  <a:pt x="241" y="504"/>
                </a:moveTo>
                <a:cubicBezTo>
                  <a:pt x="240" y="502"/>
                  <a:pt x="243" y="504"/>
                  <a:pt x="241" y="504"/>
                </a:cubicBezTo>
                <a:close/>
                <a:moveTo>
                  <a:pt x="235" y="479"/>
                </a:moveTo>
                <a:cubicBezTo>
                  <a:pt x="236" y="477"/>
                  <a:pt x="240" y="471"/>
                  <a:pt x="242" y="470"/>
                </a:cubicBezTo>
                <a:cubicBezTo>
                  <a:pt x="240" y="473"/>
                  <a:pt x="238" y="476"/>
                  <a:pt x="235" y="479"/>
                </a:cubicBezTo>
                <a:close/>
                <a:moveTo>
                  <a:pt x="236" y="507"/>
                </a:moveTo>
                <a:cubicBezTo>
                  <a:pt x="236" y="508"/>
                  <a:pt x="235" y="508"/>
                  <a:pt x="235" y="507"/>
                </a:cubicBezTo>
                <a:cubicBezTo>
                  <a:pt x="235" y="506"/>
                  <a:pt x="236" y="507"/>
                  <a:pt x="236" y="507"/>
                </a:cubicBezTo>
                <a:close/>
                <a:moveTo>
                  <a:pt x="242" y="337"/>
                </a:moveTo>
                <a:cubicBezTo>
                  <a:pt x="240" y="339"/>
                  <a:pt x="238" y="341"/>
                  <a:pt x="235" y="343"/>
                </a:cubicBezTo>
                <a:cubicBezTo>
                  <a:pt x="237" y="341"/>
                  <a:pt x="240" y="338"/>
                  <a:pt x="242" y="337"/>
                </a:cubicBezTo>
                <a:close/>
                <a:moveTo>
                  <a:pt x="235" y="428"/>
                </a:moveTo>
                <a:cubicBezTo>
                  <a:pt x="235" y="427"/>
                  <a:pt x="234" y="429"/>
                  <a:pt x="235" y="428"/>
                </a:cubicBezTo>
                <a:close/>
                <a:moveTo>
                  <a:pt x="236" y="488"/>
                </a:moveTo>
                <a:cubicBezTo>
                  <a:pt x="233" y="491"/>
                  <a:pt x="233" y="494"/>
                  <a:pt x="230" y="496"/>
                </a:cubicBezTo>
                <a:cubicBezTo>
                  <a:pt x="231" y="494"/>
                  <a:pt x="233" y="489"/>
                  <a:pt x="236" y="488"/>
                </a:cubicBezTo>
                <a:close/>
                <a:moveTo>
                  <a:pt x="235" y="529"/>
                </a:moveTo>
                <a:cubicBezTo>
                  <a:pt x="235" y="529"/>
                  <a:pt x="234" y="529"/>
                  <a:pt x="234" y="529"/>
                </a:cubicBezTo>
                <a:cubicBezTo>
                  <a:pt x="234" y="528"/>
                  <a:pt x="235" y="529"/>
                  <a:pt x="235" y="529"/>
                </a:cubicBezTo>
                <a:close/>
                <a:moveTo>
                  <a:pt x="232" y="503"/>
                </a:moveTo>
                <a:cubicBezTo>
                  <a:pt x="232" y="504"/>
                  <a:pt x="231" y="504"/>
                  <a:pt x="231" y="504"/>
                </a:cubicBezTo>
                <a:cubicBezTo>
                  <a:pt x="231" y="503"/>
                  <a:pt x="232" y="502"/>
                  <a:pt x="232" y="503"/>
                </a:cubicBezTo>
                <a:close/>
                <a:moveTo>
                  <a:pt x="233" y="322"/>
                </a:moveTo>
                <a:cubicBezTo>
                  <a:pt x="234" y="320"/>
                  <a:pt x="232" y="323"/>
                  <a:pt x="233" y="322"/>
                </a:cubicBezTo>
                <a:close/>
                <a:moveTo>
                  <a:pt x="233" y="463"/>
                </a:moveTo>
                <a:cubicBezTo>
                  <a:pt x="232" y="465"/>
                  <a:pt x="234" y="462"/>
                  <a:pt x="233" y="463"/>
                </a:cubicBezTo>
                <a:close/>
                <a:moveTo>
                  <a:pt x="232" y="465"/>
                </a:moveTo>
                <a:cubicBezTo>
                  <a:pt x="233" y="467"/>
                  <a:pt x="229" y="469"/>
                  <a:pt x="228" y="466"/>
                </a:cubicBezTo>
                <a:cubicBezTo>
                  <a:pt x="228" y="464"/>
                  <a:pt x="231" y="463"/>
                  <a:pt x="232" y="465"/>
                </a:cubicBezTo>
                <a:close/>
                <a:moveTo>
                  <a:pt x="231" y="364"/>
                </a:moveTo>
                <a:cubicBezTo>
                  <a:pt x="232" y="365"/>
                  <a:pt x="230" y="367"/>
                  <a:pt x="230" y="367"/>
                </a:cubicBezTo>
                <a:cubicBezTo>
                  <a:pt x="226" y="369"/>
                  <a:pt x="229" y="363"/>
                  <a:pt x="231" y="364"/>
                </a:cubicBezTo>
                <a:close/>
                <a:moveTo>
                  <a:pt x="227" y="421"/>
                </a:moveTo>
                <a:cubicBezTo>
                  <a:pt x="228" y="421"/>
                  <a:pt x="227" y="422"/>
                  <a:pt x="227" y="422"/>
                </a:cubicBezTo>
                <a:cubicBezTo>
                  <a:pt x="225" y="423"/>
                  <a:pt x="226" y="420"/>
                  <a:pt x="227" y="421"/>
                </a:cubicBezTo>
                <a:close/>
                <a:moveTo>
                  <a:pt x="227" y="484"/>
                </a:moveTo>
                <a:cubicBezTo>
                  <a:pt x="225" y="484"/>
                  <a:pt x="228" y="482"/>
                  <a:pt x="227" y="483"/>
                </a:cubicBezTo>
                <a:cubicBezTo>
                  <a:pt x="227" y="483"/>
                  <a:pt x="227" y="484"/>
                  <a:pt x="227" y="484"/>
                </a:cubicBezTo>
                <a:close/>
                <a:moveTo>
                  <a:pt x="227" y="436"/>
                </a:moveTo>
                <a:cubicBezTo>
                  <a:pt x="226" y="435"/>
                  <a:pt x="228" y="435"/>
                  <a:pt x="227" y="436"/>
                </a:cubicBezTo>
                <a:close/>
                <a:moveTo>
                  <a:pt x="227" y="526"/>
                </a:moveTo>
                <a:cubicBezTo>
                  <a:pt x="226" y="527"/>
                  <a:pt x="225" y="526"/>
                  <a:pt x="227" y="526"/>
                </a:cubicBezTo>
                <a:close/>
                <a:moveTo>
                  <a:pt x="227" y="527"/>
                </a:moveTo>
                <a:cubicBezTo>
                  <a:pt x="228" y="528"/>
                  <a:pt x="226" y="529"/>
                  <a:pt x="226" y="529"/>
                </a:cubicBezTo>
                <a:cubicBezTo>
                  <a:pt x="225" y="529"/>
                  <a:pt x="227" y="527"/>
                  <a:pt x="227" y="527"/>
                </a:cubicBezTo>
                <a:close/>
                <a:moveTo>
                  <a:pt x="225" y="375"/>
                </a:moveTo>
                <a:cubicBezTo>
                  <a:pt x="227" y="376"/>
                  <a:pt x="225" y="376"/>
                  <a:pt x="225" y="375"/>
                </a:cubicBezTo>
                <a:close/>
                <a:moveTo>
                  <a:pt x="224" y="359"/>
                </a:moveTo>
                <a:cubicBezTo>
                  <a:pt x="224" y="360"/>
                  <a:pt x="223" y="360"/>
                  <a:pt x="223" y="361"/>
                </a:cubicBezTo>
                <a:cubicBezTo>
                  <a:pt x="222" y="360"/>
                  <a:pt x="224" y="360"/>
                  <a:pt x="224" y="359"/>
                </a:cubicBezTo>
                <a:close/>
                <a:moveTo>
                  <a:pt x="222" y="500"/>
                </a:moveTo>
                <a:cubicBezTo>
                  <a:pt x="222" y="499"/>
                  <a:pt x="223" y="499"/>
                  <a:pt x="224" y="499"/>
                </a:cubicBezTo>
                <a:cubicBezTo>
                  <a:pt x="224" y="500"/>
                  <a:pt x="222" y="501"/>
                  <a:pt x="222" y="500"/>
                </a:cubicBezTo>
                <a:close/>
                <a:moveTo>
                  <a:pt x="222" y="564"/>
                </a:moveTo>
                <a:cubicBezTo>
                  <a:pt x="222" y="565"/>
                  <a:pt x="219" y="565"/>
                  <a:pt x="219" y="564"/>
                </a:cubicBezTo>
                <a:cubicBezTo>
                  <a:pt x="219" y="562"/>
                  <a:pt x="222" y="563"/>
                  <a:pt x="222" y="564"/>
                </a:cubicBezTo>
                <a:close/>
                <a:moveTo>
                  <a:pt x="224" y="489"/>
                </a:moveTo>
                <a:cubicBezTo>
                  <a:pt x="224" y="489"/>
                  <a:pt x="223" y="490"/>
                  <a:pt x="223" y="490"/>
                </a:cubicBezTo>
                <a:cubicBezTo>
                  <a:pt x="222" y="489"/>
                  <a:pt x="225" y="488"/>
                  <a:pt x="224" y="489"/>
                </a:cubicBezTo>
                <a:close/>
                <a:moveTo>
                  <a:pt x="224" y="467"/>
                </a:moveTo>
                <a:cubicBezTo>
                  <a:pt x="224" y="470"/>
                  <a:pt x="222" y="469"/>
                  <a:pt x="224" y="467"/>
                </a:cubicBezTo>
                <a:close/>
                <a:moveTo>
                  <a:pt x="223" y="272"/>
                </a:moveTo>
                <a:cubicBezTo>
                  <a:pt x="223" y="273"/>
                  <a:pt x="222" y="274"/>
                  <a:pt x="221" y="275"/>
                </a:cubicBezTo>
                <a:cubicBezTo>
                  <a:pt x="221" y="273"/>
                  <a:pt x="222" y="273"/>
                  <a:pt x="223" y="272"/>
                </a:cubicBezTo>
                <a:close/>
                <a:moveTo>
                  <a:pt x="222" y="308"/>
                </a:moveTo>
                <a:cubicBezTo>
                  <a:pt x="222" y="310"/>
                  <a:pt x="220" y="312"/>
                  <a:pt x="218" y="313"/>
                </a:cubicBezTo>
                <a:cubicBezTo>
                  <a:pt x="220" y="312"/>
                  <a:pt x="220" y="310"/>
                  <a:pt x="222" y="308"/>
                </a:cubicBezTo>
                <a:close/>
                <a:moveTo>
                  <a:pt x="218" y="378"/>
                </a:moveTo>
                <a:cubicBezTo>
                  <a:pt x="218" y="376"/>
                  <a:pt x="220" y="378"/>
                  <a:pt x="218" y="378"/>
                </a:cubicBezTo>
                <a:close/>
                <a:moveTo>
                  <a:pt x="218" y="467"/>
                </a:moveTo>
                <a:cubicBezTo>
                  <a:pt x="218" y="467"/>
                  <a:pt x="217" y="467"/>
                  <a:pt x="217" y="466"/>
                </a:cubicBezTo>
                <a:cubicBezTo>
                  <a:pt x="217" y="466"/>
                  <a:pt x="218" y="466"/>
                  <a:pt x="218" y="467"/>
                </a:cubicBezTo>
                <a:close/>
                <a:moveTo>
                  <a:pt x="217" y="315"/>
                </a:move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lose/>
                <a:moveTo>
                  <a:pt x="218" y="382"/>
                </a:moveTo>
                <a:cubicBezTo>
                  <a:pt x="217" y="382"/>
                  <a:pt x="217" y="382"/>
                  <a:pt x="217" y="382"/>
                </a:cubicBezTo>
                <a:cubicBezTo>
                  <a:pt x="216" y="381"/>
                  <a:pt x="219" y="380"/>
                  <a:pt x="218" y="382"/>
                </a:cubicBezTo>
                <a:close/>
                <a:moveTo>
                  <a:pt x="212" y="322"/>
                </a:moveTo>
                <a:cubicBezTo>
                  <a:pt x="212" y="321"/>
                  <a:pt x="215" y="318"/>
                  <a:pt x="216" y="316"/>
                </a:cubicBezTo>
                <a:cubicBezTo>
                  <a:pt x="216" y="319"/>
                  <a:pt x="210" y="325"/>
                  <a:pt x="212" y="322"/>
                </a:cubicBezTo>
                <a:close/>
                <a:moveTo>
                  <a:pt x="215" y="450"/>
                </a:moveTo>
                <a:cubicBezTo>
                  <a:pt x="215" y="450"/>
                  <a:pt x="215" y="450"/>
                  <a:pt x="215" y="450"/>
                </a:cubicBezTo>
                <a:cubicBezTo>
                  <a:pt x="215" y="450"/>
                  <a:pt x="215" y="450"/>
                  <a:pt x="215" y="450"/>
                </a:cubicBezTo>
                <a:close/>
                <a:moveTo>
                  <a:pt x="214" y="449"/>
                </a:moveTo>
                <a:cubicBezTo>
                  <a:pt x="214" y="449"/>
                  <a:pt x="214" y="448"/>
                  <a:pt x="214" y="448"/>
                </a:cubicBezTo>
                <a:cubicBezTo>
                  <a:pt x="214" y="446"/>
                  <a:pt x="216" y="448"/>
                  <a:pt x="214" y="449"/>
                </a:cubicBezTo>
                <a:close/>
                <a:moveTo>
                  <a:pt x="214" y="524"/>
                </a:moveTo>
                <a:cubicBezTo>
                  <a:pt x="213" y="523"/>
                  <a:pt x="214" y="523"/>
                  <a:pt x="215" y="522"/>
                </a:cubicBezTo>
                <a:cubicBezTo>
                  <a:pt x="215" y="523"/>
                  <a:pt x="214" y="523"/>
                  <a:pt x="214" y="524"/>
                </a:cubicBezTo>
                <a:close/>
                <a:moveTo>
                  <a:pt x="212" y="508"/>
                </a:moveTo>
                <a:cubicBezTo>
                  <a:pt x="210" y="509"/>
                  <a:pt x="214" y="507"/>
                  <a:pt x="212" y="508"/>
                </a:cubicBezTo>
                <a:close/>
                <a:moveTo>
                  <a:pt x="202" y="518"/>
                </a:moveTo>
                <a:cubicBezTo>
                  <a:pt x="210" y="516"/>
                  <a:pt x="209" y="525"/>
                  <a:pt x="203" y="526"/>
                </a:cubicBezTo>
                <a:cubicBezTo>
                  <a:pt x="198" y="527"/>
                  <a:pt x="197" y="520"/>
                  <a:pt x="202" y="518"/>
                </a:cubicBezTo>
                <a:close/>
                <a:moveTo>
                  <a:pt x="201" y="548"/>
                </a:moveTo>
                <a:cubicBezTo>
                  <a:pt x="201" y="548"/>
                  <a:pt x="201" y="548"/>
                  <a:pt x="201" y="548"/>
                </a:cubicBezTo>
                <a:cubicBezTo>
                  <a:pt x="201" y="546"/>
                  <a:pt x="203" y="550"/>
                  <a:pt x="201" y="548"/>
                </a:cubicBezTo>
                <a:close/>
                <a:moveTo>
                  <a:pt x="199" y="549"/>
                </a:moveTo>
                <a:cubicBezTo>
                  <a:pt x="199" y="551"/>
                  <a:pt x="197" y="549"/>
                  <a:pt x="199" y="549"/>
                </a:cubicBezTo>
                <a:close/>
                <a:moveTo>
                  <a:pt x="200" y="494"/>
                </a:moveTo>
                <a:cubicBezTo>
                  <a:pt x="199" y="495"/>
                  <a:pt x="198" y="496"/>
                  <a:pt x="196" y="496"/>
                </a:cubicBezTo>
                <a:cubicBezTo>
                  <a:pt x="197" y="495"/>
                  <a:pt x="199" y="495"/>
                  <a:pt x="200" y="494"/>
                </a:cubicBezTo>
                <a:close/>
                <a:moveTo>
                  <a:pt x="202" y="420"/>
                </a:moveTo>
                <a:cubicBezTo>
                  <a:pt x="201" y="421"/>
                  <a:pt x="201" y="421"/>
                  <a:pt x="200" y="421"/>
                </a:cubicBezTo>
                <a:cubicBezTo>
                  <a:pt x="199" y="420"/>
                  <a:pt x="203" y="418"/>
                  <a:pt x="202" y="420"/>
                </a:cubicBezTo>
                <a:close/>
                <a:moveTo>
                  <a:pt x="203" y="493"/>
                </a:moveTo>
                <a:cubicBezTo>
                  <a:pt x="204" y="493"/>
                  <a:pt x="204" y="493"/>
                  <a:pt x="204" y="493"/>
                </a:cubicBezTo>
                <a:cubicBezTo>
                  <a:pt x="204" y="493"/>
                  <a:pt x="200" y="494"/>
                  <a:pt x="203" y="493"/>
                </a:cubicBezTo>
                <a:close/>
                <a:moveTo>
                  <a:pt x="206" y="456"/>
                </a:moveTo>
                <a:cubicBezTo>
                  <a:pt x="206" y="456"/>
                  <a:pt x="205" y="456"/>
                  <a:pt x="205" y="456"/>
                </a:cubicBezTo>
                <a:cubicBezTo>
                  <a:pt x="204" y="456"/>
                  <a:pt x="206" y="455"/>
                  <a:pt x="206" y="456"/>
                </a:cubicBezTo>
                <a:close/>
                <a:moveTo>
                  <a:pt x="206" y="475"/>
                </a:moveTo>
                <a:cubicBezTo>
                  <a:pt x="206" y="473"/>
                  <a:pt x="210" y="475"/>
                  <a:pt x="210" y="477"/>
                </a:cubicBezTo>
                <a:cubicBezTo>
                  <a:pt x="209" y="479"/>
                  <a:pt x="204" y="479"/>
                  <a:pt x="206" y="475"/>
                </a:cubicBezTo>
                <a:close/>
                <a:moveTo>
                  <a:pt x="208" y="439"/>
                </a:moveTo>
                <a:cubicBezTo>
                  <a:pt x="208" y="440"/>
                  <a:pt x="207" y="440"/>
                  <a:pt x="207" y="440"/>
                </a:cubicBezTo>
                <a:cubicBezTo>
                  <a:pt x="207" y="439"/>
                  <a:pt x="208" y="439"/>
                  <a:pt x="208" y="439"/>
                </a:cubicBezTo>
                <a:close/>
                <a:moveTo>
                  <a:pt x="208" y="405"/>
                </a:moveTo>
                <a:cubicBezTo>
                  <a:pt x="207" y="406"/>
                  <a:pt x="208" y="404"/>
                  <a:pt x="208" y="405"/>
                </a:cubicBezTo>
                <a:close/>
                <a:moveTo>
                  <a:pt x="209" y="467"/>
                </a:moveTo>
                <a:cubicBezTo>
                  <a:pt x="209" y="467"/>
                  <a:pt x="209" y="468"/>
                  <a:pt x="209" y="468"/>
                </a:cubicBezTo>
                <a:cubicBezTo>
                  <a:pt x="208" y="467"/>
                  <a:pt x="210" y="466"/>
                  <a:pt x="209" y="467"/>
                </a:cubicBezTo>
                <a:close/>
                <a:moveTo>
                  <a:pt x="210" y="509"/>
                </a:moveTo>
                <a:cubicBezTo>
                  <a:pt x="208" y="511"/>
                  <a:pt x="211" y="508"/>
                  <a:pt x="210" y="509"/>
                </a:cubicBezTo>
                <a:close/>
                <a:moveTo>
                  <a:pt x="210" y="444"/>
                </a:moveTo>
                <a:cubicBezTo>
                  <a:pt x="207" y="445"/>
                  <a:pt x="209" y="441"/>
                  <a:pt x="210" y="443"/>
                </a:cubicBezTo>
                <a:cubicBezTo>
                  <a:pt x="211" y="443"/>
                  <a:pt x="210" y="443"/>
                  <a:pt x="210" y="444"/>
                </a:cubicBezTo>
                <a:close/>
                <a:moveTo>
                  <a:pt x="210" y="185"/>
                </a:moveTo>
                <a:cubicBezTo>
                  <a:pt x="210" y="185"/>
                  <a:pt x="210" y="185"/>
                  <a:pt x="210" y="185"/>
                </a:cubicBezTo>
                <a:cubicBezTo>
                  <a:pt x="209" y="185"/>
                  <a:pt x="211" y="184"/>
                  <a:pt x="210" y="185"/>
                </a:cubicBezTo>
                <a:close/>
                <a:moveTo>
                  <a:pt x="210" y="203"/>
                </a:moveTo>
                <a:cubicBezTo>
                  <a:pt x="211" y="203"/>
                  <a:pt x="209" y="205"/>
                  <a:pt x="209" y="205"/>
                </a:cubicBezTo>
                <a:cubicBezTo>
                  <a:pt x="209" y="204"/>
                  <a:pt x="209" y="204"/>
                  <a:pt x="210" y="203"/>
                </a:cubicBezTo>
                <a:close/>
                <a:moveTo>
                  <a:pt x="210" y="371"/>
                </a:moveTo>
                <a:cubicBezTo>
                  <a:pt x="209" y="372"/>
                  <a:pt x="209" y="372"/>
                  <a:pt x="208" y="372"/>
                </a:cubicBezTo>
                <a:cubicBezTo>
                  <a:pt x="208" y="372"/>
                  <a:pt x="208" y="371"/>
                  <a:pt x="210" y="371"/>
                </a:cubicBezTo>
                <a:close/>
                <a:moveTo>
                  <a:pt x="208" y="181"/>
                </a:moveTo>
                <a:cubicBezTo>
                  <a:pt x="209" y="181"/>
                  <a:pt x="207" y="184"/>
                  <a:pt x="207" y="184"/>
                </a:cubicBezTo>
                <a:cubicBezTo>
                  <a:pt x="204" y="186"/>
                  <a:pt x="206" y="180"/>
                  <a:pt x="208" y="181"/>
                </a:cubicBezTo>
                <a:close/>
                <a:moveTo>
                  <a:pt x="207" y="374"/>
                </a:moveTo>
                <a:cubicBezTo>
                  <a:pt x="206" y="373"/>
                  <a:pt x="208" y="373"/>
                  <a:pt x="207" y="374"/>
                </a:cubicBezTo>
                <a:close/>
                <a:moveTo>
                  <a:pt x="207" y="387"/>
                </a:moveTo>
                <a:cubicBezTo>
                  <a:pt x="206" y="387"/>
                  <a:pt x="206" y="388"/>
                  <a:pt x="206" y="387"/>
                </a:cubicBezTo>
                <a:cubicBezTo>
                  <a:pt x="205" y="386"/>
                  <a:pt x="209" y="385"/>
                  <a:pt x="207" y="387"/>
                </a:cubicBezTo>
                <a:close/>
                <a:moveTo>
                  <a:pt x="204" y="211"/>
                </a:moveTo>
                <a:cubicBezTo>
                  <a:pt x="204" y="213"/>
                  <a:pt x="202" y="214"/>
                  <a:pt x="201" y="216"/>
                </a:cubicBezTo>
                <a:cubicBezTo>
                  <a:pt x="201" y="214"/>
                  <a:pt x="203" y="213"/>
                  <a:pt x="204" y="211"/>
                </a:cubicBezTo>
                <a:close/>
                <a:moveTo>
                  <a:pt x="202" y="326"/>
                </a:moveTo>
                <a:cubicBezTo>
                  <a:pt x="202" y="327"/>
                  <a:pt x="202" y="328"/>
                  <a:pt x="201" y="328"/>
                </a:cubicBezTo>
                <a:cubicBezTo>
                  <a:pt x="201" y="327"/>
                  <a:pt x="202" y="327"/>
                  <a:pt x="202" y="326"/>
                </a:cubicBezTo>
                <a:close/>
                <a:moveTo>
                  <a:pt x="205" y="387"/>
                </a:moveTo>
                <a:cubicBezTo>
                  <a:pt x="205" y="388"/>
                  <a:pt x="203" y="389"/>
                  <a:pt x="201" y="390"/>
                </a:cubicBezTo>
                <a:cubicBezTo>
                  <a:pt x="202" y="388"/>
                  <a:pt x="204" y="388"/>
                  <a:pt x="205" y="387"/>
                </a:cubicBezTo>
                <a:close/>
                <a:moveTo>
                  <a:pt x="196" y="218"/>
                </a:moveTo>
                <a:cubicBezTo>
                  <a:pt x="198" y="219"/>
                  <a:pt x="196" y="220"/>
                  <a:pt x="196" y="218"/>
                </a:cubicBezTo>
                <a:close/>
                <a:moveTo>
                  <a:pt x="196" y="249"/>
                </a:moveTo>
                <a:cubicBezTo>
                  <a:pt x="195" y="251"/>
                  <a:pt x="197" y="248"/>
                  <a:pt x="196" y="249"/>
                </a:cubicBezTo>
                <a:close/>
                <a:moveTo>
                  <a:pt x="198" y="349"/>
                </a:moveTo>
                <a:cubicBezTo>
                  <a:pt x="198" y="350"/>
                  <a:pt x="196" y="351"/>
                  <a:pt x="196" y="352"/>
                </a:cubicBezTo>
                <a:cubicBezTo>
                  <a:pt x="195" y="351"/>
                  <a:pt x="197" y="350"/>
                  <a:pt x="198" y="349"/>
                </a:cubicBezTo>
                <a:close/>
                <a:moveTo>
                  <a:pt x="196" y="296"/>
                </a:moveTo>
                <a:cubicBezTo>
                  <a:pt x="196" y="296"/>
                  <a:pt x="195" y="298"/>
                  <a:pt x="195" y="298"/>
                </a:cubicBezTo>
                <a:cubicBezTo>
                  <a:pt x="193" y="300"/>
                  <a:pt x="194" y="295"/>
                  <a:pt x="196" y="296"/>
                </a:cubicBezTo>
                <a:close/>
                <a:moveTo>
                  <a:pt x="194" y="353"/>
                </a:moveTo>
                <a:cubicBezTo>
                  <a:pt x="195" y="354"/>
                  <a:pt x="193" y="354"/>
                  <a:pt x="194" y="353"/>
                </a:cubicBezTo>
                <a:close/>
                <a:moveTo>
                  <a:pt x="192" y="213"/>
                </a:moveTo>
                <a:cubicBezTo>
                  <a:pt x="192" y="212"/>
                  <a:pt x="194" y="211"/>
                  <a:pt x="192" y="213"/>
                </a:cubicBezTo>
                <a:close/>
                <a:moveTo>
                  <a:pt x="193" y="252"/>
                </a:moveTo>
                <a:cubicBezTo>
                  <a:pt x="194" y="253"/>
                  <a:pt x="193" y="254"/>
                  <a:pt x="192" y="254"/>
                </a:cubicBezTo>
                <a:cubicBezTo>
                  <a:pt x="192" y="253"/>
                  <a:pt x="193" y="253"/>
                  <a:pt x="193" y="252"/>
                </a:cubicBezTo>
                <a:close/>
                <a:moveTo>
                  <a:pt x="193" y="354"/>
                </a:moveTo>
                <a:cubicBezTo>
                  <a:pt x="193" y="355"/>
                  <a:pt x="193" y="356"/>
                  <a:pt x="192" y="356"/>
                </a:cubicBezTo>
                <a:cubicBezTo>
                  <a:pt x="192" y="355"/>
                  <a:pt x="193" y="355"/>
                  <a:pt x="193" y="354"/>
                </a:cubicBezTo>
                <a:close/>
                <a:moveTo>
                  <a:pt x="192" y="305"/>
                </a:moveTo>
                <a:cubicBezTo>
                  <a:pt x="190" y="307"/>
                  <a:pt x="193" y="304"/>
                  <a:pt x="192" y="305"/>
                </a:cubicBezTo>
                <a:close/>
                <a:moveTo>
                  <a:pt x="188" y="397"/>
                </a:moveTo>
                <a:cubicBezTo>
                  <a:pt x="187" y="398"/>
                  <a:pt x="185" y="400"/>
                  <a:pt x="183" y="401"/>
                </a:cubicBezTo>
                <a:cubicBezTo>
                  <a:pt x="184" y="399"/>
                  <a:pt x="186" y="398"/>
                  <a:pt x="188" y="397"/>
                </a:cubicBezTo>
                <a:close/>
                <a:moveTo>
                  <a:pt x="184" y="384"/>
                </a:moveTo>
                <a:cubicBezTo>
                  <a:pt x="185" y="384"/>
                  <a:pt x="185" y="383"/>
                  <a:pt x="186" y="383"/>
                </a:cubicBezTo>
                <a:cubicBezTo>
                  <a:pt x="185" y="384"/>
                  <a:pt x="185" y="384"/>
                  <a:pt x="184" y="384"/>
                </a:cubicBezTo>
                <a:close/>
                <a:moveTo>
                  <a:pt x="184" y="243"/>
                </a:moveTo>
                <a:cubicBezTo>
                  <a:pt x="185" y="242"/>
                  <a:pt x="183" y="244"/>
                  <a:pt x="184" y="243"/>
                </a:cubicBezTo>
                <a:close/>
                <a:moveTo>
                  <a:pt x="182" y="186"/>
                </a:moveTo>
                <a:cubicBezTo>
                  <a:pt x="182" y="185"/>
                  <a:pt x="181" y="187"/>
                  <a:pt x="182" y="186"/>
                </a:cubicBezTo>
                <a:close/>
                <a:moveTo>
                  <a:pt x="184" y="243"/>
                </a:moveTo>
                <a:cubicBezTo>
                  <a:pt x="185" y="244"/>
                  <a:pt x="183" y="249"/>
                  <a:pt x="182" y="249"/>
                </a:cubicBezTo>
                <a:cubicBezTo>
                  <a:pt x="180" y="249"/>
                  <a:pt x="182" y="243"/>
                  <a:pt x="184" y="243"/>
                </a:cubicBezTo>
                <a:close/>
                <a:moveTo>
                  <a:pt x="177" y="208"/>
                </a:moveTo>
                <a:cubicBezTo>
                  <a:pt x="178" y="209"/>
                  <a:pt x="177" y="209"/>
                  <a:pt x="177" y="210"/>
                </a:cubicBezTo>
                <a:cubicBezTo>
                  <a:pt x="176" y="210"/>
                  <a:pt x="177" y="209"/>
                  <a:pt x="177" y="208"/>
                </a:cubicBezTo>
                <a:close/>
                <a:moveTo>
                  <a:pt x="182" y="322"/>
                </a:moveTo>
                <a:cubicBezTo>
                  <a:pt x="179" y="324"/>
                  <a:pt x="177" y="329"/>
                  <a:pt x="175" y="329"/>
                </a:cubicBezTo>
                <a:cubicBezTo>
                  <a:pt x="175" y="329"/>
                  <a:pt x="179" y="322"/>
                  <a:pt x="182" y="322"/>
                </a:cubicBezTo>
                <a:close/>
                <a:moveTo>
                  <a:pt x="180" y="403"/>
                </a:moveTo>
                <a:cubicBezTo>
                  <a:pt x="179" y="404"/>
                  <a:pt x="178" y="406"/>
                  <a:pt x="176" y="406"/>
                </a:cubicBezTo>
                <a:cubicBezTo>
                  <a:pt x="177" y="405"/>
                  <a:pt x="179" y="404"/>
                  <a:pt x="180" y="403"/>
                </a:cubicBezTo>
                <a:close/>
                <a:moveTo>
                  <a:pt x="178" y="383"/>
                </a:move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2"/>
                  <a:pt x="178" y="382"/>
                </a:cubicBezTo>
                <a:cubicBezTo>
                  <a:pt x="178" y="382"/>
                  <a:pt x="178" y="382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lose/>
                <a:moveTo>
                  <a:pt x="181" y="393"/>
                </a:moveTo>
                <a:cubicBezTo>
                  <a:pt x="181" y="393"/>
                  <a:pt x="180" y="395"/>
                  <a:pt x="180" y="395"/>
                </a:cubicBezTo>
                <a:cubicBezTo>
                  <a:pt x="178" y="397"/>
                  <a:pt x="179" y="392"/>
                  <a:pt x="181" y="393"/>
                </a:cubicBezTo>
                <a:close/>
                <a:moveTo>
                  <a:pt x="179" y="358"/>
                </a:moveTo>
                <a:cubicBezTo>
                  <a:pt x="179" y="358"/>
                  <a:pt x="180" y="359"/>
                  <a:pt x="180" y="359"/>
                </a:cubicBezTo>
                <a:cubicBezTo>
                  <a:pt x="180" y="360"/>
                  <a:pt x="178" y="359"/>
                  <a:pt x="179" y="358"/>
                </a:cubicBezTo>
                <a:close/>
                <a:moveTo>
                  <a:pt x="182" y="418"/>
                </a:moveTo>
                <a:cubicBezTo>
                  <a:pt x="183" y="416"/>
                  <a:pt x="187" y="412"/>
                  <a:pt x="190" y="410"/>
                </a:cubicBezTo>
                <a:cubicBezTo>
                  <a:pt x="190" y="410"/>
                  <a:pt x="190" y="408"/>
                  <a:pt x="191" y="409"/>
                </a:cubicBezTo>
                <a:cubicBezTo>
                  <a:pt x="192" y="410"/>
                  <a:pt x="189" y="414"/>
                  <a:pt x="189" y="414"/>
                </a:cubicBezTo>
                <a:cubicBezTo>
                  <a:pt x="188" y="415"/>
                  <a:pt x="186" y="415"/>
                  <a:pt x="184" y="417"/>
                </a:cubicBezTo>
                <a:cubicBezTo>
                  <a:pt x="180" y="419"/>
                  <a:pt x="178" y="424"/>
                  <a:pt x="174" y="426"/>
                </a:cubicBezTo>
                <a:cubicBezTo>
                  <a:pt x="174" y="422"/>
                  <a:pt x="180" y="421"/>
                  <a:pt x="182" y="418"/>
                </a:cubicBezTo>
                <a:close/>
                <a:moveTo>
                  <a:pt x="193" y="479"/>
                </a:moveTo>
                <a:cubicBezTo>
                  <a:pt x="192" y="481"/>
                  <a:pt x="192" y="479"/>
                  <a:pt x="193" y="479"/>
                </a:cubicBezTo>
                <a:close/>
                <a:moveTo>
                  <a:pt x="193" y="432"/>
                </a:moveTo>
                <a:cubicBezTo>
                  <a:pt x="194" y="432"/>
                  <a:pt x="193" y="433"/>
                  <a:pt x="193" y="432"/>
                </a:cubicBezTo>
                <a:cubicBezTo>
                  <a:pt x="192" y="432"/>
                  <a:pt x="193" y="432"/>
                  <a:pt x="193" y="432"/>
                </a:cubicBezTo>
                <a:close/>
                <a:moveTo>
                  <a:pt x="191" y="460"/>
                </a:moveTo>
                <a:cubicBezTo>
                  <a:pt x="192" y="458"/>
                  <a:pt x="193" y="460"/>
                  <a:pt x="191" y="460"/>
                </a:cubicBezTo>
                <a:close/>
                <a:moveTo>
                  <a:pt x="193" y="489"/>
                </a:moveTo>
                <a:cubicBezTo>
                  <a:pt x="193" y="490"/>
                  <a:pt x="192" y="491"/>
                  <a:pt x="191" y="491"/>
                </a:cubicBezTo>
                <a:cubicBezTo>
                  <a:pt x="189" y="492"/>
                  <a:pt x="191" y="487"/>
                  <a:pt x="193" y="489"/>
                </a:cubicBezTo>
                <a:close/>
                <a:moveTo>
                  <a:pt x="190" y="440"/>
                </a:moveTo>
                <a:cubicBezTo>
                  <a:pt x="189" y="439"/>
                  <a:pt x="191" y="438"/>
                  <a:pt x="191" y="439"/>
                </a:cubicBezTo>
                <a:cubicBezTo>
                  <a:pt x="191" y="439"/>
                  <a:pt x="190" y="440"/>
                  <a:pt x="190" y="440"/>
                </a:cubicBezTo>
                <a:close/>
                <a:moveTo>
                  <a:pt x="189" y="511"/>
                </a:moveTo>
                <a:cubicBezTo>
                  <a:pt x="189" y="511"/>
                  <a:pt x="189" y="512"/>
                  <a:pt x="188" y="511"/>
                </a:cubicBezTo>
                <a:cubicBezTo>
                  <a:pt x="188" y="511"/>
                  <a:pt x="189" y="510"/>
                  <a:pt x="189" y="511"/>
                </a:cubicBezTo>
                <a:close/>
                <a:moveTo>
                  <a:pt x="186" y="470"/>
                </a:moveTo>
                <a:cubicBezTo>
                  <a:pt x="185" y="469"/>
                  <a:pt x="188" y="469"/>
                  <a:pt x="188" y="470"/>
                </a:cubicBezTo>
                <a:cubicBezTo>
                  <a:pt x="189" y="471"/>
                  <a:pt x="186" y="472"/>
                  <a:pt x="186" y="470"/>
                </a:cubicBezTo>
                <a:close/>
                <a:moveTo>
                  <a:pt x="184" y="470"/>
                </a:moveTo>
                <a:cubicBezTo>
                  <a:pt x="185" y="471"/>
                  <a:pt x="184" y="472"/>
                  <a:pt x="183" y="472"/>
                </a:cubicBezTo>
                <a:cubicBezTo>
                  <a:pt x="180" y="474"/>
                  <a:pt x="182" y="469"/>
                  <a:pt x="184" y="470"/>
                </a:cubicBezTo>
                <a:close/>
                <a:moveTo>
                  <a:pt x="183" y="435"/>
                </a:moveTo>
                <a:cubicBezTo>
                  <a:pt x="183" y="434"/>
                  <a:pt x="182" y="436"/>
                  <a:pt x="183" y="435"/>
                </a:cubicBezTo>
                <a:close/>
                <a:moveTo>
                  <a:pt x="180" y="443"/>
                </a:moveTo>
                <a:cubicBezTo>
                  <a:pt x="180" y="443"/>
                  <a:pt x="179" y="443"/>
                  <a:pt x="179" y="443"/>
                </a:cubicBezTo>
                <a:cubicBezTo>
                  <a:pt x="178" y="445"/>
                  <a:pt x="180" y="440"/>
                  <a:pt x="180" y="443"/>
                </a:cubicBezTo>
                <a:close/>
                <a:moveTo>
                  <a:pt x="174" y="445"/>
                </a:moveTo>
                <a:cubicBezTo>
                  <a:pt x="173" y="446"/>
                  <a:pt x="174" y="444"/>
                  <a:pt x="174" y="445"/>
                </a:cubicBezTo>
                <a:close/>
                <a:moveTo>
                  <a:pt x="173" y="182"/>
                </a:moveTo>
                <a:cubicBezTo>
                  <a:pt x="172" y="182"/>
                  <a:pt x="174" y="180"/>
                  <a:pt x="173" y="182"/>
                </a:cubicBezTo>
                <a:close/>
                <a:moveTo>
                  <a:pt x="173" y="438"/>
                </a:moveTo>
                <a:cubicBezTo>
                  <a:pt x="174" y="437"/>
                  <a:pt x="172" y="440"/>
                  <a:pt x="173" y="438"/>
                </a:cubicBezTo>
                <a:close/>
                <a:moveTo>
                  <a:pt x="173" y="477"/>
                </a:moveTo>
                <a:cubicBezTo>
                  <a:pt x="172" y="478"/>
                  <a:pt x="172" y="478"/>
                  <a:pt x="170" y="478"/>
                </a:cubicBezTo>
                <a:cubicBezTo>
                  <a:pt x="171" y="478"/>
                  <a:pt x="171" y="477"/>
                  <a:pt x="173" y="477"/>
                </a:cubicBezTo>
                <a:close/>
                <a:moveTo>
                  <a:pt x="173" y="314"/>
                </a:move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lose/>
                <a:moveTo>
                  <a:pt x="171" y="307"/>
                </a:moveTo>
                <a:cubicBezTo>
                  <a:pt x="171" y="308"/>
                  <a:pt x="171" y="309"/>
                  <a:pt x="169" y="310"/>
                </a:cubicBezTo>
                <a:cubicBezTo>
                  <a:pt x="168" y="310"/>
                  <a:pt x="167" y="310"/>
                  <a:pt x="166" y="309"/>
                </a:cubicBezTo>
                <a:cubicBezTo>
                  <a:pt x="164" y="305"/>
                  <a:pt x="171" y="303"/>
                  <a:pt x="171" y="307"/>
                </a:cubicBezTo>
                <a:close/>
                <a:moveTo>
                  <a:pt x="168" y="501"/>
                </a:moveTo>
                <a:cubicBezTo>
                  <a:pt x="168" y="501"/>
                  <a:pt x="168" y="501"/>
                  <a:pt x="169" y="501"/>
                </a:cubicBezTo>
                <a:cubicBezTo>
                  <a:pt x="169" y="501"/>
                  <a:pt x="168" y="502"/>
                  <a:pt x="168" y="501"/>
                </a:cubicBezTo>
                <a:close/>
                <a:moveTo>
                  <a:pt x="166" y="342"/>
                </a:moveTo>
                <a:cubicBezTo>
                  <a:pt x="166" y="342"/>
                  <a:pt x="166" y="342"/>
                  <a:pt x="166" y="342"/>
                </a:cubicBezTo>
                <a:cubicBezTo>
                  <a:pt x="166" y="342"/>
                  <a:pt x="166" y="343"/>
                  <a:pt x="165" y="343"/>
                </a:cubicBezTo>
                <a:cubicBezTo>
                  <a:pt x="165" y="343"/>
                  <a:pt x="165" y="343"/>
                  <a:pt x="165" y="343"/>
                </a:cubicBezTo>
                <a:cubicBezTo>
                  <a:pt x="165" y="343"/>
                  <a:pt x="166" y="342"/>
                  <a:pt x="166" y="342"/>
                </a:cubicBezTo>
                <a:close/>
                <a:moveTo>
                  <a:pt x="165" y="307"/>
                </a:moveTo>
                <a:cubicBezTo>
                  <a:pt x="163" y="308"/>
                  <a:pt x="167" y="306"/>
                  <a:pt x="165" y="307"/>
                </a:cubicBezTo>
                <a:close/>
                <a:moveTo>
                  <a:pt x="164" y="344"/>
                </a:moveTo>
                <a:cubicBezTo>
                  <a:pt x="163" y="344"/>
                  <a:pt x="166" y="342"/>
                  <a:pt x="164" y="344"/>
                </a:cubicBezTo>
                <a:close/>
                <a:moveTo>
                  <a:pt x="165" y="345"/>
                </a:moveTo>
                <a:cubicBezTo>
                  <a:pt x="164" y="346"/>
                  <a:pt x="164" y="347"/>
                  <a:pt x="162" y="347"/>
                </a:cubicBezTo>
                <a:cubicBezTo>
                  <a:pt x="163" y="347"/>
                  <a:pt x="163" y="346"/>
                  <a:pt x="165" y="345"/>
                </a:cubicBezTo>
                <a:close/>
                <a:moveTo>
                  <a:pt x="161" y="347"/>
                </a:moveTo>
                <a:cubicBezTo>
                  <a:pt x="160" y="348"/>
                  <a:pt x="162" y="346"/>
                  <a:pt x="161" y="347"/>
                </a:cubicBezTo>
                <a:close/>
                <a:moveTo>
                  <a:pt x="160" y="350"/>
                </a:moveTo>
                <a:cubicBezTo>
                  <a:pt x="161" y="348"/>
                  <a:pt x="162" y="349"/>
                  <a:pt x="160" y="350"/>
                </a:cubicBezTo>
                <a:close/>
                <a:moveTo>
                  <a:pt x="168" y="370"/>
                </a:moveTo>
                <a:cubicBezTo>
                  <a:pt x="165" y="373"/>
                  <a:pt x="163" y="376"/>
                  <a:pt x="158" y="378"/>
                </a:cubicBezTo>
                <a:cubicBezTo>
                  <a:pt x="161" y="375"/>
                  <a:pt x="164" y="372"/>
                  <a:pt x="168" y="370"/>
                </a:cubicBezTo>
                <a:close/>
                <a:moveTo>
                  <a:pt x="167" y="392"/>
                </a:moveTo>
                <a:cubicBezTo>
                  <a:pt x="166" y="393"/>
                  <a:pt x="168" y="390"/>
                  <a:pt x="167" y="391"/>
                </a:cubicBezTo>
                <a:cubicBezTo>
                  <a:pt x="167" y="391"/>
                  <a:pt x="167" y="392"/>
                  <a:pt x="167" y="392"/>
                </a:cubicBezTo>
                <a:close/>
                <a:moveTo>
                  <a:pt x="168" y="424"/>
                </a:moveTo>
                <a:cubicBezTo>
                  <a:pt x="168" y="424"/>
                  <a:pt x="167" y="424"/>
                  <a:pt x="167" y="424"/>
                </a:cubicBezTo>
                <a:cubicBezTo>
                  <a:pt x="166" y="423"/>
                  <a:pt x="168" y="423"/>
                  <a:pt x="168" y="424"/>
                </a:cubicBezTo>
                <a:close/>
                <a:moveTo>
                  <a:pt x="161" y="457"/>
                </a:moveTo>
                <a:cubicBezTo>
                  <a:pt x="161" y="458"/>
                  <a:pt x="158" y="461"/>
                  <a:pt x="157" y="460"/>
                </a:cubicBezTo>
                <a:cubicBezTo>
                  <a:pt x="156" y="458"/>
                  <a:pt x="159" y="456"/>
                  <a:pt x="161" y="457"/>
                </a:cubicBezTo>
                <a:close/>
                <a:moveTo>
                  <a:pt x="157" y="477"/>
                </a:move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lose/>
                <a:moveTo>
                  <a:pt x="161" y="502"/>
                </a:moveTo>
                <a:cubicBezTo>
                  <a:pt x="161" y="503"/>
                  <a:pt x="159" y="504"/>
                  <a:pt x="159" y="503"/>
                </a:cubicBezTo>
                <a:cubicBezTo>
                  <a:pt x="159" y="502"/>
                  <a:pt x="160" y="501"/>
                  <a:pt x="161" y="502"/>
                </a:cubicBezTo>
                <a:close/>
                <a:moveTo>
                  <a:pt x="159" y="482"/>
                </a:moveTo>
                <a:cubicBezTo>
                  <a:pt x="158" y="483"/>
                  <a:pt x="160" y="481"/>
                  <a:pt x="159" y="482"/>
                </a:cubicBezTo>
                <a:close/>
                <a:moveTo>
                  <a:pt x="162" y="484"/>
                </a:moveTo>
                <a:cubicBezTo>
                  <a:pt x="163" y="484"/>
                  <a:pt x="162" y="485"/>
                  <a:pt x="161" y="485"/>
                </a:cubicBezTo>
                <a:cubicBezTo>
                  <a:pt x="160" y="486"/>
                  <a:pt x="161" y="483"/>
                  <a:pt x="162" y="484"/>
                </a:cubicBezTo>
                <a:close/>
                <a:moveTo>
                  <a:pt x="161" y="428"/>
                </a:moveTo>
                <a:cubicBezTo>
                  <a:pt x="162" y="429"/>
                  <a:pt x="160" y="432"/>
                  <a:pt x="160" y="432"/>
                </a:cubicBezTo>
                <a:cubicBezTo>
                  <a:pt x="155" y="435"/>
                  <a:pt x="158" y="426"/>
                  <a:pt x="161" y="428"/>
                </a:cubicBezTo>
                <a:close/>
                <a:moveTo>
                  <a:pt x="164" y="506"/>
                </a:moveTo>
                <a:cubicBezTo>
                  <a:pt x="165" y="507"/>
                  <a:pt x="160" y="510"/>
                  <a:pt x="159" y="510"/>
                </a:cubicBezTo>
                <a:cubicBezTo>
                  <a:pt x="154" y="511"/>
                  <a:pt x="163" y="505"/>
                  <a:pt x="164" y="506"/>
                </a:cubicBezTo>
                <a:close/>
                <a:moveTo>
                  <a:pt x="163" y="443"/>
                </a:moveTo>
                <a:cubicBezTo>
                  <a:pt x="163" y="443"/>
                  <a:pt x="163" y="444"/>
                  <a:pt x="162" y="444"/>
                </a:cubicBezTo>
                <a:cubicBezTo>
                  <a:pt x="162" y="443"/>
                  <a:pt x="163" y="443"/>
                  <a:pt x="163" y="443"/>
                </a:cubicBezTo>
                <a:close/>
                <a:moveTo>
                  <a:pt x="159" y="351"/>
                </a:moveTo>
                <a:cubicBezTo>
                  <a:pt x="159" y="351"/>
                  <a:pt x="159" y="350"/>
                  <a:pt x="160" y="350"/>
                </a:cubicBezTo>
                <a:cubicBezTo>
                  <a:pt x="160" y="350"/>
                  <a:pt x="160" y="351"/>
                  <a:pt x="159" y="351"/>
                </a:cubicBezTo>
                <a:close/>
                <a:moveTo>
                  <a:pt x="160" y="259"/>
                </a:moveTo>
                <a:cubicBezTo>
                  <a:pt x="160" y="259"/>
                  <a:pt x="160" y="260"/>
                  <a:pt x="160" y="260"/>
                </a:cubicBezTo>
                <a:cubicBezTo>
                  <a:pt x="159" y="261"/>
                  <a:pt x="158" y="258"/>
                  <a:pt x="160" y="259"/>
                </a:cubicBezTo>
                <a:close/>
                <a:moveTo>
                  <a:pt x="160" y="349"/>
                </a:moveTo>
                <a:cubicBezTo>
                  <a:pt x="159" y="350"/>
                  <a:pt x="159" y="350"/>
                  <a:pt x="158" y="351"/>
                </a:cubicBezTo>
                <a:cubicBezTo>
                  <a:pt x="158" y="350"/>
                  <a:pt x="159" y="349"/>
                  <a:pt x="160" y="349"/>
                </a:cubicBezTo>
                <a:close/>
                <a:moveTo>
                  <a:pt x="159" y="352"/>
                </a:moveTo>
                <a:cubicBezTo>
                  <a:pt x="158" y="352"/>
                  <a:pt x="158" y="353"/>
                  <a:pt x="157" y="353"/>
                </a:cubicBezTo>
                <a:cubicBezTo>
                  <a:pt x="157" y="352"/>
                  <a:pt x="158" y="352"/>
                  <a:pt x="159" y="352"/>
                </a:cubicBezTo>
                <a:close/>
                <a:moveTo>
                  <a:pt x="156" y="354"/>
                </a:moveTo>
                <a:cubicBezTo>
                  <a:pt x="155" y="355"/>
                  <a:pt x="158" y="353"/>
                  <a:pt x="156" y="354"/>
                </a:cubicBezTo>
                <a:close/>
                <a:moveTo>
                  <a:pt x="157" y="415"/>
                </a:moveTo>
                <a:cubicBezTo>
                  <a:pt x="158" y="416"/>
                  <a:pt x="157" y="417"/>
                  <a:pt x="156" y="417"/>
                </a:cubicBezTo>
                <a:cubicBezTo>
                  <a:pt x="156" y="416"/>
                  <a:pt x="157" y="416"/>
                  <a:pt x="157" y="415"/>
                </a:cubicBezTo>
                <a:close/>
                <a:moveTo>
                  <a:pt x="133" y="461"/>
                </a:moveTo>
                <a:cubicBezTo>
                  <a:pt x="137" y="457"/>
                  <a:pt x="142" y="453"/>
                  <a:pt x="148" y="450"/>
                </a:cubicBezTo>
                <a:cubicBezTo>
                  <a:pt x="143" y="454"/>
                  <a:pt x="138" y="457"/>
                  <a:pt x="133" y="461"/>
                </a:cubicBezTo>
                <a:close/>
                <a:moveTo>
                  <a:pt x="138" y="463"/>
                </a:moveTo>
                <a:cubicBezTo>
                  <a:pt x="138" y="464"/>
                  <a:pt x="137" y="464"/>
                  <a:pt x="137" y="463"/>
                </a:cubicBezTo>
                <a:cubicBezTo>
                  <a:pt x="136" y="462"/>
                  <a:pt x="138" y="463"/>
                  <a:pt x="138" y="463"/>
                </a:cubicBezTo>
                <a:close/>
                <a:moveTo>
                  <a:pt x="147" y="446"/>
                </a:moveTo>
                <a:cubicBezTo>
                  <a:pt x="146" y="446"/>
                  <a:pt x="145" y="447"/>
                  <a:pt x="145" y="447"/>
                </a:cubicBezTo>
                <a:cubicBezTo>
                  <a:pt x="144" y="446"/>
                  <a:pt x="152" y="439"/>
                  <a:pt x="153" y="440"/>
                </a:cubicBezTo>
                <a:cubicBezTo>
                  <a:pt x="154" y="440"/>
                  <a:pt x="147" y="446"/>
                  <a:pt x="147" y="446"/>
                </a:cubicBezTo>
                <a:close/>
                <a:moveTo>
                  <a:pt x="148" y="401"/>
                </a:moveTo>
                <a:cubicBezTo>
                  <a:pt x="151" y="399"/>
                  <a:pt x="146" y="402"/>
                  <a:pt x="148" y="401"/>
                </a:cubicBezTo>
                <a:close/>
                <a:moveTo>
                  <a:pt x="150" y="439"/>
                </a:moveTo>
                <a:cubicBezTo>
                  <a:pt x="150" y="440"/>
                  <a:pt x="149" y="440"/>
                  <a:pt x="148" y="440"/>
                </a:cubicBezTo>
                <a:cubicBezTo>
                  <a:pt x="148" y="439"/>
                  <a:pt x="149" y="439"/>
                  <a:pt x="150" y="439"/>
                </a:cubicBezTo>
                <a:close/>
                <a:moveTo>
                  <a:pt x="151" y="379"/>
                </a:moveTo>
                <a:cubicBezTo>
                  <a:pt x="150" y="380"/>
                  <a:pt x="151" y="378"/>
                  <a:pt x="151" y="379"/>
                </a:cubicBezTo>
                <a:close/>
                <a:moveTo>
                  <a:pt x="153" y="447"/>
                </a:moveTo>
                <a:cubicBezTo>
                  <a:pt x="153" y="449"/>
                  <a:pt x="150" y="449"/>
                  <a:pt x="149" y="450"/>
                </a:cubicBezTo>
                <a:cubicBezTo>
                  <a:pt x="149" y="449"/>
                  <a:pt x="152" y="448"/>
                  <a:pt x="153" y="447"/>
                </a:cubicBezTo>
                <a:close/>
                <a:moveTo>
                  <a:pt x="156" y="472"/>
                </a:moveTo>
                <a:cubicBezTo>
                  <a:pt x="155" y="473"/>
                  <a:pt x="152" y="475"/>
                  <a:pt x="151" y="475"/>
                </a:cubicBezTo>
                <a:cubicBezTo>
                  <a:pt x="151" y="475"/>
                  <a:pt x="154" y="471"/>
                  <a:pt x="156" y="472"/>
                </a:cubicBezTo>
                <a:close/>
                <a:moveTo>
                  <a:pt x="156" y="435"/>
                </a:moveTo>
                <a:cubicBezTo>
                  <a:pt x="156" y="435"/>
                  <a:pt x="156" y="435"/>
                  <a:pt x="157" y="435"/>
                </a:cubicBezTo>
                <a:cubicBezTo>
                  <a:pt x="156" y="435"/>
                  <a:pt x="156" y="435"/>
                  <a:pt x="156" y="435"/>
                </a:cubicBezTo>
                <a:cubicBezTo>
                  <a:pt x="156" y="435"/>
                  <a:pt x="156" y="435"/>
                  <a:pt x="156" y="435"/>
                </a:cubicBezTo>
                <a:close/>
                <a:moveTo>
                  <a:pt x="155" y="447"/>
                </a:moveTo>
                <a:cubicBezTo>
                  <a:pt x="155" y="447"/>
                  <a:pt x="154" y="448"/>
                  <a:pt x="154" y="447"/>
                </a:cubicBezTo>
                <a:cubicBezTo>
                  <a:pt x="153" y="446"/>
                  <a:pt x="156" y="445"/>
                  <a:pt x="155" y="447"/>
                </a:cubicBezTo>
                <a:close/>
                <a:moveTo>
                  <a:pt x="155" y="434"/>
                </a:moveTo>
                <a:cubicBezTo>
                  <a:pt x="155" y="434"/>
                  <a:pt x="154" y="435"/>
                  <a:pt x="154" y="435"/>
                </a:cubicBezTo>
                <a:cubicBezTo>
                  <a:pt x="152" y="437"/>
                  <a:pt x="153" y="432"/>
                  <a:pt x="155" y="434"/>
                </a:cubicBezTo>
                <a:close/>
                <a:moveTo>
                  <a:pt x="152" y="391"/>
                </a:moveTo>
                <a:cubicBezTo>
                  <a:pt x="153" y="391"/>
                  <a:pt x="152" y="392"/>
                  <a:pt x="152" y="392"/>
                </a:cubicBezTo>
                <a:cubicBezTo>
                  <a:pt x="151" y="393"/>
                  <a:pt x="151" y="390"/>
                  <a:pt x="152" y="391"/>
                </a:cubicBezTo>
                <a:close/>
                <a:moveTo>
                  <a:pt x="151" y="438"/>
                </a:moveTo>
                <a:cubicBezTo>
                  <a:pt x="152" y="436"/>
                  <a:pt x="154" y="438"/>
                  <a:pt x="151" y="438"/>
                </a:cubicBezTo>
                <a:close/>
                <a:moveTo>
                  <a:pt x="151" y="253"/>
                </a:moveTo>
                <a:cubicBezTo>
                  <a:pt x="151" y="253"/>
                  <a:pt x="151" y="254"/>
                  <a:pt x="150" y="254"/>
                </a:cubicBezTo>
                <a:cubicBezTo>
                  <a:pt x="150" y="253"/>
                  <a:pt x="151" y="252"/>
                  <a:pt x="151" y="253"/>
                </a:cubicBezTo>
                <a:close/>
                <a:moveTo>
                  <a:pt x="150" y="436"/>
                </a:moveTo>
                <a:cubicBezTo>
                  <a:pt x="151" y="436"/>
                  <a:pt x="150" y="437"/>
                  <a:pt x="150" y="437"/>
                </a:cubicBezTo>
                <a:cubicBezTo>
                  <a:pt x="149" y="439"/>
                  <a:pt x="149" y="435"/>
                  <a:pt x="150" y="436"/>
                </a:cubicBezTo>
                <a:close/>
                <a:moveTo>
                  <a:pt x="149" y="322"/>
                </a:moveTo>
                <a:cubicBezTo>
                  <a:pt x="149" y="323"/>
                  <a:pt x="148" y="322"/>
                  <a:pt x="149" y="322"/>
                </a:cubicBezTo>
                <a:close/>
                <a:moveTo>
                  <a:pt x="149" y="365"/>
                </a:moveTo>
                <a:cubicBezTo>
                  <a:pt x="149" y="366"/>
                  <a:pt x="147" y="366"/>
                  <a:pt x="148" y="365"/>
                </a:cubicBezTo>
                <a:cubicBezTo>
                  <a:pt x="148" y="365"/>
                  <a:pt x="149" y="365"/>
                  <a:pt x="149" y="365"/>
                </a:cubicBezTo>
                <a:close/>
                <a:moveTo>
                  <a:pt x="147" y="197"/>
                </a:moveTo>
                <a:cubicBezTo>
                  <a:pt x="146" y="198"/>
                  <a:pt x="146" y="198"/>
                  <a:pt x="145" y="197"/>
                </a:cubicBezTo>
                <a:cubicBezTo>
                  <a:pt x="142" y="194"/>
                  <a:pt x="150" y="194"/>
                  <a:pt x="147" y="197"/>
                </a:cubicBezTo>
                <a:close/>
                <a:moveTo>
                  <a:pt x="145" y="359"/>
                </a:moveTo>
                <a:cubicBezTo>
                  <a:pt x="147" y="359"/>
                  <a:pt x="145" y="362"/>
                  <a:pt x="145" y="362"/>
                </a:cubicBezTo>
                <a:cubicBezTo>
                  <a:pt x="143" y="363"/>
                  <a:pt x="143" y="358"/>
                  <a:pt x="145" y="359"/>
                </a:cubicBezTo>
                <a:close/>
                <a:moveTo>
                  <a:pt x="145" y="402"/>
                </a:moveTo>
                <a:cubicBezTo>
                  <a:pt x="145" y="404"/>
                  <a:pt x="144" y="404"/>
                  <a:pt x="143" y="405"/>
                </a:cubicBezTo>
                <a:cubicBezTo>
                  <a:pt x="143" y="404"/>
                  <a:pt x="144" y="403"/>
                  <a:pt x="145" y="402"/>
                </a:cubicBezTo>
                <a:close/>
                <a:moveTo>
                  <a:pt x="132" y="456"/>
                </a:moveTo>
                <a:cubicBezTo>
                  <a:pt x="134" y="453"/>
                  <a:pt x="139" y="450"/>
                  <a:pt x="143" y="448"/>
                </a:cubicBezTo>
                <a:cubicBezTo>
                  <a:pt x="139" y="451"/>
                  <a:pt x="137" y="455"/>
                  <a:pt x="132" y="456"/>
                </a:cubicBezTo>
                <a:close/>
                <a:moveTo>
                  <a:pt x="131" y="395"/>
                </a:moveTo>
                <a:cubicBezTo>
                  <a:pt x="132" y="394"/>
                  <a:pt x="132" y="393"/>
                  <a:pt x="134" y="393"/>
                </a:cubicBezTo>
                <a:cubicBezTo>
                  <a:pt x="134" y="393"/>
                  <a:pt x="132" y="395"/>
                  <a:pt x="131" y="395"/>
                </a:cubicBezTo>
                <a:close/>
                <a:moveTo>
                  <a:pt x="134" y="448"/>
                </a:moveTo>
                <a:cubicBezTo>
                  <a:pt x="134" y="448"/>
                  <a:pt x="133" y="449"/>
                  <a:pt x="133" y="448"/>
                </a:cubicBezTo>
                <a:cubicBezTo>
                  <a:pt x="132" y="447"/>
                  <a:pt x="135" y="447"/>
                  <a:pt x="134" y="448"/>
                </a:cubicBezTo>
                <a:close/>
                <a:moveTo>
                  <a:pt x="132" y="422"/>
                </a:moveTo>
                <a:cubicBezTo>
                  <a:pt x="131" y="421"/>
                  <a:pt x="131" y="420"/>
                  <a:pt x="132" y="420"/>
                </a:cubicBezTo>
                <a:cubicBezTo>
                  <a:pt x="133" y="420"/>
                  <a:pt x="134" y="421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5" y="424"/>
                  <a:pt x="130" y="426"/>
                  <a:pt x="130" y="423"/>
                </a:cubicBezTo>
                <a:cubicBezTo>
                  <a:pt x="130" y="422"/>
                  <a:pt x="131" y="422"/>
                  <a:pt x="132" y="422"/>
                </a:cubicBezTo>
                <a:close/>
                <a:moveTo>
                  <a:pt x="138" y="416"/>
                </a:moveTo>
                <a:cubicBezTo>
                  <a:pt x="137" y="417"/>
                  <a:pt x="139" y="415"/>
                  <a:pt x="138" y="416"/>
                </a:cubicBezTo>
                <a:close/>
                <a:moveTo>
                  <a:pt x="139" y="433"/>
                </a:moveTo>
                <a:cubicBezTo>
                  <a:pt x="139" y="432"/>
                  <a:pt x="139" y="432"/>
                  <a:pt x="139" y="432"/>
                </a:cubicBezTo>
                <a:cubicBezTo>
                  <a:pt x="139" y="430"/>
                  <a:pt x="141" y="433"/>
                  <a:pt x="139" y="433"/>
                </a:cubicBezTo>
                <a:close/>
                <a:moveTo>
                  <a:pt x="140" y="443"/>
                </a:moveTo>
                <a:cubicBezTo>
                  <a:pt x="140" y="443"/>
                  <a:pt x="141" y="443"/>
                  <a:pt x="141" y="444"/>
                </a:cubicBezTo>
                <a:cubicBezTo>
                  <a:pt x="141" y="444"/>
                  <a:pt x="140" y="444"/>
                  <a:pt x="140" y="443"/>
                </a:cubicBezTo>
                <a:close/>
                <a:moveTo>
                  <a:pt x="142" y="387"/>
                </a:moveTo>
                <a:cubicBezTo>
                  <a:pt x="141" y="387"/>
                  <a:pt x="144" y="386"/>
                  <a:pt x="142" y="387"/>
                </a:cubicBezTo>
                <a:close/>
                <a:moveTo>
                  <a:pt x="142" y="436"/>
                </a:moveTo>
                <a:cubicBezTo>
                  <a:pt x="143" y="436"/>
                  <a:pt x="142" y="439"/>
                  <a:pt x="141" y="437"/>
                </a:cubicBezTo>
                <a:cubicBezTo>
                  <a:pt x="141" y="436"/>
                  <a:pt x="142" y="436"/>
                  <a:pt x="142" y="436"/>
                </a:cubicBezTo>
                <a:close/>
                <a:moveTo>
                  <a:pt x="142" y="387"/>
                </a:moveTo>
                <a:cubicBezTo>
                  <a:pt x="141" y="389"/>
                  <a:pt x="139" y="391"/>
                  <a:pt x="137" y="392"/>
                </a:cubicBezTo>
                <a:cubicBezTo>
                  <a:pt x="137" y="392"/>
                  <a:pt x="139" y="388"/>
                  <a:pt x="142" y="387"/>
                </a:cubicBezTo>
                <a:close/>
                <a:moveTo>
                  <a:pt x="136" y="246"/>
                </a:moveTo>
                <a:cubicBezTo>
                  <a:pt x="135" y="246"/>
                  <a:pt x="137" y="245"/>
                  <a:pt x="136" y="246"/>
                </a:cubicBezTo>
                <a:close/>
                <a:moveTo>
                  <a:pt x="134" y="301"/>
                </a:moveTo>
                <a:cubicBezTo>
                  <a:pt x="134" y="298"/>
                  <a:pt x="136" y="300"/>
                  <a:pt x="134" y="301"/>
                </a:cubicBezTo>
                <a:close/>
                <a:moveTo>
                  <a:pt x="135" y="342"/>
                </a:moveTo>
                <a:cubicBezTo>
                  <a:pt x="135" y="343"/>
                  <a:pt x="134" y="344"/>
                  <a:pt x="134" y="345"/>
                </a:cubicBezTo>
                <a:cubicBezTo>
                  <a:pt x="133" y="344"/>
                  <a:pt x="134" y="342"/>
                  <a:pt x="135" y="342"/>
                </a:cubicBezTo>
                <a:close/>
                <a:moveTo>
                  <a:pt x="129" y="351"/>
                </a:moveTo>
                <a:cubicBezTo>
                  <a:pt x="129" y="350"/>
                  <a:pt x="132" y="348"/>
                  <a:pt x="132" y="346"/>
                </a:cubicBezTo>
                <a:cubicBezTo>
                  <a:pt x="133" y="347"/>
                  <a:pt x="130" y="349"/>
                  <a:pt x="129" y="351"/>
                </a:cubicBezTo>
                <a:close/>
                <a:moveTo>
                  <a:pt x="132" y="280"/>
                </a:moveTo>
                <a:cubicBezTo>
                  <a:pt x="132" y="282"/>
                  <a:pt x="130" y="281"/>
                  <a:pt x="132" y="280"/>
                </a:cubicBezTo>
                <a:close/>
                <a:moveTo>
                  <a:pt x="129" y="305"/>
                </a:moveTo>
                <a:cubicBezTo>
                  <a:pt x="131" y="306"/>
                  <a:pt x="130" y="307"/>
                  <a:pt x="129" y="307"/>
                </a:cubicBezTo>
                <a:cubicBezTo>
                  <a:pt x="127" y="309"/>
                  <a:pt x="128" y="305"/>
                  <a:pt x="129" y="305"/>
                </a:cubicBezTo>
                <a:close/>
                <a:moveTo>
                  <a:pt x="118" y="327"/>
                </a:moveTo>
                <a:cubicBezTo>
                  <a:pt x="118" y="327"/>
                  <a:pt x="117" y="327"/>
                  <a:pt x="117" y="326"/>
                </a:cubicBezTo>
                <a:cubicBezTo>
                  <a:pt x="117" y="326"/>
                  <a:pt x="119" y="326"/>
                  <a:pt x="118" y="327"/>
                </a:cubicBezTo>
                <a:close/>
                <a:moveTo>
                  <a:pt x="118" y="336"/>
                </a:moveTo>
                <a:cubicBezTo>
                  <a:pt x="118" y="336"/>
                  <a:pt x="118" y="337"/>
                  <a:pt x="117" y="336"/>
                </a:cubicBezTo>
                <a:cubicBezTo>
                  <a:pt x="117" y="336"/>
                  <a:pt x="119" y="334"/>
                  <a:pt x="118" y="336"/>
                </a:cubicBezTo>
                <a:close/>
                <a:moveTo>
                  <a:pt x="115" y="336"/>
                </a:moveTo>
                <a:cubicBezTo>
                  <a:pt x="116" y="335"/>
                  <a:pt x="114" y="337"/>
                  <a:pt x="115" y="336"/>
                </a:cubicBezTo>
                <a:close/>
                <a:moveTo>
                  <a:pt x="115" y="386"/>
                </a:moveTo>
                <a:cubicBezTo>
                  <a:pt x="116" y="387"/>
                  <a:pt x="115" y="387"/>
                  <a:pt x="114" y="387"/>
                </a:cubicBezTo>
                <a:cubicBezTo>
                  <a:pt x="114" y="388"/>
                  <a:pt x="115" y="386"/>
                  <a:pt x="115" y="386"/>
                </a:cubicBezTo>
                <a:close/>
                <a:moveTo>
                  <a:pt x="114" y="388"/>
                </a:moveTo>
                <a:cubicBezTo>
                  <a:pt x="114" y="389"/>
                  <a:pt x="113" y="389"/>
                  <a:pt x="113" y="390"/>
                </a:cubicBezTo>
                <a:cubicBezTo>
                  <a:pt x="112" y="390"/>
                  <a:pt x="113" y="388"/>
                  <a:pt x="114" y="388"/>
                </a:cubicBezTo>
                <a:close/>
                <a:moveTo>
                  <a:pt x="111" y="394"/>
                </a:moveTo>
                <a:cubicBezTo>
                  <a:pt x="110" y="393"/>
                  <a:pt x="112" y="392"/>
                  <a:pt x="112" y="391"/>
                </a:cubicBezTo>
                <a:cubicBezTo>
                  <a:pt x="113" y="392"/>
                  <a:pt x="111" y="393"/>
                  <a:pt x="111" y="394"/>
                </a:cubicBezTo>
                <a:close/>
                <a:moveTo>
                  <a:pt x="112" y="243"/>
                </a:moveTo>
                <a:cubicBezTo>
                  <a:pt x="111" y="245"/>
                  <a:pt x="111" y="241"/>
                  <a:pt x="112" y="242"/>
                </a:cubicBezTo>
                <a:cubicBezTo>
                  <a:pt x="113" y="242"/>
                  <a:pt x="112" y="243"/>
                  <a:pt x="112" y="243"/>
                </a:cubicBezTo>
                <a:close/>
                <a:moveTo>
                  <a:pt x="115" y="433"/>
                </a:moveTo>
                <a:cubicBezTo>
                  <a:pt x="111" y="434"/>
                  <a:pt x="116" y="429"/>
                  <a:pt x="116" y="432"/>
                </a:cubicBezTo>
                <a:cubicBezTo>
                  <a:pt x="116" y="432"/>
                  <a:pt x="115" y="433"/>
                  <a:pt x="115" y="433"/>
                </a:cubicBezTo>
                <a:close/>
                <a:moveTo>
                  <a:pt x="116" y="435"/>
                </a:moveTo>
                <a:cubicBezTo>
                  <a:pt x="115" y="436"/>
                  <a:pt x="117" y="434"/>
                  <a:pt x="116" y="435"/>
                </a:cubicBezTo>
                <a:close/>
                <a:moveTo>
                  <a:pt x="113" y="417"/>
                </a:moveTo>
                <a:cubicBezTo>
                  <a:pt x="115" y="413"/>
                  <a:pt x="118" y="409"/>
                  <a:pt x="121" y="406"/>
                </a:cubicBezTo>
                <a:cubicBezTo>
                  <a:pt x="119" y="410"/>
                  <a:pt x="117" y="414"/>
                  <a:pt x="113" y="417"/>
                </a:cubicBezTo>
                <a:close/>
                <a:moveTo>
                  <a:pt x="121" y="276"/>
                </a:moveTo>
                <a:cubicBezTo>
                  <a:pt x="121" y="276"/>
                  <a:pt x="121" y="277"/>
                  <a:pt x="121" y="277"/>
                </a:cubicBezTo>
                <a:cubicBezTo>
                  <a:pt x="120" y="276"/>
                  <a:pt x="122" y="275"/>
                  <a:pt x="121" y="276"/>
                </a:cubicBezTo>
                <a:close/>
                <a:moveTo>
                  <a:pt x="122" y="193"/>
                </a:moveTo>
                <a:cubicBezTo>
                  <a:pt x="123" y="193"/>
                  <a:pt x="123" y="195"/>
                  <a:pt x="122" y="195"/>
                </a:cubicBezTo>
                <a:cubicBezTo>
                  <a:pt x="121" y="197"/>
                  <a:pt x="121" y="192"/>
                  <a:pt x="122" y="193"/>
                </a:cubicBezTo>
                <a:close/>
                <a:moveTo>
                  <a:pt x="122" y="472"/>
                </a:moveTo>
                <a:cubicBezTo>
                  <a:pt x="122" y="473"/>
                  <a:pt x="121" y="474"/>
                  <a:pt x="120" y="475"/>
                </a:cubicBezTo>
                <a:cubicBezTo>
                  <a:pt x="120" y="474"/>
                  <a:pt x="121" y="472"/>
                  <a:pt x="122" y="472"/>
                </a:cubicBezTo>
                <a:close/>
                <a:moveTo>
                  <a:pt x="120" y="461"/>
                </a:moveTo>
                <a:cubicBezTo>
                  <a:pt x="121" y="463"/>
                  <a:pt x="118" y="467"/>
                  <a:pt x="116" y="466"/>
                </a:cubicBezTo>
                <a:cubicBezTo>
                  <a:pt x="115" y="464"/>
                  <a:pt x="119" y="462"/>
                  <a:pt x="120" y="461"/>
                </a:cubicBezTo>
                <a:close/>
                <a:moveTo>
                  <a:pt x="111" y="479"/>
                </a:moveTo>
                <a:cubicBezTo>
                  <a:pt x="110" y="481"/>
                  <a:pt x="109" y="480"/>
                  <a:pt x="111" y="479"/>
                </a:cubicBezTo>
                <a:close/>
                <a:moveTo>
                  <a:pt x="110" y="496"/>
                </a:moveTo>
                <a:cubicBezTo>
                  <a:pt x="111" y="495"/>
                  <a:pt x="109" y="497"/>
                  <a:pt x="110" y="496"/>
                </a:cubicBezTo>
                <a:close/>
                <a:moveTo>
                  <a:pt x="107" y="477"/>
                </a:moveTo>
                <a:cubicBezTo>
                  <a:pt x="107" y="476"/>
                  <a:pt x="106" y="478"/>
                  <a:pt x="107" y="477"/>
                </a:cubicBezTo>
                <a:close/>
                <a:moveTo>
                  <a:pt x="109" y="509"/>
                </a:moveTo>
                <a:cubicBezTo>
                  <a:pt x="108" y="510"/>
                  <a:pt x="107" y="509"/>
                  <a:pt x="106" y="508"/>
                </a:cubicBezTo>
                <a:cubicBezTo>
                  <a:pt x="104" y="505"/>
                  <a:pt x="110" y="501"/>
                  <a:pt x="111" y="503"/>
                </a:cubicBezTo>
                <a:cubicBezTo>
                  <a:pt x="114" y="504"/>
                  <a:pt x="111" y="509"/>
                  <a:pt x="109" y="509"/>
                </a:cubicBezTo>
                <a:close/>
                <a:moveTo>
                  <a:pt x="115" y="501"/>
                </a:moveTo>
                <a:cubicBezTo>
                  <a:pt x="115" y="499"/>
                  <a:pt x="117" y="501"/>
                  <a:pt x="115" y="501"/>
                </a:cubicBezTo>
                <a:close/>
                <a:moveTo>
                  <a:pt x="115" y="498"/>
                </a:moveTo>
                <a:cubicBezTo>
                  <a:pt x="115" y="498"/>
                  <a:pt x="115" y="498"/>
                  <a:pt x="115" y="498"/>
                </a:cubicBezTo>
                <a:cubicBezTo>
                  <a:pt x="115" y="499"/>
                  <a:pt x="115" y="499"/>
                  <a:pt x="115" y="499"/>
                </a:cubicBezTo>
                <a:cubicBezTo>
                  <a:pt x="114" y="500"/>
                  <a:pt x="114" y="500"/>
                  <a:pt x="114" y="501"/>
                </a:cubicBezTo>
                <a:cubicBezTo>
                  <a:pt x="114" y="501"/>
                  <a:pt x="114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1"/>
                  <a:pt x="113" y="501"/>
                </a:cubicBezTo>
                <a:cubicBezTo>
                  <a:pt x="114" y="499"/>
                  <a:pt x="115" y="496"/>
                  <a:pt x="116" y="494"/>
                </a:cubicBezTo>
                <a:cubicBezTo>
                  <a:pt x="116" y="495"/>
                  <a:pt x="116" y="497"/>
                  <a:pt x="115" y="498"/>
                </a:cubicBezTo>
                <a:close/>
                <a:moveTo>
                  <a:pt x="115" y="482"/>
                </a:moveTo>
                <a:cubicBezTo>
                  <a:pt x="116" y="481"/>
                  <a:pt x="118" y="481"/>
                  <a:pt x="120" y="480"/>
                </a:cubicBezTo>
                <a:cubicBezTo>
                  <a:pt x="119" y="482"/>
                  <a:pt x="117" y="482"/>
                  <a:pt x="115" y="482"/>
                </a:cubicBezTo>
                <a:close/>
                <a:moveTo>
                  <a:pt x="121" y="500"/>
                </a:moveTo>
                <a:cubicBezTo>
                  <a:pt x="122" y="501"/>
                  <a:pt x="121" y="503"/>
                  <a:pt x="119" y="503"/>
                </a:cubicBezTo>
                <a:cubicBezTo>
                  <a:pt x="117" y="502"/>
                  <a:pt x="119" y="499"/>
                  <a:pt x="121" y="500"/>
                </a:cubicBezTo>
                <a:cubicBezTo>
                  <a:pt x="119" y="498"/>
                  <a:pt x="121" y="493"/>
                  <a:pt x="124" y="494"/>
                </a:cubicBezTo>
                <a:cubicBezTo>
                  <a:pt x="128" y="495"/>
                  <a:pt x="124" y="503"/>
                  <a:pt x="121" y="500"/>
                </a:cubicBezTo>
                <a:close/>
                <a:moveTo>
                  <a:pt x="123" y="425"/>
                </a:moveTo>
                <a:cubicBezTo>
                  <a:pt x="123" y="425"/>
                  <a:pt x="123" y="424"/>
                  <a:pt x="124" y="424"/>
                </a:cubicBezTo>
                <a:cubicBezTo>
                  <a:pt x="124" y="424"/>
                  <a:pt x="123" y="425"/>
                  <a:pt x="123" y="425"/>
                </a:cubicBezTo>
                <a:close/>
                <a:moveTo>
                  <a:pt x="123" y="474"/>
                </a:moveTo>
                <a:cubicBezTo>
                  <a:pt x="123" y="472"/>
                  <a:pt x="125" y="474"/>
                  <a:pt x="123" y="474"/>
                </a:cubicBezTo>
                <a:close/>
                <a:moveTo>
                  <a:pt x="123" y="471"/>
                </a:moveTo>
                <a:cubicBezTo>
                  <a:pt x="125" y="469"/>
                  <a:pt x="122" y="472"/>
                  <a:pt x="123" y="471"/>
                </a:cubicBezTo>
                <a:close/>
                <a:moveTo>
                  <a:pt x="126" y="472"/>
                </a:moveTo>
                <a:cubicBezTo>
                  <a:pt x="126" y="472"/>
                  <a:pt x="126" y="472"/>
                  <a:pt x="126" y="472"/>
                </a:cubicBezTo>
                <a:cubicBezTo>
                  <a:pt x="125" y="472"/>
                  <a:pt x="125" y="473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lose/>
                <a:moveTo>
                  <a:pt x="127" y="431"/>
                </a:moveTo>
                <a:cubicBezTo>
                  <a:pt x="127" y="431"/>
                  <a:pt x="128" y="431"/>
                  <a:pt x="127" y="432"/>
                </a:cubicBezTo>
                <a:cubicBezTo>
                  <a:pt x="127" y="433"/>
                  <a:pt x="126" y="431"/>
                  <a:pt x="127" y="431"/>
                </a:cubicBezTo>
                <a:close/>
                <a:moveTo>
                  <a:pt x="127" y="501"/>
                </a:moveTo>
                <a:cubicBezTo>
                  <a:pt x="127" y="500"/>
                  <a:pt x="127" y="500"/>
                  <a:pt x="127" y="500"/>
                </a:cubicBezTo>
                <a:cubicBezTo>
                  <a:pt x="127" y="498"/>
                  <a:pt x="129" y="501"/>
                  <a:pt x="127" y="501"/>
                </a:cubicBezTo>
                <a:close/>
                <a:moveTo>
                  <a:pt x="128" y="501"/>
                </a:moveTo>
                <a:cubicBezTo>
                  <a:pt x="127" y="502"/>
                  <a:pt x="128" y="499"/>
                  <a:pt x="129" y="500"/>
                </a:cubicBezTo>
                <a:cubicBezTo>
                  <a:pt x="130" y="501"/>
                  <a:pt x="129" y="501"/>
                  <a:pt x="128" y="501"/>
                </a:cubicBezTo>
                <a:close/>
                <a:moveTo>
                  <a:pt x="128" y="456"/>
                </a:moveTo>
                <a:cubicBezTo>
                  <a:pt x="129" y="455"/>
                  <a:pt x="127" y="457"/>
                  <a:pt x="128" y="456"/>
                </a:cubicBezTo>
                <a:close/>
                <a:moveTo>
                  <a:pt x="125" y="401"/>
                </a:moveTo>
                <a:cubicBezTo>
                  <a:pt x="125" y="401"/>
                  <a:pt x="122" y="406"/>
                  <a:pt x="123" y="403"/>
                </a:cubicBezTo>
                <a:cubicBezTo>
                  <a:pt x="123" y="401"/>
                  <a:pt x="128" y="398"/>
                  <a:pt x="130" y="396"/>
                </a:cubicBezTo>
                <a:cubicBezTo>
                  <a:pt x="129" y="398"/>
                  <a:pt x="127" y="399"/>
                  <a:pt x="125" y="401"/>
                </a:cubicBezTo>
                <a:close/>
                <a:moveTo>
                  <a:pt x="131" y="424"/>
                </a:moveTo>
                <a:cubicBezTo>
                  <a:pt x="131" y="424"/>
                  <a:pt x="131" y="425"/>
                  <a:pt x="130" y="426"/>
                </a:cubicBezTo>
                <a:cubicBezTo>
                  <a:pt x="130" y="426"/>
                  <a:pt x="130" y="424"/>
                  <a:pt x="131" y="424"/>
                </a:cubicBezTo>
                <a:close/>
                <a:moveTo>
                  <a:pt x="131" y="503"/>
                </a:moveTo>
                <a:cubicBezTo>
                  <a:pt x="129" y="502"/>
                  <a:pt x="134" y="500"/>
                  <a:pt x="132" y="503"/>
                </a:cubicBezTo>
                <a:cubicBezTo>
                  <a:pt x="132" y="503"/>
                  <a:pt x="131" y="504"/>
                  <a:pt x="131" y="503"/>
                </a:cubicBezTo>
                <a:close/>
                <a:moveTo>
                  <a:pt x="132" y="505"/>
                </a:moveTo>
                <a:cubicBezTo>
                  <a:pt x="132" y="506"/>
                  <a:pt x="133" y="504"/>
                  <a:pt x="132" y="505"/>
                </a:cubicBezTo>
                <a:close/>
                <a:moveTo>
                  <a:pt x="132" y="478"/>
                </a:moveTo>
                <a:cubicBezTo>
                  <a:pt x="130" y="480"/>
                  <a:pt x="130" y="474"/>
                  <a:pt x="132" y="475"/>
                </a:cubicBezTo>
                <a:cubicBezTo>
                  <a:pt x="134" y="476"/>
                  <a:pt x="133" y="478"/>
                  <a:pt x="132" y="478"/>
                </a:cubicBezTo>
                <a:close/>
                <a:moveTo>
                  <a:pt x="138" y="496"/>
                </a:moveTo>
                <a:cubicBezTo>
                  <a:pt x="136" y="498"/>
                  <a:pt x="135" y="493"/>
                  <a:pt x="137" y="494"/>
                </a:cubicBezTo>
                <a:cubicBezTo>
                  <a:pt x="138" y="494"/>
                  <a:pt x="138" y="496"/>
                  <a:pt x="138" y="496"/>
                </a:cubicBezTo>
                <a:close/>
                <a:moveTo>
                  <a:pt x="140" y="501"/>
                </a:moveTo>
                <a:cubicBezTo>
                  <a:pt x="141" y="500"/>
                  <a:pt x="141" y="502"/>
                  <a:pt x="140" y="501"/>
                </a:cubicBezTo>
                <a:close/>
                <a:moveTo>
                  <a:pt x="139" y="469"/>
                </a:moveTo>
                <a:cubicBezTo>
                  <a:pt x="138" y="471"/>
                  <a:pt x="136" y="474"/>
                  <a:pt x="135" y="475"/>
                </a:cubicBezTo>
                <a:cubicBezTo>
                  <a:pt x="130" y="476"/>
                  <a:pt x="139" y="468"/>
                  <a:pt x="141" y="467"/>
                </a:cubicBezTo>
                <a:cubicBezTo>
                  <a:pt x="138" y="469"/>
                  <a:pt x="141" y="465"/>
                  <a:pt x="142" y="466"/>
                </a:cubicBezTo>
                <a:cubicBezTo>
                  <a:pt x="143" y="467"/>
                  <a:pt x="140" y="469"/>
                  <a:pt x="139" y="469"/>
                </a:cubicBezTo>
                <a:close/>
                <a:moveTo>
                  <a:pt x="143" y="510"/>
                </a:moveTo>
                <a:cubicBezTo>
                  <a:pt x="142" y="510"/>
                  <a:pt x="142" y="511"/>
                  <a:pt x="142" y="511"/>
                </a:cubicBezTo>
                <a:cubicBezTo>
                  <a:pt x="143" y="510"/>
                  <a:pt x="143" y="509"/>
                  <a:pt x="143" y="510"/>
                </a:cubicBezTo>
                <a:close/>
                <a:moveTo>
                  <a:pt x="143" y="484"/>
                </a:moveTo>
                <a:cubicBezTo>
                  <a:pt x="143" y="484"/>
                  <a:pt x="144" y="483"/>
                  <a:pt x="144" y="483"/>
                </a:cubicBezTo>
                <a:cubicBezTo>
                  <a:pt x="144" y="483"/>
                  <a:pt x="144" y="484"/>
                  <a:pt x="143" y="484"/>
                </a:cubicBezTo>
                <a:close/>
                <a:moveTo>
                  <a:pt x="144" y="494"/>
                </a:moveTo>
                <a:cubicBezTo>
                  <a:pt x="144" y="493"/>
                  <a:pt x="147" y="493"/>
                  <a:pt x="147" y="494"/>
                </a:cubicBezTo>
                <a:cubicBezTo>
                  <a:pt x="147" y="495"/>
                  <a:pt x="144" y="497"/>
                  <a:pt x="144" y="494"/>
                </a:cubicBezTo>
                <a:close/>
                <a:moveTo>
                  <a:pt x="145" y="517"/>
                </a:moveTo>
                <a:cubicBezTo>
                  <a:pt x="144" y="515"/>
                  <a:pt x="148" y="516"/>
                  <a:pt x="148" y="517"/>
                </a:cubicBezTo>
                <a:cubicBezTo>
                  <a:pt x="147" y="518"/>
                  <a:pt x="145" y="519"/>
                  <a:pt x="145" y="517"/>
                </a:cubicBezTo>
                <a:close/>
                <a:moveTo>
                  <a:pt x="142" y="481"/>
                </a:moveTo>
                <a:cubicBezTo>
                  <a:pt x="144" y="479"/>
                  <a:pt x="146" y="477"/>
                  <a:pt x="149" y="476"/>
                </a:cubicBezTo>
                <a:cubicBezTo>
                  <a:pt x="147" y="478"/>
                  <a:pt x="145" y="480"/>
                  <a:pt x="142" y="481"/>
                </a:cubicBezTo>
                <a:close/>
                <a:moveTo>
                  <a:pt x="149" y="515"/>
                </a:moveTo>
                <a:cubicBezTo>
                  <a:pt x="149" y="515"/>
                  <a:pt x="147" y="515"/>
                  <a:pt x="148" y="514"/>
                </a:cubicBezTo>
                <a:cubicBezTo>
                  <a:pt x="148" y="514"/>
                  <a:pt x="150" y="515"/>
                  <a:pt x="149" y="515"/>
                </a:cubicBezTo>
                <a:close/>
                <a:moveTo>
                  <a:pt x="150" y="472"/>
                </a:moveTo>
                <a:cubicBezTo>
                  <a:pt x="149" y="472"/>
                  <a:pt x="150" y="470"/>
                  <a:pt x="150" y="470"/>
                </a:cubicBezTo>
                <a:cubicBezTo>
                  <a:pt x="151" y="471"/>
                  <a:pt x="149" y="472"/>
                  <a:pt x="150" y="472"/>
                </a:cubicBezTo>
                <a:close/>
                <a:moveTo>
                  <a:pt x="150" y="468"/>
                </a:moveTo>
                <a:cubicBezTo>
                  <a:pt x="150" y="468"/>
                  <a:pt x="150" y="468"/>
                  <a:pt x="151" y="468"/>
                </a:cubicBezTo>
                <a:cubicBezTo>
                  <a:pt x="151" y="468"/>
                  <a:pt x="151" y="467"/>
                  <a:pt x="151" y="467"/>
                </a:cubicBezTo>
                <a:cubicBezTo>
                  <a:pt x="151" y="467"/>
                  <a:pt x="151" y="467"/>
                  <a:pt x="151" y="467"/>
                </a:cubicBezTo>
                <a:cubicBezTo>
                  <a:pt x="151" y="468"/>
                  <a:pt x="151" y="468"/>
                  <a:pt x="151" y="468"/>
                </a:cubicBezTo>
                <a:cubicBezTo>
                  <a:pt x="150" y="468"/>
                  <a:pt x="150" y="468"/>
                  <a:pt x="150" y="468"/>
                </a:cubicBezTo>
                <a:close/>
                <a:moveTo>
                  <a:pt x="152" y="551"/>
                </a:moveTo>
                <a:cubicBezTo>
                  <a:pt x="151" y="551"/>
                  <a:pt x="151" y="551"/>
                  <a:pt x="151" y="551"/>
                </a:cubicBezTo>
                <a:cubicBezTo>
                  <a:pt x="150" y="550"/>
                  <a:pt x="153" y="549"/>
                  <a:pt x="152" y="551"/>
                </a:cubicBezTo>
                <a:close/>
                <a:moveTo>
                  <a:pt x="152" y="540"/>
                </a:moveTo>
                <a:cubicBezTo>
                  <a:pt x="150" y="541"/>
                  <a:pt x="150" y="536"/>
                  <a:pt x="153" y="537"/>
                </a:cubicBezTo>
                <a:cubicBezTo>
                  <a:pt x="154" y="537"/>
                  <a:pt x="153" y="539"/>
                  <a:pt x="152" y="540"/>
                </a:cubicBezTo>
                <a:close/>
                <a:moveTo>
                  <a:pt x="154" y="484"/>
                </a:moveTo>
                <a:cubicBezTo>
                  <a:pt x="153" y="483"/>
                  <a:pt x="155" y="483"/>
                  <a:pt x="155" y="484"/>
                </a:cubicBezTo>
                <a:cubicBezTo>
                  <a:pt x="155" y="484"/>
                  <a:pt x="154" y="485"/>
                  <a:pt x="154" y="484"/>
                </a:cubicBezTo>
                <a:close/>
                <a:moveTo>
                  <a:pt x="158" y="546"/>
                </a:moveTo>
                <a:cubicBezTo>
                  <a:pt x="158" y="546"/>
                  <a:pt x="158" y="547"/>
                  <a:pt x="158" y="547"/>
                </a:cubicBezTo>
                <a:cubicBezTo>
                  <a:pt x="158" y="547"/>
                  <a:pt x="158" y="547"/>
                  <a:pt x="158" y="547"/>
                </a:cubicBezTo>
                <a:cubicBezTo>
                  <a:pt x="157" y="547"/>
                  <a:pt x="155" y="548"/>
                  <a:pt x="154" y="548"/>
                </a:cubicBezTo>
                <a:cubicBezTo>
                  <a:pt x="155" y="546"/>
                  <a:pt x="158" y="546"/>
                  <a:pt x="160" y="545"/>
                </a:cubicBezTo>
                <a:cubicBezTo>
                  <a:pt x="160" y="545"/>
                  <a:pt x="159" y="546"/>
                  <a:pt x="158" y="546"/>
                </a:cubicBezTo>
                <a:close/>
                <a:moveTo>
                  <a:pt x="155" y="544"/>
                </a:moveTo>
                <a:cubicBezTo>
                  <a:pt x="155" y="544"/>
                  <a:pt x="156" y="543"/>
                  <a:pt x="156" y="544"/>
                </a:cubicBezTo>
                <a:cubicBezTo>
                  <a:pt x="156" y="544"/>
                  <a:pt x="155" y="546"/>
                  <a:pt x="155" y="544"/>
                </a:cubicBezTo>
                <a:close/>
                <a:moveTo>
                  <a:pt x="160" y="521"/>
                </a:moveTo>
                <a:cubicBezTo>
                  <a:pt x="151" y="525"/>
                  <a:pt x="154" y="511"/>
                  <a:pt x="161" y="512"/>
                </a:cubicBezTo>
                <a:cubicBezTo>
                  <a:pt x="165" y="513"/>
                  <a:pt x="162" y="520"/>
                  <a:pt x="160" y="521"/>
                </a:cubicBezTo>
                <a:close/>
                <a:moveTo>
                  <a:pt x="162" y="544"/>
                </a:moveTo>
                <a:cubicBezTo>
                  <a:pt x="162" y="545"/>
                  <a:pt x="161" y="545"/>
                  <a:pt x="161" y="545"/>
                </a:cubicBezTo>
                <a:cubicBezTo>
                  <a:pt x="160" y="544"/>
                  <a:pt x="165" y="543"/>
                  <a:pt x="162" y="544"/>
                </a:cubicBezTo>
                <a:close/>
                <a:moveTo>
                  <a:pt x="168" y="525"/>
                </a:moveTo>
                <a:cubicBezTo>
                  <a:pt x="168" y="525"/>
                  <a:pt x="169" y="525"/>
                  <a:pt x="169" y="525"/>
                </a:cubicBezTo>
                <a:cubicBezTo>
                  <a:pt x="169" y="526"/>
                  <a:pt x="168" y="526"/>
                  <a:pt x="168" y="525"/>
                </a:cubicBezTo>
                <a:close/>
                <a:moveTo>
                  <a:pt x="170" y="537"/>
                </a:moveTo>
                <a:cubicBezTo>
                  <a:pt x="168" y="538"/>
                  <a:pt x="168" y="535"/>
                  <a:pt x="170" y="535"/>
                </a:cubicBezTo>
                <a:cubicBezTo>
                  <a:pt x="171" y="536"/>
                  <a:pt x="170" y="536"/>
                  <a:pt x="170" y="537"/>
                </a:cubicBezTo>
                <a:close/>
                <a:moveTo>
                  <a:pt x="172" y="521"/>
                </a:moveTo>
                <a:cubicBezTo>
                  <a:pt x="170" y="522"/>
                  <a:pt x="165" y="524"/>
                  <a:pt x="161" y="525"/>
                </a:cubicBezTo>
                <a:cubicBezTo>
                  <a:pt x="164" y="523"/>
                  <a:pt x="170" y="520"/>
                  <a:pt x="173" y="519"/>
                </a:cubicBezTo>
                <a:cubicBezTo>
                  <a:pt x="172" y="519"/>
                  <a:pt x="175" y="519"/>
                  <a:pt x="175" y="519"/>
                </a:cubicBezTo>
                <a:cubicBezTo>
                  <a:pt x="175" y="520"/>
                  <a:pt x="173" y="520"/>
                  <a:pt x="172" y="521"/>
                </a:cubicBezTo>
                <a:close/>
                <a:moveTo>
                  <a:pt x="176" y="546"/>
                </a:moveTo>
                <a:cubicBezTo>
                  <a:pt x="175" y="547"/>
                  <a:pt x="175" y="547"/>
                  <a:pt x="175" y="546"/>
                </a:cubicBezTo>
                <a:cubicBezTo>
                  <a:pt x="174" y="545"/>
                  <a:pt x="177" y="545"/>
                  <a:pt x="176" y="546"/>
                </a:cubicBezTo>
                <a:close/>
                <a:moveTo>
                  <a:pt x="174" y="497"/>
                </a:moveTo>
                <a:cubicBezTo>
                  <a:pt x="174" y="496"/>
                  <a:pt x="176" y="497"/>
                  <a:pt x="176" y="497"/>
                </a:cubicBezTo>
                <a:cubicBezTo>
                  <a:pt x="176" y="498"/>
                  <a:pt x="174" y="499"/>
                  <a:pt x="174" y="497"/>
                </a:cubicBezTo>
                <a:close/>
                <a:moveTo>
                  <a:pt x="176" y="431"/>
                </a:moveTo>
                <a:cubicBezTo>
                  <a:pt x="176" y="431"/>
                  <a:pt x="176" y="431"/>
                  <a:pt x="176" y="431"/>
                </a:cubicBezTo>
                <a:cubicBezTo>
                  <a:pt x="175" y="433"/>
                  <a:pt x="176" y="429"/>
                  <a:pt x="176" y="431"/>
                </a:cubicBezTo>
                <a:close/>
                <a:moveTo>
                  <a:pt x="176" y="487"/>
                </a:moveTo>
                <a:cubicBezTo>
                  <a:pt x="176" y="485"/>
                  <a:pt x="181" y="484"/>
                  <a:pt x="181" y="486"/>
                </a:cubicBezTo>
                <a:cubicBezTo>
                  <a:pt x="182" y="489"/>
                  <a:pt x="176" y="491"/>
                  <a:pt x="176" y="487"/>
                </a:cubicBezTo>
                <a:close/>
                <a:moveTo>
                  <a:pt x="180" y="543"/>
                </a:moveTo>
                <a:cubicBezTo>
                  <a:pt x="180" y="543"/>
                  <a:pt x="181" y="542"/>
                  <a:pt x="182" y="543"/>
                </a:cubicBezTo>
                <a:cubicBezTo>
                  <a:pt x="182" y="544"/>
                  <a:pt x="180" y="544"/>
                  <a:pt x="180" y="543"/>
                </a:cubicBezTo>
                <a:close/>
                <a:moveTo>
                  <a:pt x="182" y="538"/>
                </a:moveTo>
                <a:cubicBezTo>
                  <a:pt x="181" y="539"/>
                  <a:pt x="182" y="536"/>
                  <a:pt x="183" y="537"/>
                </a:cubicBezTo>
                <a:cubicBezTo>
                  <a:pt x="183" y="537"/>
                  <a:pt x="183" y="538"/>
                  <a:pt x="182" y="538"/>
                </a:cubicBezTo>
                <a:close/>
                <a:moveTo>
                  <a:pt x="183" y="485"/>
                </a:moveTo>
                <a:cubicBezTo>
                  <a:pt x="183" y="484"/>
                  <a:pt x="181" y="483"/>
                  <a:pt x="181" y="482"/>
                </a:cubicBezTo>
                <a:cubicBezTo>
                  <a:pt x="182" y="480"/>
                  <a:pt x="183" y="482"/>
                  <a:pt x="184" y="481"/>
                </a:cubicBezTo>
                <a:cubicBezTo>
                  <a:pt x="186" y="479"/>
                  <a:pt x="186" y="475"/>
                  <a:pt x="189" y="472"/>
                </a:cubicBezTo>
                <a:cubicBezTo>
                  <a:pt x="188" y="476"/>
                  <a:pt x="185" y="481"/>
                  <a:pt x="183" y="485"/>
                </a:cubicBezTo>
                <a:close/>
                <a:moveTo>
                  <a:pt x="186" y="544"/>
                </a:moveTo>
                <a:cubicBezTo>
                  <a:pt x="184" y="546"/>
                  <a:pt x="184" y="543"/>
                  <a:pt x="186" y="544"/>
                </a:cubicBezTo>
                <a:close/>
                <a:moveTo>
                  <a:pt x="185" y="507"/>
                </a:moveTo>
                <a:cubicBezTo>
                  <a:pt x="183" y="504"/>
                  <a:pt x="190" y="504"/>
                  <a:pt x="187" y="507"/>
                </a:cubicBezTo>
                <a:cubicBezTo>
                  <a:pt x="187" y="507"/>
                  <a:pt x="186" y="507"/>
                  <a:pt x="185" y="507"/>
                </a:cubicBezTo>
                <a:close/>
                <a:moveTo>
                  <a:pt x="189" y="542"/>
                </a:moveTo>
                <a:cubicBezTo>
                  <a:pt x="189" y="542"/>
                  <a:pt x="190" y="541"/>
                  <a:pt x="190" y="541"/>
                </a:cubicBezTo>
                <a:cubicBezTo>
                  <a:pt x="191" y="541"/>
                  <a:pt x="190" y="541"/>
                  <a:pt x="189" y="542"/>
                </a:cubicBezTo>
                <a:close/>
                <a:moveTo>
                  <a:pt x="193" y="537"/>
                </a:moveTo>
                <a:cubicBezTo>
                  <a:pt x="193" y="537"/>
                  <a:pt x="193" y="538"/>
                  <a:pt x="193" y="538"/>
                </a:cubicBezTo>
                <a:cubicBezTo>
                  <a:pt x="191" y="539"/>
                  <a:pt x="193" y="535"/>
                  <a:pt x="193" y="537"/>
                </a:cubicBezTo>
                <a:close/>
                <a:moveTo>
                  <a:pt x="188" y="542"/>
                </a:moveTo>
                <a:cubicBezTo>
                  <a:pt x="188" y="540"/>
                  <a:pt x="191" y="536"/>
                  <a:pt x="193" y="535"/>
                </a:cubicBezTo>
                <a:cubicBezTo>
                  <a:pt x="191" y="537"/>
                  <a:pt x="190" y="540"/>
                  <a:pt x="188" y="542"/>
                </a:cubicBezTo>
                <a:close/>
                <a:moveTo>
                  <a:pt x="190" y="499"/>
                </a:moveTo>
                <a:cubicBezTo>
                  <a:pt x="191" y="498"/>
                  <a:pt x="192" y="497"/>
                  <a:pt x="194" y="497"/>
                </a:cubicBezTo>
                <a:cubicBezTo>
                  <a:pt x="193" y="498"/>
                  <a:pt x="192" y="499"/>
                  <a:pt x="190" y="499"/>
                </a:cubicBezTo>
                <a:close/>
                <a:moveTo>
                  <a:pt x="194" y="533"/>
                </a:moveTo>
                <a:cubicBezTo>
                  <a:pt x="193" y="533"/>
                  <a:pt x="195" y="531"/>
                  <a:pt x="195" y="531"/>
                </a:cubicBezTo>
                <a:cubicBezTo>
                  <a:pt x="196" y="531"/>
                  <a:pt x="194" y="533"/>
                  <a:pt x="194" y="533"/>
                </a:cubicBezTo>
                <a:close/>
                <a:moveTo>
                  <a:pt x="194" y="497"/>
                </a:moveTo>
                <a:cubicBezTo>
                  <a:pt x="194" y="497"/>
                  <a:pt x="194" y="497"/>
                  <a:pt x="194" y="497"/>
                </a:cubicBezTo>
                <a:close/>
                <a:moveTo>
                  <a:pt x="195" y="497"/>
                </a:move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7"/>
                </a:cubicBezTo>
                <a:close/>
                <a:moveTo>
                  <a:pt x="189" y="398"/>
                </a:moveTo>
                <a:cubicBezTo>
                  <a:pt x="192" y="394"/>
                  <a:pt x="196" y="392"/>
                  <a:pt x="201" y="389"/>
                </a:cubicBezTo>
                <a:cubicBezTo>
                  <a:pt x="198" y="392"/>
                  <a:pt x="192" y="395"/>
                  <a:pt x="189" y="398"/>
                </a:cubicBezTo>
                <a:close/>
                <a:moveTo>
                  <a:pt x="196" y="530"/>
                </a:moveTo>
                <a:cubicBezTo>
                  <a:pt x="196" y="531"/>
                  <a:pt x="195" y="529"/>
                  <a:pt x="196" y="530"/>
                </a:cubicBezTo>
                <a:close/>
                <a:moveTo>
                  <a:pt x="198" y="514"/>
                </a:moveTo>
                <a:cubicBezTo>
                  <a:pt x="198" y="514"/>
                  <a:pt x="198" y="515"/>
                  <a:pt x="197" y="515"/>
                </a:cubicBezTo>
                <a:cubicBezTo>
                  <a:pt x="196" y="516"/>
                  <a:pt x="197" y="513"/>
                  <a:pt x="198" y="514"/>
                </a:cubicBezTo>
                <a:close/>
                <a:moveTo>
                  <a:pt x="198" y="558"/>
                </a:moveTo>
                <a:cubicBezTo>
                  <a:pt x="198" y="556"/>
                  <a:pt x="204" y="555"/>
                  <a:pt x="204" y="558"/>
                </a:cubicBezTo>
                <a:cubicBezTo>
                  <a:pt x="205" y="561"/>
                  <a:pt x="197" y="562"/>
                  <a:pt x="198" y="558"/>
                </a:cubicBezTo>
                <a:close/>
                <a:moveTo>
                  <a:pt x="204" y="554"/>
                </a:moveTo>
                <a:cubicBezTo>
                  <a:pt x="205" y="554"/>
                  <a:pt x="206" y="553"/>
                  <a:pt x="207" y="553"/>
                </a:cubicBezTo>
                <a:cubicBezTo>
                  <a:pt x="207" y="554"/>
                  <a:pt x="204" y="555"/>
                  <a:pt x="204" y="554"/>
                </a:cubicBezTo>
                <a:close/>
                <a:moveTo>
                  <a:pt x="203" y="542"/>
                </a:moveTo>
                <a:cubicBezTo>
                  <a:pt x="200" y="539"/>
                  <a:pt x="203" y="534"/>
                  <a:pt x="205" y="533"/>
                </a:cubicBezTo>
                <a:cubicBezTo>
                  <a:pt x="207" y="532"/>
                  <a:pt x="210" y="533"/>
                  <a:pt x="211" y="532"/>
                </a:cubicBezTo>
                <a:cubicBezTo>
                  <a:pt x="215" y="532"/>
                  <a:pt x="213" y="532"/>
                  <a:pt x="215" y="534"/>
                </a:cubicBezTo>
                <a:cubicBezTo>
                  <a:pt x="217" y="537"/>
                  <a:pt x="216" y="541"/>
                  <a:pt x="213" y="540"/>
                </a:cubicBezTo>
                <a:cubicBezTo>
                  <a:pt x="214" y="535"/>
                  <a:pt x="211" y="542"/>
                  <a:pt x="210" y="543"/>
                </a:cubicBezTo>
                <a:cubicBezTo>
                  <a:pt x="209" y="543"/>
                  <a:pt x="204" y="543"/>
                  <a:pt x="203" y="542"/>
                </a:cubicBezTo>
                <a:close/>
                <a:moveTo>
                  <a:pt x="213" y="545"/>
                </a:moveTo>
                <a:cubicBezTo>
                  <a:pt x="213" y="544"/>
                  <a:pt x="216" y="545"/>
                  <a:pt x="215" y="546"/>
                </a:cubicBezTo>
                <a:cubicBezTo>
                  <a:pt x="215" y="546"/>
                  <a:pt x="214" y="546"/>
                  <a:pt x="213" y="545"/>
                </a:cubicBezTo>
                <a:close/>
                <a:moveTo>
                  <a:pt x="215" y="609"/>
                </a:moveTo>
                <a:cubicBezTo>
                  <a:pt x="215" y="609"/>
                  <a:pt x="215" y="609"/>
                  <a:pt x="215" y="609"/>
                </a:cubicBezTo>
                <a:cubicBezTo>
                  <a:pt x="214" y="607"/>
                  <a:pt x="217" y="611"/>
                  <a:pt x="215" y="609"/>
                </a:cubicBezTo>
                <a:close/>
                <a:moveTo>
                  <a:pt x="214" y="557"/>
                </a:moveTo>
                <a:cubicBezTo>
                  <a:pt x="214" y="556"/>
                  <a:pt x="216" y="555"/>
                  <a:pt x="217" y="556"/>
                </a:cubicBezTo>
                <a:cubicBezTo>
                  <a:pt x="217" y="558"/>
                  <a:pt x="214" y="557"/>
                  <a:pt x="214" y="557"/>
                </a:cubicBezTo>
                <a:close/>
                <a:moveTo>
                  <a:pt x="209" y="544"/>
                </a:moveTo>
                <a:cubicBezTo>
                  <a:pt x="210" y="544"/>
                  <a:pt x="217" y="540"/>
                  <a:pt x="217" y="542"/>
                </a:cubicBezTo>
                <a:cubicBezTo>
                  <a:pt x="217" y="543"/>
                  <a:pt x="211" y="545"/>
                  <a:pt x="209" y="544"/>
                </a:cubicBezTo>
                <a:close/>
                <a:moveTo>
                  <a:pt x="216" y="527"/>
                </a:moveTo>
                <a:cubicBezTo>
                  <a:pt x="216" y="526"/>
                  <a:pt x="216" y="526"/>
                  <a:pt x="216" y="526"/>
                </a:cubicBezTo>
                <a:cubicBezTo>
                  <a:pt x="217" y="525"/>
                  <a:pt x="217" y="527"/>
                  <a:pt x="216" y="527"/>
                </a:cubicBezTo>
                <a:close/>
                <a:moveTo>
                  <a:pt x="217" y="615"/>
                </a:moveTo>
                <a:cubicBezTo>
                  <a:pt x="216" y="614"/>
                  <a:pt x="218" y="613"/>
                  <a:pt x="218" y="614"/>
                </a:cubicBezTo>
                <a:cubicBezTo>
                  <a:pt x="218" y="614"/>
                  <a:pt x="217" y="614"/>
                  <a:pt x="217" y="615"/>
                </a:cubicBezTo>
                <a:close/>
                <a:moveTo>
                  <a:pt x="219" y="542"/>
                </a:moveTo>
                <a:cubicBezTo>
                  <a:pt x="216" y="544"/>
                  <a:pt x="217" y="538"/>
                  <a:pt x="219" y="539"/>
                </a:cubicBezTo>
                <a:cubicBezTo>
                  <a:pt x="221" y="540"/>
                  <a:pt x="219" y="542"/>
                  <a:pt x="219" y="542"/>
                </a:cubicBezTo>
                <a:close/>
                <a:moveTo>
                  <a:pt x="219" y="567"/>
                </a:moveTo>
                <a:cubicBezTo>
                  <a:pt x="219" y="566"/>
                  <a:pt x="220" y="566"/>
                  <a:pt x="221" y="566"/>
                </a:cubicBezTo>
                <a:cubicBezTo>
                  <a:pt x="220" y="567"/>
                  <a:pt x="220" y="567"/>
                  <a:pt x="219" y="567"/>
                </a:cubicBezTo>
                <a:close/>
                <a:moveTo>
                  <a:pt x="222" y="589"/>
                </a:moveTo>
                <a:cubicBezTo>
                  <a:pt x="222" y="589"/>
                  <a:pt x="221" y="589"/>
                  <a:pt x="220" y="589"/>
                </a:cubicBezTo>
                <a:cubicBezTo>
                  <a:pt x="220" y="589"/>
                  <a:pt x="222" y="588"/>
                  <a:pt x="222" y="589"/>
                </a:cubicBezTo>
                <a:close/>
                <a:moveTo>
                  <a:pt x="221" y="615"/>
                </a:moveTo>
                <a:cubicBezTo>
                  <a:pt x="221" y="614"/>
                  <a:pt x="222" y="614"/>
                  <a:pt x="223" y="614"/>
                </a:cubicBezTo>
                <a:cubicBezTo>
                  <a:pt x="222" y="615"/>
                  <a:pt x="221" y="614"/>
                  <a:pt x="221" y="615"/>
                </a:cubicBezTo>
                <a:close/>
                <a:moveTo>
                  <a:pt x="223" y="565"/>
                </a:moveTo>
                <a:cubicBezTo>
                  <a:pt x="223" y="565"/>
                  <a:pt x="223" y="565"/>
                  <a:pt x="223" y="566"/>
                </a:cubicBezTo>
                <a:cubicBezTo>
                  <a:pt x="223" y="566"/>
                  <a:pt x="223" y="566"/>
                  <a:pt x="223" y="566"/>
                </a:cubicBezTo>
                <a:cubicBezTo>
                  <a:pt x="223" y="567"/>
                  <a:pt x="223" y="566"/>
                  <a:pt x="223" y="566"/>
                </a:cubicBezTo>
                <a:cubicBezTo>
                  <a:pt x="223" y="565"/>
                  <a:pt x="223" y="565"/>
                  <a:pt x="223" y="565"/>
                </a:cubicBezTo>
                <a:close/>
                <a:moveTo>
                  <a:pt x="223" y="571"/>
                </a:moveTo>
                <a:cubicBezTo>
                  <a:pt x="223" y="569"/>
                  <a:pt x="227" y="570"/>
                  <a:pt x="226" y="571"/>
                </a:cubicBezTo>
                <a:cubicBezTo>
                  <a:pt x="226" y="572"/>
                  <a:pt x="223" y="572"/>
                  <a:pt x="223" y="571"/>
                </a:cubicBezTo>
                <a:close/>
                <a:moveTo>
                  <a:pt x="226" y="582"/>
                </a:moveTo>
                <a:cubicBezTo>
                  <a:pt x="226" y="581"/>
                  <a:pt x="226" y="583"/>
                  <a:pt x="226" y="582"/>
                </a:cubicBezTo>
                <a:close/>
                <a:moveTo>
                  <a:pt x="227" y="608"/>
                </a:moveTo>
                <a:cubicBezTo>
                  <a:pt x="227" y="608"/>
                  <a:pt x="225" y="608"/>
                  <a:pt x="224" y="607"/>
                </a:cubicBezTo>
                <a:cubicBezTo>
                  <a:pt x="224" y="606"/>
                  <a:pt x="228" y="607"/>
                  <a:pt x="227" y="608"/>
                </a:cubicBezTo>
                <a:close/>
                <a:moveTo>
                  <a:pt x="226" y="578"/>
                </a:moveTo>
                <a:cubicBezTo>
                  <a:pt x="226" y="578"/>
                  <a:pt x="227" y="577"/>
                  <a:pt x="227" y="578"/>
                </a:cubicBezTo>
                <a:cubicBezTo>
                  <a:pt x="227" y="578"/>
                  <a:pt x="226" y="578"/>
                  <a:pt x="226" y="578"/>
                </a:cubicBezTo>
                <a:close/>
                <a:moveTo>
                  <a:pt x="236" y="538"/>
                </a:moveTo>
                <a:cubicBezTo>
                  <a:pt x="237" y="537"/>
                  <a:pt x="238" y="536"/>
                  <a:pt x="239" y="537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40" y="538"/>
                  <a:pt x="239" y="539"/>
                  <a:pt x="239" y="539"/>
                </a:cubicBezTo>
                <a:cubicBezTo>
                  <a:pt x="238" y="540"/>
                  <a:pt x="237" y="539"/>
                  <a:pt x="237" y="539"/>
                </a:cubicBezTo>
                <a:cubicBezTo>
                  <a:pt x="236" y="539"/>
                  <a:pt x="236" y="538"/>
                  <a:pt x="235" y="539"/>
                </a:cubicBezTo>
                <a:cubicBezTo>
                  <a:pt x="234" y="539"/>
                  <a:pt x="228" y="544"/>
                  <a:pt x="227" y="543"/>
                </a:cubicBezTo>
                <a:cubicBezTo>
                  <a:pt x="226" y="541"/>
                  <a:pt x="235" y="538"/>
                  <a:pt x="236" y="538"/>
                </a:cubicBezTo>
                <a:close/>
                <a:moveTo>
                  <a:pt x="235" y="592"/>
                </a:moveTo>
                <a:cubicBezTo>
                  <a:pt x="235" y="592"/>
                  <a:pt x="234" y="593"/>
                  <a:pt x="234" y="592"/>
                </a:cubicBezTo>
                <a:cubicBezTo>
                  <a:pt x="233" y="592"/>
                  <a:pt x="235" y="591"/>
                  <a:pt x="235" y="592"/>
                </a:cubicBezTo>
                <a:close/>
                <a:moveTo>
                  <a:pt x="233" y="585"/>
                </a:moveTo>
                <a:cubicBezTo>
                  <a:pt x="233" y="585"/>
                  <a:pt x="234" y="583"/>
                  <a:pt x="235" y="584"/>
                </a:cubicBezTo>
                <a:cubicBezTo>
                  <a:pt x="235" y="585"/>
                  <a:pt x="233" y="586"/>
                  <a:pt x="233" y="585"/>
                </a:cubicBezTo>
                <a:close/>
                <a:moveTo>
                  <a:pt x="228" y="573"/>
                </a:moveTo>
                <a:cubicBezTo>
                  <a:pt x="228" y="571"/>
                  <a:pt x="230" y="572"/>
                  <a:pt x="228" y="573"/>
                </a:cubicBezTo>
                <a:close/>
                <a:moveTo>
                  <a:pt x="229" y="580"/>
                </a:moveTo>
                <a:cubicBezTo>
                  <a:pt x="229" y="581"/>
                  <a:pt x="228" y="581"/>
                  <a:pt x="228" y="581"/>
                </a:cubicBezTo>
                <a:cubicBezTo>
                  <a:pt x="227" y="579"/>
                  <a:pt x="230" y="579"/>
                  <a:pt x="229" y="580"/>
                </a:cubicBezTo>
                <a:close/>
                <a:moveTo>
                  <a:pt x="231" y="599"/>
                </a:moveTo>
                <a:cubicBezTo>
                  <a:pt x="231" y="599"/>
                  <a:pt x="233" y="598"/>
                  <a:pt x="233" y="599"/>
                </a:cubicBezTo>
                <a:cubicBezTo>
                  <a:pt x="233" y="600"/>
                  <a:pt x="231" y="601"/>
                  <a:pt x="231" y="599"/>
                </a:cubicBezTo>
                <a:close/>
                <a:moveTo>
                  <a:pt x="236" y="624"/>
                </a:moveTo>
                <a:cubicBezTo>
                  <a:pt x="236" y="624"/>
                  <a:pt x="237" y="623"/>
                  <a:pt x="237" y="623"/>
                </a:cubicBezTo>
                <a:cubicBezTo>
                  <a:pt x="237" y="623"/>
                  <a:pt x="237" y="624"/>
                  <a:pt x="236" y="624"/>
                </a:cubicBezTo>
                <a:close/>
                <a:moveTo>
                  <a:pt x="232" y="618"/>
                </a:moveTo>
                <a:cubicBezTo>
                  <a:pt x="233" y="616"/>
                  <a:pt x="237" y="616"/>
                  <a:pt x="239" y="615"/>
                </a:cubicBezTo>
                <a:cubicBezTo>
                  <a:pt x="237" y="617"/>
                  <a:pt x="234" y="617"/>
                  <a:pt x="232" y="618"/>
                </a:cubicBezTo>
                <a:close/>
                <a:moveTo>
                  <a:pt x="238" y="665"/>
                </a:moveTo>
                <a:cubicBezTo>
                  <a:pt x="238" y="664"/>
                  <a:pt x="239" y="665"/>
                  <a:pt x="240" y="665"/>
                </a:cubicBezTo>
                <a:cubicBezTo>
                  <a:pt x="240" y="666"/>
                  <a:pt x="239" y="665"/>
                  <a:pt x="238" y="665"/>
                </a:cubicBezTo>
                <a:close/>
                <a:moveTo>
                  <a:pt x="240" y="664"/>
                </a:moveTo>
                <a:cubicBezTo>
                  <a:pt x="240" y="664"/>
                  <a:pt x="239" y="663"/>
                  <a:pt x="239" y="663"/>
                </a:cubicBezTo>
                <a:cubicBezTo>
                  <a:pt x="239" y="662"/>
                  <a:pt x="241" y="663"/>
                  <a:pt x="240" y="664"/>
                </a:cubicBezTo>
                <a:close/>
                <a:moveTo>
                  <a:pt x="251" y="679"/>
                </a:moveTo>
                <a:cubicBezTo>
                  <a:pt x="249" y="681"/>
                  <a:pt x="247" y="678"/>
                  <a:pt x="244" y="678"/>
                </a:cubicBezTo>
                <a:cubicBezTo>
                  <a:pt x="242" y="678"/>
                  <a:pt x="238" y="679"/>
                  <a:pt x="237" y="677"/>
                </a:cubicBezTo>
                <a:cubicBezTo>
                  <a:pt x="237" y="676"/>
                  <a:pt x="243" y="677"/>
                  <a:pt x="243" y="677"/>
                </a:cubicBezTo>
                <a:cubicBezTo>
                  <a:pt x="243" y="676"/>
                  <a:pt x="241" y="672"/>
                  <a:pt x="241" y="672"/>
                </a:cubicBezTo>
                <a:cubicBezTo>
                  <a:pt x="240" y="664"/>
                  <a:pt x="252" y="669"/>
                  <a:pt x="255" y="671"/>
                </a:cubicBezTo>
                <a:cubicBezTo>
                  <a:pt x="259" y="674"/>
                  <a:pt x="250" y="671"/>
                  <a:pt x="253" y="676"/>
                </a:cubicBezTo>
                <a:cubicBezTo>
                  <a:pt x="250" y="674"/>
                  <a:pt x="251" y="679"/>
                  <a:pt x="251" y="679"/>
                </a:cubicBezTo>
                <a:close/>
                <a:moveTo>
                  <a:pt x="254" y="687"/>
                </a:moveTo>
                <a:cubicBezTo>
                  <a:pt x="254" y="686"/>
                  <a:pt x="254" y="685"/>
                  <a:pt x="255" y="686"/>
                </a:cubicBezTo>
                <a:cubicBezTo>
                  <a:pt x="257" y="686"/>
                  <a:pt x="254" y="689"/>
                  <a:pt x="254" y="687"/>
                </a:cubicBezTo>
                <a:close/>
                <a:moveTo>
                  <a:pt x="254" y="690"/>
                </a:moveTo>
                <a:cubicBezTo>
                  <a:pt x="255" y="689"/>
                  <a:pt x="256" y="689"/>
                  <a:pt x="258" y="689"/>
                </a:cubicBezTo>
                <a:cubicBezTo>
                  <a:pt x="257" y="690"/>
                  <a:pt x="255" y="690"/>
                  <a:pt x="254" y="690"/>
                </a:cubicBezTo>
                <a:close/>
                <a:moveTo>
                  <a:pt x="257" y="690"/>
                </a:moveTo>
                <a:cubicBezTo>
                  <a:pt x="257" y="689"/>
                  <a:pt x="258" y="689"/>
                  <a:pt x="258" y="690"/>
                </a:cubicBezTo>
                <a:cubicBezTo>
                  <a:pt x="258" y="689"/>
                  <a:pt x="258" y="691"/>
                  <a:pt x="257" y="690"/>
                </a:cubicBezTo>
                <a:close/>
                <a:moveTo>
                  <a:pt x="259" y="689"/>
                </a:moveTo>
                <a:cubicBezTo>
                  <a:pt x="258" y="689"/>
                  <a:pt x="261" y="689"/>
                  <a:pt x="259" y="689"/>
                </a:cubicBezTo>
                <a:close/>
                <a:moveTo>
                  <a:pt x="260" y="660"/>
                </a:moveTo>
                <a:cubicBezTo>
                  <a:pt x="259" y="660"/>
                  <a:pt x="259" y="659"/>
                  <a:pt x="260" y="660"/>
                </a:cubicBezTo>
                <a:close/>
                <a:moveTo>
                  <a:pt x="261" y="631"/>
                </a:moveTo>
                <a:cubicBezTo>
                  <a:pt x="260" y="631"/>
                  <a:pt x="261" y="630"/>
                  <a:pt x="261" y="630"/>
                </a:cubicBezTo>
                <a:cubicBezTo>
                  <a:pt x="262" y="630"/>
                  <a:pt x="261" y="631"/>
                  <a:pt x="261" y="631"/>
                </a:cubicBezTo>
                <a:close/>
                <a:moveTo>
                  <a:pt x="263" y="682"/>
                </a:moveTo>
                <a:cubicBezTo>
                  <a:pt x="263" y="681"/>
                  <a:pt x="265" y="681"/>
                  <a:pt x="265" y="682"/>
                </a:cubicBezTo>
                <a:cubicBezTo>
                  <a:pt x="266" y="682"/>
                  <a:pt x="263" y="683"/>
                  <a:pt x="263" y="682"/>
                </a:cubicBezTo>
                <a:close/>
                <a:moveTo>
                  <a:pt x="264" y="690"/>
                </a:moveTo>
                <a:cubicBezTo>
                  <a:pt x="263" y="689"/>
                  <a:pt x="265" y="690"/>
                  <a:pt x="265" y="690"/>
                </a:cubicBezTo>
                <a:cubicBezTo>
                  <a:pt x="265" y="691"/>
                  <a:pt x="264" y="691"/>
                  <a:pt x="264" y="690"/>
                </a:cubicBezTo>
                <a:close/>
                <a:moveTo>
                  <a:pt x="265" y="694"/>
                </a:moveTo>
                <a:cubicBezTo>
                  <a:pt x="266" y="694"/>
                  <a:pt x="266" y="694"/>
                  <a:pt x="267" y="694"/>
                </a:cubicBezTo>
                <a:cubicBezTo>
                  <a:pt x="266" y="695"/>
                  <a:pt x="266" y="695"/>
                  <a:pt x="265" y="694"/>
                </a:cubicBezTo>
                <a:close/>
                <a:moveTo>
                  <a:pt x="263" y="667"/>
                </a:moveTo>
                <a:cubicBezTo>
                  <a:pt x="264" y="666"/>
                  <a:pt x="273" y="668"/>
                  <a:pt x="273" y="668"/>
                </a:cubicBezTo>
                <a:cubicBezTo>
                  <a:pt x="272" y="669"/>
                  <a:pt x="265" y="667"/>
                  <a:pt x="263" y="667"/>
                </a:cubicBezTo>
                <a:close/>
                <a:moveTo>
                  <a:pt x="270" y="681"/>
                </a:moveTo>
                <a:cubicBezTo>
                  <a:pt x="269" y="683"/>
                  <a:pt x="268" y="680"/>
                  <a:pt x="270" y="681"/>
                </a:cubicBezTo>
                <a:close/>
                <a:moveTo>
                  <a:pt x="268" y="696"/>
                </a:moveTo>
                <a:cubicBezTo>
                  <a:pt x="268" y="695"/>
                  <a:pt x="269" y="695"/>
                  <a:pt x="269" y="695"/>
                </a:cubicBezTo>
                <a:cubicBezTo>
                  <a:pt x="270" y="695"/>
                  <a:pt x="269" y="696"/>
                  <a:pt x="268" y="696"/>
                </a:cubicBezTo>
                <a:close/>
                <a:moveTo>
                  <a:pt x="269" y="689"/>
                </a:moveTo>
                <a:cubicBezTo>
                  <a:pt x="268" y="688"/>
                  <a:pt x="270" y="688"/>
                  <a:pt x="270" y="688"/>
                </a:cubicBezTo>
                <a:cubicBezTo>
                  <a:pt x="270" y="689"/>
                  <a:pt x="269" y="689"/>
                  <a:pt x="269" y="689"/>
                </a:cubicBezTo>
                <a:close/>
                <a:moveTo>
                  <a:pt x="269" y="673"/>
                </a:moveTo>
                <a:cubicBezTo>
                  <a:pt x="269" y="671"/>
                  <a:pt x="274" y="673"/>
                  <a:pt x="273" y="674"/>
                </a:cubicBezTo>
                <a:cubicBezTo>
                  <a:pt x="273" y="676"/>
                  <a:pt x="268" y="676"/>
                  <a:pt x="269" y="673"/>
                </a:cubicBezTo>
                <a:close/>
                <a:moveTo>
                  <a:pt x="272" y="683"/>
                </a:moveTo>
                <a:cubicBezTo>
                  <a:pt x="271" y="681"/>
                  <a:pt x="276" y="682"/>
                  <a:pt x="276" y="683"/>
                </a:cubicBezTo>
                <a:cubicBezTo>
                  <a:pt x="277" y="685"/>
                  <a:pt x="272" y="686"/>
                  <a:pt x="272" y="683"/>
                </a:cubicBezTo>
                <a:close/>
                <a:moveTo>
                  <a:pt x="275" y="696"/>
                </a:moveTo>
                <a:cubicBezTo>
                  <a:pt x="275" y="696"/>
                  <a:pt x="274" y="696"/>
                  <a:pt x="274" y="696"/>
                </a:cubicBezTo>
                <a:cubicBezTo>
                  <a:pt x="274" y="694"/>
                  <a:pt x="277" y="698"/>
                  <a:pt x="275" y="696"/>
                </a:cubicBezTo>
                <a:close/>
                <a:moveTo>
                  <a:pt x="274" y="701"/>
                </a:moveTo>
                <a:cubicBezTo>
                  <a:pt x="274" y="699"/>
                  <a:pt x="277" y="699"/>
                  <a:pt x="277" y="700"/>
                </a:cubicBezTo>
                <a:cubicBezTo>
                  <a:pt x="278" y="701"/>
                  <a:pt x="274" y="701"/>
                  <a:pt x="274" y="701"/>
                </a:cubicBezTo>
                <a:close/>
                <a:moveTo>
                  <a:pt x="282" y="681"/>
                </a:moveTo>
                <a:cubicBezTo>
                  <a:pt x="284" y="680"/>
                  <a:pt x="289" y="680"/>
                  <a:pt x="291" y="681"/>
                </a:cubicBezTo>
                <a:cubicBezTo>
                  <a:pt x="292" y="682"/>
                  <a:pt x="291" y="684"/>
                  <a:pt x="290" y="683"/>
                </a:cubicBezTo>
                <a:cubicBezTo>
                  <a:pt x="289" y="683"/>
                  <a:pt x="289" y="682"/>
                  <a:pt x="289" y="682"/>
                </a:cubicBezTo>
                <a:cubicBezTo>
                  <a:pt x="288" y="681"/>
                  <a:pt x="287" y="683"/>
                  <a:pt x="287" y="683"/>
                </a:cubicBezTo>
                <a:cubicBezTo>
                  <a:pt x="287" y="684"/>
                  <a:pt x="288" y="684"/>
                  <a:pt x="288" y="685"/>
                </a:cubicBezTo>
                <a:cubicBezTo>
                  <a:pt x="289" y="684"/>
                  <a:pt x="289" y="685"/>
                  <a:pt x="288" y="685"/>
                </a:cubicBezTo>
                <a:cubicBezTo>
                  <a:pt x="287" y="686"/>
                  <a:pt x="286" y="685"/>
                  <a:pt x="286" y="685"/>
                </a:cubicBezTo>
                <a:cubicBezTo>
                  <a:pt x="285" y="685"/>
                  <a:pt x="284" y="686"/>
                  <a:pt x="283" y="685"/>
                </a:cubicBezTo>
                <a:cubicBezTo>
                  <a:pt x="282" y="685"/>
                  <a:pt x="278" y="682"/>
                  <a:pt x="282" y="681"/>
                </a:cubicBezTo>
                <a:close/>
                <a:moveTo>
                  <a:pt x="291" y="693"/>
                </a:moveTo>
                <a:cubicBezTo>
                  <a:pt x="290" y="694"/>
                  <a:pt x="288" y="696"/>
                  <a:pt x="287" y="694"/>
                </a:cubicBezTo>
                <a:cubicBezTo>
                  <a:pt x="285" y="693"/>
                  <a:pt x="290" y="692"/>
                  <a:pt x="291" y="693"/>
                </a:cubicBezTo>
                <a:close/>
                <a:moveTo>
                  <a:pt x="289" y="706"/>
                </a:moveTo>
                <a:cubicBezTo>
                  <a:pt x="290" y="707"/>
                  <a:pt x="288" y="706"/>
                  <a:pt x="289" y="706"/>
                </a:cubicBezTo>
                <a:close/>
                <a:moveTo>
                  <a:pt x="292" y="708"/>
                </a:moveTo>
                <a:cubicBezTo>
                  <a:pt x="291" y="707"/>
                  <a:pt x="292" y="708"/>
                  <a:pt x="293" y="708"/>
                </a:cubicBezTo>
                <a:cubicBezTo>
                  <a:pt x="293" y="708"/>
                  <a:pt x="292" y="708"/>
                  <a:pt x="292" y="708"/>
                </a:cubicBezTo>
                <a:close/>
                <a:moveTo>
                  <a:pt x="304" y="701"/>
                </a:moveTo>
                <a:cubicBezTo>
                  <a:pt x="299" y="701"/>
                  <a:pt x="295" y="701"/>
                  <a:pt x="290" y="702"/>
                </a:cubicBezTo>
                <a:cubicBezTo>
                  <a:pt x="289" y="702"/>
                  <a:pt x="282" y="702"/>
                  <a:pt x="282" y="700"/>
                </a:cubicBezTo>
                <a:cubicBezTo>
                  <a:pt x="281" y="699"/>
                  <a:pt x="290" y="699"/>
                  <a:pt x="292" y="700"/>
                </a:cubicBezTo>
                <a:cubicBezTo>
                  <a:pt x="296" y="700"/>
                  <a:pt x="299" y="700"/>
                  <a:pt x="301" y="699"/>
                </a:cubicBezTo>
                <a:cubicBezTo>
                  <a:pt x="299" y="699"/>
                  <a:pt x="297" y="697"/>
                  <a:pt x="297" y="695"/>
                </a:cubicBezTo>
                <a:cubicBezTo>
                  <a:pt x="299" y="690"/>
                  <a:pt x="306" y="693"/>
                  <a:pt x="309" y="695"/>
                </a:cubicBezTo>
                <a:cubicBezTo>
                  <a:pt x="309" y="695"/>
                  <a:pt x="309" y="696"/>
                  <a:pt x="310" y="696"/>
                </a:cubicBezTo>
                <a:cubicBezTo>
                  <a:pt x="310" y="697"/>
                  <a:pt x="307" y="699"/>
                  <a:pt x="305" y="699"/>
                </a:cubicBezTo>
                <a:cubicBezTo>
                  <a:pt x="306" y="699"/>
                  <a:pt x="307" y="699"/>
                  <a:pt x="309" y="700"/>
                </a:cubicBezTo>
                <a:cubicBezTo>
                  <a:pt x="313" y="700"/>
                  <a:pt x="305" y="701"/>
                  <a:pt x="304" y="701"/>
                </a:cubicBezTo>
                <a:close/>
                <a:moveTo>
                  <a:pt x="308" y="684"/>
                </a:moveTo>
                <a:cubicBezTo>
                  <a:pt x="309" y="683"/>
                  <a:pt x="312" y="683"/>
                  <a:pt x="314" y="683"/>
                </a:cubicBezTo>
                <a:cubicBezTo>
                  <a:pt x="312" y="684"/>
                  <a:pt x="310" y="684"/>
                  <a:pt x="308" y="684"/>
                </a:cubicBezTo>
                <a:close/>
                <a:moveTo>
                  <a:pt x="313" y="612"/>
                </a:moveTo>
                <a:cubicBezTo>
                  <a:pt x="314" y="612"/>
                  <a:pt x="309" y="616"/>
                  <a:pt x="308" y="614"/>
                </a:cubicBezTo>
                <a:cubicBezTo>
                  <a:pt x="307" y="612"/>
                  <a:pt x="313" y="611"/>
                  <a:pt x="313" y="612"/>
                </a:cubicBezTo>
                <a:close/>
                <a:moveTo>
                  <a:pt x="313" y="683"/>
                </a:moveTo>
                <a:cubicBezTo>
                  <a:pt x="312" y="682"/>
                  <a:pt x="314" y="681"/>
                  <a:pt x="314" y="682"/>
                </a:cubicBezTo>
                <a:cubicBezTo>
                  <a:pt x="314" y="682"/>
                  <a:pt x="313" y="683"/>
                  <a:pt x="313" y="683"/>
                </a:cubicBezTo>
                <a:close/>
                <a:moveTo>
                  <a:pt x="313" y="589"/>
                </a:moveTo>
                <a:cubicBezTo>
                  <a:pt x="311" y="590"/>
                  <a:pt x="308" y="592"/>
                  <a:pt x="307" y="592"/>
                </a:cubicBezTo>
                <a:cubicBezTo>
                  <a:pt x="304" y="593"/>
                  <a:pt x="309" y="590"/>
                  <a:pt x="309" y="590"/>
                </a:cubicBezTo>
                <a:cubicBezTo>
                  <a:pt x="310" y="590"/>
                  <a:pt x="312" y="589"/>
                  <a:pt x="313" y="589"/>
                </a:cubicBezTo>
                <a:cubicBezTo>
                  <a:pt x="314" y="589"/>
                  <a:pt x="314" y="589"/>
                  <a:pt x="315" y="589"/>
                </a:cubicBezTo>
                <a:cubicBezTo>
                  <a:pt x="314" y="589"/>
                  <a:pt x="314" y="589"/>
                  <a:pt x="313" y="589"/>
                </a:cubicBezTo>
                <a:close/>
                <a:moveTo>
                  <a:pt x="315" y="519"/>
                </a:moveTo>
                <a:cubicBezTo>
                  <a:pt x="315" y="517"/>
                  <a:pt x="318" y="518"/>
                  <a:pt x="315" y="519"/>
                </a:cubicBezTo>
                <a:close/>
                <a:moveTo>
                  <a:pt x="317" y="683"/>
                </a:moveTo>
                <a:cubicBezTo>
                  <a:pt x="315" y="684"/>
                  <a:pt x="315" y="682"/>
                  <a:pt x="317" y="683"/>
                </a:cubicBezTo>
                <a:close/>
                <a:moveTo>
                  <a:pt x="317" y="683"/>
                </a:moveTo>
                <a:cubicBezTo>
                  <a:pt x="318" y="682"/>
                  <a:pt x="319" y="682"/>
                  <a:pt x="321" y="682"/>
                </a:cubicBezTo>
                <a:cubicBezTo>
                  <a:pt x="321" y="683"/>
                  <a:pt x="318" y="683"/>
                  <a:pt x="317" y="683"/>
                </a:cubicBezTo>
                <a:close/>
                <a:moveTo>
                  <a:pt x="333" y="104"/>
                </a:moveTo>
                <a:cubicBezTo>
                  <a:pt x="333" y="104"/>
                  <a:pt x="336" y="103"/>
                  <a:pt x="334" y="104"/>
                </a:cubicBezTo>
                <a:cubicBezTo>
                  <a:pt x="331" y="106"/>
                  <a:pt x="326" y="107"/>
                  <a:pt x="322" y="108"/>
                </a:cubicBezTo>
                <a:cubicBezTo>
                  <a:pt x="325" y="106"/>
                  <a:pt x="329" y="104"/>
                  <a:pt x="333" y="104"/>
                </a:cubicBezTo>
                <a:close/>
                <a:moveTo>
                  <a:pt x="323" y="170"/>
                </a:moveTo>
                <a:cubicBezTo>
                  <a:pt x="324" y="170"/>
                  <a:pt x="324" y="170"/>
                  <a:pt x="325" y="170"/>
                </a:cubicBezTo>
                <a:cubicBezTo>
                  <a:pt x="325" y="171"/>
                  <a:pt x="324" y="171"/>
                  <a:pt x="323" y="170"/>
                </a:cubicBezTo>
                <a:close/>
                <a:moveTo>
                  <a:pt x="322" y="617"/>
                </a:moveTo>
                <a:cubicBezTo>
                  <a:pt x="323" y="616"/>
                  <a:pt x="324" y="618"/>
                  <a:pt x="322" y="617"/>
                </a:cubicBezTo>
                <a:close/>
                <a:moveTo>
                  <a:pt x="322" y="627"/>
                </a:moveTo>
                <a:cubicBezTo>
                  <a:pt x="323" y="627"/>
                  <a:pt x="327" y="626"/>
                  <a:pt x="327" y="627"/>
                </a:cubicBezTo>
                <a:cubicBezTo>
                  <a:pt x="326" y="626"/>
                  <a:pt x="324" y="628"/>
                  <a:pt x="322" y="627"/>
                </a:cubicBezTo>
                <a:close/>
                <a:moveTo>
                  <a:pt x="327" y="574"/>
                </a:moveTo>
                <a:cubicBezTo>
                  <a:pt x="327" y="572"/>
                  <a:pt x="330" y="573"/>
                  <a:pt x="329" y="574"/>
                </a:cubicBezTo>
                <a:cubicBezTo>
                  <a:pt x="329" y="575"/>
                  <a:pt x="328" y="574"/>
                  <a:pt x="327" y="574"/>
                </a:cubicBezTo>
                <a:close/>
                <a:moveTo>
                  <a:pt x="329" y="627"/>
                </a:moveTo>
                <a:cubicBezTo>
                  <a:pt x="329" y="626"/>
                  <a:pt x="331" y="626"/>
                  <a:pt x="331" y="626"/>
                </a:cubicBezTo>
                <a:cubicBezTo>
                  <a:pt x="331" y="626"/>
                  <a:pt x="330" y="627"/>
                  <a:pt x="329" y="627"/>
                </a:cubicBezTo>
                <a:close/>
                <a:moveTo>
                  <a:pt x="329" y="589"/>
                </a:moveTo>
                <a:cubicBezTo>
                  <a:pt x="328" y="587"/>
                  <a:pt x="332" y="588"/>
                  <a:pt x="332" y="589"/>
                </a:cubicBezTo>
                <a:cubicBezTo>
                  <a:pt x="332" y="590"/>
                  <a:pt x="329" y="590"/>
                  <a:pt x="329" y="589"/>
                </a:cubicBezTo>
                <a:close/>
                <a:moveTo>
                  <a:pt x="328" y="583"/>
                </a:moveTo>
                <a:cubicBezTo>
                  <a:pt x="329" y="579"/>
                  <a:pt x="336" y="581"/>
                  <a:pt x="336" y="583"/>
                </a:cubicBezTo>
                <a:cubicBezTo>
                  <a:pt x="335" y="586"/>
                  <a:pt x="328" y="587"/>
                  <a:pt x="328" y="583"/>
                </a:cubicBezTo>
                <a:close/>
                <a:moveTo>
                  <a:pt x="335" y="131"/>
                </a:moveTo>
                <a:cubicBezTo>
                  <a:pt x="334" y="130"/>
                  <a:pt x="336" y="131"/>
                  <a:pt x="335" y="131"/>
                </a:cubicBezTo>
                <a:close/>
                <a:moveTo>
                  <a:pt x="336" y="659"/>
                </a:moveTo>
                <a:cubicBezTo>
                  <a:pt x="337" y="661"/>
                  <a:pt x="335" y="659"/>
                  <a:pt x="336" y="659"/>
                </a:cubicBezTo>
                <a:close/>
                <a:moveTo>
                  <a:pt x="336" y="131"/>
                </a:moveTo>
                <a:cubicBezTo>
                  <a:pt x="336" y="130"/>
                  <a:pt x="338" y="130"/>
                  <a:pt x="338" y="130"/>
                </a:cubicBezTo>
                <a:cubicBezTo>
                  <a:pt x="338" y="131"/>
                  <a:pt x="337" y="130"/>
                  <a:pt x="336" y="131"/>
                </a:cubicBezTo>
                <a:close/>
                <a:moveTo>
                  <a:pt x="337" y="711"/>
                </a:moveTo>
                <a:cubicBezTo>
                  <a:pt x="336" y="711"/>
                  <a:pt x="337" y="710"/>
                  <a:pt x="337" y="710"/>
                </a:cubicBezTo>
                <a:cubicBezTo>
                  <a:pt x="338" y="711"/>
                  <a:pt x="338" y="712"/>
                  <a:pt x="337" y="711"/>
                </a:cubicBezTo>
                <a:close/>
                <a:moveTo>
                  <a:pt x="337" y="685"/>
                </a:moveTo>
                <a:cubicBezTo>
                  <a:pt x="337" y="684"/>
                  <a:pt x="339" y="684"/>
                  <a:pt x="339" y="685"/>
                </a:cubicBezTo>
                <a:cubicBezTo>
                  <a:pt x="340" y="685"/>
                  <a:pt x="338" y="686"/>
                  <a:pt x="337" y="685"/>
                </a:cubicBezTo>
                <a:close/>
                <a:moveTo>
                  <a:pt x="338" y="705"/>
                </a:moveTo>
                <a:cubicBezTo>
                  <a:pt x="338" y="704"/>
                  <a:pt x="340" y="704"/>
                  <a:pt x="340" y="705"/>
                </a:cubicBezTo>
                <a:cubicBezTo>
                  <a:pt x="340" y="705"/>
                  <a:pt x="339" y="706"/>
                  <a:pt x="338" y="705"/>
                </a:cubicBezTo>
                <a:close/>
                <a:moveTo>
                  <a:pt x="338" y="680"/>
                </a:moveTo>
                <a:cubicBezTo>
                  <a:pt x="338" y="680"/>
                  <a:pt x="341" y="680"/>
                  <a:pt x="341" y="680"/>
                </a:cubicBezTo>
                <a:cubicBezTo>
                  <a:pt x="341" y="681"/>
                  <a:pt x="337" y="682"/>
                  <a:pt x="338" y="680"/>
                </a:cubicBezTo>
                <a:close/>
                <a:moveTo>
                  <a:pt x="342" y="110"/>
                </a:moveTo>
                <a:cubicBezTo>
                  <a:pt x="341" y="111"/>
                  <a:pt x="341" y="109"/>
                  <a:pt x="342" y="110"/>
                </a:cubicBezTo>
                <a:close/>
                <a:moveTo>
                  <a:pt x="328" y="108"/>
                </a:moveTo>
                <a:cubicBezTo>
                  <a:pt x="326" y="108"/>
                  <a:pt x="329" y="107"/>
                  <a:pt x="331" y="106"/>
                </a:cubicBezTo>
                <a:cubicBezTo>
                  <a:pt x="334" y="106"/>
                  <a:pt x="339" y="104"/>
                  <a:pt x="342" y="104"/>
                </a:cubicBezTo>
                <a:cubicBezTo>
                  <a:pt x="343" y="104"/>
                  <a:pt x="344" y="105"/>
                  <a:pt x="344" y="105"/>
                </a:cubicBezTo>
                <a:cubicBezTo>
                  <a:pt x="344" y="105"/>
                  <a:pt x="330" y="108"/>
                  <a:pt x="328" y="108"/>
                </a:cubicBezTo>
                <a:close/>
                <a:moveTo>
                  <a:pt x="345" y="576"/>
                </a:moveTo>
                <a:cubicBezTo>
                  <a:pt x="345" y="576"/>
                  <a:pt x="345" y="576"/>
                  <a:pt x="345" y="576"/>
                </a:cubicBezTo>
                <a:cubicBezTo>
                  <a:pt x="346" y="576"/>
                  <a:pt x="346" y="576"/>
                  <a:pt x="346" y="576"/>
                </a:cubicBezTo>
                <a:cubicBezTo>
                  <a:pt x="346" y="576"/>
                  <a:pt x="345" y="576"/>
                  <a:pt x="345" y="576"/>
                </a:cubicBezTo>
                <a:close/>
                <a:moveTo>
                  <a:pt x="346" y="704"/>
                </a:moveTo>
                <a:cubicBezTo>
                  <a:pt x="346" y="703"/>
                  <a:pt x="347" y="703"/>
                  <a:pt x="347" y="703"/>
                </a:cubicBezTo>
                <a:cubicBezTo>
                  <a:pt x="348" y="704"/>
                  <a:pt x="346" y="704"/>
                  <a:pt x="346" y="704"/>
                </a:cubicBezTo>
                <a:close/>
                <a:moveTo>
                  <a:pt x="344" y="537"/>
                </a:moveTo>
                <a:cubicBezTo>
                  <a:pt x="345" y="535"/>
                  <a:pt x="348" y="535"/>
                  <a:pt x="349" y="534"/>
                </a:cubicBezTo>
                <a:cubicBezTo>
                  <a:pt x="348" y="535"/>
                  <a:pt x="345" y="536"/>
                  <a:pt x="344" y="537"/>
                </a:cubicBezTo>
                <a:close/>
                <a:moveTo>
                  <a:pt x="348" y="89"/>
                </a:moveTo>
                <a:cubicBezTo>
                  <a:pt x="347" y="90"/>
                  <a:pt x="346" y="89"/>
                  <a:pt x="348" y="89"/>
                </a:cubicBezTo>
                <a:close/>
                <a:moveTo>
                  <a:pt x="347" y="71"/>
                </a:moveTo>
                <a:cubicBezTo>
                  <a:pt x="347" y="72"/>
                  <a:pt x="348" y="72"/>
                  <a:pt x="347" y="72"/>
                </a:cubicBezTo>
                <a:cubicBezTo>
                  <a:pt x="347" y="72"/>
                  <a:pt x="347" y="72"/>
                  <a:pt x="347" y="71"/>
                </a:cubicBezTo>
                <a:close/>
                <a:moveTo>
                  <a:pt x="345" y="44"/>
                </a:moveTo>
                <a:cubicBezTo>
                  <a:pt x="346" y="42"/>
                  <a:pt x="350" y="42"/>
                  <a:pt x="350" y="45"/>
                </a:cubicBezTo>
                <a:cubicBezTo>
                  <a:pt x="349" y="47"/>
                  <a:pt x="345" y="46"/>
                  <a:pt x="345" y="44"/>
                </a:cubicBezTo>
                <a:close/>
                <a:moveTo>
                  <a:pt x="350" y="626"/>
                </a:moveTo>
                <a:cubicBezTo>
                  <a:pt x="350" y="627"/>
                  <a:pt x="349" y="625"/>
                  <a:pt x="350" y="626"/>
                </a:cubicBezTo>
                <a:close/>
                <a:moveTo>
                  <a:pt x="350" y="205"/>
                </a:moveTo>
                <a:cubicBezTo>
                  <a:pt x="349" y="205"/>
                  <a:pt x="350" y="203"/>
                  <a:pt x="350" y="204"/>
                </a:cubicBezTo>
                <a:cubicBezTo>
                  <a:pt x="351" y="204"/>
                  <a:pt x="351" y="205"/>
                  <a:pt x="350" y="205"/>
                </a:cubicBezTo>
                <a:close/>
                <a:moveTo>
                  <a:pt x="538" y="122"/>
                </a:moveTo>
                <a:cubicBezTo>
                  <a:pt x="538" y="121"/>
                  <a:pt x="540" y="121"/>
                  <a:pt x="540" y="122"/>
                </a:cubicBezTo>
                <a:cubicBezTo>
                  <a:pt x="542" y="121"/>
                  <a:pt x="543" y="121"/>
                  <a:pt x="543" y="123"/>
                </a:cubicBezTo>
                <a:cubicBezTo>
                  <a:pt x="543" y="124"/>
                  <a:pt x="539" y="125"/>
                  <a:pt x="538" y="124"/>
                </a:cubicBezTo>
                <a:cubicBezTo>
                  <a:pt x="538" y="123"/>
                  <a:pt x="538" y="123"/>
                  <a:pt x="538" y="122"/>
                </a:cubicBezTo>
                <a:cubicBezTo>
                  <a:pt x="538" y="122"/>
                  <a:pt x="538" y="122"/>
                  <a:pt x="538" y="122"/>
                </a:cubicBezTo>
                <a:close/>
                <a:moveTo>
                  <a:pt x="538" y="121"/>
                </a:moveTo>
                <a:cubicBezTo>
                  <a:pt x="538" y="121"/>
                  <a:pt x="536" y="122"/>
                  <a:pt x="536" y="121"/>
                </a:cubicBezTo>
                <a:cubicBezTo>
                  <a:pt x="536" y="121"/>
                  <a:pt x="537" y="121"/>
                  <a:pt x="538" y="121"/>
                </a:cubicBezTo>
                <a:close/>
                <a:moveTo>
                  <a:pt x="531" y="126"/>
                </a:moveTo>
                <a:cubicBezTo>
                  <a:pt x="531" y="126"/>
                  <a:pt x="531" y="127"/>
                  <a:pt x="530" y="127"/>
                </a:cubicBezTo>
                <a:cubicBezTo>
                  <a:pt x="530" y="127"/>
                  <a:pt x="531" y="126"/>
                  <a:pt x="531" y="126"/>
                </a:cubicBezTo>
                <a:close/>
                <a:moveTo>
                  <a:pt x="531" y="154"/>
                </a:moveTo>
                <a:cubicBezTo>
                  <a:pt x="529" y="157"/>
                  <a:pt x="525" y="158"/>
                  <a:pt x="522" y="159"/>
                </a:cubicBezTo>
                <a:cubicBezTo>
                  <a:pt x="524" y="156"/>
                  <a:pt x="528" y="156"/>
                  <a:pt x="531" y="154"/>
                </a:cubicBezTo>
                <a:close/>
                <a:moveTo>
                  <a:pt x="525" y="201"/>
                </a:moveTo>
                <a:cubicBezTo>
                  <a:pt x="524" y="202"/>
                  <a:pt x="523" y="203"/>
                  <a:pt x="521" y="203"/>
                </a:cubicBezTo>
                <a:cubicBezTo>
                  <a:pt x="522" y="202"/>
                  <a:pt x="523" y="201"/>
                  <a:pt x="525" y="201"/>
                </a:cubicBezTo>
                <a:close/>
                <a:moveTo>
                  <a:pt x="521" y="198"/>
                </a:moveTo>
                <a:cubicBezTo>
                  <a:pt x="521" y="198"/>
                  <a:pt x="521" y="197"/>
                  <a:pt x="522" y="197"/>
                </a:cubicBezTo>
                <a:cubicBezTo>
                  <a:pt x="524" y="195"/>
                  <a:pt x="523" y="200"/>
                  <a:pt x="521" y="198"/>
                </a:cubicBezTo>
                <a:close/>
                <a:moveTo>
                  <a:pt x="524" y="195"/>
                </a:moveTo>
                <a:cubicBezTo>
                  <a:pt x="524" y="194"/>
                  <a:pt x="525" y="194"/>
                  <a:pt x="525" y="194"/>
                </a:cubicBezTo>
                <a:cubicBezTo>
                  <a:pt x="526" y="195"/>
                  <a:pt x="524" y="195"/>
                  <a:pt x="524" y="195"/>
                </a:cubicBezTo>
                <a:close/>
                <a:moveTo>
                  <a:pt x="531" y="196"/>
                </a:moveTo>
                <a:cubicBezTo>
                  <a:pt x="530" y="198"/>
                  <a:pt x="527" y="199"/>
                  <a:pt x="525" y="201"/>
                </a:cubicBezTo>
                <a:cubicBezTo>
                  <a:pt x="526" y="199"/>
                  <a:pt x="529" y="197"/>
                  <a:pt x="531" y="196"/>
                </a:cubicBezTo>
                <a:close/>
                <a:moveTo>
                  <a:pt x="529" y="172"/>
                </a:moveTo>
                <a:cubicBezTo>
                  <a:pt x="531" y="170"/>
                  <a:pt x="530" y="174"/>
                  <a:pt x="528" y="173"/>
                </a:cubicBezTo>
                <a:cubicBezTo>
                  <a:pt x="528" y="173"/>
                  <a:pt x="529" y="172"/>
                  <a:pt x="529" y="172"/>
                </a:cubicBezTo>
                <a:close/>
                <a:moveTo>
                  <a:pt x="522" y="181"/>
                </a:moveTo>
                <a:cubicBezTo>
                  <a:pt x="521" y="181"/>
                  <a:pt x="523" y="180"/>
                  <a:pt x="523" y="181"/>
                </a:cubicBezTo>
                <a:cubicBezTo>
                  <a:pt x="524" y="181"/>
                  <a:pt x="522" y="182"/>
                  <a:pt x="522" y="181"/>
                </a:cubicBezTo>
                <a:close/>
                <a:moveTo>
                  <a:pt x="529" y="135"/>
                </a:moveTo>
                <a:cubicBezTo>
                  <a:pt x="528" y="136"/>
                  <a:pt x="526" y="138"/>
                  <a:pt x="524" y="138"/>
                </a:cubicBezTo>
                <a:cubicBezTo>
                  <a:pt x="525" y="138"/>
                  <a:pt x="526" y="138"/>
                  <a:pt x="525" y="139"/>
                </a:cubicBezTo>
                <a:cubicBezTo>
                  <a:pt x="525" y="140"/>
                  <a:pt x="522" y="140"/>
                  <a:pt x="522" y="139"/>
                </a:cubicBezTo>
                <a:cubicBezTo>
                  <a:pt x="522" y="139"/>
                  <a:pt x="523" y="138"/>
                  <a:pt x="524" y="138"/>
                </a:cubicBezTo>
                <a:cubicBezTo>
                  <a:pt x="524" y="138"/>
                  <a:pt x="524" y="138"/>
                  <a:pt x="524" y="138"/>
                </a:cubicBezTo>
                <a:cubicBezTo>
                  <a:pt x="525" y="136"/>
                  <a:pt x="527" y="136"/>
                  <a:pt x="529" y="135"/>
                </a:cubicBezTo>
                <a:close/>
                <a:moveTo>
                  <a:pt x="525" y="117"/>
                </a:moveTo>
                <a:cubicBezTo>
                  <a:pt x="525" y="117"/>
                  <a:pt x="525" y="117"/>
                  <a:pt x="524" y="117"/>
                </a:cubicBezTo>
                <a:cubicBezTo>
                  <a:pt x="524" y="117"/>
                  <a:pt x="524" y="116"/>
                  <a:pt x="525" y="117"/>
                </a:cubicBezTo>
                <a:close/>
                <a:moveTo>
                  <a:pt x="524" y="86"/>
                </a:moveTo>
                <a:cubicBezTo>
                  <a:pt x="523" y="86"/>
                  <a:pt x="522" y="86"/>
                  <a:pt x="521" y="86"/>
                </a:cubicBezTo>
                <a:cubicBezTo>
                  <a:pt x="522" y="85"/>
                  <a:pt x="523" y="85"/>
                  <a:pt x="524" y="86"/>
                </a:cubicBezTo>
                <a:close/>
                <a:moveTo>
                  <a:pt x="521" y="87"/>
                </a:moveTo>
                <a:cubicBezTo>
                  <a:pt x="521" y="87"/>
                  <a:pt x="523" y="88"/>
                  <a:pt x="523" y="88"/>
                </a:cubicBezTo>
                <a:cubicBezTo>
                  <a:pt x="523" y="88"/>
                  <a:pt x="520" y="88"/>
                  <a:pt x="521" y="87"/>
                </a:cubicBezTo>
                <a:close/>
                <a:moveTo>
                  <a:pt x="523" y="92"/>
                </a:moveTo>
                <a:cubicBezTo>
                  <a:pt x="523" y="92"/>
                  <a:pt x="521" y="92"/>
                  <a:pt x="521" y="91"/>
                </a:cubicBezTo>
                <a:cubicBezTo>
                  <a:pt x="522" y="90"/>
                  <a:pt x="523" y="91"/>
                  <a:pt x="523" y="92"/>
                </a:cubicBezTo>
                <a:close/>
                <a:moveTo>
                  <a:pt x="521" y="105"/>
                </a:moveTo>
                <a:cubicBezTo>
                  <a:pt x="521" y="106"/>
                  <a:pt x="520" y="104"/>
                  <a:pt x="521" y="105"/>
                </a:cubicBezTo>
                <a:close/>
                <a:moveTo>
                  <a:pt x="525" y="106"/>
                </a:moveTo>
                <a:cubicBezTo>
                  <a:pt x="527" y="106"/>
                  <a:pt x="528" y="108"/>
                  <a:pt x="526" y="111"/>
                </a:cubicBezTo>
                <a:cubicBezTo>
                  <a:pt x="525" y="112"/>
                  <a:pt x="523" y="112"/>
                  <a:pt x="522" y="112"/>
                </a:cubicBezTo>
                <a:cubicBezTo>
                  <a:pt x="520" y="112"/>
                  <a:pt x="518" y="112"/>
                  <a:pt x="518" y="112"/>
                </a:cubicBezTo>
                <a:cubicBezTo>
                  <a:pt x="518" y="112"/>
                  <a:pt x="519" y="112"/>
                  <a:pt x="519" y="112"/>
                </a:cubicBezTo>
                <a:cubicBezTo>
                  <a:pt x="519" y="112"/>
                  <a:pt x="518" y="112"/>
                  <a:pt x="518" y="112"/>
                </a:cubicBezTo>
                <a:cubicBezTo>
                  <a:pt x="518" y="112"/>
                  <a:pt x="518" y="111"/>
                  <a:pt x="518" y="111"/>
                </a:cubicBezTo>
                <a:cubicBezTo>
                  <a:pt x="517" y="110"/>
                  <a:pt x="522" y="106"/>
                  <a:pt x="525" y="106"/>
                </a:cubicBezTo>
                <a:close/>
                <a:moveTo>
                  <a:pt x="520" y="133"/>
                </a:moveTo>
                <a:cubicBezTo>
                  <a:pt x="522" y="131"/>
                  <a:pt x="522" y="133"/>
                  <a:pt x="520" y="133"/>
                </a:cubicBezTo>
                <a:close/>
                <a:moveTo>
                  <a:pt x="519" y="147"/>
                </a:moveTo>
                <a:cubicBezTo>
                  <a:pt x="519" y="146"/>
                  <a:pt x="521" y="145"/>
                  <a:pt x="521" y="146"/>
                </a:cubicBezTo>
                <a:cubicBezTo>
                  <a:pt x="522" y="147"/>
                  <a:pt x="520" y="147"/>
                  <a:pt x="519" y="147"/>
                </a:cubicBezTo>
                <a:close/>
                <a:moveTo>
                  <a:pt x="513" y="162"/>
                </a:moveTo>
                <a:cubicBezTo>
                  <a:pt x="512" y="161"/>
                  <a:pt x="516" y="159"/>
                  <a:pt x="516" y="161"/>
                </a:cubicBezTo>
                <a:cubicBezTo>
                  <a:pt x="517" y="162"/>
                  <a:pt x="513" y="163"/>
                  <a:pt x="513" y="162"/>
                </a:cubicBezTo>
                <a:close/>
                <a:moveTo>
                  <a:pt x="516" y="163"/>
                </a:moveTo>
                <a:cubicBezTo>
                  <a:pt x="516" y="164"/>
                  <a:pt x="515" y="165"/>
                  <a:pt x="516" y="164"/>
                </a:cubicBezTo>
                <a:cubicBezTo>
                  <a:pt x="516" y="164"/>
                  <a:pt x="516" y="164"/>
                  <a:pt x="516" y="163"/>
                </a:cubicBezTo>
                <a:close/>
                <a:moveTo>
                  <a:pt x="514" y="191"/>
                </a:moveTo>
                <a:cubicBezTo>
                  <a:pt x="515" y="190"/>
                  <a:pt x="516" y="192"/>
                  <a:pt x="514" y="191"/>
                </a:cubicBezTo>
                <a:close/>
                <a:moveTo>
                  <a:pt x="512" y="192"/>
                </a:moveTo>
                <a:cubicBezTo>
                  <a:pt x="512" y="191"/>
                  <a:pt x="514" y="191"/>
                  <a:pt x="514" y="191"/>
                </a:cubicBezTo>
                <a:cubicBezTo>
                  <a:pt x="514" y="192"/>
                  <a:pt x="512" y="192"/>
                  <a:pt x="512" y="192"/>
                </a:cubicBezTo>
                <a:close/>
                <a:moveTo>
                  <a:pt x="514" y="247"/>
                </a:moveTo>
                <a:cubicBezTo>
                  <a:pt x="514" y="248"/>
                  <a:pt x="513" y="245"/>
                  <a:pt x="514" y="247"/>
                </a:cubicBezTo>
                <a:close/>
                <a:moveTo>
                  <a:pt x="504" y="183"/>
                </a:moveTo>
                <a:cubicBezTo>
                  <a:pt x="506" y="182"/>
                  <a:pt x="506" y="181"/>
                  <a:pt x="504" y="181"/>
                </a:cubicBezTo>
                <a:cubicBezTo>
                  <a:pt x="505" y="178"/>
                  <a:pt x="508" y="175"/>
                  <a:pt x="511" y="176"/>
                </a:cubicBezTo>
                <a:cubicBezTo>
                  <a:pt x="517" y="179"/>
                  <a:pt x="509" y="186"/>
                  <a:pt x="504" y="183"/>
                </a:cubicBezTo>
                <a:close/>
                <a:moveTo>
                  <a:pt x="505" y="184"/>
                </a:moveTo>
                <a:cubicBezTo>
                  <a:pt x="505" y="184"/>
                  <a:pt x="505" y="184"/>
                  <a:pt x="505" y="184"/>
                </a:cubicBezTo>
                <a:cubicBezTo>
                  <a:pt x="506" y="186"/>
                  <a:pt x="503" y="183"/>
                  <a:pt x="505" y="184"/>
                </a:cubicBezTo>
                <a:close/>
                <a:moveTo>
                  <a:pt x="494" y="127"/>
                </a:moveTo>
                <a:cubicBezTo>
                  <a:pt x="494" y="127"/>
                  <a:pt x="497" y="125"/>
                  <a:pt x="498" y="127"/>
                </a:cubicBezTo>
                <a:cubicBezTo>
                  <a:pt x="498" y="128"/>
                  <a:pt x="494" y="129"/>
                  <a:pt x="494" y="127"/>
                </a:cubicBezTo>
                <a:close/>
                <a:moveTo>
                  <a:pt x="496" y="219"/>
                </a:moveTo>
                <a:cubicBezTo>
                  <a:pt x="495" y="219"/>
                  <a:pt x="496" y="218"/>
                  <a:pt x="496" y="218"/>
                </a:cubicBezTo>
                <a:cubicBezTo>
                  <a:pt x="497" y="218"/>
                  <a:pt x="496" y="219"/>
                  <a:pt x="496" y="219"/>
                </a:cubicBezTo>
                <a:close/>
                <a:moveTo>
                  <a:pt x="493" y="182"/>
                </a:moveTo>
                <a:cubicBezTo>
                  <a:pt x="493" y="181"/>
                  <a:pt x="495" y="181"/>
                  <a:pt x="495" y="181"/>
                </a:cubicBezTo>
                <a:cubicBezTo>
                  <a:pt x="496" y="182"/>
                  <a:pt x="494" y="183"/>
                  <a:pt x="493" y="182"/>
                </a:cubicBezTo>
                <a:close/>
                <a:moveTo>
                  <a:pt x="494" y="221"/>
                </a:moveTo>
                <a:cubicBezTo>
                  <a:pt x="494" y="221"/>
                  <a:pt x="495" y="220"/>
                  <a:pt x="495" y="220"/>
                </a:cubicBezTo>
                <a:cubicBezTo>
                  <a:pt x="495" y="220"/>
                  <a:pt x="494" y="222"/>
                  <a:pt x="494" y="221"/>
                </a:cubicBezTo>
                <a:close/>
                <a:moveTo>
                  <a:pt x="484" y="206"/>
                </a:moveTo>
                <a:cubicBezTo>
                  <a:pt x="487" y="204"/>
                  <a:pt x="490" y="201"/>
                  <a:pt x="492" y="200"/>
                </a:cubicBezTo>
                <a:cubicBezTo>
                  <a:pt x="492" y="200"/>
                  <a:pt x="494" y="199"/>
                  <a:pt x="493" y="200"/>
                </a:cubicBezTo>
                <a:cubicBezTo>
                  <a:pt x="492" y="203"/>
                  <a:pt x="487" y="205"/>
                  <a:pt x="484" y="206"/>
                </a:cubicBezTo>
                <a:close/>
                <a:moveTo>
                  <a:pt x="491" y="221"/>
                </a:moveTo>
                <a:cubicBezTo>
                  <a:pt x="491" y="220"/>
                  <a:pt x="493" y="220"/>
                  <a:pt x="493" y="221"/>
                </a:cubicBezTo>
                <a:cubicBezTo>
                  <a:pt x="493" y="222"/>
                  <a:pt x="491" y="222"/>
                  <a:pt x="491" y="221"/>
                </a:cubicBezTo>
                <a:close/>
                <a:moveTo>
                  <a:pt x="480" y="95"/>
                </a:moveTo>
                <a:cubicBezTo>
                  <a:pt x="482" y="94"/>
                  <a:pt x="483" y="93"/>
                  <a:pt x="485" y="93"/>
                </a:cubicBezTo>
                <a:cubicBezTo>
                  <a:pt x="483" y="94"/>
                  <a:pt x="482" y="95"/>
                  <a:pt x="480" y="95"/>
                </a:cubicBezTo>
                <a:close/>
                <a:moveTo>
                  <a:pt x="481" y="162"/>
                </a:moveTo>
                <a:cubicBezTo>
                  <a:pt x="481" y="160"/>
                  <a:pt x="484" y="161"/>
                  <a:pt x="481" y="162"/>
                </a:cubicBezTo>
                <a:close/>
                <a:moveTo>
                  <a:pt x="482" y="109"/>
                </a:moveTo>
                <a:cubicBezTo>
                  <a:pt x="481" y="112"/>
                  <a:pt x="478" y="110"/>
                  <a:pt x="482" y="109"/>
                </a:cubicBezTo>
                <a:close/>
                <a:moveTo>
                  <a:pt x="496" y="72"/>
                </a:moveTo>
                <a:cubicBezTo>
                  <a:pt x="496" y="73"/>
                  <a:pt x="495" y="73"/>
                  <a:pt x="494" y="73"/>
                </a:cubicBezTo>
                <a:cubicBezTo>
                  <a:pt x="494" y="73"/>
                  <a:pt x="496" y="71"/>
                  <a:pt x="496" y="72"/>
                </a:cubicBezTo>
                <a:close/>
                <a:moveTo>
                  <a:pt x="494" y="43"/>
                </a:moveTo>
                <a:cubicBezTo>
                  <a:pt x="494" y="43"/>
                  <a:pt x="496" y="43"/>
                  <a:pt x="496" y="43"/>
                </a:cubicBezTo>
                <a:cubicBezTo>
                  <a:pt x="497" y="45"/>
                  <a:pt x="494" y="44"/>
                  <a:pt x="494" y="43"/>
                </a:cubicBezTo>
                <a:close/>
                <a:moveTo>
                  <a:pt x="493" y="64"/>
                </a:moveTo>
                <a:cubicBezTo>
                  <a:pt x="493" y="64"/>
                  <a:pt x="494" y="64"/>
                  <a:pt x="495" y="65"/>
                </a:cubicBezTo>
                <a:cubicBezTo>
                  <a:pt x="495" y="66"/>
                  <a:pt x="493" y="65"/>
                  <a:pt x="493" y="64"/>
                </a:cubicBezTo>
                <a:close/>
                <a:moveTo>
                  <a:pt x="499" y="87"/>
                </a:moveTo>
                <a:cubicBezTo>
                  <a:pt x="498" y="89"/>
                  <a:pt x="488" y="88"/>
                  <a:pt x="488" y="87"/>
                </a:cubicBezTo>
                <a:cubicBezTo>
                  <a:pt x="489" y="86"/>
                  <a:pt x="496" y="88"/>
                  <a:pt x="499" y="87"/>
                </a:cubicBezTo>
                <a:close/>
                <a:moveTo>
                  <a:pt x="493" y="105"/>
                </a:moveTo>
                <a:cubicBezTo>
                  <a:pt x="493" y="105"/>
                  <a:pt x="493" y="105"/>
                  <a:pt x="493" y="105"/>
                </a:cubicBezTo>
                <a:cubicBezTo>
                  <a:pt x="493" y="105"/>
                  <a:pt x="493" y="105"/>
                  <a:pt x="492" y="105"/>
                </a:cubicBezTo>
                <a:cubicBezTo>
                  <a:pt x="489" y="105"/>
                  <a:pt x="493" y="97"/>
                  <a:pt x="497" y="101"/>
                </a:cubicBezTo>
                <a:cubicBezTo>
                  <a:pt x="498" y="102"/>
                  <a:pt x="498" y="102"/>
                  <a:pt x="498" y="103"/>
                </a:cubicBezTo>
                <a:cubicBezTo>
                  <a:pt x="498" y="106"/>
                  <a:pt x="494" y="107"/>
                  <a:pt x="493" y="105"/>
                </a:cubicBezTo>
                <a:close/>
                <a:moveTo>
                  <a:pt x="495" y="108"/>
                </a:moveTo>
                <a:cubicBezTo>
                  <a:pt x="495" y="108"/>
                  <a:pt x="494" y="109"/>
                  <a:pt x="494" y="108"/>
                </a:cubicBezTo>
                <a:cubicBezTo>
                  <a:pt x="493" y="108"/>
                  <a:pt x="495" y="107"/>
                  <a:pt x="495" y="108"/>
                </a:cubicBezTo>
                <a:close/>
                <a:moveTo>
                  <a:pt x="494" y="174"/>
                </a:moveTo>
                <a:cubicBezTo>
                  <a:pt x="494" y="175"/>
                  <a:pt x="492" y="176"/>
                  <a:pt x="492" y="175"/>
                </a:cubicBezTo>
                <a:cubicBezTo>
                  <a:pt x="492" y="174"/>
                  <a:pt x="494" y="173"/>
                  <a:pt x="494" y="174"/>
                </a:cubicBezTo>
                <a:close/>
                <a:moveTo>
                  <a:pt x="495" y="98"/>
                </a:moveTo>
                <a:cubicBezTo>
                  <a:pt x="496" y="99"/>
                  <a:pt x="494" y="98"/>
                  <a:pt x="495" y="98"/>
                </a:cubicBezTo>
                <a:close/>
                <a:moveTo>
                  <a:pt x="499" y="91"/>
                </a:moveTo>
                <a:cubicBezTo>
                  <a:pt x="498" y="92"/>
                  <a:pt x="497" y="91"/>
                  <a:pt x="499" y="91"/>
                </a:cubicBezTo>
                <a:close/>
                <a:moveTo>
                  <a:pt x="491" y="166"/>
                </a:moveTo>
                <a:cubicBezTo>
                  <a:pt x="491" y="167"/>
                  <a:pt x="489" y="169"/>
                  <a:pt x="488" y="169"/>
                </a:cubicBezTo>
                <a:cubicBezTo>
                  <a:pt x="488" y="167"/>
                  <a:pt x="490" y="167"/>
                  <a:pt x="491" y="166"/>
                </a:cubicBezTo>
                <a:close/>
                <a:moveTo>
                  <a:pt x="485" y="144"/>
                </a:moveTo>
                <a:cubicBezTo>
                  <a:pt x="488" y="143"/>
                  <a:pt x="489" y="145"/>
                  <a:pt x="485" y="144"/>
                </a:cubicBezTo>
                <a:close/>
                <a:moveTo>
                  <a:pt x="486" y="93"/>
                </a:moveTo>
                <a:cubicBezTo>
                  <a:pt x="488" y="92"/>
                  <a:pt x="489" y="91"/>
                  <a:pt x="491" y="90"/>
                </a:cubicBezTo>
                <a:cubicBezTo>
                  <a:pt x="490" y="92"/>
                  <a:pt x="488" y="92"/>
                  <a:pt x="486" y="93"/>
                </a:cubicBezTo>
                <a:close/>
                <a:moveTo>
                  <a:pt x="491" y="61"/>
                </a:moveTo>
                <a:cubicBezTo>
                  <a:pt x="491" y="60"/>
                  <a:pt x="492" y="60"/>
                  <a:pt x="493" y="61"/>
                </a:cubicBezTo>
                <a:cubicBezTo>
                  <a:pt x="492" y="61"/>
                  <a:pt x="492" y="61"/>
                  <a:pt x="491" y="61"/>
                </a:cubicBezTo>
                <a:close/>
                <a:moveTo>
                  <a:pt x="490" y="74"/>
                </a:moveTo>
                <a:cubicBezTo>
                  <a:pt x="491" y="73"/>
                  <a:pt x="491" y="75"/>
                  <a:pt x="490" y="74"/>
                </a:cubicBezTo>
                <a:close/>
                <a:moveTo>
                  <a:pt x="489" y="67"/>
                </a:moveTo>
                <a:cubicBezTo>
                  <a:pt x="488" y="66"/>
                  <a:pt x="490" y="66"/>
                  <a:pt x="490" y="66"/>
                </a:cubicBezTo>
                <a:cubicBezTo>
                  <a:pt x="491" y="67"/>
                  <a:pt x="489" y="68"/>
                  <a:pt x="489" y="67"/>
                </a:cubicBezTo>
                <a:close/>
                <a:moveTo>
                  <a:pt x="488" y="60"/>
                </a:moveTo>
                <a:cubicBezTo>
                  <a:pt x="488" y="60"/>
                  <a:pt x="489" y="60"/>
                  <a:pt x="489" y="60"/>
                </a:cubicBezTo>
                <a:cubicBezTo>
                  <a:pt x="489" y="60"/>
                  <a:pt x="489" y="61"/>
                  <a:pt x="488" y="60"/>
                </a:cubicBezTo>
                <a:close/>
                <a:moveTo>
                  <a:pt x="492" y="82"/>
                </a:moveTo>
                <a:cubicBezTo>
                  <a:pt x="492" y="84"/>
                  <a:pt x="487" y="83"/>
                  <a:pt x="487" y="81"/>
                </a:cubicBezTo>
                <a:cubicBezTo>
                  <a:pt x="487" y="79"/>
                  <a:pt x="492" y="79"/>
                  <a:pt x="492" y="82"/>
                </a:cubicBezTo>
                <a:close/>
                <a:moveTo>
                  <a:pt x="483" y="73"/>
                </a:moveTo>
                <a:cubicBezTo>
                  <a:pt x="482" y="71"/>
                  <a:pt x="487" y="70"/>
                  <a:pt x="487" y="72"/>
                </a:cubicBezTo>
                <a:cubicBezTo>
                  <a:pt x="488" y="75"/>
                  <a:pt x="483" y="74"/>
                  <a:pt x="483" y="73"/>
                </a:cubicBezTo>
                <a:close/>
                <a:moveTo>
                  <a:pt x="483" y="60"/>
                </a:moveTo>
                <a:cubicBezTo>
                  <a:pt x="483" y="60"/>
                  <a:pt x="483" y="60"/>
                  <a:pt x="483" y="60"/>
                </a:cubicBezTo>
                <a:cubicBezTo>
                  <a:pt x="484" y="62"/>
                  <a:pt x="481" y="59"/>
                  <a:pt x="483" y="60"/>
                </a:cubicBezTo>
                <a:close/>
                <a:moveTo>
                  <a:pt x="482" y="62"/>
                </a:moveTo>
                <a:cubicBezTo>
                  <a:pt x="483" y="63"/>
                  <a:pt x="481" y="63"/>
                  <a:pt x="481" y="62"/>
                </a:cubicBezTo>
                <a:cubicBezTo>
                  <a:pt x="481" y="62"/>
                  <a:pt x="482" y="62"/>
                  <a:pt x="482" y="62"/>
                </a:cubicBezTo>
                <a:close/>
                <a:moveTo>
                  <a:pt x="487" y="184"/>
                </a:moveTo>
                <a:cubicBezTo>
                  <a:pt x="487" y="185"/>
                  <a:pt x="485" y="186"/>
                  <a:pt x="484" y="186"/>
                </a:cubicBezTo>
                <a:cubicBezTo>
                  <a:pt x="485" y="185"/>
                  <a:pt x="486" y="185"/>
                  <a:pt x="487" y="184"/>
                </a:cubicBezTo>
                <a:close/>
                <a:moveTo>
                  <a:pt x="495" y="174"/>
                </a:moveTo>
                <a:cubicBezTo>
                  <a:pt x="495" y="174"/>
                  <a:pt x="495" y="174"/>
                  <a:pt x="495" y="174"/>
                </a:cubicBezTo>
                <a:cubicBezTo>
                  <a:pt x="495" y="175"/>
                  <a:pt x="494" y="175"/>
                  <a:pt x="495" y="174"/>
                </a:cubicBezTo>
                <a:close/>
                <a:moveTo>
                  <a:pt x="498" y="141"/>
                </a:moveTo>
                <a:cubicBezTo>
                  <a:pt x="499" y="142"/>
                  <a:pt x="497" y="143"/>
                  <a:pt x="497" y="142"/>
                </a:cubicBezTo>
                <a:cubicBezTo>
                  <a:pt x="496" y="141"/>
                  <a:pt x="498" y="141"/>
                  <a:pt x="498" y="141"/>
                </a:cubicBezTo>
                <a:close/>
                <a:moveTo>
                  <a:pt x="497" y="131"/>
                </a:moveTo>
                <a:cubicBezTo>
                  <a:pt x="497" y="131"/>
                  <a:pt x="498" y="131"/>
                  <a:pt x="498" y="131"/>
                </a:cubicBezTo>
                <a:cubicBezTo>
                  <a:pt x="499" y="132"/>
                  <a:pt x="497" y="132"/>
                  <a:pt x="497" y="131"/>
                </a:cubicBezTo>
                <a:close/>
                <a:moveTo>
                  <a:pt x="498" y="128"/>
                </a:moveTo>
                <a:cubicBezTo>
                  <a:pt x="499" y="129"/>
                  <a:pt x="500" y="126"/>
                  <a:pt x="501" y="126"/>
                </a:cubicBezTo>
                <a:cubicBezTo>
                  <a:pt x="508" y="122"/>
                  <a:pt x="510" y="132"/>
                  <a:pt x="502" y="132"/>
                </a:cubicBezTo>
                <a:cubicBezTo>
                  <a:pt x="501" y="132"/>
                  <a:pt x="498" y="131"/>
                  <a:pt x="498" y="128"/>
                </a:cubicBezTo>
                <a:close/>
                <a:moveTo>
                  <a:pt x="502" y="94"/>
                </a:moveTo>
                <a:cubicBezTo>
                  <a:pt x="503" y="93"/>
                  <a:pt x="504" y="95"/>
                  <a:pt x="502" y="94"/>
                </a:cubicBezTo>
                <a:close/>
                <a:moveTo>
                  <a:pt x="505" y="67"/>
                </a:moveTo>
                <a:cubicBezTo>
                  <a:pt x="505" y="67"/>
                  <a:pt x="505" y="68"/>
                  <a:pt x="504" y="68"/>
                </a:cubicBezTo>
                <a:cubicBezTo>
                  <a:pt x="502" y="68"/>
                  <a:pt x="504" y="64"/>
                  <a:pt x="505" y="67"/>
                </a:cubicBezTo>
                <a:close/>
                <a:moveTo>
                  <a:pt x="503" y="121"/>
                </a:moveTo>
                <a:cubicBezTo>
                  <a:pt x="504" y="121"/>
                  <a:pt x="502" y="123"/>
                  <a:pt x="501" y="122"/>
                </a:cubicBezTo>
                <a:cubicBezTo>
                  <a:pt x="502" y="122"/>
                  <a:pt x="502" y="122"/>
                  <a:pt x="503" y="121"/>
                </a:cubicBezTo>
                <a:close/>
                <a:moveTo>
                  <a:pt x="506" y="123"/>
                </a:moveTo>
                <a:cubicBezTo>
                  <a:pt x="507" y="123"/>
                  <a:pt x="505" y="124"/>
                  <a:pt x="505" y="124"/>
                </a:cubicBezTo>
                <a:cubicBezTo>
                  <a:pt x="505" y="123"/>
                  <a:pt x="505" y="122"/>
                  <a:pt x="506" y="123"/>
                </a:cubicBezTo>
                <a:close/>
                <a:moveTo>
                  <a:pt x="506" y="142"/>
                </a:moveTo>
                <a:cubicBezTo>
                  <a:pt x="507" y="142"/>
                  <a:pt x="505" y="143"/>
                  <a:pt x="505" y="142"/>
                </a:cubicBezTo>
                <a:cubicBezTo>
                  <a:pt x="505" y="142"/>
                  <a:pt x="506" y="142"/>
                  <a:pt x="506" y="142"/>
                </a:cubicBezTo>
                <a:close/>
                <a:moveTo>
                  <a:pt x="502" y="137"/>
                </a:moveTo>
                <a:cubicBezTo>
                  <a:pt x="503" y="139"/>
                  <a:pt x="499" y="139"/>
                  <a:pt x="499" y="138"/>
                </a:cubicBezTo>
                <a:cubicBezTo>
                  <a:pt x="499" y="136"/>
                  <a:pt x="502" y="136"/>
                  <a:pt x="502" y="137"/>
                </a:cubicBezTo>
                <a:close/>
                <a:moveTo>
                  <a:pt x="504" y="199"/>
                </a:moveTo>
                <a:cubicBezTo>
                  <a:pt x="504" y="199"/>
                  <a:pt x="503" y="200"/>
                  <a:pt x="503" y="200"/>
                </a:cubicBezTo>
                <a:cubicBezTo>
                  <a:pt x="501" y="200"/>
                  <a:pt x="503" y="197"/>
                  <a:pt x="504" y="199"/>
                </a:cubicBezTo>
                <a:close/>
                <a:moveTo>
                  <a:pt x="512" y="113"/>
                </a:moveTo>
                <a:cubicBezTo>
                  <a:pt x="512" y="114"/>
                  <a:pt x="509" y="116"/>
                  <a:pt x="507" y="114"/>
                </a:cubicBezTo>
                <a:cubicBezTo>
                  <a:pt x="506" y="113"/>
                  <a:pt x="511" y="111"/>
                  <a:pt x="512" y="113"/>
                </a:cubicBezTo>
                <a:close/>
                <a:moveTo>
                  <a:pt x="508" y="101"/>
                </a:moveTo>
                <a:cubicBezTo>
                  <a:pt x="508" y="100"/>
                  <a:pt x="509" y="100"/>
                  <a:pt x="510" y="101"/>
                </a:cubicBezTo>
                <a:cubicBezTo>
                  <a:pt x="511" y="102"/>
                  <a:pt x="508" y="102"/>
                  <a:pt x="508" y="101"/>
                </a:cubicBezTo>
                <a:close/>
                <a:moveTo>
                  <a:pt x="510" y="102"/>
                </a:moveTo>
                <a:cubicBezTo>
                  <a:pt x="511" y="101"/>
                  <a:pt x="512" y="103"/>
                  <a:pt x="510" y="102"/>
                </a:cubicBezTo>
                <a:close/>
                <a:moveTo>
                  <a:pt x="514" y="132"/>
                </a:moveTo>
                <a:cubicBezTo>
                  <a:pt x="514" y="132"/>
                  <a:pt x="514" y="133"/>
                  <a:pt x="514" y="134"/>
                </a:cubicBezTo>
                <a:cubicBezTo>
                  <a:pt x="512" y="137"/>
                  <a:pt x="512" y="131"/>
                  <a:pt x="514" y="132"/>
                </a:cubicBezTo>
                <a:close/>
                <a:moveTo>
                  <a:pt x="515" y="154"/>
                </a:moveTo>
                <a:cubicBezTo>
                  <a:pt x="515" y="154"/>
                  <a:pt x="515" y="153"/>
                  <a:pt x="515" y="153"/>
                </a:cubicBezTo>
                <a:cubicBezTo>
                  <a:pt x="516" y="154"/>
                  <a:pt x="515" y="155"/>
                  <a:pt x="515" y="154"/>
                </a:cubicBezTo>
                <a:close/>
                <a:moveTo>
                  <a:pt x="516" y="153"/>
                </a:moveTo>
                <a:cubicBezTo>
                  <a:pt x="516" y="151"/>
                  <a:pt x="519" y="152"/>
                  <a:pt x="516" y="153"/>
                </a:cubicBezTo>
                <a:close/>
                <a:moveTo>
                  <a:pt x="513" y="148"/>
                </a:moveTo>
                <a:cubicBezTo>
                  <a:pt x="514" y="147"/>
                  <a:pt x="516" y="145"/>
                  <a:pt x="517" y="145"/>
                </a:cubicBezTo>
                <a:cubicBezTo>
                  <a:pt x="520" y="143"/>
                  <a:pt x="516" y="149"/>
                  <a:pt x="513" y="148"/>
                </a:cubicBezTo>
                <a:close/>
                <a:moveTo>
                  <a:pt x="515" y="134"/>
                </a:moveTo>
                <a:cubicBezTo>
                  <a:pt x="514" y="133"/>
                  <a:pt x="515" y="133"/>
                  <a:pt x="515" y="134"/>
                </a:cubicBezTo>
                <a:close/>
                <a:moveTo>
                  <a:pt x="518" y="86"/>
                </a:moveTo>
                <a:cubicBezTo>
                  <a:pt x="517" y="86"/>
                  <a:pt x="519" y="86"/>
                  <a:pt x="519" y="86"/>
                </a:cubicBezTo>
                <a:cubicBezTo>
                  <a:pt x="520" y="86"/>
                  <a:pt x="518" y="87"/>
                  <a:pt x="518" y="86"/>
                </a:cubicBezTo>
                <a:close/>
                <a:moveTo>
                  <a:pt x="518" y="88"/>
                </a:moveTo>
                <a:cubicBezTo>
                  <a:pt x="519" y="87"/>
                  <a:pt x="520" y="88"/>
                  <a:pt x="518" y="88"/>
                </a:cubicBezTo>
                <a:close/>
                <a:moveTo>
                  <a:pt x="519" y="94"/>
                </a:moveTo>
                <a:cubicBezTo>
                  <a:pt x="519" y="96"/>
                  <a:pt x="514" y="96"/>
                  <a:pt x="515" y="93"/>
                </a:cubicBezTo>
                <a:cubicBezTo>
                  <a:pt x="515" y="92"/>
                  <a:pt x="519" y="92"/>
                  <a:pt x="519" y="94"/>
                </a:cubicBezTo>
                <a:close/>
                <a:moveTo>
                  <a:pt x="516" y="113"/>
                </a:moveTo>
                <a:cubicBezTo>
                  <a:pt x="516" y="112"/>
                  <a:pt x="516" y="112"/>
                  <a:pt x="516" y="112"/>
                </a:cubicBezTo>
                <a:cubicBezTo>
                  <a:pt x="518" y="110"/>
                  <a:pt x="517" y="114"/>
                  <a:pt x="516" y="113"/>
                </a:cubicBezTo>
                <a:close/>
                <a:moveTo>
                  <a:pt x="518" y="143"/>
                </a:moveTo>
                <a:cubicBezTo>
                  <a:pt x="518" y="143"/>
                  <a:pt x="516" y="144"/>
                  <a:pt x="516" y="144"/>
                </a:cubicBezTo>
                <a:cubicBezTo>
                  <a:pt x="516" y="143"/>
                  <a:pt x="517" y="142"/>
                  <a:pt x="518" y="143"/>
                </a:cubicBezTo>
                <a:close/>
                <a:moveTo>
                  <a:pt x="515" y="139"/>
                </a:moveTo>
                <a:cubicBezTo>
                  <a:pt x="516" y="140"/>
                  <a:pt x="515" y="140"/>
                  <a:pt x="515" y="140"/>
                </a:cubicBezTo>
                <a:cubicBezTo>
                  <a:pt x="515" y="140"/>
                  <a:pt x="515" y="139"/>
                  <a:pt x="515" y="139"/>
                </a:cubicBezTo>
                <a:close/>
                <a:moveTo>
                  <a:pt x="519" y="150"/>
                </a:moveTo>
                <a:cubicBezTo>
                  <a:pt x="520" y="150"/>
                  <a:pt x="518" y="151"/>
                  <a:pt x="518" y="151"/>
                </a:cubicBezTo>
                <a:cubicBezTo>
                  <a:pt x="517" y="150"/>
                  <a:pt x="519" y="150"/>
                  <a:pt x="519" y="150"/>
                </a:cubicBezTo>
                <a:close/>
                <a:moveTo>
                  <a:pt x="525" y="72"/>
                </a:moveTo>
                <a:cubicBezTo>
                  <a:pt x="525" y="72"/>
                  <a:pt x="525" y="72"/>
                  <a:pt x="524" y="72"/>
                </a:cubicBezTo>
                <a:cubicBezTo>
                  <a:pt x="524" y="72"/>
                  <a:pt x="525" y="71"/>
                  <a:pt x="525" y="72"/>
                </a:cubicBezTo>
                <a:close/>
                <a:moveTo>
                  <a:pt x="509" y="73"/>
                </a:moveTo>
                <a:cubicBezTo>
                  <a:pt x="510" y="72"/>
                  <a:pt x="513" y="74"/>
                  <a:pt x="516" y="74"/>
                </a:cubicBezTo>
                <a:cubicBezTo>
                  <a:pt x="517" y="73"/>
                  <a:pt x="522" y="72"/>
                  <a:pt x="523" y="73"/>
                </a:cubicBezTo>
                <a:cubicBezTo>
                  <a:pt x="523" y="75"/>
                  <a:pt x="517" y="75"/>
                  <a:pt x="517" y="75"/>
                </a:cubicBezTo>
                <a:cubicBezTo>
                  <a:pt x="517" y="76"/>
                  <a:pt x="520" y="79"/>
                  <a:pt x="520" y="79"/>
                </a:cubicBezTo>
                <a:cubicBezTo>
                  <a:pt x="522" y="87"/>
                  <a:pt x="509" y="84"/>
                  <a:pt x="506" y="82"/>
                </a:cubicBezTo>
                <a:cubicBezTo>
                  <a:pt x="501" y="80"/>
                  <a:pt x="510" y="81"/>
                  <a:pt x="507" y="77"/>
                </a:cubicBezTo>
                <a:cubicBezTo>
                  <a:pt x="511" y="79"/>
                  <a:pt x="508" y="74"/>
                  <a:pt x="509" y="73"/>
                </a:cubicBezTo>
                <a:close/>
                <a:moveTo>
                  <a:pt x="509" y="61"/>
                </a:moveTo>
                <a:cubicBezTo>
                  <a:pt x="510" y="61"/>
                  <a:pt x="508" y="62"/>
                  <a:pt x="507" y="61"/>
                </a:cubicBezTo>
                <a:cubicBezTo>
                  <a:pt x="507" y="61"/>
                  <a:pt x="509" y="60"/>
                  <a:pt x="509" y="61"/>
                </a:cubicBezTo>
                <a:close/>
                <a:moveTo>
                  <a:pt x="511" y="36"/>
                </a:moveTo>
                <a:cubicBezTo>
                  <a:pt x="511" y="37"/>
                  <a:pt x="509" y="37"/>
                  <a:pt x="509" y="36"/>
                </a:cubicBezTo>
                <a:cubicBezTo>
                  <a:pt x="509" y="35"/>
                  <a:pt x="510" y="35"/>
                  <a:pt x="511" y="36"/>
                </a:cubicBezTo>
                <a:close/>
                <a:moveTo>
                  <a:pt x="509" y="38"/>
                </a:moveTo>
                <a:cubicBezTo>
                  <a:pt x="509" y="40"/>
                  <a:pt x="506" y="39"/>
                  <a:pt x="506" y="38"/>
                </a:cubicBezTo>
                <a:cubicBezTo>
                  <a:pt x="506" y="37"/>
                  <a:pt x="509" y="36"/>
                  <a:pt x="509" y="38"/>
                </a:cubicBezTo>
                <a:close/>
                <a:moveTo>
                  <a:pt x="509" y="50"/>
                </a:moveTo>
                <a:cubicBezTo>
                  <a:pt x="504" y="53"/>
                  <a:pt x="503" y="50"/>
                  <a:pt x="509" y="50"/>
                </a:cubicBezTo>
                <a:close/>
                <a:moveTo>
                  <a:pt x="506" y="53"/>
                </a:moveTo>
                <a:cubicBezTo>
                  <a:pt x="505" y="54"/>
                  <a:pt x="504" y="53"/>
                  <a:pt x="504" y="53"/>
                </a:cubicBezTo>
                <a:cubicBezTo>
                  <a:pt x="504" y="53"/>
                  <a:pt x="506" y="53"/>
                  <a:pt x="506" y="53"/>
                </a:cubicBezTo>
                <a:close/>
                <a:moveTo>
                  <a:pt x="504" y="64"/>
                </a:moveTo>
                <a:cubicBezTo>
                  <a:pt x="503" y="65"/>
                  <a:pt x="502" y="65"/>
                  <a:pt x="501" y="65"/>
                </a:cubicBezTo>
                <a:cubicBezTo>
                  <a:pt x="501" y="64"/>
                  <a:pt x="503" y="63"/>
                  <a:pt x="504" y="64"/>
                </a:cubicBezTo>
                <a:close/>
                <a:moveTo>
                  <a:pt x="501" y="64"/>
                </a:moveTo>
                <a:cubicBezTo>
                  <a:pt x="501" y="64"/>
                  <a:pt x="500" y="65"/>
                  <a:pt x="500" y="64"/>
                </a:cubicBezTo>
                <a:cubicBezTo>
                  <a:pt x="500" y="64"/>
                  <a:pt x="501" y="63"/>
                  <a:pt x="501" y="64"/>
                </a:cubicBezTo>
                <a:close/>
                <a:moveTo>
                  <a:pt x="501" y="123"/>
                </a:moveTo>
                <a:cubicBezTo>
                  <a:pt x="501" y="123"/>
                  <a:pt x="501" y="123"/>
                  <a:pt x="501" y="123"/>
                </a:cubicBezTo>
                <a:cubicBezTo>
                  <a:pt x="502" y="125"/>
                  <a:pt x="499" y="121"/>
                  <a:pt x="501" y="123"/>
                </a:cubicBezTo>
                <a:close/>
                <a:moveTo>
                  <a:pt x="499" y="65"/>
                </a:moveTo>
                <a:cubicBezTo>
                  <a:pt x="501" y="65"/>
                  <a:pt x="497" y="65"/>
                  <a:pt x="499" y="65"/>
                </a:cubicBezTo>
                <a:close/>
                <a:moveTo>
                  <a:pt x="498" y="38"/>
                </a:moveTo>
                <a:cubicBezTo>
                  <a:pt x="498" y="38"/>
                  <a:pt x="497" y="39"/>
                  <a:pt x="497" y="38"/>
                </a:cubicBezTo>
                <a:cubicBezTo>
                  <a:pt x="497" y="38"/>
                  <a:pt x="497" y="37"/>
                  <a:pt x="498" y="38"/>
                </a:cubicBezTo>
                <a:close/>
                <a:moveTo>
                  <a:pt x="497" y="31"/>
                </a:moveTo>
                <a:cubicBezTo>
                  <a:pt x="497" y="32"/>
                  <a:pt x="495" y="32"/>
                  <a:pt x="495" y="31"/>
                </a:cubicBezTo>
                <a:cubicBezTo>
                  <a:pt x="495" y="31"/>
                  <a:pt x="496" y="31"/>
                  <a:pt x="497" y="31"/>
                </a:cubicBezTo>
                <a:close/>
                <a:moveTo>
                  <a:pt x="496" y="40"/>
                </a:moveTo>
                <a:cubicBezTo>
                  <a:pt x="496" y="41"/>
                  <a:pt x="493" y="42"/>
                  <a:pt x="493" y="41"/>
                </a:cubicBezTo>
                <a:cubicBezTo>
                  <a:pt x="492" y="40"/>
                  <a:pt x="495" y="39"/>
                  <a:pt x="496" y="40"/>
                </a:cubicBezTo>
                <a:close/>
                <a:moveTo>
                  <a:pt x="492" y="44"/>
                </a:moveTo>
                <a:cubicBezTo>
                  <a:pt x="493" y="43"/>
                  <a:pt x="494" y="45"/>
                  <a:pt x="492" y="44"/>
                </a:cubicBezTo>
                <a:close/>
                <a:moveTo>
                  <a:pt x="488" y="29"/>
                </a:moveTo>
                <a:cubicBezTo>
                  <a:pt x="489" y="30"/>
                  <a:pt x="486" y="30"/>
                  <a:pt x="486" y="29"/>
                </a:cubicBezTo>
                <a:cubicBezTo>
                  <a:pt x="486" y="28"/>
                  <a:pt x="488" y="28"/>
                  <a:pt x="488" y="29"/>
                </a:cubicBezTo>
                <a:close/>
                <a:moveTo>
                  <a:pt x="487" y="31"/>
                </a:moveTo>
                <a:cubicBezTo>
                  <a:pt x="487" y="31"/>
                  <a:pt x="488" y="31"/>
                  <a:pt x="488" y="31"/>
                </a:cubicBezTo>
                <a:cubicBezTo>
                  <a:pt x="489" y="32"/>
                  <a:pt x="487" y="32"/>
                  <a:pt x="487" y="31"/>
                </a:cubicBezTo>
                <a:close/>
                <a:moveTo>
                  <a:pt x="488" y="40"/>
                </a:moveTo>
                <a:cubicBezTo>
                  <a:pt x="488" y="41"/>
                  <a:pt x="487" y="41"/>
                  <a:pt x="486" y="41"/>
                </a:cubicBezTo>
                <a:cubicBezTo>
                  <a:pt x="486" y="40"/>
                  <a:pt x="487" y="40"/>
                  <a:pt x="488" y="40"/>
                </a:cubicBezTo>
                <a:close/>
                <a:moveTo>
                  <a:pt x="484" y="41"/>
                </a:moveTo>
                <a:cubicBezTo>
                  <a:pt x="485" y="42"/>
                  <a:pt x="483" y="42"/>
                  <a:pt x="483" y="42"/>
                </a:cubicBezTo>
                <a:cubicBezTo>
                  <a:pt x="483" y="41"/>
                  <a:pt x="484" y="41"/>
                  <a:pt x="484" y="41"/>
                </a:cubicBezTo>
                <a:close/>
                <a:moveTo>
                  <a:pt x="483" y="38"/>
                </a:moveTo>
                <a:cubicBezTo>
                  <a:pt x="482" y="37"/>
                  <a:pt x="484" y="38"/>
                  <a:pt x="483" y="38"/>
                </a:cubicBezTo>
                <a:close/>
                <a:moveTo>
                  <a:pt x="483" y="51"/>
                </a:moveTo>
                <a:cubicBezTo>
                  <a:pt x="485" y="47"/>
                  <a:pt x="492" y="43"/>
                  <a:pt x="496" y="48"/>
                </a:cubicBezTo>
                <a:cubicBezTo>
                  <a:pt x="496" y="49"/>
                  <a:pt x="494" y="53"/>
                  <a:pt x="493" y="53"/>
                </a:cubicBezTo>
                <a:cubicBezTo>
                  <a:pt x="493" y="53"/>
                  <a:pt x="491" y="53"/>
                  <a:pt x="490" y="53"/>
                </a:cubicBezTo>
                <a:cubicBezTo>
                  <a:pt x="490" y="53"/>
                  <a:pt x="490" y="54"/>
                  <a:pt x="489" y="54"/>
                </a:cubicBezTo>
                <a:cubicBezTo>
                  <a:pt x="488" y="54"/>
                  <a:pt x="485" y="54"/>
                  <a:pt x="483" y="54"/>
                </a:cubicBezTo>
                <a:cubicBezTo>
                  <a:pt x="483" y="54"/>
                  <a:pt x="483" y="54"/>
                  <a:pt x="482" y="54"/>
                </a:cubicBezTo>
                <a:cubicBezTo>
                  <a:pt x="482" y="53"/>
                  <a:pt x="483" y="52"/>
                  <a:pt x="483" y="51"/>
                </a:cubicBezTo>
                <a:close/>
                <a:moveTo>
                  <a:pt x="482" y="56"/>
                </a:moveTo>
                <a:cubicBezTo>
                  <a:pt x="483" y="57"/>
                  <a:pt x="480" y="57"/>
                  <a:pt x="480" y="57"/>
                </a:cubicBezTo>
                <a:cubicBezTo>
                  <a:pt x="479" y="55"/>
                  <a:pt x="482" y="55"/>
                  <a:pt x="482" y="56"/>
                </a:cubicBezTo>
                <a:close/>
                <a:moveTo>
                  <a:pt x="479" y="43"/>
                </a:moveTo>
                <a:cubicBezTo>
                  <a:pt x="479" y="45"/>
                  <a:pt x="475" y="45"/>
                  <a:pt x="474" y="44"/>
                </a:cubicBezTo>
                <a:cubicBezTo>
                  <a:pt x="474" y="43"/>
                  <a:pt x="478" y="42"/>
                  <a:pt x="479" y="43"/>
                </a:cubicBezTo>
                <a:close/>
                <a:moveTo>
                  <a:pt x="473" y="28"/>
                </a:moveTo>
                <a:cubicBezTo>
                  <a:pt x="472" y="28"/>
                  <a:pt x="474" y="28"/>
                  <a:pt x="473" y="28"/>
                </a:cubicBezTo>
                <a:close/>
                <a:moveTo>
                  <a:pt x="471" y="33"/>
                </a:moveTo>
                <a:cubicBezTo>
                  <a:pt x="471" y="34"/>
                  <a:pt x="470" y="34"/>
                  <a:pt x="469" y="34"/>
                </a:cubicBezTo>
                <a:cubicBezTo>
                  <a:pt x="469" y="33"/>
                  <a:pt x="471" y="32"/>
                  <a:pt x="471" y="33"/>
                </a:cubicBezTo>
                <a:close/>
                <a:moveTo>
                  <a:pt x="467" y="32"/>
                </a:moveTo>
                <a:cubicBezTo>
                  <a:pt x="469" y="31"/>
                  <a:pt x="470" y="33"/>
                  <a:pt x="467" y="32"/>
                </a:cubicBezTo>
                <a:close/>
                <a:moveTo>
                  <a:pt x="467" y="46"/>
                </a:moveTo>
                <a:cubicBezTo>
                  <a:pt x="468" y="44"/>
                  <a:pt x="469" y="47"/>
                  <a:pt x="467" y="46"/>
                </a:cubicBezTo>
                <a:close/>
                <a:moveTo>
                  <a:pt x="467" y="52"/>
                </a:moveTo>
                <a:cubicBezTo>
                  <a:pt x="466" y="52"/>
                  <a:pt x="468" y="53"/>
                  <a:pt x="467" y="52"/>
                </a:cubicBezTo>
                <a:close/>
                <a:moveTo>
                  <a:pt x="467" y="30"/>
                </a:moveTo>
                <a:cubicBezTo>
                  <a:pt x="467" y="30"/>
                  <a:pt x="468" y="31"/>
                  <a:pt x="467" y="31"/>
                </a:cubicBezTo>
                <a:cubicBezTo>
                  <a:pt x="465" y="31"/>
                  <a:pt x="467" y="28"/>
                  <a:pt x="467" y="30"/>
                </a:cubicBezTo>
                <a:close/>
                <a:moveTo>
                  <a:pt x="468" y="38"/>
                </a:moveTo>
                <a:cubicBezTo>
                  <a:pt x="468" y="39"/>
                  <a:pt x="466" y="40"/>
                  <a:pt x="465" y="39"/>
                </a:cubicBezTo>
                <a:cubicBezTo>
                  <a:pt x="465" y="38"/>
                  <a:pt x="467" y="37"/>
                  <a:pt x="468" y="38"/>
                </a:cubicBezTo>
                <a:close/>
                <a:moveTo>
                  <a:pt x="464" y="49"/>
                </a:moveTo>
                <a:cubicBezTo>
                  <a:pt x="463" y="50"/>
                  <a:pt x="462" y="48"/>
                  <a:pt x="462" y="49"/>
                </a:cubicBezTo>
                <a:cubicBezTo>
                  <a:pt x="460" y="46"/>
                  <a:pt x="468" y="49"/>
                  <a:pt x="464" y="49"/>
                </a:cubicBezTo>
                <a:close/>
                <a:moveTo>
                  <a:pt x="463" y="51"/>
                </a:moveTo>
                <a:cubicBezTo>
                  <a:pt x="463" y="51"/>
                  <a:pt x="464" y="51"/>
                  <a:pt x="464" y="51"/>
                </a:cubicBezTo>
                <a:cubicBezTo>
                  <a:pt x="465" y="52"/>
                  <a:pt x="464" y="51"/>
                  <a:pt x="463" y="51"/>
                </a:cubicBezTo>
                <a:close/>
                <a:moveTo>
                  <a:pt x="447" y="79"/>
                </a:moveTo>
                <a:cubicBezTo>
                  <a:pt x="448" y="79"/>
                  <a:pt x="446" y="80"/>
                  <a:pt x="446" y="80"/>
                </a:cubicBezTo>
                <a:cubicBezTo>
                  <a:pt x="446" y="79"/>
                  <a:pt x="446" y="79"/>
                  <a:pt x="447" y="79"/>
                </a:cubicBezTo>
                <a:close/>
                <a:moveTo>
                  <a:pt x="446" y="189"/>
                </a:moveTo>
                <a:cubicBezTo>
                  <a:pt x="446" y="188"/>
                  <a:pt x="448" y="188"/>
                  <a:pt x="448" y="189"/>
                </a:cubicBezTo>
                <a:cubicBezTo>
                  <a:pt x="448" y="190"/>
                  <a:pt x="446" y="190"/>
                  <a:pt x="446" y="189"/>
                </a:cubicBezTo>
                <a:close/>
                <a:moveTo>
                  <a:pt x="449" y="610"/>
                </a:moveTo>
                <a:cubicBezTo>
                  <a:pt x="448" y="610"/>
                  <a:pt x="447" y="610"/>
                  <a:pt x="446" y="610"/>
                </a:cubicBezTo>
                <a:cubicBezTo>
                  <a:pt x="447" y="609"/>
                  <a:pt x="448" y="609"/>
                  <a:pt x="449" y="610"/>
                </a:cubicBezTo>
                <a:close/>
                <a:moveTo>
                  <a:pt x="447" y="145"/>
                </a:moveTo>
                <a:cubicBezTo>
                  <a:pt x="446" y="146"/>
                  <a:pt x="445" y="145"/>
                  <a:pt x="447" y="145"/>
                </a:cubicBezTo>
                <a:close/>
                <a:moveTo>
                  <a:pt x="447" y="126"/>
                </a:moveTo>
                <a:cubicBezTo>
                  <a:pt x="447" y="126"/>
                  <a:pt x="446" y="127"/>
                  <a:pt x="446" y="127"/>
                </a:cubicBezTo>
                <a:cubicBezTo>
                  <a:pt x="446" y="127"/>
                  <a:pt x="446" y="126"/>
                  <a:pt x="447" y="126"/>
                </a:cubicBezTo>
                <a:close/>
                <a:moveTo>
                  <a:pt x="446" y="180"/>
                </a:moveTo>
                <a:cubicBezTo>
                  <a:pt x="446" y="184"/>
                  <a:pt x="439" y="183"/>
                  <a:pt x="438" y="180"/>
                </a:cubicBezTo>
                <a:cubicBezTo>
                  <a:pt x="438" y="178"/>
                  <a:pt x="446" y="176"/>
                  <a:pt x="446" y="180"/>
                </a:cubicBezTo>
                <a:close/>
                <a:moveTo>
                  <a:pt x="441" y="175"/>
                </a:moveTo>
                <a:cubicBezTo>
                  <a:pt x="441" y="173"/>
                  <a:pt x="444" y="173"/>
                  <a:pt x="444" y="174"/>
                </a:cubicBezTo>
                <a:cubicBezTo>
                  <a:pt x="445" y="176"/>
                  <a:pt x="442" y="176"/>
                  <a:pt x="441" y="175"/>
                </a:cubicBezTo>
                <a:close/>
                <a:moveTo>
                  <a:pt x="446" y="135"/>
                </a:moveTo>
                <a:cubicBezTo>
                  <a:pt x="444" y="136"/>
                  <a:pt x="441" y="137"/>
                  <a:pt x="440" y="136"/>
                </a:cubicBezTo>
                <a:cubicBezTo>
                  <a:pt x="442" y="136"/>
                  <a:pt x="444" y="134"/>
                  <a:pt x="446" y="135"/>
                </a:cubicBezTo>
                <a:close/>
                <a:moveTo>
                  <a:pt x="443" y="79"/>
                </a:moveTo>
                <a:cubicBezTo>
                  <a:pt x="444" y="78"/>
                  <a:pt x="445" y="80"/>
                  <a:pt x="443" y="79"/>
                </a:cubicBezTo>
                <a:close/>
                <a:moveTo>
                  <a:pt x="443" y="79"/>
                </a:moveTo>
                <a:cubicBezTo>
                  <a:pt x="442" y="80"/>
                  <a:pt x="440" y="81"/>
                  <a:pt x="439" y="81"/>
                </a:cubicBezTo>
                <a:cubicBezTo>
                  <a:pt x="439" y="79"/>
                  <a:pt x="441" y="80"/>
                  <a:pt x="443" y="79"/>
                </a:cubicBezTo>
                <a:close/>
                <a:moveTo>
                  <a:pt x="438" y="137"/>
                </a:moveTo>
                <a:cubicBezTo>
                  <a:pt x="439" y="137"/>
                  <a:pt x="437" y="138"/>
                  <a:pt x="437" y="138"/>
                </a:cubicBezTo>
                <a:cubicBezTo>
                  <a:pt x="437" y="138"/>
                  <a:pt x="438" y="137"/>
                  <a:pt x="438" y="137"/>
                </a:cubicBezTo>
                <a:close/>
                <a:moveTo>
                  <a:pt x="437" y="228"/>
                </a:moveTo>
                <a:cubicBezTo>
                  <a:pt x="436" y="229"/>
                  <a:pt x="433" y="230"/>
                  <a:pt x="432" y="232"/>
                </a:cubicBezTo>
                <a:cubicBezTo>
                  <a:pt x="433" y="230"/>
                  <a:pt x="435" y="229"/>
                  <a:pt x="437" y="228"/>
                </a:cubicBezTo>
                <a:close/>
                <a:moveTo>
                  <a:pt x="431" y="647"/>
                </a:moveTo>
                <a:cubicBezTo>
                  <a:pt x="432" y="648"/>
                  <a:pt x="430" y="646"/>
                  <a:pt x="431" y="647"/>
                </a:cubicBezTo>
                <a:close/>
                <a:moveTo>
                  <a:pt x="430" y="190"/>
                </a:move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lose/>
                <a:moveTo>
                  <a:pt x="430" y="233"/>
                </a:moveTo>
                <a:cubicBezTo>
                  <a:pt x="428" y="236"/>
                  <a:pt x="427" y="233"/>
                  <a:pt x="430" y="233"/>
                </a:cubicBezTo>
                <a:close/>
                <a:moveTo>
                  <a:pt x="430" y="647"/>
                </a:moveTo>
                <a:cubicBezTo>
                  <a:pt x="430" y="648"/>
                  <a:pt x="428" y="648"/>
                  <a:pt x="428" y="648"/>
                </a:cubicBezTo>
                <a:cubicBezTo>
                  <a:pt x="428" y="647"/>
                  <a:pt x="429" y="647"/>
                  <a:pt x="430" y="647"/>
                </a:cubicBezTo>
                <a:close/>
                <a:moveTo>
                  <a:pt x="427" y="105"/>
                </a:moveTo>
                <a:cubicBezTo>
                  <a:pt x="426" y="104"/>
                  <a:pt x="428" y="106"/>
                  <a:pt x="427" y="105"/>
                </a:cubicBezTo>
                <a:close/>
                <a:moveTo>
                  <a:pt x="426" y="572"/>
                </a:moveTo>
                <a:cubicBezTo>
                  <a:pt x="427" y="571"/>
                  <a:pt x="427" y="574"/>
                  <a:pt x="426" y="573"/>
                </a:cubicBezTo>
                <a:cubicBezTo>
                  <a:pt x="426" y="573"/>
                  <a:pt x="426" y="572"/>
                  <a:pt x="426" y="572"/>
                </a:cubicBezTo>
                <a:close/>
                <a:moveTo>
                  <a:pt x="424" y="210"/>
                </a:moveTo>
                <a:cubicBezTo>
                  <a:pt x="425" y="209"/>
                  <a:pt x="426" y="211"/>
                  <a:pt x="424" y="210"/>
                </a:cubicBezTo>
                <a:close/>
                <a:moveTo>
                  <a:pt x="422" y="80"/>
                </a:moveTo>
                <a:cubicBezTo>
                  <a:pt x="423" y="81"/>
                  <a:pt x="421" y="81"/>
                  <a:pt x="420" y="81"/>
                </a:cubicBezTo>
                <a:cubicBezTo>
                  <a:pt x="420" y="80"/>
                  <a:pt x="422" y="80"/>
                  <a:pt x="422" y="80"/>
                </a:cubicBezTo>
                <a:close/>
                <a:moveTo>
                  <a:pt x="423" y="85"/>
                </a:moveTo>
                <a:cubicBezTo>
                  <a:pt x="423" y="85"/>
                  <a:pt x="420" y="86"/>
                  <a:pt x="420" y="85"/>
                </a:cubicBezTo>
                <a:cubicBezTo>
                  <a:pt x="419" y="85"/>
                  <a:pt x="424" y="83"/>
                  <a:pt x="423" y="85"/>
                </a:cubicBezTo>
                <a:close/>
                <a:moveTo>
                  <a:pt x="421" y="667"/>
                </a:moveTo>
                <a:cubicBezTo>
                  <a:pt x="423" y="666"/>
                  <a:pt x="422" y="668"/>
                  <a:pt x="421" y="667"/>
                </a:cubicBezTo>
                <a:close/>
                <a:moveTo>
                  <a:pt x="419" y="54"/>
                </a:moveTo>
                <a:cubicBezTo>
                  <a:pt x="420" y="54"/>
                  <a:pt x="419" y="55"/>
                  <a:pt x="419" y="55"/>
                </a:cubicBezTo>
                <a:cubicBezTo>
                  <a:pt x="418" y="55"/>
                  <a:pt x="418" y="54"/>
                  <a:pt x="419" y="54"/>
                </a:cubicBezTo>
                <a:close/>
                <a:moveTo>
                  <a:pt x="419" y="61"/>
                </a:moveTo>
                <a:cubicBezTo>
                  <a:pt x="419" y="61"/>
                  <a:pt x="417" y="61"/>
                  <a:pt x="417" y="60"/>
                </a:cubicBezTo>
                <a:cubicBezTo>
                  <a:pt x="417" y="60"/>
                  <a:pt x="418" y="60"/>
                  <a:pt x="419" y="61"/>
                </a:cubicBezTo>
                <a:close/>
                <a:moveTo>
                  <a:pt x="411" y="63"/>
                </a:moveTo>
                <a:cubicBezTo>
                  <a:pt x="411" y="63"/>
                  <a:pt x="410" y="64"/>
                  <a:pt x="410" y="63"/>
                </a:cubicBezTo>
                <a:cubicBezTo>
                  <a:pt x="409" y="63"/>
                  <a:pt x="411" y="62"/>
                  <a:pt x="411" y="63"/>
                </a:cubicBezTo>
                <a:close/>
                <a:moveTo>
                  <a:pt x="408" y="93"/>
                </a:moveTo>
                <a:cubicBezTo>
                  <a:pt x="408" y="94"/>
                  <a:pt x="407" y="94"/>
                  <a:pt x="407" y="94"/>
                </a:cubicBezTo>
                <a:cubicBezTo>
                  <a:pt x="406" y="93"/>
                  <a:pt x="408" y="93"/>
                  <a:pt x="408" y="93"/>
                </a:cubicBezTo>
                <a:close/>
                <a:moveTo>
                  <a:pt x="406" y="125"/>
                </a:moveTo>
                <a:cubicBezTo>
                  <a:pt x="406" y="126"/>
                  <a:pt x="404" y="125"/>
                  <a:pt x="406" y="125"/>
                </a:cubicBezTo>
                <a:close/>
                <a:moveTo>
                  <a:pt x="405" y="97"/>
                </a:moveTo>
                <a:cubicBezTo>
                  <a:pt x="404" y="97"/>
                  <a:pt x="404" y="97"/>
                  <a:pt x="404" y="96"/>
                </a:cubicBezTo>
                <a:cubicBezTo>
                  <a:pt x="403" y="95"/>
                  <a:pt x="406" y="97"/>
                  <a:pt x="405" y="97"/>
                </a:cubicBezTo>
                <a:close/>
                <a:moveTo>
                  <a:pt x="408" y="154"/>
                </a:moveTo>
                <a:cubicBezTo>
                  <a:pt x="406" y="156"/>
                  <a:pt x="402" y="158"/>
                  <a:pt x="399" y="158"/>
                </a:cubicBezTo>
                <a:cubicBezTo>
                  <a:pt x="402" y="157"/>
                  <a:pt x="405" y="156"/>
                  <a:pt x="408" y="154"/>
                </a:cubicBezTo>
                <a:close/>
                <a:moveTo>
                  <a:pt x="399" y="122"/>
                </a:moveTo>
                <a:cubicBezTo>
                  <a:pt x="399" y="122"/>
                  <a:pt x="400" y="121"/>
                  <a:pt x="400" y="122"/>
                </a:cubicBezTo>
                <a:cubicBezTo>
                  <a:pt x="400" y="122"/>
                  <a:pt x="400" y="123"/>
                  <a:pt x="399" y="122"/>
                </a:cubicBezTo>
                <a:close/>
                <a:moveTo>
                  <a:pt x="401" y="71"/>
                </a:moveTo>
                <a:cubicBezTo>
                  <a:pt x="402" y="72"/>
                  <a:pt x="400" y="73"/>
                  <a:pt x="399" y="72"/>
                </a:cubicBezTo>
                <a:cubicBezTo>
                  <a:pt x="399" y="71"/>
                  <a:pt x="401" y="70"/>
                  <a:pt x="401" y="71"/>
                </a:cubicBezTo>
                <a:close/>
                <a:moveTo>
                  <a:pt x="399" y="97"/>
                </a:moveTo>
                <a:cubicBezTo>
                  <a:pt x="399" y="97"/>
                  <a:pt x="398" y="98"/>
                  <a:pt x="397" y="97"/>
                </a:cubicBezTo>
                <a:cubicBezTo>
                  <a:pt x="398" y="97"/>
                  <a:pt x="398" y="97"/>
                  <a:pt x="399" y="97"/>
                </a:cubicBezTo>
                <a:close/>
                <a:moveTo>
                  <a:pt x="398" y="160"/>
                </a:moveTo>
                <a:cubicBezTo>
                  <a:pt x="398" y="160"/>
                  <a:pt x="398" y="159"/>
                  <a:pt x="399" y="159"/>
                </a:cubicBezTo>
                <a:cubicBezTo>
                  <a:pt x="399" y="159"/>
                  <a:pt x="398" y="160"/>
                  <a:pt x="398" y="160"/>
                </a:cubicBezTo>
                <a:close/>
                <a:moveTo>
                  <a:pt x="398" y="169"/>
                </a:moveTo>
                <a:cubicBezTo>
                  <a:pt x="399" y="170"/>
                  <a:pt x="397" y="171"/>
                  <a:pt x="397" y="170"/>
                </a:cubicBezTo>
                <a:cubicBezTo>
                  <a:pt x="397" y="169"/>
                  <a:pt x="398" y="169"/>
                  <a:pt x="398" y="169"/>
                </a:cubicBezTo>
                <a:close/>
                <a:moveTo>
                  <a:pt x="397" y="159"/>
                </a:moveTo>
                <a:cubicBezTo>
                  <a:pt x="397" y="160"/>
                  <a:pt x="395" y="162"/>
                  <a:pt x="395" y="161"/>
                </a:cubicBezTo>
                <a:cubicBezTo>
                  <a:pt x="395" y="160"/>
                  <a:pt x="397" y="160"/>
                  <a:pt x="397" y="159"/>
                </a:cubicBezTo>
                <a:close/>
                <a:moveTo>
                  <a:pt x="395" y="78"/>
                </a:moveTo>
                <a:cubicBezTo>
                  <a:pt x="395" y="78"/>
                  <a:pt x="394" y="78"/>
                  <a:pt x="394" y="78"/>
                </a:cubicBezTo>
                <a:cubicBezTo>
                  <a:pt x="393" y="78"/>
                  <a:pt x="395" y="78"/>
                  <a:pt x="395" y="78"/>
                </a:cubicBezTo>
                <a:close/>
                <a:moveTo>
                  <a:pt x="392" y="104"/>
                </a:moveTo>
                <a:cubicBezTo>
                  <a:pt x="393" y="106"/>
                  <a:pt x="390" y="105"/>
                  <a:pt x="390" y="104"/>
                </a:cubicBezTo>
                <a:cubicBezTo>
                  <a:pt x="390" y="102"/>
                  <a:pt x="392" y="103"/>
                  <a:pt x="392" y="104"/>
                </a:cubicBezTo>
                <a:close/>
                <a:moveTo>
                  <a:pt x="388" y="79"/>
                </a:moveTo>
                <a:cubicBezTo>
                  <a:pt x="387" y="80"/>
                  <a:pt x="386" y="79"/>
                  <a:pt x="385" y="80"/>
                </a:cubicBezTo>
                <a:cubicBezTo>
                  <a:pt x="385" y="79"/>
                  <a:pt x="387" y="79"/>
                  <a:pt x="388" y="79"/>
                </a:cubicBezTo>
                <a:close/>
                <a:moveTo>
                  <a:pt x="385" y="112"/>
                </a:moveTo>
                <a:cubicBezTo>
                  <a:pt x="385" y="112"/>
                  <a:pt x="387" y="111"/>
                  <a:pt x="387" y="112"/>
                </a:cubicBezTo>
                <a:cubicBezTo>
                  <a:pt x="388" y="114"/>
                  <a:pt x="384" y="114"/>
                  <a:pt x="385" y="112"/>
                </a:cubicBezTo>
                <a:close/>
                <a:moveTo>
                  <a:pt x="382" y="113"/>
                </a:moveTo>
                <a:cubicBezTo>
                  <a:pt x="384" y="111"/>
                  <a:pt x="385" y="114"/>
                  <a:pt x="382" y="113"/>
                </a:cubicBezTo>
                <a:close/>
                <a:moveTo>
                  <a:pt x="379" y="110"/>
                </a:moveTo>
                <a:cubicBezTo>
                  <a:pt x="380" y="111"/>
                  <a:pt x="376" y="111"/>
                  <a:pt x="376" y="110"/>
                </a:cubicBezTo>
                <a:cubicBezTo>
                  <a:pt x="375" y="109"/>
                  <a:pt x="378" y="108"/>
                  <a:pt x="379" y="110"/>
                </a:cubicBezTo>
                <a:close/>
                <a:moveTo>
                  <a:pt x="379" y="80"/>
                </a:moveTo>
                <a:cubicBezTo>
                  <a:pt x="379" y="80"/>
                  <a:pt x="377" y="81"/>
                  <a:pt x="377" y="81"/>
                </a:cubicBezTo>
                <a:cubicBezTo>
                  <a:pt x="377" y="80"/>
                  <a:pt x="378" y="80"/>
                  <a:pt x="379" y="80"/>
                </a:cubicBezTo>
                <a:close/>
                <a:moveTo>
                  <a:pt x="376" y="81"/>
                </a:moveTo>
                <a:cubicBezTo>
                  <a:pt x="375" y="81"/>
                  <a:pt x="374" y="81"/>
                  <a:pt x="374" y="81"/>
                </a:cubicBezTo>
                <a:cubicBezTo>
                  <a:pt x="373" y="81"/>
                  <a:pt x="375" y="81"/>
                  <a:pt x="376" y="81"/>
                </a:cubicBezTo>
                <a:close/>
                <a:moveTo>
                  <a:pt x="372" y="76"/>
                </a:moveTo>
                <a:cubicBezTo>
                  <a:pt x="372" y="76"/>
                  <a:pt x="372" y="76"/>
                  <a:pt x="372" y="76"/>
                </a:cubicBezTo>
                <a:cubicBezTo>
                  <a:pt x="372" y="76"/>
                  <a:pt x="371" y="76"/>
                  <a:pt x="371" y="76"/>
                </a:cubicBezTo>
                <a:cubicBezTo>
                  <a:pt x="371" y="76"/>
                  <a:pt x="371" y="76"/>
                  <a:pt x="372" y="76"/>
                </a:cubicBezTo>
                <a:close/>
                <a:moveTo>
                  <a:pt x="363" y="95"/>
                </a:moveTo>
                <a:cubicBezTo>
                  <a:pt x="362" y="96"/>
                  <a:pt x="361" y="94"/>
                  <a:pt x="363" y="95"/>
                </a:cubicBezTo>
                <a:close/>
                <a:moveTo>
                  <a:pt x="362" y="110"/>
                </a:moveTo>
                <a:cubicBezTo>
                  <a:pt x="362" y="112"/>
                  <a:pt x="358" y="112"/>
                  <a:pt x="357" y="111"/>
                </a:cubicBezTo>
                <a:cubicBezTo>
                  <a:pt x="357" y="111"/>
                  <a:pt x="357" y="111"/>
                  <a:pt x="356" y="110"/>
                </a:cubicBezTo>
                <a:cubicBezTo>
                  <a:pt x="357" y="111"/>
                  <a:pt x="355" y="112"/>
                  <a:pt x="355" y="111"/>
                </a:cubicBezTo>
                <a:cubicBezTo>
                  <a:pt x="354" y="110"/>
                  <a:pt x="363" y="106"/>
                  <a:pt x="362" y="110"/>
                </a:cubicBezTo>
                <a:close/>
                <a:moveTo>
                  <a:pt x="357" y="127"/>
                </a:moveTo>
                <a:cubicBezTo>
                  <a:pt x="362" y="124"/>
                  <a:pt x="368" y="124"/>
                  <a:pt x="374" y="121"/>
                </a:cubicBezTo>
                <a:cubicBezTo>
                  <a:pt x="379" y="119"/>
                  <a:pt x="384" y="116"/>
                  <a:pt x="389" y="116"/>
                </a:cubicBezTo>
                <a:cubicBezTo>
                  <a:pt x="389" y="116"/>
                  <a:pt x="390" y="117"/>
                  <a:pt x="390" y="117"/>
                </a:cubicBezTo>
                <a:cubicBezTo>
                  <a:pt x="390" y="118"/>
                  <a:pt x="381" y="121"/>
                  <a:pt x="378" y="122"/>
                </a:cubicBezTo>
                <a:cubicBezTo>
                  <a:pt x="373" y="123"/>
                  <a:pt x="369" y="124"/>
                  <a:pt x="364" y="125"/>
                </a:cubicBezTo>
                <a:cubicBezTo>
                  <a:pt x="363" y="126"/>
                  <a:pt x="357" y="129"/>
                  <a:pt x="355" y="129"/>
                </a:cubicBezTo>
                <a:cubicBezTo>
                  <a:pt x="352" y="129"/>
                  <a:pt x="356" y="127"/>
                  <a:pt x="357" y="127"/>
                </a:cubicBezTo>
                <a:close/>
                <a:moveTo>
                  <a:pt x="357" y="587"/>
                </a:moveTo>
                <a:cubicBezTo>
                  <a:pt x="365" y="583"/>
                  <a:pt x="375" y="580"/>
                  <a:pt x="384" y="576"/>
                </a:cubicBezTo>
                <a:cubicBezTo>
                  <a:pt x="385" y="576"/>
                  <a:pt x="387" y="575"/>
                  <a:pt x="387" y="576"/>
                </a:cubicBezTo>
                <a:cubicBezTo>
                  <a:pt x="388" y="577"/>
                  <a:pt x="384" y="578"/>
                  <a:pt x="386" y="577"/>
                </a:cubicBezTo>
                <a:cubicBezTo>
                  <a:pt x="377" y="581"/>
                  <a:pt x="366" y="585"/>
                  <a:pt x="357" y="587"/>
                </a:cubicBezTo>
                <a:close/>
                <a:moveTo>
                  <a:pt x="376" y="609"/>
                </a:moveTo>
                <a:cubicBezTo>
                  <a:pt x="376" y="610"/>
                  <a:pt x="374" y="610"/>
                  <a:pt x="374" y="610"/>
                </a:cubicBezTo>
                <a:cubicBezTo>
                  <a:pt x="373" y="609"/>
                  <a:pt x="376" y="608"/>
                  <a:pt x="376" y="609"/>
                </a:cubicBezTo>
                <a:close/>
                <a:moveTo>
                  <a:pt x="374" y="600"/>
                </a:moveTo>
                <a:cubicBezTo>
                  <a:pt x="373" y="599"/>
                  <a:pt x="375" y="599"/>
                  <a:pt x="375" y="600"/>
                </a:cubicBezTo>
                <a:cubicBezTo>
                  <a:pt x="375" y="601"/>
                  <a:pt x="374" y="600"/>
                  <a:pt x="374" y="600"/>
                </a:cubicBezTo>
                <a:close/>
                <a:moveTo>
                  <a:pt x="372" y="610"/>
                </a:moveTo>
                <a:cubicBezTo>
                  <a:pt x="371" y="610"/>
                  <a:pt x="373" y="609"/>
                  <a:pt x="373" y="610"/>
                </a:cubicBezTo>
                <a:cubicBezTo>
                  <a:pt x="373" y="610"/>
                  <a:pt x="373" y="611"/>
                  <a:pt x="372" y="610"/>
                </a:cubicBezTo>
                <a:close/>
                <a:moveTo>
                  <a:pt x="364" y="137"/>
                </a:moveTo>
                <a:cubicBezTo>
                  <a:pt x="364" y="138"/>
                  <a:pt x="364" y="137"/>
                  <a:pt x="363" y="138"/>
                </a:cubicBezTo>
                <a:cubicBezTo>
                  <a:pt x="363" y="137"/>
                  <a:pt x="364" y="137"/>
                  <a:pt x="364" y="137"/>
                </a:cubicBezTo>
                <a:close/>
                <a:moveTo>
                  <a:pt x="376" y="167"/>
                </a:moveTo>
                <a:cubicBezTo>
                  <a:pt x="377" y="168"/>
                  <a:pt x="373" y="170"/>
                  <a:pt x="371" y="170"/>
                </a:cubicBezTo>
                <a:cubicBezTo>
                  <a:pt x="371" y="170"/>
                  <a:pt x="368" y="169"/>
                  <a:pt x="367" y="169"/>
                </a:cubicBezTo>
                <a:cubicBezTo>
                  <a:pt x="367" y="168"/>
                  <a:pt x="371" y="165"/>
                  <a:pt x="373" y="168"/>
                </a:cubicBezTo>
                <a:cubicBezTo>
                  <a:pt x="373" y="168"/>
                  <a:pt x="373" y="169"/>
                  <a:pt x="373" y="169"/>
                </a:cubicBezTo>
                <a:cubicBezTo>
                  <a:pt x="374" y="169"/>
                  <a:pt x="375" y="168"/>
                  <a:pt x="376" y="167"/>
                </a:cubicBezTo>
                <a:close/>
                <a:moveTo>
                  <a:pt x="369" y="576"/>
                </a:moveTo>
                <a:cubicBezTo>
                  <a:pt x="369" y="574"/>
                  <a:pt x="371" y="574"/>
                  <a:pt x="369" y="576"/>
                </a:cubicBezTo>
                <a:close/>
                <a:moveTo>
                  <a:pt x="368" y="211"/>
                </a:moveTo>
                <a:cubicBezTo>
                  <a:pt x="367" y="211"/>
                  <a:pt x="368" y="209"/>
                  <a:pt x="369" y="210"/>
                </a:cubicBezTo>
                <a:cubicBezTo>
                  <a:pt x="369" y="210"/>
                  <a:pt x="368" y="211"/>
                  <a:pt x="368" y="211"/>
                </a:cubicBezTo>
                <a:close/>
                <a:moveTo>
                  <a:pt x="368" y="576"/>
                </a:moveTo>
                <a:cubicBezTo>
                  <a:pt x="370" y="575"/>
                  <a:pt x="366" y="578"/>
                  <a:pt x="368" y="576"/>
                </a:cubicBezTo>
                <a:close/>
                <a:moveTo>
                  <a:pt x="379" y="184"/>
                </a:moveTo>
                <a:cubicBezTo>
                  <a:pt x="379" y="183"/>
                  <a:pt x="380" y="182"/>
                  <a:pt x="380" y="183"/>
                </a:cubicBezTo>
                <a:cubicBezTo>
                  <a:pt x="380" y="184"/>
                  <a:pt x="379" y="184"/>
                  <a:pt x="379" y="184"/>
                </a:cubicBezTo>
                <a:close/>
                <a:moveTo>
                  <a:pt x="356" y="609"/>
                </a:moveTo>
                <a:cubicBezTo>
                  <a:pt x="355" y="611"/>
                  <a:pt x="353" y="609"/>
                  <a:pt x="356" y="609"/>
                </a:cubicBezTo>
                <a:close/>
                <a:moveTo>
                  <a:pt x="354" y="556"/>
                </a:moveTo>
                <a:cubicBezTo>
                  <a:pt x="353" y="557"/>
                  <a:pt x="352" y="555"/>
                  <a:pt x="354" y="556"/>
                </a:cubicBezTo>
                <a:close/>
                <a:moveTo>
                  <a:pt x="352" y="532"/>
                </a:moveTo>
                <a:cubicBezTo>
                  <a:pt x="354" y="530"/>
                  <a:pt x="354" y="533"/>
                  <a:pt x="352" y="532"/>
                </a:cubicBezTo>
                <a:close/>
                <a:moveTo>
                  <a:pt x="354" y="674"/>
                </a:moveTo>
                <a:cubicBezTo>
                  <a:pt x="354" y="673"/>
                  <a:pt x="355" y="673"/>
                  <a:pt x="355" y="673"/>
                </a:cubicBezTo>
                <a:cubicBezTo>
                  <a:pt x="355" y="674"/>
                  <a:pt x="354" y="674"/>
                  <a:pt x="354" y="674"/>
                </a:cubicBezTo>
                <a:close/>
                <a:moveTo>
                  <a:pt x="357" y="697"/>
                </a:moveTo>
                <a:cubicBezTo>
                  <a:pt x="357" y="696"/>
                  <a:pt x="359" y="695"/>
                  <a:pt x="359" y="696"/>
                </a:cubicBezTo>
                <a:cubicBezTo>
                  <a:pt x="359" y="697"/>
                  <a:pt x="357" y="698"/>
                  <a:pt x="357" y="697"/>
                </a:cubicBezTo>
                <a:close/>
                <a:moveTo>
                  <a:pt x="357" y="671"/>
                </a:moveTo>
                <a:cubicBezTo>
                  <a:pt x="358" y="671"/>
                  <a:pt x="358" y="671"/>
                  <a:pt x="358" y="672"/>
                </a:cubicBezTo>
                <a:cubicBezTo>
                  <a:pt x="358" y="673"/>
                  <a:pt x="356" y="671"/>
                  <a:pt x="357" y="671"/>
                </a:cubicBezTo>
                <a:close/>
                <a:moveTo>
                  <a:pt x="360" y="643"/>
                </a:moveTo>
                <a:cubicBezTo>
                  <a:pt x="360" y="642"/>
                  <a:pt x="362" y="643"/>
                  <a:pt x="360" y="643"/>
                </a:cubicBezTo>
                <a:close/>
                <a:moveTo>
                  <a:pt x="360" y="630"/>
                </a:moveTo>
                <a:cubicBezTo>
                  <a:pt x="358" y="633"/>
                  <a:pt x="350" y="631"/>
                  <a:pt x="351" y="627"/>
                </a:cubicBezTo>
                <a:cubicBezTo>
                  <a:pt x="352" y="621"/>
                  <a:pt x="365" y="624"/>
                  <a:pt x="360" y="630"/>
                </a:cubicBezTo>
                <a:close/>
                <a:moveTo>
                  <a:pt x="371" y="611"/>
                </a:moveTo>
                <a:cubicBezTo>
                  <a:pt x="368" y="612"/>
                  <a:pt x="365" y="612"/>
                  <a:pt x="362" y="613"/>
                </a:cubicBezTo>
                <a:cubicBezTo>
                  <a:pt x="364" y="612"/>
                  <a:pt x="368" y="611"/>
                  <a:pt x="371" y="611"/>
                </a:cubicBezTo>
                <a:close/>
                <a:moveTo>
                  <a:pt x="363" y="671"/>
                </a:moveTo>
                <a:cubicBezTo>
                  <a:pt x="363" y="671"/>
                  <a:pt x="364" y="671"/>
                  <a:pt x="365" y="671"/>
                </a:cubicBezTo>
                <a:cubicBezTo>
                  <a:pt x="364" y="672"/>
                  <a:pt x="363" y="672"/>
                  <a:pt x="363" y="671"/>
                </a:cubicBezTo>
                <a:close/>
                <a:moveTo>
                  <a:pt x="364" y="691"/>
                </a:moveTo>
                <a:cubicBezTo>
                  <a:pt x="364" y="690"/>
                  <a:pt x="365" y="691"/>
                  <a:pt x="365" y="691"/>
                </a:cubicBezTo>
                <a:cubicBezTo>
                  <a:pt x="366" y="691"/>
                  <a:pt x="364" y="691"/>
                  <a:pt x="364" y="691"/>
                </a:cubicBezTo>
                <a:close/>
                <a:moveTo>
                  <a:pt x="365" y="647"/>
                </a:moveTo>
                <a:cubicBezTo>
                  <a:pt x="365" y="646"/>
                  <a:pt x="366" y="646"/>
                  <a:pt x="366" y="646"/>
                </a:cubicBezTo>
                <a:cubicBezTo>
                  <a:pt x="367" y="647"/>
                  <a:pt x="365" y="647"/>
                  <a:pt x="365" y="647"/>
                </a:cubicBezTo>
                <a:close/>
                <a:moveTo>
                  <a:pt x="370" y="666"/>
                </a:moveTo>
                <a:cubicBezTo>
                  <a:pt x="370" y="664"/>
                  <a:pt x="373" y="665"/>
                  <a:pt x="372" y="666"/>
                </a:cubicBezTo>
                <a:cubicBezTo>
                  <a:pt x="372" y="667"/>
                  <a:pt x="370" y="667"/>
                  <a:pt x="370" y="666"/>
                </a:cubicBezTo>
                <a:close/>
                <a:moveTo>
                  <a:pt x="371" y="691"/>
                </a:moveTo>
                <a:cubicBezTo>
                  <a:pt x="372" y="690"/>
                  <a:pt x="373" y="691"/>
                  <a:pt x="374" y="691"/>
                </a:cubicBezTo>
                <a:cubicBezTo>
                  <a:pt x="374" y="692"/>
                  <a:pt x="372" y="691"/>
                  <a:pt x="371" y="691"/>
                </a:cubicBezTo>
                <a:close/>
                <a:moveTo>
                  <a:pt x="379" y="659"/>
                </a:moveTo>
                <a:cubicBezTo>
                  <a:pt x="379" y="658"/>
                  <a:pt x="377" y="660"/>
                  <a:pt x="377" y="658"/>
                </a:cubicBezTo>
                <a:cubicBezTo>
                  <a:pt x="376" y="657"/>
                  <a:pt x="380" y="657"/>
                  <a:pt x="379" y="659"/>
                </a:cubicBezTo>
                <a:close/>
                <a:moveTo>
                  <a:pt x="381" y="691"/>
                </a:moveTo>
                <a:cubicBezTo>
                  <a:pt x="380" y="691"/>
                  <a:pt x="382" y="690"/>
                  <a:pt x="383" y="691"/>
                </a:cubicBezTo>
                <a:cubicBezTo>
                  <a:pt x="382" y="691"/>
                  <a:pt x="381" y="691"/>
                  <a:pt x="381" y="691"/>
                </a:cubicBezTo>
                <a:close/>
                <a:moveTo>
                  <a:pt x="382" y="658"/>
                </a:moveTo>
                <a:cubicBezTo>
                  <a:pt x="380" y="659"/>
                  <a:pt x="379" y="657"/>
                  <a:pt x="382" y="658"/>
                </a:cubicBezTo>
                <a:close/>
                <a:moveTo>
                  <a:pt x="383" y="691"/>
                </a:moveTo>
                <a:cubicBezTo>
                  <a:pt x="384" y="691"/>
                  <a:pt x="385" y="691"/>
                  <a:pt x="386" y="691"/>
                </a:cubicBezTo>
                <a:cubicBezTo>
                  <a:pt x="386" y="691"/>
                  <a:pt x="384" y="691"/>
                  <a:pt x="383" y="691"/>
                </a:cubicBezTo>
                <a:close/>
                <a:moveTo>
                  <a:pt x="387" y="696"/>
                </a:move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lose/>
                <a:moveTo>
                  <a:pt x="384" y="662"/>
                </a:moveTo>
                <a:cubicBezTo>
                  <a:pt x="384" y="660"/>
                  <a:pt x="388" y="661"/>
                  <a:pt x="388" y="662"/>
                </a:cubicBezTo>
                <a:cubicBezTo>
                  <a:pt x="388" y="663"/>
                  <a:pt x="385" y="664"/>
                  <a:pt x="384" y="662"/>
                </a:cubicBezTo>
                <a:close/>
                <a:moveTo>
                  <a:pt x="398" y="679"/>
                </a:moveTo>
                <a:cubicBezTo>
                  <a:pt x="400" y="678"/>
                  <a:pt x="400" y="680"/>
                  <a:pt x="398" y="679"/>
                </a:cubicBezTo>
                <a:close/>
                <a:moveTo>
                  <a:pt x="401" y="664"/>
                </a:moveTo>
                <a:cubicBezTo>
                  <a:pt x="402" y="662"/>
                  <a:pt x="405" y="663"/>
                  <a:pt x="406" y="663"/>
                </a:cubicBezTo>
                <a:cubicBezTo>
                  <a:pt x="406" y="663"/>
                  <a:pt x="407" y="664"/>
                  <a:pt x="407" y="664"/>
                </a:cubicBezTo>
                <a:cubicBezTo>
                  <a:pt x="406" y="664"/>
                  <a:pt x="408" y="663"/>
                  <a:pt x="409" y="664"/>
                </a:cubicBezTo>
                <a:cubicBezTo>
                  <a:pt x="409" y="665"/>
                  <a:pt x="400" y="667"/>
                  <a:pt x="401" y="664"/>
                </a:cubicBezTo>
                <a:close/>
                <a:moveTo>
                  <a:pt x="411" y="704"/>
                </a:moveTo>
                <a:cubicBezTo>
                  <a:pt x="410" y="704"/>
                  <a:pt x="411" y="704"/>
                  <a:pt x="411" y="704"/>
                </a:cubicBezTo>
                <a:cubicBezTo>
                  <a:pt x="411" y="704"/>
                  <a:pt x="411" y="704"/>
                  <a:pt x="411" y="704"/>
                </a:cubicBezTo>
                <a:close/>
                <a:moveTo>
                  <a:pt x="409" y="648"/>
                </a:moveTo>
                <a:cubicBezTo>
                  <a:pt x="403" y="650"/>
                  <a:pt x="397" y="649"/>
                  <a:pt x="391" y="651"/>
                </a:cubicBezTo>
                <a:cubicBezTo>
                  <a:pt x="386" y="652"/>
                  <a:pt x="381" y="655"/>
                  <a:pt x="376" y="654"/>
                </a:cubicBezTo>
                <a:cubicBezTo>
                  <a:pt x="375" y="654"/>
                  <a:pt x="375" y="653"/>
                  <a:pt x="375" y="653"/>
                </a:cubicBezTo>
                <a:cubicBezTo>
                  <a:pt x="374" y="652"/>
                  <a:pt x="384" y="650"/>
                  <a:pt x="387" y="650"/>
                </a:cubicBezTo>
                <a:cubicBezTo>
                  <a:pt x="393" y="649"/>
                  <a:pt x="396" y="649"/>
                  <a:pt x="401" y="648"/>
                </a:cubicBezTo>
                <a:cubicBezTo>
                  <a:pt x="403" y="648"/>
                  <a:pt x="408" y="646"/>
                  <a:pt x="410" y="646"/>
                </a:cubicBezTo>
                <a:cubicBezTo>
                  <a:pt x="413" y="647"/>
                  <a:pt x="409" y="648"/>
                  <a:pt x="409" y="648"/>
                </a:cubicBezTo>
                <a:close/>
                <a:moveTo>
                  <a:pt x="394" y="589"/>
                </a:moveTo>
                <a:cubicBezTo>
                  <a:pt x="394" y="588"/>
                  <a:pt x="395" y="588"/>
                  <a:pt x="395" y="589"/>
                </a:cubicBezTo>
                <a:cubicBezTo>
                  <a:pt x="395" y="589"/>
                  <a:pt x="394" y="590"/>
                  <a:pt x="394" y="589"/>
                </a:cubicBezTo>
                <a:close/>
                <a:moveTo>
                  <a:pt x="398" y="605"/>
                </a:moveTo>
                <a:cubicBezTo>
                  <a:pt x="398" y="605"/>
                  <a:pt x="399" y="604"/>
                  <a:pt x="399" y="604"/>
                </a:cubicBezTo>
                <a:cubicBezTo>
                  <a:pt x="398" y="604"/>
                  <a:pt x="396" y="605"/>
                  <a:pt x="395" y="605"/>
                </a:cubicBezTo>
                <a:cubicBezTo>
                  <a:pt x="395" y="605"/>
                  <a:pt x="399" y="603"/>
                  <a:pt x="400" y="603"/>
                </a:cubicBezTo>
                <a:cubicBezTo>
                  <a:pt x="401" y="603"/>
                  <a:pt x="404" y="605"/>
                  <a:pt x="404" y="605"/>
                </a:cubicBezTo>
                <a:cubicBezTo>
                  <a:pt x="404" y="606"/>
                  <a:pt x="400" y="608"/>
                  <a:pt x="398" y="605"/>
                </a:cubicBezTo>
                <a:close/>
                <a:moveTo>
                  <a:pt x="403" y="636"/>
                </a:moveTo>
                <a:cubicBezTo>
                  <a:pt x="403" y="636"/>
                  <a:pt x="404" y="637"/>
                  <a:pt x="404" y="636"/>
                </a:cubicBezTo>
                <a:cubicBezTo>
                  <a:pt x="404" y="637"/>
                  <a:pt x="403" y="637"/>
                  <a:pt x="403" y="636"/>
                </a:cubicBezTo>
                <a:close/>
                <a:moveTo>
                  <a:pt x="406" y="193"/>
                </a:moveTo>
                <a:cubicBezTo>
                  <a:pt x="406" y="195"/>
                  <a:pt x="404" y="195"/>
                  <a:pt x="406" y="193"/>
                </a:cubicBezTo>
                <a:close/>
                <a:moveTo>
                  <a:pt x="407" y="192"/>
                </a:moveTo>
                <a:cubicBezTo>
                  <a:pt x="406" y="194"/>
                  <a:pt x="409" y="190"/>
                  <a:pt x="407" y="192"/>
                </a:cubicBezTo>
                <a:close/>
                <a:moveTo>
                  <a:pt x="410" y="563"/>
                </a:moveTo>
                <a:cubicBezTo>
                  <a:pt x="410" y="564"/>
                  <a:pt x="410" y="565"/>
                  <a:pt x="409" y="564"/>
                </a:cubicBezTo>
                <a:cubicBezTo>
                  <a:pt x="408" y="564"/>
                  <a:pt x="409" y="563"/>
                  <a:pt x="410" y="563"/>
                </a:cubicBezTo>
                <a:close/>
                <a:moveTo>
                  <a:pt x="412" y="687"/>
                </a:moveTo>
                <a:cubicBezTo>
                  <a:pt x="414" y="686"/>
                  <a:pt x="414" y="687"/>
                  <a:pt x="412" y="687"/>
                </a:cubicBezTo>
                <a:close/>
                <a:moveTo>
                  <a:pt x="391" y="194"/>
                </a:moveTo>
                <a:cubicBezTo>
                  <a:pt x="391" y="194"/>
                  <a:pt x="389" y="196"/>
                  <a:pt x="388" y="195"/>
                </a:cubicBezTo>
                <a:cubicBezTo>
                  <a:pt x="388" y="194"/>
                  <a:pt x="391" y="193"/>
                  <a:pt x="390" y="194"/>
                </a:cubicBezTo>
                <a:cubicBezTo>
                  <a:pt x="398" y="189"/>
                  <a:pt x="408" y="183"/>
                  <a:pt x="417" y="179"/>
                </a:cubicBezTo>
                <a:cubicBezTo>
                  <a:pt x="409" y="185"/>
                  <a:pt x="400" y="189"/>
                  <a:pt x="391" y="194"/>
                </a:cubicBezTo>
                <a:close/>
                <a:moveTo>
                  <a:pt x="414" y="158"/>
                </a:moveTo>
                <a:cubicBezTo>
                  <a:pt x="415" y="156"/>
                  <a:pt x="417" y="157"/>
                  <a:pt x="414" y="158"/>
                </a:cubicBezTo>
                <a:close/>
                <a:moveTo>
                  <a:pt x="407" y="137"/>
                </a:moveTo>
                <a:cubicBezTo>
                  <a:pt x="409" y="134"/>
                  <a:pt x="417" y="135"/>
                  <a:pt x="417" y="139"/>
                </a:cubicBezTo>
                <a:cubicBezTo>
                  <a:pt x="417" y="145"/>
                  <a:pt x="403" y="144"/>
                  <a:pt x="407" y="137"/>
                </a:cubicBezTo>
                <a:close/>
                <a:moveTo>
                  <a:pt x="418" y="140"/>
                </a:moveTo>
                <a:cubicBezTo>
                  <a:pt x="418" y="139"/>
                  <a:pt x="419" y="142"/>
                  <a:pt x="418" y="140"/>
                </a:cubicBezTo>
                <a:close/>
                <a:moveTo>
                  <a:pt x="420" y="672"/>
                </a:moveTo>
                <a:cubicBezTo>
                  <a:pt x="419" y="672"/>
                  <a:pt x="418" y="672"/>
                  <a:pt x="418" y="672"/>
                </a:cubicBezTo>
                <a:cubicBezTo>
                  <a:pt x="418" y="671"/>
                  <a:pt x="432" y="670"/>
                  <a:pt x="435" y="670"/>
                </a:cubicBezTo>
                <a:cubicBezTo>
                  <a:pt x="437" y="671"/>
                  <a:pt x="433" y="672"/>
                  <a:pt x="432" y="672"/>
                </a:cubicBezTo>
                <a:cubicBezTo>
                  <a:pt x="428" y="672"/>
                  <a:pt x="423" y="673"/>
                  <a:pt x="420" y="672"/>
                </a:cubicBezTo>
                <a:close/>
                <a:moveTo>
                  <a:pt x="425" y="681"/>
                </a:moveTo>
                <a:cubicBezTo>
                  <a:pt x="425" y="681"/>
                  <a:pt x="425" y="680"/>
                  <a:pt x="425" y="680"/>
                </a:cubicBezTo>
                <a:cubicBezTo>
                  <a:pt x="425" y="680"/>
                  <a:pt x="425" y="680"/>
                  <a:pt x="425" y="681"/>
                </a:cubicBezTo>
                <a:cubicBezTo>
                  <a:pt x="425" y="681"/>
                  <a:pt x="425" y="681"/>
                  <a:pt x="425" y="681"/>
                </a:cubicBezTo>
                <a:cubicBezTo>
                  <a:pt x="426" y="681"/>
                  <a:pt x="426" y="681"/>
                  <a:pt x="425" y="681"/>
                </a:cubicBezTo>
                <a:close/>
                <a:moveTo>
                  <a:pt x="429" y="674"/>
                </a:moveTo>
                <a:cubicBezTo>
                  <a:pt x="429" y="674"/>
                  <a:pt x="426" y="674"/>
                  <a:pt x="428" y="673"/>
                </a:cubicBezTo>
                <a:cubicBezTo>
                  <a:pt x="431" y="672"/>
                  <a:pt x="437" y="672"/>
                  <a:pt x="441" y="672"/>
                </a:cubicBezTo>
                <a:cubicBezTo>
                  <a:pt x="438" y="673"/>
                  <a:pt x="433" y="674"/>
                  <a:pt x="429" y="674"/>
                </a:cubicBezTo>
                <a:close/>
                <a:moveTo>
                  <a:pt x="442" y="672"/>
                </a:moveTo>
                <a:cubicBezTo>
                  <a:pt x="444" y="671"/>
                  <a:pt x="448" y="669"/>
                  <a:pt x="452" y="670"/>
                </a:cubicBezTo>
                <a:cubicBezTo>
                  <a:pt x="449" y="671"/>
                  <a:pt x="445" y="671"/>
                  <a:pt x="442" y="672"/>
                </a:cubicBezTo>
                <a:close/>
                <a:moveTo>
                  <a:pt x="449" y="142"/>
                </a:moveTo>
                <a:cubicBezTo>
                  <a:pt x="450" y="141"/>
                  <a:pt x="450" y="141"/>
                  <a:pt x="451" y="142"/>
                </a:cubicBezTo>
                <a:cubicBezTo>
                  <a:pt x="451" y="142"/>
                  <a:pt x="450" y="142"/>
                  <a:pt x="449" y="142"/>
                </a:cubicBezTo>
                <a:close/>
                <a:moveTo>
                  <a:pt x="451" y="148"/>
                </a:moveTo>
                <a:cubicBezTo>
                  <a:pt x="452" y="149"/>
                  <a:pt x="450" y="147"/>
                  <a:pt x="451" y="148"/>
                </a:cubicBezTo>
                <a:close/>
                <a:moveTo>
                  <a:pt x="446" y="79"/>
                </a:moveTo>
                <a:cubicBezTo>
                  <a:pt x="448" y="77"/>
                  <a:pt x="450" y="78"/>
                  <a:pt x="452" y="77"/>
                </a:cubicBezTo>
                <a:cubicBezTo>
                  <a:pt x="451" y="78"/>
                  <a:pt x="448" y="79"/>
                  <a:pt x="446" y="79"/>
                </a:cubicBezTo>
                <a:close/>
                <a:moveTo>
                  <a:pt x="454" y="644"/>
                </a:moveTo>
                <a:cubicBezTo>
                  <a:pt x="454" y="644"/>
                  <a:pt x="454" y="644"/>
                  <a:pt x="454" y="644"/>
                </a:cubicBezTo>
                <a:cubicBezTo>
                  <a:pt x="455" y="642"/>
                  <a:pt x="455" y="647"/>
                  <a:pt x="454" y="644"/>
                </a:cubicBezTo>
                <a:close/>
                <a:moveTo>
                  <a:pt x="449" y="66"/>
                </a:moveTo>
                <a:cubicBezTo>
                  <a:pt x="449" y="66"/>
                  <a:pt x="448" y="65"/>
                  <a:pt x="448" y="65"/>
                </a:cubicBezTo>
                <a:cubicBezTo>
                  <a:pt x="448" y="64"/>
                  <a:pt x="451" y="62"/>
                  <a:pt x="453" y="61"/>
                </a:cubicBezTo>
                <a:cubicBezTo>
                  <a:pt x="451" y="61"/>
                  <a:pt x="450" y="62"/>
                  <a:pt x="448" y="62"/>
                </a:cubicBezTo>
                <a:cubicBezTo>
                  <a:pt x="444" y="62"/>
                  <a:pt x="452" y="60"/>
                  <a:pt x="453" y="60"/>
                </a:cubicBezTo>
                <a:cubicBezTo>
                  <a:pt x="458" y="59"/>
                  <a:pt x="462" y="58"/>
                  <a:pt x="466" y="57"/>
                </a:cubicBezTo>
                <a:cubicBezTo>
                  <a:pt x="468" y="57"/>
                  <a:pt x="475" y="56"/>
                  <a:pt x="475" y="57"/>
                </a:cubicBezTo>
                <a:cubicBezTo>
                  <a:pt x="476" y="58"/>
                  <a:pt x="468" y="59"/>
                  <a:pt x="465" y="59"/>
                </a:cubicBezTo>
                <a:cubicBezTo>
                  <a:pt x="461" y="60"/>
                  <a:pt x="459" y="60"/>
                  <a:pt x="456" y="61"/>
                </a:cubicBezTo>
                <a:cubicBezTo>
                  <a:pt x="458" y="61"/>
                  <a:pt x="461" y="62"/>
                  <a:pt x="460" y="64"/>
                </a:cubicBezTo>
                <a:cubicBezTo>
                  <a:pt x="460" y="69"/>
                  <a:pt x="453" y="68"/>
                  <a:pt x="449" y="66"/>
                </a:cubicBezTo>
                <a:close/>
                <a:moveTo>
                  <a:pt x="467" y="66"/>
                </a:moveTo>
                <a:cubicBezTo>
                  <a:pt x="468" y="65"/>
                  <a:pt x="470" y="62"/>
                  <a:pt x="471" y="63"/>
                </a:cubicBezTo>
                <a:cubicBezTo>
                  <a:pt x="473" y="65"/>
                  <a:pt x="469" y="66"/>
                  <a:pt x="467" y="66"/>
                </a:cubicBezTo>
                <a:close/>
                <a:moveTo>
                  <a:pt x="459" y="100"/>
                </a:moveTo>
                <a:cubicBezTo>
                  <a:pt x="458" y="100"/>
                  <a:pt x="458" y="99"/>
                  <a:pt x="459" y="98"/>
                </a:cubicBezTo>
                <a:cubicBezTo>
                  <a:pt x="461" y="96"/>
                  <a:pt x="462" y="100"/>
                  <a:pt x="459" y="100"/>
                </a:cubicBezTo>
                <a:close/>
                <a:moveTo>
                  <a:pt x="456" y="149"/>
                </a:moveTo>
                <a:cubicBezTo>
                  <a:pt x="456" y="149"/>
                  <a:pt x="460" y="145"/>
                  <a:pt x="461" y="146"/>
                </a:cubicBezTo>
                <a:cubicBezTo>
                  <a:pt x="463" y="148"/>
                  <a:pt x="457" y="150"/>
                  <a:pt x="456" y="149"/>
                </a:cubicBezTo>
                <a:close/>
                <a:moveTo>
                  <a:pt x="462" y="681"/>
                </a:moveTo>
                <a:cubicBezTo>
                  <a:pt x="464" y="680"/>
                  <a:pt x="464" y="682"/>
                  <a:pt x="462" y="681"/>
                </a:cubicBezTo>
                <a:close/>
                <a:moveTo>
                  <a:pt x="464" y="170"/>
                </a:moveTo>
                <a:cubicBezTo>
                  <a:pt x="463" y="171"/>
                  <a:pt x="461" y="171"/>
                  <a:pt x="460" y="171"/>
                </a:cubicBezTo>
                <a:cubicBezTo>
                  <a:pt x="459" y="172"/>
                  <a:pt x="459" y="172"/>
                  <a:pt x="458" y="172"/>
                </a:cubicBezTo>
                <a:cubicBezTo>
                  <a:pt x="459" y="172"/>
                  <a:pt x="459" y="172"/>
                  <a:pt x="460" y="171"/>
                </a:cubicBezTo>
                <a:cubicBezTo>
                  <a:pt x="462" y="170"/>
                  <a:pt x="464" y="168"/>
                  <a:pt x="465" y="168"/>
                </a:cubicBezTo>
                <a:cubicBezTo>
                  <a:pt x="468" y="167"/>
                  <a:pt x="464" y="170"/>
                  <a:pt x="464" y="170"/>
                </a:cubicBezTo>
                <a:close/>
                <a:moveTo>
                  <a:pt x="466" y="68"/>
                </a:moveTo>
                <a:cubicBezTo>
                  <a:pt x="466" y="68"/>
                  <a:pt x="466" y="68"/>
                  <a:pt x="466" y="68"/>
                </a:cubicBezTo>
                <a:cubicBezTo>
                  <a:pt x="467" y="70"/>
                  <a:pt x="464" y="67"/>
                  <a:pt x="466" y="68"/>
                </a:cubicBezTo>
                <a:close/>
                <a:moveTo>
                  <a:pt x="468" y="241"/>
                </a:moveTo>
                <a:cubicBezTo>
                  <a:pt x="468" y="243"/>
                  <a:pt x="465" y="242"/>
                  <a:pt x="468" y="241"/>
                </a:cubicBezTo>
                <a:close/>
                <a:moveTo>
                  <a:pt x="470" y="75"/>
                </a:moveTo>
                <a:cubicBezTo>
                  <a:pt x="470" y="75"/>
                  <a:pt x="470" y="76"/>
                  <a:pt x="470" y="77"/>
                </a:cubicBezTo>
                <a:cubicBezTo>
                  <a:pt x="471" y="77"/>
                  <a:pt x="472" y="75"/>
                  <a:pt x="472" y="75"/>
                </a:cubicBezTo>
                <a:cubicBezTo>
                  <a:pt x="472" y="74"/>
                  <a:pt x="471" y="74"/>
                  <a:pt x="471" y="73"/>
                </a:cubicBezTo>
                <a:cubicBezTo>
                  <a:pt x="471" y="74"/>
                  <a:pt x="470" y="73"/>
                  <a:pt x="471" y="73"/>
                </a:cubicBezTo>
                <a:cubicBezTo>
                  <a:pt x="472" y="72"/>
                  <a:pt x="473" y="73"/>
                  <a:pt x="473" y="73"/>
                </a:cubicBezTo>
                <a:cubicBezTo>
                  <a:pt x="474" y="72"/>
                  <a:pt x="475" y="72"/>
                  <a:pt x="476" y="72"/>
                </a:cubicBezTo>
                <a:cubicBezTo>
                  <a:pt x="477" y="72"/>
                  <a:pt x="481" y="75"/>
                  <a:pt x="478" y="76"/>
                </a:cubicBezTo>
                <a:cubicBezTo>
                  <a:pt x="476" y="77"/>
                  <a:pt x="471" y="78"/>
                  <a:pt x="469" y="77"/>
                </a:cubicBezTo>
                <a:cubicBezTo>
                  <a:pt x="468" y="77"/>
                  <a:pt x="468" y="74"/>
                  <a:pt x="470" y="75"/>
                </a:cubicBezTo>
                <a:close/>
                <a:moveTo>
                  <a:pt x="478" y="117"/>
                </a:moveTo>
                <a:cubicBezTo>
                  <a:pt x="479" y="118"/>
                  <a:pt x="477" y="118"/>
                  <a:pt x="476" y="118"/>
                </a:cubicBezTo>
                <a:cubicBezTo>
                  <a:pt x="476" y="117"/>
                  <a:pt x="478" y="117"/>
                  <a:pt x="478" y="117"/>
                </a:cubicBezTo>
                <a:close/>
                <a:moveTo>
                  <a:pt x="478" y="100"/>
                </a:move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lose/>
                <a:moveTo>
                  <a:pt x="478" y="100"/>
                </a:moveTo>
                <a:cubicBezTo>
                  <a:pt x="479" y="100"/>
                  <a:pt x="478" y="100"/>
                  <a:pt x="478" y="100"/>
                </a:cubicBezTo>
                <a:close/>
                <a:moveTo>
                  <a:pt x="476" y="97"/>
                </a:moveTo>
                <a:cubicBezTo>
                  <a:pt x="475" y="96"/>
                  <a:pt x="478" y="96"/>
                  <a:pt x="478" y="96"/>
                </a:cubicBezTo>
                <a:cubicBezTo>
                  <a:pt x="479" y="96"/>
                  <a:pt x="476" y="97"/>
                  <a:pt x="476" y="97"/>
                </a:cubicBezTo>
                <a:close/>
                <a:moveTo>
                  <a:pt x="474" y="91"/>
                </a:moveTo>
                <a:cubicBezTo>
                  <a:pt x="474" y="90"/>
                  <a:pt x="475" y="90"/>
                  <a:pt x="476" y="90"/>
                </a:cubicBezTo>
                <a:cubicBezTo>
                  <a:pt x="477" y="92"/>
                  <a:pt x="474" y="92"/>
                  <a:pt x="474" y="91"/>
                </a:cubicBezTo>
                <a:close/>
                <a:moveTo>
                  <a:pt x="477" y="107"/>
                </a:moveTo>
                <a:cubicBezTo>
                  <a:pt x="477" y="109"/>
                  <a:pt x="474" y="111"/>
                  <a:pt x="473" y="109"/>
                </a:cubicBezTo>
                <a:cubicBezTo>
                  <a:pt x="469" y="106"/>
                  <a:pt x="477" y="104"/>
                  <a:pt x="477" y="107"/>
                </a:cubicBezTo>
                <a:close/>
                <a:moveTo>
                  <a:pt x="472" y="112"/>
                </a:moveTo>
                <a:cubicBezTo>
                  <a:pt x="475" y="114"/>
                  <a:pt x="468" y="116"/>
                  <a:pt x="470" y="113"/>
                </a:cubicBezTo>
                <a:cubicBezTo>
                  <a:pt x="471" y="112"/>
                  <a:pt x="472" y="112"/>
                  <a:pt x="472" y="112"/>
                </a:cubicBezTo>
                <a:close/>
                <a:moveTo>
                  <a:pt x="475" y="122"/>
                </a:moveTo>
                <a:cubicBezTo>
                  <a:pt x="474" y="122"/>
                  <a:pt x="473" y="123"/>
                  <a:pt x="472" y="123"/>
                </a:cubicBezTo>
                <a:cubicBezTo>
                  <a:pt x="472" y="123"/>
                  <a:pt x="473" y="121"/>
                  <a:pt x="475" y="122"/>
                </a:cubicBezTo>
                <a:close/>
                <a:moveTo>
                  <a:pt x="474" y="123"/>
                </a:moveTo>
                <a:cubicBezTo>
                  <a:pt x="474" y="123"/>
                  <a:pt x="475" y="123"/>
                  <a:pt x="475" y="124"/>
                </a:cubicBezTo>
                <a:cubicBezTo>
                  <a:pt x="475" y="124"/>
                  <a:pt x="474" y="124"/>
                  <a:pt x="474" y="123"/>
                </a:cubicBezTo>
                <a:close/>
                <a:moveTo>
                  <a:pt x="477" y="158"/>
                </a:moveTo>
                <a:cubicBezTo>
                  <a:pt x="477" y="158"/>
                  <a:pt x="476" y="159"/>
                  <a:pt x="475" y="159"/>
                </a:cubicBezTo>
                <a:cubicBezTo>
                  <a:pt x="475" y="159"/>
                  <a:pt x="476" y="158"/>
                  <a:pt x="477" y="158"/>
                </a:cubicBezTo>
                <a:close/>
                <a:moveTo>
                  <a:pt x="476" y="121"/>
                </a:moveTo>
                <a:cubicBezTo>
                  <a:pt x="477" y="121"/>
                  <a:pt x="478" y="119"/>
                  <a:pt x="479" y="120"/>
                </a:cubicBezTo>
                <a:cubicBezTo>
                  <a:pt x="478" y="121"/>
                  <a:pt x="477" y="121"/>
                  <a:pt x="476" y="121"/>
                </a:cubicBezTo>
                <a:close/>
                <a:moveTo>
                  <a:pt x="472" y="165"/>
                </a:moveTo>
                <a:cubicBezTo>
                  <a:pt x="472" y="166"/>
                  <a:pt x="470" y="167"/>
                  <a:pt x="469" y="168"/>
                </a:cubicBezTo>
                <a:cubicBezTo>
                  <a:pt x="469" y="166"/>
                  <a:pt x="471" y="166"/>
                  <a:pt x="472" y="165"/>
                </a:cubicBezTo>
                <a:close/>
                <a:moveTo>
                  <a:pt x="471" y="178"/>
                </a:moveTo>
                <a:cubicBezTo>
                  <a:pt x="471" y="175"/>
                  <a:pt x="476" y="174"/>
                  <a:pt x="477" y="177"/>
                </a:cubicBezTo>
                <a:cubicBezTo>
                  <a:pt x="477" y="181"/>
                  <a:pt x="471" y="180"/>
                  <a:pt x="471" y="178"/>
                </a:cubicBezTo>
                <a:close/>
                <a:moveTo>
                  <a:pt x="472" y="233"/>
                </a:moveTo>
                <a:cubicBezTo>
                  <a:pt x="472" y="232"/>
                  <a:pt x="475" y="230"/>
                  <a:pt x="475" y="232"/>
                </a:cubicBezTo>
                <a:cubicBezTo>
                  <a:pt x="476" y="234"/>
                  <a:pt x="473" y="234"/>
                  <a:pt x="472" y="233"/>
                </a:cubicBezTo>
                <a:close/>
                <a:moveTo>
                  <a:pt x="475" y="180"/>
                </a:moveTo>
                <a:cubicBezTo>
                  <a:pt x="475" y="180"/>
                  <a:pt x="476" y="179"/>
                  <a:pt x="477" y="180"/>
                </a:cubicBezTo>
                <a:cubicBezTo>
                  <a:pt x="478" y="181"/>
                  <a:pt x="475" y="181"/>
                  <a:pt x="475" y="180"/>
                </a:cubicBezTo>
                <a:close/>
                <a:moveTo>
                  <a:pt x="482" y="155"/>
                </a:moveTo>
                <a:cubicBezTo>
                  <a:pt x="482" y="156"/>
                  <a:pt x="480" y="157"/>
                  <a:pt x="479" y="157"/>
                </a:cubicBezTo>
                <a:cubicBezTo>
                  <a:pt x="479" y="156"/>
                  <a:pt x="481" y="156"/>
                  <a:pt x="482" y="155"/>
                </a:cubicBezTo>
                <a:close/>
                <a:moveTo>
                  <a:pt x="479" y="164"/>
                </a:moveTo>
                <a:cubicBezTo>
                  <a:pt x="479" y="162"/>
                  <a:pt x="481" y="163"/>
                  <a:pt x="479" y="164"/>
                </a:cubicBezTo>
                <a:close/>
                <a:moveTo>
                  <a:pt x="479" y="175"/>
                </a:moveTo>
                <a:cubicBezTo>
                  <a:pt x="478" y="174"/>
                  <a:pt x="480" y="173"/>
                  <a:pt x="480" y="174"/>
                </a:cubicBezTo>
                <a:cubicBezTo>
                  <a:pt x="480" y="175"/>
                  <a:pt x="480" y="175"/>
                  <a:pt x="479" y="175"/>
                </a:cubicBezTo>
                <a:close/>
                <a:moveTo>
                  <a:pt x="480" y="164"/>
                </a:moveTo>
                <a:cubicBezTo>
                  <a:pt x="480" y="163"/>
                  <a:pt x="484" y="161"/>
                  <a:pt x="484" y="164"/>
                </a:cubicBezTo>
                <a:cubicBezTo>
                  <a:pt x="484" y="166"/>
                  <a:pt x="480" y="166"/>
                  <a:pt x="480" y="164"/>
                </a:cubicBezTo>
                <a:close/>
                <a:moveTo>
                  <a:pt x="482" y="188"/>
                </a:moveTo>
                <a:cubicBezTo>
                  <a:pt x="482" y="187"/>
                  <a:pt x="483" y="187"/>
                  <a:pt x="484" y="187"/>
                </a:cubicBezTo>
                <a:cubicBezTo>
                  <a:pt x="484" y="187"/>
                  <a:pt x="482" y="189"/>
                  <a:pt x="482" y="188"/>
                </a:cubicBezTo>
                <a:close/>
                <a:moveTo>
                  <a:pt x="487" y="253"/>
                </a:moveTo>
                <a:cubicBezTo>
                  <a:pt x="487" y="255"/>
                  <a:pt x="485" y="254"/>
                  <a:pt x="487" y="253"/>
                </a:cubicBezTo>
                <a:close/>
                <a:moveTo>
                  <a:pt x="484" y="228"/>
                </a:moveTo>
                <a:cubicBezTo>
                  <a:pt x="482" y="226"/>
                  <a:pt x="488" y="223"/>
                  <a:pt x="488" y="227"/>
                </a:cubicBezTo>
                <a:cubicBezTo>
                  <a:pt x="488" y="228"/>
                  <a:pt x="485" y="230"/>
                  <a:pt x="484" y="228"/>
                </a:cubicBezTo>
                <a:close/>
                <a:moveTo>
                  <a:pt x="486" y="208"/>
                </a:moveTo>
                <a:cubicBezTo>
                  <a:pt x="486" y="207"/>
                  <a:pt x="488" y="206"/>
                  <a:pt x="488" y="207"/>
                </a:cubicBezTo>
                <a:cubicBezTo>
                  <a:pt x="488" y="208"/>
                  <a:pt x="487" y="209"/>
                  <a:pt x="486" y="208"/>
                </a:cubicBezTo>
                <a:close/>
                <a:moveTo>
                  <a:pt x="490" y="250"/>
                </a:moveTo>
                <a:cubicBezTo>
                  <a:pt x="490" y="248"/>
                  <a:pt x="492" y="246"/>
                  <a:pt x="493" y="245"/>
                </a:cubicBezTo>
                <a:cubicBezTo>
                  <a:pt x="493" y="246"/>
                  <a:pt x="491" y="248"/>
                  <a:pt x="490" y="250"/>
                </a:cubicBezTo>
                <a:close/>
                <a:moveTo>
                  <a:pt x="494" y="245"/>
                </a:moveTo>
                <a:cubicBezTo>
                  <a:pt x="494" y="244"/>
                  <a:pt x="495" y="243"/>
                  <a:pt x="495" y="243"/>
                </a:cubicBezTo>
                <a:cubicBezTo>
                  <a:pt x="496" y="243"/>
                  <a:pt x="494" y="245"/>
                  <a:pt x="494" y="245"/>
                </a:cubicBezTo>
                <a:close/>
                <a:moveTo>
                  <a:pt x="499" y="230"/>
                </a:moveTo>
                <a:cubicBezTo>
                  <a:pt x="499" y="229"/>
                  <a:pt x="501" y="229"/>
                  <a:pt x="501" y="229"/>
                </a:cubicBezTo>
                <a:cubicBezTo>
                  <a:pt x="502" y="229"/>
                  <a:pt x="500" y="230"/>
                  <a:pt x="499" y="230"/>
                </a:cubicBezTo>
                <a:close/>
                <a:moveTo>
                  <a:pt x="496" y="230"/>
                </a:moveTo>
                <a:cubicBezTo>
                  <a:pt x="496" y="230"/>
                  <a:pt x="491" y="233"/>
                  <a:pt x="492" y="231"/>
                </a:cubicBezTo>
                <a:cubicBezTo>
                  <a:pt x="492" y="230"/>
                  <a:pt x="497" y="229"/>
                  <a:pt x="497" y="229"/>
                </a:cubicBezTo>
                <a:cubicBezTo>
                  <a:pt x="500" y="228"/>
                  <a:pt x="503" y="225"/>
                  <a:pt x="506" y="225"/>
                </a:cubicBezTo>
                <a:cubicBezTo>
                  <a:pt x="505" y="228"/>
                  <a:pt x="498" y="229"/>
                  <a:pt x="496" y="230"/>
                </a:cubicBezTo>
                <a:close/>
                <a:moveTo>
                  <a:pt x="505" y="195"/>
                </a:moveTo>
                <a:cubicBezTo>
                  <a:pt x="505" y="194"/>
                  <a:pt x="507" y="192"/>
                  <a:pt x="508" y="193"/>
                </a:cubicBezTo>
                <a:cubicBezTo>
                  <a:pt x="508" y="194"/>
                  <a:pt x="506" y="196"/>
                  <a:pt x="505" y="195"/>
                </a:cubicBezTo>
                <a:close/>
                <a:moveTo>
                  <a:pt x="507" y="222"/>
                </a:moveTo>
                <a:cubicBezTo>
                  <a:pt x="507" y="222"/>
                  <a:pt x="508" y="222"/>
                  <a:pt x="508" y="222"/>
                </a:cubicBezTo>
                <a:cubicBezTo>
                  <a:pt x="510" y="223"/>
                  <a:pt x="504" y="225"/>
                  <a:pt x="507" y="222"/>
                </a:cubicBezTo>
                <a:close/>
                <a:moveTo>
                  <a:pt x="506" y="190"/>
                </a:moveTo>
                <a:cubicBezTo>
                  <a:pt x="506" y="189"/>
                  <a:pt x="507" y="188"/>
                  <a:pt x="509" y="188"/>
                </a:cubicBezTo>
                <a:cubicBezTo>
                  <a:pt x="508" y="189"/>
                  <a:pt x="507" y="190"/>
                  <a:pt x="506" y="190"/>
                </a:cubicBezTo>
                <a:close/>
                <a:moveTo>
                  <a:pt x="516" y="247"/>
                </a:moveTo>
                <a:cubicBezTo>
                  <a:pt x="514" y="248"/>
                  <a:pt x="511" y="250"/>
                  <a:pt x="509" y="250"/>
                </a:cubicBezTo>
                <a:cubicBezTo>
                  <a:pt x="510" y="249"/>
                  <a:pt x="514" y="248"/>
                  <a:pt x="516" y="247"/>
                </a:cubicBezTo>
                <a:close/>
                <a:moveTo>
                  <a:pt x="512" y="258"/>
                </a:moveTo>
                <a:cubicBezTo>
                  <a:pt x="512" y="255"/>
                  <a:pt x="516" y="256"/>
                  <a:pt x="516" y="257"/>
                </a:cubicBezTo>
                <a:cubicBezTo>
                  <a:pt x="517" y="258"/>
                  <a:pt x="512" y="260"/>
                  <a:pt x="512" y="258"/>
                </a:cubicBezTo>
                <a:close/>
                <a:moveTo>
                  <a:pt x="517" y="268"/>
                </a:moveTo>
                <a:cubicBezTo>
                  <a:pt x="516" y="269"/>
                  <a:pt x="517" y="268"/>
                  <a:pt x="517" y="268"/>
                </a:cubicBezTo>
                <a:cubicBezTo>
                  <a:pt x="517" y="268"/>
                  <a:pt x="517" y="268"/>
                  <a:pt x="517" y="268"/>
                </a:cubicBezTo>
                <a:close/>
                <a:moveTo>
                  <a:pt x="517" y="247"/>
                </a:moveTo>
                <a:cubicBezTo>
                  <a:pt x="517" y="247"/>
                  <a:pt x="517" y="247"/>
                  <a:pt x="517" y="247"/>
                </a:cubicBezTo>
                <a:cubicBezTo>
                  <a:pt x="518" y="247"/>
                  <a:pt x="517" y="247"/>
                  <a:pt x="517" y="247"/>
                </a:cubicBezTo>
                <a:close/>
                <a:moveTo>
                  <a:pt x="518" y="154"/>
                </a:moveTo>
                <a:cubicBezTo>
                  <a:pt x="517" y="151"/>
                  <a:pt x="524" y="153"/>
                  <a:pt x="524" y="154"/>
                </a:cubicBezTo>
                <a:cubicBezTo>
                  <a:pt x="524" y="154"/>
                  <a:pt x="523" y="155"/>
                  <a:pt x="523" y="155"/>
                </a:cubicBezTo>
                <a:cubicBezTo>
                  <a:pt x="523" y="156"/>
                  <a:pt x="522" y="158"/>
                  <a:pt x="521" y="156"/>
                </a:cubicBezTo>
                <a:cubicBezTo>
                  <a:pt x="521" y="156"/>
                  <a:pt x="521" y="155"/>
                  <a:pt x="521" y="155"/>
                </a:cubicBezTo>
                <a:cubicBezTo>
                  <a:pt x="520" y="155"/>
                  <a:pt x="518" y="155"/>
                  <a:pt x="518" y="154"/>
                </a:cubicBezTo>
                <a:close/>
                <a:moveTo>
                  <a:pt x="518" y="188"/>
                </a:moveTo>
                <a:cubicBezTo>
                  <a:pt x="518" y="186"/>
                  <a:pt x="524" y="185"/>
                  <a:pt x="524" y="188"/>
                </a:cubicBezTo>
                <a:cubicBezTo>
                  <a:pt x="524" y="190"/>
                  <a:pt x="519" y="190"/>
                  <a:pt x="518" y="188"/>
                </a:cubicBezTo>
                <a:close/>
                <a:moveTo>
                  <a:pt x="522" y="286"/>
                </a:moveTo>
                <a:cubicBezTo>
                  <a:pt x="522" y="285"/>
                  <a:pt x="522" y="285"/>
                  <a:pt x="522" y="285"/>
                </a:cubicBezTo>
                <a:cubicBezTo>
                  <a:pt x="523" y="285"/>
                  <a:pt x="522" y="286"/>
                  <a:pt x="522" y="286"/>
                </a:cubicBezTo>
                <a:close/>
                <a:moveTo>
                  <a:pt x="521" y="231"/>
                </a:moveTo>
                <a:cubicBezTo>
                  <a:pt x="518" y="232"/>
                  <a:pt x="522" y="229"/>
                  <a:pt x="523" y="228"/>
                </a:cubicBezTo>
                <a:cubicBezTo>
                  <a:pt x="524" y="226"/>
                  <a:pt x="526" y="223"/>
                  <a:pt x="528" y="220"/>
                </a:cubicBezTo>
                <a:cubicBezTo>
                  <a:pt x="528" y="221"/>
                  <a:pt x="527" y="221"/>
                  <a:pt x="527" y="220"/>
                </a:cubicBezTo>
                <a:cubicBezTo>
                  <a:pt x="527" y="220"/>
                  <a:pt x="528" y="220"/>
                  <a:pt x="528" y="220"/>
                </a:cubicBezTo>
                <a:cubicBezTo>
                  <a:pt x="528" y="220"/>
                  <a:pt x="528" y="220"/>
                  <a:pt x="528" y="220"/>
                </a:cubicBezTo>
                <a:cubicBezTo>
                  <a:pt x="529" y="219"/>
                  <a:pt x="529" y="218"/>
                  <a:pt x="530" y="218"/>
                </a:cubicBezTo>
                <a:cubicBezTo>
                  <a:pt x="530" y="218"/>
                  <a:pt x="531" y="218"/>
                  <a:pt x="531" y="218"/>
                </a:cubicBezTo>
                <a:cubicBezTo>
                  <a:pt x="531" y="218"/>
                  <a:pt x="529" y="220"/>
                  <a:pt x="528" y="222"/>
                </a:cubicBezTo>
                <a:cubicBezTo>
                  <a:pt x="527" y="223"/>
                  <a:pt x="523" y="230"/>
                  <a:pt x="521" y="231"/>
                </a:cubicBezTo>
                <a:close/>
                <a:moveTo>
                  <a:pt x="530" y="232"/>
                </a:moveTo>
                <a:cubicBezTo>
                  <a:pt x="530" y="232"/>
                  <a:pt x="530" y="232"/>
                  <a:pt x="531" y="232"/>
                </a:cubicBezTo>
                <a:cubicBezTo>
                  <a:pt x="531" y="232"/>
                  <a:pt x="530" y="233"/>
                  <a:pt x="530" y="232"/>
                </a:cubicBezTo>
                <a:close/>
                <a:moveTo>
                  <a:pt x="530" y="268"/>
                </a:move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lose/>
                <a:moveTo>
                  <a:pt x="530" y="256"/>
                </a:moveTo>
                <a:cubicBezTo>
                  <a:pt x="530" y="256"/>
                  <a:pt x="531" y="255"/>
                  <a:pt x="531" y="256"/>
                </a:cubicBezTo>
                <a:cubicBezTo>
                  <a:pt x="532" y="258"/>
                  <a:pt x="529" y="258"/>
                  <a:pt x="530" y="256"/>
                </a:cubicBezTo>
                <a:close/>
                <a:moveTo>
                  <a:pt x="533" y="312"/>
                </a:moveTo>
                <a:cubicBezTo>
                  <a:pt x="533" y="311"/>
                  <a:pt x="533" y="310"/>
                  <a:pt x="534" y="310"/>
                </a:cubicBezTo>
                <a:cubicBezTo>
                  <a:pt x="536" y="308"/>
                  <a:pt x="535" y="313"/>
                  <a:pt x="533" y="312"/>
                </a:cubicBezTo>
                <a:close/>
                <a:moveTo>
                  <a:pt x="533" y="230"/>
                </a:moveTo>
                <a:cubicBezTo>
                  <a:pt x="534" y="229"/>
                  <a:pt x="535" y="232"/>
                  <a:pt x="533" y="231"/>
                </a:cubicBezTo>
                <a:cubicBezTo>
                  <a:pt x="533" y="231"/>
                  <a:pt x="533" y="230"/>
                  <a:pt x="533" y="230"/>
                </a:cubicBezTo>
                <a:close/>
                <a:moveTo>
                  <a:pt x="531" y="215"/>
                </a:moveTo>
                <a:cubicBezTo>
                  <a:pt x="530" y="213"/>
                  <a:pt x="535" y="211"/>
                  <a:pt x="535" y="214"/>
                </a:cubicBezTo>
                <a:cubicBezTo>
                  <a:pt x="535" y="215"/>
                  <a:pt x="531" y="217"/>
                  <a:pt x="531" y="215"/>
                </a:cubicBezTo>
                <a:close/>
                <a:moveTo>
                  <a:pt x="530" y="135"/>
                </a:moveTo>
                <a:cubicBezTo>
                  <a:pt x="532" y="134"/>
                  <a:pt x="534" y="133"/>
                  <a:pt x="536" y="131"/>
                </a:cubicBezTo>
                <a:cubicBezTo>
                  <a:pt x="535" y="134"/>
                  <a:pt x="532" y="134"/>
                  <a:pt x="530" y="135"/>
                </a:cubicBezTo>
                <a:close/>
                <a:moveTo>
                  <a:pt x="598" y="198"/>
                </a:moveTo>
                <a:cubicBezTo>
                  <a:pt x="598" y="198"/>
                  <a:pt x="597" y="199"/>
                  <a:pt x="597" y="199"/>
                </a:cubicBezTo>
                <a:cubicBezTo>
                  <a:pt x="596" y="198"/>
                  <a:pt x="598" y="198"/>
                  <a:pt x="598" y="198"/>
                </a:cubicBezTo>
                <a:close/>
                <a:moveTo>
                  <a:pt x="596" y="204"/>
                </a:moveTo>
                <a:cubicBezTo>
                  <a:pt x="598" y="202"/>
                  <a:pt x="597" y="205"/>
                  <a:pt x="596" y="205"/>
                </a:cubicBezTo>
                <a:cubicBezTo>
                  <a:pt x="596" y="204"/>
                  <a:pt x="596" y="204"/>
                  <a:pt x="596" y="204"/>
                </a:cubicBezTo>
                <a:close/>
                <a:moveTo>
                  <a:pt x="596" y="235"/>
                </a:moveTo>
                <a:cubicBezTo>
                  <a:pt x="597" y="235"/>
                  <a:pt x="598" y="234"/>
                  <a:pt x="598" y="235"/>
                </a:cubicBezTo>
                <a:cubicBezTo>
                  <a:pt x="601" y="237"/>
                  <a:pt x="594" y="238"/>
                  <a:pt x="596" y="235"/>
                </a:cubicBezTo>
                <a:close/>
                <a:moveTo>
                  <a:pt x="599" y="282"/>
                </a:moveTo>
                <a:cubicBezTo>
                  <a:pt x="598" y="284"/>
                  <a:pt x="597" y="283"/>
                  <a:pt x="599" y="282"/>
                </a:cubicBezTo>
                <a:close/>
                <a:moveTo>
                  <a:pt x="594" y="323"/>
                </a:moveTo>
                <a:cubicBezTo>
                  <a:pt x="594" y="322"/>
                  <a:pt x="595" y="322"/>
                  <a:pt x="595" y="322"/>
                </a:cubicBezTo>
                <a:cubicBezTo>
                  <a:pt x="597" y="323"/>
                  <a:pt x="593" y="325"/>
                  <a:pt x="594" y="323"/>
                </a:cubicBezTo>
                <a:close/>
                <a:moveTo>
                  <a:pt x="596" y="370"/>
                </a:moveTo>
                <a:cubicBezTo>
                  <a:pt x="597" y="370"/>
                  <a:pt x="594" y="371"/>
                  <a:pt x="596" y="370"/>
                </a:cubicBezTo>
                <a:close/>
                <a:moveTo>
                  <a:pt x="594" y="263"/>
                </a:moveTo>
                <a:cubicBezTo>
                  <a:pt x="595" y="262"/>
                  <a:pt x="596" y="264"/>
                  <a:pt x="594" y="263"/>
                </a:cubicBezTo>
                <a:close/>
                <a:moveTo>
                  <a:pt x="594" y="231"/>
                </a:moveTo>
                <a:cubicBezTo>
                  <a:pt x="595" y="231"/>
                  <a:pt x="594" y="232"/>
                  <a:pt x="594" y="231"/>
                </a:cubicBezTo>
                <a:cubicBezTo>
                  <a:pt x="594" y="231"/>
                  <a:pt x="594" y="231"/>
                  <a:pt x="594" y="231"/>
                </a:cubicBezTo>
                <a:close/>
                <a:moveTo>
                  <a:pt x="592" y="198"/>
                </a:moveTo>
                <a:cubicBezTo>
                  <a:pt x="594" y="196"/>
                  <a:pt x="594" y="199"/>
                  <a:pt x="592" y="198"/>
                </a:cubicBezTo>
                <a:close/>
                <a:moveTo>
                  <a:pt x="594" y="244"/>
                </a:moveTo>
                <a:cubicBezTo>
                  <a:pt x="594" y="245"/>
                  <a:pt x="593" y="245"/>
                  <a:pt x="591" y="246"/>
                </a:cubicBezTo>
                <a:cubicBezTo>
                  <a:pt x="592" y="245"/>
                  <a:pt x="593" y="244"/>
                  <a:pt x="594" y="244"/>
                </a:cubicBezTo>
                <a:close/>
                <a:moveTo>
                  <a:pt x="589" y="200"/>
                </a:moveTo>
                <a:cubicBezTo>
                  <a:pt x="590" y="201"/>
                  <a:pt x="588" y="202"/>
                  <a:pt x="588" y="202"/>
                </a:cubicBezTo>
                <a:cubicBezTo>
                  <a:pt x="588" y="201"/>
                  <a:pt x="589" y="201"/>
                  <a:pt x="589" y="200"/>
                </a:cubicBezTo>
                <a:close/>
                <a:moveTo>
                  <a:pt x="591" y="200"/>
                </a:moveTo>
                <a:cubicBezTo>
                  <a:pt x="590" y="203"/>
                  <a:pt x="589" y="206"/>
                  <a:pt x="586" y="208"/>
                </a:cubicBezTo>
                <a:cubicBezTo>
                  <a:pt x="588" y="206"/>
                  <a:pt x="589" y="203"/>
                  <a:pt x="591" y="200"/>
                </a:cubicBezTo>
                <a:close/>
                <a:moveTo>
                  <a:pt x="590" y="339"/>
                </a:moveTo>
                <a:cubicBezTo>
                  <a:pt x="591" y="338"/>
                  <a:pt x="590" y="340"/>
                  <a:pt x="590" y="339"/>
                </a:cubicBezTo>
                <a:close/>
                <a:moveTo>
                  <a:pt x="590" y="246"/>
                </a:moveTo>
                <a:cubicBezTo>
                  <a:pt x="591" y="246"/>
                  <a:pt x="591" y="246"/>
                  <a:pt x="590" y="246"/>
                </a:cubicBezTo>
                <a:close/>
                <a:moveTo>
                  <a:pt x="590" y="246"/>
                </a:moveTo>
                <a:cubicBezTo>
                  <a:pt x="590" y="246"/>
                  <a:pt x="590" y="247"/>
                  <a:pt x="590" y="247"/>
                </a:cubicBezTo>
                <a:cubicBezTo>
                  <a:pt x="590" y="247"/>
                  <a:pt x="590" y="247"/>
                  <a:pt x="590" y="247"/>
                </a:cubicBezTo>
                <a:cubicBezTo>
                  <a:pt x="590" y="247"/>
                  <a:pt x="590" y="247"/>
                  <a:pt x="590" y="246"/>
                </a:cubicBezTo>
                <a:close/>
                <a:moveTo>
                  <a:pt x="587" y="206"/>
                </a:moveTo>
                <a:cubicBezTo>
                  <a:pt x="587" y="206"/>
                  <a:pt x="586" y="205"/>
                  <a:pt x="586" y="205"/>
                </a:cubicBezTo>
                <a:cubicBezTo>
                  <a:pt x="587" y="204"/>
                  <a:pt x="587" y="208"/>
                  <a:pt x="587" y="206"/>
                </a:cubicBezTo>
                <a:close/>
                <a:moveTo>
                  <a:pt x="586" y="210"/>
                </a:moveTo>
                <a:cubicBezTo>
                  <a:pt x="587" y="211"/>
                  <a:pt x="585" y="212"/>
                  <a:pt x="585" y="213"/>
                </a:cubicBezTo>
                <a:cubicBezTo>
                  <a:pt x="584" y="212"/>
                  <a:pt x="586" y="210"/>
                  <a:pt x="586" y="210"/>
                </a:cubicBezTo>
                <a:close/>
                <a:moveTo>
                  <a:pt x="585" y="229"/>
                </a:moveTo>
                <a:cubicBezTo>
                  <a:pt x="586" y="228"/>
                  <a:pt x="585" y="230"/>
                  <a:pt x="584" y="230"/>
                </a:cubicBezTo>
                <a:cubicBezTo>
                  <a:pt x="584" y="230"/>
                  <a:pt x="585" y="229"/>
                  <a:pt x="585" y="229"/>
                </a:cubicBezTo>
                <a:close/>
                <a:moveTo>
                  <a:pt x="584" y="214"/>
                </a:moveTo>
                <a:cubicBezTo>
                  <a:pt x="584" y="212"/>
                  <a:pt x="585" y="214"/>
                  <a:pt x="584" y="214"/>
                </a:cubicBezTo>
                <a:close/>
                <a:moveTo>
                  <a:pt x="583" y="250"/>
                </a:moveTo>
                <a:cubicBezTo>
                  <a:pt x="583" y="250"/>
                  <a:pt x="583" y="251"/>
                  <a:pt x="582" y="251"/>
                </a:cubicBezTo>
                <a:cubicBezTo>
                  <a:pt x="582" y="251"/>
                  <a:pt x="581" y="251"/>
                  <a:pt x="581" y="251"/>
                </a:cubicBezTo>
                <a:cubicBezTo>
                  <a:pt x="582" y="251"/>
                  <a:pt x="583" y="251"/>
                  <a:pt x="583" y="250"/>
                </a:cubicBezTo>
                <a:close/>
                <a:moveTo>
                  <a:pt x="579" y="195"/>
                </a:moveTo>
                <a:cubicBezTo>
                  <a:pt x="578" y="194"/>
                  <a:pt x="581" y="195"/>
                  <a:pt x="579" y="195"/>
                </a:cubicBezTo>
                <a:close/>
                <a:moveTo>
                  <a:pt x="578" y="186"/>
                </a:moveTo>
                <a:cubicBezTo>
                  <a:pt x="578" y="188"/>
                  <a:pt x="573" y="190"/>
                  <a:pt x="572" y="187"/>
                </a:cubicBezTo>
                <a:cubicBezTo>
                  <a:pt x="571" y="184"/>
                  <a:pt x="579" y="182"/>
                  <a:pt x="578" y="186"/>
                </a:cubicBezTo>
                <a:close/>
                <a:moveTo>
                  <a:pt x="576" y="196"/>
                </a:moveTo>
                <a:cubicBezTo>
                  <a:pt x="576" y="196"/>
                  <a:pt x="576" y="196"/>
                  <a:pt x="576" y="196"/>
                </a:cubicBezTo>
                <a:cubicBezTo>
                  <a:pt x="577" y="198"/>
                  <a:pt x="574" y="195"/>
                  <a:pt x="576" y="196"/>
                </a:cubicBezTo>
                <a:close/>
                <a:moveTo>
                  <a:pt x="573" y="191"/>
                </a:moveTo>
                <a:cubicBezTo>
                  <a:pt x="572" y="191"/>
                  <a:pt x="571" y="192"/>
                  <a:pt x="570" y="192"/>
                </a:cubicBezTo>
                <a:cubicBezTo>
                  <a:pt x="570" y="191"/>
                  <a:pt x="573" y="190"/>
                  <a:pt x="573" y="191"/>
                </a:cubicBezTo>
                <a:close/>
                <a:moveTo>
                  <a:pt x="565" y="201"/>
                </a:moveTo>
                <a:cubicBezTo>
                  <a:pt x="565" y="202"/>
                  <a:pt x="563" y="202"/>
                  <a:pt x="563" y="201"/>
                </a:cubicBezTo>
                <a:cubicBezTo>
                  <a:pt x="563" y="200"/>
                  <a:pt x="564" y="200"/>
                  <a:pt x="565" y="201"/>
                </a:cubicBezTo>
                <a:close/>
                <a:moveTo>
                  <a:pt x="569" y="202"/>
                </a:moveTo>
                <a:cubicBezTo>
                  <a:pt x="568" y="201"/>
                  <a:pt x="562" y="207"/>
                  <a:pt x="562" y="205"/>
                </a:cubicBezTo>
                <a:cubicBezTo>
                  <a:pt x="562" y="204"/>
                  <a:pt x="567" y="200"/>
                  <a:pt x="569" y="202"/>
                </a:cubicBezTo>
                <a:close/>
                <a:moveTo>
                  <a:pt x="563" y="247"/>
                </a:moveTo>
                <a:cubicBezTo>
                  <a:pt x="563" y="247"/>
                  <a:pt x="561" y="248"/>
                  <a:pt x="561" y="248"/>
                </a:cubicBezTo>
                <a:cubicBezTo>
                  <a:pt x="560" y="247"/>
                  <a:pt x="562" y="245"/>
                  <a:pt x="563" y="247"/>
                </a:cubicBezTo>
                <a:close/>
                <a:moveTo>
                  <a:pt x="562" y="189"/>
                </a:moveTo>
                <a:cubicBezTo>
                  <a:pt x="563" y="190"/>
                  <a:pt x="560" y="191"/>
                  <a:pt x="560" y="190"/>
                </a:cubicBezTo>
                <a:cubicBezTo>
                  <a:pt x="560" y="189"/>
                  <a:pt x="562" y="189"/>
                  <a:pt x="562" y="189"/>
                </a:cubicBezTo>
                <a:close/>
                <a:moveTo>
                  <a:pt x="560" y="205"/>
                </a:moveTo>
                <a:cubicBezTo>
                  <a:pt x="563" y="203"/>
                  <a:pt x="562" y="209"/>
                  <a:pt x="560" y="207"/>
                </a:cubicBezTo>
                <a:cubicBezTo>
                  <a:pt x="558" y="207"/>
                  <a:pt x="560" y="205"/>
                  <a:pt x="560" y="205"/>
                </a:cubicBezTo>
                <a:close/>
                <a:moveTo>
                  <a:pt x="560" y="264"/>
                </a:moveTo>
                <a:cubicBezTo>
                  <a:pt x="562" y="263"/>
                  <a:pt x="559" y="266"/>
                  <a:pt x="560" y="264"/>
                </a:cubicBezTo>
                <a:cubicBezTo>
                  <a:pt x="560" y="264"/>
                  <a:pt x="560" y="264"/>
                  <a:pt x="560" y="264"/>
                </a:cubicBezTo>
                <a:close/>
                <a:moveTo>
                  <a:pt x="556" y="180"/>
                </a:moveTo>
                <a:cubicBezTo>
                  <a:pt x="557" y="181"/>
                  <a:pt x="555" y="182"/>
                  <a:pt x="555" y="181"/>
                </a:cubicBezTo>
                <a:cubicBezTo>
                  <a:pt x="555" y="181"/>
                  <a:pt x="556" y="181"/>
                  <a:pt x="556" y="180"/>
                </a:cubicBezTo>
                <a:close/>
                <a:moveTo>
                  <a:pt x="554" y="138"/>
                </a:moveTo>
                <a:cubicBezTo>
                  <a:pt x="554" y="138"/>
                  <a:pt x="555" y="138"/>
                  <a:pt x="555" y="138"/>
                </a:cubicBezTo>
                <a:cubicBezTo>
                  <a:pt x="555" y="140"/>
                  <a:pt x="552" y="136"/>
                  <a:pt x="554" y="138"/>
                </a:cubicBezTo>
                <a:close/>
                <a:moveTo>
                  <a:pt x="555" y="219"/>
                </a:moveTo>
                <a:cubicBezTo>
                  <a:pt x="555" y="219"/>
                  <a:pt x="554" y="221"/>
                  <a:pt x="553" y="221"/>
                </a:cubicBezTo>
                <a:cubicBezTo>
                  <a:pt x="553" y="220"/>
                  <a:pt x="554" y="218"/>
                  <a:pt x="555" y="219"/>
                </a:cubicBezTo>
                <a:close/>
                <a:moveTo>
                  <a:pt x="553" y="245"/>
                </a:moveTo>
                <a:cubicBezTo>
                  <a:pt x="554" y="245"/>
                  <a:pt x="552" y="246"/>
                  <a:pt x="552" y="245"/>
                </a:cubicBezTo>
                <a:cubicBezTo>
                  <a:pt x="552" y="244"/>
                  <a:pt x="553" y="244"/>
                  <a:pt x="553" y="245"/>
                </a:cubicBezTo>
                <a:close/>
                <a:moveTo>
                  <a:pt x="552" y="182"/>
                </a:move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lose/>
                <a:moveTo>
                  <a:pt x="552" y="133"/>
                </a:moveTo>
                <a:cubicBezTo>
                  <a:pt x="552" y="133"/>
                  <a:pt x="551" y="135"/>
                  <a:pt x="551" y="134"/>
                </a:cubicBezTo>
                <a:cubicBezTo>
                  <a:pt x="550" y="133"/>
                  <a:pt x="552" y="133"/>
                  <a:pt x="552" y="133"/>
                </a:cubicBezTo>
                <a:close/>
                <a:moveTo>
                  <a:pt x="552" y="158"/>
                </a:moveTo>
                <a:cubicBezTo>
                  <a:pt x="552" y="159"/>
                  <a:pt x="550" y="160"/>
                  <a:pt x="550" y="159"/>
                </a:cubicBezTo>
                <a:cubicBezTo>
                  <a:pt x="550" y="158"/>
                  <a:pt x="551" y="158"/>
                  <a:pt x="552" y="158"/>
                </a:cubicBezTo>
                <a:close/>
                <a:moveTo>
                  <a:pt x="552" y="177"/>
                </a:moveTo>
                <a:cubicBezTo>
                  <a:pt x="552" y="179"/>
                  <a:pt x="548" y="179"/>
                  <a:pt x="548" y="177"/>
                </a:cubicBezTo>
                <a:cubicBezTo>
                  <a:pt x="548" y="176"/>
                  <a:pt x="551" y="175"/>
                  <a:pt x="552" y="177"/>
                </a:cubicBezTo>
                <a:close/>
                <a:moveTo>
                  <a:pt x="547" y="170"/>
                </a:moveTo>
                <a:cubicBezTo>
                  <a:pt x="548" y="170"/>
                  <a:pt x="547" y="171"/>
                  <a:pt x="546" y="171"/>
                </a:cubicBezTo>
                <a:cubicBezTo>
                  <a:pt x="546" y="170"/>
                  <a:pt x="547" y="170"/>
                  <a:pt x="547" y="170"/>
                </a:cubicBezTo>
                <a:close/>
                <a:moveTo>
                  <a:pt x="547" y="166"/>
                </a:moveTo>
                <a:cubicBezTo>
                  <a:pt x="548" y="167"/>
                  <a:pt x="547" y="165"/>
                  <a:pt x="547" y="166"/>
                </a:cubicBezTo>
                <a:close/>
                <a:moveTo>
                  <a:pt x="548" y="133"/>
                </a:moveTo>
                <a:cubicBezTo>
                  <a:pt x="548" y="134"/>
                  <a:pt x="547" y="134"/>
                  <a:pt x="546" y="134"/>
                </a:cubicBezTo>
                <a:cubicBezTo>
                  <a:pt x="546" y="133"/>
                  <a:pt x="547" y="134"/>
                  <a:pt x="548" y="133"/>
                </a:cubicBezTo>
                <a:close/>
                <a:moveTo>
                  <a:pt x="547" y="176"/>
                </a:moveTo>
                <a:cubicBezTo>
                  <a:pt x="547" y="177"/>
                  <a:pt x="545" y="176"/>
                  <a:pt x="547" y="176"/>
                </a:cubicBezTo>
                <a:close/>
                <a:moveTo>
                  <a:pt x="546" y="168"/>
                </a:moveTo>
                <a:cubicBezTo>
                  <a:pt x="546" y="169"/>
                  <a:pt x="544" y="170"/>
                  <a:pt x="544" y="168"/>
                </a:cubicBezTo>
                <a:cubicBezTo>
                  <a:pt x="545" y="168"/>
                  <a:pt x="545" y="168"/>
                  <a:pt x="546" y="168"/>
                </a:cubicBezTo>
                <a:close/>
                <a:moveTo>
                  <a:pt x="545" y="141"/>
                </a:moveTo>
                <a:cubicBezTo>
                  <a:pt x="546" y="143"/>
                  <a:pt x="542" y="142"/>
                  <a:pt x="542" y="141"/>
                </a:cubicBezTo>
                <a:cubicBezTo>
                  <a:pt x="543" y="140"/>
                  <a:pt x="545" y="140"/>
                  <a:pt x="545" y="141"/>
                </a:cubicBezTo>
                <a:close/>
                <a:moveTo>
                  <a:pt x="540" y="150"/>
                </a:moveTo>
                <a:cubicBezTo>
                  <a:pt x="540" y="150"/>
                  <a:pt x="538" y="151"/>
                  <a:pt x="537" y="150"/>
                </a:cubicBezTo>
                <a:cubicBezTo>
                  <a:pt x="537" y="149"/>
                  <a:pt x="539" y="148"/>
                  <a:pt x="540" y="150"/>
                </a:cubicBezTo>
                <a:close/>
                <a:moveTo>
                  <a:pt x="537" y="158"/>
                </a:moveTo>
                <a:cubicBezTo>
                  <a:pt x="537" y="158"/>
                  <a:pt x="538" y="157"/>
                  <a:pt x="538" y="157"/>
                </a:cubicBezTo>
                <a:cubicBezTo>
                  <a:pt x="539" y="157"/>
                  <a:pt x="537" y="159"/>
                  <a:pt x="537" y="158"/>
                </a:cubicBezTo>
                <a:close/>
                <a:moveTo>
                  <a:pt x="538" y="165"/>
                </a:moveTo>
                <a:cubicBezTo>
                  <a:pt x="538" y="165"/>
                  <a:pt x="540" y="163"/>
                  <a:pt x="540" y="165"/>
                </a:cubicBezTo>
                <a:cubicBezTo>
                  <a:pt x="540" y="164"/>
                  <a:pt x="539" y="166"/>
                  <a:pt x="538" y="165"/>
                </a:cubicBezTo>
                <a:close/>
                <a:moveTo>
                  <a:pt x="540" y="214"/>
                </a:moveTo>
                <a:cubicBezTo>
                  <a:pt x="541" y="215"/>
                  <a:pt x="540" y="215"/>
                  <a:pt x="540" y="215"/>
                </a:cubicBezTo>
                <a:cubicBezTo>
                  <a:pt x="539" y="214"/>
                  <a:pt x="540" y="214"/>
                  <a:pt x="540" y="214"/>
                </a:cubicBezTo>
                <a:close/>
                <a:moveTo>
                  <a:pt x="541" y="291"/>
                </a:moveTo>
                <a:cubicBezTo>
                  <a:pt x="540" y="291"/>
                  <a:pt x="539" y="291"/>
                  <a:pt x="540" y="290"/>
                </a:cubicBezTo>
                <a:cubicBezTo>
                  <a:pt x="540" y="289"/>
                  <a:pt x="541" y="290"/>
                  <a:pt x="541" y="291"/>
                </a:cubicBezTo>
                <a:close/>
                <a:moveTo>
                  <a:pt x="541" y="212"/>
                </a:moveTo>
                <a:cubicBezTo>
                  <a:pt x="541" y="212"/>
                  <a:pt x="541" y="212"/>
                  <a:pt x="541" y="212"/>
                </a:cubicBezTo>
                <a:cubicBezTo>
                  <a:pt x="541" y="212"/>
                  <a:pt x="541" y="212"/>
                  <a:pt x="541" y="212"/>
                </a:cubicBezTo>
                <a:cubicBezTo>
                  <a:pt x="540" y="212"/>
                  <a:pt x="540" y="211"/>
                  <a:pt x="541" y="210"/>
                </a:cubicBezTo>
                <a:cubicBezTo>
                  <a:pt x="542" y="209"/>
                  <a:pt x="542" y="210"/>
                  <a:pt x="542" y="211"/>
                </a:cubicBezTo>
                <a:cubicBezTo>
                  <a:pt x="543" y="211"/>
                  <a:pt x="544" y="211"/>
                  <a:pt x="544" y="210"/>
                </a:cubicBezTo>
                <a:cubicBezTo>
                  <a:pt x="545" y="210"/>
                  <a:pt x="550" y="204"/>
                  <a:pt x="551" y="205"/>
                </a:cubicBezTo>
                <a:cubicBezTo>
                  <a:pt x="553" y="207"/>
                  <a:pt x="544" y="211"/>
                  <a:pt x="543" y="212"/>
                </a:cubicBezTo>
                <a:cubicBezTo>
                  <a:pt x="542" y="212"/>
                  <a:pt x="542" y="214"/>
                  <a:pt x="541" y="212"/>
                </a:cubicBezTo>
                <a:close/>
                <a:moveTo>
                  <a:pt x="549" y="242"/>
                </a:moveTo>
                <a:cubicBezTo>
                  <a:pt x="549" y="242"/>
                  <a:pt x="547" y="242"/>
                  <a:pt x="547" y="241"/>
                </a:cubicBezTo>
                <a:cubicBezTo>
                  <a:pt x="547" y="241"/>
                  <a:pt x="549" y="240"/>
                  <a:pt x="549" y="242"/>
                </a:cubicBezTo>
                <a:close/>
                <a:moveTo>
                  <a:pt x="543" y="245"/>
                </a:moveTo>
                <a:cubicBezTo>
                  <a:pt x="544" y="247"/>
                  <a:pt x="541" y="246"/>
                  <a:pt x="543" y="245"/>
                </a:cubicBezTo>
                <a:close/>
                <a:moveTo>
                  <a:pt x="547" y="220"/>
                </a:moveTo>
                <a:cubicBezTo>
                  <a:pt x="546" y="220"/>
                  <a:pt x="546" y="220"/>
                  <a:pt x="546" y="220"/>
                </a:cubicBezTo>
                <a:cubicBezTo>
                  <a:pt x="545" y="220"/>
                  <a:pt x="547" y="219"/>
                  <a:pt x="547" y="220"/>
                </a:cubicBezTo>
                <a:close/>
                <a:moveTo>
                  <a:pt x="546" y="265"/>
                </a:moveTo>
                <a:cubicBezTo>
                  <a:pt x="546" y="265"/>
                  <a:pt x="547" y="264"/>
                  <a:pt x="547" y="264"/>
                </a:cubicBezTo>
                <a:cubicBezTo>
                  <a:pt x="547" y="265"/>
                  <a:pt x="546" y="266"/>
                  <a:pt x="546" y="265"/>
                </a:cubicBezTo>
                <a:close/>
                <a:moveTo>
                  <a:pt x="548" y="300"/>
                </a:moveTo>
                <a:cubicBezTo>
                  <a:pt x="548" y="299"/>
                  <a:pt x="548" y="299"/>
                  <a:pt x="548" y="299"/>
                </a:cubicBezTo>
                <a:cubicBezTo>
                  <a:pt x="549" y="299"/>
                  <a:pt x="548" y="301"/>
                  <a:pt x="548" y="300"/>
                </a:cubicBezTo>
                <a:close/>
                <a:moveTo>
                  <a:pt x="547" y="280"/>
                </a:moveTo>
                <a:cubicBezTo>
                  <a:pt x="549" y="276"/>
                  <a:pt x="551" y="272"/>
                  <a:pt x="552" y="269"/>
                </a:cubicBezTo>
                <a:cubicBezTo>
                  <a:pt x="552" y="271"/>
                  <a:pt x="549" y="278"/>
                  <a:pt x="547" y="280"/>
                </a:cubicBezTo>
                <a:close/>
                <a:moveTo>
                  <a:pt x="553" y="329"/>
                </a:moveTo>
                <a:cubicBezTo>
                  <a:pt x="553" y="329"/>
                  <a:pt x="553" y="329"/>
                  <a:pt x="553" y="329"/>
                </a:cubicBezTo>
                <a:cubicBezTo>
                  <a:pt x="553" y="329"/>
                  <a:pt x="553" y="329"/>
                  <a:pt x="553" y="329"/>
                </a:cubicBezTo>
                <a:close/>
                <a:moveTo>
                  <a:pt x="551" y="261"/>
                </a:moveTo>
                <a:cubicBezTo>
                  <a:pt x="553" y="257"/>
                  <a:pt x="553" y="254"/>
                  <a:pt x="555" y="252"/>
                </a:cubicBezTo>
                <a:cubicBezTo>
                  <a:pt x="554" y="254"/>
                  <a:pt x="553" y="259"/>
                  <a:pt x="551" y="261"/>
                </a:cubicBezTo>
                <a:close/>
                <a:moveTo>
                  <a:pt x="554" y="222"/>
                </a:moveTo>
                <a:cubicBezTo>
                  <a:pt x="555" y="221"/>
                  <a:pt x="556" y="222"/>
                  <a:pt x="554" y="222"/>
                </a:cubicBezTo>
                <a:close/>
                <a:moveTo>
                  <a:pt x="554" y="184"/>
                </a:moveTo>
                <a:cubicBezTo>
                  <a:pt x="554" y="183"/>
                  <a:pt x="556" y="182"/>
                  <a:pt x="556" y="183"/>
                </a:cubicBezTo>
                <a:cubicBezTo>
                  <a:pt x="556" y="185"/>
                  <a:pt x="554" y="185"/>
                  <a:pt x="554" y="184"/>
                </a:cubicBezTo>
                <a:close/>
                <a:moveTo>
                  <a:pt x="557" y="285"/>
                </a:moveTo>
                <a:cubicBezTo>
                  <a:pt x="557" y="283"/>
                  <a:pt x="556" y="286"/>
                  <a:pt x="557" y="285"/>
                </a:cubicBezTo>
                <a:close/>
                <a:moveTo>
                  <a:pt x="560" y="320"/>
                </a:moveTo>
                <a:cubicBezTo>
                  <a:pt x="560" y="321"/>
                  <a:pt x="561" y="319"/>
                  <a:pt x="560" y="320"/>
                </a:cubicBezTo>
                <a:close/>
                <a:moveTo>
                  <a:pt x="557" y="283"/>
                </a:moveTo>
                <a:cubicBezTo>
                  <a:pt x="556" y="281"/>
                  <a:pt x="561" y="279"/>
                  <a:pt x="561" y="281"/>
                </a:cubicBezTo>
                <a:cubicBezTo>
                  <a:pt x="562" y="283"/>
                  <a:pt x="558" y="284"/>
                  <a:pt x="557" y="283"/>
                </a:cubicBezTo>
                <a:close/>
                <a:moveTo>
                  <a:pt x="562" y="258"/>
                </a:moveTo>
                <a:cubicBezTo>
                  <a:pt x="562" y="258"/>
                  <a:pt x="563" y="257"/>
                  <a:pt x="563" y="257"/>
                </a:cubicBezTo>
                <a:cubicBezTo>
                  <a:pt x="564" y="258"/>
                  <a:pt x="561" y="259"/>
                  <a:pt x="562" y="258"/>
                </a:cubicBezTo>
                <a:close/>
                <a:moveTo>
                  <a:pt x="565" y="221"/>
                </a:moveTo>
                <a:cubicBezTo>
                  <a:pt x="564" y="221"/>
                  <a:pt x="564" y="219"/>
                  <a:pt x="565" y="220"/>
                </a:cubicBezTo>
                <a:cubicBezTo>
                  <a:pt x="565" y="220"/>
                  <a:pt x="565" y="221"/>
                  <a:pt x="565" y="221"/>
                </a:cubicBezTo>
                <a:close/>
                <a:moveTo>
                  <a:pt x="566" y="206"/>
                </a:moveTo>
                <a:cubicBezTo>
                  <a:pt x="565" y="211"/>
                  <a:pt x="567" y="204"/>
                  <a:pt x="568" y="203"/>
                </a:cubicBezTo>
                <a:cubicBezTo>
                  <a:pt x="569" y="202"/>
                  <a:pt x="574" y="202"/>
                  <a:pt x="576" y="203"/>
                </a:cubicBezTo>
                <a:cubicBezTo>
                  <a:pt x="579" y="205"/>
                  <a:pt x="577" y="210"/>
                  <a:pt x="574" y="212"/>
                </a:cubicBezTo>
                <a:cubicBezTo>
                  <a:pt x="573" y="213"/>
                  <a:pt x="570" y="213"/>
                  <a:pt x="569" y="213"/>
                </a:cubicBezTo>
                <a:cubicBezTo>
                  <a:pt x="566" y="214"/>
                  <a:pt x="567" y="214"/>
                  <a:pt x="565" y="212"/>
                </a:cubicBezTo>
                <a:cubicBezTo>
                  <a:pt x="562" y="210"/>
                  <a:pt x="562" y="205"/>
                  <a:pt x="566" y="206"/>
                </a:cubicBezTo>
                <a:close/>
                <a:moveTo>
                  <a:pt x="573" y="236"/>
                </a:moveTo>
                <a:cubicBezTo>
                  <a:pt x="575" y="234"/>
                  <a:pt x="572" y="237"/>
                  <a:pt x="573" y="236"/>
                </a:cubicBezTo>
                <a:close/>
                <a:moveTo>
                  <a:pt x="571" y="238"/>
                </a:moveTo>
                <a:cubicBezTo>
                  <a:pt x="573" y="236"/>
                  <a:pt x="569" y="239"/>
                  <a:pt x="571" y="238"/>
                </a:cubicBezTo>
                <a:close/>
                <a:moveTo>
                  <a:pt x="569" y="326"/>
                </a:moveTo>
                <a:cubicBezTo>
                  <a:pt x="568" y="326"/>
                  <a:pt x="569" y="325"/>
                  <a:pt x="569" y="325"/>
                </a:cubicBezTo>
                <a:cubicBezTo>
                  <a:pt x="570" y="324"/>
                  <a:pt x="570" y="327"/>
                  <a:pt x="569" y="326"/>
                </a:cubicBezTo>
                <a:close/>
                <a:moveTo>
                  <a:pt x="567" y="224"/>
                </a:moveTo>
                <a:cubicBezTo>
                  <a:pt x="566" y="223"/>
                  <a:pt x="567" y="222"/>
                  <a:pt x="567" y="222"/>
                </a:cubicBezTo>
                <a:cubicBezTo>
                  <a:pt x="568" y="222"/>
                  <a:pt x="567" y="223"/>
                  <a:pt x="567" y="224"/>
                </a:cubicBezTo>
                <a:close/>
                <a:moveTo>
                  <a:pt x="567" y="311"/>
                </a:moveTo>
                <a:cubicBezTo>
                  <a:pt x="568" y="312"/>
                  <a:pt x="566" y="312"/>
                  <a:pt x="567" y="311"/>
                </a:cubicBezTo>
                <a:close/>
                <a:moveTo>
                  <a:pt x="565" y="280"/>
                </a:moveTo>
                <a:cubicBezTo>
                  <a:pt x="565" y="277"/>
                  <a:pt x="567" y="277"/>
                  <a:pt x="565" y="280"/>
                </a:cubicBezTo>
                <a:close/>
                <a:moveTo>
                  <a:pt x="566" y="411"/>
                </a:moveTo>
                <a:cubicBezTo>
                  <a:pt x="568" y="409"/>
                  <a:pt x="569" y="406"/>
                  <a:pt x="572" y="405"/>
                </a:cubicBezTo>
                <a:cubicBezTo>
                  <a:pt x="570" y="407"/>
                  <a:pt x="568" y="410"/>
                  <a:pt x="566" y="411"/>
                </a:cubicBezTo>
                <a:close/>
                <a:moveTo>
                  <a:pt x="571" y="279"/>
                </a:moveTo>
                <a:cubicBezTo>
                  <a:pt x="571" y="279"/>
                  <a:pt x="573" y="279"/>
                  <a:pt x="572" y="279"/>
                </a:cubicBezTo>
                <a:cubicBezTo>
                  <a:pt x="572" y="280"/>
                  <a:pt x="571" y="280"/>
                  <a:pt x="571" y="279"/>
                </a:cubicBezTo>
                <a:close/>
                <a:moveTo>
                  <a:pt x="573" y="383"/>
                </a:moveTo>
                <a:cubicBezTo>
                  <a:pt x="571" y="382"/>
                  <a:pt x="573" y="380"/>
                  <a:pt x="574" y="379"/>
                </a:cubicBezTo>
                <a:cubicBezTo>
                  <a:pt x="577" y="377"/>
                  <a:pt x="575" y="384"/>
                  <a:pt x="573" y="383"/>
                </a:cubicBezTo>
                <a:close/>
                <a:moveTo>
                  <a:pt x="578" y="218"/>
                </a:moveTo>
                <a:cubicBezTo>
                  <a:pt x="583" y="216"/>
                  <a:pt x="584" y="224"/>
                  <a:pt x="580" y="226"/>
                </a:cubicBezTo>
                <a:cubicBezTo>
                  <a:pt x="573" y="230"/>
                  <a:pt x="572" y="220"/>
                  <a:pt x="578" y="218"/>
                </a:cubicBezTo>
                <a:close/>
                <a:moveTo>
                  <a:pt x="577" y="295"/>
                </a:moveTo>
                <a:cubicBezTo>
                  <a:pt x="577" y="295"/>
                  <a:pt x="577" y="295"/>
                  <a:pt x="577" y="296"/>
                </a:cubicBezTo>
                <a:cubicBezTo>
                  <a:pt x="576" y="296"/>
                  <a:pt x="577" y="295"/>
                  <a:pt x="577" y="295"/>
                </a:cubicBezTo>
                <a:close/>
                <a:moveTo>
                  <a:pt x="577" y="425"/>
                </a:moveTo>
                <a:cubicBezTo>
                  <a:pt x="576" y="426"/>
                  <a:pt x="578" y="423"/>
                  <a:pt x="577" y="425"/>
                </a:cubicBezTo>
                <a:close/>
                <a:moveTo>
                  <a:pt x="577" y="371"/>
                </a:moveTo>
                <a:cubicBezTo>
                  <a:pt x="576" y="370"/>
                  <a:pt x="578" y="370"/>
                  <a:pt x="577" y="371"/>
                </a:cubicBezTo>
                <a:close/>
                <a:moveTo>
                  <a:pt x="577" y="297"/>
                </a:moveTo>
                <a:cubicBezTo>
                  <a:pt x="578" y="296"/>
                  <a:pt x="578" y="297"/>
                  <a:pt x="578" y="297"/>
                </a:cubicBezTo>
                <a:cubicBezTo>
                  <a:pt x="579" y="299"/>
                  <a:pt x="576" y="297"/>
                  <a:pt x="577" y="297"/>
                </a:cubicBezTo>
                <a:close/>
                <a:moveTo>
                  <a:pt x="580" y="277"/>
                </a:moveTo>
                <a:cubicBezTo>
                  <a:pt x="580" y="277"/>
                  <a:pt x="580" y="277"/>
                  <a:pt x="580" y="277"/>
                </a:cubicBezTo>
                <a:cubicBezTo>
                  <a:pt x="581" y="277"/>
                  <a:pt x="579" y="278"/>
                  <a:pt x="580" y="277"/>
                </a:cubicBezTo>
                <a:close/>
                <a:moveTo>
                  <a:pt x="580" y="387"/>
                </a:moveTo>
                <a:cubicBezTo>
                  <a:pt x="580" y="386"/>
                  <a:pt x="582" y="385"/>
                  <a:pt x="582" y="384"/>
                </a:cubicBezTo>
                <a:cubicBezTo>
                  <a:pt x="583" y="385"/>
                  <a:pt x="581" y="386"/>
                  <a:pt x="580" y="387"/>
                </a:cubicBezTo>
                <a:close/>
                <a:moveTo>
                  <a:pt x="578" y="268"/>
                </a:moveTo>
                <a:cubicBezTo>
                  <a:pt x="578" y="266"/>
                  <a:pt x="584" y="266"/>
                  <a:pt x="582" y="269"/>
                </a:cubicBezTo>
                <a:cubicBezTo>
                  <a:pt x="582" y="271"/>
                  <a:pt x="578" y="270"/>
                  <a:pt x="578" y="268"/>
                </a:cubicBezTo>
                <a:close/>
                <a:moveTo>
                  <a:pt x="582" y="302"/>
                </a:moveTo>
                <a:cubicBezTo>
                  <a:pt x="582" y="302"/>
                  <a:pt x="582" y="301"/>
                  <a:pt x="583" y="301"/>
                </a:cubicBezTo>
                <a:cubicBezTo>
                  <a:pt x="585" y="299"/>
                  <a:pt x="584" y="304"/>
                  <a:pt x="582" y="302"/>
                </a:cubicBezTo>
                <a:close/>
                <a:moveTo>
                  <a:pt x="584" y="367"/>
                </a:moveTo>
                <a:cubicBezTo>
                  <a:pt x="584" y="369"/>
                  <a:pt x="582" y="368"/>
                  <a:pt x="584" y="367"/>
                </a:cubicBezTo>
                <a:close/>
                <a:moveTo>
                  <a:pt x="584" y="364"/>
                </a:moveTo>
                <a:cubicBezTo>
                  <a:pt x="584" y="363"/>
                  <a:pt x="584" y="363"/>
                  <a:pt x="585" y="363"/>
                </a:cubicBezTo>
                <a:cubicBezTo>
                  <a:pt x="586" y="363"/>
                  <a:pt x="583" y="365"/>
                  <a:pt x="584" y="364"/>
                </a:cubicBezTo>
                <a:close/>
                <a:moveTo>
                  <a:pt x="585" y="305"/>
                </a:moveTo>
                <a:cubicBezTo>
                  <a:pt x="585" y="305"/>
                  <a:pt x="586" y="304"/>
                  <a:pt x="586" y="305"/>
                </a:cubicBezTo>
                <a:cubicBezTo>
                  <a:pt x="587" y="305"/>
                  <a:pt x="585" y="306"/>
                  <a:pt x="585" y="305"/>
                </a:cubicBezTo>
                <a:close/>
                <a:moveTo>
                  <a:pt x="585" y="289"/>
                </a:moveTo>
                <a:cubicBezTo>
                  <a:pt x="585" y="288"/>
                  <a:pt x="586" y="288"/>
                  <a:pt x="586" y="288"/>
                </a:cubicBezTo>
                <a:cubicBezTo>
                  <a:pt x="586" y="288"/>
                  <a:pt x="585" y="289"/>
                  <a:pt x="585" y="289"/>
                </a:cubicBezTo>
                <a:close/>
                <a:moveTo>
                  <a:pt x="585" y="250"/>
                </a:moveTo>
                <a:cubicBezTo>
                  <a:pt x="586" y="249"/>
                  <a:pt x="587" y="248"/>
                  <a:pt x="589" y="247"/>
                </a:cubicBezTo>
                <a:cubicBezTo>
                  <a:pt x="588" y="248"/>
                  <a:pt x="586" y="249"/>
                  <a:pt x="585" y="250"/>
                </a:cubicBezTo>
                <a:close/>
                <a:moveTo>
                  <a:pt x="590" y="437"/>
                </a:moveTo>
                <a:cubicBezTo>
                  <a:pt x="589" y="435"/>
                  <a:pt x="591" y="433"/>
                  <a:pt x="593" y="431"/>
                </a:cubicBezTo>
                <a:cubicBezTo>
                  <a:pt x="592" y="433"/>
                  <a:pt x="591" y="435"/>
                  <a:pt x="590" y="437"/>
                </a:cubicBezTo>
                <a:close/>
                <a:moveTo>
                  <a:pt x="594" y="251"/>
                </a:moveTo>
                <a:cubicBezTo>
                  <a:pt x="596" y="250"/>
                  <a:pt x="595" y="255"/>
                  <a:pt x="593" y="253"/>
                </a:cubicBezTo>
                <a:cubicBezTo>
                  <a:pt x="593" y="253"/>
                  <a:pt x="593" y="252"/>
                  <a:pt x="594" y="251"/>
                </a:cubicBezTo>
                <a:close/>
                <a:moveTo>
                  <a:pt x="594" y="357"/>
                </a:moveTo>
                <a:cubicBezTo>
                  <a:pt x="594" y="357"/>
                  <a:pt x="594" y="356"/>
                  <a:pt x="595" y="356"/>
                </a:cubicBezTo>
                <a:cubicBezTo>
                  <a:pt x="596" y="357"/>
                  <a:pt x="592" y="359"/>
                  <a:pt x="594" y="357"/>
                </a:cubicBezTo>
                <a:close/>
                <a:moveTo>
                  <a:pt x="595" y="371"/>
                </a:moveTo>
                <a:cubicBezTo>
                  <a:pt x="595" y="372"/>
                  <a:pt x="594" y="373"/>
                  <a:pt x="593" y="373"/>
                </a:cubicBezTo>
                <a:cubicBezTo>
                  <a:pt x="593" y="372"/>
                  <a:pt x="594" y="371"/>
                  <a:pt x="595" y="371"/>
                </a:cubicBezTo>
                <a:close/>
                <a:moveTo>
                  <a:pt x="593" y="429"/>
                </a:move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lose/>
                <a:moveTo>
                  <a:pt x="594" y="472"/>
                </a:moveTo>
                <a:cubicBezTo>
                  <a:pt x="594" y="472"/>
                  <a:pt x="595" y="470"/>
                  <a:pt x="595" y="470"/>
                </a:cubicBezTo>
                <a:cubicBezTo>
                  <a:pt x="596" y="471"/>
                  <a:pt x="594" y="472"/>
                  <a:pt x="594" y="472"/>
                </a:cubicBezTo>
                <a:close/>
                <a:moveTo>
                  <a:pt x="598" y="422"/>
                </a:moveTo>
                <a:cubicBezTo>
                  <a:pt x="598" y="423"/>
                  <a:pt x="596" y="426"/>
                  <a:pt x="594" y="428"/>
                </a:cubicBezTo>
                <a:cubicBezTo>
                  <a:pt x="594" y="425"/>
                  <a:pt x="599" y="418"/>
                  <a:pt x="598" y="422"/>
                </a:cubicBezTo>
                <a:close/>
                <a:moveTo>
                  <a:pt x="595" y="356"/>
                </a:moveTo>
                <a:cubicBezTo>
                  <a:pt x="596" y="355"/>
                  <a:pt x="597" y="354"/>
                  <a:pt x="599" y="353"/>
                </a:cubicBezTo>
                <a:cubicBezTo>
                  <a:pt x="598" y="355"/>
                  <a:pt x="597" y="355"/>
                  <a:pt x="595" y="356"/>
                </a:cubicBezTo>
                <a:close/>
                <a:moveTo>
                  <a:pt x="686" y="310"/>
                </a:moveTo>
                <a:cubicBezTo>
                  <a:pt x="686" y="309"/>
                  <a:pt x="686" y="312"/>
                  <a:pt x="686" y="310"/>
                </a:cubicBezTo>
                <a:close/>
                <a:moveTo>
                  <a:pt x="679" y="298"/>
                </a:moveTo>
                <a:cubicBezTo>
                  <a:pt x="682" y="297"/>
                  <a:pt x="678" y="302"/>
                  <a:pt x="678" y="299"/>
                </a:cubicBezTo>
                <a:cubicBezTo>
                  <a:pt x="678" y="299"/>
                  <a:pt x="678" y="298"/>
                  <a:pt x="679" y="298"/>
                </a:cubicBezTo>
                <a:close/>
                <a:moveTo>
                  <a:pt x="676" y="297"/>
                </a:moveTo>
                <a:cubicBezTo>
                  <a:pt x="677" y="295"/>
                  <a:pt x="676" y="298"/>
                  <a:pt x="676" y="297"/>
                </a:cubicBezTo>
                <a:close/>
                <a:moveTo>
                  <a:pt x="671" y="307"/>
                </a:moveTo>
                <a:cubicBezTo>
                  <a:pt x="671" y="307"/>
                  <a:pt x="672" y="308"/>
                  <a:pt x="671" y="308"/>
                </a:cubicBezTo>
                <a:cubicBezTo>
                  <a:pt x="670" y="309"/>
                  <a:pt x="671" y="307"/>
                  <a:pt x="671" y="307"/>
                </a:cubicBezTo>
                <a:close/>
                <a:moveTo>
                  <a:pt x="672" y="331"/>
                </a:moveTo>
                <a:cubicBezTo>
                  <a:pt x="672" y="331"/>
                  <a:pt x="675" y="326"/>
                  <a:pt x="675" y="328"/>
                </a:cubicBezTo>
                <a:cubicBezTo>
                  <a:pt x="675" y="331"/>
                  <a:pt x="670" y="334"/>
                  <a:pt x="668" y="337"/>
                </a:cubicBezTo>
                <a:cubicBezTo>
                  <a:pt x="669" y="335"/>
                  <a:pt x="671" y="333"/>
                  <a:pt x="672" y="331"/>
                </a:cubicBezTo>
                <a:close/>
                <a:moveTo>
                  <a:pt x="669" y="271"/>
                </a:moveTo>
                <a:cubicBezTo>
                  <a:pt x="668" y="270"/>
                  <a:pt x="671" y="264"/>
                  <a:pt x="672" y="266"/>
                </a:cubicBezTo>
                <a:cubicBezTo>
                  <a:pt x="674" y="267"/>
                  <a:pt x="670" y="270"/>
                  <a:pt x="669" y="271"/>
                </a:cubicBezTo>
                <a:close/>
                <a:moveTo>
                  <a:pt x="674" y="235"/>
                </a:moveTo>
                <a:cubicBezTo>
                  <a:pt x="673" y="236"/>
                  <a:pt x="675" y="233"/>
                  <a:pt x="674" y="235"/>
                </a:cubicBezTo>
                <a:close/>
                <a:moveTo>
                  <a:pt x="676" y="252"/>
                </a:moveTo>
                <a:cubicBezTo>
                  <a:pt x="676" y="250"/>
                  <a:pt x="677" y="251"/>
                  <a:pt x="676" y="252"/>
                </a:cubicBezTo>
                <a:close/>
                <a:moveTo>
                  <a:pt x="673" y="222"/>
                </a:moveTo>
                <a:cubicBezTo>
                  <a:pt x="674" y="221"/>
                  <a:pt x="676" y="222"/>
                  <a:pt x="676" y="222"/>
                </a:cubicBezTo>
                <a:cubicBezTo>
                  <a:pt x="678" y="225"/>
                  <a:pt x="674" y="230"/>
                  <a:pt x="672" y="229"/>
                </a:cubicBezTo>
                <a:cubicBezTo>
                  <a:pt x="669" y="227"/>
                  <a:pt x="671" y="223"/>
                  <a:pt x="673" y="222"/>
                </a:cubicBezTo>
                <a:close/>
                <a:moveTo>
                  <a:pt x="669" y="233"/>
                </a:moveTo>
                <a:cubicBezTo>
                  <a:pt x="669" y="232"/>
                  <a:pt x="670" y="231"/>
                  <a:pt x="670" y="230"/>
                </a:cubicBezTo>
                <a:cubicBezTo>
                  <a:pt x="669" y="230"/>
                  <a:pt x="669" y="230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1" y="229"/>
                </a:cubicBezTo>
                <a:cubicBezTo>
                  <a:pt x="670" y="230"/>
                  <a:pt x="670" y="230"/>
                  <a:pt x="670" y="230"/>
                </a:cubicBezTo>
                <a:cubicBezTo>
                  <a:pt x="670" y="233"/>
                  <a:pt x="669" y="236"/>
                  <a:pt x="668" y="238"/>
                </a:cubicBezTo>
                <a:cubicBezTo>
                  <a:pt x="668" y="237"/>
                  <a:pt x="668" y="235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lose/>
                <a:moveTo>
                  <a:pt x="668" y="231"/>
                </a:moveTo>
                <a:cubicBezTo>
                  <a:pt x="668" y="233"/>
                  <a:pt x="666" y="231"/>
                  <a:pt x="668" y="231"/>
                </a:cubicBezTo>
                <a:close/>
                <a:moveTo>
                  <a:pt x="671" y="249"/>
                </a:moveTo>
                <a:cubicBezTo>
                  <a:pt x="670" y="250"/>
                  <a:pt x="668" y="251"/>
                  <a:pt x="666" y="252"/>
                </a:cubicBezTo>
                <a:cubicBezTo>
                  <a:pt x="667" y="250"/>
                  <a:pt x="669" y="250"/>
                  <a:pt x="671" y="249"/>
                </a:cubicBezTo>
                <a:close/>
                <a:moveTo>
                  <a:pt x="667" y="257"/>
                </a:moveTo>
                <a:cubicBezTo>
                  <a:pt x="667" y="258"/>
                  <a:pt x="666" y="260"/>
                  <a:pt x="665" y="261"/>
                </a:cubicBezTo>
                <a:cubicBezTo>
                  <a:pt x="665" y="259"/>
                  <a:pt x="667" y="259"/>
                  <a:pt x="667" y="257"/>
                </a:cubicBezTo>
                <a:close/>
                <a:moveTo>
                  <a:pt x="666" y="302"/>
                </a:moveTo>
                <a:cubicBezTo>
                  <a:pt x="666" y="302"/>
                  <a:pt x="666" y="302"/>
                  <a:pt x="666" y="301"/>
                </a:cubicBezTo>
                <a:cubicBezTo>
                  <a:pt x="666" y="300"/>
                  <a:pt x="667" y="302"/>
                  <a:pt x="666" y="302"/>
                </a:cubicBezTo>
                <a:close/>
                <a:moveTo>
                  <a:pt x="657" y="233"/>
                </a:moveTo>
                <a:cubicBezTo>
                  <a:pt x="657" y="233"/>
                  <a:pt x="657" y="233"/>
                  <a:pt x="657" y="233"/>
                </a:cubicBezTo>
                <a:cubicBezTo>
                  <a:pt x="657" y="235"/>
                  <a:pt x="655" y="233"/>
                  <a:pt x="657" y="233"/>
                </a:cubicBezTo>
                <a:close/>
                <a:moveTo>
                  <a:pt x="655" y="232"/>
                </a:moveTo>
                <a:cubicBezTo>
                  <a:pt x="656" y="232"/>
                  <a:pt x="656" y="234"/>
                  <a:pt x="655" y="234"/>
                </a:cubicBezTo>
                <a:cubicBezTo>
                  <a:pt x="654" y="233"/>
                  <a:pt x="655" y="232"/>
                  <a:pt x="655" y="232"/>
                </a:cubicBezTo>
                <a:close/>
                <a:moveTo>
                  <a:pt x="655" y="256"/>
                </a:moveTo>
                <a:cubicBezTo>
                  <a:pt x="657" y="254"/>
                  <a:pt x="657" y="259"/>
                  <a:pt x="655" y="259"/>
                </a:cubicBezTo>
                <a:cubicBezTo>
                  <a:pt x="654" y="258"/>
                  <a:pt x="654" y="256"/>
                  <a:pt x="655" y="256"/>
                </a:cubicBezTo>
                <a:close/>
                <a:moveTo>
                  <a:pt x="651" y="231"/>
                </a:moveTo>
                <a:cubicBezTo>
                  <a:pt x="651" y="231"/>
                  <a:pt x="652" y="230"/>
                  <a:pt x="653" y="231"/>
                </a:cubicBezTo>
                <a:cubicBezTo>
                  <a:pt x="654" y="232"/>
                  <a:pt x="650" y="234"/>
                  <a:pt x="651" y="231"/>
                </a:cubicBezTo>
                <a:close/>
                <a:moveTo>
                  <a:pt x="651" y="229"/>
                </a:moveTo>
                <a:cubicBezTo>
                  <a:pt x="651" y="228"/>
                  <a:pt x="650" y="231"/>
                  <a:pt x="651" y="229"/>
                </a:cubicBezTo>
                <a:close/>
                <a:moveTo>
                  <a:pt x="647" y="239"/>
                </a:moveTo>
                <a:cubicBezTo>
                  <a:pt x="648" y="237"/>
                  <a:pt x="650" y="241"/>
                  <a:pt x="647" y="241"/>
                </a:cubicBezTo>
                <a:cubicBezTo>
                  <a:pt x="647" y="240"/>
                  <a:pt x="646" y="239"/>
                  <a:pt x="647" y="239"/>
                </a:cubicBezTo>
                <a:close/>
                <a:moveTo>
                  <a:pt x="649" y="265"/>
                </a:moveTo>
                <a:cubicBezTo>
                  <a:pt x="650" y="264"/>
                  <a:pt x="651" y="260"/>
                  <a:pt x="653" y="260"/>
                </a:cubicBezTo>
                <a:cubicBezTo>
                  <a:pt x="657" y="258"/>
                  <a:pt x="649" y="267"/>
                  <a:pt x="648" y="268"/>
                </a:cubicBezTo>
                <a:cubicBezTo>
                  <a:pt x="650" y="266"/>
                  <a:pt x="648" y="270"/>
                  <a:pt x="647" y="269"/>
                </a:cubicBezTo>
                <a:cubicBezTo>
                  <a:pt x="646" y="269"/>
                  <a:pt x="648" y="266"/>
                  <a:pt x="649" y="265"/>
                </a:cubicBezTo>
                <a:close/>
                <a:moveTo>
                  <a:pt x="652" y="271"/>
                </a:moveTo>
                <a:cubicBezTo>
                  <a:pt x="653" y="272"/>
                  <a:pt x="651" y="272"/>
                  <a:pt x="651" y="272"/>
                </a:cubicBezTo>
                <a:cubicBezTo>
                  <a:pt x="651" y="271"/>
                  <a:pt x="652" y="270"/>
                  <a:pt x="652" y="271"/>
                </a:cubicBezTo>
                <a:close/>
                <a:moveTo>
                  <a:pt x="657" y="273"/>
                </a:moveTo>
                <a:cubicBezTo>
                  <a:pt x="653" y="278"/>
                  <a:pt x="649" y="282"/>
                  <a:pt x="643" y="286"/>
                </a:cubicBezTo>
                <a:cubicBezTo>
                  <a:pt x="648" y="281"/>
                  <a:pt x="652" y="277"/>
                  <a:pt x="657" y="273"/>
                </a:cubicBezTo>
                <a:close/>
                <a:moveTo>
                  <a:pt x="645" y="387"/>
                </a:moveTo>
                <a:cubicBezTo>
                  <a:pt x="645" y="389"/>
                  <a:pt x="643" y="388"/>
                  <a:pt x="645" y="387"/>
                </a:cubicBezTo>
                <a:close/>
                <a:moveTo>
                  <a:pt x="645" y="390"/>
                </a:moveTo>
                <a:cubicBezTo>
                  <a:pt x="645" y="388"/>
                  <a:pt x="644" y="391"/>
                  <a:pt x="645" y="390"/>
                </a:cubicBezTo>
                <a:close/>
                <a:moveTo>
                  <a:pt x="641" y="392"/>
                </a:moveTo>
                <a:cubicBezTo>
                  <a:pt x="642" y="391"/>
                  <a:pt x="642" y="390"/>
                  <a:pt x="643" y="389"/>
                </a:cubicBezTo>
                <a:cubicBezTo>
                  <a:pt x="643" y="390"/>
                  <a:pt x="643" y="391"/>
                  <a:pt x="641" y="392"/>
                </a:cubicBezTo>
                <a:close/>
                <a:moveTo>
                  <a:pt x="642" y="393"/>
                </a:moveTo>
                <a:cubicBezTo>
                  <a:pt x="643" y="393"/>
                  <a:pt x="640" y="395"/>
                  <a:pt x="642" y="393"/>
                </a:cubicBezTo>
                <a:close/>
                <a:moveTo>
                  <a:pt x="643" y="300"/>
                </a:moveTo>
                <a:cubicBezTo>
                  <a:pt x="642" y="300"/>
                  <a:pt x="643" y="299"/>
                  <a:pt x="643" y="299"/>
                </a:cubicBezTo>
                <a:cubicBezTo>
                  <a:pt x="644" y="297"/>
                  <a:pt x="644" y="301"/>
                  <a:pt x="643" y="300"/>
                </a:cubicBezTo>
                <a:close/>
                <a:moveTo>
                  <a:pt x="642" y="297"/>
                </a:moveTo>
                <a:cubicBezTo>
                  <a:pt x="642" y="296"/>
                  <a:pt x="643" y="296"/>
                  <a:pt x="644" y="295"/>
                </a:cubicBezTo>
                <a:cubicBezTo>
                  <a:pt x="644" y="296"/>
                  <a:pt x="643" y="297"/>
                  <a:pt x="642" y="297"/>
                </a:cubicBezTo>
                <a:close/>
                <a:moveTo>
                  <a:pt x="639" y="297"/>
                </a:moveTo>
                <a:cubicBezTo>
                  <a:pt x="638" y="296"/>
                  <a:pt x="644" y="290"/>
                  <a:pt x="645" y="290"/>
                </a:cubicBezTo>
                <a:cubicBezTo>
                  <a:pt x="645" y="289"/>
                  <a:pt x="646" y="289"/>
                  <a:pt x="647" y="289"/>
                </a:cubicBezTo>
                <a:cubicBezTo>
                  <a:pt x="647" y="289"/>
                  <a:pt x="640" y="298"/>
                  <a:pt x="639" y="297"/>
                </a:cubicBezTo>
                <a:close/>
                <a:moveTo>
                  <a:pt x="642" y="298"/>
                </a:moveTo>
                <a:cubicBezTo>
                  <a:pt x="641" y="300"/>
                  <a:pt x="639" y="299"/>
                  <a:pt x="642" y="298"/>
                </a:cubicBezTo>
                <a:close/>
                <a:moveTo>
                  <a:pt x="639" y="303"/>
                </a:moveTo>
                <a:cubicBezTo>
                  <a:pt x="639" y="303"/>
                  <a:pt x="639" y="302"/>
                  <a:pt x="639" y="302"/>
                </a:cubicBezTo>
                <a:cubicBezTo>
                  <a:pt x="641" y="300"/>
                  <a:pt x="640" y="304"/>
                  <a:pt x="639" y="303"/>
                </a:cubicBezTo>
                <a:close/>
                <a:moveTo>
                  <a:pt x="640" y="320"/>
                </a:moveTo>
                <a:cubicBezTo>
                  <a:pt x="640" y="320"/>
                  <a:pt x="639" y="321"/>
                  <a:pt x="639" y="321"/>
                </a:cubicBezTo>
                <a:cubicBezTo>
                  <a:pt x="638" y="321"/>
                  <a:pt x="639" y="320"/>
                  <a:pt x="640" y="320"/>
                </a:cubicBezTo>
                <a:close/>
                <a:moveTo>
                  <a:pt x="638" y="266"/>
                </a:moveTo>
                <a:cubicBezTo>
                  <a:pt x="637" y="266"/>
                  <a:pt x="639" y="265"/>
                  <a:pt x="638" y="264"/>
                </a:cubicBezTo>
                <a:cubicBezTo>
                  <a:pt x="639" y="264"/>
                  <a:pt x="638" y="266"/>
                  <a:pt x="638" y="266"/>
                </a:cubicBezTo>
                <a:close/>
                <a:moveTo>
                  <a:pt x="638" y="268"/>
                </a:moveTo>
                <a:cubicBezTo>
                  <a:pt x="638" y="268"/>
                  <a:pt x="638" y="269"/>
                  <a:pt x="638" y="269"/>
                </a:cubicBezTo>
                <a:cubicBezTo>
                  <a:pt x="638" y="269"/>
                  <a:pt x="638" y="269"/>
                  <a:pt x="638" y="269"/>
                </a:cubicBezTo>
                <a:cubicBezTo>
                  <a:pt x="638" y="269"/>
                  <a:pt x="638" y="269"/>
                  <a:pt x="638" y="268"/>
                </a:cubicBezTo>
                <a:close/>
                <a:moveTo>
                  <a:pt x="642" y="286"/>
                </a:moveTo>
                <a:cubicBezTo>
                  <a:pt x="642" y="287"/>
                  <a:pt x="639" y="289"/>
                  <a:pt x="638" y="290"/>
                </a:cubicBezTo>
                <a:cubicBezTo>
                  <a:pt x="638" y="288"/>
                  <a:pt x="641" y="288"/>
                  <a:pt x="642" y="286"/>
                </a:cubicBezTo>
                <a:close/>
                <a:moveTo>
                  <a:pt x="644" y="234"/>
                </a:moveTo>
                <a:cubicBezTo>
                  <a:pt x="643" y="235"/>
                  <a:pt x="643" y="234"/>
                  <a:pt x="644" y="234"/>
                </a:cubicBezTo>
                <a:close/>
                <a:moveTo>
                  <a:pt x="643" y="251"/>
                </a:moveTo>
                <a:cubicBezTo>
                  <a:pt x="643" y="252"/>
                  <a:pt x="642" y="253"/>
                  <a:pt x="642" y="253"/>
                </a:cubicBezTo>
                <a:cubicBezTo>
                  <a:pt x="642" y="253"/>
                  <a:pt x="642" y="251"/>
                  <a:pt x="643" y="251"/>
                </a:cubicBezTo>
                <a:close/>
                <a:moveTo>
                  <a:pt x="645" y="254"/>
                </a:moveTo>
                <a:cubicBezTo>
                  <a:pt x="643" y="257"/>
                  <a:pt x="641" y="258"/>
                  <a:pt x="638" y="260"/>
                </a:cubicBezTo>
                <a:cubicBezTo>
                  <a:pt x="640" y="258"/>
                  <a:pt x="642" y="256"/>
                  <a:pt x="645" y="254"/>
                </a:cubicBezTo>
                <a:close/>
                <a:moveTo>
                  <a:pt x="640" y="225"/>
                </a:moveTo>
                <a:cubicBezTo>
                  <a:pt x="640" y="225"/>
                  <a:pt x="640" y="225"/>
                  <a:pt x="640" y="225"/>
                </a:cubicBezTo>
                <a:cubicBezTo>
                  <a:pt x="640" y="225"/>
                  <a:pt x="640" y="225"/>
                  <a:pt x="640" y="226"/>
                </a:cubicBezTo>
                <a:cubicBezTo>
                  <a:pt x="640" y="226"/>
                  <a:pt x="640" y="226"/>
                  <a:pt x="640" y="225"/>
                </a:cubicBezTo>
                <a:close/>
                <a:moveTo>
                  <a:pt x="640" y="241"/>
                </a:moveTo>
                <a:cubicBezTo>
                  <a:pt x="641" y="243"/>
                  <a:pt x="638" y="244"/>
                  <a:pt x="638" y="242"/>
                </a:cubicBezTo>
                <a:cubicBezTo>
                  <a:pt x="637" y="241"/>
                  <a:pt x="640" y="239"/>
                  <a:pt x="640" y="241"/>
                </a:cubicBezTo>
                <a:close/>
                <a:moveTo>
                  <a:pt x="638" y="290"/>
                </a:moveTo>
                <a:cubicBezTo>
                  <a:pt x="639" y="291"/>
                  <a:pt x="635" y="292"/>
                  <a:pt x="636" y="290"/>
                </a:cubicBezTo>
                <a:cubicBezTo>
                  <a:pt x="637" y="289"/>
                  <a:pt x="637" y="289"/>
                  <a:pt x="638" y="290"/>
                </a:cubicBezTo>
                <a:close/>
                <a:moveTo>
                  <a:pt x="637" y="302"/>
                </a:move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lose/>
                <a:moveTo>
                  <a:pt x="632" y="265"/>
                </a:moveTo>
                <a:cubicBezTo>
                  <a:pt x="633" y="264"/>
                  <a:pt x="635" y="262"/>
                  <a:pt x="636" y="262"/>
                </a:cubicBezTo>
                <a:cubicBezTo>
                  <a:pt x="636" y="262"/>
                  <a:pt x="634" y="265"/>
                  <a:pt x="632" y="265"/>
                </a:cubicBezTo>
                <a:close/>
                <a:moveTo>
                  <a:pt x="637" y="219"/>
                </a:moveTo>
                <a:cubicBezTo>
                  <a:pt x="637" y="221"/>
                  <a:pt x="634" y="221"/>
                  <a:pt x="634" y="219"/>
                </a:cubicBezTo>
                <a:cubicBezTo>
                  <a:pt x="634" y="218"/>
                  <a:pt x="636" y="217"/>
                  <a:pt x="637" y="219"/>
                </a:cubicBezTo>
                <a:close/>
                <a:moveTo>
                  <a:pt x="633" y="221"/>
                </a:moveTo>
                <a:cubicBezTo>
                  <a:pt x="633" y="221"/>
                  <a:pt x="635" y="221"/>
                  <a:pt x="634" y="222"/>
                </a:cubicBezTo>
                <a:cubicBezTo>
                  <a:pt x="634" y="222"/>
                  <a:pt x="632" y="222"/>
                  <a:pt x="633" y="221"/>
                </a:cubicBezTo>
                <a:close/>
                <a:moveTo>
                  <a:pt x="633" y="253"/>
                </a:moveTo>
                <a:cubicBezTo>
                  <a:pt x="633" y="254"/>
                  <a:pt x="632" y="254"/>
                  <a:pt x="631" y="254"/>
                </a:cubicBezTo>
                <a:cubicBezTo>
                  <a:pt x="631" y="253"/>
                  <a:pt x="632" y="252"/>
                  <a:pt x="633" y="253"/>
                </a:cubicBezTo>
                <a:close/>
                <a:moveTo>
                  <a:pt x="630" y="260"/>
                </a:moveTo>
                <a:cubicBezTo>
                  <a:pt x="630" y="260"/>
                  <a:pt x="630" y="260"/>
                  <a:pt x="630" y="261"/>
                </a:cubicBezTo>
                <a:cubicBezTo>
                  <a:pt x="630" y="261"/>
                  <a:pt x="630" y="261"/>
                  <a:pt x="630" y="261"/>
                </a:cubicBezTo>
                <a:cubicBezTo>
                  <a:pt x="630" y="261"/>
                  <a:pt x="630" y="260"/>
                  <a:pt x="630" y="260"/>
                </a:cubicBezTo>
                <a:close/>
                <a:moveTo>
                  <a:pt x="632" y="277"/>
                </a:moveTo>
                <a:cubicBezTo>
                  <a:pt x="634" y="279"/>
                  <a:pt x="631" y="281"/>
                  <a:pt x="629" y="281"/>
                </a:cubicBezTo>
                <a:cubicBezTo>
                  <a:pt x="629" y="280"/>
                  <a:pt x="631" y="277"/>
                  <a:pt x="632" y="277"/>
                </a:cubicBezTo>
                <a:close/>
                <a:moveTo>
                  <a:pt x="632" y="347"/>
                </a:moveTo>
                <a:cubicBezTo>
                  <a:pt x="632" y="347"/>
                  <a:pt x="632" y="346"/>
                  <a:pt x="632" y="346"/>
                </a:cubicBezTo>
                <a:cubicBezTo>
                  <a:pt x="633" y="344"/>
                  <a:pt x="632" y="348"/>
                  <a:pt x="632" y="347"/>
                </a:cubicBezTo>
                <a:close/>
                <a:moveTo>
                  <a:pt x="630" y="294"/>
                </a:moveTo>
                <a:cubicBezTo>
                  <a:pt x="630" y="295"/>
                  <a:pt x="629" y="295"/>
                  <a:pt x="629" y="295"/>
                </a:cubicBezTo>
                <a:cubicBezTo>
                  <a:pt x="629" y="295"/>
                  <a:pt x="629" y="294"/>
                  <a:pt x="630" y="294"/>
                </a:cubicBezTo>
                <a:close/>
                <a:moveTo>
                  <a:pt x="627" y="314"/>
                </a:moveTo>
                <a:cubicBezTo>
                  <a:pt x="627" y="314"/>
                  <a:pt x="628" y="314"/>
                  <a:pt x="628" y="314"/>
                </a:cubicBezTo>
                <a:cubicBezTo>
                  <a:pt x="629" y="315"/>
                  <a:pt x="627" y="315"/>
                  <a:pt x="627" y="314"/>
                </a:cubicBezTo>
                <a:close/>
                <a:moveTo>
                  <a:pt x="628" y="256"/>
                </a:moveTo>
                <a:cubicBezTo>
                  <a:pt x="628" y="254"/>
                  <a:pt x="627" y="257"/>
                  <a:pt x="628" y="256"/>
                </a:cubicBezTo>
                <a:close/>
                <a:moveTo>
                  <a:pt x="626" y="201"/>
                </a:moveTo>
                <a:cubicBezTo>
                  <a:pt x="624" y="200"/>
                  <a:pt x="625" y="198"/>
                  <a:pt x="626" y="198"/>
                </a:cubicBezTo>
                <a:cubicBezTo>
                  <a:pt x="629" y="196"/>
                  <a:pt x="628" y="201"/>
                  <a:pt x="626" y="201"/>
                </a:cubicBezTo>
                <a:close/>
                <a:moveTo>
                  <a:pt x="625" y="187"/>
                </a:moveTo>
                <a:cubicBezTo>
                  <a:pt x="625" y="186"/>
                  <a:pt x="626" y="186"/>
                  <a:pt x="626" y="186"/>
                </a:cubicBezTo>
                <a:cubicBezTo>
                  <a:pt x="627" y="187"/>
                  <a:pt x="624" y="188"/>
                  <a:pt x="625" y="187"/>
                </a:cubicBezTo>
                <a:close/>
                <a:moveTo>
                  <a:pt x="622" y="226"/>
                </a:moveTo>
                <a:cubicBezTo>
                  <a:pt x="617" y="226"/>
                  <a:pt x="619" y="218"/>
                  <a:pt x="621" y="217"/>
                </a:cubicBezTo>
                <a:cubicBezTo>
                  <a:pt x="629" y="212"/>
                  <a:pt x="628" y="227"/>
                  <a:pt x="622" y="226"/>
                </a:cubicBezTo>
                <a:close/>
                <a:moveTo>
                  <a:pt x="619" y="233"/>
                </a:moveTo>
                <a:cubicBezTo>
                  <a:pt x="618" y="232"/>
                  <a:pt x="623" y="228"/>
                  <a:pt x="624" y="228"/>
                </a:cubicBezTo>
                <a:cubicBezTo>
                  <a:pt x="628" y="226"/>
                  <a:pt x="620" y="234"/>
                  <a:pt x="619" y="233"/>
                </a:cubicBezTo>
                <a:close/>
                <a:moveTo>
                  <a:pt x="625" y="235"/>
                </a:moveTo>
                <a:cubicBezTo>
                  <a:pt x="625" y="236"/>
                  <a:pt x="623" y="237"/>
                  <a:pt x="623" y="236"/>
                </a:cubicBezTo>
                <a:cubicBezTo>
                  <a:pt x="622" y="235"/>
                  <a:pt x="624" y="234"/>
                  <a:pt x="625" y="235"/>
                </a:cubicBezTo>
                <a:close/>
                <a:moveTo>
                  <a:pt x="622" y="357"/>
                </a:move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lose/>
                <a:moveTo>
                  <a:pt x="608" y="328"/>
                </a:moveTo>
                <a:cubicBezTo>
                  <a:pt x="608" y="327"/>
                  <a:pt x="611" y="326"/>
                  <a:pt x="612" y="324"/>
                </a:cubicBezTo>
                <a:cubicBezTo>
                  <a:pt x="615" y="321"/>
                  <a:pt x="617" y="315"/>
                  <a:pt x="621" y="313"/>
                </a:cubicBezTo>
                <a:cubicBezTo>
                  <a:pt x="621" y="317"/>
                  <a:pt x="615" y="319"/>
                  <a:pt x="614" y="322"/>
                </a:cubicBezTo>
                <a:cubicBezTo>
                  <a:pt x="613" y="324"/>
                  <a:pt x="610" y="329"/>
                  <a:pt x="607" y="331"/>
                </a:cubicBezTo>
                <a:cubicBezTo>
                  <a:pt x="607" y="331"/>
                  <a:pt x="607" y="333"/>
                  <a:pt x="606" y="332"/>
                </a:cubicBezTo>
                <a:cubicBezTo>
                  <a:pt x="605" y="331"/>
                  <a:pt x="608" y="328"/>
                  <a:pt x="608" y="328"/>
                </a:cubicBezTo>
                <a:close/>
                <a:moveTo>
                  <a:pt x="605" y="271"/>
                </a:moveTo>
                <a:cubicBezTo>
                  <a:pt x="604" y="270"/>
                  <a:pt x="605" y="269"/>
                  <a:pt x="605" y="269"/>
                </a:cubicBezTo>
                <a:cubicBezTo>
                  <a:pt x="608" y="267"/>
                  <a:pt x="606" y="272"/>
                  <a:pt x="605" y="271"/>
                </a:cubicBezTo>
                <a:close/>
                <a:moveTo>
                  <a:pt x="609" y="243"/>
                </a:moveTo>
                <a:cubicBezTo>
                  <a:pt x="608" y="242"/>
                  <a:pt x="610" y="241"/>
                  <a:pt x="611" y="243"/>
                </a:cubicBezTo>
                <a:cubicBezTo>
                  <a:pt x="611" y="244"/>
                  <a:pt x="609" y="244"/>
                  <a:pt x="609" y="243"/>
                </a:cubicBezTo>
                <a:close/>
                <a:moveTo>
                  <a:pt x="611" y="305"/>
                </a:moveTo>
                <a:cubicBezTo>
                  <a:pt x="610" y="306"/>
                  <a:pt x="611" y="304"/>
                  <a:pt x="611" y="305"/>
                </a:cubicBezTo>
                <a:close/>
                <a:moveTo>
                  <a:pt x="613" y="298"/>
                </a:moveTo>
                <a:cubicBezTo>
                  <a:pt x="613" y="298"/>
                  <a:pt x="613" y="298"/>
                  <a:pt x="613" y="298"/>
                </a:cubicBezTo>
                <a:cubicBezTo>
                  <a:pt x="614" y="295"/>
                  <a:pt x="613" y="300"/>
                  <a:pt x="613" y="298"/>
                </a:cubicBezTo>
                <a:close/>
                <a:moveTo>
                  <a:pt x="617" y="261"/>
                </a:moveTo>
                <a:cubicBezTo>
                  <a:pt x="617" y="262"/>
                  <a:pt x="616" y="262"/>
                  <a:pt x="615" y="263"/>
                </a:cubicBezTo>
                <a:cubicBezTo>
                  <a:pt x="615" y="262"/>
                  <a:pt x="616" y="261"/>
                  <a:pt x="617" y="261"/>
                </a:cubicBezTo>
                <a:close/>
                <a:moveTo>
                  <a:pt x="616" y="238"/>
                </a:moveTo>
                <a:cubicBezTo>
                  <a:pt x="616" y="238"/>
                  <a:pt x="616" y="239"/>
                  <a:pt x="615" y="239"/>
                </a:cubicBezTo>
                <a:cubicBezTo>
                  <a:pt x="615" y="238"/>
                  <a:pt x="615" y="238"/>
                  <a:pt x="616" y="238"/>
                </a:cubicBezTo>
                <a:close/>
                <a:moveTo>
                  <a:pt x="618" y="309"/>
                </a:moveTo>
                <a:cubicBezTo>
                  <a:pt x="618" y="309"/>
                  <a:pt x="618" y="308"/>
                  <a:pt x="618" y="308"/>
                </a:cubicBezTo>
                <a:cubicBezTo>
                  <a:pt x="619" y="306"/>
                  <a:pt x="618" y="311"/>
                  <a:pt x="618" y="309"/>
                </a:cubicBezTo>
                <a:close/>
                <a:moveTo>
                  <a:pt x="618" y="295"/>
                </a:moveTo>
                <a:cubicBezTo>
                  <a:pt x="619" y="293"/>
                  <a:pt x="618" y="296"/>
                  <a:pt x="618" y="295"/>
                </a:cubicBezTo>
                <a:close/>
                <a:moveTo>
                  <a:pt x="620" y="301"/>
                </a:moveTo>
                <a:cubicBezTo>
                  <a:pt x="619" y="302"/>
                  <a:pt x="621" y="300"/>
                  <a:pt x="620" y="301"/>
                </a:cubicBezTo>
                <a:close/>
                <a:moveTo>
                  <a:pt x="621" y="333"/>
                </a:moveTo>
                <a:cubicBezTo>
                  <a:pt x="620" y="335"/>
                  <a:pt x="619" y="336"/>
                  <a:pt x="618" y="337"/>
                </a:cubicBezTo>
                <a:cubicBezTo>
                  <a:pt x="619" y="336"/>
                  <a:pt x="620" y="334"/>
                  <a:pt x="621" y="333"/>
                </a:cubicBezTo>
                <a:close/>
                <a:moveTo>
                  <a:pt x="622" y="194"/>
                </a:moveTo>
                <a:cubicBezTo>
                  <a:pt x="621" y="194"/>
                  <a:pt x="622" y="192"/>
                  <a:pt x="623" y="193"/>
                </a:cubicBezTo>
                <a:cubicBezTo>
                  <a:pt x="623" y="194"/>
                  <a:pt x="622" y="195"/>
                  <a:pt x="622" y="194"/>
                </a:cubicBezTo>
                <a:close/>
                <a:moveTo>
                  <a:pt x="619" y="192"/>
                </a:moveTo>
                <a:cubicBezTo>
                  <a:pt x="619" y="192"/>
                  <a:pt x="619" y="192"/>
                  <a:pt x="620" y="191"/>
                </a:cubicBezTo>
                <a:cubicBezTo>
                  <a:pt x="620" y="192"/>
                  <a:pt x="620" y="192"/>
                  <a:pt x="620" y="192"/>
                </a:cubicBezTo>
                <a:cubicBezTo>
                  <a:pt x="621" y="191"/>
                  <a:pt x="622" y="190"/>
                  <a:pt x="623" y="190"/>
                </a:cubicBezTo>
                <a:cubicBezTo>
                  <a:pt x="622" y="192"/>
                  <a:pt x="620" y="193"/>
                  <a:pt x="617" y="194"/>
                </a:cubicBezTo>
                <a:cubicBezTo>
                  <a:pt x="618" y="193"/>
                  <a:pt x="618" y="193"/>
                  <a:pt x="619" y="192"/>
                </a:cubicBezTo>
                <a:close/>
                <a:moveTo>
                  <a:pt x="615" y="194"/>
                </a:moveTo>
                <a:cubicBezTo>
                  <a:pt x="616" y="194"/>
                  <a:pt x="617" y="193"/>
                  <a:pt x="617" y="194"/>
                </a:cubicBezTo>
                <a:cubicBezTo>
                  <a:pt x="618" y="195"/>
                  <a:pt x="613" y="196"/>
                  <a:pt x="615" y="194"/>
                </a:cubicBezTo>
                <a:close/>
                <a:moveTo>
                  <a:pt x="612" y="214"/>
                </a:moveTo>
                <a:cubicBezTo>
                  <a:pt x="613" y="215"/>
                  <a:pt x="612" y="215"/>
                  <a:pt x="611" y="214"/>
                </a:cubicBezTo>
                <a:cubicBezTo>
                  <a:pt x="611" y="214"/>
                  <a:pt x="612" y="213"/>
                  <a:pt x="612" y="214"/>
                </a:cubicBezTo>
                <a:close/>
                <a:moveTo>
                  <a:pt x="609" y="203"/>
                </a:moveTo>
                <a:cubicBezTo>
                  <a:pt x="611" y="201"/>
                  <a:pt x="611" y="205"/>
                  <a:pt x="609" y="205"/>
                </a:cubicBezTo>
                <a:cubicBezTo>
                  <a:pt x="609" y="204"/>
                  <a:pt x="609" y="204"/>
                  <a:pt x="609" y="203"/>
                </a:cubicBezTo>
                <a:close/>
                <a:moveTo>
                  <a:pt x="609" y="219"/>
                </a:moveTo>
                <a:cubicBezTo>
                  <a:pt x="612" y="218"/>
                  <a:pt x="616" y="215"/>
                  <a:pt x="620" y="214"/>
                </a:cubicBezTo>
                <a:cubicBezTo>
                  <a:pt x="617" y="216"/>
                  <a:pt x="611" y="220"/>
                  <a:pt x="608" y="221"/>
                </a:cubicBezTo>
                <a:cubicBezTo>
                  <a:pt x="609" y="221"/>
                  <a:pt x="607" y="222"/>
                  <a:pt x="607" y="221"/>
                </a:cubicBezTo>
                <a:cubicBezTo>
                  <a:pt x="606" y="220"/>
                  <a:pt x="609" y="220"/>
                  <a:pt x="609" y="219"/>
                </a:cubicBezTo>
                <a:close/>
                <a:moveTo>
                  <a:pt x="610" y="253"/>
                </a:moveTo>
                <a:cubicBezTo>
                  <a:pt x="610" y="255"/>
                  <a:pt x="605" y="256"/>
                  <a:pt x="605" y="255"/>
                </a:cubicBezTo>
                <a:cubicBezTo>
                  <a:pt x="604" y="252"/>
                  <a:pt x="610" y="249"/>
                  <a:pt x="610" y="253"/>
                </a:cubicBezTo>
                <a:close/>
                <a:moveTo>
                  <a:pt x="602" y="194"/>
                </a:moveTo>
                <a:cubicBezTo>
                  <a:pt x="602" y="194"/>
                  <a:pt x="603" y="194"/>
                  <a:pt x="603" y="194"/>
                </a:cubicBezTo>
                <a:cubicBezTo>
                  <a:pt x="604" y="196"/>
                  <a:pt x="601" y="196"/>
                  <a:pt x="602" y="194"/>
                </a:cubicBezTo>
                <a:close/>
                <a:moveTo>
                  <a:pt x="604" y="256"/>
                </a:moveTo>
                <a:cubicBezTo>
                  <a:pt x="604" y="257"/>
                  <a:pt x="606" y="258"/>
                  <a:pt x="606" y="259"/>
                </a:cubicBezTo>
                <a:cubicBezTo>
                  <a:pt x="605" y="261"/>
                  <a:pt x="604" y="259"/>
                  <a:pt x="603" y="260"/>
                </a:cubicBezTo>
                <a:cubicBezTo>
                  <a:pt x="601" y="262"/>
                  <a:pt x="602" y="267"/>
                  <a:pt x="600" y="270"/>
                </a:cubicBezTo>
                <a:cubicBezTo>
                  <a:pt x="600" y="265"/>
                  <a:pt x="602" y="261"/>
                  <a:pt x="604" y="256"/>
                </a:cubicBezTo>
                <a:close/>
                <a:moveTo>
                  <a:pt x="600" y="272"/>
                </a:moveTo>
                <a:cubicBezTo>
                  <a:pt x="600" y="271"/>
                  <a:pt x="602" y="269"/>
                  <a:pt x="603" y="271"/>
                </a:cubicBezTo>
                <a:cubicBezTo>
                  <a:pt x="603" y="273"/>
                  <a:pt x="601" y="273"/>
                  <a:pt x="600" y="272"/>
                </a:cubicBezTo>
                <a:close/>
                <a:moveTo>
                  <a:pt x="601" y="310"/>
                </a:moveTo>
                <a:cubicBezTo>
                  <a:pt x="600" y="310"/>
                  <a:pt x="601" y="310"/>
                  <a:pt x="601" y="310"/>
                </a:cubicBezTo>
                <a:cubicBezTo>
                  <a:pt x="602" y="310"/>
                  <a:pt x="601" y="310"/>
                  <a:pt x="601" y="310"/>
                </a:cubicBezTo>
                <a:close/>
                <a:moveTo>
                  <a:pt x="602" y="303"/>
                </a:moveTo>
                <a:cubicBezTo>
                  <a:pt x="602" y="302"/>
                  <a:pt x="603" y="302"/>
                  <a:pt x="603" y="302"/>
                </a:cubicBezTo>
                <a:cubicBezTo>
                  <a:pt x="604" y="302"/>
                  <a:pt x="602" y="304"/>
                  <a:pt x="602" y="303"/>
                </a:cubicBezTo>
                <a:close/>
                <a:moveTo>
                  <a:pt x="607" y="416"/>
                </a:moveTo>
                <a:cubicBezTo>
                  <a:pt x="607" y="415"/>
                  <a:pt x="607" y="415"/>
                  <a:pt x="608" y="414"/>
                </a:cubicBezTo>
                <a:cubicBezTo>
                  <a:pt x="607" y="415"/>
                  <a:pt x="607" y="416"/>
                  <a:pt x="607" y="416"/>
                </a:cubicBezTo>
                <a:close/>
                <a:moveTo>
                  <a:pt x="608" y="393"/>
                </a:moveTo>
                <a:cubicBezTo>
                  <a:pt x="608" y="392"/>
                  <a:pt x="609" y="391"/>
                  <a:pt x="610" y="390"/>
                </a:cubicBezTo>
                <a:cubicBezTo>
                  <a:pt x="610" y="390"/>
                  <a:pt x="609" y="392"/>
                  <a:pt x="608" y="393"/>
                </a:cubicBezTo>
                <a:close/>
                <a:moveTo>
                  <a:pt x="600" y="353"/>
                </a:moveTo>
                <a:cubicBezTo>
                  <a:pt x="601" y="350"/>
                  <a:pt x="607" y="346"/>
                  <a:pt x="610" y="343"/>
                </a:cubicBezTo>
                <a:cubicBezTo>
                  <a:pt x="608" y="347"/>
                  <a:pt x="603" y="350"/>
                  <a:pt x="600" y="353"/>
                </a:cubicBezTo>
                <a:close/>
                <a:moveTo>
                  <a:pt x="611" y="388"/>
                </a:moveTo>
                <a:cubicBezTo>
                  <a:pt x="610" y="388"/>
                  <a:pt x="612" y="387"/>
                  <a:pt x="611" y="388"/>
                </a:cubicBezTo>
                <a:close/>
                <a:moveTo>
                  <a:pt x="612" y="387"/>
                </a:moveTo>
                <a:cubicBezTo>
                  <a:pt x="612" y="386"/>
                  <a:pt x="612" y="386"/>
                  <a:pt x="613" y="385"/>
                </a:cubicBezTo>
                <a:cubicBezTo>
                  <a:pt x="613" y="386"/>
                  <a:pt x="612" y="387"/>
                  <a:pt x="612" y="387"/>
                </a:cubicBezTo>
                <a:close/>
                <a:moveTo>
                  <a:pt x="611" y="344"/>
                </a:moveTo>
                <a:cubicBezTo>
                  <a:pt x="612" y="342"/>
                  <a:pt x="613" y="341"/>
                  <a:pt x="616" y="339"/>
                </a:cubicBezTo>
                <a:cubicBezTo>
                  <a:pt x="614" y="341"/>
                  <a:pt x="613" y="343"/>
                  <a:pt x="611" y="344"/>
                </a:cubicBezTo>
                <a:close/>
                <a:moveTo>
                  <a:pt x="615" y="357"/>
                </a:moveTo>
                <a:cubicBezTo>
                  <a:pt x="615" y="357"/>
                  <a:pt x="616" y="356"/>
                  <a:pt x="617" y="356"/>
                </a:cubicBezTo>
                <a:cubicBezTo>
                  <a:pt x="616" y="357"/>
                  <a:pt x="615" y="357"/>
                  <a:pt x="615" y="357"/>
                </a:cubicBezTo>
                <a:close/>
                <a:moveTo>
                  <a:pt x="617" y="539"/>
                </a:moveTo>
                <a:cubicBezTo>
                  <a:pt x="616" y="539"/>
                  <a:pt x="617" y="537"/>
                  <a:pt x="618" y="537"/>
                </a:cubicBezTo>
                <a:cubicBezTo>
                  <a:pt x="618" y="538"/>
                  <a:pt x="617" y="539"/>
                  <a:pt x="617" y="539"/>
                </a:cubicBezTo>
                <a:close/>
                <a:moveTo>
                  <a:pt x="618" y="445"/>
                </a:moveTo>
                <a:cubicBezTo>
                  <a:pt x="617" y="445"/>
                  <a:pt x="618" y="443"/>
                  <a:pt x="618" y="443"/>
                </a:cubicBezTo>
                <a:cubicBezTo>
                  <a:pt x="620" y="441"/>
                  <a:pt x="619" y="446"/>
                  <a:pt x="618" y="445"/>
                </a:cubicBezTo>
                <a:close/>
                <a:moveTo>
                  <a:pt x="619" y="557"/>
                </a:moveTo>
                <a:cubicBezTo>
                  <a:pt x="619" y="557"/>
                  <a:pt x="619" y="556"/>
                  <a:pt x="619" y="557"/>
                </a:cubicBezTo>
                <a:cubicBezTo>
                  <a:pt x="620" y="557"/>
                  <a:pt x="619" y="558"/>
                  <a:pt x="619" y="557"/>
                </a:cubicBezTo>
                <a:close/>
                <a:moveTo>
                  <a:pt x="619" y="347"/>
                </a:moveTo>
                <a:cubicBezTo>
                  <a:pt x="618" y="347"/>
                  <a:pt x="619" y="345"/>
                  <a:pt x="619" y="345"/>
                </a:cubicBezTo>
                <a:cubicBezTo>
                  <a:pt x="621" y="342"/>
                  <a:pt x="620" y="348"/>
                  <a:pt x="619" y="347"/>
                </a:cubicBezTo>
                <a:close/>
                <a:moveTo>
                  <a:pt x="620" y="435"/>
                </a:moveTo>
                <a:cubicBezTo>
                  <a:pt x="621" y="434"/>
                  <a:pt x="619" y="437"/>
                  <a:pt x="620" y="435"/>
                </a:cubicBezTo>
                <a:close/>
                <a:moveTo>
                  <a:pt x="623" y="526"/>
                </a:moveTo>
                <a:cubicBezTo>
                  <a:pt x="624" y="527"/>
                  <a:pt x="622" y="529"/>
                  <a:pt x="621" y="530"/>
                </a:cubicBezTo>
                <a:cubicBezTo>
                  <a:pt x="621" y="529"/>
                  <a:pt x="623" y="527"/>
                  <a:pt x="623" y="526"/>
                </a:cubicBezTo>
                <a:close/>
                <a:moveTo>
                  <a:pt x="622" y="561"/>
                </a:moveTo>
                <a:cubicBezTo>
                  <a:pt x="621" y="560"/>
                  <a:pt x="622" y="558"/>
                  <a:pt x="622" y="558"/>
                </a:cubicBezTo>
                <a:cubicBezTo>
                  <a:pt x="625" y="555"/>
                  <a:pt x="624" y="562"/>
                  <a:pt x="622" y="561"/>
                </a:cubicBezTo>
                <a:close/>
                <a:moveTo>
                  <a:pt x="624" y="492"/>
                </a:moveTo>
                <a:cubicBezTo>
                  <a:pt x="624" y="490"/>
                  <a:pt x="623" y="493"/>
                  <a:pt x="624" y="492"/>
                </a:cubicBezTo>
                <a:close/>
                <a:moveTo>
                  <a:pt x="625" y="381"/>
                </a:moveTo>
                <a:cubicBezTo>
                  <a:pt x="625" y="381"/>
                  <a:pt x="624" y="381"/>
                  <a:pt x="624" y="381"/>
                </a:cubicBezTo>
                <a:cubicBezTo>
                  <a:pt x="625" y="379"/>
                  <a:pt x="626" y="381"/>
                  <a:pt x="625" y="381"/>
                </a:cubicBezTo>
                <a:close/>
                <a:moveTo>
                  <a:pt x="624" y="254"/>
                </a:moveTo>
                <a:cubicBezTo>
                  <a:pt x="624" y="254"/>
                  <a:pt x="625" y="253"/>
                  <a:pt x="625" y="253"/>
                </a:cubicBezTo>
                <a:cubicBezTo>
                  <a:pt x="626" y="252"/>
                  <a:pt x="625" y="255"/>
                  <a:pt x="624" y="254"/>
                </a:cubicBezTo>
                <a:close/>
                <a:moveTo>
                  <a:pt x="626" y="488"/>
                </a:moveTo>
                <a:cubicBezTo>
                  <a:pt x="626" y="488"/>
                  <a:pt x="627" y="486"/>
                  <a:pt x="627" y="486"/>
                </a:cubicBezTo>
                <a:cubicBezTo>
                  <a:pt x="627" y="487"/>
                  <a:pt x="626" y="487"/>
                  <a:pt x="626" y="488"/>
                </a:cubicBezTo>
                <a:close/>
                <a:moveTo>
                  <a:pt x="628" y="522"/>
                </a:moveTo>
                <a:cubicBezTo>
                  <a:pt x="626" y="521"/>
                  <a:pt x="628" y="521"/>
                  <a:pt x="628" y="522"/>
                </a:cubicBezTo>
                <a:close/>
                <a:moveTo>
                  <a:pt x="633" y="526"/>
                </a:moveTo>
                <a:cubicBezTo>
                  <a:pt x="634" y="528"/>
                  <a:pt x="631" y="529"/>
                  <a:pt x="633" y="526"/>
                </a:cubicBezTo>
                <a:close/>
                <a:moveTo>
                  <a:pt x="628" y="417"/>
                </a:moveTo>
                <a:cubicBezTo>
                  <a:pt x="630" y="415"/>
                  <a:pt x="631" y="410"/>
                  <a:pt x="634" y="409"/>
                </a:cubicBezTo>
                <a:cubicBezTo>
                  <a:pt x="633" y="409"/>
                  <a:pt x="631" y="417"/>
                  <a:pt x="628" y="417"/>
                </a:cubicBezTo>
                <a:close/>
                <a:moveTo>
                  <a:pt x="633" y="310"/>
                </a:moveTo>
                <a:cubicBezTo>
                  <a:pt x="632" y="309"/>
                  <a:pt x="634" y="305"/>
                  <a:pt x="634" y="305"/>
                </a:cubicBezTo>
                <a:cubicBezTo>
                  <a:pt x="638" y="302"/>
                  <a:pt x="636" y="311"/>
                  <a:pt x="633" y="310"/>
                </a:cubicBezTo>
                <a:close/>
                <a:moveTo>
                  <a:pt x="637" y="496"/>
                </a:moveTo>
                <a:cubicBezTo>
                  <a:pt x="636" y="497"/>
                  <a:pt x="637" y="495"/>
                  <a:pt x="637" y="496"/>
                </a:cubicBezTo>
                <a:close/>
                <a:moveTo>
                  <a:pt x="637" y="495"/>
                </a:moveTo>
                <a:cubicBezTo>
                  <a:pt x="635" y="495"/>
                  <a:pt x="637" y="490"/>
                  <a:pt x="638" y="490"/>
                </a:cubicBezTo>
                <a:cubicBezTo>
                  <a:pt x="640" y="489"/>
                  <a:pt x="639" y="496"/>
                  <a:pt x="637" y="495"/>
                </a:cubicBezTo>
                <a:close/>
                <a:moveTo>
                  <a:pt x="638" y="424"/>
                </a:move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lose/>
                <a:moveTo>
                  <a:pt x="634" y="368"/>
                </a:moveTo>
                <a:cubicBezTo>
                  <a:pt x="637" y="365"/>
                  <a:pt x="639" y="361"/>
                  <a:pt x="643" y="358"/>
                </a:cubicBezTo>
                <a:cubicBezTo>
                  <a:pt x="641" y="362"/>
                  <a:pt x="638" y="365"/>
                  <a:pt x="634" y="368"/>
                </a:cubicBezTo>
                <a:close/>
                <a:moveTo>
                  <a:pt x="641" y="395"/>
                </a:moveTo>
                <a:cubicBezTo>
                  <a:pt x="641" y="395"/>
                  <a:pt x="641" y="395"/>
                  <a:pt x="641" y="395"/>
                </a:cubicBezTo>
                <a:cubicBezTo>
                  <a:pt x="641" y="395"/>
                  <a:pt x="641" y="394"/>
                  <a:pt x="641" y="395"/>
                </a:cubicBezTo>
                <a:close/>
                <a:moveTo>
                  <a:pt x="640" y="430"/>
                </a:moveTo>
                <a:cubicBezTo>
                  <a:pt x="640" y="430"/>
                  <a:pt x="640" y="428"/>
                  <a:pt x="642" y="428"/>
                </a:cubicBezTo>
                <a:cubicBezTo>
                  <a:pt x="643" y="427"/>
                  <a:pt x="644" y="427"/>
                  <a:pt x="645" y="428"/>
                </a:cubicBezTo>
                <a:cubicBezTo>
                  <a:pt x="648" y="432"/>
                  <a:pt x="641" y="434"/>
                  <a:pt x="640" y="430"/>
                </a:cubicBezTo>
                <a:close/>
                <a:moveTo>
                  <a:pt x="645" y="387"/>
                </a:moveTo>
                <a:cubicBezTo>
                  <a:pt x="645" y="386"/>
                  <a:pt x="645" y="385"/>
                  <a:pt x="646" y="385"/>
                </a:cubicBezTo>
                <a:cubicBezTo>
                  <a:pt x="646" y="386"/>
                  <a:pt x="646" y="386"/>
                  <a:pt x="645" y="387"/>
                </a:cubicBezTo>
                <a:close/>
                <a:moveTo>
                  <a:pt x="647" y="552"/>
                </a:moveTo>
                <a:cubicBezTo>
                  <a:pt x="646" y="553"/>
                  <a:pt x="648" y="551"/>
                  <a:pt x="647" y="552"/>
                </a:cubicBezTo>
                <a:close/>
                <a:moveTo>
                  <a:pt x="647" y="429"/>
                </a:moveTo>
                <a:cubicBezTo>
                  <a:pt x="648" y="428"/>
                  <a:pt x="645" y="431"/>
                  <a:pt x="647" y="429"/>
                </a:cubicBezTo>
                <a:close/>
                <a:moveTo>
                  <a:pt x="646" y="388"/>
                </a:moveTo>
                <a:cubicBezTo>
                  <a:pt x="646" y="387"/>
                  <a:pt x="647" y="386"/>
                  <a:pt x="647" y="385"/>
                </a:cubicBezTo>
                <a:cubicBezTo>
                  <a:pt x="647" y="386"/>
                  <a:pt x="647" y="387"/>
                  <a:pt x="646" y="388"/>
                </a:cubicBezTo>
                <a:close/>
                <a:moveTo>
                  <a:pt x="646" y="385"/>
                </a:moveTo>
                <a:cubicBezTo>
                  <a:pt x="647" y="384"/>
                  <a:pt x="647" y="383"/>
                  <a:pt x="648" y="383"/>
                </a:cubicBezTo>
                <a:cubicBezTo>
                  <a:pt x="648" y="384"/>
                  <a:pt x="647" y="384"/>
                  <a:pt x="646" y="385"/>
                </a:cubicBezTo>
                <a:close/>
                <a:moveTo>
                  <a:pt x="647" y="345"/>
                </a:moveTo>
                <a:cubicBezTo>
                  <a:pt x="646" y="345"/>
                  <a:pt x="647" y="344"/>
                  <a:pt x="647" y="344"/>
                </a:cubicBezTo>
                <a:cubicBezTo>
                  <a:pt x="648" y="342"/>
                  <a:pt x="648" y="345"/>
                  <a:pt x="647" y="345"/>
                </a:cubicBezTo>
                <a:close/>
                <a:moveTo>
                  <a:pt x="648" y="529"/>
                </a:moveTo>
                <a:cubicBezTo>
                  <a:pt x="647" y="529"/>
                  <a:pt x="648" y="528"/>
                  <a:pt x="648" y="528"/>
                </a:cubicBezTo>
                <a:cubicBezTo>
                  <a:pt x="649" y="528"/>
                  <a:pt x="648" y="529"/>
                  <a:pt x="648" y="529"/>
                </a:cubicBezTo>
                <a:close/>
                <a:moveTo>
                  <a:pt x="648" y="382"/>
                </a:moveTo>
                <a:cubicBezTo>
                  <a:pt x="649" y="381"/>
                  <a:pt x="647" y="383"/>
                  <a:pt x="648" y="382"/>
                </a:cubicBezTo>
                <a:close/>
                <a:moveTo>
                  <a:pt x="650" y="335"/>
                </a:moveTo>
                <a:cubicBezTo>
                  <a:pt x="647" y="337"/>
                  <a:pt x="652" y="333"/>
                  <a:pt x="650" y="335"/>
                </a:cubicBezTo>
                <a:close/>
                <a:moveTo>
                  <a:pt x="651" y="357"/>
                </a:moveTo>
                <a:cubicBezTo>
                  <a:pt x="651" y="355"/>
                  <a:pt x="650" y="358"/>
                  <a:pt x="651" y="357"/>
                </a:cubicBezTo>
                <a:close/>
                <a:moveTo>
                  <a:pt x="651" y="299"/>
                </a:moveTo>
                <a:cubicBezTo>
                  <a:pt x="649" y="299"/>
                  <a:pt x="651" y="296"/>
                  <a:pt x="652" y="298"/>
                </a:cubicBezTo>
                <a:cubicBezTo>
                  <a:pt x="652" y="298"/>
                  <a:pt x="651" y="299"/>
                  <a:pt x="651" y="299"/>
                </a:cubicBezTo>
                <a:close/>
                <a:moveTo>
                  <a:pt x="651" y="291"/>
                </a:moveTo>
                <a:cubicBezTo>
                  <a:pt x="651" y="291"/>
                  <a:pt x="652" y="291"/>
                  <a:pt x="652" y="291"/>
                </a:cubicBezTo>
                <a:cubicBezTo>
                  <a:pt x="652" y="292"/>
                  <a:pt x="651" y="291"/>
                  <a:pt x="651" y="291"/>
                </a:cubicBezTo>
                <a:close/>
                <a:moveTo>
                  <a:pt x="652" y="333"/>
                </a:moveTo>
                <a:cubicBezTo>
                  <a:pt x="652" y="331"/>
                  <a:pt x="654" y="331"/>
                  <a:pt x="654" y="330"/>
                </a:cubicBezTo>
                <a:cubicBezTo>
                  <a:pt x="654" y="331"/>
                  <a:pt x="653" y="332"/>
                  <a:pt x="652" y="333"/>
                </a:cubicBezTo>
                <a:close/>
                <a:moveTo>
                  <a:pt x="654" y="302"/>
                </a:moveTo>
                <a:cubicBezTo>
                  <a:pt x="655" y="302"/>
                  <a:pt x="654" y="302"/>
                  <a:pt x="654" y="302"/>
                </a:cubicBezTo>
                <a:cubicBezTo>
                  <a:pt x="655" y="304"/>
                  <a:pt x="652" y="302"/>
                  <a:pt x="654" y="302"/>
                </a:cubicBezTo>
                <a:close/>
                <a:moveTo>
                  <a:pt x="654" y="370"/>
                </a:moveTo>
                <a:cubicBezTo>
                  <a:pt x="654" y="369"/>
                  <a:pt x="656" y="369"/>
                  <a:pt x="655" y="370"/>
                </a:cubicBezTo>
                <a:cubicBezTo>
                  <a:pt x="655" y="370"/>
                  <a:pt x="654" y="370"/>
                  <a:pt x="654" y="370"/>
                </a:cubicBezTo>
                <a:close/>
                <a:moveTo>
                  <a:pt x="648" y="287"/>
                </a:moveTo>
                <a:cubicBezTo>
                  <a:pt x="651" y="284"/>
                  <a:pt x="653" y="280"/>
                  <a:pt x="658" y="277"/>
                </a:cubicBezTo>
                <a:cubicBezTo>
                  <a:pt x="657" y="281"/>
                  <a:pt x="652" y="285"/>
                  <a:pt x="648" y="287"/>
                </a:cubicBezTo>
                <a:close/>
                <a:moveTo>
                  <a:pt x="657" y="286"/>
                </a:moveTo>
                <a:cubicBezTo>
                  <a:pt x="657" y="285"/>
                  <a:pt x="658" y="285"/>
                  <a:pt x="658" y="285"/>
                </a:cubicBezTo>
                <a:cubicBezTo>
                  <a:pt x="659" y="286"/>
                  <a:pt x="656" y="287"/>
                  <a:pt x="657" y="286"/>
                </a:cubicBezTo>
                <a:close/>
                <a:moveTo>
                  <a:pt x="658" y="318"/>
                </a:moveTo>
                <a:cubicBezTo>
                  <a:pt x="659" y="317"/>
                  <a:pt x="657" y="319"/>
                  <a:pt x="658" y="318"/>
                </a:cubicBezTo>
                <a:close/>
                <a:moveTo>
                  <a:pt x="658" y="348"/>
                </a:moveTo>
                <a:cubicBezTo>
                  <a:pt x="659" y="347"/>
                  <a:pt x="656" y="349"/>
                  <a:pt x="658" y="348"/>
                </a:cubicBezTo>
                <a:close/>
                <a:moveTo>
                  <a:pt x="658" y="477"/>
                </a:moveTo>
                <a:cubicBezTo>
                  <a:pt x="658" y="476"/>
                  <a:pt x="658" y="476"/>
                  <a:pt x="658" y="476"/>
                </a:cubicBezTo>
                <a:cubicBezTo>
                  <a:pt x="659" y="474"/>
                  <a:pt x="660" y="477"/>
                  <a:pt x="658" y="477"/>
                </a:cubicBezTo>
                <a:close/>
                <a:moveTo>
                  <a:pt x="658" y="376"/>
                </a:moveTo>
                <a:cubicBezTo>
                  <a:pt x="657" y="375"/>
                  <a:pt x="658" y="373"/>
                  <a:pt x="658" y="373"/>
                </a:cubicBezTo>
                <a:cubicBezTo>
                  <a:pt x="661" y="371"/>
                  <a:pt x="661" y="376"/>
                  <a:pt x="658" y="376"/>
                </a:cubicBezTo>
                <a:close/>
                <a:moveTo>
                  <a:pt x="660" y="413"/>
                </a:moveTo>
                <a:cubicBezTo>
                  <a:pt x="660" y="412"/>
                  <a:pt x="661" y="412"/>
                  <a:pt x="660" y="413"/>
                </a:cubicBezTo>
                <a:close/>
                <a:moveTo>
                  <a:pt x="658" y="347"/>
                </a:moveTo>
                <a:cubicBezTo>
                  <a:pt x="659" y="345"/>
                  <a:pt x="660" y="343"/>
                  <a:pt x="662" y="342"/>
                </a:cubicBezTo>
                <a:cubicBezTo>
                  <a:pt x="662" y="342"/>
                  <a:pt x="660" y="346"/>
                  <a:pt x="658" y="347"/>
                </a:cubicBezTo>
                <a:close/>
                <a:moveTo>
                  <a:pt x="663" y="312"/>
                </a:moveTo>
                <a:cubicBezTo>
                  <a:pt x="663" y="312"/>
                  <a:pt x="664" y="313"/>
                  <a:pt x="663" y="313"/>
                </a:cubicBezTo>
                <a:cubicBezTo>
                  <a:pt x="662" y="314"/>
                  <a:pt x="661" y="312"/>
                  <a:pt x="662" y="312"/>
                </a:cubicBezTo>
                <a:cubicBezTo>
                  <a:pt x="662" y="312"/>
                  <a:pt x="662" y="312"/>
                  <a:pt x="662" y="312"/>
                </a:cubicBezTo>
                <a:cubicBezTo>
                  <a:pt x="662" y="311"/>
                  <a:pt x="662" y="311"/>
                  <a:pt x="661" y="311"/>
                </a:cubicBezTo>
                <a:cubicBezTo>
                  <a:pt x="660" y="310"/>
                  <a:pt x="664" y="308"/>
                  <a:pt x="664" y="310"/>
                </a:cubicBezTo>
                <a:cubicBezTo>
                  <a:pt x="664" y="311"/>
                  <a:pt x="664" y="311"/>
                  <a:pt x="663" y="312"/>
                </a:cubicBezTo>
                <a:close/>
                <a:moveTo>
                  <a:pt x="662" y="277"/>
                </a:moveTo>
                <a:cubicBezTo>
                  <a:pt x="661" y="279"/>
                  <a:pt x="662" y="276"/>
                  <a:pt x="662" y="277"/>
                </a:cubicBezTo>
                <a:close/>
                <a:moveTo>
                  <a:pt x="662" y="261"/>
                </a:moveTo>
                <a:cubicBezTo>
                  <a:pt x="662" y="261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ubicBezTo>
                  <a:pt x="662" y="260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lose/>
                <a:moveTo>
                  <a:pt x="664" y="309"/>
                </a:moveTo>
                <a:cubicBezTo>
                  <a:pt x="663" y="309"/>
                  <a:pt x="663" y="308"/>
                  <a:pt x="664" y="308"/>
                </a:cubicBezTo>
                <a:cubicBezTo>
                  <a:pt x="664" y="307"/>
                  <a:pt x="665" y="309"/>
                  <a:pt x="664" y="309"/>
                </a:cubicBezTo>
                <a:close/>
                <a:moveTo>
                  <a:pt x="664" y="258"/>
                </a:moveTo>
                <a:cubicBezTo>
                  <a:pt x="664" y="260"/>
                  <a:pt x="662" y="259"/>
                  <a:pt x="664" y="258"/>
                </a:cubicBezTo>
                <a:close/>
                <a:moveTo>
                  <a:pt x="665" y="262"/>
                </a:moveTo>
                <a:cubicBezTo>
                  <a:pt x="663" y="263"/>
                  <a:pt x="666" y="260"/>
                  <a:pt x="665" y="262"/>
                </a:cubicBezTo>
                <a:close/>
                <a:moveTo>
                  <a:pt x="663" y="233"/>
                </a:moveTo>
                <a:cubicBezTo>
                  <a:pt x="665" y="234"/>
                  <a:pt x="663" y="240"/>
                  <a:pt x="660" y="239"/>
                </a:cubicBezTo>
                <a:cubicBezTo>
                  <a:pt x="657" y="239"/>
                  <a:pt x="659" y="230"/>
                  <a:pt x="663" y="233"/>
                </a:cubicBezTo>
                <a:cubicBezTo>
                  <a:pt x="662" y="232"/>
                  <a:pt x="662" y="229"/>
                  <a:pt x="664" y="230"/>
                </a:cubicBezTo>
                <a:cubicBezTo>
                  <a:pt x="666" y="230"/>
                  <a:pt x="665" y="234"/>
                  <a:pt x="663" y="233"/>
                </a:cubicBezTo>
                <a:close/>
                <a:moveTo>
                  <a:pt x="665" y="341"/>
                </a:moveTo>
                <a:cubicBezTo>
                  <a:pt x="665" y="340"/>
                  <a:pt x="667" y="338"/>
                  <a:pt x="668" y="337"/>
                </a:cubicBezTo>
                <a:cubicBezTo>
                  <a:pt x="667" y="339"/>
                  <a:pt x="667" y="340"/>
                  <a:pt x="665" y="341"/>
                </a:cubicBezTo>
                <a:close/>
                <a:moveTo>
                  <a:pt x="668" y="481"/>
                </a:moveTo>
                <a:cubicBezTo>
                  <a:pt x="668" y="481"/>
                  <a:pt x="668" y="480"/>
                  <a:pt x="668" y="481"/>
                </a:cubicBezTo>
                <a:cubicBezTo>
                  <a:pt x="669" y="481"/>
                  <a:pt x="668" y="482"/>
                  <a:pt x="668" y="481"/>
                </a:cubicBezTo>
                <a:close/>
                <a:moveTo>
                  <a:pt x="671" y="391"/>
                </a:moveTo>
                <a:cubicBezTo>
                  <a:pt x="671" y="390"/>
                  <a:pt x="672" y="389"/>
                  <a:pt x="672" y="388"/>
                </a:cubicBezTo>
                <a:cubicBezTo>
                  <a:pt x="673" y="389"/>
                  <a:pt x="672" y="391"/>
                  <a:pt x="671" y="391"/>
                </a:cubicBezTo>
                <a:close/>
                <a:moveTo>
                  <a:pt x="673" y="387"/>
                </a:moveTo>
                <a:cubicBezTo>
                  <a:pt x="673" y="385"/>
                  <a:pt x="675" y="383"/>
                  <a:pt x="675" y="381"/>
                </a:cubicBezTo>
                <a:cubicBezTo>
                  <a:pt x="676" y="383"/>
                  <a:pt x="674" y="385"/>
                  <a:pt x="673" y="387"/>
                </a:cubicBezTo>
                <a:close/>
                <a:moveTo>
                  <a:pt x="683" y="314"/>
                </a:moveTo>
                <a:cubicBezTo>
                  <a:pt x="681" y="318"/>
                  <a:pt x="678" y="322"/>
                  <a:pt x="676" y="326"/>
                </a:cubicBezTo>
                <a:cubicBezTo>
                  <a:pt x="678" y="322"/>
                  <a:pt x="679" y="317"/>
                  <a:pt x="683" y="314"/>
                </a:cubicBezTo>
                <a:close/>
                <a:moveTo>
                  <a:pt x="678" y="432"/>
                </a:moveTo>
                <a:cubicBezTo>
                  <a:pt x="678" y="434"/>
                  <a:pt x="676" y="433"/>
                  <a:pt x="678" y="432"/>
                </a:cubicBezTo>
                <a:close/>
                <a:moveTo>
                  <a:pt x="682" y="426"/>
                </a:moveTo>
                <a:cubicBezTo>
                  <a:pt x="681" y="426"/>
                  <a:pt x="681" y="425"/>
                  <a:pt x="682" y="424"/>
                </a:cubicBezTo>
                <a:cubicBezTo>
                  <a:pt x="683" y="423"/>
                  <a:pt x="684" y="427"/>
                  <a:pt x="682" y="426"/>
                </a:cubicBezTo>
                <a:close/>
                <a:moveTo>
                  <a:pt x="683" y="451"/>
                </a:moveTo>
                <a:cubicBezTo>
                  <a:pt x="683" y="450"/>
                  <a:pt x="685" y="451"/>
                  <a:pt x="683" y="451"/>
                </a:cubicBezTo>
                <a:close/>
                <a:moveTo>
                  <a:pt x="683" y="486"/>
                </a:moveTo>
                <a:cubicBezTo>
                  <a:pt x="684" y="486"/>
                  <a:pt x="682" y="487"/>
                  <a:pt x="683" y="486"/>
                </a:cubicBezTo>
                <a:close/>
                <a:moveTo>
                  <a:pt x="685" y="289"/>
                </a:moveTo>
                <a:cubicBezTo>
                  <a:pt x="686" y="289"/>
                  <a:pt x="684" y="290"/>
                  <a:pt x="684" y="290"/>
                </a:cubicBezTo>
                <a:cubicBezTo>
                  <a:pt x="684" y="290"/>
                  <a:pt x="685" y="290"/>
                  <a:pt x="685" y="289"/>
                </a:cubicBezTo>
                <a:close/>
                <a:moveTo>
                  <a:pt x="685" y="345"/>
                </a:moveTo>
                <a:cubicBezTo>
                  <a:pt x="684" y="344"/>
                  <a:pt x="685" y="344"/>
                  <a:pt x="685" y="343"/>
                </a:cubicBezTo>
                <a:cubicBezTo>
                  <a:pt x="686" y="343"/>
                  <a:pt x="685" y="345"/>
                  <a:pt x="685" y="345"/>
                </a:cubicBezTo>
                <a:close/>
                <a:moveTo>
                  <a:pt x="686" y="342"/>
                </a:moveTo>
                <a:cubicBezTo>
                  <a:pt x="685" y="341"/>
                  <a:pt x="686" y="341"/>
                  <a:pt x="686" y="340"/>
                </a:cubicBezTo>
                <a:cubicBezTo>
                  <a:pt x="687" y="340"/>
                  <a:pt x="686" y="342"/>
                  <a:pt x="686" y="342"/>
                </a:cubicBezTo>
                <a:close/>
                <a:moveTo>
                  <a:pt x="687" y="340"/>
                </a:moveTo>
                <a:cubicBezTo>
                  <a:pt x="686" y="339"/>
                  <a:pt x="687" y="337"/>
                  <a:pt x="688" y="336"/>
                </a:cubicBezTo>
                <a:cubicBezTo>
                  <a:pt x="688" y="337"/>
                  <a:pt x="687" y="339"/>
                  <a:pt x="687" y="340"/>
                </a:cubicBezTo>
                <a:close/>
                <a:moveTo>
                  <a:pt x="688" y="329"/>
                </a:moveTo>
                <a:cubicBezTo>
                  <a:pt x="688" y="329"/>
                  <a:pt x="688" y="329"/>
                  <a:pt x="688" y="329"/>
                </a:cubicBezTo>
                <a:cubicBezTo>
                  <a:pt x="688" y="329"/>
                  <a:pt x="687" y="330"/>
                  <a:pt x="688" y="329"/>
                </a:cubicBezTo>
                <a:close/>
                <a:moveTo>
                  <a:pt x="688" y="284"/>
                </a:moveTo>
                <a:cubicBezTo>
                  <a:pt x="689" y="283"/>
                  <a:pt x="686" y="286"/>
                  <a:pt x="688" y="284"/>
                </a:cubicBezTo>
                <a:close/>
                <a:moveTo>
                  <a:pt x="693" y="290"/>
                </a:moveTo>
                <a:cubicBezTo>
                  <a:pt x="697" y="288"/>
                  <a:pt x="695" y="297"/>
                  <a:pt x="692" y="296"/>
                </a:cubicBezTo>
                <a:cubicBezTo>
                  <a:pt x="690" y="295"/>
                  <a:pt x="692" y="291"/>
                  <a:pt x="693" y="290"/>
                </a:cubicBezTo>
                <a:close/>
                <a:moveTo>
                  <a:pt x="691" y="285"/>
                </a:moveTo>
                <a:cubicBezTo>
                  <a:pt x="691" y="286"/>
                  <a:pt x="692" y="284"/>
                  <a:pt x="691" y="285"/>
                </a:cubicBezTo>
                <a:close/>
                <a:moveTo>
                  <a:pt x="689" y="285"/>
                </a:moveTo>
                <a:cubicBezTo>
                  <a:pt x="690" y="285"/>
                  <a:pt x="690" y="284"/>
                  <a:pt x="691" y="284"/>
                </a:cubicBezTo>
                <a:cubicBezTo>
                  <a:pt x="693" y="285"/>
                  <a:pt x="688" y="288"/>
                  <a:pt x="689" y="285"/>
                </a:cubicBezTo>
                <a:close/>
                <a:moveTo>
                  <a:pt x="689" y="316"/>
                </a:moveTo>
                <a:cubicBezTo>
                  <a:pt x="690" y="317"/>
                  <a:pt x="688" y="316"/>
                  <a:pt x="689" y="316"/>
                </a:cubicBezTo>
                <a:close/>
                <a:moveTo>
                  <a:pt x="689" y="395"/>
                </a:moveTo>
                <a:cubicBezTo>
                  <a:pt x="689" y="395"/>
                  <a:pt x="689" y="394"/>
                  <a:pt x="689" y="394"/>
                </a:cubicBezTo>
                <a:cubicBezTo>
                  <a:pt x="690" y="394"/>
                  <a:pt x="688" y="397"/>
                  <a:pt x="689" y="395"/>
                </a:cubicBezTo>
                <a:close/>
                <a:moveTo>
                  <a:pt x="690" y="404"/>
                </a:moveTo>
                <a:cubicBezTo>
                  <a:pt x="690" y="403"/>
                  <a:pt x="691" y="404"/>
                  <a:pt x="691" y="404"/>
                </a:cubicBezTo>
                <a:cubicBezTo>
                  <a:pt x="691" y="405"/>
                  <a:pt x="689" y="405"/>
                  <a:pt x="690" y="404"/>
                </a:cubicBezTo>
                <a:close/>
                <a:moveTo>
                  <a:pt x="691" y="343"/>
                </a:moveTo>
                <a:cubicBezTo>
                  <a:pt x="691" y="342"/>
                  <a:pt x="691" y="341"/>
                  <a:pt x="691" y="341"/>
                </a:cubicBezTo>
                <a:cubicBezTo>
                  <a:pt x="692" y="340"/>
                  <a:pt x="692" y="343"/>
                  <a:pt x="691" y="343"/>
                </a:cubicBezTo>
                <a:close/>
                <a:moveTo>
                  <a:pt x="692" y="394"/>
                </a:moveTo>
                <a:cubicBezTo>
                  <a:pt x="691" y="395"/>
                  <a:pt x="693" y="393"/>
                  <a:pt x="692" y="394"/>
                </a:cubicBezTo>
                <a:close/>
                <a:moveTo>
                  <a:pt x="692" y="300"/>
                </a:moveTo>
                <a:cubicBezTo>
                  <a:pt x="690" y="300"/>
                  <a:pt x="691" y="299"/>
                  <a:pt x="692" y="298"/>
                </a:cubicBezTo>
                <a:cubicBezTo>
                  <a:pt x="693" y="297"/>
                  <a:pt x="693" y="300"/>
                  <a:pt x="692" y="300"/>
                </a:cubicBezTo>
                <a:close/>
                <a:moveTo>
                  <a:pt x="694" y="330"/>
                </a:moveTo>
                <a:cubicBezTo>
                  <a:pt x="695" y="329"/>
                  <a:pt x="695" y="332"/>
                  <a:pt x="694" y="331"/>
                </a:cubicBezTo>
                <a:cubicBezTo>
                  <a:pt x="693" y="331"/>
                  <a:pt x="694" y="330"/>
                  <a:pt x="694" y="330"/>
                </a:cubicBezTo>
                <a:close/>
                <a:moveTo>
                  <a:pt x="694" y="454"/>
                </a:moveTo>
                <a:cubicBezTo>
                  <a:pt x="694" y="454"/>
                  <a:pt x="694" y="454"/>
                  <a:pt x="695" y="454"/>
                </a:cubicBezTo>
                <a:cubicBezTo>
                  <a:pt x="696" y="454"/>
                  <a:pt x="693" y="455"/>
                  <a:pt x="694" y="454"/>
                </a:cubicBezTo>
                <a:close/>
                <a:moveTo>
                  <a:pt x="696" y="312"/>
                </a:moveTo>
                <a:cubicBezTo>
                  <a:pt x="694" y="313"/>
                  <a:pt x="694" y="308"/>
                  <a:pt x="695" y="307"/>
                </a:cubicBezTo>
                <a:cubicBezTo>
                  <a:pt x="700" y="304"/>
                  <a:pt x="697" y="312"/>
                  <a:pt x="696" y="312"/>
                </a:cubicBezTo>
                <a:close/>
                <a:moveTo>
                  <a:pt x="699" y="327"/>
                </a:moveTo>
                <a:cubicBezTo>
                  <a:pt x="699" y="327"/>
                  <a:pt x="700" y="326"/>
                  <a:pt x="700" y="326"/>
                </a:cubicBezTo>
                <a:cubicBezTo>
                  <a:pt x="702" y="327"/>
                  <a:pt x="698" y="329"/>
                  <a:pt x="699" y="327"/>
                </a:cubicBezTo>
                <a:close/>
                <a:moveTo>
                  <a:pt x="702" y="431"/>
                </a:moveTo>
                <a:cubicBezTo>
                  <a:pt x="702" y="430"/>
                  <a:pt x="704" y="429"/>
                  <a:pt x="704" y="428"/>
                </a:cubicBezTo>
                <a:cubicBezTo>
                  <a:pt x="704" y="429"/>
                  <a:pt x="704" y="431"/>
                  <a:pt x="702" y="431"/>
                </a:cubicBezTo>
                <a:close/>
                <a:moveTo>
                  <a:pt x="704" y="427"/>
                </a:moveTo>
                <a:cubicBezTo>
                  <a:pt x="705" y="425"/>
                  <a:pt x="705" y="423"/>
                  <a:pt x="706" y="421"/>
                </a:cubicBezTo>
                <a:cubicBezTo>
                  <a:pt x="707" y="422"/>
                  <a:pt x="705" y="426"/>
                  <a:pt x="704" y="427"/>
                </a:cubicBezTo>
                <a:close/>
                <a:moveTo>
                  <a:pt x="706" y="392"/>
                </a:moveTo>
                <a:cubicBezTo>
                  <a:pt x="706" y="393"/>
                  <a:pt x="706" y="393"/>
                  <a:pt x="706" y="392"/>
                </a:cubicBezTo>
                <a:close/>
                <a:moveTo>
                  <a:pt x="709" y="396"/>
                </a:moveTo>
                <a:cubicBezTo>
                  <a:pt x="710" y="397"/>
                  <a:pt x="708" y="397"/>
                  <a:pt x="709" y="396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r>
              <a:rPr lang="en-ID" b="1" dirty="0">
                <a:solidFill>
                  <a:schemeClr val="bg1"/>
                </a:solidFill>
              </a:rPr>
              <a:t>LOREM IPSUM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40182DC0-61B5-46F1-81A8-D38805E806F6}"/>
              </a:ext>
            </a:extLst>
          </p:cNvPr>
          <p:cNvGrpSpPr/>
          <p:nvPr/>
        </p:nvGrpSpPr>
        <p:grpSpPr>
          <a:xfrm>
            <a:off x="2945466" y="2248688"/>
            <a:ext cx="439822" cy="439822"/>
            <a:chOff x="1929292" y="3462553"/>
            <a:chExt cx="652034" cy="652034"/>
          </a:xfrm>
        </p:grpSpPr>
        <p:sp>
          <p:nvSpPr>
            <p:cNvPr id="28" name="Oval 27">
              <a:extLst>
                <a:ext uri="{FF2B5EF4-FFF2-40B4-BE49-F238E27FC236}">
                  <a16:creationId xmlns="" xmlns:a16="http://schemas.microsoft.com/office/drawing/2014/main" id="{B2F88EA7-96CE-42A6-B2D0-4F2F2782DAF9}"/>
                </a:ext>
              </a:extLst>
            </p:cNvPr>
            <p:cNvSpPr/>
            <p:nvPr/>
          </p:nvSpPr>
          <p:spPr>
            <a:xfrm>
              <a:off x="1929292" y="3462553"/>
              <a:ext cx="652034" cy="652034"/>
            </a:xfrm>
            <a:prstGeom prst="ellipse">
              <a:avLst/>
            </a:prstGeom>
            <a:solidFill>
              <a:schemeClr val="tx2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="" xmlns:a16="http://schemas.microsoft.com/office/drawing/2014/main" id="{38936866-2046-4351-BF35-85671731BBAE}"/>
                </a:ext>
              </a:extLst>
            </p:cNvPr>
            <p:cNvGrpSpPr/>
            <p:nvPr/>
          </p:nvGrpSpPr>
          <p:grpSpPr>
            <a:xfrm>
              <a:off x="2115564" y="3662894"/>
              <a:ext cx="279490" cy="251353"/>
              <a:chOff x="7396163" y="4268788"/>
              <a:chExt cx="236538" cy="212725"/>
            </a:xfrm>
            <a:solidFill>
              <a:schemeClr val="accent4"/>
            </a:solidFill>
          </p:grpSpPr>
          <p:sp>
            <p:nvSpPr>
              <p:cNvPr id="30" name="Freeform 385">
                <a:extLst>
                  <a:ext uri="{FF2B5EF4-FFF2-40B4-BE49-F238E27FC236}">
                    <a16:creationId xmlns="" xmlns:a16="http://schemas.microsoft.com/office/drawing/2014/main" id="{718BCEB6-9A37-43C4-A1B7-928F9ED83DD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96163" y="4268788"/>
                <a:ext cx="138113" cy="212725"/>
              </a:xfrm>
              <a:custGeom>
                <a:avLst/>
                <a:gdLst>
                  <a:gd name="T0" fmla="*/ 25 w 348"/>
                  <a:gd name="T1" fmla="*/ 457 h 535"/>
                  <a:gd name="T2" fmla="*/ 80 w 348"/>
                  <a:gd name="T3" fmla="*/ 512 h 535"/>
                  <a:gd name="T4" fmla="*/ 324 w 348"/>
                  <a:gd name="T5" fmla="*/ 268 h 535"/>
                  <a:gd name="T6" fmla="*/ 80 w 348"/>
                  <a:gd name="T7" fmla="*/ 23 h 535"/>
                  <a:gd name="T8" fmla="*/ 25 w 348"/>
                  <a:gd name="T9" fmla="*/ 79 h 535"/>
                  <a:gd name="T10" fmla="*/ 207 w 348"/>
                  <a:gd name="T11" fmla="*/ 260 h 535"/>
                  <a:gd name="T12" fmla="*/ 209 w 348"/>
                  <a:gd name="T13" fmla="*/ 263 h 535"/>
                  <a:gd name="T14" fmla="*/ 210 w 348"/>
                  <a:gd name="T15" fmla="*/ 268 h 535"/>
                  <a:gd name="T16" fmla="*/ 209 w 348"/>
                  <a:gd name="T17" fmla="*/ 271 h 535"/>
                  <a:gd name="T18" fmla="*/ 207 w 348"/>
                  <a:gd name="T19" fmla="*/ 274 h 535"/>
                  <a:gd name="T20" fmla="*/ 25 w 348"/>
                  <a:gd name="T21" fmla="*/ 457 h 535"/>
                  <a:gd name="T22" fmla="*/ 80 w 348"/>
                  <a:gd name="T23" fmla="*/ 535 h 535"/>
                  <a:gd name="T24" fmla="*/ 77 w 348"/>
                  <a:gd name="T25" fmla="*/ 534 h 535"/>
                  <a:gd name="T26" fmla="*/ 73 w 348"/>
                  <a:gd name="T27" fmla="*/ 533 h 535"/>
                  <a:gd name="T28" fmla="*/ 4 w 348"/>
                  <a:gd name="T29" fmla="*/ 463 h 535"/>
                  <a:gd name="T30" fmla="*/ 2 w 348"/>
                  <a:gd name="T31" fmla="*/ 460 h 535"/>
                  <a:gd name="T32" fmla="*/ 0 w 348"/>
                  <a:gd name="T33" fmla="*/ 457 h 535"/>
                  <a:gd name="T34" fmla="*/ 2 w 348"/>
                  <a:gd name="T35" fmla="*/ 452 h 535"/>
                  <a:gd name="T36" fmla="*/ 4 w 348"/>
                  <a:gd name="T37" fmla="*/ 449 h 535"/>
                  <a:gd name="T38" fmla="*/ 185 w 348"/>
                  <a:gd name="T39" fmla="*/ 268 h 535"/>
                  <a:gd name="T40" fmla="*/ 4 w 348"/>
                  <a:gd name="T41" fmla="*/ 86 h 535"/>
                  <a:gd name="T42" fmla="*/ 2 w 348"/>
                  <a:gd name="T43" fmla="*/ 83 h 535"/>
                  <a:gd name="T44" fmla="*/ 0 w 348"/>
                  <a:gd name="T45" fmla="*/ 79 h 535"/>
                  <a:gd name="T46" fmla="*/ 2 w 348"/>
                  <a:gd name="T47" fmla="*/ 75 h 535"/>
                  <a:gd name="T48" fmla="*/ 4 w 348"/>
                  <a:gd name="T49" fmla="*/ 72 h 535"/>
                  <a:gd name="T50" fmla="*/ 74 w 348"/>
                  <a:gd name="T51" fmla="*/ 2 h 535"/>
                  <a:gd name="T52" fmla="*/ 77 w 348"/>
                  <a:gd name="T53" fmla="*/ 0 h 535"/>
                  <a:gd name="T54" fmla="*/ 80 w 348"/>
                  <a:gd name="T55" fmla="*/ 0 h 535"/>
                  <a:gd name="T56" fmla="*/ 84 w 348"/>
                  <a:gd name="T57" fmla="*/ 0 h 535"/>
                  <a:gd name="T58" fmla="*/ 87 w 348"/>
                  <a:gd name="T59" fmla="*/ 2 h 535"/>
                  <a:gd name="T60" fmla="*/ 346 w 348"/>
                  <a:gd name="T61" fmla="*/ 260 h 535"/>
                  <a:gd name="T62" fmla="*/ 348 w 348"/>
                  <a:gd name="T63" fmla="*/ 263 h 535"/>
                  <a:gd name="T64" fmla="*/ 348 w 348"/>
                  <a:gd name="T65" fmla="*/ 268 h 535"/>
                  <a:gd name="T66" fmla="*/ 348 w 348"/>
                  <a:gd name="T67" fmla="*/ 271 h 535"/>
                  <a:gd name="T68" fmla="*/ 346 w 348"/>
                  <a:gd name="T69" fmla="*/ 274 h 535"/>
                  <a:gd name="T70" fmla="*/ 87 w 348"/>
                  <a:gd name="T71" fmla="*/ 532 h 535"/>
                  <a:gd name="T72" fmla="*/ 84 w 348"/>
                  <a:gd name="T73" fmla="*/ 534 h 535"/>
                  <a:gd name="T74" fmla="*/ 80 w 348"/>
                  <a:gd name="T75" fmla="*/ 535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8" h="535">
                    <a:moveTo>
                      <a:pt x="25" y="457"/>
                    </a:moveTo>
                    <a:lnTo>
                      <a:pt x="80" y="512"/>
                    </a:lnTo>
                    <a:lnTo>
                      <a:pt x="324" y="268"/>
                    </a:lnTo>
                    <a:lnTo>
                      <a:pt x="80" y="23"/>
                    </a:lnTo>
                    <a:lnTo>
                      <a:pt x="25" y="79"/>
                    </a:lnTo>
                    <a:lnTo>
                      <a:pt x="207" y="260"/>
                    </a:lnTo>
                    <a:lnTo>
                      <a:pt x="209" y="263"/>
                    </a:lnTo>
                    <a:lnTo>
                      <a:pt x="210" y="268"/>
                    </a:lnTo>
                    <a:lnTo>
                      <a:pt x="209" y="271"/>
                    </a:lnTo>
                    <a:lnTo>
                      <a:pt x="207" y="274"/>
                    </a:lnTo>
                    <a:lnTo>
                      <a:pt x="25" y="457"/>
                    </a:lnTo>
                    <a:close/>
                    <a:moveTo>
                      <a:pt x="80" y="535"/>
                    </a:moveTo>
                    <a:lnTo>
                      <a:pt x="77" y="534"/>
                    </a:lnTo>
                    <a:lnTo>
                      <a:pt x="73" y="533"/>
                    </a:lnTo>
                    <a:lnTo>
                      <a:pt x="4" y="463"/>
                    </a:lnTo>
                    <a:lnTo>
                      <a:pt x="2" y="460"/>
                    </a:lnTo>
                    <a:lnTo>
                      <a:pt x="0" y="457"/>
                    </a:lnTo>
                    <a:lnTo>
                      <a:pt x="2" y="452"/>
                    </a:lnTo>
                    <a:lnTo>
                      <a:pt x="4" y="449"/>
                    </a:lnTo>
                    <a:lnTo>
                      <a:pt x="185" y="268"/>
                    </a:lnTo>
                    <a:lnTo>
                      <a:pt x="4" y="86"/>
                    </a:lnTo>
                    <a:lnTo>
                      <a:pt x="2" y="83"/>
                    </a:lnTo>
                    <a:lnTo>
                      <a:pt x="0" y="79"/>
                    </a:lnTo>
                    <a:lnTo>
                      <a:pt x="2" y="75"/>
                    </a:lnTo>
                    <a:lnTo>
                      <a:pt x="4" y="72"/>
                    </a:lnTo>
                    <a:lnTo>
                      <a:pt x="74" y="2"/>
                    </a:lnTo>
                    <a:lnTo>
                      <a:pt x="77" y="0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7" y="2"/>
                    </a:lnTo>
                    <a:lnTo>
                      <a:pt x="346" y="260"/>
                    </a:lnTo>
                    <a:lnTo>
                      <a:pt x="348" y="263"/>
                    </a:lnTo>
                    <a:lnTo>
                      <a:pt x="348" y="268"/>
                    </a:lnTo>
                    <a:lnTo>
                      <a:pt x="348" y="271"/>
                    </a:lnTo>
                    <a:lnTo>
                      <a:pt x="346" y="274"/>
                    </a:lnTo>
                    <a:lnTo>
                      <a:pt x="87" y="532"/>
                    </a:lnTo>
                    <a:lnTo>
                      <a:pt x="84" y="534"/>
                    </a:lnTo>
                    <a:lnTo>
                      <a:pt x="80" y="5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386">
                <a:extLst>
                  <a:ext uri="{FF2B5EF4-FFF2-40B4-BE49-F238E27FC236}">
                    <a16:creationId xmlns="" xmlns:a16="http://schemas.microsoft.com/office/drawing/2014/main" id="{14A6F1F4-43F4-409B-B6F2-0163267FAA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94588" y="4268788"/>
                <a:ext cx="138113" cy="212725"/>
              </a:xfrm>
              <a:custGeom>
                <a:avLst/>
                <a:gdLst>
                  <a:gd name="T0" fmla="*/ 25 w 348"/>
                  <a:gd name="T1" fmla="*/ 457 h 535"/>
                  <a:gd name="T2" fmla="*/ 80 w 348"/>
                  <a:gd name="T3" fmla="*/ 512 h 535"/>
                  <a:gd name="T4" fmla="*/ 324 w 348"/>
                  <a:gd name="T5" fmla="*/ 268 h 535"/>
                  <a:gd name="T6" fmla="*/ 80 w 348"/>
                  <a:gd name="T7" fmla="*/ 23 h 535"/>
                  <a:gd name="T8" fmla="*/ 25 w 348"/>
                  <a:gd name="T9" fmla="*/ 79 h 535"/>
                  <a:gd name="T10" fmla="*/ 206 w 348"/>
                  <a:gd name="T11" fmla="*/ 260 h 535"/>
                  <a:gd name="T12" fmla="*/ 208 w 348"/>
                  <a:gd name="T13" fmla="*/ 263 h 535"/>
                  <a:gd name="T14" fmla="*/ 208 w 348"/>
                  <a:gd name="T15" fmla="*/ 268 h 535"/>
                  <a:gd name="T16" fmla="*/ 208 w 348"/>
                  <a:gd name="T17" fmla="*/ 271 h 535"/>
                  <a:gd name="T18" fmla="*/ 206 w 348"/>
                  <a:gd name="T19" fmla="*/ 274 h 535"/>
                  <a:gd name="T20" fmla="*/ 25 w 348"/>
                  <a:gd name="T21" fmla="*/ 457 h 535"/>
                  <a:gd name="T22" fmla="*/ 80 w 348"/>
                  <a:gd name="T23" fmla="*/ 535 h 535"/>
                  <a:gd name="T24" fmla="*/ 75 w 348"/>
                  <a:gd name="T25" fmla="*/ 534 h 535"/>
                  <a:gd name="T26" fmla="*/ 72 w 348"/>
                  <a:gd name="T27" fmla="*/ 533 h 535"/>
                  <a:gd name="T28" fmla="*/ 3 w 348"/>
                  <a:gd name="T29" fmla="*/ 463 h 535"/>
                  <a:gd name="T30" fmla="*/ 1 w 348"/>
                  <a:gd name="T31" fmla="*/ 460 h 535"/>
                  <a:gd name="T32" fmla="*/ 0 w 348"/>
                  <a:gd name="T33" fmla="*/ 457 h 535"/>
                  <a:gd name="T34" fmla="*/ 1 w 348"/>
                  <a:gd name="T35" fmla="*/ 452 h 535"/>
                  <a:gd name="T36" fmla="*/ 3 w 348"/>
                  <a:gd name="T37" fmla="*/ 449 h 535"/>
                  <a:gd name="T38" fmla="*/ 185 w 348"/>
                  <a:gd name="T39" fmla="*/ 268 h 535"/>
                  <a:gd name="T40" fmla="*/ 3 w 348"/>
                  <a:gd name="T41" fmla="*/ 86 h 535"/>
                  <a:gd name="T42" fmla="*/ 1 w 348"/>
                  <a:gd name="T43" fmla="*/ 83 h 535"/>
                  <a:gd name="T44" fmla="*/ 0 w 348"/>
                  <a:gd name="T45" fmla="*/ 79 h 535"/>
                  <a:gd name="T46" fmla="*/ 1 w 348"/>
                  <a:gd name="T47" fmla="*/ 75 h 535"/>
                  <a:gd name="T48" fmla="*/ 3 w 348"/>
                  <a:gd name="T49" fmla="*/ 72 h 535"/>
                  <a:gd name="T50" fmla="*/ 72 w 348"/>
                  <a:gd name="T51" fmla="*/ 2 h 535"/>
                  <a:gd name="T52" fmla="*/ 75 w 348"/>
                  <a:gd name="T53" fmla="*/ 0 h 535"/>
                  <a:gd name="T54" fmla="*/ 80 w 348"/>
                  <a:gd name="T55" fmla="*/ 0 h 535"/>
                  <a:gd name="T56" fmla="*/ 83 w 348"/>
                  <a:gd name="T57" fmla="*/ 0 h 535"/>
                  <a:gd name="T58" fmla="*/ 86 w 348"/>
                  <a:gd name="T59" fmla="*/ 2 h 535"/>
                  <a:gd name="T60" fmla="*/ 344 w 348"/>
                  <a:gd name="T61" fmla="*/ 260 h 535"/>
                  <a:gd name="T62" fmla="*/ 347 w 348"/>
                  <a:gd name="T63" fmla="*/ 263 h 535"/>
                  <a:gd name="T64" fmla="*/ 348 w 348"/>
                  <a:gd name="T65" fmla="*/ 268 h 535"/>
                  <a:gd name="T66" fmla="*/ 347 w 348"/>
                  <a:gd name="T67" fmla="*/ 271 h 535"/>
                  <a:gd name="T68" fmla="*/ 344 w 348"/>
                  <a:gd name="T69" fmla="*/ 274 h 535"/>
                  <a:gd name="T70" fmla="*/ 86 w 348"/>
                  <a:gd name="T71" fmla="*/ 532 h 535"/>
                  <a:gd name="T72" fmla="*/ 83 w 348"/>
                  <a:gd name="T73" fmla="*/ 534 h 535"/>
                  <a:gd name="T74" fmla="*/ 80 w 348"/>
                  <a:gd name="T75" fmla="*/ 535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8" h="535">
                    <a:moveTo>
                      <a:pt x="25" y="457"/>
                    </a:moveTo>
                    <a:lnTo>
                      <a:pt x="80" y="512"/>
                    </a:lnTo>
                    <a:lnTo>
                      <a:pt x="324" y="268"/>
                    </a:lnTo>
                    <a:lnTo>
                      <a:pt x="80" y="23"/>
                    </a:lnTo>
                    <a:lnTo>
                      <a:pt x="25" y="79"/>
                    </a:lnTo>
                    <a:lnTo>
                      <a:pt x="206" y="260"/>
                    </a:lnTo>
                    <a:lnTo>
                      <a:pt x="208" y="263"/>
                    </a:lnTo>
                    <a:lnTo>
                      <a:pt x="208" y="268"/>
                    </a:lnTo>
                    <a:lnTo>
                      <a:pt x="208" y="271"/>
                    </a:lnTo>
                    <a:lnTo>
                      <a:pt x="206" y="274"/>
                    </a:lnTo>
                    <a:lnTo>
                      <a:pt x="25" y="457"/>
                    </a:lnTo>
                    <a:close/>
                    <a:moveTo>
                      <a:pt x="80" y="535"/>
                    </a:moveTo>
                    <a:lnTo>
                      <a:pt x="75" y="534"/>
                    </a:lnTo>
                    <a:lnTo>
                      <a:pt x="72" y="533"/>
                    </a:lnTo>
                    <a:lnTo>
                      <a:pt x="3" y="463"/>
                    </a:lnTo>
                    <a:lnTo>
                      <a:pt x="1" y="460"/>
                    </a:lnTo>
                    <a:lnTo>
                      <a:pt x="0" y="457"/>
                    </a:lnTo>
                    <a:lnTo>
                      <a:pt x="1" y="452"/>
                    </a:lnTo>
                    <a:lnTo>
                      <a:pt x="3" y="449"/>
                    </a:lnTo>
                    <a:lnTo>
                      <a:pt x="185" y="268"/>
                    </a:lnTo>
                    <a:lnTo>
                      <a:pt x="3" y="86"/>
                    </a:lnTo>
                    <a:lnTo>
                      <a:pt x="1" y="83"/>
                    </a:lnTo>
                    <a:lnTo>
                      <a:pt x="0" y="79"/>
                    </a:lnTo>
                    <a:lnTo>
                      <a:pt x="1" y="75"/>
                    </a:lnTo>
                    <a:lnTo>
                      <a:pt x="3" y="72"/>
                    </a:lnTo>
                    <a:lnTo>
                      <a:pt x="72" y="2"/>
                    </a:lnTo>
                    <a:lnTo>
                      <a:pt x="75" y="0"/>
                    </a:lnTo>
                    <a:lnTo>
                      <a:pt x="80" y="0"/>
                    </a:lnTo>
                    <a:lnTo>
                      <a:pt x="83" y="0"/>
                    </a:lnTo>
                    <a:lnTo>
                      <a:pt x="86" y="2"/>
                    </a:lnTo>
                    <a:lnTo>
                      <a:pt x="344" y="260"/>
                    </a:lnTo>
                    <a:lnTo>
                      <a:pt x="347" y="263"/>
                    </a:lnTo>
                    <a:lnTo>
                      <a:pt x="348" y="268"/>
                    </a:lnTo>
                    <a:lnTo>
                      <a:pt x="347" y="271"/>
                    </a:lnTo>
                    <a:lnTo>
                      <a:pt x="344" y="274"/>
                    </a:lnTo>
                    <a:lnTo>
                      <a:pt x="86" y="532"/>
                    </a:lnTo>
                    <a:lnTo>
                      <a:pt x="83" y="534"/>
                    </a:lnTo>
                    <a:lnTo>
                      <a:pt x="80" y="5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3" name="Group 32">
            <a:extLst>
              <a:ext uri="{FF2B5EF4-FFF2-40B4-BE49-F238E27FC236}">
                <a16:creationId xmlns="" xmlns:a16="http://schemas.microsoft.com/office/drawing/2014/main" id="{6659ADBF-DA8C-4C35-98BE-741CB6B8AEB0}"/>
              </a:ext>
            </a:extLst>
          </p:cNvPr>
          <p:cNvGrpSpPr/>
          <p:nvPr/>
        </p:nvGrpSpPr>
        <p:grpSpPr>
          <a:xfrm>
            <a:off x="5876089" y="2248688"/>
            <a:ext cx="439822" cy="439822"/>
            <a:chOff x="1929292" y="3462553"/>
            <a:chExt cx="652034" cy="652034"/>
          </a:xfrm>
        </p:grpSpPr>
        <p:sp>
          <p:nvSpPr>
            <p:cNvPr id="34" name="Oval 33">
              <a:extLst>
                <a:ext uri="{FF2B5EF4-FFF2-40B4-BE49-F238E27FC236}">
                  <a16:creationId xmlns="" xmlns:a16="http://schemas.microsoft.com/office/drawing/2014/main" id="{CD72D54C-F6F9-4FA5-A590-95137F71CF70}"/>
                </a:ext>
              </a:extLst>
            </p:cNvPr>
            <p:cNvSpPr/>
            <p:nvPr/>
          </p:nvSpPr>
          <p:spPr>
            <a:xfrm>
              <a:off x="1929292" y="3462553"/>
              <a:ext cx="652034" cy="652034"/>
            </a:xfrm>
            <a:prstGeom prst="ellipse">
              <a:avLst/>
            </a:prstGeom>
            <a:solidFill>
              <a:schemeClr val="tx2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="" xmlns:a16="http://schemas.microsoft.com/office/drawing/2014/main" id="{79447457-FFEC-4295-B059-DFE9902E3DDB}"/>
                </a:ext>
              </a:extLst>
            </p:cNvPr>
            <p:cNvGrpSpPr/>
            <p:nvPr/>
          </p:nvGrpSpPr>
          <p:grpSpPr>
            <a:xfrm>
              <a:off x="2115564" y="3662894"/>
              <a:ext cx="279490" cy="251353"/>
              <a:chOff x="7396163" y="4268788"/>
              <a:chExt cx="236538" cy="212725"/>
            </a:xfrm>
            <a:solidFill>
              <a:schemeClr val="accent4"/>
            </a:solidFill>
          </p:grpSpPr>
          <p:sp>
            <p:nvSpPr>
              <p:cNvPr id="36" name="Freeform 385">
                <a:extLst>
                  <a:ext uri="{FF2B5EF4-FFF2-40B4-BE49-F238E27FC236}">
                    <a16:creationId xmlns="" xmlns:a16="http://schemas.microsoft.com/office/drawing/2014/main" id="{E75B49E5-0381-470D-A329-B5F0E392491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96163" y="4268788"/>
                <a:ext cx="138113" cy="212725"/>
              </a:xfrm>
              <a:custGeom>
                <a:avLst/>
                <a:gdLst>
                  <a:gd name="T0" fmla="*/ 25 w 348"/>
                  <a:gd name="T1" fmla="*/ 457 h 535"/>
                  <a:gd name="T2" fmla="*/ 80 w 348"/>
                  <a:gd name="T3" fmla="*/ 512 h 535"/>
                  <a:gd name="T4" fmla="*/ 324 w 348"/>
                  <a:gd name="T5" fmla="*/ 268 h 535"/>
                  <a:gd name="T6" fmla="*/ 80 w 348"/>
                  <a:gd name="T7" fmla="*/ 23 h 535"/>
                  <a:gd name="T8" fmla="*/ 25 w 348"/>
                  <a:gd name="T9" fmla="*/ 79 h 535"/>
                  <a:gd name="T10" fmla="*/ 207 w 348"/>
                  <a:gd name="T11" fmla="*/ 260 h 535"/>
                  <a:gd name="T12" fmla="*/ 209 w 348"/>
                  <a:gd name="T13" fmla="*/ 263 h 535"/>
                  <a:gd name="T14" fmla="*/ 210 w 348"/>
                  <a:gd name="T15" fmla="*/ 268 h 535"/>
                  <a:gd name="T16" fmla="*/ 209 w 348"/>
                  <a:gd name="T17" fmla="*/ 271 h 535"/>
                  <a:gd name="T18" fmla="*/ 207 w 348"/>
                  <a:gd name="T19" fmla="*/ 274 h 535"/>
                  <a:gd name="T20" fmla="*/ 25 w 348"/>
                  <a:gd name="T21" fmla="*/ 457 h 535"/>
                  <a:gd name="T22" fmla="*/ 80 w 348"/>
                  <a:gd name="T23" fmla="*/ 535 h 535"/>
                  <a:gd name="T24" fmla="*/ 77 w 348"/>
                  <a:gd name="T25" fmla="*/ 534 h 535"/>
                  <a:gd name="T26" fmla="*/ 73 w 348"/>
                  <a:gd name="T27" fmla="*/ 533 h 535"/>
                  <a:gd name="T28" fmla="*/ 4 w 348"/>
                  <a:gd name="T29" fmla="*/ 463 h 535"/>
                  <a:gd name="T30" fmla="*/ 2 w 348"/>
                  <a:gd name="T31" fmla="*/ 460 h 535"/>
                  <a:gd name="T32" fmla="*/ 0 w 348"/>
                  <a:gd name="T33" fmla="*/ 457 h 535"/>
                  <a:gd name="T34" fmla="*/ 2 w 348"/>
                  <a:gd name="T35" fmla="*/ 452 h 535"/>
                  <a:gd name="T36" fmla="*/ 4 w 348"/>
                  <a:gd name="T37" fmla="*/ 449 h 535"/>
                  <a:gd name="T38" fmla="*/ 185 w 348"/>
                  <a:gd name="T39" fmla="*/ 268 h 535"/>
                  <a:gd name="T40" fmla="*/ 4 w 348"/>
                  <a:gd name="T41" fmla="*/ 86 h 535"/>
                  <a:gd name="T42" fmla="*/ 2 w 348"/>
                  <a:gd name="T43" fmla="*/ 83 h 535"/>
                  <a:gd name="T44" fmla="*/ 0 w 348"/>
                  <a:gd name="T45" fmla="*/ 79 h 535"/>
                  <a:gd name="T46" fmla="*/ 2 w 348"/>
                  <a:gd name="T47" fmla="*/ 75 h 535"/>
                  <a:gd name="T48" fmla="*/ 4 w 348"/>
                  <a:gd name="T49" fmla="*/ 72 h 535"/>
                  <a:gd name="T50" fmla="*/ 74 w 348"/>
                  <a:gd name="T51" fmla="*/ 2 h 535"/>
                  <a:gd name="T52" fmla="*/ 77 w 348"/>
                  <a:gd name="T53" fmla="*/ 0 h 535"/>
                  <a:gd name="T54" fmla="*/ 80 w 348"/>
                  <a:gd name="T55" fmla="*/ 0 h 535"/>
                  <a:gd name="T56" fmla="*/ 84 w 348"/>
                  <a:gd name="T57" fmla="*/ 0 h 535"/>
                  <a:gd name="T58" fmla="*/ 87 w 348"/>
                  <a:gd name="T59" fmla="*/ 2 h 535"/>
                  <a:gd name="T60" fmla="*/ 346 w 348"/>
                  <a:gd name="T61" fmla="*/ 260 h 535"/>
                  <a:gd name="T62" fmla="*/ 348 w 348"/>
                  <a:gd name="T63" fmla="*/ 263 h 535"/>
                  <a:gd name="T64" fmla="*/ 348 w 348"/>
                  <a:gd name="T65" fmla="*/ 268 h 535"/>
                  <a:gd name="T66" fmla="*/ 348 w 348"/>
                  <a:gd name="T67" fmla="*/ 271 h 535"/>
                  <a:gd name="T68" fmla="*/ 346 w 348"/>
                  <a:gd name="T69" fmla="*/ 274 h 535"/>
                  <a:gd name="T70" fmla="*/ 87 w 348"/>
                  <a:gd name="T71" fmla="*/ 532 h 535"/>
                  <a:gd name="T72" fmla="*/ 84 w 348"/>
                  <a:gd name="T73" fmla="*/ 534 h 535"/>
                  <a:gd name="T74" fmla="*/ 80 w 348"/>
                  <a:gd name="T75" fmla="*/ 535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8" h="535">
                    <a:moveTo>
                      <a:pt x="25" y="457"/>
                    </a:moveTo>
                    <a:lnTo>
                      <a:pt x="80" y="512"/>
                    </a:lnTo>
                    <a:lnTo>
                      <a:pt x="324" y="268"/>
                    </a:lnTo>
                    <a:lnTo>
                      <a:pt x="80" y="23"/>
                    </a:lnTo>
                    <a:lnTo>
                      <a:pt x="25" y="79"/>
                    </a:lnTo>
                    <a:lnTo>
                      <a:pt x="207" y="260"/>
                    </a:lnTo>
                    <a:lnTo>
                      <a:pt x="209" y="263"/>
                    </a:lnTo>
                    <a:lnTo>
                      <a:pt x="210" y="268"/>
                    </a:lnTo>
                    <a:lnTo>
                      <a:pt x="209" y="271"/>
                    </a:lnTo>
                    <a:lnTo>
                      <a:pt x="207" y="274"/>
                    </a:lnTo>
                    <a:lnTo>
                      <a:pt x="25" y="457"/>
                    </a:lnTo>
                    <a:close/>
                    <a:moveTo>
                      <a:pt x="80" y="535"/>
                    </a:moveTo>
                    <a:lnTo>
                      <a:pt x="77" y="534"/>
                    </a:lnTo>
                    <a:lnTo>
                      <a:pt x="73" y="533"/>
                    </a:lnTo>
                    <a:lnTo>
                      <a:pt x="4" y="463"/>
                    </a:lnTo>
                    <a:lnTo>
                      <a:pt x="2" y="460"/>
                    </a:lnTo>
                    <a:lnTo>
                      <a:pt x="0" y="457"/>
                    </a:lnTo>
                    <a:lnTo>
                      <a:pt x="2" y="452"/>
                    </a:lnTo>
                    <a:lnTo>
                      <a:pt x="4" y="449"/>
                    </a:lnTo>
                    <a:lnTo>
                      <a:pt x="185" y="268"/>
                    </a:lnTo>
                    <a:lnTo>
                      <a:pt x="4" y="86"/>
                    </a:lnTo>
                    <a:lnTo>
                      <a:pt x="2" y="83"/>
                    </a:lnTo>
                    <a:lnTo>
                      <a:pt x="0" y="79"/>
                    </a:lnTo>
                    <a:lnTo>
                      <a:pt x="2" y="75"/>
                    </a:lnTo>
                    <a:lnTo>
                      <a:pt x="4" y="72"/>
                    </a:lnTo>
                    <a:lnTo>
                      <a:pt x="74" y="2"/>
                    </a:lnTo>
                    <a:lnTo>
                      <a:pt x="77" y="0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7" y="2"/>
                    </a:lnTo>
                    <a:lnTo>
                      <a:pt x="346" y="260"/>
                    </a:lnTo>
                    <a:lnTo>
                      <a:pt x="348" y="263"/>
                    </a:lnTo>
                    <a:lnTo>
                      <a:pt x="348" y="268"/>
                    </a:lnTo>
                    <a:lnTo>
                      <a:pt x="348" y="271"/>
                    </a:lnTo>
                    <a:lnTo>
                      <a:pt x="346" y="274"/>
                    </a:lnTo>
                    <a:lnTo>
                      <a:pt x="87" y="532"/>
                    </a:lnTo>
                    <a:lnTo>
                      <a:pt x="84" y="534"/>
                    </a:lnTo>
                    <a:lnTo>
                      <a:pt x="80" y="5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386">
                <a:extLst>
                  <a:ext uri="{FF2B5EF4-FFF2-40B4-BE49-F238E27FC236}">
                    <a16:creationId xmlns="" xmlns:a16="http://schemas.microsoft.com/office/drawing/2014/main" id="{1883BA2E-A489-49E6-9F05-0038BF9578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94588" y="4268788"/>
                <a:ext cx="138113" cy="212725"/>
              </a:xfrm>
              <a:custGeom>
                <a:avLst/>
                <a:gdLst>
                  <a:gd name="T0" fmla="*/ 25 w 348"/>
                  <a:gd name="T1" fmla="*/ 457 h 535"/>
                  <a:gd name="T2" fmla="*/ 80 w 348"/>
                  <a:gd name="T3" fmla="*/ 512 h 535"/>
                  <a:gd name="T4" fmla="*/ 324 w 348"/>
                  <a:gd name="T5" fmla="*/ 268 h 535"/>
                  <a:gd name="T6" fmla="*/ 80 w 348"/>
                  <a:gd name="T7" fmla="*/ 23 h 535"/>
                  <a:gd name="T8" fmla="*/ 25 w 348"/>
                  <a:gd name="T9" fmla="*/ 79 h 535"/>
                  <a:gd name="T10" fmla="*/ 206 w 348"/>
                  <a:gd name="T11" fmla="*/ 260 h 535"/>
                  <a:gd name="T12" fmla="*/ 208 w 348"/>
                  <a:gd name="T13" fmla="*/ 263 h 535"/>
                  <a:gd name="T14" fmla="*/ 208 w 348"/>
                  <a:gd name="T15" fmla="*/ 268 h 535"/>
                  <a:gd name="T16" fmla="*/ 208 w 348"/>
                  <a:gd name="T17" fmla="*/ 271 h 535"/>
                  <a:gd name="T18" fmla="*/ 206 w 348"/>
                  <a:gd name="T19" fmla="*/ 274 h 535"/>
                  <a:gd name="T20" fmla="*/ 25 w 348"/>
                  <a:gd name="T21" fmla="*/ 457 h 535"/>
                  <a:gd name="T22" fmla="*/ 80 w 348"/>
                  <a:gd name="T23" fmla="*/ 535 h 535"/>
                  <a:gd name="T24" fmla="*/ 75 w 348"/>
                  <a:gd name="T25" fmla="*/ 534 h 535"/>
                  <a:gd name="T26" fmla="*/ 72 w 348"/>
                  <a:gd name="T27" fmla="*/ 533 h 535"/>
                  <a:gd name="T28" fmla="*/ 3 w 348"/>
                  <a:gd name="T29" fmla="*/ 463 h 535"/>
                  <a:gd name="T30" fmla="*/ 1 w 348"/>
                  <a:gd name="T31" fmla="*/ 460 h 535"/>
                  <a:gd name="T32" fmla="*/ 0 w 348"/>
                  <a:gd name="T33" fmla="*/ 457 h 535"/>
                  <a:gd name="T34" fmla="*/ 1 w 348"/>
                  <a:gd name="T35" fmla="*/ 452 h 535"/>
                  <a:gd name="T36" fmla="*/ 3 w 348"/>
                  <a:gd name="T37" fmla="*/ 449 h 535"/>
                  <a:gd name="T38" fmla="*/ 185 w 348"/>
                  <a:gd name="T39" fmla="*/ 268 h 535"/>
                  <a:gd name="T40" fmla="*/ 3 w 348"/>
                  <a:gd name="T41" fmla="*/ 86 h 535"/>
                  <a:gd name="T42" fmla="*/ 1 w 348"/>
                  <a:gd name="T43" fmla="*/ 83 h 535"/>
                  <a:gd name="T44" fmla="*/ 0 w 348"/>
                  <a:gd name="T45" fmla="*/ 79 h 535"/>
                  <a:gd name="T46" fmla="*/ 1 w 348"/>
                  <a:gd name="T47" fmla="*/ 75 h 535"/>
                  <a:gd name="T48" fmla="*/ 3 w 348"/>
                  <a:gd name="T49" fmla="*/ 72 h 535"/>
                  <a:gd name="T50" fmla="*/ 72 w 348"/>
                  <a:gd name="T51" fmla="*/ 2 h 535"/>
                  <a:gd name="T52" fmla="*/ 75 w 348"/>
                  <a:gd name="T53" fmla="*/ 0 h 535"/>
                  <a:gd name="T54" fmla="*/ 80 w 348"/>
                  <a:gd name="T55" fmla="*/ 0 h 535"/>
                  <a:gd name="T56" fmla="*/ 83 w 348"/>
                  <a:gd name="T57" fmla="*/ 0 h 535"/>
                  <a:gd name="T58" fmla="*/ 86 w 348"/>
                  <a:gd name="T59" fmla="*/ 2 h 535"/>
                  <a:gd name="T60" fmla="*/ 344 w 348"/>
                  <a:gd name="T61" fmla="*/ 260 h 535"/>
                  <a:gd name="T62" fmla="*/ 347 w 348"/>
                  <a:gd name="T63" fmla="*/ 263 h 535"/>
                  <a:gd name="T64" fmla="*/ 348 w 348"/>
                  <a:gd name="T65" fmla="*/ 268 h 535"/>
                  <a:gd name="T66" fmla="*/ 347 w 348"/>
                  <a:gd name="T67" fmla="*/ 271 h 535"/>
                  <a:gd name="T68" fmla="*/ 344 w 348"/>
                  <a:gd name="T69" fmla="*/ 274 h 535"/>
                  <a:gd name="T70" fmla="*/ 86 w 348"/>
                  <a:gd name="T71" fmla="*/ 532 h 535"/>
                  <a:gd name="T72" fmla="*/ 83 w 348"/>
                  <a:gd name="T73" fmla="*/ 534 h 535"/>
                  <a:gd name="T74" fmla="*/ 80 w 348"/>
                  <a:gd name="T75" fmla="*/ 535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8" h="535">
                    <a:moveTo>
                      <a:pt x="25" y="457"/>
                    </a:moveTo>
                    <a:lnTo>
                      <a:pt x="80" y="512"/>
                    </a:lnTo>
                    <a:lnTo>
                      <a:pt x="324" y="268"/>
                    </a:lnTo>
                    <a:lnTo>
                      <a:pt x="80" y="23"/>
                    </a:lnTo>
                    <a:lnTo>
                      <a:pt x="25" y="79"/>
                    </a:lnTo>
                    <a:lnTo>
                      <a:pt x="206" y="260"/>
                    </a:lnTo>
                    <a:lnTo>
                      <a:pt x="208" y="263"/>
                    </a:lnTo>
                    <a:lnTo>
                      <a:pt x="208" y="268"/>
                    </a:lnTo>
                    <a:lnTo>
                      <a:pt x="208" y="271"/>
                    </a:lnTo>
                    <a:lnTo>
                      <a:pt x="206" y="274"/>
                    </a:lnTo>
                    <a:lnTo>
                      <a:pt x="25" y="457"/>
                    </a:lnTo>
                    <a:close/>
                    <a:moveTo>
                      <a:pt x="80" y="535"/>
                    </a:moveTo>
                    <a:lnTo>
                      <a:pt x="75" y="534"/>
                    </a:lnTo>
                    <a:lnTo>
                      <a:pt x="72" y="533"/>
                    </a:lnTo>
                    <a:lnTo>
                      <a:pt x="3" y="463"/>
                    </a:lnTo>
                    <a:lnTo>
                      <a:pt x="1" y="460"/>
                    </a:lnTo>
                    <a:lnTo>
                      <a:pt x="0" y="457"/>
                    </a:lnTo>
                    <a:lnTo>
                      <a:pt x="1" y="452"/>
                    </a:lnTo>
                    <a:lnTo>
                      <a:pt x="3" y="449"/>
                    </a:lnTo>
                    <a:lnTo>
                      <a:pt x="185" y="268"/>
                    </a:lnTo>
                    <a:lnTo>
                      <a:pt x="3" y="86"/>
                    </a:lnTo>
                    <a:lnTo>
                      <a:pt x="1" y="83"/>
                    </a:lnTo>
                    <a:lnTo>
                      <a:pt x="0" y="79"/>
                    </a:lnTo>
                    <a:lnTo>
                      <a:pt x="1" y="75"/>
                    </a:lnTo>
                    <a:lnTo>
                      <a:pt x="3" y="72"/>
                    </a:lnTo>
                    <a:lnTo>
                      <a:pt x="72" y="2"/>
                    </a:lnTo>
                    <a:lnTo>
                      <a:pt x="75" y="0"/>
                    </a:lnTo>
                    <a:lnTo>
                      <a:pt x="80" y="0"/>
                    </a:lnTo>
                    <a:lnTo>
                      <a:pt x="83" y="0"/>
                    </a:lnTo>
                    <a:lnTo>
                      <a:pt x="86" y="2"/>
                    </a:lnTo>
                    <a:lnTo>
                      <a:pt x="344" y="260"/>
                    </a:lnTo>
                    <a:lnTo>
                      <a:pt x="347" y="263"/>
                    </a:lnTo>
                    <a:lnTo>
                      <a:pt x="348" y="268"/>
                    </a:lnTo>
                    <a:lnTo>
                      <a:pt x="347" y="271"/>
                    </a:lnTo>
                    <a:lnTo>
                      <a:pt x="344" y="274"/>
                    </a:lnTo>
                    <a:lnTo>
                      <a:pt x="86" y="532"/>
                    </a:lnTo>
                    <a:lnTo>
                      <a:pt x="83" y="534"/>
                    </a:lnTo>
                    <a:lnTo>
                      <a:pt x="80" y="5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38" name="Group 37">
            <a:extLst>
              <a:ext uri="{FF2B5EF4-FFF2-40B4-BE49-F238E27FC236}">
                <a16:creationId xmlns="" xmlns:a16="http://schemas.microsoft.com/office/drawing/2014/main" id="{0F8B1F09-AA60-44D4-960F-1A40D8CDE34B}"/>
              </a:ext>
            </a:extLst>
          </p:cNvPr>
          <p:cNvGrpSpPr/>
          <p:nvPr/>
        </p:nvGrpSpPr>
        <p:grpSpPr>
          <a:xfrm>
            <a:off x="8806712" y="2248688"/>
            <a:ext cx="439822" cy="439822"/>
            <a:chOff x="1929292" y="3462553"/>
            <a:chExt cx="652034" cy="652034"/>
          </a:xfrm>
        </p:grpSpPr>
        <p:sp>
          <p:nvSpPr>
            <p:cNvPr id="39" name="Oval 38">
              <a:extLst>
                <a:ext uri="{FF2B5EF4-FFF2-40B4-BE49-F238E27FC236}">
                  <a16:creationId xmlns="" xmlns:a16="http://schemas.microsoft.com/office/drawing/2014/main" id="{BC03CDA7-B741-4C2F-8DBE-CD39ED007CE0}"/>
                </a:ext>
              </a:extLst>
            </p:cNvPr>
            <p:cNvSpPr/>
            <p:nvPr/>
          </p:nvSpPr>
          <p:spPr>
            <a:xfrm>
              <a:off x="1929292" y="3462553"/>
              <a:ext cx="652034" cy="652034"/>
            </a:xfrm>
            <a:prstGeom prst="ellipse">
              <a:avLst/>
            </a:prstGeom>
            <a:solidFill>
              <a:schemeClr val="tx2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="" xmlns:a16="http://schemas.microsoft.com/office/drawing/2014/main" id="{5882A820-F197-4863-B7A3-AF8BF895EEA1}"/>
                </a:ext>
              </a:extLst>
            </p:cNvPr>
            <p:cNvGrpSpPr/>
            <p:nvPr/>
          </p:nvGrpSpPr>
          <p:grpSpPr>
            <a:xfrm>
              <a:off x="2115564" y="3662894"/>
              <a:ext cx="279490" cy="251353"/>
              <a:chOff x="7396163" y="4268788"/>
              <a:chExt cx="236538" cy="212725"/>
            </a:xfrm>
            <a:solidFill>
              <a:schemeClr val="accent4"/>
            </a:solidFill>
          </p:grpSpPr>
          <p:sp>
            <p:nvSpPr>
              <p:cNvPr id="41" name="Freeform 385">
                <a:extLst>
                  <a:ext uri="{FF2B5EF4-FFF2-40B4-BE49-F238E27FC236}">
                    <a16:creationId xmlns="" xmlns:a16="http://schemas.microsoft.com/office/drawing/2014/main" id="{EE037BD6-8E33-4363-9CCE-0E7E28C542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96163" y="4268788"/>
                <a:ext cx="138113" cy="212725"/>
              </a:xfrm>
              <a:custGeom>
                <a:avLst/>
                <a:gdLst>
                  <a:gd name="T0" fmla="*/ 25 w 348"/>
                  <a:gd name="T1" fmla="*/ 457 h 535"/>
                  <a:gd name="T2" fmla="*/ 80 w 348"/>
                  <a:gd name="T3" fmla="*/ 512 h 535"/>
                  <a:gd name="T4" fmla="*/ 324 w 348"/>
                  <a:gd name="T5" fmla="*/ 268 h 535"/>
                  <a:gd name="T6" fmla="*/ 80 w 348"/>
                  <a:gd name="T7" fmla="*/ 23 h 535"/>
                  <a:gd name="T8" fmla="*/ 25 w 348"/>
                  <a:gd name="T9" fmla="*/ 79 h 535"/>
                  <a:gd name="T10" fmla="*/ 207 w 348"/>
                  <a:gd name="T11" fmla="*/ 260 h 535"/>
                  <a:gd name="T12" fmla="*/ 209 w 348"/>
                  <a:gd name="T13" fmla="*/ 263 h 535"/>
                  <a:gd name="T14" fmla="*/ 210 w 348"/>
                  <a:gd name="T15" fmla="*/ 268 h 535"/>
                  <a:gd name="T16" fmla="*/ 209 w 348"/>
                  <a:gd name="T17" fmla="*/ 271 h 535"/>
                  <a:gd name="T18" fmla="*/ 207 w 348"/>
                  <a:gd name="T19" fmla="*/ 274 h 535"/>
                  <a:gd name="T20" fmla="*/ 25 w 348"/>
                  <a:gd name="T21" fmla="*/ 457 h 535"/>
                  <a:gd name="T22" fmla="*/ 80 w 348"/>
                  <a:gd name="T23" fmla="*/ 535 h 535"/>
                  <a:gd name="T24" fmla="*/ 77 w 348"/>
                  <a:gd name="T25" fmla="*/ 534 h 535"/>
                  <a:gd name="T26" fmla="*/ 73 w 348"/>
                  <a:gd name="T27" fmla="*/ 533 h 535"/>
                  <a:gd name="T28" fmla="*/ 4 w 348"/>
                  <a:gd name="T29" fmla="*/ 463 h 535"/>
                  <a:gd name="T30" fmla="*/ 2 w 348"/>
                  <a:gd name="T31" fmla="*/ 460 h 535"/>
                  <a:gd name="T32" fmla="*/ 0 w 348"/>
                  <a:gd name="T33" fmla="*/ 457 h 535"/>
                  <a:gd name="T34" fmla="*/ 2 w 348"/>
                  <a:gd name="T35" fmla="*/ 452 h 535"/>
                  <a:gd name="T36" fmla="*/ 4 w 348"/>
                  <a:gd name="T37" fmla="*/ 449 h 535"/>
                  <a:gd name="T38" fmla="*/ 185 w 348"/>
                  <a:gd name="T39" fmla="*/ 268 h 535"/>
                  <a:gd name="T40" fmla="*/ 4 w 348"/>
                  <a:gd name="T41" fmla="*/ 86 h 535"/>
                  <a:gd name="T42" fmla="*/ 2 w 348"/>
                  <a:gd name="T43" fmla="*/ 83 h 535"/>
                  <a:gd name="T44" fmla="*/ 0 w 348"/>
                  <a:gd name="T45" fmla="*/ 79 h 535"/>
                  <a:gd name="T46" fmla="*/ 2 w 348"/>
                  <a:gd name="T47" fmla="*/ 75 h 535"/>
                  <a:gd name="T48" fmla="*/ 4 w 348"/>
                  <a:gd name="T49" fmla="*/ 72 h 535"/>
                  <a:gd name="T50" fmla="*/ 74 w 348"/>
                  <a:gd name="T51" fmla="*/ 2 h 535"/>
                  <a:gd name="T52" fmla="*/ 77 w 348"/>
                  <a:gd name="T53" fmla="*/ 0 h 535"/>
                  <a:gd name="T54" fmla="*/ 80 w 348"/>
                  <a:gd name="T55" fmla="*/ 0 h 535"/>
                  <a:gd name="T56" fmla="*/ 84 w 348"/>
                  <a:gd name="T57" fmla="*/ 0 h 535"/>
                  <a:gd name="T58" fmla="*/ 87 w 348"/>
                  <a:gd name="T59" fmla="*/ 2 h 535"/>
                  <a:gd name="T60" fmla="*/ 346 w 348"/>
                  <a:gd name="T61" fmla="*/ 260 h 535"/>
                  <a:gd name="T62" fmla="*/ 348 w 348"/>
                  <a:gd name="T63" fmla="*/ 263 h 535"/>
                  <a:gd name="T64" fmla="*/ 348 w 348"/>
                  <a:gd name="T65" fmla="*/ 268 h 535"/>
                  <a:gd name="T66" fmla="*/ 348 w 348"/>
                  <a:gd name="T67" fmla="*/ 271 h 535"/>
                  <a:gd name="T68" fmla="*/ 346 w 348"/>
                  <a:gd name="T69" fmla="*/ 274 h 535"/>
                  <a:gd name="T70" fmla="*/ 87 w 348"/>
                  <a:gd name="T71" fmla="*/ 532 h 535"/>
                  <a:gd name="T72" fmla="*/ 84 w 348"/>
                  <a:gd name="T73" fmla="*/ 534 h 535"/>
                  <a:gd name="T74" fmla="*/ 80 w 348"/>
                  <a:gd name="T75" fmla="*/ 535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8" h="535">
                    <a:moveTo>
                      <a:pt x="25" y="457"/>
                    </a:moveTo>
                    <a:lnTo>
                      <a:pt x="80" y="512"/>
                    </a:lnTo>
                    <a:lnTo>
                      <a:pt x="324" y="268"/>
                    </a:lnTo>
                    <a:lnTo>
                      <a:pt x="80" y="23"/>
                    </a:lnTo>
                    <a:lnTo>
                      <a:pt x="25" y="79"/>
                    </a:lnTo>
                    <a:lnTo>
                      <a:pt x="207" y="260"/>
                    </a:lnTo>
                    <a:lnTo>
                      <a:pt x="209" y="263"/>
                    </a:lnTo>
                    <a:lnTo>
                      <a:pt x="210" y="268"/>
                    </a:lnTo>
                    <a:lnTo>
                      <a:pt x="209" y="271"/>
                    </a:lnTo>
                    <a:lnTo>
                      <a:pt x="207" y="274"/>
                    </a:lnTo>
                    <a:lnTo>
                      <a:pt x="25" y="457"/>
                    </a:lnTo>
                    <a:close/>
                    <a:moveTo>
                      <a:pt x="80" y="535"/>
                    </a:moveTo>
                    <a:lnTo>
                      <a:pt x="77" y="534"/>
                    </a:lnTo>
                    <a:lnTo>
                      <a:pt x="73" y="533"/>
                    </a:lnTo>
                    <a:lnTo>
                      <a:pt x="4" y="463"/>
                    </a:lnTo>
                    <a:lnTo>
                      <a:pt x="2" y="460"/>
                    </a:lnTo>
                    <a:lnTo>
                      <a:pt x="0" y="457"/>
                    </a:lnTo>
                    <a:lnTo>
                      <a:pt x="2" y="452"/>
                    </a:lnTo>
                    <a:lnTo>
                      <a:pt x="4" y="449"/>
                    </a:lnTo>
                    <a:lnTo>
                      <a:pt x="185" y="268"/>
                    </a:lnTo>
                    <a:lnTo>
                      <a:pt x="4" y="86"/>
                    </a:lnTo>
                    <a:lnTo>
                      <a:pt x="2" y="83"/>
                    </a:lnTo>
                    <a:lnTo>
                      <a:pt x="0" y="79"/>
                    </a:lnTo>
                    <a:lnTo>
                      <a:pt x="2" y="75"/>
                    </a:lnTo>
                    <a:lnTo>
                      <a:pt x="4" y="72"/>
                    </a:lnTo>
                    <a:lnTo>
                      <a:pt x="74" y="2"/>
                    </a:lnTo>
                    <a:lnTo>
                      <a:pt x="77" y="0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7" y="2"/>
                    </a:lnTo>
                    <a:lnTo>
                      <a:pt x="346" y="260"/>
                    </a:lnTo>
                    <a:lnTo>
                      <a:pt x="348" y="263"/>
                    </a:lnTo>
                    <a:lnTo>
                      <a:pt x="348" y="268"/>
                    </a:lnTo>
                    <a:lnTo>
                      <a:pt x="348" y="271"/>
                    </a:lnTo>
                    <a:lnTo>
                      <a:pt x="346" y="274"/>
                    </a:lnTo>
                    <a:lnTo>
                      <a:pt x="87" y="532"/>
                    </a:lnTo>
                    <a:lnTo>
                      <a:pt x="84" y="534"/>
                    </a:lnTo>
                    <a:lnTo>
                      <a:pt x="80" y="5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386">
                <a:extLst>
                  <a:ext uri="{FF2B5EF4-FFF2-40B4-BE49-F238E27FC236}">
                    <a16:creationId xmlns="" xmlns:a16="http://schemas.microsoft.com/office/drawing/2014/main" id="{4405C73E-DF94-48D7-A5F4-7764155399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94588" y="4268788"/>
                <a:ext cx="138113" cy="212725"/>
              </a:xfrm>
              <a:custGeom>
                <a:avLst/>
                <a:gdLst>
                  <a:gd name="T0" fmla="*/ 25 w 348"/>
                  <a:gd name="T1" fmla="*/ 457 h 535"/>
                  <a:gd name="T2" fmla="*/ 80 w 348"/>
                  <a:gd name="T3" fmla="*/ 512 h 535"/>
                  <a:gd name="T4" fmla="*/ 324 w 348"/>
                  <a:gd name="T5" fmla="*/ 268 h 535"/>
                  <a:gd name="T6" fmla="*/ 80 w 348"/>
                  <a:gd name="T7" fmla="*/ 23 h 535"/>
                  <a:gd name="T8" fmla="*/ 25 w 348"/>
                  <a:gd name="T9" fmla="*/ 79 h 535"/>
                  <a:gd name="T10" fmla="*/ 206 w 348"/>
                  <a:gd name="T11" fmla="*/ 260 h 535"/>
                  <a:gd name="T12" fmla="*/ 208 w 348"/>
                  <a:gd name="T13" fmla="*/ 263 h 535"/>
                  <a:gd name="T14" fmla="*/ 208 w 348"/>
                  <a:gd name="T15" fmla="*/ 268 h 535"/>
                  <a:gd name="T16" fmla="*/ 208 w 348"/>
                  <a:gd name="T17" fmla="*/ 271 h 535"/>
                  <a:gd name="T18" fmla="*/ 206 w 348"/>
                  <a:gd name="T19" fmla="*/ 274 h 535"/>
                  <a:gd name="T20" fmla="*/ 25 w 348"/>
                  <a:gd name="T21" fmla="*/ 457 h 535"/>
                  <a:gd name="T22" fmla="*/ 80 w 348"/>
                  <a:gd name="T23" fmla="*/ 535 h 535"/>
                  <a:gd name="T24" fmla="*/ 75 w 348"/>
                  <a:gd name="T25" fmla="*/ 534 h 535"/>
                  <a:gd name="T26" fmla="*/ 72 w 348"/>
                  <a:gd name="T27" fmla="*/ 533 h 535"/>
                  <a:gd name="T28" fmla="*/ 3 w 348"/>
                  <a:gd name="T29" fmla="*/ 463 h 535"/>
                  <a:gd name="T30" fmla="*/ 1 w 348"/>
                  <a:gd name="T31" fmla="*/ 460 h 535"/>
                  <a:gd name="T32" fmla="*/ 0 w 348"/>
                  <a:gd name="T33" fmla="*/ 457 h 535"/>
                  <a:gd name="T34" fmla="*/ 1 w 348"/>
                  <a:gd name="T35" fmla="*/ 452 h 535"/>
                  <a:gd name="T36" fmla="*/ 3 w 348"/>
                  <a:gd name="T37" fmla="*/ 449 h 535"/>
                  <a:gd name="T38" fmla="*/ 185 w 348"/>
                  <a:gd name="T39" fmla="*/ 268 h 535"/>
                  <a:gd name="T40" fmla="*/ 3 w 348"/>
                  <a:gd name="T41" fmla="*/ 86 h 535"/>
                  <a:gd name="T42" fmla="*/ 1 w 348"/>
                  <a:gd name="T43" fmla="*/ 83 h 535"/>
                  <a:gd name="T44" fmla="*/ 0 w 348"/>
                  <a:gd name="T45" fmla="*/ 79 h 535"/>
                  <a:gd name="T46" fmla="*/ 1 w 348"/>
                  <a:gd name="T47" fmla="*/ 75 h 535"/>
                  <a:gd name="T48" fmla="*/ 3 w 348"/>
                  <a:gd name="T49" fmla="*/ 72 h 535"/>
                  <a:gd name="T50" fmla="*/ 72 w 348"/>
                  <a:gd name="T51" fmla="*/ 2 h 535"/>
                  <a:gd name="T52" fmla="*/ 75 w 348"/>
                  <a:gd name="T53" fmla="*/ 0 h 535"/>
                  <a:gd name="T54" fmla="*/ 80 w 348"/>
                  <a:gd name="T55" fmla="*/ 0 h 535"/>
                  <a:gd name="T56" fmla="*/ 83 w 348"/>
                  <a:gd name="T57" fmla="*/ 0 h 535"/>
                  <a:gd name="T58" fmla="*/ 86 w 348"/>
                  <a:gd name="T59" fmla="*/ 2 h 535"/>
                  <a:gd name="T60" fmla="*/ 344 w 348"/>
                  <a:gd name="T61" fmla="*/ 260 h 535"/>
                  <a:gd name="T62" fmla="*/ 347 w 348"/>
                  <a:gd name="T63" fmla="*/ 263 h 535"/>
                  <a:gd name="T64" fmla="*/ 348 w 348"/>
                  <a:gd name="T65" fmla="*/ 268 h 535"/>
                  <a:gd name="T66" fmla="*/ 347 w 348"/>
                  <a:gd name="T67" fmla="*/ 271 h 535"/>
                  <a:gd name="T68" fmla="*/ 344 w 348"/>
                  <a:gd name="T69" fmla="*/ 274 h 535"/>
                  <a:gd name="T70" fmla="*/ 86 w 348"/>
                  <a:gd name="T71" fmla="*/ 532 h 535"/>
                  <a:gd name="T72" fmla="*/ 83 w 348"/>
                  <a:gd name="T73" fmla="*/ 534 h 535"/>
                  <a:gd name="T74" fmla="*/ 80 w 348"/>
                  <a:gd name="T75" fmla="*/ 535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8" h="535">
                    <a:moveTo>
                      <a:pt x="25" y="457"/>
                    </a:moveTo>
                    <a:lnTo>
                      <a:pt x="80" y="512"/>
                    </a:lnTo>
                    <a:lnTo>
                      <a:pt x="324" y="268"/>
                    </a:lnTo>
                    <a:lnTo>
                      <a:pt x="80" y="23"/>
                    </a:lnTo>
                    <a:lnTo>
                      <a:pt x="25" y="79"/>
                    </a:lnTo>
                    <a:lnTo>
                      <a:pt x="206" y="260"/>
                    </a:lnTo>
                    <a:lnTo>
                      <a:pt x="208" y="263"/>
                    </a:lnTo>
                    <a:lnTo>
                      <a:pt x="208" y="268"/>
                    </a:lnTo>
                    <a:lnTo>
                      <a:pt x="208" y="271"/>
                    </a:lnTo>
                    <a:lnTo>
                      <a:pt x="206" y="274"/>
                    </a:lnTo>
                    <a:lnTo>
                      <a:pt x="25" y="457"/>
                    </a:lnTo>
                    <a:close/>
                    <a:moveTo>
                      <a:pt x="80" y="535"/>
                    </a:moveTo>
                    <a:lnTo>
                      <a:pt x="75" y="534"/>
                    </a:lnTo>
                    <a:lnTo>
                      <a:pt x="72" y="533"/>
                    </a:lnTo>
                    <a:lnTo>
                      <a:pt x="3" y="463"/>
                    </a:lnTo>
                    <a:lnTo>
                      <a:pt x="1" y="460"/>
                    </a:lnTo>
                    <a:lnTo>
                      <a:pt x="0" y="457"/>
                    </a:lnTo>
                    <a:lnTo>
                      <a:pt x="1" y="452"/>
                    </a:lnTo>
                    <a:lnTo>
                      <a:pt x="3" y="449"/>
                    </a:lnTo>
                    <a:lnTo>
                      <a:pt x="185" y="268"/>
                    </a:lnTo>
                    <a:lnTo>
                      <a:pt x="3" y="86"/>
                    </a:lnTo>
                    <a:lnTo>
                      <a:pt x="1" y="83"/>
                    </a:lnTo>
                    <a:lnTo>
                      <a:pt x="0" y="79"/>
                    </a:lnTo>
                    <a:lnTo>
                      <a:pt x="1" y="75"/>
                    </a:lnTo>
                    <a:lnTo>
                      <a:pt x="3" y="72"/>
                    </a:lnTo>
                    <a:lnTo>
                      <a:pt x="72" y="2"/>
                    </a:lnTo>
                    <a:lnTo>
                      <a:pt x="75" y="0"/>
                    </a:lnTo>
                    <a:lnTo>
                      <a:pt x="80" y="0"/>
                    </a:lnTo>
                    <a:lnTo>
                      <a:pt x="83" y="0"/>
                    </a:lnTo>
                    <a:lnTo>
                      <a:pt x="86" y="2"/>
                    </a:lnTo>
                    <a:lnTo>
                      <a:pt x="344" y="260"/>
                    </a:lnTo>
                    <a:lnTo>
                      <a:pt x="347" y="263"/>
                    </a:lnTo>
                    <a:lnTo>
                      <a:pt x="348" y="268"/>
                    </a:lnTo>
                    <a:lnTo>
                      <a:pt x="347" y="271"/>
                    </a:lnTo>
                    <a:lnTo>
                      <a:pt x="344" y="274"/>
                    </a:lnTo>
                    <a:lnTo>
                      <a:pt x="86" y="532"/>
                    </a:lnTo>
                    <a:lnTo>
                      <a:pt x="83" y="534"/>
                    </a:lnTo>
                    <a:lnTo>
                      <a:pt x="80" y="5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50" name="Freeform 97">
            <a:extLst>
              <a:ext uri="{FF2B5EF4-FFF2-40B4-BE49-F238E27FC236}">
                <a16:creationId xmlns="" xmlns:a16="http://schemas.microsoft.com/office/drawing/2014/main" id="{3F9EDF7F-388E-4F8F-822A-07FEB3E715BA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9432278" y="4048884"/>
            <a:ext cx="2119312" cy="2119312"/>
          </a:xfrm>
          <a:custGeom>
            <a:avLst/>
            <a:gdLst>
              <a:gd name="T0" fmla="*/ 677 w 714"/>
              <a:gd name="T1" fmla="*/ 212 h 715"/>
              <a:gd name="T2" fmla="*/ 626 w 714"/>
              <a:gd name="T3" fmla="*/ 179 h 715"/>
              <a:gd name="T4" fmla="*/ 573 w 714"/>
              <a:gd name="T5" fmla="*/ 139 h 715"/>
              <a:gd name="T6" fmla="*/ 553 w 714"/>
              <a:gd name="T7" fmla="*/ 94 h 715"/>
              <a:gd name="T8" fmla="*/ 516 w 714"/>
              <a:gd name="T9" fmla="*/ 53 h 715"/>
              <a:gd name="T10" fmla="*/ 421 w 714"/>
              <a:gd name="T11" fmla="*/ 60 h 715"/>
              <a:gd name="T12" fmla="*/ 429 w 714"/>
              <a:gd name="T13" fmla="*/ 26 h 715"/>
              <a:gd name="T14" fmla="*/ 22 w 714"/>
              <a:gd name="T15" fmla="*/ 436 h 715"/>
              <a:gd name="T16" fmla="*/ 39 w 714"/>
              <a:gd name="T17" fmla="*/ 451 h 715"/>
              <a:gd name="T18" fmla="*/ 60 w 714"/>
              <a:gd name="T19" fmla="*/ 465 h 715"/>
              <a:gd name="T20" fmla="*/ 108 w 714"/>
              <a:gd name="T21" fmla="*/ 446 h 715"/>
              <a:gd name="T22" fmla="*/ 102 w 714"/>
              <a:gd name="T23" fmla="*/ 508 h 715"/>
              <a:gd name="T24" fmla="*/ 146 w 714"/>
              <a:gd name="T25" fmla="*/ 552 h 715"/>
              <a:gd name="T26" fmla="*/ 190 w 714"/>
              <a:gd name="T27" fmla="*/ 596 h 715"/>
              <a:gd name="T28" fmla="*/ 214 w 714"/>
              <a:gd name="T29" fmla="*/ 647 h 715"/>
              <a:gd name="T30" fmla="*/ 296 w 714"/>
              <a:gd name="T31" fmla="*/ 709 h 715"/>
              <a:gd name="T32" fmla="*/ 684 w 714"/>
              <a:gd name="T33" fmla="*/ 227 h 715"/>
              <a:gd name="T34" fmla="*/ 434 w 714"/>
              <a:gd name="T35" fmla="*/ 24 h 715"/>
              <a:gd name="T36" fmla="*/ 9 w 714"/>
              <a:gd name="T37" fmla="*/ 371 h 715"/>
              <a:gd name="T38" fmla="*/ 37 w 714"/>
              <a:gd name="T39" fmla="*/ 344 h 715"/>
              <a:gd name="T40" fmla="*/ 45 w 714"/>
              <a:gd name="T41" fmla="*/ 192 h 715"/>
              <a:gd name="T42" fmla="*/ 64 w 714"/>
              <a:gd name="T43" fmla="*/ 419 h 715"/>
              <a:gd name="T44" fmla="*/ 84 w 714"/>
              <a:gd name="T45" fmla="*/ 332 h 715"/>
              <a:gd name="T46" fmla="*/ 87 w 714"/>
              <a:gd name="T47" fmla="*/ 502 h 715"/>
              <a:gd name="T48" fmla="*/ 234 w 714"/>
              <a:gd name="T49" fmla="*/ 679 h 715"/>
              <a:gd name="T50" fmla="*/ 287 w 714"/>
              <a:gd name="T51" fmla="*/ 641 h 715"/>
              <a:gd name="T52" fmla="*/ 303 w 714"/>
              <a:gd name="T53" fmla="*/ 67 h 715"/>
              <a:gd name="T54" fmla="*/ 270 w 714"/>
              <a:gd name="T55" fmla="*/ 571 h 715"/>
              <a:gd name="T56" fmla="*/ 246 w 714"/>
              <a:gd name="T57" fmla="*/ 640 h 715"/>
              <a:gd name="T58" fmla="*/ 249 w 714"/>
              <a:gd name="T59" fmla="*/ 640 h 715"/>
              <a:gd name="T60" fmla="*/ 227 w 714"/>
              <a:gd name="T61" fmla="*/ 527 h 715"/>
              <a:gd name="T62" fmla="*/ 209 w 714"/>
              <a:gd name="T63" fmla="*/ 468 h 715"/>
              <a:gd name="T64" fmla="*/ 178 w 714"/>
              <a:gd name="T65" fmla="*/ 383 h 715"/>
              <a:gd name="T66" fmla="*/ 165 w 714"/>
              <a:gd name="T67" fmla="*/ 345 h 715"/>
              <a:gd name="T68" fmla="*/ 156 w 714"/>
              <a:gd name="T69" fmla="*/ 435 h 715"/>
              <a:gd name="T70" fmla="*/ 132 w 714"/>
              <a:gd name="T71" fmla="*/ 280 h 715"/>
              <a:gd name="T72" fmla="*/ 123 w 714"/>
              <a:gd name="T73" fmla="*/ 474 h 715"/>
              <a:gd name="T74" fmla="*/ 154 w 714"/>
              <a:gd name="T75" fmla="*/ 484 h 715"/>
              <a:gd name="T76" fmla="*/ 189 w 714"/>
              <a:gd name="T77" fmla="*/ 398 h 715"/>
              <a:gd name="T78" fmla="*/ 235 w 714"/>
              <a:gd name="T79" fmla="*/ 592 h 715"/>
              <a:gd name="T80" fmla="*/ 277 w 714"/>
              <a:gd name="T81" fmla="*/ 700 h 715"/>
              <a:gd name="T82" fmla="*/ 335 w 714"/>
              <a:gd name="T83" fmla="*/ 131 h 715"/>
              <a:gd name="T84" fmla="*/ 522 w 714"/>
              <a:gd name="T85" fmla="*/ 181 h 715"/>
              <a:gd name="T86" fmla="*/ 480 w 714"/>
              <a:gd name="T87" fmla="*/ 95 h 715"/>
              <a:gd name="T88" fmla="*/ 502 w 714"/>
              <a:gd name="T89" fmla="*/ 132 h 715"/>
              <a:gd name="T90" fmla="*/ 509 w 714"/>
              <a:gd name="T91" fmla="*/ 36 h 715"/>
              <a:gd name="T92" fmla="*/ 462 w 714"/>
              <a:gd name="T93" fmla="*/ 49 h 715"/>
              <a:gd name="T94" fmla="*/ 406 w 714"/>
              <a:gd name="T95" fmla="*/ 125 h 715"/>
              <a:gd name="T96" fmla="*/ 372 w 714"/>
              <a:gd name="T97" fmla="*/ 610 h 715"/>
              <a:gd name="T98" fmla="*/ 398 w 714"/>
              <a:gd name="T99" fmla="*/ 679 h 715"/>
              <a:gd name="T100" fmla="*/ 454 w 714"/>
              <a:gd name="T101" fmla="*/ 644 h 715"/>
              <a:gd name="T102" fmla="*/ 469 w 714"/>
              <a:gd name="T103" fmla="*/ 168 h 715"/>
              <a:gd name="T104" fmla="*/ 522 w 714"/>
              <a:gd name="T105" fmla="*/ 285 h 715"/>
              <a:gd name="T106" fmla="*/ 585 w 714"/>
              <a:gd name="T107" fmla="*/ 213 h 715"/>
              <a:gd name="T108" fmla="*/ 544 w 714"/>
              <a:gd name="T109" fmla="*/ 168 h 715"/>
              <a:gd name="T110" fmla="*/ 573 w 714"/>
              <a:gd name="T111" fmla="*/ 236 h 715"/>
              <a:gd name="T112" fmla="*/ 595 w 714"/>
              <a:gd name="T113" fmla="*/ 470 h 715"/>
              <a:gd name="T114" fmla="*/ 651 w 714"/>
              <a:gd name="T115" fmla="*/ 272 h 715"/>
              <a:gd name="T116" fmla="*/ 630 w 714"/>
              <a:gd name="T117" fmla="*/ 261 h 715"/>
              <a:gd name="T118" fmla="*/ 615 w 714"/>
              <a:gd name="T119" fmla="*/ 194 h 715"/>
              <a:gd name="T120" fmla="*/ 625 w 714"/>
              <a:gd name="T121" fmla="*/ 381 h 715"/>
              <a:gd name="T122" fmla="*/ 658 w 714"/>
              <a:gd name="T123" fmla="*/ 277 h 715"/>
              <a:gd name="T124" fmla="*/ 686 w 714"/>
              <a:gd name="T125" fmla="*/ 342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14" h="715">
                <a:moveTo>
                  <a:pt x="710" y="304"/>
                </a:moveTo>
                <a:cubicBezTo>
                  <a:pt x="710" y="305"/>
                  <a:pt x="710" y="305"/>
                  <a:pt x="709" y="305"/>
                </a:cubicBezTo>
                <a:cubicBezTo>
                  <a:pt x="709" y="304"/>
                  <a:pt x="710" y="303"/>
                  <a:pt x="710" y="303"/>
                </a:cubicBezTo>
                <a:cubicBezTo>
                  <a:pt x="710" y="303"/>
                  <a:pt x="710" y="303"/>
                  <a:pt x="710" y="303"/>
                </a:cubicBezTo>
                <a:cubicBezTo>
                  <a:pt x="709" y="297"/>
                  <a:pt x="708" y="292"/>
                  <a:pt x="707" y="286"/>
                </a:cubicBezTo>
                <a:cubicBezTo>
                  <a:pt x="707" y="287"/>
                  <a:pt x="707" y="288"/>
                  <a:pt x="706" y="290"/>
                </a:cubicBezTo>
                <a:cubicBezTo>
                  <a:pt x="706" y="289"/>
                  <a:pt x="707" y="289"/>
                  <a:pt x="707" y="289"/>
                </a:cubicBezTo>
                <a:cubicBezTo>
                  <a:pt x="707" y="290"/>
                  <a:pt x="706" y="290"/>
                  <a:pt x="706" y="290"/>
                </a:cubicBezTo>
                <a:cubicBezTo>
                  <a:pt x="706" y="292"/>
                  <a:pt x="706" y="294"/>
                  <a:pt x="705" y="295"/>
                </a:cubicBezTo>
                <a:cubicBezTo>
                  <a:pt x="703" y="298"/>
                  <a:pt x="703" y="301"/>
                  <a:pt x="703" y="301"/>
                </a:cubicBezTo>
                <a:cubicBezTo>
                  <a:pt x="702" y="302"/>
                  <a:pt x="700" y="300"/>
                  <a:pt x="699" y="300"/>
                </a:cubicBezTo>
                <a:cubicBezTo>
                  <a:pt x="697" y="301"/>
                  <a:pt x="697" y="303"/>
                  <a:pt x="696" y="300"/>
                </a:cubicBezTo>
                <a:cubicBezTo>
                  <a:pt x="696" y="299"/>
                  <a:pt x="696" y="301"/>
                  <a:pt x="695" y="298"/>
                </a:cubicBezTo>
                <a:cubicBezTo>
                  <a:pt x="695" y="297"/>
                  <a:pt x="697" y="291"/>
                  <a:pt x="700" y="292"/>
                </a:cubicBezTo>
                <a:cubicBezTo>
                  <a:pt x="701" y="293"/>
                  <a:pt x="702" y="295"/>
                  <a:pt x="703" y="292"/>
                </a:cubicBezTo>
                <a:cubicBezTo>
                  <a:pt x="703" y="291"/>
                  <a:pt x="703" y="290"/>
                  <a:pt x="703" y="289"/>
                </a:cubicBezTo>
                <a:cubicBezTo>
                  <a:pt x="703" y="287"/>
                  <a:pt x="705" y="284"/>
                  <a:pt x="706" y="282"/>
                </a:cubicBezTo>
                <a:cubicBezTo>
                  <a:pt x="705" y="276"/>
                  <a:pt x="704" y="270"/>
                  <a:pt x="702" y="264"/>
                </a:cubicBezTo>
                <a:cubicBezTo>
                  <a:pt x="701" y="268"/>
                  <a:pt x="695" y="273"/>
                  <a:pt x="691" y="270"/>
                </a:cubicBezTo>
                <a:cubicBezTo>
                  <a:pt x="691" y="271"/>
                  <a:pt x="691" y="270"/>
                  <a:pt x="690" y="270"/>
                </a:cubicBezTo>
                <a:cubicBezTo>
                  <a:pt x="690" y="270"/>
                  <a:pt x="690" y="270"/>
                  <a:pt x="690" y="270"/>
                </a:cubicBezTo>
                <a:cubicBezTo>
                  <a:pt x="690" y="271"/>
                  <a:pt x="690" y="270"/>
                  <a:pt x="690" y="270"/>
                </a:cubicBezTo>
                <a:cubicBezTo>
                  <a:pt x="690" y="270"/>
                  <a:pt x="690" y="270"/>
                  <a:pt x="690" y="269"/>
                </a:cubicBezTo>
                <a:cubicBezTo>
                  <a:pt x="689" y="270"/>
                  <a:pt x="688" y="271"/>
                  <a:pt x="688" y="271"/>
                </a:cubicBezTo>
                <a:cubicBezTo>
                  <a:pt x="686" y="270"/>
                  <a:pt x="686" y="273"/>
                  <a:pt x="685" y="274"/>
                </a:cubicBezTo>
                <a:cubicBezTo>
                  <a:pt x="684" y="274"/>
                  <a:pt x="682" y="273"/>
                  <a:pt x="682" y="275"/>
                </a:cubicBezTo>
                <a:cubicBezTo>
                  <a:pt x="681" y="270"/>
                  <a:pt x="674" y="279"/>
                  <a:pt x="674" y="281"/>
                </a:cubicBezTo>
                <a:cubicBezTo>
                  <a:pt x="675" y="280"/>
                  <a:pt x="681" y="280"/>
                  <a:pt x="680" y="280"/>
                </a:cubicBezTo>
                <a:cubicBezTo>
                  <a:pt x="680" y="280"/>
                  <a:pt x="681" y="280"/>
                  <a:pt x="681" y="280"/>
                </a:cubicBezTo>
                <a:cubicBezTo>
                  <a:pt x="681" y="280"/>
                  <a:pt x="681" y="280"/>
                  <a:pt x="681" y="280"/>
                </a:cubicBezTo>
                <a:cubicBezTo>
                  <a:pt x="681" y="279"/>
                  <a:pt x="682" y="278"/>
                  <a:pt x="682" y="279"/>
                </a:cubicBezTo>
                <a:cubicBezTo>
                  <a:pt x="684" y="280"/>
                  <a:pt x="681" y="280"/>
                  <a:pt x="681" y="281"/>
                </a:cubicBezTo>
                <a:cubicBezTo>
                  <a:pt x="681" y="282"/>
                  <a:pt x="681" y="282"/>
                  <a:pt x="681" y="282"/>
                </a:cubicBezTo>
                <a:cubicBezTo>
                  <a:pt x="682" y="282"/>
                  <a:pt x="683" y="282"/>
                  <a:pt x="683" y="284"/>
                </a:cubicBezTo>
                <a:cubicBezTo>
                  <a:pt x="683" y="284"/>
                  <a:pt x="683" y="284"/>
                  <a:pt x="683" y="284"/>
                </a:cubicBezTo>
                <a:cubicBezTo>
                  <a:pt x="683" y="284"/>
                  <a:pt x="684" y="285"/>
                  <a:pt x="684" y="286"/>
                </a:cubicBezTo>
                <a:cubicBezTo>
                  <a:pt x="684" y="286"/>
                  <a:pt x="681" y="289"/>
                  <a:pt x="681" y="290"/>
                </a:cubicBezTo>
                <a:cubicBezTo>
                  <a:pt x="680" y="290"/>
                  <a:pt x="679" y="295"/>
                  <a:pt x="678" y="295"/>
                </a:cubicBezTo>
                <a:cubicBezTo>
                  <a:pt x="676" y="295"/>
                  <a:pt x="679" y="293"/>
                  <a:pt x="677" y="292"/>
                </a:cubicBezTo>
                <a:cubicBezTo>
                  <a:pt x="677" y="291"/>
                  <a:pt x="675" y="293"/>
                  <a:pt x="674" y="293"/>
                </a:cubicBezTo>
                <a:cubicBezTo>
                  <a:pt x="673" y="292"/>
                  <a:pt x="674" y="291"/>
                  <a:pt x="673" y="290"/>
                </a:cubicBezTo>
                <a:cubicBezTo>
                  <a:pt x="673" y="290"/>
                  <a:pt x="671" y="292"/>
                  <a:pt x="670" y="290"/>
                </a:cubicBezTo>
                <a:cubicBezTo>
                  <a:pt x="669" y="288"/>
                  <a:pt x="672" y="289"/>
                  <a:pt x="672" y="288"/>
                </a:cubicBezTo>
                <a:cubicBezTo>
                  <a:pt x="672" y="287"/>
                  <a:pt x="671" y="287"/>
                  <a:pt x="671" y="287"/>
                </a:cubicBezTo>
                <a:cubicBezTo>
                  <a:pt x="671" y="286"/>
                  <a:pt x="672" y="285"/>
                  <a:pt x="672" y="283"/>
                </a:cubicBezTo>
                <a:cubicBezTo>
                  <a:pt x="672" y="283"/>
                  <a:pt x="672" y="282"/>
                  <a:pt x="672" y="282"/>
                </a:cubicBezTo>
                <a:cubicBezTo>
                  <a:pt x="673" y="279"/>
                  <a:pt x="678" y="276"/>
                  <a:pt x="677" y="271"/>
                </a:cubicBezTo>
                <a:cubicBezTo>
                  <a:pt x="676" y="270"/>
                  <a:pt x="675" y="271"/>
                  <a:pt x="674" y="272"/>
                </a:cubicBezTo>
                <a:cubicBezTo>
                  <a:pt x="675" y="269"/>
                  <a:pt x="676" y="260"/>
                  <a:pt x="681" y="259"/>
                </a:cubicBezTo>
                <a:cubicBezTo>
                  <a:pt x="681" y="259"/>
                  <a:pt x="684" y="259"/>
                  <a:pt x="685" y="259"/>
                </a:cubicBezTo>
                <a:cubicBezTo>
                  <a:pt x="685" y="259"/>
                  <a:pt x="686" y="260"/>
                  <a:pt x="687" y="261"/>
                </a:cubicBezTo>
                <a:cubicBezTo>
                  <a:pt x="687" y="261"/>
                  <a:pt x="687" y="261"/>
                  <a:pt x="688" y="261"/>
                </a:cubicBezTo>
                <a:cubicBezTo>
                  <a:pt x="688" y="261"/>
                  <a:pt x="688" y="261"/>
                  <a:pt x="688" y="261"/>
                </a:cubicBezTo>
                <a:cubicBezTo>
                  <a:pt x="688" y="262"/>
                  <a:pt x="688" y="262"/>
                  <a:pt x="689" y="262"/>
                </a:cubicBezTo>
                <a:cubicBezTo>
                  <a:pt x="690" y="261"/>
                  <a:pt x="691" y="259"/>
                  <a:pt x="692" y="258"/>
                </a:cubicBezTo>
                <a:cubicBezTo>
                  <a:pt x="691" y="257"/>
                  <a:pt x="690" y="258"/>
                  <a:pt x="689" y="259"/>
                </a:cubicBezTo>
                <a:cubicBezTo>
                  <a:pt x="689" y="258"/>
                  <a:pt x="689" y="258"/>
                  <a:pt x="689" y="258"/>
                </a:cubicBezTo>
                <a:cubicBezTo>
                  <a:pt x="688" y="258"/>
                  <a:pt x="687" y="258"/>
                  <a:pt x="687" y="257"/>
                </a:cubicBezTo>
                <a:cubicBezTo>
                  <a:pt x="686" y="256"/>
                  <a:pt x="688" y="256"/>
                  <a:pt x="688" y="256"/>
                </a:cubicBezTo>
                <a:cubicBezTo>
                  <a:pt x="689" y="254"/>
                  <a:pt x="687" y="255"/>
                  <a:pt x="688" y="253"/>
                </a:cubicBezTo>
                <a:cubicBezTo>
                  <a:pt x="689" y="252"/>
                  <a:pt x="692" y="252"/>
                  <a:pt x="692" y="251"/>
                </a:cubicBezTo>
                <a:cubicBezTo>
                  <a:pt x="692" y="251"/>
                  <a:pt x="692" y="250"/>
                  <a:pt x="692" y="250"/>
                </a:cubicBezTo>
                <a:cubicBezTo>
                  <a:pt x="692" y="250"/>
                  <a:pt x="691" y="249"/>
                  <a:pt x="691" y="249"/>
                </a:cubicBezTo>
                <a:cubicBezTo>
                  <a:pt x="691" y="249"/>
                  <a:pt x="692" y="247"/>
                  <a:pt x="691" y="246"/>
                </a:cubicBezTo>
                <a:cubicBezTo>
                  <a:pt x="690" y="245"/>
                  <a:pt x="690" y="246"/>
                  <a:pt x="690" y="246"/>
                </a:cubicBezTo>
                <a:cubicBezTo>
                  <a:pt x="689" y="246"/>
                  <a:pt x="688" y="242"/>
                  <a:pt x="688" y="242"/>
                </a:cubicBezTo>
                <a:cubicBezTo>
                  <a:pt x="689" y="240"/>
                  <a:pt x="691" y="242"/>
                  <a:pt x="693" y="241"/>
                </a:cubicBezTo>
                <a:cubicBezTo>
                  <a:pt x="692" y="241"/>
                  <a:pt x="693" y="239"/>
                  <a:pt x="694" y="239"/>
                </a:cubicBezTo>
                <a:cubicBezTo>
                  <a:pt x="693" y="235"/>
                  <a:pt x="691" y="231"/>
                  <a:pt x="690" y="227"/>
                </a:cubicBezTo>
                <a:cubicBezTo>
                  <a:pt x="690" y="227"/>
                  <a:pt x="689" y="227"/>
                  <a:pt x="689" y="227"/>
                </a:cubicBezTo>
                <a:cubicBezTo>
                  <a:pt x="688" y="227"/>
                  <a:pt x="689" y="225"/>
                  <a:pt x="688" y="224"/>
                </a:cubicBezTo>
                <a:cubicBezTo>
                  <a:pt x="688" y="223"/>
                  <a:pt x="688" y="223"/>
                  <a:pt x="688" y="223"/>
                </a:cubicBezTo>
                <a:cubicBezTo>
                  <a:pt x="688" y="222"/>
                  <a:pt x="688" y="222"/>
                  <a:pt x="688" y="221"/>
                </a:cubicBezTo>
                <a:cubicBezTo>
                  <a:pt x="685" y="222"/>
                  <a:pt x="682" y="222"/>
                  <a:pt x="681" y="222"/>
                </a:cubicBezTo>
                <a:cubicBezTo>
                  <a:pt x="679" y="222"/>
                  <a:pt x="680" y="219"/>
                  <a:pt x="678" y="220"/>
                </a:cubicBezTo>
                <a:cubicBezTo>
                  <a:pt x="680" y="218"/>
                  <a:pt x="676" y="218"/>
                  <a:pt x="676" y="216"/>
                </a:cubicBezTo>
                <a:cubicBezTo>
                  <a:pt x="675" y="215"/>
                  <a:pt x="677" y="215"/>
                  <a:pt x="677" y="215"/>
                </a:cubicBezTo>
                <a:cubicBezTo>
                  <a:pt x="678" y="214"/>
                  <a:pt x="676" y="213"/>
                  <a:pt x="677" y="212"/>
                </a:cubicBezTo>
                <a:cubicBezTo>
                  <a:pt x="677" y="212"/>
                  <a:pt x="677" y="212"/>
                  <a:pt x="677" y="212"/>
                </a:cubicBezTo>
                <a:cubicBezTo>
                  <a:pt x="676" y="212"/>
                  <a:pt x="675" y="210"/>
                  <a:pt x="675" y="209"/>
                </a:cubicBezTo>
                <a:cubicBezTo>
                  <a:pt x="674" y="209"/>
                  <a:pt x="674" y="209"/>
                  <a:pt x="673" y="209"/>
                </a:cubicBezTo>
                <a:cubicBezTo>
                  <a:pt x="674" y="210"/>
                  <a:pt x="674" y="210"/>
                  <a:pt x="674" y="211"/>
                </a:cubicBezTo>
                <a:cubicBezTo>
                  <a:pt x="674" y="212"/>
                  <a:pt x="674" y="212"/>
                  <a:pt x="673" y="213"/>
                </a:cubicBezTo>
                <a:cubicBezTo>
                  <a:pt x="673" y="214"/>
                  <a:pt x="673" y="214"/>
                  <a:pt x="673" y="215"/>
                </a:cubicBezTo>
                <a:cubicBezTo>
                  <a:pt x="673" y="215"/>
                  <a:pt x="673" y="215"/>
                  <a:pt x="673" y="215"/>
                </a:cubicBezTo>
                <a:cubicBezTo>
                  <a:pt x="673" y="215"/>
                  <a:pt x="672" y="216"/>
                  <a:pt x="672" y="216"/>
                </a:cubicBezTo>
                <a:cubicBezTo>
                  <a:pt x="671" y="217"/>
                  <a:pt x="669" y="218"/>
                  <a:pt x="669" y="220"/>
                </a:cubicBezTo>
                <a:cubicBezTo>
                  <a:pt x="670" y="217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7" y="219"/>
                </a:cubicBezTo>
                <a:cubicBezTo>
                  <a:pt x="668" y="220"/>
                  <a:pt x="668" y="224"/>
                  <a:pt x="667" y="225"/>
                </a:cubicBezTo>
                <a:cubicBezTo>
                  <a:pt x="667" y="225"/>
                  <a:pt x="667" y="224"/>
                  <a:pt x="666" y="224"/>
                </a:cubicBezTo>
                <a:cubicBezTo>
                  <a:pt x="665" y="225"/>
                  <a:pt x="663" y="228"/>
                  <a:pt x="660" y="228"/>
                </a:cubicBezTo>
                <a:cubicBezTo>
                  <a:pt x="661" y="226"/>
                  <a:pt x="663" y="226"/>
                  <a:pt x="663" y="225"/>
                </a:cubicBezTo>
                <a:cubicBezTo>
                  <a:pt x="663" y="224"/>
                  <a:pt x="662" y="225"/>
                  <a:pt x="661" y="224"/>
                </a:cubicBezTo>
                <a:cubicBezTo>
                  <a:pt x="660" y="223"/>
                  <a:pt x="662" y="219"/>
                  <a:pt x="665" y="218"/>
                </a:cubicBezTo>
                <a:cubicBezTo>
                  <a:pt x="665" y="217"/>
                  <a:pt x="665" y="216"/>
                  <a:pt x="665" y="216"/>
                </a:cubicBezTo>
                <a:cubicBezTo>
                  <a:pt x="665" y="215"/>
                  <a:pt x="664" y="215"/>
                  <a:pt x="664" y="215"/>
                </a:cubicBezTo>
                <a:cubicBezTo>
                  <a:pt x="663" y="217"/>
                  <a:pt x="661" y="218"/>
                  <a:pt x="660" y="220"/>
                </a:cubicBezTo>
                <a:cubicBezTo>
                  <a:pt x="660" y="221"/>
                  <a:pt x="661" y="222"/>
                  <a:pt x="660" y="223"/>
                </a:cubicBezTo>
                <a:cubicBezTo>
                  <a:pt x="660" y="223"/>
                  <a:pt x="659" y="224"/>
                  <a:pt x="659" y="225"/>
                </a:cubicBezTo>
                <a:cubicBezTo>
                  <a:pt x="659" y="226"/>
                  <a:pt x="661" y="225"/>
                  <a:pt x="660" y="226"/>
                </a:cubicBezTo>
                <a:cubicBezTo>
                  <a:pt x="660" y="227"/>
                  <a:pt x="659" y="228"/>
                  <a:pt x="659" y="227"/>
                </a:cubicBezTo>
                <a:cubicBezTo>
                  <a:pt x="658" y="227"/>
                  <a:pt x="658" y="225"/>
                  <a:pt x="657" y="224"/>
                </a:cubicBezTo>
                <a:cubicBezTo>
                  <a:pt x="657" y="223"/>
                  <a:pt x="656" y="224"/>
                  <a:pt x="655" y="223"/>
                </a:cubicBezTo>
                <a:cubicBezTo>
                  <a:pt x="653" y="223"/>
                  <a:pt x="653" y="221"/>
                  <a:pt x="650" y="224"/>
                </a:cubicBezTo>
                <a:cubicBezTo>
                  <a:pt x="653" y="220"/>
                  <a:pt x="649" y="222"/>
                  <a:pt x="648" y="221"/>
                </a:cubicBezTo>
                <a:cubicBezTo>
                  <a:pt x="648" y="222"/>
                  <a:pt x="647" y="215"/>
                  <a:pt x="647" y="215"/>
                </a:cubicBezTo>
                <a:cubicBezTo>
                  <a:pt x="647" y="214"/>
                  <a:pt x="648" y="211"/>
                  <a:pt x="648" y="209"/>
                </a:cubicBezTo>
                <a:cubicBezTo>
                  <a:pt x="648" y="210"/>
                  <a:pt x="648" y="210"/>
                  <a:pt x="647" y="210"/>
                </a:cubicBezTo>
                <a:cubicBezTo>
                  <a:pt x="647" y="210"/>
                  <a:pt x="647" y="209"/>
                  <a:pt x="648" y="208"/>
                </a:cubicBezTo>
                <a:cubicBezTo>
                  <a:pt x="648" y="208"/>
                  <a:pt x="648" y="208"/>
                  <a:pt x="648" y="208"/>
                </a:cubicBezTo>
                <a:cubicBezTo>
                  <a:pt x="647" y="208"/>
                  <a:pt x="647" y="209"/>
                  <a:pt x="647" y="209"/>
                </a:cubicBezTo>
                <a:cubicBezTo>
                  <a:pt x="647" y="209"/>
                  <a:pt x="647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4" y="211"/>
                  <a:pt x="639" y="212"/>
                  <a:pt x="635" y="212"/>
                </a:cubicBezTo>
                <a:cubicBezTo>
                  <a:pt x="635" y="213"/>
                  <a:pt x="635" y="214"/>
                  <a:pt x="635" y="214"/>
                </a:cubicBezTo>
                <a:cubicBezTo>
                  <a:pt x="634" y="214"/>
                  <a:pt x="634" y="213"/>
                  <a:pt x="634" y="212"/>
                </a:cubicBezTo>
                <a:cubicBezTo>
                  <a:pt x="633" y="212"/>
                  <a:pt x="633" y="212"/>
                  <a:pt x="633" y="212"/>
                </a:cubicBezTo>
                <a:cubicBezTo>
                  <a:pt x="633" y="211"/>
                  <a:pt x="633" y="210"/>
                  <a:pt x="635" y="210"/>
                </a:cubicBezTo>
                <a:cubicBezTo>
                  <a:pt x="634" y="210"/>
                  <a:pt x="634" y="209"/>
                  <a:pt x="634" y="209"/>
                </a:cubicBezTo>
                <a:cubicBezTo>
                  <a:pt x="633" y="208"/>
                  <a:pt x="634" y="207"/>
                  <a:pt x="635" y="206"/>
                </a:cubicBezTo>
                <a:cubicBezTo>
                  <a:pt x="634" y="205"/>
                  <a:pt x="634" y="204"/>
                  <a:pt x="635" y="203"/>
                </a:cubicBezTo>
                <a:cubicBezTo>
                  <a:pt x="636" y="203"/>
                  <a:pt x="636" y="203"/>
                  <a:pt x="637" y="203"/>
                </a:cubicBezTo>
                <a:cubicBezTo>
                  <a:pt x="637" y="202"/>
                  <a:pt x="636" y="202"/>
                  <a:pt x="635" y="203"/>
                </a:cubicBezTo>
                <a:cubicBezTo>
                  <a:pt x="634" y="203"/>
                  <a:pt x="632" y="206"/>
                  <a:pt x="632" y="206"/>
                </a:cubicBezTo>
                <a:cubicBezTo>
                  <a:pt x="632" y="207"/>
                  <a:pt x="632" y="207"/>
                  <a:pt x="633" y="207"/>
                </a:cubicBezTo>
                <a:cubicBezTo>
                  <a:pt x="629" y="209"/>
                  <a:pt x="629" y="201"/>
                  <a:pt x="631" y="201"/>
                </a:cubicBezTo>
                <a:cubicBezTo>
                  <a:pt x="631" y="201"/>
                  <a:pt x="632" y="203"/>
                  <a:pt x="632" y="203"/>
                </a:cubicBezTo>
                <a:cubicBezTo>
                  <a:pt x="633" y="203"/>
                  <a:pt x="636" y="199"/>
                  <a:pt x="638" y="198"/>
                </a:cubicBezTo>
                <a:cubicBezTo>
                  <a:pt x="638" y="198"/>
                  <a:pt x="638" y="197"/>
                  <a:pt x="639" y="197"/>
                </a:cubicBezTo>
                <a:cubicBezTo>
                  <a:pt x="639" y="196"/>
                  <a:pt x="637" y="195"/>
                  <a:pt x="637" y="194"/>
                </a:cubicBezTo>
                <a:cubicBezTo>
                  <a:pt x="637" y="193"/>
                  <a:pt x="639" y="193"/>
                  <a:pt x="639" y="193"/>
                </a:cubicBezTo>
                <a:cubicBezTo>
                  <a:pt x="639" y="192"/>
                  <a:pt x="640" y="189"/>
                  <a:pt x="639" y="189"/>
                </a:cubicBezTo>
                <a:cubicBezTo>
                  <a:pt x="639" y="188"/>
                  <a:pt x="637" y="189"/>
                  <a:pt x="638" y="190"/>
                </a:cubicBezTo>
                <a:cubicBezTo>
                  <a:pt x="638" y="190"/>
                  <a:pt x="636" y="188"/>
                  <a:pt x="637" y="187"/>
                </a:cubicBezTo>
                <a:cubicBezTo>
                  <a:pt x="637" y="187"/>
                  <a:pt x="637" y="187"/>
                  <a:pt x="637" y="187"/>
                </a:cubicBezTo>
                <a:cubicBezTo>
                  <a:pt x="637" y="186"/>
                  <a:pt x="637" y="186"/>
                  <a:pt x="636" y="186"/>
                </a:cubicBezTo>
                <a:cubicBezTo>
                  <a:pt x="636" y="187"/>
                  <a:pt x="636" y="188"/>
                  <a:pt x="636" y="188"/>
                </a:cubicBezTo>
                <a:cubicBezTo>
                  <a:pt x="636" y="188"/>
                  <a:pt x="636" y="188"/>
                  <a:pt x="637" y="188"/>
                </a:cubicBezTo>
                <a:cubicBezTo>
                  <a:pt x="637" y="189"/>
                  <a:pt x="637" y="189"/>
                  <a:pt x="636" y="189"/>
                </a:cubicBezTo>
                <a:cubicBezTo>
                  <a:pt x="637" y="190"/>
                  <a:pt x="636" y="191"/>
                  <a:pt x="635" y="190"/>
                </a:cubicBezTo>
                <a:cubicBezTo>
                  <a:pt x="635" y="190"/>
                  <a:pt x="635" y="190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4" y="190"/>
                  <a:pt x="633" y="190"/>
                  <a:pt x="632" y="189"/>
                </a:cubicBezTo>
                <a:cubicBezTo>
                  <a:pt x="631" y="188"/>
                  <a:pt x="631" y="186"/>
                  <a:pt x="632" y="185"/>
                </a:cubicBezTo>
                <a:cubicBezTo>
                  <a:pt x="632" y="185"/>
                  <a:pt x="632" y="185"/>
                  <a:pt x="631" y="185"/>
                </a:cubicBezTo>
                <a:cubicBezTo>
                  <a:pt x="630" y="186"/>
                  <a:pt x="632" y="185"/>
                  <a:pt x="631" y="184"/>
                </a:cubicBezTo>
                <a:cubicBezTo>
                  <a:pt x="630" y="184"/>
                  <a:pt x="630" y="185"/>
                  <a:pt x="630" y="185"/>
                </a:cubicBezTo>
                <a:cubicBezTo>
                  <a:pt x="629" y="185"/>
                  <a:pt x="630" y="185"/>
                  <a:pt x="630" y="185"/>
                </a:cubicBezTo>
                <a:cubicBezTo>
                  <a:pt x="629" y="185"/>
                  <a:pt x="629" y="186"/>
                  <a:pt x="628" y="185"/>
                </a:cubicBezTo>
                <a:cubicBezTo>
                  <a:pt x="625" y="185"/>
                  <a:pt x="628" y="181"/>
                  <a:pt x="626" y="179"/>
                </a:cubicBezTo>
                <a:cubicBezTo>
                  <a:pt x="625" y="180"/>
                  <a:pt x="624" y="180"/>
                  <a:pt x="624" y="180"/>
                </a:cubicBezTo>
                <a:cubicBezTo>
                  <a:pt x="623" y="181"/>
                  <a:pt x="623" y="182"/>
                  <a:pt x="623" y="183"/>
                </a:cubicBezTo>
                <a:cubicBezTo>
                  <a:pt x="624" y="184"/>
                  <a:pt x="625" y="185"/>
                  <a:pt x="624" y="186"/>
                </a:cubicBezTo>
                <a:cubicBezTo>
                  <a:pt x="624" y="191"/>
                  <a:pt x="618" y="190"/>
                  <a:pt x="617" y="188"/>
                </a:cubicBezTo>
                <a:cubicBezTo>
                  <a:pt x="616" y="188"/>
                  <a:pt x="615" y="188"/>
                  <a:pt x="615" y="189"/>
                </a:cubicBezTo>
                <a:cubicBezTo>
                  <a:pt x="615" y="189"/>
                  <a:pt x="616" y="188"/>
                  <a:pt x="615" y="188"/>
                </a:cubicBezTo>
                <a:cubicBezTo>
                  <a:pt x="614" y="189"/>
                  <a:pt x="612" y="190"/>
                  <a:pt x="610" y="190"/>
                </a:cubicBezTo>
                <a:cubicBezTo>
                  <a:pt x="609" y="191"/>
                  <a:pt x="607" y="191"/>
                  <a:pt x="607" y="191"/>
                </a:cubicBezTo>
                <a:cubicBezTo>
                  <a:pt x="607" y="190"/>
                  <a:pt x="608" y="190"/>
                  <a:pt x="609" y="189"/>
                </a:cubicBezTo>
                <a:cubicBezTo>
                  <a:pt x="609" y="189"/>
                  <a:pt x="608" y="189"/>
                  <a:pt x="608" y="189"/>
                </a:cubicBezTo>
                <a:cubicBezTo>
                  <a:pt x="608" y="188"/>
                  <a:pt x="607" y="187"/>
                  <a:pt x="607" y="186"/>
                </a:cubicBezTo>
                <a:cubicBezTo>
                  <a:pt x="606" y="186"/>
                  <a:pt x="604" y="186"/>
                  <a:pt x="605" y="183"/>
                </a:cubicBezTo>
                <a:cubicBezTo>
                  <a:pt x="606" y="181"/>
                  <a:pt x="605" y="180"/>
                  <a:pt x="605" y="179"/>
                </a:cubicBezTo>
                <a:cubicBezTo>
                  <a:pt x="605" y="179"/>
                  <a:pt x="606" y="178"/>
                  <a:pt x="605" y="177"/>
                </a:cubicBezTo>
                <a:cubicBezTo>
                  <a:pt x="604" y="179"/>
                  <a:pt x="603" y="181"/>
                  <a:pt x="601" y="183"/>
                </a:cubicBezTo>
                <a:cubicBezTo>
                  <a:pt x="604" y="184"/>
                  <a:pt x="606" y="186"/>
                  <a:pt x="602" y="189"/>
                </a:cubicBezTo>
                <a:cubicBezTo>
                  <a:pt x="602" y="189"/>
                  <a:pt x="601" y="189"/>
                  <a:pt x="600" y="190"/>
                </a:cubicBezTo>
                <a:cubicBezTo>
                  <a:pt x="602" y="190"/>
                  <a:pt x="602" y="194"/>
                  <a:pt x="599" y="193"/>
                </a:cubicBezTo>
                <a:cubicBezTo>
                  <a:pt x="598" y="192"/>
                  <a:pt x="599" y="191"/>
                  <a:pt x="599" y="191"/>
                </a:cubicBezTo>
                <a:cubicBezTo>
                  <a:pt x="600" y="190"/>
                  <a:pt x="600" y="190"/>
                  <a:pt x="600" y="190"/>
                </a:cubicBezTo>
                <a:cubicBezTo>
                  <a:pt x="598" y="190"/>
                  <a:pt x="596" y="191"/>
                  <a:pt x="595" y="192"/>
                </a:cubicBezTo>
                <a:cubicBezTo>
                  <a:pt x="593" y="194"/>
                  <a:pt x="594" y="195"/>
                  <a:pt x="592" y="194"/>
                </a:cubicBezTo>
                <a:cubicBezTo>
                  <a:pt x="592" y="193"/>
                  <a:pt x="591" y="192"/>
                  <a:pt x="590" y="193"/>
                </a:cubicBezTo>
                <a:cubicBezTo>
                  <a:pt x="590" y="193"/>
                  <a:pt x="587" y="198"/>
                  <a:pt x="587" y="195"/>
                </a:cubicBezTo>
                <a:cubicBezTo>
                  <a:pt x="587" y="194"/>
                  <a:pt x="588" y="194"/>
                  <a:pt x="588" y="194"/>
                </a:cubicBezTo>
                <a:cubicBezTo>
                  <a:pt x="587" y="193"/>
                  <a:pt x="584" y="194"/>
                  <a:pt x="583" y="193"/>
                </a:cubicBezTo>
                <a:cubicBezTo>
                  <a:pt x="583" y="192"/>
                  <a:pt x="587" y="190"/>
                  <a:pt x="584" y="189"/>
                </a:cubicBezTo>
                <a:cubicBezTo>
                  <a:pt x="583" y="188"/>
                  <a:pt x="583" y="188"/>
                  <a:pt x="583" y="188"/>
                </a:cubicBezTo>
                <a:cubicBezTo>
                  <a:pt x="583" y="188"/>
                  <a:pt x="583" y="188"/>
                  <a:pt x="583" y="187"/>
                </a:cubicBezTo>
                <a:cubicBezTo>
                  <a:pt x="584" y="186"/>
                  <a:pt x="584" y="185"/>
                  <a:pt x="583" y="185"/>
                </a:cubicBezTo>
                <a:cubicBezTo>
                  <a:pt x="582" y="186"/>
                  <a:pt x="581" y="186"/>
                  <a:pt x="580" y="185"/>
                </a:cubicBezTo>
                <a:cubicBezTo>
                  <a:pt x="580" y="184"/>
                  <a:pt x="581" y="184"/>
                  <a:pt x="581" y="183"/>
                </a:cubicBezTo>
                <a:cubicBezTo>
                  <a:pt x="582" y="183"/>
                  <a:pt x="582" y="183"/>
                  <a:pt x="582" y="183"/>
                </a:cubicBezTo>
                <a:cubicBezTo>
                  <a:pt x="581" y="182"/>
                  <a:pt x="580" y="182"/>
                  <a:pt x="579" y="182"/>
                </a:cubicBezTo>
                <a:cubicBezTo>
                  <a:pt x="578" y="181"/>
                  <a:pt x="580" y="179"/>
                  <a:pt x="580" y="178"/>
                </a:cubicBezTo>
                <a:cubicBezTo>
                  <a:pt x="578" y="176"/>
                  <a:pt x="577" y="179"/>
                  <a:pt x="574" y="179"/>
                </a:cubicBezTo>
                <a:cubicBezTo>
                  <a:pt x="574" y="179"/>
                  <a:pt x="572" y="177"/>
                  <a:pt x="570" y="179"/>
                </a:cubicBezTo>
                <a:cubicBezTo>
                  <a:pt x="569" y="180"/>
                  <a:pt x="571" y="182"/>
                  <a:pt x="568" y="184"/>
                </a:cubicBezTo>
                <a:cubicBezTo>
                  <a:pt x="567" y="184"/>
                  <a:pt x="562" y="186"/>
                  <a:pt x="562" y="185"/>
                </a:cubicBezTo>
                <a:cubicBezTo>
                  <a:pt x="561" y="184"/>
                  <a:pt x="563" y="184"/>
                  <a:pt x="563" y="184"/>
                </a:cubicBezTo>
                <a:cubicBezTo>
                  <a:pt x="564" y="182"/>
                  <a:pt x="562" y="180"/>
                  <a:pt x="562" y="181"/>
                </a:cubicBezTo>
                <a:cubicBezTo>
                  <a:pt x="563" y="179"/>
                  <a:pt x="565" y="179"/>
                  <a:pt x="565" y="178"/>
                </a:cubicBezTo>
                <a:cubicBezTo>
                  <a:pt x="565" y="178"/>
                  <a:pt x="565" y="178"/>
                  <a:pt x="564" y="178"/>
                </a:cubicBezTo>
                <a:cubicBezTo>
                  <a:pt x="564" y="177"/>
                  <a:pt x="565" y="177"/>
                  <a:pt x="565" y="177"/>
                </a:cubicBezTo>
                <a:cubicBezTo>
                  <a:pt x="565" y="176"/>
                  <a:pt x="564" y="174"/>
                  <a:pt x="565" y="173"/>
                </a:cubicBezTo>
                <a:cubicBezTo>
                  <a:pt x="565" y="173"/>
                  <a:pt x="565" y="173"/>
                  <a:pt x="565" y="173"/>
                </a:cubicBezTo>
                <a:cubicBezTo>
                  <a:pt x="565" y="173"/>
                  <a:pt x="565" y="172"/>
                  <a:pt x="565" y="172"/>
                </a:cubicBezTo>
                <a:cubicBezTo>
                  <a:pt x="564" y="172"/>
                  <a:pt x="564" y="171"/>
                  <a:pt x="566" y="170"/>
                </a:cubicBezTo>
                <a:cubicBezTo>
                  <a:pt x="566" y="170"/>
                  <a:pt x="566" y="170"/>
                  <a:pt x="566" y="170"/>
                </a:cubicBezTo>
                <a:cubicBezTo>
                  <a:pt x="566" y="170"/>
                  <a:pt x="565" y="170"/>
                  <a:pt x="565" y="170"/>
                </a:cubicBezTo>
                <a:cubicBezTo>
                  <a:pt x="564" y="170"/>
                  <a:pt x="563" y="170"/>
                  <a:pt x="563" y="169"/>
                </a:cubicBezTo>
                <a:cubicBezTo>
                  <a:pt x="562" y="169"/>
                  <a:pt x="562" y="169"/>
                  <a:pt x="562" y="169"/>
                </a:cubicBezTo>
                <a:cubicBezTo>
                  <a:pt x="562" y="169"/>
                  <a:pt x="562" y="168"/>
                  <a:pt x="563" y="167"/>
                </a:cubicBezTo>
                <a:cubicBezTo>
                  <a:pt x="563" y="167"/>
                  <a:pt x="563" y="166"/>
                  <a:pt x="562" y="166"/>
                </a:cubicBezTo>
                <a:cubicBezTo>
                  <a:pt x="563" y="165"/>
                  <a:pt x="566" y="165"/>
                  <a:pt x="568" y="164"/>
                </a:cubicBezTo>
                <a:cubicBezTo>
                  <a:pt x="567" y="165"/>
                  <a:pt x="568" y="167"/>
                  <a:pt x="569" y="165"/>
                </a:cubicBezTo>
                <a:cubicBezTo>
                  <a:pt x="571" y="164"/>
                  <a:pt x="569" y="164"/>
                  <a:pt x="569" y="164"/>
                </a:cubicBezTo>
                <a:cubicBezTo>
                  <a:pt x="569" y="164"/>
                  <a:pt x="570" y="163"/>
                  <a:pt x="569" y="162"/>
                </a:cubicBezTo>
                <a:cubicBezTo>
                  <a:pt x="569" y="162"/>
                  <a:pt x="569" y="162"/>
                  <a:pt x="569" y="162"/>
                </a:cubicBezTo>
                <a:cubicBezTo>
                  <a:pt x="567" y="163"/>
                  <a:pt x="565" y="164"/>
                  <a:pt x="563" y="163"/>
                </a:cubicBezTo>
                <a:cubicBezTo>
                  <a:pt x="563" y="163"/>
                  <a:pt x="563" y="163"/>
                  <a:pt x="563" y="164"/>
                </a:cubicBezTo>
                <a:cubicBezTo>
                  <a:pt x="563" y="164"/>
                  <a:pt x="564" y="164"/>
                  <a:pt x="564" y="164"/>
                </a:cubicBezTo>
                <a:cubicBezTo>
                  <a:pt x="563" y="165"/>
                  <a:pt x="563" y="164"/>
                  <a:pt x="563" y="163"/>
                </a:cubicBezTo>
                <a:cubicBezTo>
                  <a:pt x="562" y="163"/>
                  <a:pt x="562" y="162"/>
                  <a:pt x="562" y="161"/>
                </a:cubicBezTo>
                <a:cubicBezTo>
                  <a:pt x="562" y="160"/>
                  <a:pt x="564" y="158"/>
                  <a:pt x="567" y="158"/>
                </a:cubicBezTo>
                <a:cubicBezTo>
                  <a:pt x="566" y="157"/>
                  <a:pt x="565" y="156"/>
                  <a:pt x="566" y="155"/>
                </a:cubicBezTo>
                <a:cubicBezTo>
                  <a:pt x="566" y="153"/>
                  <a:pt x="570" y="153"/>
                  <a:pt x="569" y="152"/>
                </a:cubicBezTo>
                <a:cubicBezTo>
                  <a:pt x="570" y="152"/>
                  <a:pt x="572" y="151"/>
                  <a:pt x="574" y="151"/>
                </a:cubicBezTo>
                <a:cubicBezTo>
                  <a:pt x="576" y="153"/>
                  <a:pt x="575" y="153"/>
                  <a:pt x="579" y="152"/>
                </a:cubicBezTo>
                <a:cubicBezTo>
                  <a:pt x="579" y="152"/>
                  <a:pt x="580" y="151"/>
                  <a:pt x="581" y="151"/>
                </a:cubicBezTo>
                <a:cubicBezTo>
                  <a:pt x="584" y="150"/>
                  <a:pt x="583" y="150"/>
                  <a:pt x="582" y="148"/>
                </a:cubicBezTo>
                <a:cubicBezTo>
                  <a:pt x="584" y="150"/>
                  <a:pt x="583" y="148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0" y="147"/>
                  <a:pt x="580" y="147"/>
                </a:cubicBezTo>
                <a:cubicBezTo>
                  <a:pt x="580" y="147"/>
                  <a:pt x="579" y="149"/>
                  <a:pt x="578" y="148"/>
                </a:cubicBezTo>
                <a:cubicBezTo>
                  <a:pt x="577" y="147"/>
                  <a:pt x="581" y="144"/>
                  <a:pt x="577" y="144"/>
                </a:cubicBezTo>
                <a:cubicBezTo>
                  <a:pt x="583" y="142"/>
                  <a:pt x="575" y="140"/>
                  <a:pt x="573" y="139"/>
                </a:cubicBezTo>
                <a:cubicBezTo>
                  <a:pt x="572" y="138"/>
                  <a:pt x="571" y="137"/>
                  <a:pt x="570" y="135"/>
                </a:cubicBezTo>
                <a:cubicBezTo>
                  <a:pt x="570" y="135"/>
                  <a:pt x="569" y="134"/>
                  <a:pt x="569" y="134"/>
                </a:cubicBezTo>
                <a:cubicBezTo>
                  <a:pt x="569" y="134"/>
                  <a:pt x="569" y="134"/>
                  <a:pt x="569" y="133"/>
                </a:cubicBezTo>
                <a:cubicBezTo>
                  <a:pt x="569" y="133"/>
                  <a:pt x="568" y="132"/>
                  <a:pt x="568" y="132"/>
                </a:cubicBezTo>
                <a:cubicBezTo>
                  <a:pt x="567" y="132"/>
                  <a:pt x="567" y="132"/>
                  <a:pt x="567" y="132"/>
                </a:cubicBezTo>
                <a:cubicBezTo>
                  <a:pt x="567" y="132"/>
                  <a:pt x="566" y="133"/>
                  <a:pt x="566" y="133"/>
                </a:cubicBezTo>
                <a:cubicBezTo>
                  <a:pt x="566" y="134"/>
                  <a:pt x="564" y="135"/>
                  <a:pt x="563" y="135"/>
                </a:cubicBezTo>
                <a:cubicBezTo>
                  <a:pt x="562" y="135"/>
                  <a:pt x="561" y="134"/>
                  <a:pt x="561" y="133"/>
                </a:cubicBezTo>
                <a:cubicBezTo>
                  <a:pt x="560" y="134"/>
                  <a:pt x="559" y="134"/>
                  <a:pt x="558" y="134"/>
                </a:cubicBezTo>
                <a:cubicBezTo>
                  <a:pt x="557" y="134"/>
                  <a:pt x="559" y="133"/>
                  <a:pt x="560" y="133"/>
                </a:cubicBezTo>
                <a:cubicBezTo>
                  <a:pt x="560" y="132"/>
                  <a:pt x="560" y="131"/>
                  <a:pt x="561" y="131"/>
                </a:cubicBezTo>
                <a:cubicBezTo>
                  <a:pt x="560" y="131"/>
                  <a:pt x="558" y="131"/>
                  <a:pt x="557" y="131"/>
                </a:cubicBezTo>
                <a:cubicBezTo>
                  <a:pt x="557" y="131"/>
                  <a:pt x="557" y="131"/>
                  <a:pt x="557" y="131"/>
                </a:cubicBezTo>
                <a:cubicBezTo>
                  <a:pt x="558" y="131"/>
                  <a:pt x="559" y="131"/>
                  <a:pt x="559" y="132"/>
                </a:cubicBezTo>
                <a:cubicBezTo>
                  <a:pt x="558" y="132"/>
                  <a:pt x="557" y="132"/>
                  <a:pt x="556" y="132"/>
                </a:cubicBezTo>
                <a:cubicBezTo>
                  <a:pt x="555" y="132"/>
                  <a:pt x="555" y="132"/>
                  <a:pt x="555" y="133"/>
                </a:cubicBezTo>
                <a:cubicBezTo>
                  <a:pt x="556" y="133"/>
                  <a:pt x="555" y="135"/>
                  <a:pt x="554" y="134"/>
                </a:cubicBezTo>
                <a:cubicBezTo>
                  <a:pt x="553" y="135"/>
                  <a:pt x="552" y="135"/>
                  <a:pt x="552" y="135"/>
                </a:cubicBezTo>
                <a:cubicBezTo>
                  <a:pt x="552" y="134"/>
                  <a:pt x="552" y="134"/>
                  <a:pt x="553" y="133"/>
                </a:cubicBezTo>
                <a:cubicBezTo>
                  <a:pt x="552" y="133"/>
                  <a:pt x="551" y="131"/>
                  <a:pt x="553" y="132"/>
                </a:cubicBezTo>
                <a:cubicBezTo>
                  <a:pt x="553" y="132"/>
                  <a:pt x="553" y="132"/>
                  <a:pt x="553" y="132"/>
                </a:cubicBezTo>
                <a:cubicBezTo>
                  <a:pt x="553" y="133"/>
                  <a:pt x="553" y="133"/>
                  <a:pt x="553" y="133"/>
                </a:cubicBezTo>
                <a:cubicBezTo>
                  <a:pt x="554" y="133"/>
                  <a:pt x="554" y="132"/>
                  <a:pt x="554" y="132"/>
                </a:cubicBezTo>
                <a:cubicBezTo>
                  <a:pt x="553" y="132"/>
                  <a:pt x="552" y="131"/>
                  <a:pt x="552" y="131"/>
                </a:cubicBezTo>
                <a:cubicBezTo>
                  <a:pt x="552" y="131"/>
                  <a:pt x="553" y="131"/>
                  <a:pt x="555" y="131"/>
                </a:cubicBezTo>
                <a:cubicBezTo>
                  <a:pt x="554" y="130"/>
                  <a:pt x="554" y="130"/>
                  <a:pt x="554" y="130"/>
                </a:cubicBezTo>
                <a:cubicBezTo>
                  <a:pt x="553" y="130"/>
                  <a:pt x="552" y="131"/>
                  <a:pt x="552" y="131"/>
                </a:cubicBezTo>
                <a:cubicBezTo>
                  <a:pt x="551" y="130"/>
                  <a:pt x="550" y="127"/>
                  <a:pt x="548" y="129"/>
                </a:cubicBezTo>
                <a:cubicBezTo>
                  <a:pt x="548" y="130"/>
                  <a:pt x="549" y="131"/>
                  <a:pt x="549" y="130"/>
                </a:cubicBezTo>
                <a:cubicBezTo>
                  <a:pt x="549" y="131"/>
                  <a:pt x="549" y="131"/>
                  <a:pt x="549" y="131"/>
                </a:cubicBezTo>
                <a:cubicBezTo>
                  <a:pt x="549" y="131"/>
                  <a:pt x="549" y="131"/>
                  <a:pt x="550" y="131"/>
                </a:cubicBezTo>
                <a:cubicBezTo>
                  <a:pt x="551" y="131"/>
                  <a:pt x="549" y="133"/>
                  <a:pt x="549" y="132"/>
                </a:cubicBezTo>
                <a:cubicBezTo>
                  <a:pt x="549" y="132"/>
                  <a:pt x="549" y="132"/>
                  <a:pt x="549" y="132"/>
                </a:cubicBezTo>
                <a:cubicBezTo>
                  <a:pt x="548" y="133"/>
                  <a:pt x="544" y="131"/>
                  <a:pt x="543" y="131"/>
                </a:cubicBezTo>
                <a:cubicBezTo>
                  <a:pt x="545" y="130"/>
                  <a:pt x="543" y="130"/>
                  <a:pt x="542" y="129"/>
                </a:cubicBezTo>
                <a:cubicBezTo>
                  <a:pt x="540" y="130"/>
                  <a:pt x="539" y="131"/>
                  <a:pt x="537" y="132"/>
                </a:cubicBezTo>
                <a:cubicBezTo>
                  <a:pt x="538" y="130"/>
                  <a:pt x="540" y="129"/>
                  <a:pt x="542" y="129"/>
                </a:cubicBezTo>
                <a:cubicBezTo>
                  <a:pt x="541" y="128"/>
                  <a:pt x="541" y="127"/>
                  <a:pt x="541" y="127"/>
                </a:cubicBezTo>
                <a:cubicBezTo>
                  <a:pt x="542" y="125"/>
                  <a:pt x="546" y="126"/>
                  <a:pt x="546" y="124"/>
                </a:cubicBezTo>
                <a:cubicBezTo>
                  <a:pt x="547" y="123"/>
                  <a:pt x="545" y="124"/>
                  <a:pt x="545" y="124"/>
                </a:cubicBezTo>
                <a:cubicBezTo>
                  <a:pt x="546" y="122"/>
                  <a:pt x="547" y="121"/>
                  <a:pt x="545" y="120"/>
                </a:cubicBezTo>
                <a:cubicBezTo>
                  <a:pt x="545" y="120"/>
                  <a:pt x="540" y="120"/>
                  <a:pt x="538" y="120"/>
                </a:cubicBezTo>
                <a:cubicBezTo>
                  <a:pt x="536" y="120"/>
                  <a:pt x="534" y="121"/>
                  <a:pt x="531" y="119"/>
                </a:cubicBezTo>
                <a:cubicBezTo>
                  <a:pt x="534" y="119"/>
                  <a:pt x="535" y="117"/>
                  <a:pt x="537" y="117"/>
                </a:cubicBezTo>
                <a:cubicBezTo>
                  <a:pt x="537" y="117"/>
                  <a:pt x="537" y="116"/>
                  <a:pt x="537" y="116"/>
                </a:cubicBezTo>
                <a:cubicBezTo>
                  <a:pt x="537" y="116"/>
                  <a:pt x="537" y="117"/>
                  <a:pt x="537" y="117"/>
                </a:cubicBezTo>
                <a:cubicBezTo>
                  <a:pt x="538" y="116"/>
                  <a:pt x="538" y="116"/>
                  <a:pt x="539" y="116"/>
                </a:cubicBezTo>
                <a:cubicBezTo>
                  <a:pt x="542" y="115"/>
                  <a:pt x="545" y="118"/>
                  <a:pt x="548" y="117"/>
                </a:cubicBezTo>
                <a:cubicBezTo>
                  <a:pt x="548" y="117"/>
                  <a:pt x="551" y="114"/>
                  <a:pt x="552" y="114"/>
                </a:cubicBezTo>
                <a:cubicBezTo>
                  <a:pt x="553" y="114"/>
                  <a:pt x="554" y="115"/>
                  <a:pt x="554" y="114"/>
                </a:cubicBezTo>
                <a:cubicBezTo>
                  <a:pt x="553" y="114"/>
                  <a:pt x="553" y="113"/>
                  <a:pt x="553" y="113"/>
                </a:cubicBezTo>
                <a:cubicBezTo>
                  <a:pt x="553" y="113"/>
                  <a:pt x="552" y="113"/>
                  <a:pt x="552" y="113"/>
                </a:cubicBezTo>
                <a:cubicBezTo>
                  <a:pt x="552" y="114"/>
                  <a:pt x="551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8" y="114"/>
                  <a:pt x="547" y="114"/>
                  <a:pt x="547" y="114"/>
                </a:cubicBezTo>
                <a:cubicBezTo>
                  <a:pt x="547" y="114"/>
                  <a:pt x="547" y="113"/>
                  <a:pt x="547" y="113"/>
                </a:cubicBezTo>
                <a:cubicBezTo>
                  <a:pt x="547" y="112"/>
                  <a:pt x="548" y="111"/>
                  <a:pt x="549" y="110"/>
                </a:cubicBezTo>
                <a:cubicBezTo>
                  <a:pt x="550" y="110"/>
                  <a:pt x="552" y="111"/>
                  <a:pt x="552" y="112"/>
                </a:cubicBezTo>
                <a:cubicBezTo>
                  <a:pt x="552" y="112"/>
                  <a:pt x="552" y="112"/>
                  <a:pt x="553" y="112"/>
                </a:cubicBezTo>
                <a:cubicBezTo>
                  <a:pt x="552" y="111"/>
                  <a:pt x="554" y="110"/>
                  <a:pt x="555" y="111"/>
                </a:cubicBezTo>
                <a:cubicBezTo>
                  <a:pt x="555" y="110"/>
                  <a:pt x="555" y="110"/>
                  <a:pt x="554" y="109"/>
                </a:cubicBezTo>
                <a:cubicBezTo>
                  <a:pt x="554" y="110"/>
                  <a:pt x="554" y="110"/>
                  <a:pt x="554" y="110"/>
                </a:cubicBezTo>
                <a:cubicBezTo>
                  <a:pt x="554" y="110"/>
                  <a:pt x="554" y="109"/>
                  <a:pt x="554" y="109"/>
                </a:cubicBezTo>
                <a:cubicBezTo>
                  <a:pt x="553" y="108"/>
                  <a:pt x="550" y="108"/>
                  <a:pt x="549" y="107"/>
                </a:cubicBezTo>
                <a:cubicBezTo>
                  <a:pt x="550" y="106"/>
                  <a:pt x="551" y="106"/>
                  <a:pt x="550" y="105"/>
                </a:cubicBezTo>
                <a:cubicBezTo>
                  <a:pt x="549" y="106"/>
                  <a:pt x="546" y="106"/>
                  <a:pt x="548" y="104"/>
                </a:cubicBezTo>
                <a:cubicBezTo>
                  <a:pt x="548" y="104"/>
                  <a:pt x="548" y="104"/>
                  <a:pt x="548" y="104"/>
                </a:cubicBezTo>
                <a:cubicBezTo>
                  <a:pt x="548" y="104"/>
                  <a:pt x="547" y="103"/>
                  <a:pt x="547" y="103"/>
                </a:cubicBezTo>
                <a:cubicBezTo>
                  <a:pt x="545" y="104"/>
                  <a:pt x="543" y="105"/>
                  <a:pt x="541" y="106"/>
                </a:cubicBezTo>
                <a:cubicBezTo>
                  <a:pt x="537" y="107"/>
                  <a:pt x="541" y="104"/>
                  <a:pt x="543" y="103"/>
                </a:cubicBezTo>
                <a:cubicBezTo>
                  <a:pt x="544" y="103"/>
                  <a:pt x="546" y="102"/>
                  <a:pt x="548" y="101"/>
                </a:cubicBezTo>
                <a:cubicBezTo>
                  <a:pt x="548" y="101"/>
                  <a:pt x="548" y="101"/>
                  <a:pt x="548" y="100"/>
                </a:cubicBezTo>
                <a:cubicBezTo>
                  <a:pt x="549" y="100"/>
                  <a:pt x="549" y="100"/>
                  <a:pt x="550" y="100"/>
                </a:cubicBezTo>
                <a:cubicBezTo>
                  <a:pt x="552" y="99"/>
                  <a:pt x="553" y="99"/>
                  <a:pt x="554" y="98"/>
                </a:cubicBezTo>
                <a:cubicBezTo>
                  <a:pt x="555" y="97"/>
                  <a:pt x="555" y="95"/>
                  <a:pt x="555" y="94"/>
                </a:cubicBezTo>
                <a:cubicBezTo>
                  <a:pt x="554" y="95"/>
                  <a:pt x="554" y="94"/>
                  <a:pt x="553" y="94"/>
                </a:cubicBezTo>
                <a:cubicBezTo>
                  <a:pt x="553" y="94"/>
                  <a:pt x="553" y="94"/>
                  <a:pt x="553" y="94"/>
                </a:cubicBezTo>
                <a:cubicBezTo>
                  <a:pt x="553" y="94"/>
                  <a:pt x="553" y="94"/>
                  <a:pt x="552" y="94"/>
                </a:cubicBezTo>
                <a:cubicBezTo>
                  <a:pt x="552" y="94"/>
                  <a:pt x="550" y="93"/>
                  <a:pt x="550" y="93"/>
                </a:cubicBezTo>
                <a:cubicBezTo>
                  <a:pt x="550" y="93"/>
                  <a:pt x="550" y="93"/>
                  <a:pt x="550" y="92"/>
                </a:cubicBezTo>
                <a:cubicBezTo>
                  <a:pt x="549" y="91"/>
                  <a:pt x="551" y="90"/>
                  <a:pt x="552" y="90"/>
                </a:cubicBezTo>
                <a:cubicBezTo>
                  <a:pt x="552" y="89"/>
                  <a:pt x="552" y="89"/>
                  <a:pt x="553" y="88"/>
                </a:cubicBezTo>
                <a:cubicBezTo>
                  <a:pt x="553" y="88"/>
                  <a:pt x="553" y="88"/>
                  <a:pt x="553" y="88"/>
                </a:cubicBezTo>
                <a:cubicBezTo>
                  <a:pt x="552" y="87"/>
                  <a:pt x="550" y="87"/>
                  <a:pt x="549" y="87"/>
                </a:cubicBezTo>
                <a:cubicBezTo>
                  <a:pt x="548" y="87"/>
                  <a:pt x="546" y="87"/>
                  <a:pt x="546" y="86"/>
                </a:cubicBezTo>
                <a:cubicBezTo>
                  <a:pt x="545" y="86"/>
                  <a:pt x="544" y="85"/>
                  <a:pt x="544" y="84"/>
                </a:cubicBezTo>
                <a:cubicBezTo>
                  <a:pt x="543" y="85"/>
                  <a:pt x="542" y="85"/>
                  <a:pt x="542" y="84"/>
                </a:cubicBezTo>
                <a:cubicBezTo>
                  <a:pt x="541" y="84"/>
                  <a:pt x="540" y="82"/>
                  <a:pt x="542" y="81"/>
                </a:cubicBezTo>
                <a:cubicBezTo>
                  <a:pt x="542" y="81"/>
                  <a:pt x="542" y="81"/>
                  <a:pt x="542" y="81"/>
                </a:cubicBezTo>
                <a:cubicBezTo>
                  <a:pt x="541" y="80"/>
                  <a:pt x="542" y="80"/>
                  <a:pt x="542" y="79"/>
                </a:cubicBezTo>
                <a:cubicBezTo>
                  <a:pt x="541" y="80"/>
                  <a:pt x="540" y="80"/>
                  <a:pt x="539" y="80"/>
                </a:cubicBezTo>
                <a:cubicBezTo>
                  <a:pt x="539" y="80"/>
                  <a:pt x="538" y="81"/>
                  <a:pt x="539" y="82"/>
                </a:cubicBezTo>
                <a:cubicBezTo>
                  <a:pt x="538" y="82"/>
                  <a:pt x="536" y="83"/>
                  <a:pt x="535" y="84"/>
                </a:cubicBezTo>
                <a:cubicBezTo>
                  <a:pt x="534" y="85"/>
                  <a:pt x="533" y="85"/>
                  <a:pt x="532" y="86"/>
                </a:cubicBezTo>
                <a:cubicBezTo>
                  <a:pt x="532" y="86"/>
                  <a:pt x="532" y="87"/>
                  <a:pt x="532" y="87"/>
                </a:cubicBezTo>
                <a:cubicBezTo>
                  <a:pt x="531" y="87"/>
                  <a:pt x="530" y="86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8" y="87"/>
                </a:cubicBezTo>
                <a:cubicBezTo>
                  <a:pt x="527" y="87"/>
                  <a:pt x="527" y="88"/>
                  <a:pt x="526" y="88"/>
                </a:cubicBezTo>
                <a:cubicBezTo>
                  <a:pt x="526" y="88"/>
                  <a:pt x="526" y="87"/>
                  <a:pt x="526" y="87"/>
                </a:cubicBezTo>
                <a:cubicBezTo>
                  <a:pt x="525" y="85"/>
                  <a:pt x="521" y="83"/>
                  <a:pt x="520" y="81"/>
                </a:cubicBezTo>
                <a:cubicBezTo>
                  <a:pt x="520" y="79"/>
                  <a:pt x="524" y="78"/>
                  <a:pt x="525" y="76"/>
                </a:cubicBezTo>
                <a:cubicBezTo>
                  <a:pt x="526" y="76"/>
                  <a:pt x="524" y="74"/>
                  <a:pt x="525" y="74"/>
                </a:cubicBezTo>
                <a:cubicBezTo>
                  <a:pt x="526" y="73"/>
                  <a:pt x="526" y="75"/>
                  <a:pt x="527" y="75"/>
                </a:cubicBezTo>
                <a:cubicBezTo>
                  <a:pt x="528" y="76"/>
                  <a:pt x="533" y="76"/>
                  <a:pt x="535" y="76"/>
                </a:cubicBezTo>
                <a:cubicBezTo>
                  <a:pt x="536" y="76"/>
                  <a:pt x="537" y="76"/>
                  <a:pt x="538" y="77"/>
                </a:cubicBezTo>
                <a:cubicBezTo>
                  <a:pt x="539" y="75"/>
                  <a:pt x="543" y="75"/>
                  <a:pt x="543" y="74"/>
                </a:cubicBezTo>
                <a:cubicBezTo>
                  <a:pt x="544" y="74"/>
                  <a:pt x="542" y="74"/>
                  <a:pt x="542" y="73"/>
                </a:cubicBezTo>
                <a:cubicBezTo>
                  <a:pt x="543" y="73"/>
                  <a:pt x="544" y="73"/>
                  <a:pt x="545" y="74"/>
                </a:cubicBezTo>
                <a:cubicBezTo>
                  <a:pt x="547" y="73"/>
                  <a:pt x="550" y="72"/>
                  <a:pt x="553" y="72"/>
                </a:cubicBezTo>
                <a:cubicBezTo>
                  <a:pt x="552" y="71"/>
                  <a:pt x="552" y="70"/>
                  <a:pt x="551" y="70"/>
                </a:cubicBezTo>
                <a:cubicBezTo>
                  <a:pt x="551" y="70"/>
                  <a:pt x="550" y="71"/>
                  <a:pt x="550" y="71"/>
                </a:cubicBezTo>
                <a:cubicBezTo>
                  <a:pt x="550" y="71"/>
                  <a:pt x="547" y="70"/>
                  <a:pt x="545" y="69"/>
                </a:cubicBezTo>
                <a:cubicBezTo>
                  <a:pt x="544" y="69"/>
                  <a:pt x="543" y="69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2" y="67"/>
                  <a:pt x="543" y="66"/>
                  <a:pt x="542" y="66"/>
                </a:cubicBezTo>
                <a:cubicBezTo>
                  <a:pt x="540" y="64"/>
                  <a:pt x="537" y="66"/>
                  <a:pt x="535" y="66"/>
                </a:cubicBezTo>
                <a:cubicBezTo>
                  <a:pt x="535" y="66"/>
                  <a:pt x="534" y="65"/>
                  <a:pt x="534" y="65"/>
                </a:cubicBezTo>
                <a:cubicBezTo>
                  <a:pt x="534" y="65"/>
                  <a:pt x="534" y="65"/>
                  <a:pt x="534" y="65"/>
                </a:cubicBezTo>
                <a:cubicBezTo>
                  <a:pt x="534" y="67"/>
                  <a:pt x="529" y="69"/>
                  <a:pt x="528" y="68"/>
                </a:cubicBezTo>
                <a:cubicBezTo>
                  <a:pt x="527" y="66"/>
                  <a:pt x="528" y="64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2"/>
                  <a:pt x="529" y="62"/>
                </a:cubicBezTo>
                <a:cubicBezTo>
                  <a:pt x="529" y="62"/>
                  <a:pt x="529" y="62"/>
                  <a:pt x="529" y="62"/>
                </a:cubicBezTo>
                <a:cubicBezTo>
                  <a:pt x="528" y="62"/>
                  <a:pt x="527" y="63"/>
                  <a:pt x="526" y="63"/>
                </a:cubicBezTo>
                <a:cubicBezTo>
                  <a:pt x="526" y="63"/>
                  <a:pt x="526" y="63"/>
                  <a:pt x="526" y="63"/>
                </a:cubicBezTo>
                <a:cubicBezTo>
                  <a:pt x="526" y="64"/>
                  <a:pt x="526" y="64"/>
                  <a:pt x="526" y="65"/>
                </a:cubicBezTo>
                <a:cubicBezTo>
                  <a:pt x="525" y="66"/>
                  <a:pt x="522" y="66"/>
                  <a:pt x="520" y="68"/>
                </a:cubicBezTo>
                <a:cubicBezTo>
                  <a:pt x="519" y="69"/>
                  <a:pt x="517" y="72"/>
                  <a:pt x="515" y="72"/>
                </a:cubicBezTo>
                <a:cubicBezTo>
                  <a:pt x="514" y="71"/>
                  <a:pt x="514" y="70"/>
                  <a:pt x="513" y="70"/>
                </a:cubicBezTo>
                <a:cubicBezTo>
                  <a:pt x="513" y="69"/>
                  <a:pt x="513" y="70"/>
                  <a:pt x="512" y="70"/>
                </a:cubicBezTo>
                <a:cubicBezTo>
                  <a:pt x="511" y="71"/>
                  <a:pt x="510" y="70"/>
                  <a:pt x="510" y="69"/>
                </a:cubicBezTo>
                <a:cubicBezTo>
                  <a:pt x="509" y="69"/>
                  <a:pt x="508" y="69"/>
                  <a:pt x="508" y="68"/>
                </a:cubicBezTo>
                <a:cubicBezTo>
                  <a:pt x="508" y="68"/>
                  <a:pt x="509" y="67"/>
                  <a:pt x="510" y="66"/>
                </a:cubicBezTo>
                <a:cubicBezTo>
                  <a:pt x="510" y="65"/>
                  <a:pt x="511" y="65"/>
                  <a:pt x="512" y="66"/>
                </a:cubicBezTo>
                <a:cubicBezTo>
                  <a:pt x="513" y="67"/>
                  <a:pt x="513" y="66"/>
                  <a:pt x="513" y="65"/>
                </a:cubicBezTo>
                <a:cubicBezTo>
                  <a:pt x="512" y="64"/>
                  <a:pt x="511" y="64"/>
                  <a:pt x="511" y="63"/>
                </a:cubicBezTo>
                <a:cubicBezTo>
                  <a:pt x="511" y="63"/>
                  <a:pt x="511" y="62"/>
                  <a:pt x="513" y="61"/>
                </a:cubicBezTo>
                <a:cubicBezTo>
                  <a:pt x="511" y="61"/>
                  <a:pt x="510" y="60"/>
                  <a:pt x="509" y="59"/>
                </a:cubicBezTo>
                <a:cubicBezTo>
                  <a:pt x="509" y="59"/>
                  <a:pt x="510" y="56"/>
                  <a:pt x="511" y="55"/>
                </a:cubicBezTo>
                <a:cubicBezTo>
                  <a:pt x="512" y="54"/>
                  <a:pt x="515" y="54"/>
                  <a:pt x="515" y="53"/>
                </a:cubicBezTo>
                <a:cubicBezTo>
                  <a:pt x="515" y="53"/>
                  <a:pt x="514" y="53"/>
                  <a:pt x="514" y="53"/>
                </a:cubicBezTo>
                <a:cubicBezTo>
                  <a:pt x="514" y="53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2" y="54"/>
                  <a:pt x="511" y="55"/>
                  <a:pt x="510" y="54"/>
                </a:cubicBezTo>
                <a:cubicBezTo>
                  <a:pt x="510" y="54"/>
                  <a:pt x="510" y="53"/>
                  <a:pt x="510" y="53"/>
                </a:cubicBezTo>
                <a:cubicBezTo>
                  <a:pt x="510" y="53"/>
                  <a:pt x="510" y="53"/>
                  <a:pt x="510" y="53"/>
                </a:cubicBezTo>
                <a:cubicBezTo>
                  <a:pt x="510" y="53"/>
                  <a:pt x="510" y="52"/>
                  <a:pt x="510" y="52"/>
                </a:cubicBezTo>
                <a:cubicBezTo>
                  <a:pt x="510" y="52"/>
                  <a:pt x="510" y="52"/>
                  <a:pt x="510" y="52"/>
                </a:cubicBezTo>
                <a:cubicBezTo>
                  <a:pt x="511" y="51"/>
                  <a:pt x="513" y="51"/>
                  <a:pt x="513" y="52"/>
                </a:cubicBezTo>
                <a:cubicBezTo>
                  <a:pt x="515" y="52"/>
                  <a:pt x="517" y="52"/>
                  <a:pt x="516" y="53"/>
                </a:cubicBezTo>
                <a:cubicBezTo>
                  <a:pt x="516" y="53"/>
                  <a:pt x="515" y="54"/>
                  <a:pt x="515" y="54"/>
                </a:cubicBezTo>
                <a:cubicBezTo>
                  <a:pt x="516" y="54"/>
                  <a:pt x="517" y="54"/>
                  <a:pt x="517" y="54"/>
                </a:cubicBezTo>
                <a:cubicBezTo>
                  <a:pt x="518" y="54"/>
                  <a:pt x="519" y="55"/>
                  <a:pt x="520" y="55"/>
                </a:cubicBezTo>
                <a:cubicBezTo>
                  <a:pt x="521" y="55"/>
                  <a:pt x="522" y="55"/>
                  <a:pt x="522" y="56"/>
                </a:cubicBezTo>
                <a:cubicBezTo>
                  <a:pt x="522" y="57"/>
                  <a:pt x="522" y="57"/>
                  <a:pt x="521" y="57"/>
                </a:cubicBezTo>
                <a:cubicBezTo>
                  <a:pt x="521" y="57"/>
                  <a:pt x="521" y="58"/>
                  <a:pt x="521" y="58"/>
                </a:cubicBezTo>
                <a:cubicBezTo>
                  <a:pt x="522" y="57"/>
                  <a:pt x="523" y="57"/>
                  <a:pt x="525" y="58"/>
                </a:cubicBezTo>
                <a:cubicBezTo>
                  <a:pt x="525" y="59"/>
                  <a:pt x="524" y="59"/>
                  <a:pt x="524" y="59"/>
                </a:cubicBezTo>
                <a:cubicBezTo>
                  <a:pt x="525" y="59"/>
                  <a:pt x="526" y="58"/>
                  <a:pt x="528" y="58"/>
                </a:cubicBezTo>
                <a:cubicBezTo>
                  <a:pt x="528" y="58"/>
                  <a:pt x="528" y="57"/>
                  <a:pt x="528" y="57"/>
                </a:cubicBezTo>
                <a:cubicBezTo>
                  <a:pt x="528" y="57"/>
                  <a:pt x="527" y="57"/>
                  <a:pt x="527" y="56"/>
                </a:cubicBezTo>
                <a:cubicBezTo>
                  <a:pt x="527" y="54"/>
                  <a:pt x="532" y="55"/>
                  <a:pt x="530" y="57"/>
                </a:cubicBezTo>
                <a:cubicBezTo>
                  <a:pt x="530" y="57"/>
                  <a:pt x="530" y="57"/>
                  <a:pt x="530" y="57"/>
                </a:cubicBezTo>
                <a:cubicBezTo>
                  <a:pt x="531" y="56"/>
                  <a:pt x="533" y="55"/>
                  <a:pt x="533" y="55"/>
                </a:cubicBezTo>
                <a:cubicBezTo>
                  <a:pt x="532" y="54"/>
                  <a:pt x="530" y="55"/>
                  <a:pt x="529" y="54"/>
                </a:cubicBezTo>
                <a:cubicBezTo>
                  <a:pt x="529" y="53"/>
                  <a:pt x="532" y="51"/>
                  <a:pt x="532" y="51"/>
                </a:cubicBezTo>
                <a:cubicBezTo>
                  <a:pt x="532" y="51"/>
                  <a:pt x="532" y="50"/>
                  <a:pt x="532" y="50"/>
                </a:cubicBezTo>
                <a:cubicBezTo>
                  <a:pt x="530" y="52"/>
                  <a:pt x="527" y="52"/>
                  <a:pt x="525" y="52"/>
                </a:cubicBezTo>
                <a:cubicBezTo>
                  <a:pt x="523" y="51"/>
                  <a:pt x="522" y="48"/>
                  <a:pt x="521" y="48"/>
                </a:cubicBezTo>
                <a:cubicBezTo>
                  <a:pt x="520" y="48"/>
                  <a:pt x="518" y="48"/>
                  <a:pt x="516" y="49"/>
                </a:cubicBezTo>
                <a:cubicBezTo>
                  <a:pt x="517" y="48"/>
                  <a:pt x="518" y="48"/>
                  <a:pt x="519" y="47"/>
                </a:cubicBezTo>
                <a:cubicBezTo>
                  <a:pt x="519" y="47"/>
                  <a:pt x="520" y="47"/>
                  <a:pt x="520" y="47"/>
                </a:cubicBezTo>
                <a:cubicBezTo>
                  <a:pt x="521" y="46"/>
                  <a:pt x="521" y="46"/>
                  <a:pt x="521" y="45"/>
                </a:cubicBezTo>
                <a:cubicBezTo>
                  <a:pt x="520" y="45"/>
                  <a:pt x="520" y="45"/>
                  <a:pt x="519" y="45"/>
                </a:cubicBezTo>
                <a:cubicBezTo>
                  <a:pt x="519" y="44"/>
                  <a:pt x="520" y="44"/>
                  <a:pt x="521" y="44"/>
                </a:cubicBezTo>
                <a:cubicBezTo>
                  <a:pt x="521" y="44"/>
                  <a:pt x="521" y="44"/>
                  <a:pt x="521" y="44"/>
                </a:cubicBezTo>
                <a:cubicBezTo>
                  <a:pt x="521" y="43"/>
                  <a:pt x="521" y="41"/>
                  <a:pt x="521" y="40"/>
                </a:cubicBezTo>
                <a:cubicBezTo>
                  <a:pt x="521" y="40"/>
                  <a:pt x="520" y="40"/>
                  <a:pt x="520" y="40"/>
                </a:cubicBezTo>
                <a:cubicBezTo>
                  <a:pt x="520" y="40"/>
                  <a:pt x="520" y="40"/>
                  <a:pt x="520" y="40"/>
                </a:cubicBezTo>
                <a:cubicBezTo>
                  <a:pt x="520" y="40"/>
                  <a:pt x="520" y="40"/>
                  <a:pt x="520" y="39"/>
                </a:cubicBezTo>
                <a:cubicBezTo>
                  <a:pt x="520" y="39"/>
                  <a:pt x="520" y="39"/>
                  <a:pt x="520" y="39"/>
                </a:cubicBezTo>
                <a:cubicBezTo>
                  <a:pt x="510" y="34"/>
                  <a:pt x="501" y="30"/>
                  <a:pt x="491" y="26"/>
                </a:cubicBezTo>
                <a:cubicBezTo>
                  <a:pt x="491" y="26"/>
                  <a:pt x="489" y="27"/>
                  <a:pt x="489" y="27"/>
                </a:cubicBezTo>
                <a:cubicBezTo>
                  <a:pt x="489" y="26"/>
                  <a:pt x="489" y="26"/>
                  <a:pt x="490" y="26"/>
                </a:cubicBezTo>
                <a:cubicBezTo>
                  <a:pt x="487" y="24"/>
                  <a:pt x="483" y="23"/>
                  <a:pt x="480" y="22"/>
                </a:cubicBezTo>
                <a:cubicBezTo>
                  <a:pt x="480" y="22"/>
                  <a:pt x="480" y="22"/>
                  <a:pt x="480" y="22"/>
                </a:cubicBezTo>
                <a:cubicBezTo>
                  <a:pt x="478" y="22"/>
                  <a:pt x="476" y="25"/>
                  <a:pt x="474" y="25"/>
                </a:cubicBezTo>
                <a:cubicBezTo>
                  <a:pt x="472" y="25"/>
                  <a:pt x="473" y="25"/>
                  <a:pt x="471" y="25"/>
                </a:cubicBezTo>
                <a:cubicBezTo>
                  <a:pt x="471" y="25"/>
                  <a:pt x="469" y="26"/>
                  <a:pt x="468" y="27"/>
                </a:cubicBezTo>
                <a:cubicBezTo>
                  <a:pt x="467" y="27"/>
                  <a:pt x="464" y="29"/>
                  <a:pt x="464" y="29"/>
                </a:cubicBezTo>
                <a:cubicBezTo>
                  <a:pt x="462" y="30"/>
                  <a:pt x="464" y="30"/>
                  <a:pt x="462" y="30"/>
                </a:cubicBezTo>
                <a:cubicBezTo>
                  <a:pt x="461" y="30"/>
                  <a:pt x="461" y="30"/>
                  <a:pt x="460" y="30"/>
                </a:cubicBezTo>
                <a:cubicBezTo>
                  <a:pt x="461" y="30"/>
                  <a:pt x="461" y="30"/>
                  <a:pt x="461" y="30"/>
                </a:cubicBezTo>
                <a:cubicBezTo>
                  <a:pt x="462" y="31"/>
                  <a:pt x="459" y="32"/>
                  <a:pt x="459" y="31"/>
                </a:cubicBezTo>
                <a:cubicBezTo>
                  <a:pt x="459" y="31"/>
                  <a:pt x="458" y="32"/>
                  <a:pt x="458" y="32"/>
                </a:cubicBezTo>
                <a:cubicBezTo>
                  <a:pt x="458" y="32"/>
                  <a:pt x="458" y="33"/>
                  <a:pt x="458" y="33"/>
                </a:cubicBezTo>
                <a:cubicBezTo>
                  <a:pt x="461" y="34"/>
                  <a:pt x="463" y="32"/>
                  <a:pt x="461" y="36"/>
                </a:cubicBezTo>
                <a:cubicBezTo>
                  <a:pt x="461" y="37"/>
                  <a:pt x="462" y="37"/>
                  <a:pt x="461" y="37"/>
                </a:cubicBezTo>
                <a:cubicBezTo>
                  <a:pt x="460" y="39"/>
                  <a:pt x="459" y="37"/>
                  <a:pt x="459" y="36"/>
                </a:cubicBezTo>
                <a:cubicBezTo>
                  <a:pt x="458" y="37"/>
                  <a:pt x="458" y="38"/>
                  <a:pt x="460" y="39"/>
                </a:cubicBezTo>
                <a:cubicBezTo>
                  <a:pt x="460" y="39"/>
                  <a:pt x="457" y="39"/>
                  <a:pt x="456" y="39"/>
                </a:cubicBezTo>
                <a:cubicBezTo>
                  <a:pt x="456" y="39"/>
                  <a:pt x="454" y="36"/>
                  <a:pt x="453" y="35"/>
                </a:cubicBezTo>
                <a:cubicBezTo>
                  <a:pt x="452" y="35"/>
                  <a:pt x="451" y="36"/>
                  <a:pt x="451" y="36"/>
                </a:cubicBezTo>
                <a:cubicBezTo>
                  <a:pt x="449" y="37"/>
                  <a:pt x="446" y="38"/>
                  <a:pt x="444" y="39"/>
                </a:cubicBezTo>
                <a:cubicBezTo>
                  <a:pt x="443" y="40"/>
                  <a:pt x="443" y="40"/>
                  <a:pt x="442" y="40"/>
                </a:cubicBezTo>
                <a:cubicBezTo>
                  <a:pt x="441" y="40"/>
                  <a:pt x="440" y="41"/>
                  <a:pt x="439" y="41"/>
                </a:cubicBezTo>
                <a:cubicBezTo>
                  <a:pt x="437" y="42"/>
                  <a:pt x="435" y="43"/>
                  <a:pt x="432" y="44"/>
                </a:cubicBezTo>
                <a:cubicBezTo>
                  <a:pt x="433" y="44"/>
                  <a:pt x="433" y="44"/>
                  <a:pt x="433" y="44"/>
                </a:cubicBezTo>
                <a:cubicBezTo>
                  <a:pt x="433" y="44"/>
                  <a:pt x="433" y="44"/>
                  <a:pt x="432" y="44"/>
                </a:cubicBezTo>
                <a:cubicBezTo>
                  <a:pt x="432" y="44"/>
                  <a:pt x="431" y="44"/>
                  <a:pt x="431" y="44"/>
                </a:cubicBezTo>
                <a:cubicBezTo>
                  <a:pt x="430" y="44"/>
                  <a:pt x="427" y="45"/>
                  <a:pt x="427" y="46"/>
                </a:cubicBezTo>
                <a:cubicBezTo>
                  <a:pt x="427" y="46"/>
                  <a:pt x="433" y="44"/>
                  <a:pt x="432" y="48"/>
                </a:cubicBezTo>
                <a:cubicBezTo>
                  <a:pt x="432" y="49"/>
                  <a:pt x="431" y="49"/>
                  <a:pt x="431" y="49"/>
                </a:cubicBezTo>
                <a:cubicBezTo>
                  <a:pt x="435" y="49"/>
                  <a:pt x="440" y="49"/>
                  <a:pt x="444" y="50"/>
                </a:cubicBezTo>
                <a:cubicBezTo>
                  <a:pt x="444" y="47"/>
                  <a:pt x="436" y="48"/>
                  <a:pt x="436" y="45"/>
                </a:cubicBezTo>
                <a:cubicBezTo>
                  <a:pt x="436" y="42"/>
                  <a:pt x="442" y="45"/>
                  <a:pt x="444" y="43"/>
                </a:cubicBezTo>
                <a:cubicBezTo>
                  <a:pt x="445" y="43"/>
                  <a:pt x="444" y="42"/>
                  <a:pt x="445" y="42"/>
                </a:cubicBezTo>
                <a:cubicBezTo>
                  <a:pt x="446" y="42"/>
                  <a:pt x="449" y="43"/>
                  <a:pt x="448" y="41"/>
                </a:cubicBezTo>
                <a:cubicBezTo>
                  <a:pt x="448" y="38"/>
                  <a:pt x="459" y="43"/>
                  <a:pt x="460" y="46"/>
                </a:cubicBezTo>
                <a:cubicBezTo>
                  <a:pt x="460" y="48"/>
                  <a:pt x="459" y="52"/>
                  <a:pt x="458" y="52"/>
                </a:cubicBezTo>
                <a:cubicBezTo>
                  <a:pt x="458" y="53"/>
                  <a:pt x="452" y="54"/>
                  <a:pt x="452" y="54"/>
                </a:cubicBezTo>
                <a:cubicBezTo>
                  <a:pt x="451" y="53"/>
                  <a:pt x="449" y="53"/>
                  <a:pt x="448" y="53"/>
                </a:cubicBezTo>
                <a:cubicBezTo>
                  <a:pt x="449" y="53"/>
                  <a:pt x="449" y="53"/>
                  <a:pt x="449" y="54"/>
                </a:cubicBezTo>
                <a:cubicBezTo>
                  <a:pt x="450" y="55"/>
                  <a:pt x="450" y="57"/>
                  <a:pt x="450" y="58"/>
                </a:cubicBezTo>
                <a:cubicBezTo>
                  <a:pt x="447" y="62"/>
                  <a:pt x="436" y="61"/>
                  <a:pt x="432" y="59"/>
                </a:cubicBezTo>
                <a:cubicBezTo>
                  <a:pt x="432" y="60"/>
                  <a:pt x="432" y="61"/>
                  <a:pt x="432" y="62"/>
                </a:cubicBezTo>
                <a:cubicBezTo>
                  <a:pt x="431" y="65"/>
                  <a:pt x="423" y="63"/>
                  <a:pt x="423" y="60"/>
                </a:cubicBezTo>
                <a:cubicBezTo>
                  <a:pt x="423" y="61"/>
                  <a:pt x="421" y="60"/>
                  <a:pt x="421" y="60"/>
                </a:cubicBezTo>
                <a:cubicBezTo>
                  <a:pt x="421" y="59"/>
                  <a:pt x="423" y="59"/>
                  <a:pt x="423" y="60"/>
                </a:cubicBezTo>
                <a:cubicBezTo>
                  <a:pt x="424" y="58"/>
                  <a:pt x="427" y="58"/>
                  <a:pt x="429" y="58"/>
                </a:cubicBezTo>
                <a:cubicBezTo>
                  <a:pt x="430" y="58"/>
                  <a:pt x="431" y="57"/>
                  <a:pt x="432" y="55"/>
                </a:cubicBezTo>
                <a:cubicBezTo>
                  <a:pt x="432" y="55"/>
                  <a:pt x="432" y="53"/>
                  <a:pt x="432" y="54"/>
                </a:cubicBezTo>
                <a:cubicBezTo>
                  <a:pt x="432" y="53"/>
                  <a:pt x="434" y="52"/>
                  <a:pt x="435" y="52"/>
                </a:cubicBezTo>
                <a:cubicBezTo>
                  <a:pt x="435" y="50"/>
                  <a:pt x="431" y="50"/>
                  <a:pt x="429" y="50"/>
                </a:cubicBezTo>
                <a:cubicBezTo>
                  <a:pt x="427" y="50"/>
                  <a:pt x="423" y="49"/>
                  <a:pt x="422" y="48"/>
                </a:cubicBezTo>
                <a:cubicBezTo>
                  <a:pt x="422" y="48"/>
                  <a:pt x="422" y="47"/>
                  <a:pt x="422" y="47"/>
                </a:cubicBezTo>
                <a:cubicBezTo>
                  <a:pt x="422" y="47"/>
                  <a:pt x="421" y="47"/>
                  <a:pt x="421" y="48"/>
                </a:cubicBezTo>
                <a:cubicBezTo>
                  <a:pt x="420" y="48"/>
                  <a:pt x="419" y="49"/>
                  <a:pt x="417" y="50"/>
                </a:cubicBezTo>
                <a:cubicBezTo>
                  <a:pt x="417" y="50"/>
                  <a:pt x="416" y="50"/>
                  <a:pt x="416" y="51"/>
                </a:cubicBezTo>
                <a:cubicBezTo>
                  <a:pt x="418" y="53"/>
                  <a:pt x="416" y="54"/>
                  <a:pt x="414" y="54"/>
                </a:cubicBezTo>
                <a:cubicBezTo>
                  <a:pt x="413" y="54"/>
                  <a:pt x="412" y="54"/>
                  <a:pt x="412" y="54"/>
                </a:cubicBezTo>
                <a:cubicBezTo>
                  <a:pt x="412" y="54"/>
                  <a:pt x="412" y="54"/>
                  <a:pt x="412" y="53"/>
                </a:cubicBezTo>
                <a:cubicBezTo>
                  <a:pt x="411" y="53"/>
                  <a:pt x="411" y="53"/>
                  <a:pt x="411" y="53"/>
                </a:cubicBezTo>
                <a:cubicBezTo>
                  <a:pt x="410" y="53"/>
                  <a:pt x="410" y="53"/>
                  <a:pt x="410" y="53"/>
                </a:cubicBezTo>
                <a:cubicBezTo>
                  <a:pt x="409" y="53"/>
                  <a:pt x="409" y="54"/>
                  <a:pt x="409" y="54"/>
                </a:cubicBezTo>
                <a:cubicBezTo>
                  <a:pt x="408" y="55"/>
                  <a:pt x="407" y="54"/>
                  <a:pt x="407" y="55"/>
                </a:cubicBezTo>
                <a:cubicBezTo>
                  <a:pt x="406" y="55"/>
                  <a:pt x="405" y="56"/>
                  <a:pt x="404" y="57"/>
                </a:cubicBezTo>
                <a:cubicBezTo>
                  <a:pt x="404" y="57"/>
                  <a:pt x="404" y="58"/>
                  <a:pt x="402" y="58"/>
                </a:cubicBezTo>
                <a:cubicBezTo>
                  <a:pt x="401" y="59"/>
                  <a:pt x="401" y="59"/>
                  <a:pt x="400" y="60"/>
                </a:cubicBezTo>
                <a:cubicBezTo>
                  <a:pt x="396" y="62"/>
                  <a:pt x="392" y="63"/>
                  <a:pt x="388" y="64"/>
                </a:cubicBezTo>
                <a:cubicBezTo>
                  <a:pt x="387" y="65"/>
                  <a:pt x="387" y="65"/>
                  <a:pt x="387" y="65"/>
                </a:cubicBezTo>
                <a:cubicBezTo>
                  <a:pt x="387" y="65"/>
                  <a:pt x="388" y="65"/>
                  <a:pt x="388" y="65"/>
                </a:cubicBezTo>
                <a:cubicBezTo>
                  <a:pt x="389" y="65"/>
                  <a:pt x="391" y="66"/>
                  <a:pt x="392" y="67"/>
                </a:cubicBezTo>
                <a:cubicBezTo>
                  <a:pt x="392" y="67"/>
                  <a:pt x="393" y="68"/>
                  <a:pt x="392" y="68"/>
                </a:cubicBezTo>
                <a:cubicBezTo>
                  <a:pt x="393" y="69"/>
                  <a:pt x="394" y="70"/>
                  <a:pt x="393" y="71"/>
                </a:cubicBezTo>
                <a:cubicBezTo>
                  <a:pt x="393" y="78"/>
                  <a:pt x="380" y="78"/>
                  <a:pt x="374" y="76"/>
                </a:cubicBezTo>
                <a:cubicBezTo>
                  <a:pt x="373" y="75"/>
                  <a:pt x="371" y="73"/>
                  <a:pt x="370" y="72"/>
                </a:cubicBezTo>
                <a:cubicBezTo>
                  <a:pt x="368" y="73"/>
                  <a:pt x="366" y="74"/>
                  <a:pt x="366" y="73"/>
                </a:cubicBezTo>
                <a:cubicBezTo>
                  <a:pt x="365" y="72"/>
                  <a:pt x="367" y="71"/>
                  <a:pt x="369" y="70"/>
                </a:cubicBezTo>
                <a:cubicBezTo>
                  <a:pt x="369" y="70"/>
                  <a:pt x="369" y="70"/>
                  <a:pt x="369" y="70"/>
                </a:cubicBezTo>
                <a:cubicBezTo>
                  <a:pt x="368" y="69"/>
                  <a:pt x="366" y="69"/>
                  <a:pt x="366" y="69"/>
                </a:cubicBezTo>
                <a:cubicBezTo>
                  <a:pt x="366" y="67"/>
                  <a:pt x="370" y="65"/>
                  <a:pt x="374" y="64"/>
                </a:cubicBezTo>
                <a:cubicBezTo>
                  <a:pt x="369" y="65"/>
                  <a:pt x="362" y="65"/>
                  <a:pt x="358" y="66"/>
                </a:cubicBezTo>
                <a:cubicBezTo>
                  <a:pt x="358" y="66"/>
                  <a:pt x="351" y="68"/>
                  <a:pt x="351" y="67"/>
                </a:cubicBezTo>
                <a:cubicBezTo>
                  <a:pt x="350" y="66"/>
                  <a:pt x="356" y="66"/>
                  <a:pt x="357" y="65"/>
                </a:cubicBezTo>
                <a:cubicBezTo>
                  <a:pt x="363" y="65"/>
                  <a:pt x="372" y="62"/>
                  <a:pt x="379" y="62"/>
                </a:cubicBezTo>
                <a:cubicBezTo>
                  <a:pt x="379" y="62"/>
                  <a:pt x="379" y="62"/>
                  <a:pt x="379" y="62"/>
                </a:cubicBezTo>
                <a:cubicBezTo>
                  <a:pt x="379" y="62"/>
                  <a:pt x="380" y="62"/>
                  <a:pt x="379" y="62"/>
                </a:cubicBezTo>
                <a:cubicBezTo>
                  <a:pt x="379" y="63"/>
                  <a:pt x="379" y="63"/>
                  <a:pt x="378" y="63"/>
                </a:cubicBezTo>
                <a:cubicBezTo>
                  <a:pt x="379" y="63"/>
                  <a:pt x="381" y="63"/>
                  <a:pt x="382" y="63"/>
                </a:cubicBezTo>
                <a:cubicBezTo>
                  <a:pt x="382" y="62"/>
                  <a:pt x="383" y="61"/>
                  <a:pt x="383" y="61"/>
                </a:cubicBezTo>
                <a:cubicBezTo>
                  <a:pt x="384" y="61"/>
                  <a:pt x="384" y="62"/>
                  <a:pt x="384" y="62"/>
                </a:cubicBezTo>
                <a:cubicBezTo>
                  <a:pt x="385" y="61"/>
                  <a:pt x="385" y="60"/>
                  <a:pt x="386" y="60"/>
                </a:cubicBezTo>
                <a:cubicBezTo>
                  <a:pt x="387" y="59"/>
                  <a:pt x="389" y="59"/>
                  <a:pt x="390" y="59"/>
                </a:cubicBezTo>
                <a:cubicBezTo>
                  <a:pt x="392" y="58"/>
                  <a:pt x="393" y="57"/>
                  <a:pt x="395" y="56"/>
                </a:cubicBezTo>
                <a:cubicBezTo>
                  <a:pt x="396" y="56"/>
                  <a:pt x="396" y="56"/>
                  <a:pt x="396" y="56"/>
                </a:cubicBezTo>
                <a:cubicBezTo>
                  <a:pt x="398" y="55"/>
                  <a:pt x="399" y="53"/>
                  <a:pt x="400" y="52"/>
                </a:cubicBezTo>
                <a:cubicBezTo>
                  <a:pt x="401" y="52"/>
                  <a:pt x="402" y="53"/>
                  <a:pt x="402" y="52"/>
                </a:cubicBezTo>
                <a:cubicBezTo>
                  <a:pt x="404" y="52"/>
                  <a:pt x="405" y="51"/>
                  <a:pt x="407" y="50"/>
                </a:cubicBezTo>
                <a:cubicBezTo>
                  <a:pt x="409" y="50"/>
                  <a:pt x="411" y="48"/>
                  <a:pt x="411" y="48"/>
                </a:cubicBezTo>
                <a:cubicBezTo>
                  <a:pt x="412" y="48"/>
                  <a:pt x="412" y="49"/>
                  <a:pt x="412" y="49"/>
                </a:cubicBezTo>
                <a:cubicBezTo>
                  <a:pt x="413" y="48"/>
                  <a:pt x="413" y="48"/>
                  <a:pt x="413" y="47"/>
                </a:cubicBezTo>
                <a:cubicBezTo>
                  <a:pt x="414" y="47"/>
                  <a:pt x="414" y="48"/>
                  <a:pt x="415" y="48"/>
                </a:cubicBezTo>
                <a:cubicBezTo>
                  <a:pt x="415" y="47"/>
                  <a:pt x="415" y="47"/>
                  <a:pt x="416" y="46"/>
                </a:cubicBezTo>
                <a:cubicBezTo>
                  <a:pt x="416" y="46"/>
                  <a:pt x="416" y="47"/>
                  <a:pt x="417" y="47"/>
                </a:cubicBezTo>
                <a:cubicBezTo>
                  <a:pt x="417" y="47"/>
                  <a:pt x="417" y="46"/>
                  <a:pt x="418" y="45"/>
                </a:cubicBezTo>
                <a:cubicBezTo>
                  <a:pt x="419" y="45"/>
                  <a:pt x="419" y="46"/>
                  <a:pt x="420" y="45"/>
                </a:cubicBezTo>
                <a:cubicBezTo>
                  <a:pt x="420" y="45"/>
                  <a:pt x="420" y="44"/>
                  <a:pt x="421" y="44"/>
                </a:cubicBezTo>
                <a:cubicBezTo>
                  <a:pt x="422" y="43"/>
                  <a:pt x="424" y="43"/>
                  <a:pt x="425" y="42"/>
                </a:cubicBezTo>
                <a:cubicBezTo>
                  <a:pt x="427" y="40"/>
                  <a:pt x="432" y="39"/>
                  <a:pt x="435" y="36"/>
                </a:cubicBezTo>
                <a:cubicBezTo>
                  <a:pt x="438" y="35"/>
                  <a:pt x="441" y="33"/>
                  <a:pt x="444" y="32"/>
                </a:cubicBezTo>
                <a:cubicBezTo>
                  <a:pt x="444" y="32"/>
                  <a:pt x="443" y="32"/>
                  <a:pt x="443" y="32"/>
                </a:cubicBezTo>
                <a:cubicBezTo>
                  <a:pt x="440" y="31"/>
                  <a:pt x="439" y="28"/>
                  <a:pt x="438" y="28"/>
                </a:cubicBezTo>
                <a:cubicBezTo>
                  <a:pt x="437" y="28"/>
                  <a:pt x="437" y="28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5" y="30"/>
                  <a:pt x="434" y="30"/>
                  <a:pt x="433" y="31"/>
                </a:cubicBezTo>
                <a:cubicBezTo>
                  <a:pt x="432" y="31"/>
                  <a:pt x="431" y="31"/>
                  <a:pt x="431" y="30"/>
                </a:cubicBezTo>
                <a:cubicBezTo>
                  <a:pt x="431" y="30"/>
                  <a:pt x="431" y="30"/>
                  <a:pt x="431" y="30"/>
                </a:cubicBezTo>
                <a:cubicBezTo>
                  <a:pt x="430" y="30"/>
                  <a:pt x="430" y="31"/>
                  <a:pt x="429" y="31"/>
                </a:cubicBezTo>
                <a:cubicBezTo>
                  <a:pt x="428" y="32"/>
                  <a:pt x="425" y="32"/>
                  <a:pt x="424" y="31"/>
                </a:cubicBezTo>
                <a:cubicBezTo>
                  <a:pt x="424" y="31"/>
                  <a:pt x="425" y="30"/>
                  <a:pt x="426" y="30"/>
                </a:cubicBezTo>
                <a:cubicBezTo>
                  <a:pt x="426" y="30"/>
                  <a:pt x="425" y="29"/>
                  <a:pt x="425" y="29"/>
                </a:cubicBezTo>
                <a:cubicBezTo>
                  <a:pt x="424" y="30"/>
                  <a:pt x="423" y="30"/>
                  <a:pt x="423" y="30"/>
                </a:cubicBezTo>
                <a:cubicBezTo>
                  <a:pt x="418" y="29"/>
                  <a:pt x="416" y="25"/>
                  <a:pt x="419" y="23"/>
                </a:cubicBezTo>
                <a:cubicBezTo>
                  <a:pt x="421" y="21"/>
                  <a:pt x="429" y="22"/>
                  <a:pt x="429" y="26"/>
                </a:cubicBezTo>
                <a:cubicBezTo>
                  <a:pt x="429" y="29"/>
                  <a:pt x="428" y="27"/>
                  <a:pt x="431" y="27"/>
                </a:cubicBezTo>
                <a:cubicBezTo>
                  <a:pt x="434" y="26"/>
                  <a:pt x="435" y="27"/>
                  <a:pt x="436" y="25"/>
                </a:cubicBezTo>
                <a:cubicBezTo>
                  <a:pt x="439" y="21"/>
                  <a:pt x="442" y="21"/>
                  <a:pt x="446" y="22"/>
                </a:cubicBezTo>
                <a:cubicBezTo>
                  <a:pt x="446" y="21"/>
                  <a:pt x="448" y="21"/>
                  <a:pt x="449" y="22"/>
                </a:cubicBezTo>
                <a:cubicBezTo>
                  <a:pt x="450" y="22"/>
                  <a:pt x="450" y="21"/>
                  <a:pt x="451" y="21"/>
                </a:cubicBezTo>
                <a:cubicBezTo>
                  <a:pt x="452" y="22"/>
                  <a:pt x="451" y="23"/>
                  <a:pt x="450" y="24"/>
                </a:cubicBezTo>
                <a:cubicBezTo>
                  <a:pt x="451" y="25"/>
                  <a:pt x="452" y="26"/>
                  <a:pt x="452" y="28"/>
                </a:cubicBezTo>
                <a:cubicBezTo>
                  <a:pt x="451" y="28"/>
                  <a:pt x="451" y="29"/>
                  <a:pt x="451" y="30"/>
                </a:cubicBezTo>
                <a:cubicBezTo>
                  <a:pt x="451" y="29"/>
                  <a:pt x="451" y="29"/>
                  <a:pt x="452" y="29"/>
                </a:cubicBezTo>
                <a:cubicBezTo>
                  <a:pt x="453" y="29"/>
                  <a:pt x="455" y="29"/>
                  <a:pt x="457" y="29"/>
                </a:cubicBezTo>
                <a:cubicBezTo>
                  <a:pt x="458" y="28"/>
                  <a:pt x="458" y="27"/>
                  <a:pt x="460" y="27"/>
                </a:cubicBezTo>
                <a:cubicBezTo>
                  <a:pt x="461" y="26"/>
                  <a:pt x="463" y="26"/>
                  <a:pt x="465" y="26"/>
                </a:cubicBezTo>
                <a:cubicBezTo>
                  <a:pt x="463" y="25"/>
                  <a:pt x="462" y="25"/>
                  <a:pt x="460" y="25"/>
                </a:cubicBezTo>
                <a:cubicBezTo>
                  <a:pt x="462" y="25"/>
                  <a:pt x="462" y="23"/>
                  <a:pt x="461" y="23"/>
                </a:cubicBezTo>
                <a:cubicBezTo>
                  <a:pt x="461" y="23"/>
                  <a:pt x="462" y="21"/>
                  <a:pt x="463" y="20"/>
                </a:cubicBezTo>
                <a:cubicBezTo>
                  <a:pt x="464" y="20"/>
                  <a:pt x="465" y="20"/>
                  <a:pt x="466" y="20"/>
                </a:cubicBezTo>
                <a:cubicBezTo>
                  <a:pt x="466" y="20"/>
                  <a:pt x="467" y="20"/>
                  <a:pt x="468" y="20"/>
                </a:cubicBezTo>
                <a:cubicBezTo>
                  <a:pt x="468" y="21"/>
                  <a:pt x="467" y="21"/>
                  <a:pt x="466" y="21"/>
                </a:cubicBezTo>
                <a:cubicBezTo>
                  <a:pt x="468" y="22"/>
                  <a:pt x="468" y="23"/>
                  <a:pt x="468" y="24"/>
                </a:cubicBezTo>
                <a:cubicBezTo>
                  <a:pt x="469" y="23"/>
                  <a:pt x="470" y="23"/>
                  <a:pt x="471" y="22"/>
                </a:cubicBezTo>
                <a:cubicBezTo>
                  <a:pt x="471" y="22"/>
                  <a:pt x="470" y="22"/>
                  <a:pt x="470" y="21"/>
                </a:cubicBezTo>
                <a:cubicBezTo>
                  <a:pt x="469" y="20"/>
                  <a:pt x="471" y="19"/>
                  <a:pt x="473" y="19"/>
                </a:cubicBezTo>
                <a:cubicBezTo>
                  <a:pt x="473" y="19"/>
                  <a:pt x="473" y="19"/>
                  <a:pt x="473" y="19"/>
                </a:cubicBezTo>
                <a:cubicBezTo>
                  <a:pt x="456" y="13"/>
                  <a:pt x="438" y="9"/>
                  <a:pt x="419" y="5"/>
                </a:cubicBezTo>
                <a:cubicBezTo>
                  <a:pt x="427" y="10"/>
                  <a:pt x="416" y="16"/>
                  <a:pt x="410" y="12"/>
                </a:cubicBezTo>
                <a:cubicBezTo>
                  <a:pt x="408" y="10"/>
                  <a:pt x="409" y="9"/>
                  <a:pt x="407" y="7"/>
                </a:cubicBezTo>
                <a:cubicBezTo>
                  <a:pt x="408" y="6"/>
                  <a:pt x="410" y="5"/>
                  <a:pt x="412" y="4"/>
                </a:cubicBezTo>
                <a:cubicBezTo>
                  <a:pt x="408" y="4"/>
                  <a:pt x="405" y="3"/>
                  <a:pt x="401" y="3"/>
                </a:cubicBezTo>
                <a:cubicBezTo>
                  <a:pt x="401" y="3"/>
                  <a:pt x="401" y="3"/>
                  <a:pt x="401" y="3"/>
                </a:cubicBezTo>
                <a:cubicBezTo>
                  <a:pt x="398" y="2"/>
                  <a:pt x="396" y="2"/>
                  <a:pt x="393" y="2"/>
                </a:cubicBezTo>
                <a:cubicBezTo>
                  <a:pt x="392" y="6"/>
                  <a:pt x="385" y="4"/>
                  <a:pt x="382" y="1"/>
                </a:cubicBezTo>
                <a:cubicBezTo>
                  <a:pt x="374" y="0"/>
                  <a:pt x="366" y="0"/>
                  <a:pt x="357" y="0"/>
                </a:cubicBezTo>
                <a:cubicBezTo>
                  <a:pt x="343" y="0"/>
                  <a:pt x="328" y="1"/>
                  <a:pt x="314" y="3"/>
                </a:cubicBezTo>
                <a:cubicBezTo>
                  <a:pt x="314" y="3"/>
                  <a:pt x="314" y="3"/>
                  <a:pt x="315" y="3"/>
                </a:cubicBezTo>
                <a:cubicBezTo>
                  <a:pt x="315" y="3"/>
                  <a:pt x="315" y="3"/>
                  <a:pt x="315" y="3"/>
                </a:cubicBezTo>
                <a:cubicBezTo>
                  <a:pt x="315" y="4"/>
                  <a:pt x="314" y="3"/>
                  <a:pt x="314" y="3"/>
                </a:cubicBezTo>
                <a:cubicBezTo>
                  <a:pt x="138" y="24"/>
                  <a:pt x="1" y="173"/>
                  <a:pt x="0" y="354"/>
                </a:cubicBezTo>
                <a:cubicBezTo>
                  <a:pt x="0" y="354"/>
                  <a:pt x="0" y="353"/>
                  <a:pt x="1" y="353"/>
                </a:cubicBezTo>
                <a:cubicBezTo>
                  <a:pt x="1" y="353"/>
                  <a:pt x="2" y="356"/>
                  <a:pt x="1" y="356"/>
                </a:cubicBezTo>
                <a:cubicBezTo>
                  <a:pt x="0" y="357"/>
                  <a:pt x="0" y="356"/>
                  <a:pt x="0" y="356"/>
                </a:cubicBezTo>
                <a:cubicBezTo>
                  <a:pt x="0" y="356"/>
                  <a:pt x="0" y="357"/>
                  <a:pt x="0" y="357"/>
                </a:cubicBezTo>
                <a:cubicBezTo>
                  <a:pt x="0" y="375"/>
                  <a:pt x="1" y="392"/>
                  <a:pt x="4" y="409"/>
                </a:cubicBezTo>
                <a:cubicBezTo>
                  <a:pt x="4" y="409"/>
                  <a:pt x="4" y="409"/>
                  <a:pt x="4" y="409"/>
                </a:cubicBezTo>
                <a:cubicBezTo>
                  <a:pt x="5" y="409"/>
                  <a:pt x="5" y="412"/>
                  <a:pt x="5" y="412"/>
                </a:cubicBezTo>
                <a:cubicBezTo>
                  <a:pt x="4" y="413"/>
                  <a:pt x="4" y="413"/>
                  <a:pt x="4" y="413"/>
                </a:cubicBezTo>
                <a:cubicBezTo>
                  <a:pt x="5" y="418"/>
                  <a:pt x="6" y="424"/>
                  <a:pt x="7" y="429"/>
                </a:cubicBezTo>
                <a:cubicBezTo>
                  <a:pt x="8" y="429"/>
                  <a:pt x="8" y="429"/>
                  <a:pt x="8" y="429"/>
                </a:cubicBezTo>
                <a:cubicBezTo>
                  <a:pt x="9" y="430"/>
                  <a:pt x="8" y="430"/>
                  <a:pt x="7" y="431"/>
                </a:cubicBezTo>
                <a:cubicBezTo>
                  <a:pt x="8" y="433"/>
                  <a:pt x="8" y="435"/>
                  <a:pt x="9" y="438"/>
                </a:cubicBezTo>
                <a:cubicBezTo>
                  <a:pt x="9" y="438"/>
                  <a:pt x="9" y="438"/>
                  <a:pt x="9" y="438"/>
                </a:cubicBezTo>
                <a:cubicBezTo>
                  <a:pt x="9" y="440"/>
                  <a:pt x="10" y="441"/>
                  <a:pt x="10" y="443"/>
                </a:cubicBezTo>
                <a:cubicBezTo>
                  <a:pt x="10" y="443"/>
                  <a:pt x="10" y="443"/>
                  <a:pt x="10" y="442"/>
                </a:cubicBezTo>
                <a:cubicBezTo>
                  <a:pt x="10" y="442"/>
                  <a:pt x="10" y="442"/>
                  <a:pt x="10" y="441"/>
                </a:cubicBezTo>
                <a:cubicBezTo>
                  <a:pt x="10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2" y="441"/>
                  <a:pt x="13" y="440"/>
                  <a:pt x="14" y="440"/>
                </a:cubicBezTo>
                <a:cubicBezTo>
                  <a:pt x="14" y="439"/>
                  <a:pt x="15" y="438"/>
                  <a:pt x="16" y="439"/>
                </a:cubicBezTo>
                <a:cubicBezTo>
                  <a:pt x="17" y="439"/>
                  <a:pt x="17" y="439"/>
                  <a:pt x="18" y="440"/>
                </a:cubicBezTo>
                <a:cubicBezTo>
                  <a:pt x="20" y="443"/>
                  <a:pt x="19" y="438"/>
                  <a:pt x="18" y="438"/>
                </a:cubicBezTo>
                <a:cubicBezTo>
                  <a:pt x="18" y="438"/>
                  <a:pt x="18" y="438"/>
                  <a:pt x="17" y="437"/>
                </a:cubicBezTo>
                <a:cubicBezTo>
                  <a:pt x="17" y="437"/>
                  <a:pt x="17" y="437"/>
                  <a:pt x="17" y="436"/>
                </a:cubicBezTo>
                <a:cubicBezTo>
                  <a:pt x="17" y="435"/>
                  <a:pt x="17" y="432"/>
                  <a:pt x="17" y="431"/>
                </a:cubicBezTo>
                <a:cubicBezTo>
                  <a:pt x="17" y="433"/>
                  <a:pt x="18" y="434"/>
                  <a:pt x="19" y="435"/>
                </a:cubicBezTo>
                <a:cubicBezTo>
                  <a:pt x="19" y="435"/>
                  <a:pt x="19" y="435"/>
                  <a:pt x="19" y="435"/>
                </a:cubicBezTo>
                <a:cubicBezTo>
                  <a:pt x="20" y="435"/>
                  <a:pt x="19" y="436"/>
                  <a:pt x="19" y="436"/>
                </a:cubicBezTo>
                <a:cubicBezTo>
                  <a:pt x="19" y="437"/>
                  <a:pt x="19" y="437"/>
                  <a:pt x="19" y="438"/>
                </a:cubicBezTo>
                <a:cubicBezTo>
                  <a:pt x="20" y="437"/>
                  <a:pt x="19" y="435"/>
                  <a:pt x="21" y="434"/>
                </a:cubicBezTo>
                <a:cubicBezTo>
                  <a:pt x="20" y="436"/>
                  <a:pt x="20" y="437"/>
                  <a:pt x="21" y="438"/>
                </a:cubicBezTo>
                <a:cubicBezTo>
                  <a:pt x="21" y="438"/>
                  <a:pt x="22" y="438"/>
                  <a:pt x="22" y="438"/>
                </a:cubicBezTo>
                <a:cubicBezTo>
                  <a:pt x="22" y="438"/>
                  <a:pt x="22" y="438"/>
                  <a:pt x="22" y="438"/>
                </a:cubicBezTo>
                <a:cubicBezTo>
                  <a:pt x="23" y="438"/>
                  <a:pt x="23" y="438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3" y="435"/>
                  <a:pt x="23" y="434"/>
                  <a:pt x="23" y="434"/>
                </a:cubicBezTo>
                <a:cubicBezTo>
                  <a:pt x="23" y="433"/>
                  <a:pt x="22" y="433"/>
                  <a:pt x="21" y="434"/>
                </a:cubicBezTo>
                <a:cubicBezTo>
                  <a:pt x="20" y="434"/>
                  <a:pt x="20" y="435"/>
                  <a:pt x="19" y="434"/>
                </a:cubicBezTo>
                <a:cubicBezTo>
                  <a:pt x="19" y="434"/>
                  <a:pt x="19" y="434"/>
                  <a:pt x="19" y="433"/>
                </a:cubicBezTo>
                <a:cubicBezTo>
                  <a:pt x="19" y="433"/>
                  <a:pt x="19" y="433"/>
                  <a:pt x="19" y="433"/>
                </a:cubicBezTo>
                <a:cubicBezTo>
                  <a:pt x="18" y="433"/>
                  <a:pt x="19" y="431"/>
                  <a:pt x="18" y="429"/>
                </a:cubicBezTo>
                <a:cubicBezTo>
                  <a:pt x="17" y="430"/>
                  <a:pt x="16" y="429"/>
                  <a:pt x="16" y="426"/>
                </a:cubicBezTo>
                <a:cubicBezTo>
                  <a:pt x="16" y="426"/>
                  <a:pt x="16" y="426"/>
                  <a:pt x="16" y="426"/>
                </a:cubicBezTo>
                <a:cubicBezTo>
                  <a:pt x="16" y="427"/>
                  <a:pt x="14" y="432"/>
                  <a:pt x="15" y="433"/>
                </a:cubicBezTo>
                <a:cubicBezTo>
                  <a:pt x="15" y="433"/>
                  <a:pt x="16" y="437"/>
                  <a:pt x="14" y="435"/>
                </a:cubicBezTo>
                <a:cubicBezTo>
                  <a:pt x="12" y="434"/>
                  <a:pt x="15" y="429"/>
                  <a:pt x="15" y="426"/>
                </a:cubicBezTo>
                <a:cubicBezTo>
                  <a:pt x="14" y="426"/>
                  <a:pt x="14" y="426"/>
                  <a:pt x="14" y="425"/>
                </a:cubicBezTo>
                <a:cubicBezTo>
                  <a:pt x="13" y="424"/>
                  <a:pt x="14" y="424"/>
                  <a:pt x="14" y="423"/>
                </a:cubicBezTo>
                <a:cubicBezTo>
                  <a:pt x="14" y="423"/>
                  <a:pt x="14" y="422"/>
                  <a:pt x="15" y="422"/>
                </a:cubicBezTo>
                <a:cubicBezTo>
                  <a:pt x="14" y="421"/>
                  <a:pt x="13" y="422"/>
                  <a:pt x="12" y="421"/>
                </a:cubicBezTo>
                <a:cubicBezTo>
                  <a:pt x="13" y="421"/>
                  <a:pt x="11" y="419"/>
                  <a:pt x="11" y="420"/>
                </a:cubicBezTo>
                <a:cubicBezTo>
                  <a:pt x="11" y="417"/>
                  <a:pt x="14" y="417"/>
                  <a:pt x="15" y="419"/>
                </a:cubicBezTo>
                <a:cubicBezTo>
                  <a:pt x="14" y="418"/>
                  <a:pt x="16" y="419"/>
                  <a:pt x="17" y="418"/>
                </a:cubicBezTo>
                <a:cubicBezTo>
                  <a:pt x="16" y="418"/>
                  <a:pt x="17" y="413"/>
                  <a:pt x="19" y="413"/>
                </a:cubicBezTo>
                <a:cubicBezTo>
                  <a:pt x="19" y="413"/>
                  <a:pt x="18" y="416"/>
                  <a:pt x="19" y="417"/>
                </a:cubicBezTo>
                <a:cubicBezTo>
                  <a:pt x="19" y="417"/>
                  <a:pt x="19" y="417"/>
                  <a:pt x="19" y="417"/>
                </a:cubicBezTo>
                <a:cubicBezTo>
                  <a:pt x="19" y="417"/>
                  <a:pt x="19" y="416"/>
                  <a:pt x="20" y="417"/>
                </a:cubicBezTo>
                <a:cubicBezTo>
                  <a:pt x="20" y="417"/>
                  <a:pt x="21" y="418"/>
                  <a:pt x="20" y="419"/>
                </a:cubicBezTo>
                <a:cubicBezTo>
                  <a:pt x="20" y="419"/>
                  <a:pt x="20" y="419"/>
                  <a:pt x="20" y="419"/>
                </a:cubicBezTo>
                <a:cubicBezTo>
                  <a:pt x="21" y="419"/>
                  <a:pt x="20" y="420"/>
                  <a:pt x="19" y="420"/>
                </a:cubicBezTo>
                <a:cubicBezTo>
                  <a:pt x="17" y="421"/>
                  <a:pt x="19" y="421"/>
                  <a:pt x="20" y="422"/>
                </a:cubicBezTo>
                <a:cubicBezTo>
                  <a:pt x="20" y="422"/>
                  <a:pt x="20" y="422"/>
                  <a:pt x="21" y="422"/>
                </a:cubicBezTo>
                <a:cubicBezTo>
                  <a:pt x="21" y="422"/>
                  <a:pt x="21" y="422"/>
                  <a:pt x="21" y="422"/>
                </a:cubicBezTo>
                <a:cubicBezTo>
                  <a:pt x="22" y="423"/>
                  <a:pt x="22" y="423"/>
                  <a:pt x="22" y="424"/>
                </a:cubicBezTo>
                <a:cubicBezTo>
                  <a:pt x="22" y="424"/>
                  <a:pt x="23" y="423"/>
                  <a:pt x="24" y="423"/>
                </a:cubicBezTo>
                <a:cubicBezTo>
                  <a:pt x="25" y="423"/>
                  <a:pt x="24" y="425"/>
                  <a:pt x="26" y="425"/>
                </a:cubicBezTo>
                <a:cubicBezTo>
                  <a:pt x="26" y="425"/>
                  <a:pt x="26" y="425"/>
                  <a:pt x="26" y="425"/>
                </a:cubicBezTo>
                <a:cubicBezTo>
                  <a:pt x="27" y="422"/>
                  <a:pt x="30" y="417"/>
                  <a:pt x="26" y="418"/>
                </a:cubicBezTo>
                <a:cubicBezTo>
                  <a:pt x="29" y="416"/>
                  <a:pt x="25" y="414"/>
                  <a:pt x="24" y="414"/>
                </a:cubicBezTo>
                <a:cubicBezTo>
                  <a:pt x="23" y="412"/>
                  <a:pt x="25" y="415"/>
                  <a:pt x="25" y="414"/>
                </a:cubicBezTo>
                <a:cubicBezTo>
                  <a:pt x="27" y="413"/>
                  <a:pt x="24" y="411"/>
                  <a:pt x="24" y="408"/>
                </a:cubicBezTo>
                <a:cubicBezTo>
                  <a:pt x="24" y="408"/>
                  <a:pt x="26" y="406"/>
                  <a:pt x="26" y="406"/>
                </a:cubicBezTo>
                <a:cubicBezTo>
                  <a:pt x="27" y="404"/>
                  <a:pt x="24" y="405"/>
                  <a:pt x="27" y="404"/>
                </a:cubicBezTo>
                <a:cubicBezTo>
                  <a:pt x="29" y="404"/>
                  <a:pt x="29" y="400"/>
                  <a:pt x="30" y="399"/>
                </a:cubicBezTo>
                <a:cubicBezTo>
                  <a:pt x="30" y="399"/>
                  <a:pt x="34" y="398"/>
                  <a:pt x="34" y="396"/>
                </a:cubicBezTo>
                <a:cubicBezTo>
                  <a:pt x="30" y="400"/>
                  <a:pt x="28" y="395"/>
                  <a:pt x="29" y="394"/>
                </a:cubicBezTo>
                <a:cubicBezTo>
                  <a:pt x="29" y="394"/>
                  <a:pt x="28" y="391"/>
                  <a:pt x="31" y="391"/>
                </a:cubicBezTo>
                <a:cubicBezTo>
                  <a:pt x="33" y="390"/>
                  <a:pt x="32" y="391"/>
                  <a:pt x="34" y="389"/>
                </a:cubicBezTo>
                <a:cubicBezTo>
                  <a:pt x="35" y="388"/>
                  <a:pt x="34" y="396"/>
                  <a:pt x="35" y="396"/>
                </a:cubicBezTo>
                <a:cubicBezTo>
                  <a:pt x="36" y="398"/>
                  <a:pt x="36" y="395"/>
                  <a:pt x="37" y="398"/>
                </a:cubicBezTo>
                <a:cubicBezTo>
                  <a:pt x="38" y="404"/>
                  <a:pt x="42" y="414"/>
                  <a:pt x="34" y="417"/>
                </a:cubicBezTo>
                <a:cubicBezTo>
                  <a:pt x="32" y="418"/>
                  <a:pt x="31" y="417"/>
                  <a:pt x="30" y="418"/>
                </a:cubicBezTo>
                <a:cubicBezTo>
                  <a:pt x="28" y="420"/>
                  <a:pt x="28" y="422"/>
                  <a:pt x="27" y="425"/>
                </a:cubicBezTo>
                <a:cubicBezTo>
                  <a:pt x="27" y="425"/>
                  <a:pt x="27" y="425"/>
                  <a:pt x="27" y="425"/>
                </a:cubicBezTo>
                <a:cubicBezTo>
                  <a:pt x="28" y="425"/>
                  <a:pt x="27" y="426"/>
                  <a:pt x="28" y="427"/>
                </a:cubicBezTo>
                <a:cubicBezTo>
                  <a:pt x="28" y="427"/>
                  <a:pt x="29" y="427"/>
                  <a:pt x="30" y="427"/>
                </a:cubicBezTo>
                <a:cubicBezTo>
                  <a:pt x="30" y="426"/>
                  <a:pt x="30" y="426"/>
                  <a:pt x="31" y="426"/>
                </a:cubicBezTo>
                <a:cubicBezTo>
                  <a:pt x="31" y="426"/>
                  <a:pt x="31" y="426"/>
                  <a:pt x="31" y="427"/>
                </a:cubicBezTo>
                <a:cubicBezTo>
                  <a:pt x="31" y="427"/>
                  <a:pt x="32" y="427"/>
                  <a:pt x="32" y="427"/>
                </a:cubicBezTo>
                <a:cubicBezTo>
                  <a:pt x="32" y="428"/>
                  <a:pt x="31" y="430"/>
                  <a:pt x="33" y="429"/>
                </a:cubicBezTo>
                <a:cubicBezTo>
                  <a:pt x="33" y="430"/>
                  <a:pt x="33" y="432"/>
                  <a:pt x="33" y="433"/>
                </a:cubicBezTo>
                <a:cubicBezTo>
                  <a:pt x="33" y="433"/>
                  <a:pt x="33" y="433"/>
                  <a:pt x="33" y="433"/>
                </a:cubicBezTo>
                <a:cubicBezTo>
                  <a:pt x="34" y="433"/>
                  <a:pt x="36" y="432"/>
                  <a:pt x="35" y="432"/>
                </a:cubicBezTo>
                <a:cubicBezTo>
                  <a:pt x="36" y="432"/>
                  <a:pt x="35" y="435"/>
                  <a:pt x="34" y="436"/>
                </a:cubicBezTo>
                <a:cubicBezTo>
                  <a:pt x="34" y="437"/>
                  <a:pt x="34" y="437"/>
                  <a:pt x="35" y="437"/>
                </a:cubicBezTo>
                <a:cubicBezTo>
                  <a:pt x="34" y="437"/>
                  <a:pt x="38" y="431"/>
                  <a:pt x="39" y="435"/>
                </a:cubicBezTo>
                <a:cubicBezTo>
                  <a:pt x="39" y="434"/>
                  <a:pt x="39" y="434"/>
                  <a:pt x="39" y="434"/>
                </a:cubicBezTo>
                <a:cubicBezTo>
                  <a:pt x="39" y="434"/>
                  <a:pt x="41" y="432"/>
                  <a:pt x="41" y="432"/>
                </a:cubicBezTo>
                <a:cubicBezTo>
                  <a:pt x="43" y="433"/>
                  <a:pt x="41" y="437"/>
                  <a:pt x="40" y="439"/>
                </a:cubicBezTo>
                <a:cubicBezTo>
                  <a:pt x="42" y="439"/>
                  <a:pt x="43" y="440"/>
                  <a:pt x="42" y="441"/>
                </a:cubicBezTo>
                <a:cubicBezTo>
                  <a:pt x="42" y="441"/>
                  <a:pt x="42" y="442"/>
                  <a:pt x="42" y="442"/>
                </a:cubicBezTo>
                <a:cubicBezTo>
                  <a:pt x="42" y="442"/>
                  <a:pt x="42" y="443"/>
                  <a:pt x="41" y="443"/>
                </a:cubicBezTo>
                <a:cubicBezTo>
                  <a:pt x="41" y="443"/>
                  <a:pt x="40" y="444"/>
                  <a:pt x="40" y="444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5"/>
                  <a:pt x="39" y="447"/>
                  <a:pt x="38" y="448"/>
                </a:cubicBezTo>
                <a:cubicBezTo>
                  <a:pt x="38" y="449"/>
                  <a:pt x="38" y="449"/>
                  <a:pt x="38" y="450"/>
                </a:cubicBezTo>
                <a:cubicBezTo>
                  <a:pt x="38" y="450"/>
                  <a:pt x="38" y="450"/>
                  <a:pt x="39" y="450"/>
                </a:cubicBezTo>
                <a:cubicBezTo>
                  <a:pt x="39" y="449"/>
                  <a:pt x="40" y="448"/>
                  <a:pt x="41" y="447"/>
                </a:cubicBezTo>
                <a:cubicBezTo>
                  <a:pt x="41" y="448"/>
                  <a:pt x="40" y="450"/>
                  <a:pt x="39" y="451"/>
                </a:cubicBezTo>
                <a:cubicBezTo>
                  <a:pt x="39" y="451"/>
                  <a:pt x="39" y="451"/>
                  <a:pt x="39" y="451"/>
                </a:cubicBezTo>
                <a:cubicBezTo>
                  <a:pt x="39" y="451"/>
                  <a:pt x="40" y="451"/>
                  <a:pt x="40" y="451"/>
                </a:cubicBezTo>
                <a:cubicBezTo>
                  <a:pt x="40" y="451"/>
                  <a:pt x="39" y="452"/>
                  <a:pt x="39" y="451"/>
                </a:cubicBezTo>
                <a:cubicBezTo>
                  <a:pt x="38" y="453"/>
                  <a:pt x="35" y="455"/>
                  <a:pt x="35" y="457"/>
                </a:cubicBezTo>
                <a:cubicBezTo>
                  <a:pt x="35" y="456"/>
                  <a:pt x="35" y="456"/>
                  <a:pt x="35" y="456"/>
                </a:cubicBezTo>
                <a:cubicBezTo>
                  <a:pt x="36" y="456"/>
                  <a:pt x="36" y="458"/>
                  <a:pt x="36" y="459"/>
                </a:cubicBezTo>
                <a:cubicBezTo>
                  <a:pt x="36" y="459"/>
                  <a:pt x="37" y="459"/>
                  <a:pt x="37" y="460"/>
                </a:cubicBezTo>
                <a:cubicBezTo>
                  <a:pt x="37" y="461"/>
                  <a:pt x="35" y="463"/>
                  <a:pt x="34" y="463"/>
                </a:cubicBezTo>
                <a:cubicBezTo>
                  <a:pt x="34" y="463"/>
                  <a:pt x="34" y="462"/>
                  <a:pt x="34" y="462"/>
                </a:cubicBezTo>
                <a:cubicBezTo>
                  <a:pt x="34" y="462"/>
                  <a:pt x="34" y="462"/>
                  <a:pt x="34" y="462"/>
                </a:cubicBezTo>
                <a:cubicBezTo>
                  <a:pt x="34" y="462"/>
                  <a:pt x="33" y="463"/>
                  <a:pt x="33" y="463"/>
                </a:cubicBezTo>
                <a:cubicBezTo>
                  <a:pt x="31" y="462"/>
                  <a:pt x="33" y="461"/>
                  <a:pt x="34" y="461"/>
                </a:cubicBezTo>
                <a:cubicBezTo>
                  <a:pt x="34" y="461"/>
                  <a:pt x="34" y="460"/>
                  <a:pt x="33" y="460"/>
                </a:cubicBezTo>
                <a:cubicBezTo>
                  <a:pt x="33" y="460"/>
                  <a:pt x="33" y="460"/>
                  <a:pt x="33" y="461"/>
                </a:cubicBezTo>
                <a:cubicBezTo>
                  <a:pt x="32" y="462"/>
                  <a:pt x="31" y="461"/>
                  <a:pt x="32" y="460"/>
                </a:cubicBezTo>
                <a:cubicBezTo>
                  <a:pt x="29" y="460"/>
                  <a:pt x="23" y="461"/>
                  <a:pt x="24" y="461"/>
                </a:cubicBezTo>
                <a:cubicBezTo>
                  <a:pt x="23" y="461"/>
                  <a:pt x="21" y="469"/>
                  <a:pt x="21" y="464"/>
                </a:cubicBezTo>
                <a:cubicBezTo>
                  <a:pt x="21" y="464"/>
                  <a:pt x="21" y="465"/>
                  <a:pt x="20" y="465"/>
                </a:cubicBezTo>
                <a:cubicBezTo>
                  <a:pt x="20" y="465"/>
                  <a:pt x="20" y="465"/>
                  <a:pt x="20" y="465"/>
                </a:cubicBezTo>
                <a:cubicBezTo>
                  <a:pt x="20" y="465"/>
                  <a:pt x="20" y="466"/>
                  <a:pt x="19" y="465"/>
                </a:cubicBezTo>
                <a:cubicBezTo>
                  <a:pt x="19" y="465"/>
                  <a:pt x="19" y="466"/>
                  <a:pt x="19" y="466"/>
                </a:cubicBezTo>
                <a:cubicBezTo>
                  <a:pt x="19" y="467"/>
                  <a:pt x="18" y="465"/>
                  <a:pt x="18" y="465"/>
                </a:cubicBezTo>
                <a:cubicBezTo>
                  <a:pt x="17" y="464"/>
                  <a:pt x="17" y="464"/>
                  <a:pt x="16" y="464"/>
                </a:cubicBezTo>
                <a:cubicBezTo>
                  <a:pt x="16" y="464"/>
                  <a:pt x="16" y="463"/>
                  <a:pt x="16" y="463"/>
                </a:cubicBezTo>
                <a:cubicBezTo>
                  <a:pt x="17" y="466"/>
                  <a:pt x="17" y="468"/>
                  <a:pt x="18" y="470"/>
                </a:cubicBezTo>
                <a:cubicBezTo>
                  <a:pt x="18" y="471"/>
                  <a:pt x="19" y="471"/>
                  <a:pt x="18" y="471"/>
                </a:cubicBezTo>
                <a:cubicBezTo>
                  <a:pt x="18" y="472"/>
                  <a:pt x="19" y="472"/>
                  <a:pt x="19" y="472"/>
                </a:cubicBezTo>
                <a:cubicBezTo>
                  <a:pt x="19" y="472"/>
                  <a:pt x="19" y="472"/>
                  <a:pt x="19" y="471"/>
                </a:cubicBezTo>
                <a:cubicBezTo>
                  <a:pt x="20" y="470"/>
                  <a:pt x="21" y="470"/>
                  <a:pt x="22" y="469"/>
                </a:cubicBezTo>
                <a:cubicBezTo>
                  <a:pt x="21" y="468"/>
                  <a:pt x="22" y="466"/>
                  <a:pt x="23" y="467"/>
                </a:cubicBezTo>
                <a:cubicBezTo>
                  <a:pt x="24" y="467"/>
                  <a:pt x="24" y="468"/>
                  <a:pt x="23" y="469"/>
                </a:cubicBezTo>
                <a:cubicBezTo>
                  <a:pt x="23" y="469"/>
                  <a:pt x="23" y="469"/>
                  <a:pt x="24" y="469"/>
                </a:cubicBezTo>
                <a:cubicBezTo>
                  <a:pt x="24" y="469"/>
                  <a:pt x="24" y="469"/>
                  <a:pt x="24" y="469"/>
                </a:cubicBezTo>
                <a:cubicBezTo>
                  <a:pt x="26" y="468"/>
                  <a:pt x="28" y="469"/>
                  <a:pt x="29" y="470"/>
                </a:cubicBezTo>
                <a:cubicBezTo>
                  <a:pt x="29" y="470"/>
                  <a:pt x="30" y="470"/>
                  <a:pt x="30" y="470"/>
                </a:cubicBezTo>
                <a:cubicBezTo>
                  <a:pt x="30" y="470"/>
                  <a:pt x="30" y="470"/>
                  <a:pt x="30" y="470"/>
                </a:cubicBezTo>
                <a:cubicBezTo>
                  <a:pt x="30" y="470"/>
                  <a:pt x="31" y="471"/>
                  <a:pt x="30" y="471"/>
                </a:cubicBezTo>
                <a:cubicBezTo>
                  <a:pt x="32" y="472"/>
                  <a:pt x="33" y="475"/>
                  <a:pt x="33" y="477"/>
                </a:cubicBezTo>
                <a:cubicBezTo>
                  <a:pt x="33" y="477"/>
                  <a:pt x="32" y="480"/>
                  <a:pt x="31" y="480"/>
                </a:cubicBezTo>
                <a:cubicBezTo>
                  <a:pt x="31" y="480"/>
                  <a:pt x="30" y="479"/>
                  <a:pt x="30" y="480"/>
                </a:cubicBezTo>
                <a:cubicBezTo>
                  <a:pt x="30" y="480"/>
                  <a:pt x="30" y="480"/>
                  <a:pt x="30" y="480"/>
                </a:cubicBezTo>
                <a:cubicBezTo>
                  <a:pt x="29" y="480"/>
                  <a:pt x="29" y="481"/>
                  <a:pt x="29" y="481"/>
                </a:cubicBezTo>
                <a:cubicBezTo>
                  <a:pt x="29" y="481"/>
                  <a:pt x="30" y="481"/>
                  <a:pt x="30" y="482"/>
                </a:cubicBezTo>
                <a:cubicBezTo>
                  <a:pt x="30" y="482"/>
                  <a:pt x="29" y="483"/>
                  <a:pt x="28" y="482"/>
                </a:cubicBezTo>
                <a:cubicBezTo>
                  <a:pt x="28" y="482"/>
                  <a:pt x="28" y="482"/>
                  <a:pt x="28" y="482"/>
                </a:cubicBezTo>
                <a:cubicBezTo>
                  <a:pt x="28" y="483"/>
                  <a:pt x="28" y="484"/>
                  <a:pt x="28" y="485"/>
                </a:cubicBezTo>
                <a:cubicBezTo>
                  <a:pt x="29" y="485"/>
                  <a:pt x="31" y="483"/>
                  <a:pt x="32" y="485"/>
                </a:cubicBezTo>
                <a:cubicBezTo>
                  <a:pt x="29" y="485"/>
                  <a:pt x="31" y="486"/>
                  <a:pt x="31" y="489"/>
                </a:cubicBezTo>
                <a:cubicBezTo>
                  <a:pt x="31" y="493"/>
                  <a:pt x="30" y="491"/>
                  <a:pt x="32" y="488"/>
                </a:cubicBezTo>
                <a:cubicBezTo>
                  <a:pt x="33" y="487"/>
                  <a:pt x="33" y="489"/>
                  <a:pt x="35" y="487"/>
                </a:cubicBezTo>
                <a:cubicBezTo>
                  <a:pt x="35" y="486"/>
                  <a:pt x="35" y="484"/>
                  <a:pt x="35" y="482"/>
                </a:cubicBezTo>
                <a:cubicBezTo>
                  <a:pt x="35" y="482"/>
                  <a:pt x="35" y="482"/>
                  <a:pt x="35" y="482"/>
                </a:cubicBezTo>
                <a:cubicBezTo>
                  <a:pt x="35" y="481"/>
                  <a:pt x="35" y="481"/>
                  <a:pt x="35" y="480"/>
                </a:cubicBezTo>
                <a:cubicBezTo>
                  <a:pt x="35" y="482"/>
                  <a:pt x="31" y="480"/>
                  <a:pt x="33" y="479"/>
                </a:cubicBezTo>
                <a:cubicBezTo>
                  <a:pt x="33" y="479"/>
                  <a:pt x="33" y="479"/>
                  <a:pt x="34" y="478"/>
                </a:cubicBezTo>
                <a:cubicBezTo>
                  <a:pt x="34" y="477"/>
                  <a:pt x="35" y="474"/>
                  <a:pt x="36" y="473"/>
                </a:cubicBezTo>
                <a:cubicBezTo>
                  <a:pt x="36" y="470"/>
                  <a:pt x="37" y="470"/>
                  <a:pt x="36" y="473"/>
                </a:cubicBezTo>
                <a:cubicBezTo>
                  <a:pt x="36" y="475"/>
                  <a:pt x="36" y="477"/>
                  <a:pt x="35" y="478"/>
                </a:cubicBezTo>
                <a:cubicBezTo>
                  <a:pt x="37" y="477"/>
                  <a:pt x="35" y="476"/>
                  <a:pt x="36" y="475"/>
                </a:cubicBezTo>
                <a:cubicBezTo>
                  <a:pt x="36" y="474"/>
                  <a:pt x="38" y="473"/>
                  <a:pt x="39" y="472"/>
                </a:cubicBezTo>
                <a:cubicBezTo>
                  <a:pt x="39" y="472"/>
                  <a:pt x="39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39" y="469"/>
                  <a:pt x="43" y="469"/>
                  <a:pt x="42" y="470"/>
                </a:cubicBezTo>
                <a:cubicBezTo>
                  <a:pt x="43" y="470"/>
                  <a:pt x="43" y="470"/>
                  <a:pt x="43" y="470"/>
                </a:cubicBezTo>
                <a:cubicBezTo>
                  <a:pt x="43" y="470"/>
                  <a:pt x="44" y="470"/>
                  <a:pt x="44" y="471"/>
                </a:cubicBezTo>
                <a:cubicBezTo>
                  <a:pt x="44" y="471"/>
                  <a:pt x="44" y="471"/>
                  <a:pt x="44" y="471"/>
                </a:cubicBezTo>
                <a:cubicBezTo>
                  <a:pt x="44" y="471"/>
                  <a:pt x="45" y="473"/>
                  <a:pt x="46" y="474"/>
                </a:cubicBezTo>
                <a:cubicBezTo>
                  <a:pt x="46" y="474"/>
                  <a:pt x="47" y="474"/>
                  <a:pt x="47" y="474"/>
                </a:cubicBezTo>
                <a:cubicBezTo>
                  <a:pt x="47" y="474"/>
                  <a:pt x="47" y="475"/>
                  <a:pt x="47" y="475"/>
                </a:cubicBezTo>
                <a:cubicBezTo>
                  <a:pt x="47" y="475"/>
                  <a:pt x="48" y="475"/>
                  <a:pt x="48" y="474"/>
                </a:cubicBezTo>
                <a:cubicBezTo>
                  <a:pt x="48" y="474"/>
                  <a:pt x="48" y="473"/>
                  <a:pt x="48" y="473"/>
                </a:cubicBezTo>
                <a:cubicBezTo>
                  <a:pt x="49" y="473"/>
                  <a:pt x="56" y="472"/>
                  <a:pt x="53" y="470"/>
                </a:cubicBezTo>
                <a:cubicBezTo>
                  <a:pt x="52" y="470"/>
                  <a:pt x="52" y="471"/>
                  <a:pt x="52" y="471"/>
                </a:cubicBezTo>
                <a:cubicBezTo>
                  <a:pt x="52" y="471"/>
                  <a:pt x="52" y="470"/>
                  <a:pt x="51" y="470"/>
                </a:cubicBezTo>
                <a:cubicBezTo>
                  <a:pt x="50" y="470"/>
                  <a:pt x="49" y="472"/>
                  <a:pt x="48" y="472"/>
                </a:cubicBezTo>
                <a:cubicBezTo>
                  <a:pt x="50" y="471"/>
                  <a:pt x="48" y="468"/>
                  <a:pt x="49" y="467"/>
                </a:cubicBezTo>
                <a:cubicBezTo>
                  <a:pt x="51" y="467"/>
                  <a:pt x="53" y="470"/>
                  <a:pt x="55" y="470"/>
                </a:cubicBezTo>
                <a:cubicBezTo>
                  <a:pt x="58" y="469"/>
                  <a:pt x="59" y="467"/>
                  <a:pt x="60" y="465"/>
                </a:cubicBezTo>
                <a:cubicBezTo>
                  <a:pt x="59" y="466"/>
                  <a:pt x="57" y="466"/>
                  <a:pt x="56" y="465"/>
                </a:cubicBezTo>
                <a:cubicBezTo>
                  <a:pt x="55" y="466"/>
                  <a:pt x="54" y="467"/>
                  <a:pt x="53" y="465"/>
                </a:cubicBezTo>
                <a:cubicBezTo>
                  <a:pt x="52" y="463"/>
                  <a:pt x="48" y="460"/>
                  <a:pt x="50" y="458"/>
                </a:cubicBezTo>
                <a:cubicBezTo>
                  <a:pt x="53" y="455"/>
                  <a:pt x="58" y="451"/>
                  <a:pt x="59" y="445"/>
                </a:cubicBezTo>
                <a:cubicBezTo>
                  <a:pt x="55" y="450"/>
                  <a:pt x="54" y="444"/>
                  <a:pt x="59" y="443"/>
                </a:cubicBezTo>
                <a:cubicBezTo>
                  <a:pt x="58" y="445"/>
                  <a:pt x="60" y="444"/>
                  <a:pt x="61" y="445"/>
                </a:cubicBezTo>
                <a:cubicBezTo>
                  <a:pt x="61" y="445"/>
                  <a:pt x="61" y="446"/>
                  <a:pt x="61" y="446"/>
                </a:cubicBezTo>
                <a:cubicBezTo>
                  <a:pt x="61" y="446"/>
                  <a:pt x="61" y="446"/>
                  <a:pt x="61" y="446"/>
                </a:cubicBezTo>
                <a:cubicBezTo>
                  <a:pt x="63" y="446"/>
                  <a:pt x="60" y="450"/>
                  <a:pt x="60" y="447"/>
                </a:cubicBezTo>
                <a:cubicBezTo>
                  <a:pt x="60" y="447"/>
                  <a:pt x="60" y="447"/>
                  <a:pt x="60" y="447"/>
                </a:cubicBezTo>
                <a:cubicBezTo>
                  <a:pt x="60" y="448"/>
                  <a:pt x="59" y="448"/>
                  <a:pt x="59" y="449"/>
                </a:cubicBezTo>
                <a:cubicBezTo>
                  <a:pt x="59" y="452"/>
                  <a:pt x="59" y="456"/>
                  <a:pt x="60" y="459"/>
                </a:cubicBezTo>
                <a:cubicBezTo>
                  <a:pt x="61" y="459"/>
                  <a:pt x="61" y="459"/>
                  <a:pt x="62" y="460"/>
                </a:cubicBezTo>
                <a:cubicBezTo>
                  <a:pt x="62" y="460"/>
                  <a:pt x="62" y="460"/>
                  <a:pt x="62" y="461"/>
                </a:cubicBezTo>
                <a:cubicBezTo>
                  <a:pt x="63" y="462"/>
                  <a:pt x="64" y="461"/>
                  <a:pt x="66" y="457"/>
                </a:cubicBezTo>
                <a:cubicBezTo>
                  <a:pt x="67" y="464"/>
                  <a:pt x="71" y="455"/>
                  <a:pt x="70" y="453"/>
                </a:cubicBezTo>
                <a:cubicBezTo>
                  <a:pt x="70" y="453"/>
                  <a:pt x="68" y="453"/>
                  <a:pt x="68" y="452"/>
                </a:cubicBezTo>
                <a:cubicBezTo>
                  <a:pt x="67" y="452"/>
                  <a:pt x="68" y="449"/>
                  <a:pt x="68" y="447"/>
                </a:cubicBezTo>
                <a:cubicBezTo>
                  <a:pt x="69" y="446"/>
                  <a:pt x="73" y="440"/>
                  <a:pt x="72" y="445"/>
                </a:cubicBezTo>
                <a:cubicBezTo>
                  <a:pt x="71" y="446"/>
                  <a:pt x="71" y="448"/>
                  <a:pt x="71" y="449"/>
                </a:cubicBezTo>
                <a:cubicBezTo>
                  <a:pt x="72" y="449"/>
                  <a:pt x="72" y="449"/>
                  <a:pt x="71" y="449"/>
                </a:cubicBezTo>
                <a:cubicBezTo>
                  <a:pt x="71" y="449"/>
                  <a:pt x="71" y="449"/>
                  <a:pt x="71" y="449"/>
                </a:cubicBezTo>
                <a:cubicBezTo>
                  <a:pt x="71" y="450"/>
                  <a:pt x="71" y="452"/>
                  <a:pt x="71" y="453"/>
                </a:cubicBezTo>
                <a:cubicBezTo>
                  <a:pt x="71" y="455"/>
                  <a:pt x="70" y="457"/>
                  <a:pt x="70" y="458"/>
                </a:cubicBezTo>
                <a:cubicBezTo>
                  <a:pt x="70" y="458"/>
                  <a:pt x="70" y="458"/>
                  <a:pt x="71" y="459"/>
                </a:cubicBezTo>
                <a:cubicBezTo>
                  <a:pt x="71" y="459"/>
                  <a:pt x="72" y="459"/>
                  <a:pt x="72" y="460"/>
                </a:cubicBezTo>
                <a:cubicBezTo>
                  <a:pt x="71" y="460"/>
                  <a:pt x="71" y="460"/>
                  <a:pt x="71" y="460"/>
                </a:cubicBezTo>
                <a:cubicBezTo>
                  <a:pt x="71" y="461"/>
                  <a:pt x="72" y="461"/>
                  <a:pt x="72" y="461"/>
                </a:cubicBezTo>
                <a:cubicBezTo>
                  <a:pt x="74" y="461"/>
                  <a:pt x="74" y="453"/>
                  <a:pt x="73" y="450"/>
                </a:cubicBezTo>
                <a:cubicBezTo>
                  <a:pt x="73" y="450"/>
                  <a:pt x="73" y="451"/>
                  <a:pt x="73" y="450"/>
                </a:cubicBezTo>
                <a:cubicBezTo>
                  <a:pt x="72" y="450"/>
                  <a:pt x="73" y="449"/>
                  <a:pt x="73" y="449"/>
                </a:cubicBezTo>
                <a:cubicBezTo>
                  <a:pt x="73" y="449"/>
                  <a:pt x="73" y="449"/>
                  <a:pt x="73" y="449"/>
                </a:cubicBezTo>
                <a:cubicBezTo>
                  <a:pt x="73" y="449"/>
                  <a:pt x="74" y="448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5"/>
                  <a:pt x="74" y="442"/>
                  <a:pt x="75" y="442"/>
                </a:cubicBezTo>
                <a:cubicBezTo>
                  <a:pt x="78" y="440"/>
                  <a:pt x="73" y="455"/>
                  <a:pt x="78" y="450"/>
                </a:cubicBezTo>
                <a:cubicBezTo>
                  <a:pt x="79" y="450"/>
                  <a:pt x="83" y="445"/>
                  <a:pt x="83" y="445"/>
                </a:cubicBezTo>
                <a:cubicBezTo>
                  <a:pt x="82" y="444"/>
                  <a:pt x="81" y="445"/>
                  <a:pt x="80" y="445"/>
                </a:cubicBezTo>
                <a:cubicBezTo>
                  <a:pt x="78" y="444"/>
                  <a:pt x="79" y="441"/>
                  <a:pt x="80" y="441"/>
                </a:cubicBezTo>
                <a:cubicBezTo>
                  <a:pt x="82" y="440"/>
                  <a:pt x="82" y="442"/>
                  <a:pt x="83" y="442"/>
                </a:cubicBezTo>
                <a:cubicBezTo>
                  <a:pt x="85" y="441"/>
                  <a:pt x="85" y="439"/>
                  <a:pt x="86" y="437"/>
                </a:cubicBezTo>
                <a:cubicBezTo>
                  <a:pt x="86" y="438"/>
                  <a:pt x="85" y="438"/>
                  <a:pt x="85" y="438"/>
                </a:cubicBezTo>
                <a:cubicBezTo>
                  <a:pt x="85" y="437"/>
                  <a:pt x="86" y="437"/>
                  <a:pt x="86" y="437"/>
                </a:cubicBezTo>
                <a:cubicBezTo>
                  <a:pt x="86" y="435"/>
                  <a:pt x="87" y="434"/>
                  <a:pt x="88" y="432"/>
                </a:cubicBezTo>
                <a:cubicBezTo>
                  <a:pt x="90" y="430"/>
                  <a:pt x="91" y="426"/>
                  <a:pt x="91" y="426"/>
                </a:cubicBezTo>
                <a:cubicBezTo>
                  <a:pt x="91" y="426"/>
                  <a:pt x="93" y="428"/>
                  <a:pt x="95" y="428"/>
                </a:cubicBezTo>
                <a:cubicBezTo>
                  <a:pt x="97" y="428"/>
                  <a:pt x="96" y="426"/>
                  <a:pt x="97" y="428"/>
                </a:cubicBezTo>
                <a:cubicBezTo>
                  <a:pt x="97" y="430"/>
                  <a:pt x="98" y="428"/>
                  <a:pt x="98" y="430"/>
                </a:cubicBezTo>
                <a:cubicBezTo>
                  <a:pt x="98" y="432"/>
                  <a:pt x="95" y="437"/>
                  <a:pt x="92" y="435"/>
                </a:cubicBezTo>
                <a:cubicBezTo>
                  <a:pt x="91" y="435"/>
                  <a:pt x="91" y="433"/>
                  <a:pt x="89" y="435"/>
                </a:cubicBezTo>
                <a:cubicBezTo>
                  <a:pt x="89" y="436"/>
                  <a:pt x="90" y="437"/>
                  <a:pt x="89" y="439"/>
                </a:cubicBezTo>
                <a:cubicBezTo>
                  <a:pt x="88" y="441"/>
                  <a:pt x="84" y="445"/>
                  <a:pt x="83" y="448"/>
                </a:cubicBezTo>
                <a:cubicBezTo>
                  <a:pt x="82" y="450"/>
                  <a:pt x="83" y="453"/>
                  <a:pt x="81" y="456"/>
                </a:cubicBezTo>
                <a:cubicBezTo>
                  <a:pt x="80" y="458"/>
                  <a:pt x="75" y="461"/>
                  <a:pt x="75" y="463"/>
                </a:cubicBezTo>
                <a:cubicBezTo>
                  <a:pt x="75" y="463"/>
                  <a:pt x="76" y="464"/>
                  <a:pt x="76" y="464"/>
                </a:cubicBezTo>
                <a:cubicBezTo>
                  <a:pt x="77" y="464"/>
                  <a:pt x="77" y="464"/>
                  <a:pt x="77" y="464"/>
                </a:cubicBezTo>
                <a:cubicBezTo>
                  <a:pt x="77" y="465"/>
                  <a:pt x="77" y="465"/>
                  <a:pt x="77" y="465"/>
                </a:cubicBezTo>
                <a:cubicBezTo>
                  <a:pt x="79" y="466"/>
                  <a:pt x="83" y="467"/>
                  <a:pt x="86" y="467"/>
                </a:cubicBezTo>
                <a:cubicBezTo>
                  <a:pt x="86" y="467"/>
                  <a:pt x="86" y="466"/>
                  <a:pt x="86" y="466"/>
                </a:cubicBezTo>
                <a:cubicBezTo>
                  <a:pt x="86" y="465"/>
                  <a:pt x="86" y="465"/>
                  <a:pt x="86" y="464"/>
                </a:cubicBezTo>
                <a:cubicBezTo>
                  <a:pt x="87" y="460"/>
                  <a:pt x="94" y="456"/>
                  <a:pt x="98" y="458"/>
                </a:cubicBezTo>
                <a:cubicBezTo>
                  <a:pt x="98" y="458"/>
                  <a:pt x="98" y="459"/>
                  <a:pt x="99" y="459"/>
                </a:cubicBezTo>
                <a:cubicBezTo>
                  <a:pt x="99" y="459"/>
                  <a:pt x="99" y="459"/>
                  <a:pt x="99" y="459"/>
                </a:cubicBezTo>
                <a:cubicBezTo>
                  <a:pt x="100" y="458"/>
                  <a:pt x="99" y="459"/>
                  <a:pt x="99" y="459"/>
                </a:cubicBezTo>
                <a:cubicBezTo>
                  <a:pt x="99" y="459"/>
                  <a:pt x="99" y="459"/>
                  <a:pt x="99" y="460"/>
                </a:cubicBezTo>
                <a:cubicBezTo>
                  <a:pt x="100" y="459"/>
                  <a:pt x="101" y="459"/>
                  <a:pt x="101" y="458"/>
                </a:cubicBezTo>
                <a:cubicBezTo>
                  <a:pt x="103" y="459"/>
                  <a:pt x="103" y="456"/>
                  <a:pt x="105" y="456"/>
                </a:cubicBezTo>
                <a:cubicBezTo>
                  <a:pt x="106" y="455"/>
                  <a:pt x="108" y="458"/>
                  <a:pt x="108" y="455"/>
                </a:cubicBezTo>
                <a:cubicBezTo>
                  <a:pt x="108" y="460"/>
                  <a:pt x="116" y="452"/>
                  <a:pt x="116" y="451"/>
                </a:cubicBezTo>
                <a:cubicBezTo>
                  <a:pt x="116" y="451"/>
                  <a:pt x="110" y="450"/>
                  <a:pt x="110" y="450"/>
                </a:cubicBezTo>
                <a:cubicBezTo>
                  <a:pt x="110" y="450"/>
                  <a:pt x="110" y="450"/>
                  <a:pt x="110" y="450"/>
                </a:cubicBezTo>
                <a:cubicBezTo>
                  <a:pt x="110" y="451"/>
                  <a:pt x="110" y="451"/>
                  <a:pt x="110" y="451"/>
                </a:cubicBezTo>
                <a:cubicBezTo>
                  <a:pt x="109" y="451"/>
                  <a:pt x="109" y="452"/>
                  <a:pt x="108" y="451"/>
                </a:cubicBezTo>
                <a:cubicBezTo>
                  <a:pt x="107" y="450"/>
                  <a:pt x="109" y="450"/>
                  <a:pt x="110" y="449"/>
                </a:cubicBezTo>
                <a:cubicBezTo>
                  <a:pt x="110" y="449"/>
                  <a:pt x="110" y="449"/>
                  <a:pt x="109" y="449"/>
                </a:cubicBezTo>
                <a:cubicBezTo>
                  <a:pt x="109" y="449"/>
                  <a:pt x="108" y="448"/>
                  <a:pt x="108" y="447"/>
                </a:cubicBezTo>
                <a:cubicBezTo>
                  <a:pt x="108" y="447"/>
                  <a:pt x="108" y="446"/>
                  <a:pt x="108" y="446"/>
                </a:cubicBezTo>
                <a:cubicBezTo>
                  <a:pt x="108" y="446"/>
                  <a:pt x="108" y="445"/>
                  <a:pt x="108" y="444"/>
                </a:cubicBezTo>
                <a:cubicBezTo>
                  <a:pt x="108" y="444"/>
                  <a:pt x="110" y="441"/>
                  <a:pt x="111" y="441"/>
                </a:cubicBezTo>
                <a:cubicBezTo>
                  <a:pt x="112" y="440"/>
                  <a:pt x="114" y="435"/>
                  <a:pt x="115" y="436"/>
                </a:cubicBezTo>
                <a:cubicBezTo>
                  <a:pt x="116" y="436"/>
                  <a:pt x="114" y="438"/>
                  <a:pt x="115" y="439"/>
                </a:cubicBezTo>
                <a:cubicBezTo>
                  <a:pt x="115" y="440"/>
                  <a:pt x="117" y="439"/>
                  <a:pt x="118" y="439"/>
                </a:cubicBezTo>
                <a:cubicBezTo>
                  <a:pt x="119" y="439"/>
                  <a:pt x="118" y="441"/>
                  <a:pt x="119" y="442"/>
                </a:cubicBezTo>
                <a:cubicBezTo>
                  <a:pt x="119" y="441"/>
                  <a:pt x="121" y="440"/>
                  <a:pt x="122" y="442"/>
                </a:cubicBezTo>
                <a:cubicBezTo>
                  <a:pt x="122" y="444"/>
                  <a:pt x="120" y="443"/>
                  <a:pt x="120" y="444"/>
                </a:cubicBezTo>
                <a:cubicBezTo>
                  <a:pt x="119" y="444"/>
                  <a:pt x="120" y="445"/>
                  <a:pt x="120" y="445"/>
                </a:cubicBezTo>
                <a:cubicBezTo>
                  <a:pt x="121" y="446"/>
                  <a:pt x="119" y="447"/>
                  <a:pt x="118" y="448"/>
                </a:cubicBezTo>
                <a:cubicBezTo>
                  <a:pt x="118" y="449"/>
                  <a:pt x="119" y="450"/>
                  <a:pt x="119" y="450"/>
                </a:cubicBezTo>
                <a:cubicBezTo>
                  <a:pt x="117" y="453"/>
                  <a:pt x="112" y="455"/>
                  <a:pt x="113" y="460"/>
                </a:cubicBezTo>
                <a:cubicBezTo>
                  <a:pt x="113" y="461"/>
                  <a:pt x="114" y="460"/>
                  <a:pt x="115" y="460"/>
                </a:cubicBezTo>
                <a:cubicBezTo>
                  <a:pt x="114" y="463"/>
                  <a:pt x="112" y="471"/>
                  <a:pt x="107" y="472"/>
                </a:cubicBezTo>
                <a:cubicBezTo>
                  <a:pt x="106" y="472"/>
                  <a:pt x="104" y="471"/>
                  <a:pt x="103" y="471"/>
                </a:cubicBezTo>
                <a:cubicBezTo>
                  <a:pt x="102" y="471"/>
                  <a:pt x="102" y="470"/>
                  <a:pt x="101" y="469"/>
                </a:cubicBezTo>
                <a:cubicBezTo>
                  <a:pt x="101" y="469"/>
                  <a:pt x="100" y="469"/>
                  <a:pt x="100" y="468"/>
                </a:cubicBezTo>
                <a:cubicBezTo>
                  <a:pt x="100" y="468"/>
                  <a:pt x="100" y="468"/>
                  <a:pt x="100" y="468"/>
                </a:cubicBezTo>
                <a:cubicBezTo>
                  <a:pt x="100" y="468"/>
                  <a:pt x="100" y="467"/>
                  <a:pt x="99" y="467"/>
                </a:cubicBezTo>
                <a:cubicBezTo>
                  <a:pt x="98" y="468"/>
                  <a:pt x="96" y="470"/>
                  <a:pt x="95" y="470"/>
                </a:cubicBezTo>
                <a:cubicBezTo>
                  <a:pt x="96" y="472"/>
                  <a:pt x="98" y="470"/>
                  <a:pt x="99" y="470"/>
                </a:cubicBezTo>
                <a:cubicBezTo>
                  <a:pt x="98" y="471"/>
                  <a:pt x="98" y="471"/>
                  <a:pt x="98" y="472"/>
                </a:cubicBezTo>
                <a:cubicBezTo>
                  <a:pt x="99" y="472"/>
                  <a:pt x="100" y="472"/>
                  <a:pt x="100" y="472"/>
                </a:cubicBezTo>
                <a:cubicBezTo>
                  <a:pt x="101" y="473"/>
                  <a:pt x="99" y="473"/>
                  <a:pt x="99" y="473"/>
                </a:cubicBezTo>
                <a:cubicBezTo>
                  <a:pt x="98" y="475"/>
                  <a:pt x="100" y="474"/>
                  <a:pt x="99" y="476"/>
                </a:cubicBezTo>
                <a:cubicBezTo>
                  <a:pt x="98" y="478"/>
                  <a:pt x="95" y="477"/>
                  <a:pt x="94" y="478"/>
                </a:cubicBezTo>
                <a:cubicBezTo>
                  <a:pt x="94" y="478"/>
                  <a:pt x="94" y="478"/>
                  <a:pt x="94" y="479"/>
                </a:cubicBezTo>
                <a:cubicBezTo>
                  <a:pt x="95" y="479"/>
                  <a:pt x="95" y="479"/>
                  <a:pt x="96" y="479"/>
                </a:cubicBezTo>
                <a:cubicBezTo>
                  <a:pt x="96" y="480"/>
                  <a:pt x="94" y="481"/>
                  <a:pt x="95" y="483"/>
                </a:cubicBezTo>
                <a:cubicBezTo>
                  <a:pt x="95" y="483"/>
                  <a:pt x="96" y="483"/>
                  <a:pt x="96" y="483"/>
                </a:cubicBezTo>
                <a:cubicBezTo>
                  <a:pt x="96" y="483"/>
                  <a:pt x="97" y="487"/>
                  <a:pt x="97" y="487"/>
                </a:cubicBezTo>
                <a:cubicBezTo>
                  <a:pt x="96" y="489"/>
                  <a:pt x="94" y="487"/>
                  <a:pt x="92" y="488"/>
                </a:cubicBezTo>
                <a:cubicBezTo>
                  <a:pt x="93" y="488"/>
                  <a:pt x="90" y="490"/>
                  <a:pt x="90" y="490"/>
                </a:cubicBezTo>
                <a:cubicBezTo>
                  <a:pt x="90" y="491"/>
                  <a:pt x="91" y="491"/>
                  <a:pt x="91" y="492"/>
                </a:cubicBezTo>
                <a:cubicBezTo>
                  <a:pt x="90" y="495"/>
                  <a:pt x="89" y="494"/>
                  <a:pt x="89" y="497"/>
                </a:cubicBezTo>
                <a:cubicBezTo>
                  <a:pt x="89" y="498"/>
                  <a:pt x="86" y="502"/>
                  <a:pt x="84" y="502"/>
                </a:cubicBezTo>
                <a:cubicBezTo>
                  <a:pt x="80" y="502"/>
                  <a:pt x="82" y="494"/>
                  <a:pt x="76" y="496"/>
                </a:cubicBezTo>
                <a:cubicBezTo>
                  <a:pt x="75" y="491"/>
                  <a:pt x="70" y="501"/>
                  <a:pt x="69" y="501"/>
                </a:cubicBezTo>
                <a:cubicBezTo>
                  <a:pt x="69" y="501"/>
                  <a:pt x="69" y="501"/>
                  <a:pt x="69" y="501"/>
                </a:cubicBezTo>
                <a:cubicBezTo>
                  <a:pt x="69" y="501"/>
                  <a:pt x="69" y="502"/>
                  <a:pt x="68" y="501"/>
                </a:cubicBezTo>
                <a:cubicBezTo>
                  <a:pt x="68" y="501"/>
                  <a:pt x="68" y="501"/>
                  <a:pt x="68" y="501"/>
                </a:cubicBezTo>
                <a:cubicBezTo>
                  <a:pt x="68" y="500"/>
                  <a:pt x="69" y="500"/>
                  <a:pt x="69" y="501"/>
                </a:cubicBezTo>
                <a:cubicBezTo>
                  <a:pt x="69" y="499"/>
                  <a:pt x="73" y="494"/>
                  <a:pt x="68" y="496"/>
                </a:cubicBezTo>
                <a:cubicBezTo>
                  <a:pt x="67" y="497"/>
                  <a:pt x="69" y="499"/>
                  <a:pt x="68" y="500"/>
                </a:cubicBezTo>
                <a:cubicBezTo>
                  <a:pt x="67" y="501"/>
                  <a:pt x="64" y="500"/>
                  <a:pt x="62" y="500"/>
                </a:cubicBezTo>
                <a:cubicBezTo>
                  <a:pt x="62" y="500"/>
                  <a:pt x="61" y="504"/>
                  <a:pt x="61" y="505"/>
                </a:cubicBezTo>
                <a:cubicBezTo>
                  <a:pt x="62" y="506"/>
                  <a:pt x="63" y="506"/>
                  <a:pt x="62" y="508"/>
                </a:cubicBezTo>
                <a:cubicBezTo>
                  <a:pt x="62" y="508"/>
                  <a:pt x="62" y="507"/>
                  <a:pt x="63" y="507"/>
                </a:cubicBezTo>
                <a:cubicBezTo>
                  <a:pt x="62" y="508"/>
                  <a:pt x="62" y="509"/>
                  <a:pt x="65" y="508"/>
                </a:cubicBezTo>
                <a:cubicBezTo>
                  <a:pt x="63" y="511"/>
                  <a:pt x="60" y="511"/>
                  <a:pt x="61" y="514"/>
                </a:cubicBezTo>
                <a:cubicBezTo>
                  <a:pt x="61" y="514"/>
                  <a:pt x="67" y="516"/>
                  <a:pt x="66" y="517"/>
                </a:cubicBezTo>
                <a:cubicBezTo>
                  <a:pt x="70" y="515"/>
                  <a:pt x="64" y="513"/>
                  <a:pt x="65" y="510"/>
                </a:cubicBezTo>
                <a:cubicBezTo>
                  <a:pt x="66" y="507"/>
                  <a:pt x="68" y="514"/>
                  <a:pt x="69" y="514"/>
                </a:cubicBezTo>
                <a:cubicBezTo>
                  <a:pt x="70" y="515"/>
                  <a:pt x="69" y="514"/>
                  <a:pt x="70" y="514"/>
                </a:cubicBezTo>
                <a:cubicBezTo>
                  <a:pt x="72" y="513"/>
                  <a:pt x="73" y="516"/>
                  <a:pt x="74" y="514"/>
                </a:cubicBezTo>
                <a:cubicBezTo>
                  <a:pt x="74" y="514"/>
                  <a:pt x="71" y="514"/>
                  <a:pt x="72" y="512"/>
                </a:cubicBezTo>
                <a:cubicBezTo>
                  <a:pt x="73" y="511"/>
                  <a:pt x="75" y="513"/>
                  <a:pt x="75" y="513"/>
                </a:cubicBezTo>
                <a:cubicBezTo>
                  <a:pt x="76" y="513"/>
                  <a:pt x="77" y="513"/>
                  <a:pt x="78" y="514"/>
                </a:cubicBezTo>
                <a:cubicBezTo>
                  <a:pt x="78" y="513"/>
                  <a:pt x="78" y="513"/>
                  <a:pt x="78" y="513"/>
                </a:cubicBezTo>
                <a:cubicBezTo>
                  <a:pt x="78" y="513"/>
                  <a:pt x="78" y="514"/>
                  <a:pt x="78" y="515"/>
                </a:cubicBezTo>
                <a:cubicBezTo>
                  <a:pt x="78" y="517"/>
                  <a:pt x="78" y="519"/>
                  <a:pt x="78" y="520"/>
                </a:cubicBezTo>
                <a:cubicBezTo>
                  <a:pt x="78" y="520"/>
                  <a:pt x="78" y="520"/>
                  <a:pt x="78" y="520"/>
                </a:cubicBezTo>
                <a:cubicBezTo>
                  <a:pt x="79" y="520"/>
                  <a:pt x="78" y="519"/>
                  <a:pt x="79" y="519"/>
                </a:cubicBezTo>
                <a:cubicBezTo>
                  <a:pt x="80" y="520"/>
                  <a:pt x="80" y="520"/>
                  <a:pt x="81" y="520"/>
                </a:cubicBezTo>
                <a:cubicBezTo>
                  <a:pt x="81" y="518"/>
                  <a:pt x="82" y="515"/>
                  <a:pt x="82" y="515"/>
                </a:cubicBezTo>
                <a:cubicBezTo>
                  <a:pt x="84" y="514"/>
                  <a:pt x="85" y="516"/>
                  <a:pt x="86" y="514"/>
                </a:cubicBezTo>
                <a:cubicBezTo>
                  <a:pt x="86" y="513"/>
                  <a:pt x="84" y="512"/>
                  <a:pt x="84" y="511"/>
                </a:cubicBezTo>
                <a:cubicBezTo>
                  <a:pt x="84" y="511"/>
                  <a:pt x="83" y="509"/>
                  <a:pt x="84" y="509"/>
                </a:cubicBezTo>
                <a:cubicBezTo>
                  <a:pt x="82" y="509"/>
                  <a:pt x="80" y="511"/>
                  <a:pt x="80" y="510"/>
                </a:cubicBezTo>
                <a:cubicBezTo>
                  <a:pt x="79" y="510"/>
                  <a:pt x="80" y="508"/>
                  <a:pt x="81" y="507"/>
                </a:cubicBezTo>
                <a:cubicBezTo>
                  <a:pt x="82" y="510"/>
                  <a:pt x="84" y="506"/>
                  <a:pt x="85" y="505"/>
                </a:cubicBezTo>
                <a:cubicBezTo>
                  <a:pt x="86" y="504"/>
                  <a:pt x="89" y="504"/>
                  <a:pt x="89" y="504"/>
                </a:cubicBezTo>
                <a:cubicBezTo>
                  <a:pt x="90" y="503"/>
                  <a:pt x="88" y="501"/>
                  <a:pt x="90" y="501"/>
                </a:cubicBezTo>
                <a:cubicBezTo>
                  <a:pt x="91" y="501"/>
                  <a:pt x="90" y="502"/>
                  <a:pt x="90" y="502"/>
                </a:cubicBezTo>
                <a:cubicBezTo>
                  <a:pt x="91" y="503"/>
                  <a:pt x="93" y="501"/>
                  <a:pt x="94" y="502"/>
                </a:cubicBezTo>
                <a:cubicBezTo>
                  <a:pt x="95" y="502"/>
                  <a:pt x="94" y="504"/>
                  <a:pt x="94" y="505"/>
                </a:cubicBezTo>
                <a:cubicBezTo>
                  <a:pt x="94" y="506"/>
                  <a:pt x="94" y="507"/>
                  <a:pt x="94" y="508"/>
                </a:cubicBezTo>
                <a:cubicBezTo>
                  <a:pt x="97" y="507"/>
                  <a:pt x="101" y="507"/>
                  <a:pt x="102" y="508"/>
                </a:cubicBezTo>
                <a:cubicBezTo>
                  <a:pt x="103" y="509"/>
                  <a:pt x="101" y="511"/>
                  <a:pt x="104" y="510"/>
                </a:cubicBezTo>
                <a:cubicBezTo>
                  <a:pt x="102" y="512"/>
                  <a:pt x="106" y="513"/>
                  <a:pt x="106" y="514"/>
                </a:cubicBezTo>
                <a:cubicBezTo>
                  <a:pt x="106" y="515"/>
                  <a:pt x="104" y="516"/>
                  <a:pt x="104" y="516"/>
                </a:cubicBezTo>
                <a:cubicBezTo>
                  <a:pt x="104" y="516"/>
                  <a:pt x="105" y="517"/>
                  <a:pt x="104" y="518"/>
                </a:cubicBezTo>
                <a:cubicBezTo>
                  <a:pt x="104" y="518"/>
                  <a:pt x="104" y="518"/>
                  <a:pt x="104" y="518"/>
                </a:cubicBezTo>
                <a:cubicBezTo>
                  <a:pt x="105" y="519"/>
                  <a:pt x="106" y="520"/>
                  <a:pt x="106" y="522"/>
                </a:cubicBezTo>
                <a:cubicBezTo>
                  <a:pt x="106" y="522"/>
                  <a:pt x="107" y="522"/>
                  <a:pt x="107" y="522"/>
                </a:cubicBezTo>
                <a:cubicBezTo>
                  <a:pt x="107" y="521"/>
                  <a:pt x="106" y="521"/>
                  <a:pt x="106" y="520"/>
                </a:cubicBezTo>
                <a:cubicBezTo>
                  <a:pt x="106" y="519"/>
                  <a:pt x="107" y="518"/>
                  <a:pt x="108" y="518"/>
                </a:cubicBezTo>
                <a:cubicBezTo>
                  <a:pt x="108" y="517"/>
                  <a:pt x="108" y="517"/>
                  <a:pt x="109" y="516"/>
                </a:cubicBezTo>
                <a:cubicBezTo>
                  <a:pt x="109" y="516"/>
                  <a:pt x="108" y="516"/>
                  <a:pt x="108" y="516"/>
                </a:cubicBezTo>
                <a:cubicBezTo>
                  <a:pt x="108" y="515"/>
                  <a:pt x="109" y="515"/>
                  <a:pt x="109" y="515"/>
                </a:cubicBezTo>
                <a:cubicBezTo>
                  <a:pt x="111" y="514"/>
                  <a:pt x="112" y="513"/>
                  <a:pt x="113" y="512"/>
                </a:cubicBezTo>
                <a:cubicBezTo>
                  <a:pt x="112" y="514"/>
                  <a:pt x="115" y="514"/>
                  <a:pt x="115" y="514"/>
                </a:cubicBezTo>
                <a:cubicBezTo>
                  <a:pt x="115" y="514"/>
                  <a:pt x="116" y="514"/>
                  <a:pt x="116" y="514"/>
                </a:cubicBezTo>
                <a:cubicBezTo>
                  <a:pt x="116" y="514"/>
                  <a:pt x="116" y="514"/>
                  <a:pt x="116" y="514"/>
                </a:cubicBezTo>
                <a:cubicBezTo>
                  <a:pt x="115" y="514"/>
                  <a:pt x="115" y="513"/>
                  <a:pt x="115" y="513"/>
                </a:cubicBezTo>
                <a:cubicBezTo>
                  <a:pt x="114" y="512"/>
                  <a:pt x="115" y="508"/>
                  <a:pt x="115" y="507"/>
                </a:cubicBezTo>
                <a:cubicBezTo>
                  <a:pt x="116" y="507"/>
                  <a:pt x="116" y="508"/>
                  <a:pt x="117" y="508"/>
                </a:cubicBezTo>
                <a:cubicBezTo>
                  <a:pt x="118" y="507"/>
                  <a:pt x="120" y="504"/>
                  <a:pt x="123" y="505"/>
                </a:cubicBezTo>
                <a:cubicBezTo>
                  <a:pt x="122" y="507"/>
                  <a:pt x="120" y="506"/>
                  <a:pt x="120" y="507"/>
                </a:cubicBezTo>
                <a:cubicBezTo>
                  <a:pt x="119" y="508"/>
                  <a:pt x="121" y="508"/>
                  <a:pt x="121" y="508"/>
                </a:cubicBezTo>
                <a:cubicBezTo>
                  <a:pt x="122" y="510"/>
                  <a:pt x="120" y="514"/>
                  <a:pt x="117" y="514"/>
                </a:cubicBezTo>
                <a:cubicBezTo>
                  <a:pt x="117" y="515"/>
                  <a:pt x="117" y="516"/>
                  <a:pt x="116" y="517"/>
                </a:cubicBezTo>
                <a:cubicBezTo>
                  <a:pt x="117" y="517"/>
                  <a:pt x="117" y="517"/>
                  <a:pt x="117" y="517"/>
                </a:cubicBezTo>
                <a:cubicBezTo>
                  <a:pt x="118" y="515"/>
                  <a:pt x="121" y="515"/>
                  <a:pt x="122" y="513"/>
                </a:cubicBezTo>
                <a:cubicBezTo>
                  <a:pt x="122" y="512"/>
                  <a:pt x="122" y="511"/>
                  <a:pt x="122" y="510"/>
                </a:cubicBezTo>
                <a:cubicBezTo>
                  <a:pt x="122" y="510"/>
                  <a:pt x="123" y="509"/>
                  <a:pt x="123" y="508"/>
                </a:cubicBezTo>
                <a:cubicBezTo>
                  <a:pt x="123" y="507"/>
                  <a:pt x="122" y="508"/>
                  <a:pt x="122" y="507"/>
                </a:cubicBezTo>
                <a:cubicBezTo>
                  <a:pt x="123" y="506"/>
                  <a:pt x="124" y="505"/>
                  <a:pt x="124" y="506"/>
                </a:cubicBezTo>
                <a:cubicBezTo>
                  <a:pt x="125" y="506"/>
                  <a:pt x="124" y="508"/>
                  <a:pt x="125" y="510"/>
                </a:cubicBezTo>
                <a:cubicBezTo>
                  <a:pt x="125" y="510"/>
                  <a:pt x="127" y="510"/>
                  <a:pt x="128" y="510"/>
                </a:cubicBezTo>
                <a:cubicBezTo>
                  <a:pt x="129" y="511"/>
                  <a:pt x="129" y="513"/>
                  <a:pt x="132" y="511"/>
                </a:cubicBezTo>
                <a:cubicBezTo>
                  <a:pt x="129" y="514"/>
                  <a:pt x="133" y="512"/>
                  <a:pt x="134" y="513"/>
                </a:cubicBezTo>
                <a:cubicBezTo>
                  <a:pt x="133" y="513"/>
                  <a:pt x="134" y="519"/>
                  <a:pt x="134" y="520"/>
                </a:cubicBezTo>
                <a:cubicBezTo>
                  <a:pt x="134" y="521"/>
                  <a:pt x="132" y="523"/>
                  <a:pt x="132" y="525"/>
                </a:cubicBezTo>
                <a:cubicBezTo>
                  <a:pt x="132" y="525"/>
                  <a:pt x="133" y="524"/>
                  <a:pt x="133" y="524"/>
                </a:cubicBezTo>
                <a:cubicBezTo>
                  <a:pt x="133" y="525"/>
                  <a:pt x="133" y="525"/>
                  <a:pt x="132" y="526"/>
                </a:cubicBezTo>
                <a:cubicBezTo>
                  <a:pt x="132" y="526"/>
                  <a:pt x="132" y="526"/>
                  <a:pt x="132" y="527"/>
                </a:cubicBezTo>
                <a:cubicBezTo>
                  <a:pt x="133" y="526"/>
                  <a:pt x="133" y="526"/>
                  <a:pt x="133" y="526"/>
                </a:cubicBezTo>
                <a:cubicBezTo>
                  <a:pt x="133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6" y="524"/>
                  <a:pt x="142" y="524"/>
                  <a:pt x="145" y="524"/>
                </a:cubicBezTo>
                <a:cubicBezTo>
                  <a:pt x="145" y="523"/>
                  <a:pt x="146" y="522"/>
                  <a:pt x="146" y="522"/>
                </a:cubicBezTo>
                <a:cubicBezTo>
                  <a:pt x="147" y="522"/>
                  <a:pt x="147" y="523"/>
                  <a:pt x="147" y="524"/>
                </a:cubicBezTo>
                <a:cubicBezTo>
                  <a:pt x="147" y="524"/>
                  <a:pt x="148" y="524"/>
                  <a:pt x="148" y="525"/>
                </a:cubicBezTo>
                <a:cubicBezTo>
                  <a:pt x="148" y="526"/>
                  <a:pt x="147" y="526"/>
                  <a:pt x="145" y="527"/>
                </a:cubicBezTo>
                <a:cubicBezTo>
                  <a:pt x="146" y="527"/>
                  <a:pt x="146" y="527"/>
                  <a:pt x="146" y="527"/>
                </a:cubicBezTo>
                <a:cubicBezTo>
                  <a:pt x="146" y="529"/>
                  <a:pt x="146" y="530"/>
                  <a:pt x="145" y="530"/>
                </a:cubicBezTo>
                <a:cubicBezTo>
                  <a:pt x="145" y="531"/>
                  <a:pt x="145" y="532"/>
                  <a:pt x="144" y="533"/>
                </a:cubicBezTo>
                <a:cubicBezTo>
                  <a:pt x="144" y="533"/>
                  <a:pt x="143" y="533"/>
                  <a:pt x="142" y="533"/>
                </a:cubicBezTo>
                <a:cubicBezTo>
                  <a:pt x="142" y="534"/>
                  <a:pt x="143" y="534"/>
                  <a:pt x="144" y="533"/>
                </a:cubicBezTo>
                <a:cubicBezTo>
                  <a:pt x="145" y="533"/>
                  <a:pt x="147" y="530"/>
                  <a:pt x="147" y="530"/>
                </a:cubicBezTo>
                <a:cubicBezTo>
                  <a:pt x="148" y="530"/>
                  <a:pt x="148" y="529"/>
                  <a:pt x="147" y="529"/>
                </a:cubicBezTo>
                <a:cubicBezTo>
                  <a:pt x="151" y="528"/>
                  <a:pt x="150" y="537"/>
                  <a:pt x="148" y="535"/>
                </a:cubicBezTo>
                <a:cubicBezTo>
                  <a:pt x="148" y="535"/>
                  <a:pt x="147" y="533"/>
                  <a:pt x="147" y="533"/>
                </a:cubicBezTo>
                <a:cubicBezTo>
                  <a:pt x="146" y="533"/>
                  <a:pt x="143" y="537"/>
                  <a:pt x="141" y="538"/>
                </a:cubicBezTo>
                <a:cubicBezTo>
                  <a:pt x="140" y="538"/>
                  <a:pt x="140" y="538"/>
                  <a:pt x="139" y="539"/>
                </a:cubicBezTo>
                <a:cubicBezTo>
                  <a:pt x="140" y="540"/>
                  <a:pt x="141" y="541"/>
                  <a:pt x="140" y="542"/>
                </a:cubicBezTo>
                <a:cubicBezTo>
                  <a:pt x="140" y="542"/>
                  <a:pt x="139" y="543"/>
                  <a:pt x="139" y="543"/>
                </a:cubicBezTo>
                <a:cubicBezTo>
                  <a:pt x="139" y="543"/>
                  <a:pt x="138" y="546"/>
                  <a:pt x="138" y="547"/>
                </a:cubicBezTo>
                <a:cubicBezTo>
                  <a:pt x="138" y="547"/>
                  <a:pt x="140" y="546"/>
                  <a:pt x="139" y="546"/>
                </a:cubicBezTo>
                <a:cubicBezTo>
                  <a:pt x="139" y="546"/>
                  <a:pt x="141" y="548"/>
                  <a:pt x="140" y="549"/>
                </a:cubicBezTo>
                <a:cubicBezTo>
                  <a:pt x="140" y="549"/>
                  <a:pt x="140" y="549"/>
                  <a:pt x="139" y="549"/>
                </a:cubicBezTo>
                <a:cubicBezTo>
                  <a:pt x="140" y="549"/>
                  <a:pt x="140" y="550"/>
                  <a:pt x="141" y="550"/>
                </a:cubicBezTo>
                <a:cubicBezTo>
                  <a:pt x="141" y="549"/>
                  <a:pt x="141" y="548"/>
                  <a:pt x="142" y="548"/>
                </a:cubicBezTo>
                <a:cubicBezTo>
                  <a:pt x="141" y="548"/>
                  <a:pt x="141" y="548"/>
                  <a:pt x="140" y="548"/>
                </a:cubicBezTo>
                <a:cubicBezTo>
                  <a:pt x="140" y="547"/>
                  <a:pt x="140" y="547"/>
                  <a:pt x="141" y="547"/>
                </a:cubicBezTo>
                <a:cubicBezTo>
                  <a:pt x="141" y="546"/>
                  <a:pt x="142" y="544"/>
                  <a:pt x="142" y="546"/>
                </a:cubicBezTo>
                <a:cubicBezTo>
                  <a:pt x="143" y="546"/>
                  <a:pt x="142" y="546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3" y="546"/>
                  <a:pt x="144" y="546"/>
                  <a:pt x="145" y="548"/>
                </a:cubicBezTo>
                <a:cubicBezTo>
                  <a:pt x="146" y="549"/>
                  <a:pt x="145" y="550"/>
                  <a:pt x="145" y="551"/>
                </a:cubicBezTo>
                <a:cubicBezTo>
                  <a:pt x="145" y="551"/>
                  <a:pt x="145" y="551"/>
                  <a:pt x="145" y="551"/>
                </a:cubicBezTo>
                <a:cubicBezTo>
                  <a:pt x="147" y="551"/>
                  <a:pt x="145" y="551"/>
                  <a:pt x="146" y="552"/>
                </a:cubicBezTo>
                <a:cubicBezTo>
                  <a:pt x="146" y="552"/>
                  <a:pt x="146" y="552"/>
                  <a:pt x="147" y="552"/>
                </a:cubicBezTo>
                <a:cubicBezTo>
                  <a:pt x="147" y="552"/>
                  <a:pt x="147" y="552"/>
                  <a:pt x="147" y="552"/>
                </a:cubicBezTo>
                <a:cubicBezTo>
                  <a:pt x="147" y="551"/>
                  <a:pt x="148" y="551"/>
                  <a:pt x="148" y="551"/>
                </a:cubicBezTo>
                <a:cubicBezTo>
                  <a:pt x="151" y="552"/>
                  <a:pt x="148" y="556"/>
                  <a:pt x="149" y="558"/>
                </a:cubicBezTo>
                <a:cubicBezTo>
                  <a:pt x="150" y="558"/>
                  <a:pt x="152" y="558"/>
                  <a:pt x="152" y="557"/>
                </a:cubicBezTo>
                <a:cubicBezTo>
                  <a:pt x="153" y="557"/>
                  <a:pt x="153" y="556"/>
                  <a:pt x="154" y="555"/>
                </a:cubicBezTo>
                <a:cubicBezTo>
                  <a:pt x="152" y="554"/>
                  <a:pt x="152" y="553"/>
                  <a:pt x="152" y="551"/>
                </a:cubicBezTo>
                <a:cubicBezTo>
                  <a:pt x="154" y="547"/>
                  <a:pt x="159" y="548"/>
                  <a:pt x="160" y="551"/>
                </a:cubicBezTo>
                <a:cubicBezTo>
                  <a:pt x="161" y="551"/>
                  <a:pt x="161" y="551"/>
                  <a:pt x="162" y="550"/>
                </a:cubicBezTo>
                <a:cubicBezTo>
                  <a:pt x="161" y="550"/>
                  <a:pt x="161" y="551"/>
                  <a:pt x="161" y="551"/>
                </a:cubicBezTo>
                <a:cubicBezTo>
                  <a:pt x="163" y="550"/>
                  <a:pt x="165" y="549"/>
                  <a:pt x="167" y="550"/>
                </a:cubicBezTo>
                <a:cubicBezTo>
                  <a:pt x="169" y="549"/>
                  <a:pt x="170" y="549"/>
                  <a:pt x="170" y="549"/>
                </a:cubicBezTo>
                <a:cubicBezTo>
                  <a:pt x="171" y="550"/>
                  <a:pt x="170" y="550"/>
                  <a:pt x="168" y="551"/>
                </a:cubicBezTo>
                <a:cubicBezTo>
                  <a:pt x="168" y="551"/>
                  <a:pt x="169" y="551"/>
                  <a:pt x="169" y="551"/>
                </a:cubicBezTo>
                <a:cubicBezTo>
                  <a:pt x="169" y="552"/>
                  <a:pt x="169" y="553"/>
                  <a:pt x="169" y="554"/>
                </a:cubicBezTo>
                <a:cubicBezTo>
                  <a:pt x="171" y="554"/>
                  <a:pt x="172" y="555"/>
                  <a:pt x="171" y="557"/>
                </a:cubicBezTo>
                <a:cubicBezTo>
                  <a:pt x="170" y="559"/>
                  <a:pt x="171" y="560"/>
                  <a:pt x="171" y="561"/>
                </a:cubicBezTo>
                <a:cubicBezTo>
                  <a:pt x="171" y="561"/>
                  <a:pt x="170" y="562"/>
                  <a:pt x="170" y="563"/>
                </a:cubicBezTo>
                <a:cubicBezTo>
                  <a:pt x="172" y="561"/>
                  <a:pt x="173" y="559"/>
                  <a:pt x="175" y="558"/>
                </a:cubicBezTo>
                <a:cubicBezTo>
                  <a:pt x="173" y="556"/>
                  <a:pt x="171" y="554"/>
                  <a:pt x="175" y="552"/>
                </a:cubicBezTo>
                <a:cubicBezTo>
                  <a:pt x="175" y="551"/>
                  <a:pt x="176" y="551"/>
                  <a:pt x="177" y="551"/>
                </a:cubicBezTo>
                <a:cubicBezTo>
                  <a:pt x="175" y="551"/>
                  <a:pt x="176" y="547"/>
                  <a:pt x="178" y="548"/>
                </a:cubicBezTo>
                <a:cubicBezTo>
                  <a:pt x="179" y="549"/>
                  <a:pt x="178" y="550"/>
                  <a:pt x="178" y="550"/>
                </a:cubicBezTo>
                <a:cubicBezTo>
                  <a:pt x="177" y="551"/>
                  <a:pt x="177" y="551"/>
                  <a:pt x="177" y="551"/>
                </a:cubicBezTo>
                <a:cubicBezTo>
                  <a:pt x="179" y="551"/>
                  <a:pt x="181" y="550"/>
                  <a:pt x="182" y="550"/>
                </a:cubicBezTo>
                <a:cubicBezTo>
                  <a:pt x="184" y="548"/>
                  <a:pt x="183" y="547"/>
                  <a:pt x="185" y="549"/>
                </a:cubicBezTo>
                <a:cubicBezTo>
                  <a:pt x="186" y="549"/>
                  <a:pt x="186" y="550"/>
                  <a:pt x="188" y="549"/>
                </a:cubicBezTo>
                <a:cubicBezTo>
                  <a:pt x="188" y="549"/>
                  <a:pt x="191" y="545"/>
                  <a:pt x="191" y="548"/>
                </a:cubicBezTo>
                <a:cubicBezTo>
                  <a:pt x="191" y="549"/>
                  <a:pt x="189" y="549"/>
                  <a:pt x="189" y="549"/>
                </a:cubicBezTo>
                <a:cubicBezTo>
                  <a:pt x="190" y="550"/>
                  <a:pt x="194" y="550"/>
                  <a:pt x="194" y="550"/>
                </a:cubicBezTo>
                <a:cubicBezTo>
                  <a:pt x="194" y="551"/>
                  <a:pt x="190" y="553"/>
                  <a:pt x="192" y="555"/>
                </a:cubicBezTo>
                <a:cubicBezTo>
                  <a:pt x="193" y="555"/>
                  <a:pt x="194" y="555"/>
                  <a:pt x="194" y="555"/>
                </a:cubicBezTo>
                <a:cubicBezTo>
                  <a:pt x="194" y="555"/>
                  <a:pt x="193" y="556"/>
                  <a:pt x="193" y="556"/>
                </a:cubicBezTo>
                <a:cubicBezTo>
                  <a:pt x="192" y="558"/>
                  <a:pt x="192" y="558"/>
                  <a:pt x="193" y="558"/>
                </a:cubicBezTo>
                <a:cubicBezTo>
                  <a:pt x="194" y="558"/>
                  <a:pt x="195" y="558"/>
                  <a:pt x="196" y="559"/>
                </a:cubicBezTo>
                <a:cubicBezTo>
                  <a:pt x="196" y="560"/>
                  <a:pt x="195" y="560"/>
                  <a:pt x="194" y="560"/>
                </a:cubicBezTo>
                <a:cubicBezTo>
                  <a:pt x="194" y="561"/>
                  <a:pt x="194" y="561"/>
                  <a:pt x="194" y="561"/>
                </a:cubicBezTo>
                <a:cubicBezTo>
                  <a:pt x="194" y="562"/>
                  <a:pt x="196" y="561"/>
                  <a:pt x="196" y="562"/>
                </a:cubicBezTo>
                <a:cubicBezTo>
                  <a:pt x="197" y="563"/>
                  <a:pt x="195" y="565"/>
                  <a:pt x="195" y="566"/>
                </a:cubicBezTo>
                <a:cubicBezTo>
                  <a:pt x="197" y="568"/>
                  <a:pt x="199" y="565"/>
                  <a:pt x="201" y="566"/>
                </a:cubicBezTo>
                <a:cubicBezTo>
                  <a:pt x="201" y="566"/>
                  <a:pt x="203" y="568"/>
                  <a:pt x="205" y="566"/>
                </a:cubicBezTo>
                <a:cubicBezTo>
                  <a:pt x="206" y="565"/>
                  <a:pt x="204" y="563"/>
                  <a:pt x="208" y="562"/>
                </a:cubicBezTo>
                <a:cubicBezTo>
                  <a:pt x="209" y="561"/>
                  <a:pt x="214" y="560"/>
                  <a:pt x="214" y="562"/>
                </a:cubicBezTo>
                <a:cubicBezTo>
                  <a:pt x="214" y="563"/>
                  <a:pt x="213" y="562"/>
                  <a:pt x="212" y="563"/>
                </a:cubicBezTo>
                <a:cubicBezTo>
                  <a:pt x="211" y="563"/>
                  <a:pt x="213" y="566"/>
                  <a:pt x="213" y="566"/>
                </a:cubicBezTo>
                <a:cubicBezTo>
                  <a:pt x="212" y="567"/>
                  <a:pt x="210" y="567"/>
                  <a:pt x="210" y="568"/>
                </a:cubicBezTo>
                <a:cubicBezTo>
                  <a:pt x="210" y="568"/>
                  <a:pt x="210" y="568"/>
                  <a:pt x="210" y="568"/>
                </a:cubicBezTo>
                <a:cubicBezTo>
                  <a:pt x="210" y="569"/>
                  <a:pt x="210" y="569"/>
                  <a:pt x="210" y="569"/>
                </a:cubicBezTo>
                <a:cubicBezTo>
                  <a:pt x="210" y="570"/>
                  <a:pt x="211" y="572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10" y="574"/>
                  <a:pt x="210" y="575"/>
                  <a:pt x="208" y="576"/>
                </a:cubicBezTo>
                <a:cubicBezTo>
                  <a:pt x="208" y="576"/>
                  <a:pt x="208" y="576"/>
                  <a:pt x="208" y="576"/>
                </a:cubicBezTo>
                <a:cubicBezTo>
                  <a:pt x="208" y="576"/>
                  <a:pt x="209" y="576"/>
                  <a:pt x="209" y="576"/>
                </a:cubicBezTo>
                <a:cubicBezTo>
                  <a:pt x="210" y="576"/>
                  <a:pt x="210" y="576"/>
                  <a:pt x="211" y="577"/>
                </a:cubicBezTo>
                <a:cubicBezTo>
                  <a:pt x="211" y="577"/>
                  <a:pt x="212" y="577"/>
                  <a:pt x="212" y="577"/>
                </a:cubicBezTo>
                <a:cubicBezTo>
                  <a:pt x="212" y="578"/>
                  <a:pt x="211" y="578"/>
                  <a:pt x="211" y="579"/>
                </a:cubicBezTo>
                <a:cubicBezTo>
                  <a:pt x="211" y="579"/>
                  <a:pt x="211" y="580"/>
                  <a:pt x="211" y="580"/>
                </a:cubicBezTo>
                <a:cubicBezTo>
                  <a:pt x="210" y="581"/>
                  <a:pt x="207" y="580"/>
                  <a:pt x="205" y="581"/>
                </a:cubicBezTo>
                <a:cubicBezTo>
                  <a:pt x="206" y="580"/>
                  <a:pt x="206" y="578"/>
                  <a:pt x="204" y="580"/>
                </a:cubicBezTo>
                <a:cubicBezTo>
                  <a:pt x="202" y="581"/>
                  <a:pt x="204" y="581"/>
                  <a:pt x="204" y="582"/>
                </a:cubicBezTo>
                <a:cubicBezTo>
                  <a:pt x="204" y="582"/>
                  <a:pt x="203" y="582"/>
                  <a:pt x="204" y="583"/>
                </a:cubicBezTo>
                <a:cubicBezTo>
                  <a:pt x="204" y="583"/>
                  <a:pt x="204" y="583"/>
                  <a:pt x="204" y="583"/>
                </a:cubicBezTo>
                <a:cubicBezTo>
                  <a:pt x="206" y="582"/>
                  <a:pt x="208" y="582"/>
                  <a:pt x="210" y="583"/>
                </a:cubicBezTo>
                <a:cubicBezTo>
                  <a:pt x="209" y="583"/>
                  <a:pt x="209" y="582"/>
                  <a:pt x="209" y="582"/>
                </a:cubicBezTo>
                <a:cubicBezTo>
                  <a:pt x="209" y="582"/>
                  <a:pt x="209" y="582"/>
                  <a:pt x="209" y="582"/>
                </a:cubicBezTo>
                <a:cubicBezTo>
                  <a:pt x="210" y="581"/>
                  <a:pt x="210" y="582"/>
                  <a:pt x="210" y="583"/>
                </a:cubicBezTo>
                <a:cubicBezTo>
                  <a:pt x="210" y="583"/>
                  <a:pt x="211" y="584"/>
                  <a:pt x="210" y="585"/>
                </a:cubicBezTo>
                <a:cubicBezTo>
                  <a:pt x="210" y="586"/>
                  <a:pt x="208" y="588"/>
                  <a:pt x="205" y="588"/>
                </a:cubicBezTo>
                <a:cubicBezTo>
                  <a:pt x="206" y="588"/>
                  <a:pt x="206" y="590"/>
                  <a:pt x="206" y="591"/>
                </a:cubicBezTo>
                <a:cubicBezTo>
                  <a:pt x="205" y="592"/>
                  <a:pt x="201" y="592"/>
                  <a:pt x="202" y="593"/>
                </a:cubicBezTo>
                <a:cubicBezTo>
                  <a:pt x="201" y="593"/>
                  <a:pt x="199" y="594"/>
                  <a:pt x="198" y="593"/>
                </a:cubicBezTo>
                <a:cubicBezTo>
                  <a:pt x="195" y="591"/>
                  <a:pt x="196" y="591"/>
                  <a:pt x="192" y="592"/>
                </a:cubicBezTo>
                <a:cubicBezTo>
                  <a:pt x="192" y="592"/>
                  <a:pt x="191" y="592"/>
                  <a:pt x="190" y="592"/>
                </a:cubicBezTo>
                <a:cubicBezTo>
                  <a:pt x="188" y="592"/>
                  <a:pt x="189" y="593"/>
                  <a:pt x="189" y="595"/>
                </a:cubicBezTo>
                <a:cubicBezTo>
                  <a:pt x="187" y="593"/>
                  <a:pt x="188" y="595"/>
                  <a:pt x="189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1" y="597"/>
                  <a:pt x="191" y="596"/>
                </a:cubicBezTo>
                <a:cubicBezTo>
                  <a:pt x="190" y="597"/>
                  <a:pt x="192" y="594"/>
                  <a:pt x="193" y="596"/>
                </a:cubicBezTo>
                <a:cubicBezTo>
                  <a:pt x="193" y="596"/>
                  <a:pt x="190" y="600"/>
                  <a:pt x="193" y="600"/>
                </a:cubicBezTo>
                <a:cubicBezTo>
                  <a:pt x="187" y="601"/>
                  <a:pt x="195" y="604"/>
                  <a:pt x="197" y="605"/>
                </a:cubicBezTo>
                <a:cubicBezTo>
                  <a:pt x="198" y="606"/>
                  <a:pt x="198" y="608"/>
                  <a:pt x="198" y="609"/>
                </a:cubicBezTo>
                <a:cubicBezTo>
                  <a:pt x="199" y="610"/>
                  <a:pt x="200" y="610"/>
                  <a:pt x="199" y="611"/>
                </a:cubicBezTo>
                <a:cubicBezTo>
                  <a:pt x="199" y="611"/>
                  <a:pt x="199" y="611"/>
                  <a:pt x="199" y="611"/>
                </a:cubicBezTo>
                <a:cubicBezTo>
                  <a:pt x="200" y="612"/>
                  <a:pt x="200" y="613"/>
                  <a:pt x="201" y="613"/>
                </a:cubicBezTo>
                <a:cubicBezTo>
                  <a:pt x="201" y="613"/>
                  <a:pt x="201" y="613"/>
                  <a:pt x="202" y="613"/>
                </a:cubicBezTo>
                <a:cubicBezTo>
                  <a:pt x="202" y="613"/>
                  <a:pt x="202" y="613"/>
                  <a:pt x="202" y="612"/>
                </a:cubicBezTo>
                <a:cubicBezTo>
                  <a:pt x="203" y="611"/>
                  <a:pt x="204" y="611"/>
                  <a:pt x="206" y="611"/>
                </a:cubicBezTo>
                <a:cubicBezTo>
                  <a:pt x="207" y="611"/>
                  <a:pt x="208" y="612"/>
                  <a:pt x="208" y="613"/>
                </a:cubicBezTo>
                <a:cubicBezTo>
                  <a:pt x="209" y="613"/>
                  <a:pt x="209" y="612"/>
                  <a:pt x="211" y="612"/>
                </a:cubicBezTo>
                <a:cubicBezTo>
                  <a:pt x="211" y="613"/>
                  <a:pt x="210" y="613"/>
                  <a:pt x="208" y="613"/>
                </a:cubicBezTo>
                <a:cubicBezTo>
                  <a:pt x="208" y="614"/>
                  <a:pt x="208" y="615"/>
                  <a:pt x="207" y="615"/>
                </a:cubicBezTo>
                <a:cubicBezTo>
                  <a:pt x="209" y="616"/>
                  <a:pt x="211" y="616"/>
                  <a:pt x="211" y="616"/>
                </a:cubicBezTo>
                <a:cubicBezTo>
                  <a:pt x="211" y="616"/>
                  <a:pt x="211" y="616"/>
                  <a:pt x="212" y="616"/>
                </a:cubicBezTo>
                <a:cubicBezTo>
                  <a:pt x="211" y="615"/>
                  <a:pt x="210" y="615"/>
                  <a:pt x="209" y="615"/>
                </a:cubicBezTo>
                <a:cubicBezTo>
                  <a:pt x="210" y="614"/>
                  <a:pt x="211" y="614"/>
                  <a:pt x="213" y="615"/>
                </a:cubicBezTo>
                <a:cubicBezTo>
                  <a:pt x="213" y="614"/>
                  <a:pt x="213" y="614"/>
                  <a:pt x="213" y="614"/>
                </a:cubicBezTo>
                <a:cubicBezTo>
                  <a:pt x="213" y="614"/>
                  <a:pt x="214" y="612"/>
                  <a:pt x="215" y="613"/>
                </a:cubicBezTo>
                <a:cubicBezTo>
                  <a:pt x="216" y="612"/>
                  <a:pt x="216" y="612"/>
                  <a:pt x="217" y="613"/>
                </a:cubicBezTo>
                <a:cubicBezTo>
                  <a:pt x="217" y="613"/>
                  <a:pt x="216" y="613"/>
                  <a:pt x="216" y="614"/>
                </a:cubicBezTo>
                <a:cubicBezTo>
                  <a:pt x="216" y="614"/>
                  <a:pt x="217" y="616"/>
                  <a:pt x="216" y="615"/>
                </a:cubicBezTo>
                <a:cubicBezTo>
                  <a:pt x="216" y="615"/>
                  <a:pt x="215" y="615"/>
                  <a:pt x="215" y="615"/>
                </a:cubicBezTo>
                <a:cubicBezTo>
                  <a:pt x="215" y="614"/>
                  <a:pt x="215" y="614"/>
                  <a:pt x="215" y="614"/>
                </a:cubicBezTo>
                <a:cubicBezTo>
                  <a:pt x="215" y="614"/>
                  <a:pt x="214" y="615"/>
                  <a:pt x="214" y="615"/>
                </a:cubicBezTo>
                <a:cubicBezTo>
                  <a:pt x="215" y="615"/>
                  <a:pt x="216" y="616"/>
                  <a:pt x="216" y="616"/>
                </a:cubicBezTo>
                <a:cubicBezTo>
                  <a:pt x="216" y="617"/>
                  <a:pt x="215" y="616"/>
                  <a:pt x="214" y="616"/>
                </a:cubicBezTo>
                <a:cubicBezTo>
                  <a:pt x="214" y="616"/>
                  <a:pt x="214" y="617"/>
                  <a:pt x="214" y="617"/>
                </a:cubicBezTo>
                <a:cubicBezTo>
                  <a:pt x="215" y="617"/>
                  <a:pt x="216" y="616"/>
                  <a:pt x="216" y="616"/>
                </a:cubicBezTo>
                <a:cubicBezTo>
                  <a:pt x="217" y="617"/>
                  <a:pt x="218" y="620"/>
                  <a:pt x="220" y="618"/>
                </a:cubicBezTo>
                <a:cubicBezTo>
                  <a:pt x="220" y="618"/>
                  <a:pt x="219" y="617"/>
                  <a:pt x="219" y="617"/>
                </a:cubicBezTo>
                <a:cubicBezTo>
                  <a:pt x="219" y="617"/>
                  <a:pt x="219" y="617"/>
                  <a:pt x="219" y="617"/>
                </a:cubicBezTo>
                <a:cubicBezTo>
                  <a:pt x="219" y="617"/>
                  <a:pt x="219" y="617"/>
                  <a:pt x="218" y="617"/>
                </a:cubicBezTo>
                <a:cubicBezTo>
                  <a:pt x="218" y="616"/>
                  <a:pt x="219" y="615"/>
                  <a:pt x="220" y="616"/>
                </a:cubicBezTo>
                <a:cubicBezTo>
                  <a:pt x="220" y="616"/>
                  <a:pt x="220" y="616"/>
                  <a:pt x="220" y="616"/>
                </a:cubicBezTo>
                <a:cubicBezTo>
                  <a:pt x="221" y="615"/>
                  <a:pt x="224" y="617"/>
                  <a:pt x="225" y="617"/>
                </a:cubicBezTo>
                <a:cubicBezTo>
                  <a:pt x="223" y="618"/>
                  <a:pt x="225" y="619"/>
                  <a:pt x="226" y="620"/>
                </a:cubicBezTo>
                <a:cubicBezTo>
                  <a:pt x="227" y="619"/>
                  <a:pt x="229" y="618"/>
                  <a:pt x="231" y="618"/>
                </a:cubicBezTo>
                <a:cubicBezTo>
                  <a:pt x="230" y="619"/>
                  <a:pt x="228" y="620"/>
                  <a:pt x="226" y="620"/>
                </a:cubicBezTo>
                <a:cubicBezTo>
                  <a:pt x="227" y="621"/>
                  <a:pt x="227" y="621"/>
                  <a:pt x="226" y="622"/>
                </a:cubicBezTo>
                <a:cubicBezTo>
                  <a:pt x="225" y="624"/>
                  <a:pt x="222" y="622"/>
                  <a:pt x="221" y="624"/>
                </a:cubicBezTo>
                <a:cubicBezTo>
                  <a:pt x="220" y="624"/>
                  <a:pt x="222" y="624"/>
                  <a:pt x="222" y="624"/>
                </a:cubicBezTo>
                <a:cubicBezTo>
                  <a:pt x="221" y="626"/>
                  <a:pt x="219" y="627"/>
                  <a:pt x="222" y="628"/>
                </a:cubicBezTo>
                <a:cubicBezTo>
                  <a:pt x="222" y="628"/>
                  <a:pt x="227" y="629"/>
                  <a:pt x="228" y="629"/>
                </a:cubicBezTo>
                <a:cubicBezTo>
                  <a:pt x="231" y="629"/>
                  <a:pt x="233" y="629"/>
                  <a:pt x="235" y="631"/>
                </a:cubicBezTo>
                <a:cubicBezTo>
                  <a:pt x="232" y="631"/>
                  <a:pt x="231" y="632"/>
                  <a:pt x="228" y="633"/>
                </a:cubicBezTo>
                <a:cubicBezTo>
                  <a:pt x="228" y="633"/>
                  <a:pt x="229" y="633"/>
                  <a:pt x="229" y="633"/>
                </a:cubicBezTo>
                <a:cubicBezTo>
                  <a:pt x="229" y="633"/>
                  <a:pt x="228" y="633"/>
                  <a:pt x="228" y="633"/>
                </a:cubicBezTo>
                <a:cubicBezTo>
                  <a:pt x="228" y="633"/>
                  <a:pt x="228" y="633"/>
                  <a:pt x="227" y="633"/>
                </a:cubicBezTo>
                <a:cubicBezTo>
                  <a:pt x="224" y="633"/>
                  <a:pt x="221" y="630"/>
                  <a:pt x="218" y="630"/>
                </a:cubicBezTo>
                <a:cubicBezTo>
                  <a:pt x="218" y="630"/>
                  <a:pt x="215" y="633"/>
                  <a:pt x="214" y="633"/>
                </a:cubicBezTo>
                <a:cubicBezTo>
                  <a:pt x="213" y="633"/>
                  <a:pt x="212" y="632"/>
                  <a:pt x="212" y="633"/>
                </a:cubicBezTo>
                <a:cubicBezTo>
                  <a:pt x="212" y="633"/>
                  <a:pt x="213" y="633"/>
                  <a:pt x="213" y="634"/>
                </a:cubicBezTo>
                <a:cubicBezTo>
                  <a:pt x="213" y="634"/>
                  <a:pt x="213" y="634"/>
                  <a:pt x="214" y="634"/>
                </a:cubicBezTo>
                <a:cubicBezTo>
                  <a:pt x="214" y="633"/>
                  <a:pt x="215" y="633"/>
                  <a:pt x="216" y="633"/>
                </a:cubicBezTo>
                <a:cubicBezTo>
                  <a:pt x="216" y="633"/>
                  <a:pt x="217" y="633"/>
                  <a:pt x="217" y="633"/>
                </a:cubicBezTo>
                <a:cubicBezTo>
                  <a:pt x="217" y="633"/>
                  <a:pt x="217" y="633"/>
                  <a:pt x="217" y="633"/>
                </a:cubicBezTo>
                <a:cubicBezTo>
                  <a:pt x="218" y="633"/>
                  <a:pt x="219" y="633"/>
                  <a:pt x="219" y="634"/>
                </a:cubicBezTo>
                <a:cubicBezTo>
                  <a:pt x="219" y="634"/>
                  <a:pt x="219" y="635"/>
                  <a:pt x="218" y="635"/>
                </a:cubicBezTo>
                <a:cubicBezTo>
                  <a:pt x="218" y="636"/>
                  <a:pt x="217" y="637"/>
                  <a:pt x="216" y="637"/>
                </a:cubicBezTo>
                <a:cubicBezTo>
                  <a:pt x="215" y="637"/>
                  <a:pt x="213" y="636"/>
                  <a:pt x="213" y="635"/>
                </a:cubicBezTo>
                <a:cubicBezTo>
                  <a:pt x="213" y="635"/>
                  <a:pt x="213" y="635"/>
                  <a:pt x="213" y="635"/>
                </a:cubicBezTo>
                <a:cubicBezTo>
                  <a:pt x="213" y="636"/>
                  <a:pt x="211" y="636"/>
                  <a:pt x="210" y="636"/>
                </a:cubicBezTo>
                <a:cubicBezTo>
                  <a:pt x="210" y="636"/>
                  <a:pt x="210" y="637"/>
                  <a:pt x="211" y="637"/>
                </a:cubicBezTo>
                <a:cubicBezTo>
                  <a:pt x="211" y="637"/>
                  <a:pt x="211" y="637"/>
                  <a:pt x="211" y="637"/>
                </a:cubicBezTo>
                <a:cubicBezTo>
                  <a:pt x="212" y="637"/>
                  <a:pt x="211" y="637"/>
                  <a:pt x="211" y="637"/>
                </a:cubicBezTo>
                <a:cubicBezTo>
                  <a:pt x="212" y="639"/>
                  <a:pt x="215" y="640"/>
                  <a:pt x="216" y="641"/>
                </a:cubicBezTo>
                <a:cubicBezTo>
                  <a:pt x="214" y="641"/>
                  <a:pt x="214" y="642"/>
                  <a:pt x="214" y="642"/>
                </a:cubicBezTo>
                <a:cubicBezTo>
                  <a:pt x="216" y="641"/>
                  <a:pt x="219" y="642"/>
                  <a:pt x="216" y="643"/>
                </a:cubicBezTo>
                <a:cubicBezTo>
                  <a:pt x="216" y="643"/>
                  <a:pt x="216" y="644"/>
                  <a:pt x="216" y="644"/>
                </a:cubicBezTo>
                <a:cubicBezTo>
                  <a:pt x="216" y="644"/>
                  <a:pt x="217" y="644"/>
                  <a:pt x="217" y="645"/>
                </a:cubicBezTo>
                <a:cubicBezTo>
                  <a:pt x="219" y="644"/>
                  <a:pt x="222" y="643"/>
                  <a:pt x="224" y="643"/>
                </a:cubicBezTo>
                <a:cubicBezTo>
                  <a:pt x="228" y="642"/>
                  <a:pt x="223" y="645"/>
                  <a:pt x="221" y="645"/>
                </a:cubicBezTo>
                <a:cubicBezTo>
                  <a:pt x="220" y="645"/>
                  <a:pt x="218" y="646"/>
                  <a:pt x="216" y="646"/>
                </a:cubicBezTo>
                <a:cubicBezTo>
                  <a:pt x="216" y="647"/>
                  <a:pt x="216" y="647"/>
                  <a:pt x="215" y="647"/>
                </a:cubicBezTo>
                <a:cubicBezTo>
                  <a:pt x="215" y="647"/>
                  <a:pt x="214" y="647"/>
                  <a:pt x="214" y="647"/>
                </a:cubicBezTo>
                <a:cubicBezTo>
                  <a:pt x="212" y="648"/>
                  <a:pt x="211" y="648"/>
                  <a:pt x="210" y="649"/>
                </a:cubicBezTo>
                <a:cubicBezTo>
                  <a:pt x="209" y="650"/>
                  <a:pt x="208" y="651"/>
                  <a:pt x="208" y="652"/>
                </a:cubicBezTo>
                <a:cubicBezTo>
                  <a:pt x="209" y="652"/>
                  <a:pt x="209" y="652"/>
                  <a:pt x="210" y="653"/>
                </a:cubicBezTo>
                <a:cubicBezTo>
                  <a:pt x="210" y="653"/>
                  <a:pt x="210" y="653"/>
                  <a:pt x="210" y="653"/>
                </a:cubicBezTo>
                <a:cubicBezTo>
                  <a:pt x="210" y="653"/>
                  <a:pt x="210" y="653"/>
                  <a:pt x="211" y="653"/>
                </a:cubicBezTo>
                <a:cubicBezTo>
                  <a:pt x="211" y="653"/>
                  <a:pt x="213" y="654"/>
                  <a:pt x="213" y="654"/>
                </a:cubicBezTo>
                <a:cubicBezTo>
                  <a:pt x="213" y="654"/>
                  <a:pt x="213" y="655"/>
                  <a:pt x="213" y="655"/>
                </a:cubicBezTo>
                <a:cubicBezTo>
                  <a:pt x="213" y="656"/>
                  <a:pt x="212" y="657"/>
                  <a:pt x="210" y="657"/>
                </a:cubicBezTo>
                <a:cubicBezTo>
                  <a:pt x="210" y="658"/>
                  <a:pt x="210" y="658"/>
                  <a:pt x="209" y="659"/>
                </a:cubicBezTo>
                <a:cubicBezTo>
                  <a:pt x="209" y="659"/>
                  <a:pt x="209" y="659"/>
                  <a:pt x="209" y="659"/>
                </a:cubicBezTo>
                <a:cubicBezTo>
                  <a:pt x="210" y="660"/>
                  <a:pt x="212" y="660"/>
                  <a:pt x="213" y="660"/>
                </a:cubicBezTo>
                <a:cubicBezTo>
                  <a:pt x="214" y="660"/>
                  <a:pt x="216" y="660"/>
                  <a:pt x="216" y="661"/>
                </a:cubicBezTo>
                <a:cubicBezTo>
                  <a:pt x="217" y="662"/>
                  <a:pt x="218" y="663"/>
                  <a:pt x="218" y="663"/>
                </a:cubicBezTo>
                <a:cubicBezTo>
                  <a:pt x="218" y="663"/>
                  <a:pt x="219" y="663"/>
                  <a:pt x="220" y="664"/>
                </a:cubicBezTo>
                <a:cubicBezTo>
                  <a:pt x="221" y="665"/>
                  <a:pt x="221" y="667"/>
                  <a:pt x="219" y="667"/>
                </a:cubicBezTo>
                <a:cubicBezTo>
                  <a:pt x="219" y="667"/>
                  <a:pt x="219" y="667"/>
                  <a:pt x="219" y="667"/>
                </a:cubicBezTo>
                <a:cubicBezTo>
                  <a:pt x="219" y="668"/>
                  <a:pt x="219" y="668"/>
                  <a:pt x="219" y="669"/>
                </a:cubicBezTo>
                <a:cubicBezTo>
                  <a:pt x="220" y="669"/>
                  <a:pt x="221" y="668"/>
                  <a:pt x="222" y="669"/>
                </a:cubicBezTo>
                <a:cubicBezTo>
                  <a:pt x="222" y="668"/>
                  <a:pt x="223" y="667"/>
                  <a:pt x="223" y="667"/>
                </a:cubicBezTo>
                <a:cubicBezTo>
                  <a:pt x="223" y="667"/>
                  <a:pt x="225" y="666"/>
                  <a:pt x="226" y="666"/>
                </a:cubicBezTo>
                <a:cubicBezTo>
                  <a:pt x="227" y="664"/>
                  <a:pt x="228" y="664"/>
                  <a:pt x="229" y="664"/>
                </a:cubicBezTo>
                <a:cubicBezTo>
                  <a:pt x="230" y="664"/>
                  <a:pt x="229" y="663"/>
                  <a:pt x="230" y="663"/>
                </a:cubicBezTo>
                <a:cubicBezTo>
                  <a:pt x="231" y="662"/>
                  <a:pt x="232" y="664"/>
                  <a:pt x="232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4" y="663"/>
                </a:cubicBezTo>
                <a:cubicBezTo>
                  <a:pt x="235" y="664"/>
                  <a:pt x="235" y="662"/>
                  <a:pt x="236" y="663"/>
                </a:cubicBezTo>
                <a:cubicBezTo>
                  <a:pt x="236" y="663"/>
                  <a:pt x="235" y="664"/>
                  <a:pt x="235" y="664"/>
                </a:cubicBezTo>
                <a:cubicBezTo>
                  <a:pt x="236" y="665"/>
                  <a:pt x="241" y="668"/>
                  <a:pt x="241" y="670"/>
                </a:cubicBezTo>
                <a:cubicBezTo>
                  <a:pt x="241" y="672"/>
                  <a:pt x="236" y="672"/>
                  <a:pt x="235" y="674"/>
                </a:cubicBezTo>
                <a:cubicBezTo>
                  <a:pt x="235" y="675"/>
                  <a:pt x="236" y="676"/>
                  <a:pt x="235" y="677"/>
                </a:cubicBezTo>
                <a:cubicBezTo>
                  <a:pt x="233" y="677"/>
                  <a:pt x="234" y="675"/>
                  <a:pt x="233" y="675"/>
                </a:cubicBezTo>
                <a:cubicBezTo>
                  <a:pt x="232" y="674"/>
                  <a:pt x="227" y="674"/>
                  <a:pt x="225" y="673"/>
                </a:cubicBezTo>
                <a:cubicBezTo>
                  <a:pt x="225" y="673"/>
                  <a:pt x="224" y="672"/>
                  <a:pt x="223" y="672"/>
                </a:cubicBezTo>
                <a:cubicBezTo>
                  <a:pt x="221" y="673"/>
                  <a:pt x="217" y="673"/>
                  <a:pt x="217" y="674"/>
                </a:cubicBezTo>
                <a:cubicBezTo>
                  <a:pt x="216" y="674"/>
                  <a:pt x="218" y="674"/>
                  <a:pt x="218" y="675"/>
                </a:cubicBezTo>
                <a:cubicBezTo>
                  <a:pt x="217" y="675"/>
                  <a:pt x="216" y="674"/>
                  <a:pt x="215" y="674"/>
                </a:cubicBezTo>
                <a:cubicBezTo>
                  <a:pt x="213" y="674"/>
                  <a:pt x="210" y="675"/>
                  <a:pt x="207" y="675"/>
                </a:cubicBezTo>
                <a:cubicBezTo>
                  <a:pt x="208" y="676"/>
                  <a:pt x="208" y="677"/>
                  <a:pt x="208" y="677"/>
                </a:cubicBezTo>
                <a:cubicBezTo>
                  <a:pt x="209" y="677"/>
                  <a:pt x="209" y="676"/>
                  <a:pt x="209" y="676"/>
                </a:cubicBezTo>
                <a:cubicBezTo>
                  <a:pt x="210" y="676"/>
                  <a:pt x="212" y="677"/>
                  <a:pt x="214" y="679"/>
                </a:cubicBezTo>
                <a:cubicBezTo>
                  <a:pt x="215" y="679"/>
                  <a:pt x="216" y="679"/>
                  <a:pt x="216" y="679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7" y="681"/>
                  <a:pt x="216" y="682"/>
                  <a:pt x="216" y="682"/>
                </a:cubicBezTo>
                <a:cubicBezTo>
                  <a:pt x="218" y="684"/>
                  <a:pt x="222" y="683"/>
                  <a:pt x="224" y="683"/>
                </a:cubicBezTo>
                <a:cubicBezTo>
                  <a:pt x="224" y="683"/>
                  <a:pt x="224" y="684"/>
                  <a:pt x="225" y="684"/>
                </a:cubicBezTo>
                <a:cubicBezTo>
                  <a:pt x="225" y="684"/>
                  <a:pt x="225" y="684"/>
                  <a:pt x="225" y="684"/>
                </a:cubicBezTo>
                <a:cubicBezTo>
                  <a:pt x="225" y="683"/>
                  <a:pt x="230" y="681"/>
                  <a:pt x="231" y="682"/>
                </a:cubicBezTo>
                <a:cubicBezTo>
                  <a:pt x="232" y="684"/>
                  <a:pt x="231" y="686"/>
                  <a:pt x="229" y="686"/>
                </a:cubicBezTo>
                <a:cubicBezTo>
                  <a:pt x="229" y="686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30" y="688"/>
                  <a:pt x="231" y="688"/>
                  <a:pt x="232" y="687"/>
                </a:cubicBezTo>
                <a:cubicBezTo>
                  <a:pt x="232" y="687"/>
                  <a:pt x="232" y="687"/>
                  <a:pt x="232" y="687"/>
                </a:cubicBezTo>
                <a:cubicBezTo>
                  <a:pt x="232" y="687"/>
                  <a:pt x="233" y="686"/>
                  <a:pt x="233" y="686"/>
                </a:cubicBezTo>
                <a:cubicBezTo>
                  <a:pt x="234" y="685"/>
                  <a:pt x="237" y="685"/>
                  <a:pt x="239" y="683"/>
                </a:cubicBezTo>
                <a:cubicBezTo>
                  <a:pt x="240" y="682"/>
                  <a:pt x="243" y="680"/>
                  <a:pt x="244" y="680"/>
                </a:cubicBezTo>
                <a:cubicBezTo>
                  <a:pt x="245" y="681"/>
                  <a:pt x="245" y="682"/>
                  <a:pt x="246" y="683"/>
                </a:cubicBezTo>
                <a:cubicBezTo>
                  <a:pt x="246" y="683"/>
                  <a:pt x="246" y="682"/>
                  <a:pt x="247" y="682"/>
                </a:cubicBezTo>
                <a:cubicBezTo>
                  <a:pt x="248" y="682"/>
                  <a:pt x="249" y="683"/>
                  <a:pt x="249" y="684"/>
                </a:cubicBezTo>
                <a:cubicBezTo>
                  <a:pt x="250" y="684"/>
                  <a:pt x="251" y="684"/>
                  <a:pt x="251" y="685"/>
                </a:cubicBezTo>
                <a:cubicBezTo>
                  <a:pt x="251" y="685"/>
                  <a:pt x="250" y="686"/>
                  <a:pt x="249" y="686"/>
                </a:cubicBezTo>
                <a:cubicBezTo>
                  <a:pt x="248" y="687"/>
                  <a:pt x="247" y="688"/>
                  <a:pt x="246" y="686"/>
                </a:cubicBezTo>
                <a:cubicBezTo>
                  <a:pt x="246" y="685"/>
                  <a:pt x="246" y="686"/>
                  <a:pt x="246" y="687"/>
                </a:cubicBezTo>
                <a:cubicBezTo>
                  <a:pt x="247" y="688"/>
                  <a:pt x="248" y="688"/>
                  <a:pt x="248" y="689"/>
                </a:cubicBezTo>
                <a:cubicBezTo>
                  <a:pt x="248" y="690"/>
                  <a:pt x="247" y="690"/>
                  <a:pt x="245" y="691"/>
                </a:cubicBezTo>
                <a:cubicBezTo>
                  <a:pt x="247" y="692"/>
                  <a:pt x="248" y="693"/>
                  <a:pt x="248" y="694"/>
                </a:cubicBezTo>
                <a:cubicBezTo>
                  <a:pt x="248" y="694"/>
                  <a:pt x="247" y="696"/>
                  <a:pt x="246" y="697"/>
                </a:cubicBezTo>
                <a:cubicBezTo>
                  <a:pt x="252" y="699"/>
                  <a:pt x="257" y="700"/>
                  <a:pt x="263" y="702"/>
                </a:cubicBezTo>
                <a:cubicBezTo>
                  <a:pt x="263" y="702"/>
                  <a:pt x="263" y="702"/>
                  <a:pt x="264" y="701"/>
                </a:cubicBezTo>
                <a:cubicBezTo>
                  <a:pt x="264" y="701"/>
                  <a:pt x="265" y="702"/>
                  <a:pt x="266" y="702"/>
                </a:cubicBezTo>
                <a:cubicBezTo>
                  <a:pt x="267" y="702"/>
                  <a:pt x="267" y="701"/>
                  <a:pt x="268" y="701"/>
                </a:cubicBezTo>
                <a:cubicBezTo>
                  <a:pt x="269" y="701"/>
                  <a:pt x="271" y="702"/>
                  <a:pt x="273" y="702"/>
                </a:cubicBezTo>
                <a:cubicBezTo>
                  <a:pt x="274" y="703"/>
                  <a:pt x="274" y="702"/>
                  <a:pt x="274" y="703"/>
                </a:cubicBezTo>
                <a:cubicBezTo>
                  <a:pt x="275" y="703"/>
                  <a:pt x="274" y="704"/>
                  <a:pt x="274" y="705"/>
                </a:cubicBezTo>
                <a:cubicBezTo>
                  <a:pt x="281" y="707"/>
                  <a:pt x="289" y="708"/>
                  <a:pt x="296" y="709"/>
                </a:cubicBezTo>
                <a:cubicBezTo>
                  <a:pt x="297" y="708"/>
                  <a:pt x="297" y="708"/>
                  <a:pt x="298" y="707"/>
                </a:cubicBezTo>
                <a:cubicBezTo>
                  <a:pt x="298" y="707"/>
                  <a:pt x="304" y="707"/>
                  <a:pt x="305" y="707"/>
                </a:cubicBezTo>
                <a:cubicBezTo>
                  <a:pt x="306" y="707"/>
                  <a:pt x="307" y="708"/>
                  <a:pt x="308" y="708"/>
                </a:cubicBezTo>
                <a:cubicBezTo>
                  <a:pt x="307" y="708"/>
                  <a:pt x="307" y="708"/>
                  <a:pt x="307" y="707"/>
                </a:cubicBezTo>
                <a:cubicBezTo>
                  <a:pt x="306" y="706"/>
                  <a:pt x="306" y="704"/>
                  <a:pt x="307" y="703"/>
                </a:cubicBezTo>
                <a:cubicBezTo>
                  <a:pt x="311" y="699"/>
                  <a:pt x="321" y="702"/>
                  <a:pt x="325" y="704"/>
                </a:cubicBezTo>
                <a:cubicBezTo>
                  <a:pt x="325" y="703"/>
                  <a:pt x="325" y="703"/>
                  <a:pt x="325" y="702"/>
                </a:cubicBezTo>
                <a:cubicBezTo>
                  <a:pt x="326" y="699"/>
                  <a:pt x="334" y="701"/>
                  <a:pt x="334" y="704"/>
                </a:cubicBezTo>
                <a:cubicBezTo>
                  <a:pt x="334" y="704"/>
                  <a:pt x="336" y="705"/>
                  <a:pt x="336" y="705"/>
                </a:cubicBezTo>
                <a:cubicBezTo>
                  <a:pt x="336" y="706"/>
                  <a:pt x="334" y="706"/>
                  <a:pt x="334" y="705"/>
                </a:cubicBezTo>
                <a:cubicBezTo>
                  <a:pt x="333" y="706"/>
                  <a:pt x="330" y="707"/>
                  <a:pt x="328" y="706"/>
                </a:cubicBezTo>
                <a:cubicBezTo>
                  <a:pt x="327" y="706"/>
                  <a:pt x="325" y="706"/>
                  <a:pt x="324" y="708"/>
                </a:cubicBezTo>
                <a:cubicBezTo>
                  <a:pt x="324" y="708"/>
                  <a:pt x="324" y="710"/>
                  <a:pt x="324" y="710"/>
                </a:cubicBezTo>
                <a:cubicBezTo>
                  <a:pt x="323" y="711"/>
                  <a:pt x="321" y="711"/>
                  <a:pt x="321" y="711"/>
                </a:cubicBezTo>
                <a:cubicBezTo>
                  <a:pt x="321" y="712"/>
                  <a:pt x="322" y="713"/>
                  <a:pt x="323" y="713"/>
                </a:cubicBezTo>
                <a:cubicBezTo>
                  <a:pt x="328" y="713"/>
                  <a:pt x="334" y="714"/>
                  <a:pt x="339" y="714"/>
                </a:cubicBezTo>
                <a:cubicBezTo>
                  <a:pt x="338" y="712"/>
                  <a:pt x="340" y="712"/>
                  <a:pt x="342" y="712"/>
                </a:cubicBezTo>
                <a:cubicBezTo>
                  <a:pt x="342" y="712"/>
                  <a:pt x="343" y="712"/>
                  <a:pt x="344" y="712"/>
                </a:cubicBezTo>
                <a:cubicBezTo>
                  <a:pt x="344" y="712"/>
                  <a:pt x="344" y="713"/>
                  <a:pt x="344" y="713"/>
                </a:cubicBezTo>
                <a:cubicBezTo>
                  <a:pt x="344" y="713"/>
                  <a:pt x="345" y="713"/>
                  <a:pt x="345" y="714"/>
                </a:cubicBezTo>
                <a:cubicBezTo>
                  <a:pt x="345" y="714"/>
                  <a:pt x="346" y="714"/>
                  <a:pt x="346" y="714"/>
                </a:cubicBezTo>
                <a:cubicBezTo>
                  <a:pt x="346" y="713"/>
                  <a:pt x="347" y="712"/>
                  <a:pt x="347" y="712"/>
                </a:cubicBezTo>
                <a:cubicBezTo>
                  <a:pt x="348" y="712"/>
                  <a:pt x="349" y="712"/>
                  <a:pt x="349" y="712"/>
                </a:cubicBezTo>
                <a:cubicBezTo>
                  <a:pt x="350" y="712"/>
                  <a:pt x="351" y="711"/>
                  <a:pt x="352" y="711"/>
                </a:cubicBezTo>
                <a:cubicBezTo>
                  <a:pt x="352" y="710"/>
                  <a:pt x="352" y="710"/>
                  <a:pt x="354" y="709"/>
                </a:cubicBezTo>
                <a:cubicBezTo>
                  <a:pt x="355" y="709"/>
                  <a:pt x="355" y="708"/>
                  <a:pt x="357" y="708"/>
                </a:cubicBezTo>
                <a:cubicBezTo>
                  <a:pt x="360" y="707"/>
                  <a:pt x="365" y="706"/>
                  <a:pt x="369" y="705"/>
                </a:cubicBezTo>
                <a:cubicBezTo>
                  <a:pt x="370" y="705"/>
                  <a:pt x="370" y="705"/>
                  <a:pt x="370" y="705"/>
                </a:cubicBezTo>
                <a:cubicBezTo>
                  <a:pt x="370" y="705"/>
                  <a:pt x="369" y="705"/>
                  <a:pt x="369" y="705"/>
                </a:cubicBezTo>
                <a:cubicBezTo>
                  <a:pt x="368" y="705"/>
                  <a:pt x="367" y="704"/>
                  <a:pt x="366" y="702"/>
                </a:cubicBezTo>
                <a:cubicBezTo>
                  <a:pt x="365" y="702"/>
                  <a:pt x="365" y="702"/>
                  <a:pt x="365" y="701"/>
                </a:cubicBezTo>
                <a:cubicBezTo>
                  <a:pt x="365" y="700"/>
                  <a:pt x="364" y="699"/>
                  <a:pt x="365" y="698"/>
                </a:cubicBezTo>
                <a:cubicBezTo>
                  <a:pt x="366" y="692"/>
                  <a:pt x="379" y="693"/>
                  <a:pt x="384" y="696"/>
                </a:cubicBezTo>
                <a:cubicBezTo>
                  <a:pt x="386" y="697"/>
                  <a:pt x="387" y="699"/>
                  <a:pt x="388" y="701"/>
                </a:cubicBezTo>
                <a:cubicBezTo>
                  <a:pt x="390" y="700"/>
                  <a:pt x="392" y="699"/>
                  <a:pt x="392" y="700"/>
                </a:cubicBezTo>
                <a:cubicBezTo>
                  <a:pt x="393" y="701"/>
                  <a:pt x="391" y="702"/>
                  <a:pt x="389" y="702"/>
                </a:cubicBezTo>
                <a:cubicBezTo>
                  <a:pt x="389" y="702"/>
                  <a:pt x="389" y="702"/>
                  <a:pt x="389" y="702"/>
                </a:cubicBezTo>
                <a:cubicBezTo>
                  <a:pt x="390" y="703"/>
                  <a:pt x="391" y="704"/>
                  <a:pt x="391" y="704"/>
                </a:cubicBezTo>
                <a:cubicBezTo>
                  <a:pt x="391" y="706"/>
                  <a:pt x="387" y="707"/>
                  <a:pt x="383" y="708"/>
                </a:cubicBezTo>
                <a:cubicBezTo>
                  <a:pt x="388" y="708"/>
                  <a:pt x="395" y="708"/>
                  <a:pt x="399" y="708"/>
                </a:cubicBezTo>
                <a:cubicBezTo>
                  <a:pt x="399" y="708"/>
                  <a:pt x="406" y="707"/>
                  <a:pt x="406" y="708"/>
                </a:cubicBezTo>
                <a:cubicBezTo>
                  <a:pt x="407" y="710"/>
                  <a:pt x="401" y="709"/>
                  <a:pt x="400" y="709"/>
                </a:cubicBezTo>
                <a:cubicBezTo>
                  <a:pt x="394" y="709"/>
                  <a:pt x="384" y="709"/>
                  <a:pt x="378" y="709"/>
                </a:cubicBezTo>
                <a:cubicBezTo>
                  <a:pt x="378" y="709"/>
                  <a:pt x="377" y="709"/>
                  <a:pt x="377" y="709"/>
                </a:cubicBezTo>
                <a:cubicBezTo>
                  <a:pt x="377" y="709"/>
                  <a:pt x="377" y="709"/>
                  <a:pt x="377" y="708"/>
                </a:cubicBezTo>
                <a:cubicBezTo>
                  <a:pt x="378" y="708"/>
                  <a:pt x="378" y="708"/>
                  <a:pt x="379" y="708"/>
                </a:cubicBezTo>
                <a:cubicBezTo>
                  <a:pt x="377" y="708"/>
                  <a:pt x="376" y="708"/>
                  <a:pt x="375" y="708"/>
                </a:cubicBezTo>
                <a:cubicBezTo>
                  <a:pt x="374" y="708"/>
                  <a:pt x="374" y="709"/>
                  <a:pt x="373" y="709"/>
                </a:cubicBezTo>
                <a:cubicBezTo>
                  <a:pt x="373" y="709"/>
                  <a:pt x="372" y="709"/>
                  <a:pt x="372" y="709"/>
                </a:cubicBezTo>
                <a:cubicBezTo>
                  <a:pt x="372" y="709"/>
                  <a:pt x="371" y="710"/>
                  <a:pt x="370" y="710"/>
                </a:cubicBezTo>
                <a:cubicBezTo>
                  <a:pt x="369" y="710"/>
                  <a:pt x="367" y="710"/>
                  <a:pt x="366" y="711"/>
                </a:cubicBezTo>
                <a:cubicBezTo>
                  <a:pt x="364" y="711"/>
                  <a:pt x="363" y="712"/>
                  <a:pt x="361" y="713"/>
                </a:cubicBezTo>
                <a:cubicBezTo>
                  <a:pt x="360" y="713"/>
                  <a:pt x="360" y="713"/>
                  <a:pt x="360" y="713"/>
                </a:cubicBezTo>
                <a:cubicBezTo>
                  <a:pt x="359" y="713"/>
                  <a:pt x="358" y="714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554" y="715"/>
                  <a:pt x="714" y="555"/>
                  <a:pt x="714" y="357"/>
                </a:cubicBezTo>
                <a:cubicBezTo>
                  <a:pt x="714" y="339"/>
                  <a:pt x="713" y="322"/>
                  <a:pt x="710" y="304"/>
                </a:cubicBezTo>
                <a:close/>
                <a:moveTo>
                  <a:pt x="703" y="277"/>
                </a:moveTo>
                <a:cubicBezTo>
                  <a:pt x="704" y="277"/>
                  <a:pt x="703" y="279"/>
                  <a:pt x="702" y="279"/>
                </a:cubicBezTo>
                <a:cubicBezTo>
                  <a:pt x="702" y="278"/>
                  <a:pt x="703" y="278"/>
                  <a:pt x="703" y="277"/>
                </a:cubicBezTo>
                <a:close/>
                <a:moveTo>
                  <a:pt x="702" y="292"/>
                </a:moveTo>
                <a:cubicBezTo>
                  <a:pt x="702" y="292"/>
                  <a:pt x="702" y="292"/>
                  <a:pt x="702" y="292"/>
                </a:cubicBezTo>
                <a:cubicBezTo>
                  <a:pt x="702" y="292"/>
                  <a:pt x="701" y="293"/>
                  <a:pt x="701" y="293"/>
                </a:cubicBezTo>
                <a:cubicBezTo>
                  <a:pt x="701" y="293"/>
                  <a:pt x="701" y="292"/>
                  <a:pt x="702" y="292"/>
                </a:cubicBezTo>
                <a:close/>
                <a:moveTo>
                  <a:pt x="699" y="271"/>
                </a:moveTo>
                <a:cubicBezTo>
                  <a:pt x="697" y="274"/>
                  <a:pt x="700" y="270"/>
                  <a:pt x="699" y="271"/>
                </a:cubicBezTo>
                <a:close/>
                <a:moveTo>
                  <a:pt x="681" y="279"/>
                </a:moveTo>
                <a:cubicBezTo>
                  <a:pt x="681" y="277"/>
                  <a:pt x="683" y="278"/>
                  <a:pt x="681" y="279"/>
                </a:cubicBezTo>
                <a:close/>
                <a:moveTo>
                  <a:pt x="682" y="275"/>
                </a:moveTo>
                <a:cubicBezTo>
                  <a:pt x="683" y="276"/>
                  <a:pt x="681" y="277"/>
                  <a:pt x="682" y="275"/>
                </a:cubicBezTo>
                <a:close/>
                <a:moveTo>
                  <a:pt x="686" y="247"/>
                </a:moveTo>
                <a:cubicBezTo>
                  <a:pt x="687" y="248"/>
                  <a:pt x="687" y="250"/>
                  <a:pt x="687" y="252"/>
                </a:cubicBezTo>
                <a:cubicBezTo>
                  <a:pt x="686" y="251"/>
                  <a:pt x="686" y="249"/>
                  <a:pt x="686" y="247"/>
                </a:cubicBezTo>
                <a:close/>
                <a:moveTo>
                  <a:pt x="680" y="254"/>
                </a:moveTo>
                <a:cubicBezTo>
                  <a:pt x="680" y="255"/>
                  <a:pt x="681" y="252"/>
                  <a:pt x="680" y="254"/>
                </a:cubicBezTo>
                <a:close/>
                <a:moveTo>
                  <a:pt x="684" y="227"/>
                </a:moveTo>
                <a:cubicBezTo>
                  <a:pt x="687" y="230"/>
                  <a:pt x="682" y="233"/>
                  <a:pt x="680" y="234"/>
                </a:cubicBezTo>
                <a:cubicBezTo>
                  <a:pt x="678" y="231"/>
                  <a:pt x="681" y="225"/>
                  <a:pt x="684" y="227"/>
                </a:cubicBezTo>
                <a:close/>
                <a:moveTo>
                  <a:pt x="634" y="190"/>
                </a:moveTo>
                <a:cubicBezTo>
                  <a:pt x="634" y="190"/>
                  <a:pt x="634" y="191"/>
                  <a:pt x="634" y="191"/>
                </a:cubicBezTo>
                <a:cubicBezTo>
                  <a:pt x="635" y="194"/>
                  <a:pt x="630" y="192"/>
                  <a:pt x="634" y="190"/>
                </a:cubicBezTo>
                <a:close/>
                <a:moveTo>
                  <a:pt x="574" y="146"/>
                </a:moveTo>
                <a:cubicBezTo>
                  <a:pt x="575" y="147"/>
                  <a:pt x="573" y="147"/>
                  <a:pt x="573" y="146"/>
                </a:cubicBezTo>
                <a:cubicBezTo>
                  <a:pt x="572" y="146"/>
                  <a:pt x="574" y="145"/>
                  <a:pt x="574" y="146"/>
                </a:cubicBezTo>
                <a:close/>
                <a:moveTo>
                  <a:pt x="571" y="138"/>
                </a:moveTo>
                <a:cubicBezTo>
                  <a:pt x="571" y="138"/>
                  <a:pt x="571" y="138"/>
                  <a:pt x="571" y="138"/>
                </a:cubicBezTo>
                <a:cubicBezTo>
                  <a:pt x="572" y="140"/>
                  <a:pt x="569" y="137"/>
                  <a:pt x="571" y="138"/>
                </a:cubicBezTo>
                <a:close/>
                <a:moveTo>
                  <a:pt x="566" y="136"/>
                </a:moveTo>
                <a:cubicBezTo>
                  <a:pt x="566" y="137"/>
                  <a:pt x="564" y="137"/>
                  <a:pt x="564" y="137"/>
                </a:cubicBezTo>
                <a:cubicBezTo>
                  <a:pt x="564" y="136"/>
                  <a:pt x="566" y="135"/>
                  <a:pt x="566" y="136"/>
                </a:cubicBezTo>
                <a:close/>
                <a:moveTo>
                  <a:pt x="562" y="145"/>
                </a:moveTo>
                <a:cubicBezTo>
                  <a:pt x="563" y="146"/>
                  <a:pt x="562" y="146"/>
                  <a:pt x="562" y="146"/>
                </a:cubicBezTo>
                <a:cubicBezTo>
                  <a:pt x="561" y="145"/>
                  <a:pt x="562" y="145"/>
                  <a:pt x="562" y="145"/>
                </a:cubicBezTo>
                <a:close/>
                <a:moveTo>
                  <a:pt x="549" y="88"/>
                </a:moveTo>
                <a:cubicBezTo>
                  <a:pt x="549" y="88"/>
                  <a:pt x="549" y="88"/>
                  <a:pt x="549" y="88"/>
                </a:cubicBezTo>
                <a:cubicBezTo>
                  <a:pt x="549" y="88"/>
                  <a:pt x="549" y="88"/>
                  <a:pt x="549" y="88"/>
                </a:cubicBezTo>
                <a:close/>
                <a:moveTo>
                  <a:pt x="549" y="88"/>
                </a:moveTo>
                <a:cubicBezTo>
                  <a:pt x="549" y="88"/>
                  <a:pt x="548" y="88"/>
                  <a:pt x="549" y="88"/>
                </a:cubicBezTo>
                <a:close/>
                <a:moveTo>
                  <a:pt x="549" y="90"/>
                </a:moveTo>
                <a:cubicBezTo>
                  <a:pt x="549" y="91"/>
                  <a:pt x="548" y="91"/>
                  <a:pt x="548" y="91"/>
                </a:cubicBezTo>
                <a:cubicBezTo>
                  <a:pt x="548" y="91"/>
                  <a:pt x="549" y="90"/>
                  <a:pt x="549" y="90"/>
                </a:cubicBezTo>
                <a:close/>
                <a:moveTo>
                  <a:pt x="547" y="89"/>
                </a:moveTo>
                <a:cubicBezTo>
                  <a:pt x="546" y="89"/>
                  <a:pt x="546" y="90"/>
                  <a:pt x="545" y="90"/>
                </a:cubicBezTo>
                <a:cubicBezTo>
                  <a:pt x="546" y="90"/>
                  <a:pt x="544" y="88"/>
                  <a:pt x="544" y="88"/>
                </a:cubicBezTo>
                <a:cubicBezTo>
                  <a:pt x="545" y="87"/>
                  <a:pt x="547" y="87"/>
                  <a:pt x="547" y="89"/>
                </a:cubicBezTo>
                <a:close/>
                <a:moveTo>
                  <a:pt x="540" y="94"/>
                </a:moveTo>
                <a:cubicBezTo>
                  <a:pt x="541" y="94"/>
                  <a:pt x="539" y="94"/>
                  <a:pt x="539" y="94"/>
                </a:cubicBezTo>
                <a:cubicBezTo>
                  <a:pt x="539" y="93"/>
                  <a:pt x="540" y="93"/>
                  <a:pt x="540" y="94"/>
                </a:cubicBezTo>
                <a:close/>
                <a:moveTo>
                  <a:pt x="540" y="97"/>
                </a:moveTo>
                <a:cubicBezTo>
                  <a:pt x="540" y="96"/>
                  <a:pt x="538" y="98"/>
                  <a:pt x="539" y="97"/>
                </a:cubicBezTo>
                <a:cubicBezTo>
                  <a:pt x="539" y="96"/>
                  <a:pt x="542" y="93"/>
                  <a:pt x="544" y="93"/>
                </a:cubicBezTo>
                <a:cubicBezTo>
                  <a:pt x="546" y="93"/>
                  <a:pt x="549" y="94"/>
                  <a:pt x="548" y="96"/>
                </a:cubicBezTo>
                <a:cubicBezTo>
                  <a:pt x="548" y="98"/>
                  <a:pt x="544" y="100"/>
                  <a:pt x="542" y="100"/>
                </a:cubicBezTo>
                <a:cubicBezTo>
                  <a:pt x="541" y="100"/>
                  <a:pt x="540" y="99"/>
                  <a:pt x="540" y="99"/>
                </a:cubicBezTo>
                <a:cubicBezTo>
                  <a:pt x="539" y="99"/>
                  <a:pt x="538" y="101"/>
                  <a:pt x="538" y="99"/>
                </a:cubicBezTo>
                <a:cubicBezTo>
                  <a:pt x="538" y="99"/>
                  <a:pt x="540" y="97"/>
                  <a:pt x="540" y="97"/>
                </a:cubicBezTo>
                <a:close/>
                <a:moveTo>
                  <a:pt x="535" y="95"/>
                </a:moveTo>
                <a:cubicBezTo>
                  <a:pt x="536" y="96"/>
                  <a:pt x="533" y="95"/>
                  <a:pt x="535" y="95"/>
                </a:cubicBezTo>
                <a:close/>
                <a:moveTo>
                  <a:pt x="535" y="97"/>
                </a:moveTo>
                <a:cubicBezTo>
                  <a:pt x="535" y="97"/>
                  <a:pt x="535" y="96"/>
                  <a:pt x="535" y="96"/>
                </a:cubicBezTo>
                <a:cubicBezTo>
                  <a:pt x="535" y="97"/>
                  <a:pt x="536" y="97"/>
                  <a:pt x="535" y="97"/>
                </a:cubicBezTo>
                <a:close/>
                <a:moveTo>
                  <a:pt x="534" y="111"/>
                </a:moveTo>
                <a:cubicBezTo>
                  <a:pt x="534" y="110"/>
                  <a:pt x="535" y="109"/>
                  <a:pt x="536" y="110"/>
                </a:cubicBezTo>
                <a:cubicBezTo>
                  <a:pt x="537" y="111"/>
                  <a:pt x="535" y="111"/>
                  <a:pt x="534" y="111"/>
                </a:cubicBezTo>
                <a:close/>
                <a:moveTo>
                  <a:pt x="535" y="84"/>
                </a:moveTo>
                <a:cubicBezTo>
                  <a:pt x="538" y="83"/>
                  <a:pt x="536" y="88"/>
                  <a:pt x="534" y="87"/>
                </a:cubicBezTo>
                <a:cubicBezTo>
                  <a:pt x="532" y="86"/>
                  <a:pt x="534" y="85"/>
                  <a:pt x="535" y="84"/>
                </a:cubicBezTo>
                <a:close/>
                <a:moveTo>
                  <a:pt x="545" y="73"/>
                </a:moveTo>
                <a:cubicBezTo>
                  <a:pt x="544" y="74"/>
                  <a:pt x="544" y="72"/>
                  <a:pt x="545" y="73"/>
                </a:cubicBezTo>
                <a:close/>
                <a:moveTo>
                  <a:pt x="541" y="72"/>
                </a:moveTo>
                <a:cubicBezTo>
                  <a:pt x="540" y="73"/>
                  <a:pt x="539" y="73"/>
                  <a:pt x="537" y="73"/>
                </a:cubicBezTo>
                <a:cubicBezTo>
                  <a:pt x="539" y="73"/>
                  <a:pt x="539" y="71"/>
                  <a:pt x="541" y="72"/>
                </a:cubicBezTo>
                <a:close/>
                <a:moveTo>
                  <a:pt x="534" y="73"/>
                </a:moveTo>
                <a:cubicBezTo>
                  <a:pt x="534" y="74"/>
                  <a:pt x="532" y="75"/>
                  <a:pt x="532" y="74"/>
                </a:cubicBezTo>
                <a:cubicBezTo>
                  <a:pt x="531" y="74"/>
                  <a:pt x="534" y="73"/>
                  <a:pt x="534" y="73"/>
                </a:cubicBezTo>
                <a:close/>
                <a:moveTo>
                  <a:pt x="531" y="74"/>
                </a:moveTo>
                <a:cubicBezTo>
                  <a:pt x="532" y="75"/>
                  <a:pt x="530" y="74"/>
                  <a:pt x="530" y="74"/>
                </a:cubicBezTo>
                <a:cubicBezTo>
                  <a:pt x="529" y="73"/>
                  <a:pt x="531" y="73"/>
                  <a:pt x="531" y="74"/>
                </a:cubicBezTo>
                <a:close/>
                <a:moveTo>
                  <a:pt x="458" y="41"/>
                </a:moveTo>
                <a:cubicBezTo>
                  <a:pt x="458" y="42"/>
                  <a:pt x="458" y="42"/>
                  <a:pt x="458" y="42"/>
                </a:cubicBezTo>
                <a:cubicBezTo>
                  <a:pt x="458" y="41"/>
                  <a:pt x="457" y="40"/>
                  <a:pt x="458" y="41"/>
                </a:cubicBezTo>
                <a:close/>
                <a:moveTo>
                  <a:pt x="421" y="34"/>
                </a:moveTo>
                <a:cubicBezTo>
                  <a:pt x="420" y="34"/>
                  <a:pt x="420" y="33"/>
                  <a:pt x="421" y="34"/>
                </a:cubicBezTo>
                <a:close/>
                <a:moveTo>
                  <a:pt x="421" y="29"/>
                </a:moveTo>
                <a:cubicBezTo>
                  <a:pt x="422" y="30"/>
                  <a:pt x="420" y="30"/>
                  <a:pt x="420" y="30"/>
                </a:cubicBezTo>
                <a:cubicBezTo>
                  <a:pt x="419" y="29"/>
                  <a:pt x="421" y="29"/>
                  <a:pt x="421" y="29"/>
                </a:cubicBezTo>
                <a:close/>
                <a:moveTo>
                  <a:pt x="461" y="19"/>
                </a:moveTo>
                <a:cubicBezTo>
                  <a:pt x="461" y="20"/>
                  <a:pt x="458" y="20"/>
                  <a:pt x="458" y="19"/>
                </a:cubicBezTo>
                <a:cubicBezTo>
                  <a:pt x="457" y="18"/>
                  <a:pt x="461" y="17"/>
                  <a:pt x="461" y="19"/>
                </a:cubicBezTo>
                <a:close/>
                <a:moveTo>
                  <a:pt x="456" y="20"/>
                </a:moveTo>
                <a:cubicBezTo>
                  <a:pt x="457" y="21"/>
                  <a:pt x="454" y="22"/>
                  <a:pt x="454" y="20"/>
                </a:cubicBezTo>
                <a:cubicBezTo>
                  <a:pt x="454" y="20"/>
                  <a:pt x="456" y="20"/>
                  <a:pt x="456" y="20"/>
                </a:cubicBezTo>
                <a:close/>
                <a:moveTo>
                  <a:pt x="455" y="23"/>
                </a:moveTo>
                <a:cubicBezTo>
                  <a:pt x="456" y="24"/>
                  <a:pt x="453" y="23"/>
                  <a:pt x="453" y="23"/>
                </a:cubicBezTo>
                <a:cubicBezTo>
                  <a:pt x="453" y="22"/>
                  <a:pt x="455" y="22"/>
                  <a:pt x="455" y="23"/>
                </a:cubicBezTo>
                <a:close/>
                <a:moveTo>
                  <a:pt x="434" y="24"/>
                </a:moveTo>
                <a:cubicBezTo>
                  <a:pt x="434" y="25"/>
                  <a:pt x="430" y="24"/>
                  <a:pt x="430" y="23"/>
                </a:cubicBezTo>
                <a:cubicBezTo>
                  <a:pt x="430" y="22"/>
                  <a:pt x="433" y="22"/>
                  <a:pt x="434" y="24"/>
                </a:cubicBezTo>
                <a:close/>
                <a:moveTo>
                  <a:pt x="427" y="20"/>
                </a:moveTo>
                <a:cubicBezTo>
                  <a:pt x="427" y="21"/>
                  <a:pt x="425" y="20"/>
                  <a:pt x="425" y="20"/>
                </a:cubicBezTo>
                <a:cubicBezTo>
                  <a:pt x="425" y="20"/>
                  <a:pt x="427" y="19"/>
                  <a:pt x="427" y="20"/>
                </a:cubicBezTo>
                <a:close/>
                <a:moveTo>
                  <a:pt x="418" y="41"/>
                </a:moveTo>
                <a:cubicBezTo>
                  <a:pt x="418" y="41"/>
                  <a:pt x="418" y="40"/>
                  <a:pt x="418" y="40"/>
                </a:cubicBezTo>
                <a:cubicBezTo>
                  <a:pt x="416" y="39"/>
                  <a:pt x="420" y="40"/>
                  <a:pt x="418" y="41"/>
                </a:cubicBezTo>
                <a:close/>
                <a:moveTo>
                  <a:pt x="415" y="43"/>
                </a:moveTo>
                <a:cubicBezTo>
                  <a:pt x="416" y="44"/>
                  <a:pt x="414" y="44"/>
                  <a:pt x="414" y="44"/>
                </a:cubicBezTo>
                <a:cubicBezTo>
                  <a:pt x="414" y="44"/>
                  <a:pt x="414" y="43"/>
                  <a:pt x="415" y="43"/>
                </a:cubicBezTo>
                <a:close/>
                <a:moveTo>
                  <a:pt x="388" y="45"/>
                </a:moveTo>
                <a:cubicBezTo>
                  <a:pt x="388" y="43"/>
                  <a:pt x="393" y="43"/>
                  <a:pt x="393" y="45"/>
                </a:cubicBezTo>
                <a:cubicBezTo>
                  <a:pt x="393" y="48"/>
                  <a:pt x="388" y="46"/>
                  <a:pt x="388" y="45"/>
                </a:cubicBezTo>
                <a:close/>
                <a:moveTo>
                  <a:pt x="394" y="10"/>
                </a:moveTo>
                <a:cubicBezTo>
                  <a:pt x="394" y="11"/>
                  <a:pt x="393" y="11"/>
                  <a:pt x="392" y="11"/>
                </a:cubicBezTo>
                <a:cubicBezTo>
                  <a:pt x="393" y="10"/>
                  <a:pt x="394" y="10"/>
                  <a:pt x="394" y="10"/>
                </a:cubicBezTo>
                <a:close/>
                <a:moveTo>
                  <a:pt x="389" y="10"/>
                </a:moveTo>
                <a:cubicBezTo>
                  <a:pt x="391" y="9"/>
                  <a:pt x="391" y="12"/>
                  <a:pt x="389" y="10"/>
                </a:cubicBezTo>
                <a:close/>
                <a:moveTo>
                  <a:pt x="387" y="32"/>
                </a:moveTo>
                <a:cubicBezTo>
                  <a:pt x="393" y="30"/>
                  <a:pt x="399" y="30"/>
                  <a:pt x="404" y="30"/>
                </a:cubicBezTo>
                <a:cubicBezTo>
                  <a:pt x="399" y="31"/>
                  <a:pt x="391" y="32"/>
                  <a:pt x="384" y="33"/>
                </a:cubicBezTo>
                <a:cubicBezTo>
                  <a:pt x="379" y="35"/>
                  <a:pt x="386" y="32"/>
                  <a:pt x="387" y="32"/>
                </a:cubicBezTo>
                <a:close/>
                <a:moveTo>
                  <a:pt x="380" y="25"/>
                </a:moveTo>
                <a:cubicBezTo>
                  <a:pt x="381" y="24"/>
                  <a:pt x="382" y="26"/>
                  <a:pt x="380" y="25"/>
                </a:cubicBezTo>
                <a:close/>
                <a:moveTo>
                  <a:pt x="355" y="52"/>
                </a:moveTo>
                <a:cubicBezTo>
                  <a:pt x="355" y="51"/>
                  <a:pt x="357" y="50"/>
                  <a:pt x="357" y="51"/>
                </a:cubicBezTo>
                <a:cubicBezTo>
                  <a:pt x="358" y="53"/>
                  <a:pt x="356" y="52"/>
                  <a:pt x="355" y="52"/>
                </a:cubicBezTo>
                <a:close/>
                <a:moveTo>
                  <a:pt x="375" y="42"/>
                </a:move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lose/>
                <a:moveTo>
                  <a:pt x="371" y="6"/>
                </a:moveTo>
                <a:cubicBezTo>
                  <a:pt x="372" y="5"/>
                  <a:pt x="373" y="7"/>
                  <a:pt x="371" y="6"/>
                </a:cubicBezTo>
                <a:close/>
                <a:moveTo>
                  <a:pt x="367" y="52"/>
                </a:moveTo>
                <a:cubicBezTo>
                  <a:pt x="366" y="53"/>
                  <a:pt x="365" y="53"/>
                  <a:pt x="364" y="53"/>
                </a:cubicBezTo>
                <a:cubicBezTo>
                  <a:pt x="365" y="52"/>
                  <a:pt x="366" y="52"/>
                  <a:pt x="367" y="52"/>
                </a:cubicBezTo>
                <a:close/>
                <a:moveTo>
                  <a:pt x="360" y="41"/>
                </a:moveTo>
                <a:cubicBezTo>
                  <a:pt x="358" y="42"/>
                  <a:pt x="354" y="43"/>
                  <a:pt x="351" y="41"/>
                </a:cubicBezTo>
                <a:cubicBezTo>
                  <a:pt x="351" y="40"/>
                  <a:pt x="360" y="41"/>
                  <a:pt x="360" y="41"/>
                </a:cubicBezTo>
                <a:close/>
                <a:moveTo>
                  <a:pt x="2" y="391"/>
                </a:moveTo>
                <a:cubicBezTo>
                  <a:pt x="2" y="392"/>
                  <a:pt x="2" y="389"/>
                  <a:pt x="2" y="391"/>
                </a:cubicBezTo>
                <a:close/>
                <a:moveTo>
                  <a:pt x="2" y="338"/>
                </a:moveTo>
                <a:cubicBezTo>
                  <a:pt x="1" y="339"/>
                  <a:pt x="1" y="336"/>
                  <a:pt x="2" y="337"/>
                </a:cubicBezTo>
                <a:cubicBezTo>
                  <a:pt x="2" y="337"/>
                  <a:pt x="2" y="337"/>
                  <a:pt x="2" y="338"/>
                </a:cubicBezTo>
                <a:close/>
                <a:moveTo>
                  <a:pt x="6" y="411"/>
                </a:moveTo>
                <a:cubicBezTo>
                  <a:pt x="7" y="410"/>
                  <a:pt x="8" y="410"/>
                  <a:pt x="6" y="411"/>
                </a:cubicBezTo>
                <a:close/>
                <a:moveTo>
                  <a:pt x="7" y="377"/>
                </a:moveTo>
                <a:cubicBezTo>
                  <a:pt x="8" y="377"/>
                  <a:pt x="8" y="378"/>
                  <a:pt x="7" y="379"/>
                </a:cubicBezTo>
                <a:cubicBezTo>
                  <a:pt x="6" y="380"/>
                  <a:pt x="7" y="377"/>
                  <a:pt x="7" y="377"/>
                </a:cubicBezTo>
                <a:close/>
                <a:moveTo>
                  <a:pt x="7" y="415"/>
                </a:moveTo>
                <a:cubicBezTo>
                  <a:pt x="7" y="416"/>
                  <a:pt x="7" y="413"/>
                  <a:pt x="8" y="414"/>
                </a:cubicBezTo>
                <a:cubicBezTo>
                  <a:pt x="9" y="414"/>
                  <a:pt x="8" y="415"/>
                  <a:pt x="7" y="415"/>
                </a:cubicBezTo>
                <a:close/>
                <a:moveTo>
                  <a:pt x="7" y="368"/>
                </a:moveTo>
                <a:cubicBezTo>
                  <a:pt x="6" y="367"/>
                  <a:pt x="7" y="364"/>
                  <a:pt x="8" y="363"/>
                </a:cubicBezTo>
                <a:cubicBezTo>
                  <a:pt x="8" y="365"/>
                  <a:pt x="7" y="366"/>
                  <a:pt x="7" y="368"/>
                </a:cubicBezTo>
                <a:close/>
                <a:moveTo>
                  <a:pt x="13" y="438"/>
                </a:moveTo>
                <a:cubicBezTo>
                  <a:pt x="13" y="438"/>
                  <a:pt x="13" y="439"/>
                  <a:pt x="13" y="439"/>
                </a:cubicBezTo>
                <a:cubicBezTo>
                  <a:pt x="13" y="441"/>
                  <a:pt x="12" y="437"/>
                  <a:pt x="13" y="438"/>
                </a:cubicBezTo>
                <a:close/>
                <a:moveTo>
                  <a:pt x="12" y="423"/>
                </a:moveTo>
                <a:cubicBezTo>
                  <a:pt x="13" y="423"/>
                  <a:pt x="11" y="425"/>
                  <a:pt x="12" y="423"/>
                </a:cubicBezTo>
                <a:close/>
                <a:moveTo>
                  <a:pt x="15" y="295"/>
                </a:moveTo>
                <a:cubicBezTo>
                  <a:pt x="15" y="298"/>
                  <a:pt x="13" y="296"/>
                  <a:pt x="15" y="295"/>
                </a:cubicBezTo>
                <a:close/>
                <a:moveTo>
                  <a:pt x="13" y="368"/>
                </a:moveTo>
                <a:cubicBezTo>
                  <a:pt x="14" y="368"/>
                  <a:pt x="13" y="369"/>
                  <a:pt x="13" y="369"/>
                </a:cubicBezTo>
                <a:cubicBezTo>
                  <a:pt x="12" y="370"/>
                  <a:pt x="12" y="367"/>
                  <a:pt x="13" y="368"/>
                </a:cubicBezTo>
                <a:close/>
                <a:moveTo>
                  <a:pt x="12" y="352"/>
                </a:moveTo>
                <a:cubicBezTo>
                  <a:pt x="11" y="353"/>
                  <a:pt x="11" y="350"/>
                  <a:pt x="12" y="351"/>
                </a:cubicBezTo>
                <a:cubicBezTo>
                  <a:pt x="13" y="351"/>
                  <a:pt x="12" y="352"/>
                  <a:pt x="12" y="352"/>
                </a:cubicBezTo>
                <a:close/>
                <a:moveTo>
                  <a:pt x="10" y="333"/>
                </a:moveTo>
                <a:cubicBezTo>
                  <a:pt x="12" y="332"/>
                  <a:pt x="14" y="337"/>
                  <a:pt x="12" y="338"/>
                </a:cubicBezTo>
                <a:cubicBezTo>
                  <a:pt x="9" y="339"/>
                  <a:pt x="9" y="334"/>
                  <a:pt x="10" y="333"/>
                </a:cubicBezTo>
                <a:close/>
                <a:moveTo>
                  <a:pt x="10" y="355"/>
                </a:moveTo>
                <a:cubicBezTo>
                  <a:pt x="9" y="356"/>
                  <a:pt x="10" y="353"/>
                  <a:pt x="10" y="353"/>
                </a:cubicBezTo>
                <a:cubicBezTo>
                  <a:pt x="11" y="354"/>
                  <a:pt x="10" y="355"/>
                  <a:pt x="10" y="355"/>
                </a:cubicBezTo>
                <a:close/>
                <a:moveTo>
                  <a:pt x="9" y="371"/>
                </a:moveTo>
                <a:cubicBezTo>
                  <a:pt x="8" y="372"/>
                  <a:pt x="8" y="369"/>
                  <a:pt x="9" y="370"/>
                </a:cubicBezTo>
                <a:cubicBezTo>
                  <a:pt x="9" y="370"/>
                  <a:pt x="9" y="371"/>
                  <a:pt x="9" y="371"/>
                </a:cubicBezTo>
                <a:close/>
                <a:moveTo>
                  <a:pt x="9" y="359"/>
                </a:moveTo>
                <a:cubicBezTo>
                  <a:pt x="8" y="359"/>
                  <a:pt x="9" y="357"/>
                  <a:pt x="10" y="357"/>
                </a:cubicBezTo>
                <a:cubicBezTo>
                  <a:pt x="9" y="358"/>
                  <a:pt x="9" y="358"/>
                  <a:pt x="9" y="359"/>
                </a:cubicBezTo>
                <a:close/>
                <a:moveTo>
                  <a:pt x="10" y="438"/>
                </a:moveTo>
                <a:cubicBezTo>
                  <a:pt x="9" y="439"/>
                  <a:pt x="10" y="436"/>
                  <a:pt x="11" y="436"/>
                </a:cubicBezTo>
                <a:cubicBezTo>
                  <a:pt x="12" y="437"/>
                  <a:pt x="11" y="437"/>
                  <a:pt x="10" y="438"/>
                </a:cubicBezTo>
                <a:close/>
                <a:moveTo>
                  <a:pt x="10" y="424"/>
                </a:moveTo>
                <a:cubicBezTo>
                  <a:pt x="9" y="425"/>
                  <a:pt x="10" y="422"/>
                  <a:pt x="11" y="423"/>
                </a:cubicBezTo>
                <a:cubicBezTo>
                  <a:pt x="12" y="424"/>
                  <a:pt x="11" y="424"/>
                  <a:pt x="10" y="424"/>
                </a:cubicBezTo>
                <a:close/>
                <a:moveTo>
                  <a:pt x="11" y="386"/>
                </a:moveTo>
                <a:cubicBezTo>
                  <a:pt x="10" y="386"/>
                  <a:pt x="10" y="387"/>
                  <a:pt x="10" y="385"/>
                </a:cubicBezTo>
                <a:cubicBezTo>
                  <a:pt x="10" y="383"/>
                  <a:pt x="14" y="374"/>
                  <a:pt x="14" y="374"/>
                </a:cubicBezTo>
                <a:cubicBezTo>
                  <a:pt x="16" y="374"/>
                  <a:pt x="13" y="377"/>
                  <a:pt x="13" y="378"/>
                </a:cubicBezTo>
                <a:cubicBezTo>
                  <a:pt x="12" y="381"/>
                  <a:pt x="14" y="385"/>
                  <a:pt x="11" y="386"/>
                </a:cubicBezTo>
                <a:close/>
                <a:moveTo>
                  <a:pt x="14" y="394"/>
                </a:moveTo>
                <a:cubicBezTo>
                  <a:pt x="13" y="396"/>
                  <a:pt x="14" y="393"/>
                  <a:pt x="14" y="393"/>
                </a:cubicBezTo>
                <a:cubicBezTo>
                  <a:pt x="15" y="393"/>
                  <a:pt x="15" y="394"/>
                  <a:pt x="14" y="394"/>
                </a:cubicBezTo>
                <a:close/>
                <a:moveTo>
                  <a:pt x="15" y="388"/>
                </a:moveTo>
                <a:cubicBezTo>
                  <a:pt x="14" y="388"/>
                  <a:pt x="15" y="387"/>
                  <a:pt x="15" y="387"/>
                </a:cubicBezTo>
                <a:cubicBezTo>
                  <a:pt x="15" y="387"/>
                  <a:pt x="15" y="388"/>
                  <a:pt x="15" y="388"/>
                </a:cubicBezTo>
                <a:close/>
                <a:moveTo>
                  <a:pt x="15" y="300"/>
                </a:moveTo>
                <a:cubicBezTo>
                  <a:pt x="16" y="302"/>
                  <a:pt x="14" y="301"/>
                  <a:pt x="15" y="300"/>
                </a:cubicBezTo>
                <a:close/>
                <a:moveTo>
                  <a:pt x="16" y="366"/>
                </a:moveTo>
                <a:cubicBezTo>
                  <a:pt x="15" y="367"/>
                  <a:pt x="17" y="364"/>
                  <a:pt x="16" y="366"/>
                </a:cubicBezTo>
                <a:close/>
                <a:moveTo>
                  <a:pt x="17" y="380"/>
                </a:moveTo>
                <a:cubicBezTo>
                  <a:pt x="16" y="381"/>
                  <a:pt x="16" y="379"/>
                  <a:pt x="17" y="379"/>
                </a:cubicBezTo>
                <a:cubicBezTo>
                  <a:pt x="17" y="378"/>
                  <a:pt x="17" y="380"/>
                  <a:pt x="17" y="380"/>
                </a:cubicBezTo>
                <a:close/>
                <a:moveTo>
                  <a:pt x="27" y="420"/>
                </a:move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lose/>
                <a:moveTo>
                  <a:pt x="23" y="346"/>
                </a:moveTo>
                <a:cubicBezTo>
                  <a:pt x="23" y="346"/>
                  <a:pt x="23" y="347"/>
                  <a:pt x="23" y="347"/>
                </a:cubicBezTo>
                <a:cubicBezTo>
                  <a:pt x="22" y="347"/>
                  <a:pt x="22" y="346"/>
                  <a:pt x="23" y="346"/>
                </a:cubicBezTo>
                <a:close/>
                <a:moveTo>
                  <a:pt x="19" y="405"/>
                </a:moveTo>
                <a:cubicBezTo>
                  <a:pt x="19" y="405"/>
                  <a:pt x="18" y="404"/>
                  <a:pt x="18" y="404"/>
                </a:cubicBezTo>
                <a:cubicBezTo>
                  <a:pt x="18" y="404"/>
                  <a:pt x="20" y="404"/>
                  <a:pt x="19" y="405"/>
                </a:cubicBezTo>
                <a:close/>
                <a:moveTo>
                  <a:pt x="20" y="406"/>
                </a:moveTo>
                <a:cubicBezTo>
                  <a:pt x="19" y="406"/>
                  <a:pt x="20" y="405"/>
                  <a:pt x="20" y="404"/>
                </a:cubicBezTo>
                <a:cubicBezTo>
                  <a:pt x="21" y="404"/>
                  <a:pt x="20" y="405"/>
                  <a:pt x="20" y="406"/>
                </a:cubicBezTo>
                <a:close/>
                <a:moveTo>
                  <a:pt x="20" y="360"/>
                </a:moveTo>
                <a:cubicBezTo>
                  <a:pt x="19" y="359"/>
                  <a:pt x="21" y="359"/>
                  <a:pt x="20" y="360"/>
                </a:cubicBezTo>
                <a:close/>
                <a:moveTo>
                  <a:pt x="22" y="268"/>
                </a:moveTo>
                <a:cubicBezTo>
                  <a:pt x="23" y="268"/>
                  <a:pt x="22" y="270"/>
                  <a:pt x="22" y="271"/>
                </a:cubicBezTo>
                <a:cubicBezTo>
                  <a:pt x="19" y="273"/>
                  <a:pt x="19" y="267"/>
                  <a:pt x="22" y="268"/>
                </a:cubicBezTo>
                <a:close/>
                <a:moveTo>
                  <a:pt x="21" y="397"/>
                </a:moveTo>
                <a:cubicBezTo>
                  <a:pt x="21" y="396"/>
                  <a:pt x="22" y="397"/>
                  <a:pt x="22" y="398"/>
                </a:cubicBezTo>
                <a:cubicBezTo>
                  <a:pt x="21" y="399"/>
                  <a:pt x="20" y="397"/>
                  <a:pt x="21" y="397"/>
                </a:cubicBezTo>
                <a:close/>
                <a:moveTo>
                  <a:pt x="21" y="415"/>
                </a:moveTo>
                <a:cubicBezTo>
                  <a:pt x="22" y="416"/>
                  <a:pt x="21" y="417"/>
                  <a:pt x="21" y="415"/>
                </a:cubicBezTo>
                <a:close/>
                <a:moveTo>
                  <a:pt x="21" y="413"/>
                </a:moveTo>
                <a:cubicBezTo>
                  <a:pt x="21" y="413"/>
                  <a:pt x="23" y="413"/>
                  <a:pt x="23" y="413"/>
                </a:cubicBezTo>
                <a:cubicBezTo>
                  <a:pt x="23" y="414"/>
                  <a:pt x="20" y="414"/>
                  <a:pt x="21" y="413"/>
                </a:cubicBezTo>
                <a:close/>
                <a:moveTo>
                  <a:pt x="24" y="367"/>
                </a:moveTo>
                <a:cubicBezTo>
                  <a:pt x="25" y="368"/>
                  <a:pt x="23" y="369"/>
                  <a:pt x="24" y="367"/>
                </a:cubicBezTo>
                <a:close/>
                <a:moveTo>
                  <a:pt x="24" y="412"/>
                </a:moveTo>
                <a:cubicBezTo>
                  <a:pt x="24" y="413"/>
                  <a:pt x="24" y="410"/>
                  <a:pt x="24" y="412"/>
                </a:cubicBezTo>
                <a:close/>
                <a:moveTo>
                  <a:pt x="25" y="401"/>
                </a:moveTo>
                <a:cubicBezTo>
                  <a:pt x="24" y="402"/>
                  <a:pt x="24" y="400"/>
                  <a:pt x="24" y="399"/>
                </a:cubicBezTo>
                <a:cubicBezTo>
                  <a:pt x="25" y="399"/>
                  <a:pt x="25" y="401"/>
                  <a:pt x="25" y="401"/>
                </a:cubicBezTo>
                <a:close/>
                <a:moveTo>
                  <a:pt x="27" y="397"/>
                </a:moveTo>
                <a:cubicBezTo>
                  <a:pt x="27" y="398"/>
                  <a:pt x="28" y="396"/>
                  <a:pt x="27" y="397"/>
                </a:cubicBezTo>
                <a:close/>
                <a:moveTo>
                  <a:pt x="25" y="343"/>
                </a:moveTo>
                <a:cubicBezTo>
                  <a:pt x="23" y="342"/>
                  <a:pt x="25" y="340"/>
                  <a:pt x="25" y="338"/>
                </a:cubicBezTo>
                <a:cubicBezTo>
                  <a:pt x="25" y="340"/>
                  <a:pt x="26" y="339"/>
                  <a:pt x="27" y="340"/>
                </a:cubicBezTo>
                <a:cubicBezTo>
                  <a:pt x="29" y="342"/>
                  <a:pt x="26" y="345"/>
                  <a:pt x="25" y="343"/>
                </a:cubicBezTo>
                <a:close/>
                <a:moveTo>
                  <a:pt x="31" y="233"/>
                </a:moveTo>
                <a:cubicBezTo>
                  <a:pt x="30" y="234"/>
                  <a:pt x="30" y="231"/>
                  <a:pt x="30" y="231"/>
                </a:cubicBezTo>
                <a:cubicBezTo>
                  <a:pt x="32" y="231"/>
                  <a:pt x="31" y="233"/>
                  <a:pt x="31" y="233"/>
                </a:cubicBezTo>
                <a:close/>
                <a:moveTo>
                  <a:pt x="33" y="290"/>
                </a:moveTo>
                <a:cubicBezTo>
                  <a:pt x="32" y="291"/>
                  <a:pt x="32" y="288"/>
                  <a:pt x="33" y="289"/>
                </a:cubicBezTo>
                <a:cubicBezTo>
                  <a:pt x="34" y="289"/>
                  <a:pt x="33" y="290"/>
                  <a:pt x="33" y="290"/>
                </a:cubicBezTo>
                <a:close/>
                <a:moveTo>
                  <a:pt x="34" y="385"/>
                </a:moveTo>
                <a:cubicBezTo>
                  <a:pt x="33" y="386"/>
                  <a:pt x="34" y="383"/>
                  <a:pt x="35" y="383"/>
                </a:cubicBezTo>
                <a:cubicBezTo>
                  <a:pt x="35" y="384"/>
                  <a:pt x="34" y="385"/>
                  <a:pt x="34" y="385"/>
                </a:cubicBezTo>
                <a:close/>
                <a:moveTo>
                  <a:pt x="36" y="305"/>
                </a:moveTo>
                <a:cubicBezTo>
                  <a:pt x="35" y="307"/>
                  <a:pt x="37" y="303"/>
                  <a:pt x="36" y="305"/>
                </a:cubicBezTo>
                <a:close/>
                <a:moveTo>
                  <a:pt x="37" y="344"/>
                </a:moveTo>
                <a:cubicBezTo>
                  <a:pt x="37" y="344"/>
                  <a:pt x="38" y="344"/>
                  <a:pt x="38" y="344"/>
                </a:cubicBezTo>
                <a:cubicBezTo>
                  <a:pt x="38" y="345"/>
                  <a:pt x="37" y="345"/>
                  <a:pt x="37" y="344"/>
                </a:cubicBezTo>
                <a:close/>
                <a:moveTo>
                  <a:pt x="29" y="469"/>
                </a:moveTo>
                <a:cubicBezTo>
                  <a:pt x="25" y="471"/>
                  <a:pt x="25" y="463"/>
                  <a:pt x="29" y="464"/>
                </a:cubicBezTo>
                <a:cubicBezTo>
                  <a:pt x="31" y="464"/>
                  <a:pt x="31" y="468"/>
                  <a:pt x="29" y="469"/>
                </a:cubicBezTo>
                <a:close/>
                <a:moveTo>
                  <a:pt x="34" y="484"/>
                </a:moveTo>
                <a:cubicBezTo>
                  <a:pt x="34" y="485"/>
                  <a:pt x="34" y="485"/>
                  <a:pt x="33" y="485"/>
                </a:cubicBezTo>
                <a:cubicBezTo>
                  <a:pt x="32" y="486"/>
                  <a:pt x="33" y="483"/>
                  <a:pt x="34" y="484"/>
                </a:cubicBezTo>
                <a:close/>
                <a:moveTo>
                  <a:pt x="36" y="466"/>
                </a:moveTo>
                <a:cubicBezTo>
                  <a:pt x="34" y="467"/>
                  <a:pt x="34" y="464"/>
                  <a:pt x="35" y="463"/>
                </a:cubicBezTo>
                <a:cubicBezTo>
                  <a:pt x="36" y="463"/>
                  <a:pt x="37" y="465"/>
                  <a:pt x="36" y="466"/>
                </a:cubicBezTo>
                <a:close/>
                <a:moveTo>
                  <a:pt x="38" y="455"/>
                </a:moveTo>
                <a:cubicBezTo>
                  <a:pt x="38" y="455"/>
                  <a:pt x="38" y="456"/>
                  <a:pt x="38" y="456"/>
                </a:cubicBezTo>
                <a:cubicBezTo>
                  <a:pt x="37" y="458"/>
                  <a:pt x="36" y="454"/>
                  <a:pt x="38" y="455"/>
                </a:cubicBezTo>
                <a:close/>
                <a:moveTo>
                  <a:pt x="38" y="461"/>
                </a:moveTo>
                <a:cubicBezTo>
                  <a:pt x="36" y="462"/>
                  <a:pt x="38" y="459"/>
                  <a:pt x="39" y="459"/>
                </a:cubicBezTo>
                <a:cubicBezTo>
                  <a:pt x="39" y="460"/>
                  <a:pt x="38" y="461"/>
                  <a:pt x="38" y="461"/>
                </a:cubicBezTo>
                <a:close/>
                <a:moveTo>
                  <a:pt x="66" y="337"/>
                </a:moveTo>
                <a:cubicBezTo>
                  <a:pt x="66" y="337"/>
                  <a:pt x="66" y="338"/>
                  <a:pt x="66" y="338"/>
                </a:cubicBezTo>
                <a:cubicBezTo>
                  <a:pt x="65" y="339"/>
                  <a:pt x="65" y="336"/>
                  <a:pt x="66" y="337"/>
                </a:cubicBezTo>
                <a:close/>
                <a:moveTo>
                  <a:pt x="66" y="380"/>
                </a:moveTo>
                <a:cubicBezTo>
                  <a:pt x="67" y="380"/>
                  <a:pt x="67" y="382"/>
                  <a:pt x="66" y="382"/>
                </a:cubicBezTo>
                <a:cubicBezTo>
                  <a:pt x="65" y="384"/>
                  <a:pt x="65" y="379"/>
                  <a:pt x="66" y="380"/>
                </a:cubicBezTo>
                <a:close/>
                <a:moveTo>
                  <a:pt x="63" y="330"/>
                </a:moveTo>
                <a:cubicBezTo>
                  <a:pt x="62" y="331"/>
                  <a:pt x="64" y="329"/>
                  <a:pt x="63" y="330"/>
                </a:cubicBezTo>
                <a:close/>
                <a:moveTo>
                  <a:pt x="64" y="346"/>
                </a:moveTo>
                <a:cubicBezTo>
                  <a:pt x="66" y="346"/>
                  <a:pt x="65" y="351"/>
                  <a:pt x="62" y="351"/>
                </a:cubicBezTo>
                <a:cubicBezTo>
                  <a:pt x="62" y="351"/>
                  <a:pt x="62" y="345"/>
                  <a:pt x="64" y="346"/>
                </a:cubicBezTo>
                <a:close/>
                <a:moveTo>
                  <a:pt x="64" y="393"/>
                </a:moveTo>
                <a:cubicBezTo>
                  <a:pt x="64" y="392"/>
                  <a:pt x="65" y="394"/>
                  <a:pt x="64" y="393"/>
                </a:cubicBezTo>
                <a:close/>
                <a:moveTo>
                  <a:pt x="61" y="364"/>
                </a:moveTo>
                <a:cubicBezTo>
                  <a:pt x="61" y="362"/>
                  <a:pt x="62" y="363"/>
                  <a:pt x="61" y="364"/>
                </a:cubicBezTo>
                <a:close/>
                <a:moveTo>
                  <a:pt x="61" y="403"/>
                </a:moveTo>
                <a:cubicBezTo>
                  <a:pt x="61" y="403"/>
                  <a:pt x="61" y="403"/>
                  <a:pt x="62" y="403"/>
                </a:cubicBezTo>
                <a:cubicBezTo>
                  <a:pt x="63" y="402"/>
                  <a:pt x="61" y="403"/>
                  <a:pt x="61" y="403"/>
                </a:cubicBezTo>
                <a:close/>
                <a:moveTo>
                  <a:pt x="61" y="365"/>
                </a:moveTo>
                <a:cubicBezTo>
                  <a:pt x="61" y="366"/>
                  <a:pt x="59" y="365"/>
                  <a:pt x="61" y="365"/>
                </a:cubicBezTo>
                <a:close/>
                <a:moveTo>
                  <a:pt x="58" y="357"/>
                </a:moveTo>
                <a:cubicBezTo>
                  <a:pt x="59" y="357"/>
                  <a:pt x="58" y="359"/>
                  <a:pt x="58" y="359"/>
                </a:cubicBezTo>
                <a:cubicBezTo>
                  <a:pt x="56" y="361"/>
                  <a:pt x="55" y="356"/>
                  <a:pt x="58" y="357"/>
                </a:cubicBezTo>
                <a:close/>
                <a:moveTo>
                  <a:pt x="56" y="405"/>
                </a:moveTo>
                <a:cubicBezTo>
                  <a:pt x="56" y="405"/>
                  <a:pt x="56" y="406"/>
                  <a:pt x="56" y="406"/>
                </a:cubicBezTo>
                <a:cubicBezTo>
                  <a:pt x="55" y="407"/>
                  <a:pt x="55" y="405"/>
                  <a:pt x="56" y="405"/>
                </a:cubicBezTo>
                <a:close/>
                <a:moveTo>
                  <a:pt x="54" y="374"/>
                </a:moveTo>
                <a:cubicBezTo>
                  <a:pt x="55" y="374"/>
                  <a:pt x="55" y="375"/>
                  <a:pt x="54" y="375"/>
                </a:cubicBezTo>
                <a:cubicBezTo>
                  <a:pt x="53" y="376"/>
                  <a:pt x="53" y="374"/>
                  <a:pt x="54" y="374"/>
                </a:cubicBezTo>
                <a:close/>
                <a:moveTo>
                  <a:pt x="49" y="398"/>
                </a:moveTo>
                <a:cubicBezTo>
                  <a:pt x="51" y="396"/>
                  <a:pt x="52" y="393"/>
                  <a:pt x="54" y="390"/>
                </a:cubicBezTo>
                <a:cubicBezTo>
                  <a:pt x="53" y="393"/>
                  <a:pt x="51" y="396"/>
                  <a:pt x="49" y="398"/>
                </a:cubicBezTo>
                <a:close/>
                <a:moveTo>
                  <a:pt x="51" y="408"/>
                </a:moveTo>
                <a:cubicBezTo>
                  <a:pt x="50" y="407"/>
                  <a:pt x="52" y="406"/>
                  <a:pt x="52" y="407"/>
                </a:cubicBezTo>
                <a:cubicBezTo>
                  <a:pt x="54" y="408"/>
                  <a:pt x="52" y="410"/>
                  <a:pt x="51" y="408"/>
                </a:cubicBezTo>
                <a:close/>
                <a:moveTo>
                  <a:pt x="46" y="404"/>
                </a:moveTo>
                <a:cubicBezTo>
                  <a:pt x="46" y="404"/>
                  <a:pt x="47" y="400"/>
                  <a:pt x="48" y="399"/>
                </a:cubicBezTo>
                <a:cubicBezTo>
                  <a:pt x="48" y="400"/>
                  <a:pt x="47" y="404"/>
                  <a:pt x="46" y="404"/>
                </a:cubicBezTo>
                <a:close/>
                <a:moveTo>
                  <a:pt x="47" y="409"/>
                </a:moveTo>
                <a:cubicBezTo>
                  <a:pt x="48" y="408"/>
                  <a:pt x="47" y="410"/>
                  <a:pt x="47" y="409"/>
                </a:cubicBezTo>
                <a:close/>
                <a:moveTo>
                  <a:pt x="48" y="392"/>
                </a:moveTo>
                <a:cubicBezTo>
                  <a:pt x="46" y="393"/>
                  <a:pt x="46" y="388"/>
                  <a:pt x="49" y="389"/>
                </a:cubicBezTo>
                <a:cubicBezTo>
                  <a:pt x="50" y="389"/>
                  <a:pt x="49" y="392"/>
                  <a:pt x="48" y="392"/>
                </a:cubicBezTo>
                <a:close/>
                <a:moveTo>
                  <a:pt x="53" y="323"/>
                </a:moveTo>
                <a:cubicBezTo>
                  <a:pt x="54" y="323"/>
                  <a:pt x="54" y="325"/>
                  <a:pt x="53" y="325"/>
                </a:cubicBezTo>
                <a:cubicBezTo>
                  <a:pt x="52" y="326"/>
                  <a:pt x="52" y="323"/>
                  <a:pt x="53" y="323"/>
                </a:cubicBezTo>
                <a:close/>
                <a:moveTo>
                  <a:pt x="50" y="354"/>
                </a:moveTo>
                <a:cubicBezTo>
                  <a:pt x="53" y="355"/>
                  <a:pt x="51" y="360"/>
                  <a:pt x="50" y="360"/>
                </a:cubicBezTo>
                <a:cubicBezTo>
                  <a:pt x="45" y="362"/>
                  <a:pt x="47" y="352"/>
                  <a:pt x="50" y="354"/>
                </a:cubicBezTo>
                <a:close/>
                <a:moveTo>
                  <a:pt x="47" y="328"/>
                </a:moveTo>
                <a:cubicBezTo>
                  <a:pt x="47" y="328"/>
                  <a:pt x="48" y="328"/>
                  <a:pt x="48" y="327"/>
                </a:cubicBezTo>
                <a:cubicBezTo>
                  <a:pt x="49" y="327"/>
                  <a:pt x="49" y="328"/>
                  <a:pt x="47" y="328"/>
                </a:cubicBezTo>
                <a:close/>
                <a:moveTo>
                  <a:pt x="48" y="267"/>
                </a:moveTo>
                <a:cubicBezTo>
                  <a:pt x="47" y="267"/>
                  <a:pt x="47" y="267"/>
                  <a:pt x="47" y="266"/>
                </a:cubicBezTo>
                <a:cubicBezTo>
                  <a:pt x="47" y="266"/>
                  <a:pt x="49" y="266"/>
                  <a:pt x="48" y="267"/>
                </a:cubicBezTo>
                <a:close/>
                <a:moveTo>
                  <a:pt x="46" y="377"/>
                </a:moveTo>
                <a:cubicBezTo>
                  <a:pt x="45" y="378"/>
                  <a:pt x="45" y="376"/>
                  <a:pt x="46" y="376"/>
                </a:cubicBezTo>
                <a:cubicBezTo>
                  <a:pt x="47" y="376"/>
                  <a:pt x="46" y="377"/>
                  <a:pt x="46" y="377"/>
                </a:cubicBezTo>
                <a:close/>
                <a:moveTo>
                  <a:pt x="45" y="192"/>
                </a:moveTo>
                <a:cubicBezTo>
                  <a:pt x="46" y="192"/>
                  <a:pt x="46" y="193"/>
                  <a:pt x="46" y="193"/>
                </a:cubicBezTo>
                <a:cubicBezTo>
                  <a:pt x="44" y="195"/>
                  <a:pt x="44" y="191"/>
                  <a:pt x="45" y="192"/>
                </a:cubicBezTo>
                <a:close/>
                <a:moveTo>
                  <a:pt x="45" y="207"/>
                </a:moveTo>
                <a:cubicBezTo>
                  <a:pt x="46" y="207"/>
                  <a:pt x="45" y="208"/>
                  <a:pt x="45" y="209"/>
                </a:cubicBezTo>
                <a:cubicBezTo>
                  <a:pt x="44" y="210"/>
                  <a:pt x="44" y="207"/>
                  <a:pt x="45" y="207"/>
                </a:cubicBezTo>
                <a:close/>
                <a:moveTo>
                  <a:pt x="44" y="360"/>
                </a:moveTo>
                <a:cubicBezTo>
                  <a:pt x="45" y="361"/>
                  <a:pt x="44" y="363"/>
                  <a:pt x="44" y="363"/>
                </a:cubicBezTo>
                <a:cubicBezTo>
                  <a:pt x="42" y="364"/>
                  <a:pt x="43" y="360"/>
                  <a:pt x="44" y="360"/>
                </a:cubicBezTo>
                <a:close/>
                <a:moveTo>
                  <a:pt x="43" y="227"/>
                </a:moveTo>
                <a:cubicBezTo>
                  <a:pt x="43" y="227"/>
                  <a:pt x="43" y="228"/>
                  <a:pt x="43" y="228"/>
                </a:cubicBezTo>
                <a:cubicBezTo>
                  <a:pt x="42" y="229"/>
                  <a:pt x="43" y="226"/>
                  <a:pt x="43" y="227"/>
                </a:cubicBezTo>
                <a:close/>
                <a:moveTo>
                  <a:pt x="40" y="322"/>
                </a:moveTo>
                <a:cubicBezTo>
                  <a:pt x="41" y="320"/>
                  <a:pt x="39" y="322"/>
                  <a:pt x="40" y="322"/>
                </a:cubicBezTo>
                <a:close/>
                <a:moveTo>
                  <a:pt x="36" y="429"/>
                </a:moveTo>
                <a:cubicBezTo>
                  <a:pt x="35" y="431"/>
                  <a:pt x="35" y="428"/>
                  <a:pt x="36" y="428"/>
                </a:cubicBezTo>
                <a:cubicBezTo>
                  <a:pt x="36" y="429"/>
                  <a:pt x="36" y="429"/>
                  <a:pt x="36" y="429"/>
                </a:cubicBezTo>
                <a:close/>
                <a:moveTo>
                  <a:pt x="35" y="428"/>
                </a:moveTo>
                <a:cubicBezTo>
                  <a:pt x="34" y="427"/>
                  <a:pt x="36" y="425"/>
                  <a:pt x="36" y="426"/>
                </a:cubicBezTo>
                <a:cubicBezTo>
                  <a:pt x="37" y="428"/>
                  <a:pt x="35" y="429"/>
                  <a:pt x="35" y="428"/>
                </a:cubicBezTo>
                <a:close/>
                <a:moveTo>
                  <a:pt x="38" y="424"/>
                </a:moveTo>
                <a:cubicBezTo>
                  <a:pt x="35" y="427"/>
                  <a:pt x="33" y="418"/>
                  <a:pt x="37" y="417"/>
                </a:cubicBezTo>
                <a:cubicBezTo>
                  <a:pt x="35" y="420"/>
                  <a:pt x="39" y="419"/>
                  <a:pt x="39" y="420"/>
                </a:cubicBezTo>
                <a:cubicBezTo>
                  <a:pt x="39" y="421"/>
                  <a:pt x="39" y="423"/>
                  <a:pt x="38" y="424"/>
                </a:cubicBezTo>
                <a:close/>
                <a:moveTo>
                  <a:pt x="40" y="358"/>
                </a:moveTo>
                <a:cubicBezTo>
                  <a:pt x="38" y="358"/>
                  <a:pt x="41" y="356"/>
                  <a:pt x="40" y="357"/>
                </a:cubicBezTo>
                <a:cubicBezTo>
                  <a:pt x="40" y="357"/>
                  <a:pt x="40" y="358"/>
                  <a:pt x="40" y="358"/>
                </a:cubicBezTo>
                <a:close/>
                <a:moveTo>
                  <a:pt x="41" y="431"/>
                </a:moveTo>
                <a:cubicBezTo>
                  <a:pt x="42" y="430"/>
                  <a:pt x="43" y="432"/>
                  <a:pt x="41" y="431"/>
                </a:cubicBezTo>
                <a:close/>
                <a:moveTo>
                  <a:pt x="42" y="382"/>
                </a:moveTo>
                <a:cubicBezTo>
                  <a:pt x="42" y="380"/>
                  <a:pt x="43" y="381"/>
                  <a:pt x="44" y="380"/>
                </a:cubicBezTo>
                <a:cubicBezTo>
                  <a:pt x="44" y="379"/>
                  <a:pt x="44" y="378"/>
                  <a:pt x="46" y="378"/>
                </a:cubicBezTo>
                <a:cubicBezTo>
                  <a:pt x="50" y="378"/>
                  <a:pt x="48" y="384"/>
                  <a:pt x="45" y="385"/>
                </a:cubicBezTo>
                <a:cubicBezTo>
                  <a:pt x="43" y="385"/>
                  <a:pt x="41" y="385"/>
                  <a:pt x="42" y="382"/>
                </a:cubicBezTo>
                <a:close/>
                <a:moveTo>
                  <a:pt x="44" y="391"/>
                </a:moveTo>
                <a:cubicBezTo>
                  <a:pt x="43" y="392"/>
                  <a:pt x="45" y="389"/>
                  <a:pt x="44" y="391"/>
                </a:cubicBezTo>
                <a:close/>
                <a:moveTo>
                  <a:pt x="42" y="449"/>
                </a:moveTo>
                <a:cubicBezTo>
                  <a:pt x="42" y="450"/>
                  <a:pt x="43" y="447"/>
                  <a:pt x="42" y="449"/>
                </a:cubicBezTo>
                <a:close/>
                <a:moveTo>
                  <a:pt x="44" y="465"/>
                </a:moveTo>
                <a:cubicBezTo>
                  <a:pt x="45" y="464"/>
                  <a:pt x="43" y="466"/>
                  <a:pt x="44" y="465"/>
                </a:cubicBezTo>
                <a:close/>
                <a:moveTo>
                  <a:pt x="45" y="462"/>
                </a:moveTo>
                <a:cubicBezTo>
                  <a:pt x="45" y="462"/>
                  <a:pt x="45" y="462"/>
                  <a:pt x="46" y="462"/>
                </a:cubicBezTo>
                <a:cubicBezTo>
                  <a:pt x="46" y="462"/>
                  <a:pt x="46" y="462"/>
                  <a:pt x="46" y="462"/>
                </a:cubicBezTo>
                <a:cubicBezTo>
                  <a:pt x="46" y="462"/>
                  <a:pt x="45" y="462"/>
                  <a:pt x="45" y="462"/>
                </a:cubicBezTo>
                <a:close/>
                <a:moveTo>
                  <a:pt x="43" y="445"/>
                </a:moveTo>
                <a:cubicBezTo>
                  <a:pt x="43" y="443"/>
                  <a:pt x="45" y="441"/>
                  <a:pt x="47" y="439"/>
                </a:cubicBezTo>
                <a:cubicBezTo>
                  <a:pt x="47" y="442"/>
                  <a:pt x="44" y="443"/>
                  <a:pt x="43" y="445"/>
                </a:cubicBezTo>
                <a:close/>
                <a:moveTo>
                  <a:pt x="46" y="434"/>
                </a:moveTo>
                <a:cubicBezTo>
                  <a:pt x="46" y="434"/>
                  <a:pt x="47" y="433"/>
                  <a:pt x="46" y="434"/>
                </a:cubicBezTo>
                <a:cubicBezTo>
                  <a:pt x="46" y="434"/>
                  <a:pt x="46" y="434"/>
                  <a:pt x="46" y="434"/>
                </a:cubicBezTo>
                <a:close/>
                <a:moveTo>
                  <a:pt x="47" y="432"/>
                </a:moveTo>
                <a:cubicBezTo>
                  <a:pt x="48" y="430"/>
                  <a:pt x="50" y="431"/>
                  <a:pt x="47" y="432"/>
                </a:cubicBezTo>
                <a:close/>
                <a:moveTo>
                  <a:pt x="50" y="418"/>
                </a:moveTo>
                <a:cubicBezTo>
                  <a:pt x="50" y="419"/>
                  <a:pt x="52" y="419"/>
                  <a:pt x="51" y="420"/>
                </a:cubicBezTo>
                <a:cubicBezTo>
                  <a:pt x="52" y="419"/>
                  <a:pt x="48" y="420"/>
                  <a:pt x="49" y="421"/>
                </a:cubicBezTo>
                <a:cubicBezTo>
                  <a:pt x="48" y="420"/>
                  <a:pt x="48" y="419"/>
                  <a:pt x="49" y="418"/>
                </a:cubicBezTo>
                <a:cubicBezTo>
                  <a:pt x="47" y="418"/>
                  <a:pt x="45" y="417"/>
                  <a:pt x="45" y="416"/>
                </a:cubicBezTo>
                <a:cubicBezTo>
                  <a:pt x="44" y="413"/>
                  <a:pt x="47" y="411"/>
                  <a:pt x="49" y="410"/>
                </a:cubicBezTo>
                <a:cubicBezTo>
                  <a:pt x="49" y="410"/>
                  <a:pt x="49" y="409"/>
                  <a:pt x="49" y="409"/>
                </a:cubicBezTo>
                <a:cubicBezTo>
                  <a:pt x="50" y="409"/>
                  <a:pt x="51" y="411"/>
                  <a:pt x="51" y="411"/>
                </a:cubicBezTo>
                <a:cubicBezTo>
                  <a:pt x="53" y="412"/>
                  <a:pt x="52" y="407"/>
                  <a:pt x="54" y="407"/>
                </a:cubicBezTo>
                <a:cubicBezTo>
                  <a:pt x="56" y="408"/>
                  <a:pt x="54" y="410"/>
                  <a:pt x="54" y="411"/>
                </a:cubicBezTo>
                <a:cubicBezTo>
                  <a:pt x="54" y="413"/>
                  <a:pt x="55" y="413"/>
                  <a:pt x="53" y="414"/>
                </a:cubicBezTo>
                <a:cubicBezTo>
                  <a:pt x="52" y="415"/>
                  <a:pt x="51" y="418"/>
                  <a:pt x="50" y="418"/>
                </a:cubicBezTo>
                <a:close/>
                <a:moveTo>
                  <a:pt x="58" y="443"/>
                </a:moveTo>
                <a:cubicBezTo>
                  <a:pt x="57" y="444"/>
                  <a:pt x="57" y="442"/>
                  <a:pt x="58" y="441"/>
                </a:cubicBezTo>
                <a:cubicBezTo>
                  <a:pt x="59" y="441"/>
                  <a:pt x="58" y="442"/>
                  <a:pt x="58" y="443"/>
                </a:cubicBezTo>
                <a:close/>
                <a:moveTo>
                  <a:pt x="59" y="440"/>
                </a:moveTo>
                <a:cubicBezTo>
                  <a:pt x="57" y="441"/>
                  <a:pt x="59" y="437"/>
                  <a:pt x="60" y="439"/>
                </a:cubicBezTo>
                <a:cubicBezTo>
                  <a:pt x="60" y="439"/>
                  <a:pt x="59" y="440"/>
                  <a:pt x="59" y="440"/>
                </a:cubicBezTo>
                <a:close/>
                <a:moveTo>
                  <a:pt x="63" y="454"/>
                </a:moveTo>
                <a:cubicBezTo>
                  <a:pt x="64" y="455"/>
                  <a:pt x="62" y="456"/>
                  <a:pt x="63" y="454"/>
                </a:cubicBezTo>
                <a:close/>
                <a:moveTo>
                  <a:pt x="60" y="436"/>
                </a:moveTo>
                <a:cubicBezTo>
                  <a:pt x="60" y="435"/>
                  <a:pt x="64" y="434"/>
                  <a:pt x="64" y="437"/>
                </a:cubicBezTo>
                <a:cubicBezTo>
                  <a:pt x="64" y="439"/>
                  <a:pt x="58" y="440"/>
                  <a:pt x="60" y="436"/>
                </a:cubicBezTo>
                <a:close/>
                <a:moveTo>
                  <a:pt x="63" y="432"/>
                </a:moveTo>
                <a:cubicBezTo>
                  <a:pt x="62" y="431"/>
                  <a:pt x="64" y="430"/>
                  <a:pt x="63" y="432"/>
                </a:cubicBezTo>
                <a:close/>
                <a:moveTo>
                  <a:pt x="64" y="427"/>
                </a:moveTo>
                <a:cubicBezTo>
                  <a:pt x="64" y="427"/>
                  <a:pt x="64" y="428"/>
                  <a:pt x="64" y="428"/>
                </a:cubicBezTo>
                <a:cubicBezTo>
                  <a:pt x="63" y="429"/>
                  <a:pt x="63" y="426"/>
                  <a:pt x="64" y="427"/>
                </a:cubicBezTo>
                <a:close/>
                <a:moveTo>
                  <a:pt x="64" y="419"/>
                </a:moveTo>
                <a:cubicBezTo>
                  <a:pt x="62" y="420"/>
                  <a:pt x="59" y="423"/>
                  <a:pt x="58" y="424"/>
                </a:cubicBezTo>
                <a:cubicBezTo>
                  <a:pt x="57" y="426"/>
                  <a:pt x="56" y="428"/>
                  <a:pt x="54" y="429"/>
                </a:cubicBezTo>
                <a:cubicBezTo>
                  <a:pt x="57" y="423"/>
                  <a:pt x="63" y="418"/>
                  <a:pt x="66" y="413"/>
                </a:cubicBezTo>
                <a:cubicBezTo>
                  <a:pt x="69" y="409"/>
                  <a:pt x="65" y="417"/>
                  <a:pt x="64" y="419"/>
                </a:cubicBezTo>
                <a:close/>
                <a:moveTo>
                  <a:pt x="66" y="423"/>
                </a:moveTo>
                <a:cubicBezTo>
                  <a:pt x="66" y="423"/>
                  <a:pt x="65" y="423"/>
                  <a:pt x="65" y="423"/>
                </a:cubicBezTo>
                <a:cubicBezTo>
                  <a:pt x="64" y="423"/>
                  <a:pt x="66" y="422"/>
                  <a:pt x="66" y="423"/>
                </a:cubicBezTo>
                <a:close/>
                <a:moveTo>
                  <a:pt x="67" y="443"/>
                </a:moveTo>
                <a:cubicBezTo>
                  <a:pt x="67" y="443"/>
                  <a:pt x="67" y="443"/>
                  <a:pt x="67" y="443"/>
                </a:cubicBezTo>
                <a:cubicBezTo>
                  <a:pt x="67" y="441"/>
                  <a:pt x="69" y="445"/>
                  <a:pt x="67" y="443"/>
                </a:cubicBezTo>
                <a:close/>
                <a:moveTo>
                  <a:pt x="67" y="430"/>
                </a:moveTo>
                <a:cubicBezTo>
                  <a:pt x="67" y="431"/>
                  <a:pt x="66" y="432"/>
                  <a:pt x="66" y="431"/>
                </a:cubicBezTo>
                <a:cubicBezTo>
                  <a:pt x="62" y="428"/>
                  <a:pt x="71" y="428"/>
                  <a:pt x="67" y="430"/>
                </a:cubicBezTo>
                <a:close/>
                <a:moveTo>
                  <a:pt x="68" y="358"/>
                </a:moveTo>
                <a:cubicBezTo>
                  <a:pt x="65" y="360"/>
                  <a:pt x="65" y="354"/>
                  <a:pt x="67" y="355"/>
                </a:cubicBezTo>
                <a:cubicBezTo>
                  <a:pt x="69" y="355"/>
                  <a:pt x="68" y="357"/>
                  <a:pt x="68" y="358"/>
                </a:cubicBezTo>
                <a:close/>
                <a:moveTo>
                  <a:pt x="80" y="396"/>
                </a:moveTo>
                <a:cubicBezTo>
                  <a:pt x="79" y="397"/>
                  <a:pt x="80" y="395"/>
                  <a:pt x="80" y="396"/>
                </a:cubicBezTo>
                <a:close/>
                <a:moveTo>
                  <a:pt x="76" y="428"/>
                </a:moveTo>
                <a:cubicBezTo>
                  <a:pt x="76" y="428"/>
                  <a:pt x="76" y="428"/>
                  <a:pt x="76" y="428"/>
                </a:cubicBezTo>
                <a:cubicBezTo>
                  <a:pt x="77" y="427"/>
                  <a:pt x="76" y="428"/>
                  <a:pt x="76" y="428"/>
                </a:cubicBezTo>
                <a:close/>
                <a:moveTo>
                  <a:pt x="76" y="353"/>
                </a:moveTo>
                <a:cubicBezTo>
                  <a:pt x="76" y="355"/>
                  <a:pt x="75" y="355"/>
                  <a:pt x="75" y="356"/>
                </a:cubicBezTo>
                <a:cubicBezTo>
                  <a:pt x="74" y="355"/>
                  <a:pt x="76" y="354"/>
                  <a:pt x="76" y="353"/>
                </a:cubicBezTo>
                <a:close/>
                <a:moveTo>
                  <a:pt x="75" y="387"/>
                </a:moveTo>
                <a:cubicBezTo>
                  <a:pt x="74" y="387"/>
                  <a:pt x="77" y="386"/>
                  <a:pt x="75" y="387"/>
                </a:cubicBezTo>
                <a:close/>
                <a:moveTo>
                  <a:pt x="73" y="290"/>
                </a:moveTo>
                <a:cubicBezTo>
                  <a:pt x="73" y="291"/>
                  <a:pt x="73" y="292"/>
                  <a:pt x="72" y="293"/>
                </a:cubicBezTo>
                <a:cubicBezTo>
                  <a:pt x="72" y="292"/>
                  <a:pt x="73" y="290"/>
                  <a:pt x="73" y="290"/>
                </a:cubicBezTo>
                <a:close/>
                <a:moveTo>
                  <a:pt x="69" y="327"/>
                </a:moveTo>
                <a:cubicBezTo>
                  <a:pt x="69" y="326"/>
                  <a:pt x="71" y="325"/>
                  <a:pt x="72" y="324"/>
                </a:cubicBezTo>
                <a:cubicBezTo>
                  <a:pt x="72" y="326"/>
                  <a:pt x="70" y="326"/>
                  <a:pt x="69" y="327"/>
                </a:cubicBezTo>
                <a:close/>
                <a:moveTo>
                  <a:pt x="72" y="428"/>
                </a:moveTo>
                <a:cubicBezTo>
                  <a:pt x="70" y="430"/>
                  <a:pt x="71" y="426"/>
                  <a:pt x="72" y="427"/>
                </a:cubicBezTo>
                <a:cubicBezTo>
                  <a:pt x="73" y="427"/>
                  <a:pt x="73" y="428"/>
                  <a:pt x="72" y="428"/>
                </a:cubicBezTo>
                <a:close/>
                <a:moveTo>
                  <a:pt x="72" y="367"/>
                </a:moveTo>
                <a:cubicBezTo>
                  <a:pt x="72" y="367"/>
                  <a:pt x="72" y="368"/>
                  <a:pt x="72" y="368"/>
                </a:cubicBezTo>
                <a:cubicBezTo>
                  <a:pt x="71" y="369"/>
                  <a:pt x="71" y="366"/>
                  <a:pt x="72" y="367"/>
                </a:cubicBezTo>
                <a:close/>
                <a:moveTo>
                  <a:pt x="73" y="356"/>
                </a:moveTo>
                <a:cubicBezTo>
                  <a:pt x="70" y="358"/>
                  <a:pt x="71" y="351"/>
                  <a:pt x="73" y="352"/>
                </a:cubicBezTo>
                <a:cubicBezTo>
                  <a:pt x="75" y="353"/>
                  <a:pt x="73" y="356"/>
                  <a:pt x="73" y="356"/>
                </a:cubicBezTo>
                <a:close/>
                <a:moveTo>
                  <a:pt x="75" y="401"/>
                </a:moveTo>
                <a:cubicBezTo>
                  <a:pt x="73" y="402"/>
                  <a:pt x="73" y="397"/>
                  <a:pt x="75" y="398"/>
                </a:cubicBezTo>
                <a:cubicBezTo>
                  <a:pt x="76" y="399"/>
                  <a:pt x="76" y="400"/>
                  <a:pt x="75" y="401"/>
                </a:cubicBezTo>
                <a:close/>
                <a:moveTo>
                  <a:pt x="76" y="434"/>
                </a:moveTo>
                <a:cubicBezTo>
                  <a:pt x="77" y="432"/>
                  <a:pt x="79" y="430"/>
                  <a:pt x="80" y="429"/>
                </a:cubicBezTo>
                <a:cubicBezTo>
                  <a:pt x="79" y="431"/>
                  <a:pt x="78" y="432"/>
                  <a:pt x="76" y="434"/>
                </a:cubicBezTo>
                <a:close/>
                <a:moveTo>
                  <a:pt x="81" y="418"/>
                </a:moveTo>
                <a:cubicBezTo>
                  <a:pt x="80" y="418"/>
                  <a:pt x="82" y="417"/>
                  <a:pt x="81" y="418"/>
                </a:cubicBezTo>
                <a:close/>
                <a:moveTo>
                  <a:pt x="81" y="339"/>
                </a:moveTo>
                <a:cubicBezTo>
                  <a:pt x="80" y="339"/>
                  <a:pt x="81" y="337"/>
                  <a:pt x="82" y="337"/>
                </a:cubicBezTo>
                <a:cubicBezTo>
                  <a:pt x="82" y="338"/>
                  <a:pt x="81" y="338"/>
                  <a:pt x="81" y="339"/>
                </a:cubicBezTo>
                <a:close/>
                <a:moveTo>
                  <a:pt x="87" y="450"/>
                </a:moveTo>
                <a:cubicBezTo>
                  <a:pt x="87" y="450"/>
                  <a:pt x="88" y="449"/>
                  <a:pt x="89" y="449"/>
                </a:cubicBezTo>
                <a:cubicBezTo>
                  <a:pt x="89" y="449"/>
                  <a:pt x="88" y="450"/>
                  <a:pt x="87" y="450"/>
                </a:cubicBezTo>
                <a:close/>
                <a:moveTo>
                  <a:pt x="90" y="457"/>
                </a:moveTo>
                <a:cubicBezTo>
                  <a:pt x="90" y="457"/>
                  <a:pt x="90" y="457"/>
                  <a:pt x="90" y="456"/>
                </a:cubicBezTo>
                <a:cubicBezTo>
                  <a:pt x="92" y="455"/>
                  <a:pt x="91" y="456"/>
                  <a:pt x="90" y="457"/>
                </a:cubicBezTo>
                <a:close/>
                <a:moveTo>
                  <a:pt x="91" y="435"/>
                </a:moveTo>
                <a:cubicBezTo>
                  <a:pt x="89" y="437"/>
                  <a:pt x="92" y="434"/>
                  <a:pt x="91" y="435"/>
                </a:cubicBezTo>
                <a:close/>
                <a:moveTo>
                  <a:pt x="109" y="452"/>
                </a:moveTo>
                <a:cubicBezTo>
                  <a:pt x="109" y="453"/>
                  <a:pt x="108" y="452"/>
                  <a:pt x="109" y="452"/>
                </a:cubicBezTo>
                <a:close/>
                <a:moveTo>
                  <a:pt x="104" y="235"/>
                </a:moveTo>
                <a:cubicBezTo>
                  <a:pt x="103" y="236"/>
                  <a:pt x="105" y="234"/>
                  <a:pt x="104" y="235"/>
                </a:cubicBezTo>
                <a:close/>
                <a:moveTo>
                  <a:pt x="100" y="336"/>
                </a:moveTo>
                <a:cubicBezTo>
                  <a:pt x="101" y="335"/>
                  <a:pt x="101" y="335"/>
                  <a:pt x="100" y="336"/>
                </a:cubicBezTo>
                <a:close/>
                <a:moveTo>
                  <a:pt x="98" y="332"/>
                </a:moveTo>
                <a:cubicBezTo>
                  <a:pt x="97" y="331"/>
                  <a:pt x="100" y="331"/>
                  <a:pt x="98" y="332"/>
                </a:cubicBezTo>
                <a:close/>
                <a:moveTo>
                  <a:pt x="96" y="215"/>
                </a:moveTo>
                <a:cubicBezTo>
                  <a:pt x="97" y="215"/>
                  <a:pt x="97" y="216"/>
                  <a:pt x="96" y="217"/>
                </a:cubicBezTo>
                <a:cubicBezTo>
                  <a:pt x="95" y="219"/>
                  <a:pt x="95" y="214"/>
                  <a:pt x="96" y="215"/>
                </a:cubicBezTo>
                <a:close/>
                <a:moveTo>
                  <a:pt x="87" y="329"/>
                </a:moveTo>
                <a:cubicBezTo>
                  <a:pt x="87" y="330"/>
                  <a:pt x="86" y="330"/>
                  <a:pt x="86" y="331"/>
                </a:cubicBezTo>
                <a:cubicBezTo>
                  <a:pt x="85" y="331"/>
                  <a:pt x="86" y="329"/>
                  <a:pt x="87" y="329"/>
                </a:cubicBezTo>
                <a:close/>
                <a:moveTo>
                  <a:pt x="85" y="293"/>
                </a:moveTo>
                <a:cubicBezTo>
                  <a:pt x="85" y="293"/>
                  <a:pt x="85" y="294"/>
                  <a:pt x="85" y="294"/>
                </a:cubicBezTo>
                <a:cubicBezTo>
                  <a:pt x="83" y="296"/>
                  <a:pt x="83" y="291"/>
                  <a:pt x="85" y="293"/>
                </a:cubicBezTo>
                <a:close/>
                <a:moveTo>
                  <a:pt x="84" y="332"/>
                </a:moveTo>
                <a:cubicBezTo>
                  <a:pt x="86" y="333"/>
                  <a:pt x="84" y="335"/>
                  <a:pt x="82" y="336"/>
                </a:cubicBezTo>
                <a:cubicBezTo>
                  <a:pt x="83" y="334"/>
                  <a:pt x="85" y="333"/>
                  <a:pt x="84" y="332"/>
                </a:cubicBezTo>
                <a:close/>
                <a:moveTo>
                  <a:pt x="83" y="441"/>
                </a:moveTo>
                <a:cubicBezTo>
                  <a:pt x="82" y="442"/>
                  <a:pt x="84" y="440"/>
                  <a:pt x="83" y="441"/>
                </a:cubicBezTo>
                <a:close/>
                <a:moveTo>
                  <a:pt x="84" y="423"/>
                </a:moveTo>
                <a:cubicBezTo>
                  <a:pt x="83" y="424"/>
                  <a:pt x="84" y="421"/>
                  <a:pt x="85" y="422"/>
                </a:cubicBezTo>
                <a:cubicBezTo>
                  <a:pt x="86" y="422"/>
                  <a:pt x="85" y="423"/>
                  <a:pt x="84" y="423"/>
                </a:cubicBezTo>
                <a:close/>
                <a:moveTo>
                  <a:pt x="88" y="356"/>
                </a:moveTo>
                <a:cubicBezTo>
                  <a:pt x="86" y="358"/>
                  <a:pt x="87" y="353"/>
                  <a:pt x="88" y="354"/>
                </a:cubicBezTo>
                <a:cubicBezTo>
                  <a:pt x="89" y="355"/>
                  <a:pt x="88" y="356"/>
                  <a:pt x="88" y="356"/>
                </a:cubicBezTo>
                <a:close/>
                <a:moveTo>
                  <a:pt x="96" y="325"/>
                </a:moveTo>
                <a:cubicBezTo>
                  <a:pt x="96" y="326"/>
                  <a:pt x="95" y="326"/>
                  <a:pt x="94" y="328"/>
                </a:cubicBezTo>
                <a:cubicBezTo>
                  <a:pt x="92" y="330"/>
                  <a:pt x="89" y="335"/>
                  <a:pt x="87" y="340"/>
                </a:cubicBezTo>
                <a:cubicBezTo>
                  <a:pt x="85" y="344"/>
                  <a:pt x="85" y="347"/>
                  <a:pt x="83" y="350"/>
                </a:cubicBezTo>
                <a:cubicBezTo>
                  <a:pt x="83" y="350"/>
                  <a:pt x="82" y="350"/>
                  <a:pt x="82" y="350"/>
                </a:cubicBezTo>
                <a:cubicBezTo>
                  <a:pt x="81" y="350"/>
                  <a:pt x="84" y="344"/>
                  <a:pt x="85" y="342"/>
                </a:cubicBezTo>
                <a:cubicBezTo>
                  <a:pt x="86" y="339"/>
                  <a:pt x="87" y="337"/>
                  <a:pt x="89" y="334"/>
                </a:cubicBezTo>
                <a:cubicBezTo>
                  <a:pt x="90" y="332"/>
                  <a:pt x="93" y="329"/>
                  <a:pt x="93" y="326"/>
                </a:cubicBezTo>
                <a:cubicBezTo>
                  <a:pt x="93" y="326"/>
                  <a:pt x="92" y="325"/>
                  <a:pt x="92" y="324"/>
                </a:cubicBezTo>
                <a:cubicBezTo>
                  <a:pt x="92" y="320"/>
                  <a:pt x="99" y="320"/>
                  <a:pt x="96" y="325"/>
                </a:cubicBezTo>
                <a:close/>
                <a:moveTo>
                  <a:pt x="96" y="227"/>
                </a:moveTo>
                <a:cubicBezTo>
                  <a:pt x="97" y="227"/>
                  <a:pt x="97" y="228"/>
                  <a:pt x="97" y="229"/>
                </a:cubicBezTo>
                <a:cubicBezTo>
                  <a:pt x="96" y="230"/>
                  <a:pt x="96" y="227"/>
                  <a:pt x="96" y="227"/>
                </a:cubicBezTo>
                <a:close/>
                <a:moveTo>
                  <a:pt x="98" y="402"/>
                </a:moveTo>
                <a:cubicBezTo>
                  <a:pt x="98" y="402"/>
                  <a:pt x="98" y="402"/>
                  <a:pt x="97" y="402"/>
                </a:cubicBezTo>
                <a:cubicBezTo>
                  <a:pt x="95" y="401"/>
                  <a:pt x="100" y="400"/>
                  <a:pt x="98" y="402"/>
                </a:cubicBezTo>
                <a:close/>
                <a:moveTo>
                  <a:pt x="99" y="416"/>
                </a:moveTo>
                <a:cubicBezTo>
                  <a:pt x="101" y="416"/>
                  <a:pt x="100" y="421"/>
                  <a:pt x="99" y="422"/>
                </a:cubicBezTo>
                <a:cubicBezTo>
                  <a:pt x="94" y="424"/>
                  <a:pt x="98" y="416"/>
                  <a:pt x="99" y="416"/>
                </a:cubicBezTo>
                <a:close/>
                <a:moveTo>
                  <a:pt x="101" y="433"/>
                </a:moveTo>
                <a:cubicBezTo>
                  <a:pt x="103" y="434"/>
                  <a:pt x="100" y="438"/>
                  <a:pt x="100" y="439"/>
                </a:cubicBezTo>
                <a:cubicBezTo>
                  <a:pt x="94" y="441"/>
                  <a:pt x="98" y="431"/>
                  <a:pt x="101" y="433"/>
                </a:cubicBezTo>
                <a:close/>
                <a:moveTo>
                  <a:pt x="100" y="444"/>
                </a:moveTo>
                <a:cubicBezTo>
                  <a:pt x="101" y="443"/>
                  <a:pt x="99" y="445"/>
                  <a:pt x="100" y="444"/>
                </a:cubicBezTo>
                <a:close/>
                <a:moveTo>
                  <a:pt x="102" y="444"/>
                </a:moveTo>
                <a:cubicBezTo>
                  <a:pt x="102" y="445"/>
                  <a:pt x="101" y="445"/>
                  <a:pt x="101" y="445"/>
                </a:cubicBezTo>
                <a:cubicBezTo>
                  <a:pt x="99" y="443"/>
                  <a:pt x="104" y="442"/>
                  <a:pt x="102" y="444"/>
                </a:cubicBezTo>
                <a:close/>
                <a:moveTo>
                  <a:pt x="102" y="431"/>
                </a:moveTo>
                <a:cubicBezTo>
                  <a:pt x="100" y="432"/>
                  <a:pt x="100" y="428"/>
                  <a:pt x="102" y="429"/>
                </a:cubicBezTo>
                <a:cubicBezTo>
                  <a:pt x="103" y="429"/>
                  <a:pt x="103" y="430"/>
                  <a:pt x="102" y="431"/>
                </a:cubicBezTo>
                <a:close/>
                <a:moveTo>
                  <a:pt x="103" y="445"/>
                </a:moveTo>
                <a:cubicBezTo>
                  <a:pt x="102" y="447"/>
                  <a:pt x="105" y="444"/>
                  <a:pt x="103" y="445"/>
                </a:cubicBezTo>
                <a:close/>
                <a:moveTo>
                  <a:pt x="104" y="399"/>
                </a:moveTo>
                <a:cubicBezTo>
                  <a:pt x="103" y="399"/>
                  <a:pt x="103" y="397"/>
                  <a:pt x="104" y="398"/>
                </a:cubicBezTo>
                <a:cubicBezTo>
                  <a:pt x="104" y="398"/>
                  <a:pt x="104" y="399"/>
                  <a:pt x="104" y="399"/>
                </a:cubicBezTo>
                <a:close/>
                <a:moveTo>
                  <a:pt x="104" y="288"/>
                </a:moveTo>
                <a:cubicBezTo>
                  <a:pt x="103" y="290"/>
                  <a:pt x="105" y="287"/>
                  <a:pt x="104" y="288"/>
                </a:cubicBezTo>
                <a:close/>
                <a:moveTo>
                  <a:pt x="105" y="307"/>
                </a:moveTo>
                <a:cubicBezTo>
                  <a:pt x="104" y="306"/>
                  <a:pt x="106" y="303"/>
                  <a:pt x="107" y="302"/>
                </a:cubicBezTo>
                <a:cubicBezTo>
                  <a:pt x="107" y="304"/>
                  <a:pt x="106" y="306"/>
                  <a:pt x="105" y="307"/>
                </a:cubicBezTo>
                <a:close/>
                <a:moveTo>
                  <a:pt x="106" y="414"/>
                </a:moveTo>
                <a:cubicBezTo>
                  <a:pt x="106" y="413"/>
                  <a:pt x="108" y="413"/>
                  <a:pt x="106" y="414"/>
                </a:cubicBezTo>
                <a:close/>
                <a:moveTo>
                  <a:pt x="108" y="455"/>
                </a:moveTo>
                <a:cubicBezTo>
                  <a:pt x="107" y="454"/>
                  <a:pt x="109" y="454"/>
                  <a:pt x="108" y="455"/>
                </a:cubicBezTo>
                <a:close/>
                <a:moveTo>
                  <a:pt x="107" y="441"/>
                </a:moveTo>
                <a:cubicBezTo>
                  <a:pt x="106" y="441"/>
                  <a:pt x="108" y="440"/>
                  <a:pt x="108" y="440"/>
                </a:cubicBezTo>
                <a:cubicBezTo>
                  <a:pt x="108" y="440"/>
                  <a:pt x="107" y="440"/>
                  <a:pt x="107" y="441"/>
                </a:cubicBezTo>
                <a:close/>
                <a:moveTo>
                  <a:pt x="108" y="388"/>
                </a:moveTo>
                <a:cubicBezTo>
                  <a:pt x="107" y="390"/>
                  <a:pt x="107" y="386"/>
                  <a:pt x="108" y="387"/>
                </a:cubicBezTo>
                <a:cubicBezTo>
                  <a:pt x="109" y="387"/>
                  <a:pt x="108" y="388"/>
                  <a:pt x="108" y="388"/>
                </a:cubicBezTo>
                <a:close/>
                <a:moveTo>
                  <a:pt x="109" y="420"/>
                </a:moveTo>
                <a:cubicBezTo>
                  <a:pt x="109" y="421"/>
                  <a:pt x="109" y="418"/>
                  <a:pt x="109" y="420"/>
                </a:cubicBezTo>
                <a:close/>
                <a:moveTo>
                  <a:pt x="108" y="301"/>
                </a:moveTo>
                <a:cubicBezTo>
                  <a:pt x="107" y="300"/>
                  <a:pt x="108" y="298"/>
                  <a:pt x="110" y="298"/>
                </a:cubicBezTo>
                <a:cubicBezTo>
                  <a:pt x="110" y="299"/>
                  <a:pt x="108" y="300"/>
                  <a:pt x="108" y="301"/>
                </a:cubicBezTo>
                <a:close/>
                <a:moveTo>
                  <a:pt x="110" y="401"/>
                </a:moveTo>
                <a:cubicBezTo>
                  <a:pt x="110" y="401"/>
                  <a:pt x="110" y="401"/>
                  <a:pt x="110" y="401"/>
                </a:cubicBezTo>
                <a:cubicBezTo>
                  <a:pt x="110" y="401"/>
                  <a:pt x="110" y="400"/>
                  <a:pt x="110" y="401"/>
                </a:cubicBezTo>
                <a:close/>
                <a:moveTo>
                  <a:pt x="69" y="513"/>
                </a:moveTo>
                <a:cubicBezTo>
                  <a:pt x="69" y="513"/>
                  <a:pt x="70" y="512"/>
                  <a:pt x="70" y="512"/>
                </a:cubicBezTo>
                <a:cubicBezTo>
                  <a:pt x="70" y="513"/>
                  <a:pt x="69" y="513"/>
                  <a:pt x="69" y="513"/>
                </a:cubicBezTo>
                <a:close/>
                <a:moveTo>
                  <a:pt x="73" y="498"/>
                </a:moveTo>
                <a:cubicBezTo>
                  <a:pt x="73" y="497"/>
                  <a:pt x="74" y="496"/>
                  <a:pt x="75" y="496"/>
                </a:cubicBezTo>
                <a:cubicBezTo>
                  <a:pt x="75" y="497"/>
                  <a:pt x="74" y="498"/>
                  <a:pt x="73" y="498"/>
                </a:cubicBezTo>
                <a:close/>
                <a:moveTo>
                  <a:pt x="76" y="499"/>
                </a:moveTo>
                <a:cubicBezTo>
                  <a:pt x="76" y="500"/>
                  <a:pt x="77" y="498"/>
                  <a:pt x="76" y="499"/>
                </a:cubicBezTo>
                <a:close/>
                <a:moveTo>
                  <a:pt x="87" y="502"/>
                </a:moveTo>
                <a:cubicBezTo>
                  <a:pt x="86" y="500"/>
                  <a:pt x="89" y="499"/>
                  <a:pt x="87" y="502"/>
                </a:cubicBezTo>
                <a:close/>
                <a:moveTo>
                  <a:pt x="100" y="477"/>
                </a:moveTo>
                <a:cubicBezTo>
                  <a:pt x="101" y="479"/>
                  <a:pt x="100" y="481"/>
                  <a:pt x="100" y="483"/>
                </a:cubicBezTo>
                <a:cubicBezTo>
                  <a:pt x="99" y="481"/>
                  <a:pt x="99" y="479"/>
                  <a:pt x="100" y="477"/>
                </a:cubicBezTo>
                <a:close/>
                <a:moveTo>
                  <a:pt x="100" y="502"/>
                </a:moveTo>
                <a:cubicBezTo>
                  <a:pt x="97" y="499"/>
                  <a:pt x="102" y="497"/>
                  <a:pt x="104" y="496"/>
                </a:cubicBezTo>
                <a:cubicBezTo>
                  <a:pt x="105" y="499"/>
                  <a:pt x="102" y="505"/>
                  <a:pt x="100" y="502"/>
                </a:cubicBezTo>
                <a:close/>
                <a:moveTo>
                  <a:pt x="144" y="546"/>
                </a:moveTo>
                <a:cubicBezTo>
                  <a:pt x="143" y="546"/>
                  <a:pt x="144" y="546"/>
                  <a:pt x="144" y="545"/>
                </a:cubicBezTo>
                <a:cubicBezTo>
                  <a:pt x="143" y="542"/>
                  <a:pt x="147" y="545"/>
                  <a:pt x="144" y="546"/>
                </a:cubicBezTo>
                <a:close/>
                <a:moveTo>
                  <a:pt x="196" y="598"/>
                </a:moveTo>
                <a:cubicBezTo>
                  <a:pt x="196" y="598"/>
                  <a:pt x="198" y="597"/>
                  <a:pt x="198" y="598"/>
                </a:cubicBezTo>
                <a:cubicBezTo>
                  <a:pt x="198" y="599"/>
                  <a:pt x="197" y="599"/>
                  <a:pt x="196" y="598"/>
                </a:cubicBezTo>
                <a:close/>
                <a:moveTo>
                  <a:pt x="199" y="607"/>
                </a:moveTo>
                <a:cubicBezTo>
                  <a:pt x="198" y="607"/>
                  <a:pt x="198" y="607"/>
                  <a:pt x="198" y="607"/>
                </a:cubicBezTo>
                <a:cubicBezTo>
                  <a:pt x="198" y="605"/>
                  <a:pt x="200" y="608"/>
                  <a:pt x="199" y="607"/>
                </a:cubicBezTo>
                <a:close/>
                <a:moveTo>
                  <a:pt x="203" y="609"/>
                </a:moveTo>
                <a:cubicBezTo>
                  <a:pt x="203" y="608"/>
                  <a:pt x="205" y="608"/>
                  <a:pt x="205" y="609"/>
                </a:cubicBezTo>
                <a:cubicBezTo>
                  <a:pt x="205" y="609"/>
                  <a:pt x="203" y="610"/>
                  <a:pt x="203" y="609"/>
                </a:cubicBezTo>
                <a:close/>
                <a:moveTo>
                  <a:pt x="208" y="600"/>
                </a:moveTo>
                <a:cubicBezTo>
                  <a:pt x="207" y="600"/>
                  <a:pt x="209" y="600"/>
                  <a:pt x="209" y="600"/>
                </a:cubicBezTo>
                <a:cubicBezTo>
                  <a:pt x="209" y="601"/>
                  <a:pt x="208" y="601"/>
                  <a:pt x="208" y="600"/>
                </a:cubicBezTo>
                <a:close/>
                <a:moveTo>
                  <a:pt x="226" y="627"/>
                </a:moveTo>
                <a:cubicBezTo>
                  <a:pt x="225" y="627"/>
                  <a:pt x="223" y="627"/>
                  <a:pt x="224" y="625"/>
                </a:cubicBezTo>
                <a:cubicBezTo>
                  <a:pt x="225" y="624"/>
                  <a:pt x="229" y="624"/>
                  <a:pt x="229" y="625"/>
                </a:cubicBezTo>
                <a:cubicBezTo>
                  <a:pt x="229" y="626"/>
                  <a:pt x="229" y="626"/>
                  <a:pt x="228" y="627"/>
                </a:cubicBezTo>
                <a:cubicBezTo>
                  <a:pt x="229" y="627"/>
                  <a:pt x="229" y="627"/>
                  <a:pt x="229" y="627"/>
                </a:cubicBezTo>
                <a:cubicBezTo>
                  <a:pt x="228" y="628"/>
                  <a:pt x="227" y="628"/>
                  <a:pt x="226" y="627"/>
                </a:cubicBezTo>
                <a:close/>
                <a:moveTo>
                  <a:pt x="229" y="628"/>
                </a:moveTo>
                <a:cubicBezTo>
                  <a:pt x="229" y="628"/>
                  <a:pt x="231" y="628"/>
                  <a:pt x="231" y="628"/>
                </a:cubicBezTo>
                <a:cubicBezTo>
                  <a:pt x="231" y="629"/>
                  <a:pt x="229" y="628"/>
                  <a:pt x="229" y="628"/>
                </a:cubicBezTo>
                <a:close/>
                <a:moveTo>
                  <a:pt x="228" y="653"/>
                </a:moveTo>
                <a:cubicBezTo>
                  <a:pt x="228" y="653"/>
                  <a:pt x="228" y="653"/>
                  <a:pt x="228" y="653"/>
                </a:cubicBezTo>
                <a:cubicBezTo>
                  <a:pt x="228" y="653"/>
                  <a:pt x="228" y="652"/>
                  <a:pt x="228" y="653"/>
                </a:cubicBezTo>
                <a:close/>
                <a:moveTo>
                  <a:pt x="213" y="659"/>
                </a:moveTo>
                <a:cubicBezTo>
                  <a:pt x="213" y="659"/>
                  <a:pt x="213" y="659"/>
                  <a:pt x="213" y="659"/>
                </a:cubicBezTo>
                <a:cubicBezTo>
                  <a:pt x="213" y="659"/>
                  <a:pt x="213" y="659"/>
                  <a:pt x="213" y="659"/>
                </a:cubicBezTo>
                <a:close/>
                <a:moveTo>
                  <a:pt x="213" y="659"/>
                </a:moveTo>
                <a:cubicBezTo>
                  <a:pt x="214" y="659"/>
                  <a:pt x="213" y="659"/>
                  <a:pt x="213" y="659"/>
                </a:cubicBezTo>
                <a:close/>
                <a:moveTo>
                  <a:pt x="213" y="657"/>
                </a:moveTo>
                <a:cubicBezTo>
                  <a:pt x="213" y="656"/>
                  <a:pt x="214" y="656"/>
                  <a:pt x="214" y="656"/>
                </a:cubicBezTo>
                <a:cubicBezTo>
                  <a:pt x="215" y="657"/>
                  <a:pt x="214" y="657"/>
                  <a:pt x="213" y="657"/>
                </a:cubicBezTo>
                <a:close/>
                <a:moveTo>
                  <a:pt x="216" y="659"/>
                </a:moveTo>
                <a:cubicBezTo>
                  <a:pt x="216" y="658"/>
                  <a:pt x="216" y="657"/>
                  <a:pt x="217" y="658"/>
                </a:cubicBezTo>
                <a:cubicBezTo>
                  <a:pt x="216" y="658"/>
                  <a:pt x="218" y="660"/>
                  <a:pt x="218" y="660"/>
                </a:cubicBezTo>
                <a:cubicBezTo>
                  <a:pt x="217" y="661"/>
                  <a:pt x="215" y="661"/>
                  <a:pt x="216" y="659"/>
                </a:cubicBezTo>
                <a:close/>
                <a:moveTo>
                  <a:pt x="223" y="655"/>
                </a:moveTo>
                <a:cubicBezTo>
                  <a:pt x="222" y="654"/>
                  <a:pt x="224" y="654"/>
                  <a:pt x="224" y="655"/>
                </a:cubicBezTo>
                <a:cubicBezTo>
                  <a:pt x="224" y="655"/>
                  <a:pt x="223" y="655"/>
                  <a:pt x="223" y="655"/>
                </a:cubicBezTo>
                <a:close/>
                <a:moveTo>
                  <a:pt x="218" y="655"/>
                </a:moveTo>
                <a:cubicBezTo>
                  <a:pt x="217" y="655"/>
                  <a:pt x="214" y="653"/>
                  <a:pt x="215" y="651"/>
                </a:cubicBezTo>
                <a:cubicBezTo>
                  <a:pt x="216" y="650"/>
                  <a:pt x="220" y="648"/>
                  <a:pt x="222" y="648"/>
                </a:cubicBezTo>
                <a:cubicBezTo>
                  <a:pt x="223" y="649"/>
                  <a:pt x="224" y="649"/>
                  <a:pt x="224" y="650"/>
                </a:cubicBezTo>
                <a:cubicBezTo>
                  <a:pt x="224" y="650"/>
                  <a:pt x="226" y="648"/>
                  <a:pt x="225" y="650"/>
                </a:cubicBezTo>
                <a:cubicBezTo>
                  <a:pt x="225" y="650"/>
                  <a:pt x="223" y="651"/>
                  <a:pt x="223" y="652"/>
                </a:cubicBezTo>
                <a:cubicBezTo>
                  <a:pt x="224" y="652"/>
                  <a:pt x="225" y="651"/>
                  <a:pt x="225" y="652"/>
                </a:cubicBezTo>
                <a:cubicBezTo>
                  <a:pt x="224" y="652"/>
                  <a:pt x="221" y="655"/>
                  <a:pt x="218" y="655"/>
                </a:cubicBezTo>
                <a:close/>
                <a:moveTo>
                  <a:pt x="227" y="665"/>
                </a:moveTo>
                <a:cubicBezTo>
                  <a:pt x="223" y="666"/>
                  <a:pt x="226" y="661"/>
                  <a:pt x="228" y="662"/>
                </a:cubicBezTo>
                <a:cubicBezTo>
                  <a:pt x="229" y="664"/>
                  <a:pt x="228" y="664"/>
                  <a:pt x="227" y="665"/>
                </a:cubicBezTo>
                <a:close/>
                <a:moveTo>
                  <a:pt x="228" y="654"/>
                </a:moveTo>
                <a:cubicBezTo>
                  <a:pt x="227" y="653"/>
                  <a:pt x="230" y="655"/>
                  <a:pt x="228" y="654"/>
                </a:cubicBezTo>
                <a:close/>
                <a:moveTo>
                  <a:pt x="229" y="639"/>
                </a:moveTo>
                <a:cubicBezTo>
                  <a:pt x="228" y="638"/>
                  <a:pt x="231" y="638"/>
                  <a:pt x="231" y="639"/>
                </a:cubicBezTo>
                <a:cubicBezTo>
                  <a:pt x="231" y="639"/>
                  <a:pt x="230" y="640"/>
                  <a:pt x="229" y="639"/>
                </a:cubicBezTo>
                <a:close/>
                <a:moveTo>
                  <a:pt x="215" y="675"/>
                </a:moveTo>
                <a:cubicBezTo>
                  <a:pt x="216" y="673"/>
                  <a:pt x="216" y="675"/>
                  <a:pt x="215" y="675"/>
                </a:cubicBezTo>
                <a:close/>
                <a:moveTo>
                  <a:pt x="219" y="676"/>
                </a:moveTo>
                <a:cubicBezTo>
                  <a:pt x="220" y="675"/>
                  <a:pt x="221" y="676"/>
                  <a:pt x="223" y="676"/>
                </a:cubicBezTo>
                <a:cubicBezTo>
                  <a:pt x="221" y="676"/>
                  <a:pt x="220" y="677"/>
                  <a:pt x="219" y="676"/>
                </a:cubicBezTo>
                <a:close/>
                <a:moveTo>
                  <a:pt x="226" y="676"/>
                </a:moveTo>
                <a:cubicBezTo>
                  <a:pt x="226" y="675"/>
                  <a:pt x="228" y="675"/>
                  <a:pt x="228" y="675"/>
                </a:cubicBezTo>
                <a:cubicBezTo>
                  <a:pt x="228" y="676"/>
                  <a:pt x="226" y="676"/>
                  <a:pt x="226" y="676"/>
                </a:cubicBezTo>
                <a:close/>
                <a:moveTo>
                  <a:pt x="229" y="676"/>
                </a:moveTo>
                <a:cubicBezTo>
                  <a:pt x="229" y="675"/>
                  <a:pt x="230" y="676"/>
                  <a:pt x="230" y="676"/>
                </a:cubicBezTo>
                <a:cubicBezTo>
                  <a:pt x="230" y="676"/>
                  <a:pt x="229" y="677"/>
                  <a:pt x="229" y="676"/>
                </a:cubicBezTo>
                <a:close/>
                <a:moveTo>
                  <a:pt x="234" y="679"/>
                </a:moveTo>
                <a:cubicBezTo>
                  <a:pt x="234" y="678"/>
                  <a:pt x="235" y="678"/>
                  <a:pt x="235" y="678"/>
                </a:cubicBezTo>
                <a:cubicBezTo>
                  <a:pt x="236" y="679"/>
                  <a:pt x="234" y="679"/>
                  <a:pt x="234" y="679"/>
                </a:cubicBezTo>
                <a:close/>
                <a:moveTo>
                  <a:pt x="248" y="692"/>
                </a:moveTo>
                <a:cubicBezTo>
                  <a:pt x="248" y="691"/>
                  <a:pt x="250" y="691"/>
                  <a:pt x="250" y="691"/>
                </a:cubicBezTo>
                <a:cubicBezTo>
                  <a:pt x="251" y="692"/>
                  <a:pt x="249" y="692"/>
                  <a:pt x="248" y="692"/>
                </a:cubicBezTo>
                <a:close/>
                <a:moveTo>
                  <a:pt x="349" y="41"/>
                </a:moveTo>
                <a:cubicBezTo>
                  <a:pt x="348" y="41"/>
                  <a:pt x="345" y="42"/>
                  <a:pt x="344" y="41"/>
                </a:cubicBezTo>
                <a:cubicBezTo>
                  <a:pt x="344" y="40"/>
                  <a:pt x="348" y="40"/>
                  <a:pt x="349" y="41"/>
                </a:cubicBezTo>
                <a:close/>
                <a:moveTo>
                  <a:pt x="343" y="7"/>
                </a:moveTo>
                <a:cubicBezTo>
                  <a:pt x="344" y="6"/>
                  <a:pt x="345" y="8"/>
                  <a:pt x="343" y="7"/>
                </a:cubicBezTo>
                <a:close/>
                <a:moveTo>
                  <a:pt x="342" y="38"/>
                </a:moveTo>
                <a:cubicBezTo>
                  <a:pt x="341" y="38"/>
                  <a:pt x="340" y="37"/>
                  <a:pt x="339" y="38"/>
                </a:cubicBezTo>
                <a:cubicBezTo>
                  <a:pt x="339" y="37"/>
                  <a:pt x="341" y="37"/>
                  <a:pt x="342" y="38"/>
                </a:cubicBezTo>
                <a:close/>
                <a:moveTo>
                  <a:pt x="335" y="37"/>
                </a:moveTo>
                <a:cubicBezTo>
                  <a:pt x="336" y="36"/>
                  <a:pt x="337" y="39"/>
                  <a:pt x="335" y="37"/>
                </a:cubicBezTo>
                <a:close/>
                <a:moveTo>
                  <a:pt x="336" y="97"/>
                </a:move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5" y="96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lose/>
                <a:moveTo>
                  <a:pt x="316" y="49"/>
                </a:moveTo>
                <a:cubicBezTo>
                  <a:pt x="316" y="49"/>
                  <a:pt x="313" y="50"/>
                  <a:pt x="313" y="49"/>
                </a:cubicBezTo>
                <a:cubicBezTo>
                  <a:pt x="312" y="49"/>
                  <a:pt x="315" y="48"/>
                  <a:pt x="316" y="49"/>
                </a:cubicBezTo>
                <a:close/>
                <a:moveTo>
                  <a:pt x="321" y="108"/>
                </a:moveTo>
                <a:cubicBezTo>
                  <a:pt x="319" y="109"/>
                  <a:pt x="315" y="112"/>
                  <a:pt x="311" y="111"/>
                </a:cubicBezTo>
                <a:cubicBezTo>
                  <a:pt x="314" y="109"/>
                  <a:pt x="317" y="109"/>
                  <a:pt x="321" y="108"/>
                </a:cubicBezTo>
                <a:close/>
                <a:moveTo>
                  <a:pt x="320" y="636"/>
                </a:moveTo>
                <a:cubicBezTo>
                  <a:pt x="319" y="636"/>
                  <a:pt x="320" y="635"/>
                  <a:pt x="320" y="635"/>
                </a:cubicBezTo>
                <a:cubicBezTo>
                  <a:pt x="321" y="635"/>
                  <a:pt x="320" y="636"/>
                  <a:pt x="320" y="636"/>
                </a:cubicBezTo>
                <a:close/>
                <a:moveTo>
                  <a:pt x="319" y="620"/>
                </a:moveTo>
                <a:cubicBezTo>
                  <a:pt x="319" y="620"/>
                  <a:pt x="318" y="620"/>
                  <a:pt x="317" y="620"/>
                </a:cubicBezTo>
                <a:cubicBezTo>
                  <a:pt x="318" y="620"/>
                  <a:pt x="319" y="619"/>
                  <a:pt x="319" y="620"/>
                </a:cubicBezTo>
                <a:close/>
                <a:moveTo>
                  <a:pt x="318" y="614"/>
                </a:moveTo>
                <a:cubicBezTo>
                  <a:pt x="317" y="613"/>
                  <a:pt x="319" y="615"/>
                  <a:pt x="318" y="614"/>
                </a:cubicBezTo>
                <a:close/>
                <a:moveTo>
                  <a:pt x="313" y="137"/>
                </a:moveTo>
                <a:cubicBezTo>
                  <a:pt x="312" y="140"/>
                  <a:pt x="312" y="135"/>
                  <a:pt x="312" y="137"/>
                </a:cubicBezTo>
                <a:cubicBezTo>
                  <a:pt x="312" y="137"/>
                  <a:pt x="313" y="137"/>
                  <a:pt x="313" y="137"/>
                </a:cubicBezTo>
                <a:close/>
                <a:moveTo>
                  <a:pt x="311" y="41"/>
                </a:moveTo>
                <a:cubicBezTo>
                  <a:pt x="310" y="42"/>
                  <a:pt x="309" y="40"/>
                  <a:pt x="311" y="41"/>
                </a:cubicBezTo>
                <a:close/>
                <a:moveTo>
                  <a:pt x="309" y="527"/>
                </a:moveTo>
                <a:cubicBezTo>
                  <a:pt x="309" y="528"/>
                  <a:pt x="306" y="529"/>
                  <a:pt x="306" y="527"/>
                </a:cubicBezTo>
                <a:cubicBezTo>
                  <a:pt x="306" y="525"/>
                  <a:pt x="309" y="526"/>
                  <a:pt x="309" y="527"/>
                </a:cubicBezTo>
                <a:close/>
                <a:moveTo>
                  <a:pt x="307" y="61"/>
                </a:moveTo>
                <a:cubicBezTo>
                  <a:pt x="306" y="60"/>
                  <a:pt x="308" y="61"/>
                  <a:pt x="307" y="61"/>
                </a:cubicBezTo>
                <a:close/>
                <a:moveTo>
                  <a:pt x="293" y="53"/>
                </a:moveTo>
                <a:cubicBezTo>
                  <a:pt x="298" y="52"/>
                  <a:pt x="304" y="52"/>
                  <a:pt x="309" y="51"/>
                </a:cubicBezTo>
                <a:cubicBezTo>
                  <a:pt x="304" y="53"/>
                  <a:pt x="299" y="53"/>
                  <a:pt x="293" y="53"/>
                </a:cubicBezTo>
                <a:close/>
                <a:moveTo>
                  <a:pt x="282" y="662"/>
                </a:moveTo>
                <a:cubicBezTo>
                  <a:pt x="281" y="662"/>
                  <a:pt x="279" y="663"/>
                  <a:pt x="277" y="663"/>
                </a:cubicBezTo>
                <a:cubicBezTo>
                  <a:pt x="279" y="662"/>
                  <a:pt x="281" y="661"/>
                  <a:pt x="282" y="662"/>
                </a:cubicBezTo>
                <a:close/>
                <a:moveTo>
                  <a:pt x="278" y="582"/>
                </a:moveTo>
                <a:cubicBezTo>
                  <a:pt x="278" y="581"/>
                  <a:pt x="280" y="581"/>
                  <a:pt x="279" y="582"/>
                </a:cubicBezTo>
                <a:cubicBezTo>
                  <a:pt x="279" y="582"/>
                  <a:pt x="279" y="582"/>
                  <a:pt x="278" y="582"/>
                </a:cubicBezTo>
                <a:close/>
                <a:moveTo>
                  <a:pt x="282" y="582"/>
                </a:moveTo>
                <a:cubicBezTo>
                  <a:pt x="282" y="582"/>
                  <a:pt x="280" y="583"/>
                  <a:pt x="280" y="581"/>
                </a:cubicBezTo>
                <a:cubicBezTo>
                  <a:pt x="280" y="580"/>
                  <a:pt x="282" y="581"/>
                  <a:pt x="282" y="582"/>
                </a:cubicBezTo>
                <a:close/>
                <a:moveTo>
                  <a:pt x="281" y="574"/>
                </a:moveTo>
                <a:cubicBezTo>
                  <a:pt x="281" y="575"/>
                  <a:pt x="280" y="575"/>
                  <a:pt x="280" y="574"/>
                </a:cubicBezTo>
                <a:cubicBezTo>
                  <a:pt x="279" y="574"/>
                  <a:pt x="281" y="573"/>
                  <a:pt x="281" y="574"/>
                </a:cubicBezTo>
                <a:close/>
                <a:moveTo>
                  <a:pt x="294" y="551"/>
                </a:moveTo>
                <a:cubicBezTo>
                  <a:pt x="291" y="553"/>
                  <a:pt x="287" y="555"/>
                  <a:pt x="285" y="556"/>
                </a:cubicBezTo>
                <a:cubicBezTo>
                  <a:pt x="285" y="556"/>
                  <a:pt x="283" y="557"/>
                  <a:pt x="284" y="556"/>
                </a:cubicBezTo>
                <a:cubicBezTo>
                  <a:pt x="286" y="553"/>
                  <a:pt x="291" y="553"/>
                  <a:pt x="294" y="551"/>
                </a:cubicBezTo>
                <a:close/>
                <a:moveTo>
                  <a:pt x="286" y="536"/>
                </a:moveTo>
                <a:cubicBezTo>
                  <a:pt x="286" y="535"/>
                  <a:pt x="286" y="536"/>
                  <a:pt x="286" y="536"/>
                </a:cubicBezTo>
                <a:cubicBezTo>
                  <a:pt x="285" y="536"/>
                  <a:pt x="286" y="535"/>
                  <a:pt x="286" y="536"/>
                </a:cubicBezTo>
                <a:close/>
                <a:moveTo>
                  <a:pt x="287" y="536"/>
                </a:moveTo>
                <a:cubicBezTo>
                  <a:pt x="287" y="534"/>
                  <a:pt x="289" y="534"/>
                  <a:pt x="289" y="536"/>
                </a:cubicBezTo>
                <a:cubicBezTo>
                  <a:pt x="289" y="537"/>
                  <a:pt x="287" y="536"/>
                  <a:pt x="287" y="536"/>
                </a:cubicBezTo>
                <a:close/>
                <a:moveTo>
                  <a:pt x="290" y="512"/>
                </a:moveTo>
                <a:cubicBezTo>
                  <a:pt x="291" y="510"/>
                  <a:pt x="293" y="509"/>
                  <a:pt x="294" y="508"/>
                </a:cubicBezTo>
                <a:cubicBezTo>
                  <a:pt x="294" y="509"/>
                  <a:pt x="292" y="510"/>
                  <a:pt x="290" y="512"/>
                </a:cubicBezTo>
                <a:close/>
                <a:moveTo>
                  <a:pt x="290" y="550"/>
                </a:moveTo>
                <a:cubicBezTo>
                  <a:pt x="290" y="549"/>
                  <a:pt x="291" y="548"/>
                  <a:pt x="292" y="549"/>
                </a:cubicBezTo>
                <a:cubicBezTo>
                  <a:pt x="292" y="550"/>
                  <a:pt x="290" y="551"/>
                  <a:pt x="290" y="550"/>
                </a:cubicBezTo>
                <a:close/>
                <a:moveTo>
                  <a:pt x="287" y="638"/>
                </a:moveTo>
                <a:cubicBezTo>
                  <a:pt x="288" y="637"/>
                  <a:pt x="289" y="637"/>
                  <a:pt x="290" y="637"/>
                </a:cubicBezTo>
                <a:cubicBezTo>
                  <a:pt x="289" y="637"/>
                  <a:pt x="288" y="638"/>
                  <a:pt x="287" y="638"/>
                </a:cubicBezTo>
                <a:close/>
                <a:moveTo>
                  <a:pt x="290" y="640"/>
                </a:moveTo>
                <a:cubicBezTo>
                  <a:pt x="289" y="641"/>
                  <a:pt x="288" y="640"/>
                  <a:pt x="287" y="641"/>
                </a:cubicBezTo>
                <a:cubicBezTo>
                  <a:pt x="287" y="640"/>
                  <a:pt x="289" y="639"/>
                  <a:pt x="290" y="640"/>
                </a:cubicBezTo>
                <a:close/>
                <a:moveTo>
                  <a:pt x="292" y="594"/>
                </a:moveTo>
                <a:cubicBezTo>
                  <a:pt x="292" y="595"/>
                  <a:pt x="288" y="596"/>
                  <a:pt x="288" y="593"/>
                </a:cubicBezTo>
                <a:cubicBezTo>
                  <a:pt x="288" y="591"/>
                  <a:pt x="292" y="592"/>
                  <a:pt x="292" y="594"/>
                </a:cubicBezTo>
                <a:close/>
                <a:moveTo>
                  <a:pt x="288" y="573"/>
                </a:moveTo>
                <a:cubicBezTo>
                  <a:pt x="288" y="572"/>
                  <a:pt x="290" y="571"/>
                  <a:pt x="291" y="571"/>
                </a:cubicBezTo>
                <a:cubicBezTo>
                  <a:pt x="290" y="572"/>
                  <a:pt x="289" y="572"/>
                  <a:pt x="288" y="573"/>
                </a:cubicBezTo>
                <a:close/>
                <a:moveTo>
                  <a:pt x="292" y="571"/>
                </a:moveTo>
                <a:cubicBezTo>
                  <a:pt x="292" y="570"/>
                  <a:pt x="293" y="569"/>
                  <a:pt x="294" y="570"/>
                </a:cubicBezTo>
                <a:cubicBezTo>
                  <a:pt x="294" y="571"/>
                  <a:pt x="292" y="571"/>
                  <a:pt x="292" y="571"/>
                </a:cubicBezTo>
                <a:close/>
                <a:moveTo>
                  <a:pt x="293" y="594"/>
                </a:moveTo>
                <a:cubicBezTo>
                  <a:pt x="293" y="596"/>
                  <a:pt x="291" y="595"/>
                  <a:pt x="293" y="594"/>
                </a:cubicBezTo>
                <a:close/>
                <a:moveTo>
                  <a:pt x="291" y="595"/>
                </a:moveTo>
                <a:cubicBezTo>
                  <a:pt x="290" y="597"/>
                  <a:pt x="288" y="596"/>
                  <a:pt x="291" y="595"/>
                </a:cubicBezTo>
                <a:close/>
                <a:moveTo>
                  <a:pt x="290" y="625"/>
                </a:moveTo>
                <a:cubicBezTo>
                  <a:pt x="291" y="626"/>
                  <a:pt x="290" y="625"/>
                  <a:pt x="290" y="625"/>
                </a:cubicBezTo>
                <a:cubicBezTo>
                  <a:pt x="290" y="625"/>
                  <a:pt x="290" y="625"/>
                  <a:pt x="290" y="625"/>
                </a:cubicBezTo>
                <a:close/>
                <a:moveTo>
                  <a:pt x="289" y="602"/>
                </a:moveTo>
                <a:cubicBezTo>
                  <a:pt x="289" y="601"/>
                  <a:pt x="292" y="601"/>
                  <a:pt x="293" y="601"/>
                </a:cubicBezTo>
                <a:cubicBezTo>
                  <a:pt x="292" y="602"/>
                  <a:pt x="290" y="602"/>
                  <a:pt x="289" y="602"/>
                </a:cubicBezTo>
                <a:close/>
                <a:moveTo>
                  <a:pt x="291" y="634"/>
                </a:moveTo>
                <a:cubicBezTo>
                  <a:pt x="292" y="634"/>
                  <a:pt x="293" y="634"/>
                  <a:pt x="292" y="635"/>
                </a:cubicBezTo>
                <a:cubicBezTo>
                  <a:pt x="292" y="636"/>
                  <a:pt x="291" y="635"/>
                  <a:pt x="291" y="634"/>
                </a:cubicBezTo>
                <a:close/>
                <a:moveTo>
                  <a:pt x="295" y="635"/>
                </a:moveTo>
                <a:cubicBezTo>
                  <a:pt x="294" y="636"/>
                  <a:pt x="293" y="637"/>
                  <a:pt x="291" y="636"/>
                </a:cubicBezTo>
                <a:cubicBezTo>
                  <a:pt x="292" y="636"/>
                  <a:pt x="294" y="636"/>
                  <a:pt x="295" y="635"/>
                </a:cubicBezTo>
                <a:close/>
                <a:moveTo>
                  <a:pt x="293" y="583"/>
                </a:moveTo>
                <a:cubicBezTo>
                  <a:pt x="293" y="583"/>
                  <a:pt x="294" y="583"/>
                  <a:pt x="294" y="583"/>
                </a:cubicBezTo>
                <a:cubicBezTo>
                  <a:pt x="295" y="584"/>
                  <a:pt x="293" y="585"/>
                  <a:pt x="293" y="583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538"/>
                </a:moveTo>
                <a:cubicBezTo>
                  <a:pt x="283" y="538"/>
                  <a:pt x="284" y="537"/>
                  <a:pt x="284" y="537"/>
                </a:cubicBezTo>
                <a:cubicBezTo>
                  <a:pt x="285" y="537"/>
                  <a:pt x="284" y="538"/>
                  <a:pt x="284" y="538"/>
                </a:cubicBezTo>
                <a:close/>
                <a:moveTo>
                  <a:pt x="285" y="588"/>
                </a:moveTo>
                <a:cubicBezTo>
                  <a:pt x="284" y="589"/>
                  <a:pt x="283" y="589"/>
                  <a:pt x="282" y="590"/>
                </a:cubicBezTo>
                <a:cubicBezTo>
                  <a:pt x="282" y="590"/>
                  <a:pt x="284" y="588"/>
                  <a:pt x="285" y="588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612"/>
                </a:moveTo>
                <a:cubicBezTo>
                  <a:pt x="281" y="614"/>
                  <a:pt x="281" y="612"/>
                  <a:pt x="284" y="612"/>
                </a:cubicBezTo>
                <a:close/>
                <a:moveTo>
                  <a:pt x="283" y="648"/>
                </a:moveTo>
                <a:cubicBezTo>
                  <a:pt x="284" y="645"/>
                  <a:pt x="286" y="647"/>
                  <a:pt x="283" y="648"/>
                </a:cubicBezTo>
                <a:close/>
                <a:moveTo>
                  <a:pt x="287" y="661"/>
                </a:moveTo>
                <a:cubicBezTo>
                  <a:pt x="287" y="661"/>
                  <a:pt x="285" y="662"/>
                  <a:pt x="284" y="662"/>
                </a:cubicBezTo>
                <a:cubicBezTo>
                  <a:pt x="284" y="661"/>
                  <a:pt x="287" y="660"/>
                  <a:pt x="287" y="661"/>
                </a:cubicBezTo>
                <a:close/>
                <a:moveTo>
                  <a:pt x="288" y="667"/>
                </a:moveTo>
                <a:cubicBezTo>
                  <a:pt x="288" y="668"/>
                  <a:pt x="286" y="668"/>
                  <a:pt x="286" y="667"/>
                </a:cubicBezTo>
                <a:cubicBezTo>
                  <a:pt x="285" y="666"/>
                  <a:pt x="288" y="666"/>
                  <a:pt x="288" y="667"/>
                </a:cubicBezTo>
                <a:close/>
                <a:moveTo>
                  <a:pt x="287" y="650"/>
                </a:moveTo>
                <a:cubicBezTo>
                  <a:pt x="287" y="648"/>
                  <a:pt x="290" y="647"/>
                  <a:pt x="291" y="649"/>
                </a:cubicBezTo>
                <a:cubicBezTo>
                  <a:pt x="295" y="653"/>
                  <a:pt x="286" y="654"/>
                  <a:pt x="287" y="650"/>
                </a:cubicBezTo>
                <a:close/>
                <a:moveTo>
                  <a:pt x="292" y="691"/>
                </a:moveTo>
                <a:cubicBezTo>
                  <a:pt x="292" y="691"/>
                  <a:pt x="292" y="691"/>
                  <a:pt x="292" y="691"/>
                </a:cubicBezTo>
                <a:cubicBezTo>
                  <a:pt x="292" y="689"/>
                  <a:pt x="294" y="692"/>
                  <a:pt x="292" y="691"/>
                </a:cubicBezTo>
                <a:close/>
                <a:moveTo>
                  <a:pt x="292" y="646"/>
                </a:moveTo>
                <a:cubicBezTo>
                  <a:pt x="290" y="644"/>
                  <a:pt x="297" y="643"/>
                  <a:pt x="294" y="646"/>
                </a:cubicBezTo>
                <a:cubicBezTo>
                  <a:pt x="294" y="646"/>
                  <a:pt x="293" y="646"/>
                  <a:pt x="292" y="646"/>
                </a:cubicBezTo>
                <a:close/>
                <a:moveTo>
                  <a:pt x="294" y="600"/>
                </a:moveTo>
                <a:cubicBezTo>
                  <a:pt x="294" y="600"/>
                  <a:pt x="296" y="599"/>
                  <a:pt x="297" y="599"/>
                </a:cubicBezTo>
                <a:cubicBezTo>
                  <a:pt x="296" y="600"/>
                  <a:pt x="295" y="600"/>
                  <a:pt x="294" y="600"/>
                </a:cubicBezTo>
                <a:close/>
                <a:moveTo>
                  <a:pt x="293" y="530"/>
                </a:moveTo>
                <a:cubicBezTo>
                  <a:pt x="294" y="529"/>
                  <a:pt x="296" y="528"/>
                  <a:pt x="297" y="530"/>
                </a:cubicBezTo>
                <a:cubicBezTo>
                  <a:pt x="298" y="532"/>
                  <a:pt x="293" y="534"/>
                  <a:pt x="293" y="530"/>
                </a:cubicBezTo>
                <a:close/>
                <a:moveTo>
                  <a:pt x="303" y="581"/>
                </a:moveTo>
                <a:cubicBezTo>
                  <a:pt x="303" y="584"/>
                  <a:pt x="298" y="584"/>
                  <a:pt x="297" y="581"/>
                </a:cubicBezTo>
                <a:cubicBezTo>
                  <a:pt x="297" y="578"/>
                  <a:pt x="303" y="579"/>
                  <a:pt x="303" y="581"/>
                </a:cubicBezTo>
                <a:close/>
                <a:moveTo>
                  <a:pt x="298" y="504"/>
                </a:moveTo>
                <a:cubicBezTo>
                  <a:pt x="298" y="503"/>
                  <a:pt x="300" y="504"/>
                  <a:pt x="298" y="504"/>
                </a:cubicBezTo>
                <a:close/>
                <a:moveTo>
                  <a:pt x="300" y="102"/>
                </a:moveTo>
                <a:cubicBezTo>
                  <a:pt x="298" y="103"/>
                  <a:pt x="297" y="101"/>
                  <a:pt x="300" y="102"/>
                </a:cubicBezTo>
                <a:close/>
                <a:moveTo>
                  <a:pt x="299" y="578"/>
                </a:moveTo>
                <a:cubicBezTo>
                  <a:pt x="299" y="578"/>
                  <a:pt x="298" y="579"/>
                  <a:pt x="298" y="578"/>
                </a:cubicBezTo>
                <a:cubicBezTo>
                  <a:pt x="297" y="577"/>
                  <a:pt x="300" y="577"/>
                  <a:pt x="299" y="578"/>
                </a:cubicBezTo>
                <a:close/>
                <a:moveTo>
                  <a:pt x="303" y="67"/>
                </a:moveTo>
                <a:cubicBezTo>
                  <a:pt x="302" y="69"/>
                  <a:pt x="302" y="67"/>
                  <a:pt x="303" y="67"/>
                </a:cubicBezTo>
                <a:close/>
                <a:moveTo>
                  <a:pt x="304" y="592"/>
                </a:moveTo>
                <a:cubicBezTo>
                  <a:pt x="304" y="593"/>
                  <a:pt x="301" y="593"/>
                  <a:pt x="300" y="594"/>
                </a:cubicBezTo>
                <a:cubicBezTo>
                  <a:pt x="301" y="593"/>
                  <a:pt x="303" y="592"/>
                  <a:pt x="304" y="592"/>
                </a:cubicBezTo>
                <a:close/>
                <a:moveTo>
                  <a:pt x="304" y="660"/>
                </a:moveTo>
                <a:cubicBezTo>
                  <a:pt x="304" y="661"/>
                  <a:pt x="304" y="662"/>
                  <a:pt x="304" y="662"/>
                </a:cubicBezTo>
                <a:cubicBezTo>
                  <a:pt x="302" y="664"/>
                  <a:pt x="301" y="659"/>
                  <a:pt x="304" y="660"/>
                </a:cubicBezTo>
                <a:close/>
                <a:moveTo>
                  <a:pt x="308" y="41"/>
                </a:moveTo>
                <a:cubicBezTo>
                  <a:pt x="308" y="41"/>
                  <a:pt x="307" y="42"/>
                  <a:pt x="307" y="42"/>
                </a:cubicBezTo>
                <a:cubicBezTo>
                  <a:pt x="306" y="42"/>
                  <a:pt x="307" y="41"/>
                  <a:pt x="308" y="41"/>
                </a:cubicBezTo>
                <a:close/>
                <a:moveTo>
                  <a:pt x="298" y="26"/>
                </a:moveTo>
                <a:cubicBezTo>
                  <a:pt x="300" y="25"/>
                  <a:pt x="300" y="27"/>
                  <a:pt x="298" y="26"/>
                </a:cubicBezTo>
                <a:close/>
                <a:moveTo>
                  <a:pt x="299" y="30"/>
                </a:moveTo>
                <a:cubicBezTo>
                  <a:pt x="297" y="31"/>
                  <a:pt x="295" y="30"/>
                  <a:pt x="293" y="30"/>
                </a:cubicBezTo>
                <a:cubicBezTo>
                  <a:pt x="295" y="29"/>
                  <a:pt x="297" y="29"/>
                  <a:pt x="299" y="30"/>
                </a:cubicBezTo>
                <a:close/>
                <a:moveTo>
                  <a:pt x="291" y="53"/>
                </a:moveTo>
                <a:cubicBezTo>
                  <a:pt x="287" y="54"/>
                  <a:pt x="283" y="55"/>
                  <a:pt x="279" y="55"/>
                </a:cubicBezTo>
                <a:cubicBezTo>
                  <a:pt x="283" y="54"/>
                  <a:pt x="287" y="53"/>
                  <a:pt x="291" y="53"/>
                </a:cubicBezTo>
                <a:close/>
                <a:moveTo>
                  <a:pt x="288" y="513"/>
                </a:moveTo>
                <a:cubicBezTo>
                  <a:pt x="287" y="513"/>
                  <a:pt x="290" y="512"/>
                  <a:pt x="289" y="512"/>
                </a:cubicBezTo>
                <a:cubicBezTo>
                  <a:pt x="290" y="512"/>
                  <a:pt x="289" y="514"/>
                  <a:pt x="288" y="513"/>
                </a:cubicBezTo>
                <a:close/>
                <a:moveTo>
                  <a:pt x="282" y="526"/>
                </a:moveTo>
                <a:cubicBezTo>
                  <a:pt x="282" y="526"/>
                  <a:pt x="281" y="527"/>
                  <a:pt x="280" y="526"/>
                </a:cubicBezTo>
                <a:cubicBezTo>
                  <a:pt x="280" y="526"/>
                  <a:pt x="282" y="525"/>
                  <a:pt x="282" y="526"/>
                </a:cubicBezTo>
                <a:close/>
                <a:moveTo>
                  <a:pt x="286" y="526"/>
                </a:moveTo>
                <a:cubicBezTo>
                  <a:pt x="286" y="526"/>
                  <a:pt x="291" y="524"/>
                  <a:pt x="290" y="526"/>
                </a:cubicBezTo>
                <a:cubicBezTo>
                  <a:pt x="290" y="527"/>
                  <a:pt x="285" y="527"/>
                  <a:pt x="284" y="527"/>
                </a:cubicBezTo>
                <a:cubicBezTo>
                  <a:pt x="281" y="527"/>
                  <a:pt x="278" y="530"/>
                  <a:pt x="275" y="529"/>
                </a:cubicBezTo>
                <a:cubicBezTo>
                  <a:pt x="276" y="527"/>
                  <a:pt x="284" y="527"/>
                  <a:pt x="286" y="526"/>
                </a:cubicBezTo>
                <a:close/>
                <a:moveTo>
                  <a:pt x="277" y="694"/>
                </a:moveTo>
                <a:cubicBezTo>
                  <a:pt x="277" y="695"/>
                  <a:pt x="275" y="695"/>
                  <a:pt x="275" y="694"/>
                </a:cubicBezTo>
                <a:cubicBezTo>
                  <a:pt x="275" y="693"/>
                  <a:pt x="277" y="694"/>
                  <a:pt x="277" y="694"/>
                </a:cubicBezTo>
                <a:close/>
                <a:moveTo>
                  <a:pt x="266" y="653"/>
                </a:moveTo>
                <a:cubicBezTo>
                  <a:pt x="266" y="653"/>
                  <a:pt x="266" y="652"/>
                  <a:pt x="266" y="651"/>
                </a:cubicBezTo>
                <a:cubicBezTo>
                  <a:pt x="267" y="648"/>
                  <a:pt x="270" y="649"/>
                  <a:pt x="271" y="650"/>
                </a:cubicBezTo>
                <a:cubicBezTo>
                  <a:pt x="271" y="650"/>
                  <a:pt x="271" y="650"/>
                  <a:pt x="271" y="650"/>
                </a:cubicBezTo>
                <a:cubicBezTo>
                  <a:pt x="271" y="650"/>
                  <a:pt x="271" y="650"/>
                  <a:pt x="272" y="650"/>
                </a:cubicBezTo>
                <a:cubicBezTo>
                  <a:pt x="275" y="651"/>
                  <a:pt x="270" y="659"/>
                  <a:pt x="266" y="653"/>
                </a:cubicBezTo>
                <a:close/>
                <a:moveTo>
                  <a:pt x="268" y="657"/>
                </a:moveTo>
                <a:cubicBezTo>
                  <a:pt x="267" y="656"/>
                  <a:pt x="269" y="657"/>
                  <a:pt x="268" y="657"/>
                </a:cubicBezTo>
                <a:close/>
                <a:moveTo>
                  <a:pt x="264" y="633"/>
                </a:moveTo>
                <a:cubicBezTo>
                  <a:pt x="263" y="633"/>
                  <a:pt x="264" y="632"/>
                  <a:pt x="265" y="632"/>
                </a:cubicBezTo>
                <a:cubicBezTo>
                  <a:pt x="265" y="633"/>
                  <a:pt x="264" y="632"/>
                  <a:pt x="264" y="633"/>
                </a:cubicBezTo>
                <a:close/>
                <a:moveTo>
                  <a:pt x="263" y="663"/>
                </a:moveTo>
                <a:cubicBezTo>
                  <a:pt x="265" y="662"/>
                  <a:pt x="265" y="664"/>
                  <a:pt x="263" y="663"/>
                </a:cubicBezTo>
                <a:close/>
                <a:moveTo>
                  <a:pt x="265" y="623"/>
                </a:moveTo>
                <a:cubicBezTo>
                  <a:pt x="267" y="623"/>
                  <a:pt x="269" y="624"/>
                  <a:pt x="269" y="627"/>
                </a:cubicBezTo>
                <a:cubicBezTo>
                  <a:pt x="268" y="625"/>
                  <a:pt x="267" y="628"/>
                  <a:pt x="265" y="629"/>
                </a:cubicBezTo>
                <a:cubicBezTo>
                  <a:pt x="258" y="631"/>
                  <a:pt x="258" y="621"/>
                  <a:pt x="265" y="623"/>
                </a:cubicBezTo>
                <a:close/>
                <a:moveTo>
                  <a:pt x="271" y="560"/>
                </a:moveTo>
                <a:cubicBezTo>
                  <a:pt x="272" y="561"/>
                  <a:pt x="269" y="562"/>
                  <a:pt x="269" y="561"/>
                </a:cubicBezTo>
                <a:cubicBezTo>
                  <a:pt x="269" y="560"/>
                  <a:pt x="271" y="559"/>
                  <a:pt x="271" y="560"/>
                </a:cubicBezTo>
                <a:close/>
                <a:moveTo>
                  <a:pt x="271" y="507"/>
                </a:moveTo>
                <a:cubicBezTo>
                  <a:pt x="271" y="505"/>
                  <a:pt x="271" y="509"/>
                  <a:pt x="271" y="507"/>
                </a:cubicBezTo>
                <a:close/>
                <a:moveTo>
                  <a:pt x="273" y="532"/>
                </a:moveTo>
                <a:cubicBezTo>
                  <a:pt x="273" y="532"/>
                  <a:pt x="273" y="533"/>
                  <a:pt x="273" y="533"/>
                </a:cubicBezTo>
                <a:cubicBezTo>
                  <a:pt x="270" y="531"/>
                  <a:pt x="277" y="530"/>
                  <a:pt x="273" y="532"/>
                </a:cubicBezTo>
                <a:close/>
                <a:moveTo>
                  <a:pt x="273" y="556"/>
                </a:moveTo>
                <a:cubicBezTo>
                  <a:pt x="273" y="555"/>
                  <a:pt x="274" y="555"/>
                  <a:pt x="274" y="555"/>
                </a:cubicBezTo>
                <a:cubicBezTo>
                  <a:pt x="277" y="555"/>
                  <a:pt x="274" y="558"/>
                  <a:pt x="273" y="556"/>
                </a:cubicBezTo>
                <a:close/>
                <a:moveTo>
                  <a:pt x="270" y="624"/>
                </a:moveTo>
                <a:cubicBezTo>
                  <a:pt x="270" y="624"/>
                  <a:pt x="269" y="624"/>
                  <a:pt x="269" y="624"/>
                </a:cubicBezTo>
                <a:cubicBezTo>
                  <a:pt x="269" y="623"/>
                  <a:pt x="271" y="623"/>
                  <a:pt x="270" y="624"/>
                </a:cubicBezTo>
                <a:close/>
                <a:moveTo>
                  <a:pt x="266" y="617"/>
                </a:moveTo>
                <a:cubicBezTo>
                  <a:pt x="266" y="615"/>
                  <a:pt x="269" y="616"/>
                  <a:pt x="269" y="617"/>
                </a:cubicBezTo>
                <a:cubicBezTo>
                  <a:pt x="269" y="618"/>
                  <a:pt x="267" y="618"/>
                  <a:pt x="266" y="617"/>
                </a:cubicBezTo>
                <a:close/>
                <a:moveTo>
                  <a:pt x="271" y="647"/>
                </a:moveTo>
                <a:cubicBezTo>
                  <a:pt x="271" y="648"/>
                  <a:pt x="269" y="648"/>
                  <a:pt x="269" y="647"/>
                </a:cubicBezTo>
                <a:cubicBezTo>
                  <a:pt x="269" y="647"/>
                  <a:pt x="270" y="646"/>
                  <a:pt x="271" y="647"/>
                </a:cubicBezTo>
                <a:close/>
                <a:moveTo>
                  <a:pt x="270" y="628"/>
                </a:moveTo>
                <a:cubicBezTo>
                  <a:pt x="270" y="627"/>
                  <a:pt x="273" y="626"/>
                  <a:pt x="273" y="628"/>
                </a:cubicBezTo>
                <a:cubicBezTo>
                  <a:pt x="273" y="628"/>
                  <a:pt x="270" y="630"/>
                  <a:pt x="270" y="628"/>
                </a:cubicBezTo>
                <a:close/>
                <a:moveTo>
                  <a:pt x="273" y="613"/>
                </a:moveTo>
                <a:cubicBezTo>
                  <a:pt x="273" y="614"/>
                  <a:pt x="271" y="614"/>
                  <a:pt x="271" y="614"/>
                </a:cubicBezTo>
                <a:cubicBezTo>
                  <a:pt x="270" y="613"/>
                  <a:pt x="272" y="613"/>
                  <a:pt x="273" y="613"/>
                </a:cubicBezTo>
                <a:close/>
                <a:moveTo>
                  <a:pt x="270" y="571"/>
                </a:moveTo>
                <a:cubicBezTo>
                  <a:pt x="270" y="571"/>
                  <a:pt x="270" y="571"/>
                  <a:pt x="270" y="571"/>
                </a:cubicBezTo>
                <a:cubicBezTo>
                  <a:pt x="270" y="569"/>
                  <a:pt x="272" y="572"/>
                  <a:pt x="270" y="571"/>
                </a:cubicBezTo>
                <a:close/>
                <a:moveTo>
                  <a:pt x="271" y="564"/>
                </a:moveTo>
                <a:cubicBezTo>
                  <a:pt x="269" y="565"/>
                  <a:pt x="268" y="566"/>
                  <a:pt x="267" y="566"/>
                </a:cubicBezTo>
                <a:cubicBezTo>
                  <a:pt x="268" y="565"/>
                  <a:pt x="269" y="564"/>
                  <a:pt x="271" y="564"/>
                </a:cubicBezTo>
                <a:close/>
                <a:moveTo>
                  <a:pt x="271" y="572"/>
                </a:moveTo>
                <a:cubicBezTo>
                  <a:pt x="269" y="573"/>
                  <a:pt x="269" y="574"/>
                  <a:pt x="271" y="574"/>
                </a:cubicBezTo>
                <a:cubicBezTo>
                  <a:pt x="270" y="576"/>
                  <a:pt x="266" y="579"/>
                  <a:pt x="263" y="577"/>
                </a:cubicBezTo>
                <a:cubicBezTo>
                  <a:pt x="258" y="573"/>
                  <a:pt x="266" y="568"/>
                  <a:pt x="271" y="572"/>
                </a:cubicBezTo>
                <a:close/>
                <a:moveTo>
                  <a:pt x="264" y="612"/>
                </a:moveTo>
                <a:cubicBezTo>
                  <a:pt x="265" y="612"/>
                  <a:pt x="263" y="612"/>
                  <a:pt x="263" y="612"/>
                </a:cubicBezTo>
                <a:cubicBezTo>
                  <a:pt x="263" y="611"/>
                  <a:pt x="264" y="611"/>
                  <a:pt x="264" y="612"/>
                </a:cubicBezTo>
                <a:close/>
                <a:moveTo>
                  <a:pt x="266" y="632"/>
                </a:moveTo>
                <a:cubicBezTo>
                  <a:pt x="266" y="632"/>
                  <a:pt x="266" y="632"/>
                  <a:pt x="266" y="632"/>
                </a:cubicBezTo>
                <a:cubicBezTo>
                  <a:pt x="265" y="630"/>
                  <a:pt x="268" y="633"/>
                  <a:pt x="266" y="632"/>
                </a:cubicBezTo>
                <a:close/>
                <a:moveTo>
                  <a:pt x="276" y="663"/>
                </a:moveTo>
                <a:cubicBezTo>
                  <a:pt x="274" y="664"/>
                  <a:pt x="273" y="665"/>
                  <a:pt x="271" y="665"/>
                </a:cubicBezTo>
                <a:cubicBezTo>
                  <a:pt x="272" y="663"/>
                  <a:pt x="274" y="663"/>
                  <a:pt x="276" y="663"/>
                </a:cubicBezTo>
                <a:close/>
                <a:moveTo>
                  <a:pt x="270" y="486"/>
                </a:moveTo>
                <a:cubicBezTo>
                  <a:pt x="270" y="486"/>
                  <a:pt x="270" y="486"/>
                  <a:pt x="270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0" y="485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lose/>
                <a:moveTo>
                  <a:pt x="274" y="496"/>
                </a:moveTo>
                <a:cubicBezTo>
                  <a:pt x="274" y="499"/>
                  <a:pt x="269" y="498"/>
                  <a:pt x="269" y="496"/>
                </a:cubicBezTo>
                <a:cubicBezTo>
                  <a:pt x="269" y="496"/>
                  <a:pt x="274" y="494"/>
                  <a:pt x="274" y="496"/>
                </a:cubicBezTo>
                <a:close/>
                <a:moveTo>
                  <a:pt x="276" y="504"/>
                </a:moveTo>
                <a:cubicBezTo>
                  <a:pt x="274" y="506"/>
                  <a:pt x="271" y="506"/>
                  <a:pt x="269" y="507"/>
                </a:cubicBezTo>
                <a:cubicBezTo>
                  <a:pt x="270" y="506"/>
                  <a:pt x="274" y="504"/>
                  <a:pt x="276" y="504"/>
                </a:cubicBezTo>
                <a:close/>
                <a:moveTo>
                  <a:pt x="268" y="467"/>
                </a:moveTo>
                <a:cubicBezTo>
                  <a:pt x="268" y="468"/>
                  <a:pt x="268" y="468"/>
                  <a:pt x="267" y="468"/>
                </a:cubicBezTo>
                <a:cubicBezTo>
                  <a:pt x="267" y="468"/>
                  <a:pt x="268" y="467"/>
                  <a:pt x="268" y="467"/>
                </a:cubicBezTo>
                <a:close/>
                <a:moveTo>
                  <a:pt x="267" y="506"/>
                </a:moveTo>
                <a:cubicBezTo>
                  <a:pt x="268" y="506"/>
                  <a:pt x="267" y="507"/>
                  <a:pt x="267" y="507"/>
                </a:cubicBezTo>
                <a:cubicBezTo>
                  <a:pt x="266" y="506"/>
                  <a:pt x="267" y="506"/>
                  <a:pt x="267" y="506"/>
                </a:cubicBezTo>
                <a:close/>
                <a:moveTo>
                  <a:pt x="264" y="562"/>
                </a:moveTo>
                <a:cubicBezTo>
                  <a:pt x="265" y="562"/>
                  <a:pt x="262" y="562"/>
                  <a:pt x="262" y="562"/>
                </a:cubicBezTo>
                <a:cubicBezTo>
                  <a:pt x="262" y="562"/>
                  <a:pt x="264" y="561"/>
                  <a:pt x="264" y="562"/>
                </a:cubicBezTo>
                <a:close/>
                <a:moveTo>
                  <a:pt x="262" y="562"/>
                </a:moveTo>
                <a:cubicBezTo>
                  <a:pt x="261" y="563"/>
                  <a:pt x="260" y="561"/>
                  <a:pt x="262" y="562"/>
                </a:cubicBezTo>
                <a:close/>
                <a:moveTo>
                  <a:pt x="260" y="440"/>
                </a:moveTo>
                <a:cubicBezTo>
                  <a:pt x="261" y="440"/>
                  <a:pt x="260" y="441"/>
                  <a:pt x="260" y="441"/>
                </a:cubicBezTo>
                <a:cubicBezTo>
                  <a:pt x="257" y="443"/>
                  <a:pt x="259" y="439"/>
                  <a:pt x="260" y="440"/>
                </a:cubicBezTo>
                <a:close/>
                <a:moveTo>
                  <a:pt x="257" y="484"/>
                </a:moveTo>
                <a:cubicBezTo>
                  <a:pt x="257" y="484"/>
                  <a:pt x="257" y="483"/>
                  <a:pt x="257" y="483"/>
                </a:cubicBezTo>
                <a:cubicBezTo>
                  <a:pt x="257" y="484"/>
                  <a:pt x="257" y="484"/>
                  <a:pt x="257" y="484"/>
                </a:cubicBezTo>
                <a:cubicBezTo>
                  <a:pt x="257" y="484"/>
                  <a:pt x="257" y="484"/>
                  <a:pt x="257" y="484"/>
                </a:cubicBezTo>
                <a:close/>
                <a:moveTo>
                  <a:pt x="256" y="495"/>
                </a:moveTo>
                <a:cubicBezTo>
                  <a:pt x="255" y="496"/>
                  <a:pt x="255" y="496"/>
                  <a:pt x="254" y="495"/>
                </a:cubicBezTo>
                <a:cubicBezTo>
                  <a:pt x="254" y="494"/>
                  <a:pt x="257" y="494"/>
                  <a:pt x="256" y="495"/>
                </a:cubicBezTo>
                <a:close/>
                <a:moveTo>
                  <a:pt x="252" y="519"/>
                </a:moveTo>
                <a:cubicBezTo>
                  <a:pt x="252" y="519"/>
                  <a:pt x="252" y="520"/>
                  <a:pt x="252" y="520"/>
                </a:cubicBezTo>
                <a:cubicBezTo>
                  <a:pt x="251" y="519"/>
                  <a:pt x="252" y="518"/>
                  <a:pt x="252" y="519"/>
                </a:cubicBezTo>
                <a:close/>
                <a:moveTo>
                  <a:pt x="250" y="460"/>
                </a:moveTo>
                <a:cubicBezTo>
                  <a:pt x="251" y="459"/>
                  <a:pt x="251" y="460"/>
                  <a:pt x="251" y="461"/>
                </a:cubicBezTo>
                <a:cubicBezTo>
                  <a:pt x="250" y="462"/>
                  <a:pt x="249" y="460"/>
                  <a:pt x="250" y="460"/>
                </a:cubicBezTo>
                <a:close/>
                <a:moveTo>
                  <a:pt x="253" y="530"/>
                </a:moveTo>
                <a:cubicBezTo>
                  <a:pt x="254" y="528"/>
                  <a:pt x="259" y="522"/>
                  <a:pt x="261" y="522"/>
                </a:cubicBezTo>
                <a:cubicBezTo>
                  <a:pt x="264" y="521"/>
                  <a:pt x="260" y="524"/>
                  <a:pt x="259" y="524"/>
                </a:cubicBezTo>
                <a:cubicBezTo>
                  <a:pt x="257" y="526"/>
                  <a:pt x="255" y="529"/>
                  <a:pt x="253" y="531"/>
                </a:cubicBezTo>
                <a:cubicBezTo>
                  <a:pt x="253" y="531"/>
                  <a:pt x="253" y="531"/>
                  <a:pt x="253" y="531"/>
                </a:cubicBezTo>
                <a:cubicBezTo>
                  <a:pt x="253" y="531"/>
                  <a:pt x="253" y="532"/>
                  <a:pt x="252" y="532"/>
                </a:cubicBezTo>
                <a:cubicBezTo>
                  <a:pt x="252" y="532"/>
                  <a:pt x="252" y="532"/>
                  <a:pt x="252" y="532"/>
                </a:cubicBezTo>
                <a:cubicBezTo>
                  <a:pt x="251" y="533"/>
                  <a:pt x="251" y="533"/>
                  <a:pt x="250" y="534"/>
                </a:cubicBezTo>
                <a:cubicBezTo>
                  <a:pt x="250" y="534"/>
                  <a:pt x="249" y="533"/>
                  <a:pt x="249" y="533"/>
                </a:cubicBezTo>
                <a:cubicBezTo>
                  <a:pt x="249" y="533"/>
                  <a:pt x="251" y="531"/>
                  <a:pt x="253" y="530"/>
                </a:cubicBezTo>
                <a:close/>
                <a:moveTo>
                  <a:pt x="253" y="640"/>
                </a:moveTo>
                <a:cubicBezTo>
                  <a:pt x="253" y="638"/>
                  <a:pt x="257" y="638"/>
                  <a:pt x="258" y="639"/>
                </a:cubicBezTo>
                <a:cubicBezTo>
                  <a:pt x="259" y="641"/>
                  <a:pt x="254" y="642"/>
                  <a:pt x="253" y="640"/>
                </a:cubicBezTo>
                <a:close/>
                <a:moveTo>
                  <a:pt x="255" y="652"/>
                </a:moveTo>
                <a:cubicBezTo>
                  <a:pt x="256" y="653"/>
                  <a:pt x="254" y="653"/>
                  <a:pt x="254" y="652"/>
                </a:cubicBezTo>
                <a:cubicBezTo>
                  <a:pt x="253" y="651"/>
                  <a:pt x="255" y="651"/>
                  <a:pt x="255" y="652"/>
                </a:cubicBezTo>
                <a:close/>
                <a:moveTo>
                  <a:pt x="240" y="645"/>
                </a:moveTo>
                <a:cubicBezTo>
                  <a:pt x="238" y="644"/>
                  <a:pt x="237" y="642"/>
                  <a:pt x="239" y="640"/>
                </a:cubicBezTo>
                <a:cubicBezTo>
                  <a:pt x="240" y="639"/>
                  <a:pt x="242" y="639"/>
                  <a:pt x="244" y="639"/>
                </a:cubicBezTo>
                <a:cubicBezTo>
                  <a:pt x="245" y="639"/>
                  <a:pt x="247" y="639"/>
                  <a:pt x="247" y="640"/>
                </a:cubicBezTo>
                <a:cubicBezTo>
                  <a:pt x="247" y="640"/>
                  <a:pt x="247" y="640"/>
                  <a:pt x="246" y="640"/>
                </a:cubicBezTo>
                <a:cubicBezTo>
                  <a:pt x="246" y="640"/>
                  <a:pt x="247" y="640"/>
                  <a:pt x="247" y="640"/>
                </a:cubicBezTo>
                <a:cubicBezTo>
                  <a:pt x="247" y="640"/>
                  <a:pt x="247" y="641"/>
                  <a:pt x="247" y="641"/>
                </a:cubicBezTo>
                <a:cubicBezTo>
                  <a:pt x="248" y="642"/>
                  <a:pt x="242" y="646"/>
                  <a:pt x="240" y="645"/>
                </a:cubicBezTo>
                <a:close/>
                <a:moveTo>
                  <a:pt x="241" y="660"/>
                </a:moveTo>
                <a:cubicBezTo>
                  <a:pt x="240" y="661"/>
                  <a:pt x="239" y="660"/>
                  <a:pt x="240" y="659"/>
                </a:cubicBezTo>
                <a:cubicBezTo>
                  <a:pt x="240" y="659"/>
                  <a:pt x="242" y="659"/>
                  <a:pt x="241" y="660"/>
                </a:cubicBezTo>
                <a:close/>
                <a:moveTo>
                  <a:pt x="250" y="593"/>
                </a:moveTo>
                <a:cubicBezTo>
                  <a:pt x="247" y="595"/>
                  <a:pt x="244" y="594"/>
                  <a:pt x="240" y="596"/>
                </a:cubicBezTo>
                <a:cubicBezTo>
                  <a:pt x="243" y="594"/>
                  <a:pt x="247" y="594"/>
                  <a:pt x="250" y="593"/>
                </a:cubicBezTo>
                <a:close/>
                <a:moveTo>
                  <a:pt x="245" y="578"/>
                </a:moveTo>
                <a:cubicBezTo>
                  <a:pt x="246" y="579"/>
                  <a:pt x="245" y="579"/>
                  <a:pt x="245" y="579"/>
                </a:cubicBezTo>
                <a:cubicBezTo>
                  <a:pt x="243" y="581"/>
                  <a:pt x="244" y="577"/>
                  <a:pt x="245" y="578"/>
                </a:cubicBezTo>
                <a:close/>
                <a:moveTo>
                  <a:pt x="253" y="551"/>
                </a:moveTo>
                <a:cubicBezTo>
                  <a:pt x="254" y="550"/>
                  <a:pt x="255" y="549"/>
                  <a:pt x="257" y="549"/>
                </a:cubicBezTo>
                <a:cubicBezTo>
                  <a:pt x="256" y="550"/>
                  <a:pt x="254" y="551"/>
                  <a:pt x="253" y="551"/>
                </a:cubicBezTo>
                <a:close/>
                <a:moveTo>
                  <a:pt x="255" y="555"/>
                </a:moveTo>
                <a:cubicBezTo>
                  <a:pt x="253" y="557"/>
                  <a:pt x="254" y="552"/>
                  <a:pt x="256" y="554"/>
                </a:cubicBezTo>
                <a:cubicBezTo>
                  <a:pt x="257" y="554"/>
                  <a:pt x="256" y="555"/>
                  <a:pt x="255" y="555"/>
                </a:cubicBezTo>
                <a:close/>
                <a:moveTo>
                  <a:pt x="258" y="564"/>
                </a:moveTo>
                <a:cubicBezTo>
                  <a:pt x="258" y="566"/>
                  <a:pt x="252" y="567"/>
                  <a:pt x="252" y="564"/>
                </a:cubicBezTo>
                <a:cubicBezTo>
                  <a:pt x="252" y="561"/>
                  <a:pt x="258" y="562"/>
                  <a:pt x="258" y="564"/>
                </a:cubicBezTo>
                <a:close/>
                <a:moveTo>
                  <a:pt x="257" y="589"/>
                </a:moveTo>
                <a:cubicBezTo>
                  <a:pt x="256" y="590"/>
                  <a:pt x="258" y="588"/>
                  <a:pt x="257" y="589"/>
                </a:cubicBezTo>
                <a:close/>
                <a:moveTo>
                  <a:pt x="254" y="619"/>
                </a:moveTo>
                <a:cubicBezTo>
                  <a:pt x="254" y="619"/>
                  <a:pt x="253" y="619"/>
                  <a:pt x="254" y="619"/>
                </a:cubicBezTo>
                <a:close/>
                <a:moveTo>
                  <a:pt x="254" y="612"/>
                </a:moveTo>
                <a:cubicBezTo>
                  <a:pt x="254" y="612"/>
                  <a:pt x="254" y="613"/>
                  <a:pt x="254" y="613"/>
                </a:cubicBezTo>
                <a:cubicBezTo>
                  <a:pt x="253" y="613"/>
                  <a:pt x="254" y="612"/>
                  <a:pt x="254" y="612"/>
                </a:cubicBezTo>
                <a:close/>
                <a:moveTo>
                  <a:pt x="254" y="619"/>
                </a:moveTo>
                <a:cubicBezTo>
                  <a:pt x="257" y="616"/>
                  <a:pt x="255" y="621"/>
                  <a:pt x="254" y="620"/>
                </a:cubicBezTo>
                <a:cubicBezTo>
                  <a:pt x="254" y="620"/>
                  <a:pt x="254" y="619"/>
                  <a:pt x="254" y="619"/>
                </a:cubicBezTo>
                <a:close/>
                <a:moveTo>
                  <a:pt x="253" y="608"/>
                </a:moveTo>
                <a:cubicBezTo>
                  <a:pt x="250" y="609"/>
                  <a:pt x="255" y="604"/>
                  <a:pt x="257" y="605"/>
                </a:cubicBezTo>
                <a:cubicBezTo>
                  <a:pt x="256" y="605"/>
                  <a:pt x="254" y="607"/>
                  <a:pt x="253" y="608"/>
                </a:cubicBezTo>
                <a:close/>
                <a:moveTo>
                  <a:pt x="255" y="600"/>
                </a:moveTo>
                <a:cubicBezTo>
                  <a:pt x="254" y="602"/>
                  <a:pt x="252" y="601"/>
                  <a:pt x="255" y="600"/>
                </a:cubicBezTo>
                <a:close/>
                <a:moveTo>
                  <a:pt x="256" y="599"/>
                </a:moveTo>
                <a:cubicBezTo>
                  <a:pt x="255" y="599"/>
                  <a:pt x="256" y="598"/>
                  <a:pt x="256" y="599"/>
                </a:cubicBezTo>
                <a:cubicBezTo>
                  <a:pt x="256" y="599"/>
                  <a:pt x="256" y="599"/>
                  <a:pt x="256" y="599"/>
                </a:cubicBezTo>
                <a:close/>
                <a:moveTo>
                  <a:pt x="253" y="571"/>
                </a:moveTo>
                <a:cubicBezTo>
                  <a:pt x="253" y="571"/>
                  <a:pt x="252" y="572"/>
                  <a:pt x="252" y="571"/>
                </a:cubicBezTo>
                <a:cubicBezTo>
                  <a:pt x="251" y="570"/>
                  <a:pt x="253" y="570"/>
                  <a:pt x="253" y="571"/>
                </a:cubicBezTo>
                <a:close/>
                <a:moveTo>
                  <a:pt x="251" y="558"/>
                </a:moveTo>
                <a:cubicBezTo>
                  <a:pt x="251" y="557"/>
                  <a:pt x="253" y="556"/>
                  <a:pt x="253" y="557"/>
                </a:cubicBezTo>
                <a:cubicBezTo>
                  <a:pt x="253" y="558"/>
                  <a:pt x="252" y="558"/>
                  <a:pt x="251" y="558"/>
                </a:cubicBezTo>
                <a:close/>
                <a:moveTo>
                  <a:pt x="246" y="555"/>
                </a:moveTo>
                <a:cubicBezTo>
                  <a:pt x="247" y="553"/>
                  <a:pt x="251" y="552"/>
                  <a:pt x="253" y="551"/>
                </a:cubicBezTo>
                <a:cubicBezTo>
                  <a:pt x="251" y="553"/>
                  <a:pt x="248" y="554"/>
                  <a:pt x="246" y="555"/>
                </a:cubicBezTo>
                <a:close/>
                <a:moveTo>
                  <a:pt x="245" y="613"/>
                </a:moveTo>
                <a:cubicBezTo>
                  <a:pt x="244" y="615"/>
                  <a:pt x="242" y="615"/>
                  <a:pt x="240" y="615"/>
                </a:cubicBezTo>
                <a:cubicBezTo>
                  <a:pt x="241" y="614"/>
                  <a:pt x="243" y="613"/>
                  <a:pt x="244" y="613"/>
                </a:cubicBezTo>
                <a:cubicBezTo>
                  <a:pt x="244" y="613"/>
                  <a:pt x="243" y="613"/>
                  <a:pt x="244" y="612"/>
                </a:cubicBezTo>
                <a:cubicBezTo>
                  <a:pt x="244" y="611"/>
                  <a:pt x="247" y="612"/>
                  <a:pt x="247" y="612"/>
                </a:cubicBezTo>
                <a:cubicBezTo>
                  <a:pt x="247" y="613"/>
                  <a:pt x="246" y="613"/>
                  <a:pt x="245" y="613"/>
                </a:cubicBezTo>
                <a:cubicBezTo>
                  <a:pt x="245" y="613"/>
                  <a:pt x="245" y="613"/>
                  <a:pt x="245" y="613"/>
                </a:cubicBezTo>
                <a:close/>
                <a:moveTo>
                  <a:pt x="241" y="634"/>
                </a:moveTo>
                <a:cubicBezTo>
                  <a:pt x="241" y="634"/>
                  <a:pt x="241" y="634"/>
                  <a:pt x="242" y="634"/>
                </a:cubicBezTo>
                <a:cubicBezTo>
                  <a:pt x="242" y="634"/>
                  <a:pt x="242" y="635"/>
                  <a:pt x="241" y="634"/>
                </a:cubicBezTo>
                <a:close/>
                <a:moveTo>
                  <a:pt x="240" y="485"/>
                </a:moveTo>
                <a:cubicBezTo>
                  <a:pt x="240" y="485"/>
                  <a:pt x="241" y="484"/>
                  <a:pt x="241" y="484"/>
                </a:cubicBezTo>
                <a:cubicBezTo>
                  <a:pt x="241" y="485"/>
                  <a:pt x="240" y="485"/>
                  <a:pt x="240" y="485"/>
                </a:cubicBezTo>
                <a:close/>
                <a:moveTo>
                  <a:pt x="240" y="535"/>
                </a:moveTo>
                <a:cubicBezTo>
                  <a:pt x="240" y="535"/>
                  <a:pt x="240" y="535"/>
                  <a:pt x="239" y="535"/>
                </a:cubicBezTo>
                <a:cubicBezTo>
                  <a:pt x="239" y="535"/>
                  <a:pt x="240" y="534"/>
                  <a:pt x="240" y="535"/>
                </a:cubicBezTo>
                <a:close/>
                <a:moveTo>
                  <a:pt x="243" y="647"/>
                </a:moveTo>
                <a:cubicBezTo>
                  <a:pt x="243" y="646"/>
                  <a:pt x="244" y="647"/>
                  <a:pt x="243" y="647"/>
                </a:cubicBezTo>
                <a:close/>
                <a:moveTo>
                  <a:pt x="243" y="664"/>
                </a:moveTo>
                <a:cubicBezTo>
                  <a:pt x="242" y="665"/>
                  <a:pt x="242" y="663"/>
                  <a:pt x="243" y="664"/>
                </a:cubicBezTo>
                <a:close/>
                <a:moveTo>
                  <a:pt x="244" y="665"/>
                </a:moveTo>
                <a:cubicBezTo>
                  <a:pt x="244" y="666"/>
                  <a:pt x="243" y="666"/>
                  <a:pt x="243" y="666"/>
                </a:cubicBezTo>
                <a:cubicBezTo>
                  <a:pt x="242" y="665"/>
                  <a:pt x="244" y="665"/>
                  <a:pt x="244" y="665"/>
                </a:cubicBezTo>
                <a:close/>
                <a:moveTo>
                  <a:pt x="244" y="658"/>
                </a:moveTo>
                <a:cubicBezTo>
                  <a:pt x="244" y="656"/>
                  <a:pt x="249" y="657"/>
                  <a:pt x="247" y="659"/>
                </a:cubicBezTo>
                <a:cubicBezTo>
                  <a:pt x="247" y="660"/>
                  <a:pt x="244" y="659"/>
                  <a:pt x="244" y="658"/>
                </a:cubicBezTo>
                <a:close/>
                <a:moveTo>
                  <a:pt x="248" y="619"/>
                </a:moveTo>
                <a:cubicBezTo>
                  <a:pt x="246" y="620"/>
                  <a:pt x="246" y="618"/>
                  <a:pt x="248" y="619"/>
                </a:cubicBezTo>
                <a:close/>
                <a:moveTo>
                  <a:pt x="249" y="639"/>
                </a:moveTo>
                <a:cubicBezTo>
                  <a:pt x="250" y="640"/>
                  <a:pt x="249" y="640"/>
                  <a:pt x="249" y="640"/>
                </a:cubicBezTo>
                <a:cubicBezTo>
                  <a:pt x="247" y="642"/>
                  <a:pt x="248" y="638"/>
                  <a:pt x="249" y="639"/>
                </a:cubicBezTo>
                <a:close/>
                <a:moveTo>
                  <a:pt x="249" y="606"/>
                </a:moveTo>
                <a:cubicBezTo>
                  <a:pt x="248" y="605"/>
                  <a:pt x="251" y="605"/>
                  <a:pt x="251" y="605"/>
                </a:cubicBezTo>
                <a:cubicBezTo>
                  <a:pt x="251" y="606"/>
                  <a:pt x="249" y="606"/>
                  <a:pt x="249" y="606"/>
                </a:cubicBezTo>
                <a:close/>
                <a:moveTo>
                  <a:pt x="247" y="598"/>
                </a:moveTo>
                <a:cubicBezTo>
                  <a:pt x="247" y="598"/>
                  <a:pt x="248" y="596"/>
                  <a:pt x="248" y="596"/>
                </a:cubicBezTo>
                <a:cubicBezTo>
                  <a:pt x="249" y="595"/>
                  <a:pt x="250" y="594"/>
                  <a:pt x="251" y="596"/>
                </a:cubicBezTo>
                <a:cubicBezTo>
                  <a:pt x="251" y="596"/>
                  <a:pt x="251" y="596"/>
                  <a:pt x="250" y="597"/>
                </a:cubicBezTo>
                <a:cubicBezTo>
                  <a:pt x="251" y="597"/>
                  <a:pt x="253" y="598"/>
                  <a:pt x="253" y="598"/>
                </a:cubicBezTo>
                <a:cubicBezTo>
                  <a:pt x="254" y="602"/>
                  <a:pt x="247" y="599"/>
                  <a:pt x="247" y="598"/>
                </a:cubicBezTo>
                <a:close/>
                <a:moveTo>
                  <a:pt x="253" y="601"/>
                </a:moveTo>
                <a:cubicBezTo>
                  <a:pt x="253" y="602"/>
                  <a:pt x="252" y="602"/>
                  <a:pt x="251" y="602"/>
                </a:cubicBezTo>
                <a:cubicBezTo>
                  <a:pt x="251" y="602"/>
                  <a:pt x="252" y="601"/>
                  <a:pt x="253" y="601"/>
                </a:cubicBezTo>
                <a:close/>
                <a:moveTo>
                  <a:pt x="253" y="609"/>
                </a:moveTo>
                <a:cubicBezTo>
                  <a:pt x="254" y="609"/>
                  <a:pt x="252" y="610"/>
                  <a:pt x="252" y="610"/>
                </a:cubicBezTo>
                <a:cubicBezTo>
                  <a:pt x="251" y="609"/>
                  <a:pt x="253" y="608"/>
                  <a:pt x="253" y="609"/>
                </a:cubicBezTo>
                <a:close/>
                <a:moveTo>
                  <a:pt x="254" y="650"/>
                </a:moveTo>
                <a:cubicBezTo>
                  <a:pt x="253" y="652"/>
                  <a:pt x="252" y="649"/>
                  <a:pt x="254" y="650"/>
                </a:cubicBezTo>
                <a:close/>
                <a:moveTo>
                  <a:pt x="256" y="592"/>
                </a:moveTo>
                <a:cubicBezTo>
                  <a:pt x="255" y="590"/>
                  <a:pt x="259" y="590"/>
                  <a:pt x="260" y="591"/>
                </a:cubicBezTo>
                <a:cubicBezTo>
                  <a:pt x="260" y="592"/>
                  <a:pt x="256" y="594"/>
                  <a:pt x="256" y="592"/>
                </a:cubicBezTo>
                <a:close/>
                <a:moveTo>
                  <a:pt x="249" y="520"/>
                </a:moveTo>
                <a:cubicBezTo>
                  <a:pt x="249" y="520"/>
                  <a:pt x="249" y="521"/>
                  <a:pt x="249" y="521"/>
                </a:cubicBezTo>
                <a:cubicBezTo>
                  <a:pt x="248" y="522"/>
                  <a:pt x="248" y="519"/>
                  <a:pt x="249" y="520"/>
                </a:cubicBezTo>
                <a:close/>
                <a:moveTo>
                  <a:pt x="249" y="536"/>
                </a:moveTo>
                <a:cubicBezTo>
                  <a:pt x="249" y="538"/>
                  <a:pt x="244" y="540"/>
                  <a:pt x="244" y="536"/>
                </a:cubicBezTo>
                <a:cubicBezTo>
                  <a:pt x="244" y="535"/>
                  <a:pt x="249" y="534"/>
                  <a:pt x="249" y="536"/>
                </a:cubicBezTo>
                <a:close/>
                <a:moveTo>
                  <a:pt x="244" y="450"/>
                </a:moveTo>
                <a:cubicBezTo>
                  <a:pt x="244" y="450"/>
                  <a:pt x="244" y="450"/>
                  <a:pt x="244" y="450"/>
                </a:cubicBezTo>
                <a:cubicBezTo>
                  <a:pt x="243" y="450"/>
                  <a:pt x="244" y="449"/>
                  <a:pt x="244" y="450"/>
                </a:cubicBezTo>
                <a:close/>
                <a:moveTo>
                  <a:pt x="243" y="420"/>
                </a:moveTo>
                <a:cubicBezTo>
                  <a:pt x="243" y="420"/>
                  <a:pt x="243" y="420"/>
                  <a:pt x="243" y="420"/>
                </a:cubicBezTo>
                <a:cubicBezTo>
                  <a:pt x="244" y="420"/>
                  <a:pt x="244" y="420"/>
                  <a:pt x="243" y="420"/>
                </a:cubicBezTo>
                <a:close/>
                <a:moveTo>
                  <a:pt x="241" y="504"/>
                </a:moveTo>
                <a:cubicBezTo>
                  <a:pt x="240" y="502"/>
                  <a:pt x="243" y="504"/>
                  <a:pt x="241" y="504"/>
                </a:cubicBezTo>
                <a:close/>
                <a:moveTo>
                  <a:pt x="235" y="479"/>
                </a:moveTo>
                <a:cubicBezTo>
                  <a:pt x="236" y="477"/>
                  <a:pt x="240" y="471"/>
                  <a:pt x="242" y="470"/>
                </a:cubicBezTo>
                <a:cubicBezTo>
                  <a:pt x="240" y="473"/>
                  <a:pt x="238" y="476"/>
                  <a:pt x="235" y="479"/>
                </a:cubicBezTo>
                <a:close/>
                <a:moveTo>
                  <a:pt x="236" y="507"/>
                </a:moveTo>
                <a:cubicBezTo>
                  <a:pt x="236" y="508"/>
                  <a:pt x="235" y="508"/>
                  <a:pt x="235" y="507"/>
                </a:cubicBezTo>
                <a:cubicBezTo>
                  <a:pt x="235" y="506"/>
                  <a:pt x="236" y="507"/>
                  <a:pt x="236" y="507"/>
                </a:cubicBezTo>
                <a:close/>
                <a:moveTo>
                  <a:pt x="242" y="337"/>
                </a:moveTo>
                <a:cubicBezTo>
                  <a:pt x="240" y="339"/>
                  <a:pt x="238" y="341"/>
                  <a:pt x="235" y="343"/>
                </a:cubicBezTo>
                <a:cubicBezTo>
                  <a:pt x="237" y="341"/>
                  <a:pt x="240" y="338"/>
                  <a:pt x="242" y="337"/>
                </a:cubicBezTo>
                <a:close/>
                <a:moveTo>
                  <a:pt x="235" y="428"/>
                </a:moveTo>
                <a:cubicBezTo>
                  <a:pt x="235" y="427"/>
                  <a:pt x="234" y="429"/>
                  <a:pt x="235" y="428"/>
                </a:cubicBezTo>
                <a:close/>
                <a:moveTo>
                  <a:pt x="236" y="488"/>
                </a:moveTo>
                <a:cubicBezTo>
                  <a:pt x="233" y="491"/>
                  <a:pt x="233" y="494"/>
                  <a:pt x="230" y="496"/>
                </a:cubicBezTo>
                <a:cubicBezTo>
                  <a:pt x="231" y="494"/>
                  <a:pt x="233" y="489"/>
                  <a:pt x="236" y="488"/>
                </a:cubicBezTo>
                <a:close/>
                <a:moveTo>
                  <a:pt x="235" y="529"/>
                </a:moveTo>
                <a:cubicBezTo>
                  <a:pt x="235" y="529"/>
                  <a:pt x="234" y="529"/>
                  <a:pt x="234" y="529"/>
                </a:cubicBezTo>
                <a:cubicBezTo>
                  <a:pt x="234" y="528"/>
                  <a:pt x="235" y="529"/>
                  <a:pt x="235" y="529"/>
                </a:cubicBezTo>
                <a:close/>
                <a:moveTo>
                  <a:pt x="232" y="503"/>
                </a:moveTo>
                <a:cubicBezTo>
                  <a:pt x="232" y="504"/>
                  <a:pt x="231" y="504"/>
                  <a:pt x="231" y="504"/>
                </a:cubicBezTo>
                <a:cubicBezTo>
                  <a:pt x="231" y="503"/>
                  <a:pt x="232" y="502"/>
                  <a:pt x="232" y="503"/>
                </a:cubicBezTo>
                <a:close/>
                <a:moveTo>
                  <a:pt x="233" y="322"/>
                </a:moveTo>
                <a:cubicBezTo>
                  <a:pt x="234" y="320"/>
                  <a:pt x="232" y="323"/>
                  <a:pt x="233" y="322"/>
                </a:cubicBezTo>
                <a:close/>
                <a:moveTo>
                  <a:pt x="233" y="463"/>
                </a:moveTo>
                <a:cubicBezTo>
                  <a:pt x="232" y="465"/>
                  <a:pt x="234" y="462"/>
                  <a:pt x="233" y="463"/>
                </a:cubicBezTo>
                <a:close/>
                <a:moveTo>
                  <a:pt x="232" y="465"/>
                </a:moveTo>
                <a:cubicBezTo>
                  <a:pt x="233" y="467"/>
                  <a:pt x="229" y="469"/>
                  <a:pt x="228" y="466"/>
                </a:cubicBezTo>
                <a:cubicBezTo>
                  <a:pt x="228" y="464"/>
                  <a:pt x="231" y="463"/>
                  <a:pt x="232" y="465"/>
                </a:cubicBezTo>
                <a:close/>
                <a:moveTo>
                  <a:pt x="231" y="364"/>
                </a:moveTo>
                <a:cubicBezTo>
                  <a:pt x="232" y="365"/>
                  <a:pt x="230" y="367"/>
                  <a:pt x="230" y="367"/>
                </a:cubicBezTo>
                <a:cubicBezTo>
                  <a:pt x="226" y="369"/>
                  <a:pt x="229" y="363"/>
                  <a:pt x="231" y="364"/>
                </a:cubicBezTo>
                <a:close/>
                <a:moveTo>
                  <a:pt x="227" y="421"/>
                </a:moveTo>
                <a:cubicBezTo>
                  <a:pt x="228" y="421"/>
                  <a:pt x="227" y="422"/>
                  <a:pt x="227" y="422"/>
                </a:cubicBezTo>
                <a:cubicBezTo>
                  <a:pt x="225" y="423"/>
                  <a:pt x="226" y="420"/>
                  <a:pt x="227" y="421"/>
                </a:cubicBezTo>
                <a:close/>
                <a:moveTo>
                  <a:pt x="227" y="484"/>
                </a:moveTo>
                <a:cubicBezTo>
                  <a:pt x="225" y="484"/>
                  <a:pt x="228" y="482"/>
                  <a:pt x="227" y="483"/>
                </a:cubicBezTo>
                <a:cubicBezTo>
                  <a:pt x="227" y="483"/>
                  <a:pt x="227" y="484"/>
                  <a:pt x="227" y="484"/>
                </a:cubicBezTo>
                <a:close/>
                <a:moveTo>
                  <a:pt x="227" y="436"/>
                </a:moveTo>
                <a:cubicBezTo>
                  <a:pt x="226" y="435"/>
                  <a:pt x="228" y="435"/>
                  <a:pt x="227" y="436"/>
                </a:cubicBezTo>
                <a:close/>
                <a:moveTo>
                  <a:pt x="227" y="526"/>
                </a:moveTo>
                <a:cubicBezTo>
                  <a:pt x="226" y="527"/>
                  <a:pt x="225" y="526"/>
                  <a:pt x="227" y="526"/>
                </a:cubicBezTo>
                <a:close/>
                <a:moveTo>
                  <a:pt x="227" y="527"/>
                </a:moveTo>
                <a:cubicBezTo>
                  <a:pt x="228" y="528"/>
                  <a:pt x="226" y="529"/>
                  <a:pt x="226" y="529"/>
                </a:cubicBezTo>
                <a:cubicBezTo>
                  <a:pt x="225" y="529"/>
                  <a:pt x="227" y="527"/>
                  <a:pt x="227" y="527"/>
                </a:cubicBezTo>
                <a:close/>
                <a:moveTo>
                  <a:pt x="225" y="375"/>
                </a:moveTo>
                <a:cubicBezTo>
                  <a:pt x="227" y="376"/>
                  <a:pt x="225" y="376"/>
                  <a:pt x="225" y="375"/>
                </a:cubicBezTo>
                <a:close/>
                <a:moveTo>
                  <a:pt x="224" y="359"/>
                </a:moveTo>
                <a:cubicBezTo>
                  <a:pt x="224" y="360"/>
                  <a:pt x="223" y="360"/>
                  <a:pt x="223" y="361"/>
                </a:cubicBezTo>
                <a:cubicBezTo>
                  <a:pt x="222" y="360"/>
                  <a:pt x="224" y="360"/>
                  <a:pt x="224" y="359"/>
                </a:cubicBezTo>
                <a:close/>
                <a:moveTo>
                  <a:pt x="222" y="500"/>
                </a:moveTo>
                <a:cubicBezTo>
                  <a:pt x="222" y="499"/>
                  <a:pt x="223" y="499"/>
                  <a:pt x="224" y="499"/>
                </a:cubicBezTo>
                <a:cubicBezTo>
                  <a:pt x="224" y="500"/>
                  <a:pt x="222" y="501"/>
                  <a:pt x="222" y="500"/>
                </a:cubicBezTo>
                <a:close/>
                <a:moveTo>
                  <a:pt x="222" y="564"/>
                </a:moveTo>
                <a:cubicBezTo>
                  <a:pt x="222" y="565"/>
                  <a:pt x="219" y="565"/>
                  <a:pt x="219" y="564"/>
                </a:cubicBezTo>
                <a:cubicBezTo>
                  <a:pt x="219" y="562"/>
                  <a:pt x="222" y="563"/>
                  <a:pt x="222" y="564"/>
                </a:cubicBezTo>
                <a:close/>
                <a:moveTo>
                  <a:pt x="224" y="489"/>
                </a:moveTo>
                <a:cubicBezTo>
                  <a:pt x="224" y="489"/>
                  <a:pt x="223" y="490"/>
                  <a:pt x="223" y="490"/>
                </a:cubicBezTo>
                <a:cubicBezTo>
                  <a:pt x="222" y="489"/>
                  <a:pt x="225" y="488"/>
                  <a:pt x="224" y="489"/>
                </a:cubicBezTo>
                <a:close/>
                <a:moveTo>
                  <a:pt x="224" y="467"/>
                </a:moveTo>
                <a:cubicBezTo>
                  <a:pt x="224" y="470"/>
                  <a:pt x="222" y="469"/>
                  <a:pt x="224" y="467"/>
                </a:cubicBezTo>
                <a:close/>
                <a:moveTo>
                  <a:pt x="223" y="272"/>
                </a:moveTo>
                <a:cubicBezTo>
                  <a:pt x="223" y="273"/>
                  <a:pt x="222" y="274"/>
                  <a:pt x="221" y="275"/>
                </a:cubicBezTo>
                <a:cubicBezTo>
                  <a:pt x="221" y="273"/>
                  <a:pt x="222" y="273"/>
                  <a:pt x="223" y="272"/>
                </a:cubicBezTo>
                <a:close/>
                <a:moveTo>
                  <a:pt x="222" y="308"/>
                </a:moveTo>
                <a:cubicBezTo>
                  <a:pt x="222" y="310"/>
                  <a:pt x="220" y="312"/>
                  <a:pt x="218" y="313"/>
                </a:cubicBezTo>
                <a:cubicBezTo>
                  <a:pt x="220" y="312"/>
                  <a:pt x="220" y="310"/>
                  <a:pt x="222" y="308"/>
                </a:cubicBezTo>
                <a:close/>
                <a:moveTo>
                  <a:pt x="218" y="378"/>
                </a:moveTo>
                <a:cubicBezTo>
                  <a:pt x="218" y="376"/>
                  <a:pt x="220" y="378"/>
                  <a:pt x="218" y="378"/>
                </a:cubicBezTo>
                <a:close/>
                <a:moveTo>
                  <a:pt x="218" y="467"/>
                </a:moveTo>
                <a:cubicBezTo>
                  <a:pt x="218" y="467"/>
                  <a:pt x="217" y="467"/>
                  <a:pt x="217" y="466"/>
                </a:cubicBezTo>
                <a:cubicBezTo>
                  <a:pt x="217" y="466"/>
                  <a:pt x="218" y="466"/>
                  <a:pt x="218" y="467"/>
                </a:cubicBezTo>
                <a:close/>
                <a:moveTo>
                  <a:pt x="217" y="315"/>
                </a:move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lose/>
                <a:moveTo>
                  <a:pt x="218" y="382"/>
                </a:moveTo>
                <a:cubicBezTo>
                  <a:pt x="217" y="382"/>
                  <a:pt x="217" y="382"/>
                  <a:pt x="217" y="382"/>
                </a:cubicBezTo>
                <a:cubicBezTo>
                  <a:pt x="216" y="381"/>
                  <a:pt x="219" y="380"/>
                  <a:pt x="218" y="382"/>
                </a:cubicBezTo>
                <a:close/>
                <a:moveTo>
                  <a:pt x="212" y="322"/>
                </a:moveTo>
                <a:cubicBezTo>
                  <a:pt x="212" y="321"/>
                  <a:pt x="215" y="318"/>
                  <a:pt x="216" y="316"/>
                </a:cubicBezTo>
                <a:cubicBezTo>
                  <a:pt x="216" y="319"/>
                  <a:pt x="210" y="325"/>
                  <a:pt x="212" y="322"/>
                </a:cubicBezTo>
                <a:close/>
                <a:moveTo>
                  <a:pt x="215" y="450"/>
                </a:moveTo>
                <a:cubicBezTo>
                  <a:pt x="215" y="450"/>
                  <a:pt x="215" y="450"/>
                  <a:pt x="215" y="450"/>
                </a:cubicBezTo>
                <a:cubicBezTo>
                  <a:pt x="215" y="450"/>
                  <a:pt x="215" y="450"/>
                  <a:pt x="215" y="450"/>
                </a:cubicBezTo>
                <a:close/>
                <a:moveTo>
                  <a:pt x="214" y="449"/>
                </a:moveTo>
                <a:cubicBezTo>
                  <a:pt x="214" y="449"/>
                  <a:pt x="214" y="448"/>
                  <a:pt x="214" y="448"/>
                </a:cubicBezTo>
                <a:cubicBezTo>
                  <a:pt x="214" y="446"/>
                  <a:pt x="216" y="448"/>
                  <a:pt x="214" y="449"/>
                </a:cubicBezTo>
                <a:close/>
                <a:moveTo>
                  <a:pt x="214" y="524"/>
                </a:moveTo>
                <a:cubicBezTo>
                  <a:pt x="213" y="523"/>
                  <a:pt x="214" y="523"/>
                  <a:pt x="215" y="522"/>
                </a:cubicBezTo>
                <a:cubicBezTo>
                  <a:pt x="215" y="523"/>
                  <a:pt x="214" y="523"/>
                  <a:pt x="214" y="524"/>
                </a:cubicBezTo>
                <a:close/>
                <a:moveTo>
                  <a:pt x="212" y="508"/>
                </a:moveTo>
                <a:cubicBezTo>
                  <a:pt x="210" y="509"/>
                  <a:pt x="214" y="507"/>
                  <a:pt x="212" y="508"/>
                </a:cubicBezTo>
                <a:close/>
                <a:moveTo>
                  <a:pt x="202" y="518"/>
                </a:moveTo>
                <a:cubicBezTo>
                  <a:pt x="210" y="516"/>
                  <a:pt x="209" y="525"/>
                  <a:pt x="203" y="526"/>
                </a:cubicBezTo>
                <a:cubicBezTo>
                  <a:pt x="198" y="527"/>
                  <a:pt x="197" y="520"/>
                  <a:pt x="202" y="518"/>
                </a:cubicBezTo>
                <a:close/>
                <a:moveTo>
                  <a:pt x="201" y="548"/>
                </a:moveTo>
                <a:cubicBezTo>
                  <a:pt x="201" y="548"/>
                  <a:pt x="201" y="548"/>
                  <a:pt x="201" y="548"/>
                </a:cubicBezTo>
                <a:cubicBezTo>
                  <a:pt x="201" y="546"/>
                  <a:pt x="203" y="550"/>
                  <a:pt x="201" y="548"/>
                </a:cubicBezTo>
                <a:close/>
                <a:moveTo>
                  <a:pt x="199" y="549"/>
                </a:moveTo>
                <a:cubicBezTo>
                  <a:pt x="199" y="551"/>
                  <a:pt x="197" y="549"/>
                  <a:pt x="199" y="549"/>
                </a:cubicBezTo>
                <a:close/>
                <a:moveTo>
                  <a:pt x="200" y="494"/>
                </a:moveTo>
                <a:cubicBezTo>
                  <a:pt x="199" y="495"/>
                  <a:pt x="198" y="496"/>
                  <a:pt x="196" y="496"/>
                </a:cubicBezTo>
                <a:cubicBezTo>
                  <a:pt x="197" y="495"/>
                  <a:pt x="199" y="495"/>
                  <a:pt x="200" y="494"/>
                </a:cubicBezTo>
                <a:close/>
                <a:moveTo>
                  <a:pt x="202" y="420"/>
                </a:moveTo>
                <a:cubicBezTo>
                  <a:pt x="201" y="421"/>
                  <a:pt x="201" y="421"/>
                  <a:pt x="200" y="421"/>
                </a:cubicBezTo>
                <a:cubicBezTo>
                  <a:pt x="199" y="420"/>
                  <a:pt x="203" y="418"/>
                  <a:pt x="202" y="420"/>
                </a:cubicBezTo>
                <a:close/>
                <a:moveTo>
                  <a:pt x="203" y="493"/>
                </a:moveTo>
                <a:cubicBezTo>
                  <a:pt x="204" y="493"/>
                  <a:pt x="204" y="493"/>
                  <a:pt x="204" y="493"/>
                </a:cubicBezTo>
                <a:cubicBezTo>
                  <a:pt x="204" y="493"/>
                  <a:pt x="200" y="494"/>
                  <a:pt x="203" y="493"/>
                </a:cubicBezTo>
                <a:close/>
                <a:moveTo>
                  <a:pt x="206" y="456"/>
                </a:moveTo>
                <a:cubicBezTo>
                  <a:pt x="206" y="456"/>
                  <a:pt x="205" y="456"/>
                  <a:pt x="205" y="456"/>
                </a:cubicBezTo>
                <a:cubicBezTo>
                  <a:pt x="204" y="456"/>
                  <a:pt x="206" y="455"/>
                  <a:pt x="206" y="456"/>
                </a:cubicBezTo>
                <a:close/>
                <a:moveTo>
                  <a:pt x="206" y="475"/>
                </a:moveTo>
                <a:cubicBezTo>
                  <a:pt x="206" y="473"/>
                  <a:pt x="210" y="475"/>
                  <a:pt x="210" y="477"/>
                </a:cubicBezTo>
                <a:cubicBezTo>
                  <a:pt x="209" y="479"/>
                  <a:pt x="204" y="479"/>
                  <a:pt x="206" y="475"/>
                </a:cubicBezTo>
                <a:close/>
                <a:moveTo>
                  <a:pt x="208" y="439"/>
                </a:moveTo>
                <a:cubicBezTo>
                  <a:pt x="208" y="440"/>
                  <a:pt x="207" y="440"/>
                  <a:pt x="207" y="440"/>
                </a:cubicBezTo>
                <a:cubicBezTo>
                  <a:pt x="207" y="439"/>
                  <a:pt x="208" y="439"/>
                  <a:pt x="208" y="439"/>
                </a:cubicBezTo>
                <a:close/>
                <a:moveTo>
                  <a:pt x="208" y="405"/>
                </a:moveTo>
                <a:cubicBezTo>
                  <a:pt x="207" y="406"/>
                  <a:pt x="208" y="404"/>
                  <a:pt x="208" y="405"/>
                </a:cubicBezTo>
                <a:close/>
                <a:moveTo>
                  <a:pt x="209" y="467"/>
                </a:moveTo>
                <a:cubicBezTo>
                  <a:pt x="209" y="467"/>
                  <a:pt x="209" y="468"/>
                  <a:pt x="209" y="468"/>
                </a:cubicBezTo>
                <a:cubicBezTo>
                  <a:pt x="208" y="467"/>
                  <a:pt x="210" y="466"/>
                  <a:pt x="209" y="467"/>
                </a:cubicBezTo>
                <a:close/>
                <a:moveTo>
                  <a:pt x="210" y="509"/>
                </a:moveTo>
                <a:cubicBezTo>
                  <a:pt x="208" y="511"/>
                  <a:pt x="211" y="508"/>
                  <a:pt x="210" y="509"/>
                </a:cubicBezTo>
                <a:close/>
                <a:moveTo>
                  <a:pt x="210" y="444"/>
                </a:moveTo>
                <a:cubicBezTo>
                  <a:pt x="207" y="445"/>
                  <a:pt x="209" y="441"/>
                  <a:pt x="210" y="443"/>
                </a:cubicBezTo>
                <a:cubicBezTo>
                  <a:pt x="211" y="443"/>
                  <a:pt x="210" y="443"/>
                  <a:pt x="210" y="444"/>
                </a:cubicBezTo>
                <a:close/>
                <a:moveTo>
                  <a:pt x="210" y="185"/>
                </a:moveTo>
                <a:cubicBezTo>
                  <a:pt x="210" y="185"/>
                  <a:pt x="210" y="185"/>
                  <a:pt x="210" y="185"/>
                </a:cubicBezTo>
                <a:cubicBezTo>
                  <a:pt x="209" y="185"/>
                  <a:pt x="211" y="184"/>
                  <a:pt x="210" y="185"/>
                </a:cubicBezTo>
                <a:close/>
                <a:moveTo>
                  <a:pt x="210" y="203"/>
                </a:moveTo>
                <a:cubicBezTo>
                  <a:pt x="211" y="203"/>
                  <a:pt x="209" y="205"/>
                  <a:pt x="209" y="205"/>
                </a:cubicBezTo>
                <a:cubicBezTo>
                  <a:pt x="209" y="204"/>
                  <a:pt x="209" y="204"/>
                  <a:pt x="210" y="203"/>
                </a:cubicBezTo>
                <a:close/>
                <a:moveTo>
                  <a:pt x="210" y="371"/>
                </a:moveTo>
                <a:cubicBezTo>
                  <a:pt x="209" y="372"/>
                  <a:pt x="209" y="372"/>
                  <a:pt x="208" y="372"/>
                </a:cubicBezTo>
                <a:cubicBezTo>
                  <a:pt x="208" y="372"/>
                  <a:pt x="208" y="371"/>
                  <a:pt x="210" y="371"/>
                </a:cubicBezTo>
                <a:close/>
                <a:moveTo>
                  <a:pt x="208" y="181"/>
                </a:moveTo>
                <a:cubicBezTo>
                  <a:pt x="209" y="181"/>
                  <a:pt x="207" y="184"/>
                  <a:pt x="207" y="184"/>
                </a:cubicBezTo>
                <a:cubicBezTo>
                  <a:pt x="204" y="186"/>
                  <a:pt x="206" y="180"/>
                  <a:pt x="208" y="181"/>
                </a:cubicBezTo>
                <a:close/>
                <a:moveTo>
                  <a:pt x="207" y="374"/>
                </a:moveTo>
                <a:cubicBezTo>
                  <a:pt x="206" y="373"/>
                  <a:pt x="208" y="373"/>
                  <a:pt x="207" y="374"/>
                </a:cubicBezTo>
                <a:close/>
                <a:moveTo>
                  <a:pt x="207" y="387"/>
                </a:moveTo>
                <a:cubicBezTo>
                  <a:pt x="206" y="387"/>
                  <a:pt x="206" y="388"/>
                  <a:pt x="206" y="387"/>
                </a:cubicBezTo>
                <a:cubicBezTo>
                  <a:pt x="205" y="386"/>
                  <a:pt x="209" y="385"/>
                  <a:pt x="207" y="387"/>
                </a:cubicBezTo>
                <a:close/>
                <a:moveTo>
                  <a:pt x="204" y="211"/>
                </a:moveTo>
                <a:cubicBezTo>
                  <a:pt x="204" y="213"/>
                  <a:pt x="202" y="214"/>
                  <a:pt x="201" y="216"/>
                </a:cubicBezTo>
                <a:cubicBezTo>
                  <a:pt x="201" y="214"/>
                  <a:pt x="203" y="213"/>
                  <a:pt x="204" y="211"/>
                </a:cubicBezTo>
                <a:close/>
                <a:moveTo>
                  <a:pt x="202" y="326"/>
                </a:moveTo>
                <a:cubicBezTo>
                  <a:pt x="202" y="327"/>
                  <a:pt x="202" y="328"/>
                  <a:pt x="201" y="328"/>
                </a:cubicBezTo>
                <a:cubicBezTo>
                  <a:pt x="201" y="327"/>
                  <a:pt x="202" y="327"/>
                  <a:pt x="202" y="326"/>
                </a:cubicBezTo>
                <a:close/>
                <a:moveTo>
                  <a:pt x="205" y="387"/>
                </a:moveTo>
                <a:cubicBezTo>
                  <a:pt x="205" y="388"/>
                  <a:pt x="203" y="389"/>
                  <a:pt x="201" y="390"/>
                </a:cubicBezTo>
                <a:cubicBezTo>
                  <a:pt x="202" y="388"/>
                  <a:pt x="204" y="388"/>
                  <a:pt x="205" y="387"/>
                </a:cubicBezTo>
                <a:close/>
                <a:moveTo>
                  <a:pt x="196" y="218"/>
                </a:moveTo>
                <a:cubicBezTo>
                  <a:pt x="198" y="219"/>
                  <a:pt x="196" y="220"/>
                  <a:pt x="196" y="218"/>
                </a:cubicBezTo>
                <a:close/>
                <a:moveTo>
                  <a:pt x="196" y="249"/>
                </a:moveTo>
                <a:cubicBezTo>
                  <a:pt x="195" y="251"/>
                  <a:pt x="197" y="248"/>
                  <a:pt x="196" y="249"/>
                </a:cubicBezTo>
                <a:close/>
                <a:moveTo>
                  <a:pt x="198" y="349"/>
                </a:moveTo>
                <a:cubicBezTo>
                  <a:pt x="198" y="350"/>
                  <a:pt x="196" y="351"/>
                  <a:pt x="196" y="352"/>
                </a:cubicBezTo>
                <a:cubicBezTo>
                  <a:pt x="195" y="351"/>
                  <a:pt x="197" y="350"/>
                  <a:pt x="198" y="349"/>
                </a:cubicBezTo>
                <a:close/>
                <a:moveTo>
                  <a:pt x="196" y="296"/>
                </a:moveTo>
                <a:cubicBezTo>
                  <a:pt x="196" y="296"/>
                  <a:pt x="195" y="298"/>
                  <a:pt x="195" y="298"/>
                </a:cubicBezTo>
                <a:cubicBezTo>
                  <a:pt x="193" y="300"/>
                  <a:pt x="194" y="295"/>
                  <a:pt x="196" y="296"/>
                </a:cubicBezTo>
                <a:close/>
                <a:moveTo>
                  <a:pt x="194" y="353"/>
                </a:moveTo>
                <a:cubicBezTo>
                  <a:pt x="195" y="354"/>
                  <a:pt x="193" y="354"/>
                  <a:pt x="194" y="353"/>
                </a:cubicBezTo>
                <a:close/>
                <a:moveTo>
                  <a:pt x="192" y="213"/>
                </a:moveTo>
                <a:cubicBezTo>
                  <a:pt x="192" y="212"/>
                  <a:pt x="194" y="211"/>
                  <a:pt x="192" y="213"/>
                </a:cubicBezTo>
                <a:close/>
                <a:moveTo>
                  <a:pt x="193" y="252"/>
                </a:moveTo>
                <a:cubicBezTo>
                  <a:pt x="194" y="253"/>
                  <a:pt x="193" y="254"/>
                  <a:pt x="192" y="254"/>
                </a:cubicBezTo>
                <a:cubicBezTo>
                  <a:pt x="192" y="253"/>
                  <a:pt x="193" y="253"/>
                  <a:pt x="193" y="252"/>
                </a:cubicBezTo>
                <a:close/>
                <a:moveTo>
                  <a:pt x="193" y="354"/>
                </a:moveTo>
                <a:cubicBezTo>
                  <a:pt x="193" y="355"/>
                  <a:pt x="193" y="356"/>
                  <a:pt x="192" y="356"/>
                </a:cubicBezTo>
                <a:cubicBezTo>
                  <a:pt x="192" y="355"/>
                  <a:pt x="193" y="355"/>
                  <a:pt x="193" y="354"/>
                </a:cubicBezTo>
                <a:close/>
                <a:moveTo>
                  <a:pt x="192" y="305"/>
                </a:moveTo>
                <a:cubicBezTo>
                  <a:pt x="190" y="307"/>
                  <a:pt x="193" y="304"/>
                  <a:pt x="192" y="305"/>
                </a:cubicBezTo>
                <a:close/>
                <a:moveTo>
                  <a:pt x="188" y="397"/>
                </a:moveTo>
                <a:cubicBezTo>
                  <a:pt x="187" y="398"/>
                  <a:pt x="185" y="400"/>
                  <a:pt x="183" y="401"/>
                </a:cubicBezTo>
                <a:cubicBezTo>
                  <a:pt x="184" y="399"/>
                  <a:pt x="186" y="398"/>
                  <a:pt x="188" y="397"/>
                </a:cubicBezTo>
                <a:close/>
                <a:moveTo>
                  <a:pt x="184" y="384"/>
                </a:moveTo>
                <a:cubicBezTo>
                  <a:pt x="185" y="384"/>
                  <a:pt x="185" y="383"/>
                  <a:pt x="186" y="383"/>
                </a:cubicBezTo>
                <a:cubicBezTo>
                  <a:pt x="185" y="384"/>
                  <a:pt x="185" y="384"/>
                  <a:pt x="184" y="384"/>
                </a:cubicBezTo>
                <a:close/>
                <a:moveTo>
                  <a:pt x="184" y="243"/>
                </a:moveTo>
                <a:cubicBezTo>
                  <a:pt x="185" y="242"/>
                  <a:pt x="183" y="244"/>
                  <a:pt x="184" y="243"/>
                </a:cubicBezTo>
                <a:close/>
                <a:moveTo>
                  <a:pt x="182" y="186"/>
                </a:moveTo>
                <a:cubicBezTo>
                  <a:pt x="182" y="185"/>
                  <a:pt x="181" y="187"/>
                  <a:pt x="182" y="186"/>
                </a:cubicBezTo>
                <a:close/>
                <a:moveTo>
                  <a:pt x="184" y="243"/>
                </a:moveTo>
                <a:cubicBezTo>
                  <a:pt x="185" y="244"/>
                  <a:pt x="183" y="249"/>
                  <a:pt x="182" y="249"/>
                </a:cubicBezTo>
                <a:cubicBezTo>
                  <a:pt x="180" y="249"/>
                  <a:pt x="182" y="243"/>
                  <a:pt x="184" y="243"/>
                </a:cubicBezTo>
                <a:close/>
                <a:moveTo>
                  <a:pt x="177" y="208"/>
                </a:moveTo>
                <a:cubicBezTo>
                  <a:pt x="178" y="209"/>
                  <a:pt x="177" y="209"/>
                  <a:pt x="177" y="210"/>
                </a:cubicBezTo>
                <a:cubicBezTo>
                  <a:pt x="176" y="210"/>
                  <a:pt x="177" y="209"/>
                  <a:pt x="177" y="208"/>
                </a:cubicBezTo>
                <a:close/>
                <a:moveTo>
                  <a:pt x="182" y="322"/>
                </a:moveTo>
                <a:cubicBezTo>
                  <a:pt x="179" y="324"/>
                  <a:pt x="177" y="329"/>
                  <a:pt x="175" y="329"/>
                </a:cubicBezTo>
                <a:cubicBezTo>
                  <a:pt x="175" y="329"/>
                  <a:pt x="179" y="322"/>
                  <a:pt x="182" y="322"/>
                </a:cubicBezTo>
                <a:close/>
                <a:moveTo>
                  <a:pt x="180" y="403"/>
                </a:moveTo>
                <a:cubicBezTo>
                  <a:pt x="179" y="404"/>
                  <a:pt x="178" y="406"/>
                  <a:pt x="176" y="406"/>
                </a:cubicBezTo>
                <a:cubicBezTo>
                  <a:pt x="177" y="405"/>
                  <a:pt x="179" y="404"/>
                  <a:pt x="180" y="403"/>
                </a:cubicBezTo>
                <a:close/>
                <a:moveTo>
                  <a:pt x="178" y="383"/>
                </a:move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2"/>
                  <a:pt x="178" y="382"/>
                </a:cubicBezTo>
                <a:cubicBezTo>
                  <a:pt x="178" y="382"/>
                  <a:pt x="178" y="382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lose/>
                <a:moveTo>
                  <a:pt x="181" y="393"/>
                </a:moveTo>
                <a:cubicBezTo>
                  <a:pt x="181" y="393"/>
                  <a:pt x="180" y="395"/>
                  <a:pt x="180" y="395"/>
                </a:cubicBezTo>
                <a:cubicBezTo>
                  <a:pt x="178" y="397"/>
                  <a:pt x="179" y="392"/>
                  <a:pt x="181" y="393"/>
                </a:cubicBezTo>
                <a:close/>
                <a:moveTo>
                  <a:pt x="179" y="358"/>
                </a:moveTo>
                <a:cubicBezTo>
                  <a:pt x="179" y="358"/>
                  <a:pt x="180" y="359"/>
                  <a:pt x="180" y="359"/>
                </a:cubicBezTo>
                <a:cubicBezTo>
                  <a:pt x="180" y="360"/>
                  <a:pt x="178" y="359"/>
                  <a:pt x="179" y="358"/>
                </a:cubicBezTo>
                <a:close/>
                <a:moveTo>
                  <a:pt x="182" y="418"/>
                </a:moveTo>
                <a:cubicBezTo>
                  <a:pt x="183" y="416"/>
                  <a:pt x="187" y="412"/>
                  <a:pt x="190" y="410"/>
                </a:cubicBezTo>
                <a:cubicBezTo>
                  <a:pt x="190" y="410"/>
                  <a:pt x="190" y="408"/>
                  <a:pt x="191" y="409"/>
                </a:cubicBezTo>
                <a:cubicBezTo>
                  <a:pt x="192" y="410"/>
                  <a:pt x="189" y="414"/>
                  <a:pt x="189" y="414"/>
                </a:cubicBezTo>
                <a:cubicBezTo>
                  <a:pt x="188" y="415"/>
                  <a:pt x="186" y="415"/>
                  <a:pt x="184" y="417"/>
                </a:cubicBezTo>
                <a:cubicBezTo>
                  <a:pt x="180" y="419"/>
                  <a:pt x="178" y="424"/>
                  <a:pt x="174" y="426"/>
                </a:cubicBezTo>
                <a:cubicBezTo>
                  <a:pt x="174" y="422"/>
                  <a:pt x="180" y="421"/>
                  <a:pt x="182" y="418"/>
                </a:cubicBezTo>
                <a:close/>
                <a:moveTo>
                  <a:pt x="193" y="479"/>
                </a:moveTo>
                <a:cubicBezTo>
                  <a:pt x="192" y="481"/>
                  <a:pt x="192" y="479"/>
                  <a:pt x="193" y="479"/>
                </a:cubicBezTo>
                <a:close/>
                <a:moveTo>
                  <a:pt x="193" y="432"/>
                </a:moveTo>
                <a:cubicBezTo>
                  <a:pt x="194" y="432"/>
                  <a:pt x="193" y="433"/>
                  <a:pt x="193" y="432"/>
                </a:cubicBezTo>
                <a:cubicBezTo>
                  <a:pt x="192" y="432"/>
                  <a:pt x="193" y="432"/>
                  <a:pt x="193" y="432"/>
                </a:cubicBezTo>
                <a:close/>
                <a:moveTo>
                  <a:pt x="191" y="460"/>
                </a:moveTo>
                <a:cubicBezTo>
                  <a:pt x="192" y="458"/>
                  <a:pt x="193" y="460"/>
                  <a:pt x="191" y="460"/>
                </a:cubicBezTo>
                <a:close/>
                <a:moveTo>
                  <a:pt x="193" y="489"/>
                </a:moveTo>
                <a:cubicBezTo>
                  <a:pt x="193" y="490"/>
                  <a:pt x="192" y="491"/>
                  <a:pt x="191" y="491"/>
                </a:cubicBezTo>
                <a:cubicBezTo>
                  <a:pt x="189" y="492"/>
                  <a:pt x="191" y="487"/>
                  <a:pt x="193" y="489"/>
                </a:cubicBezTo>
                <a:close/>
                <a:moveTo>
                  <a:pt x="190" y="440"/>
                </a:moveTo>
                <a:cubicBezTo>
                  <a:pt x="189" y="439"/>
                  <a:pt x="191" y="438"/>
                  <a:pt x="191" y="439"/>
                </a:cubicBezTo>
                <a:cubicBezTo>
                  <a:pt x="191" y="439"/>
                  <a:pt x="190" y="440"/>
                  <a:pt x="190" y="440"/>
                </a:cubicBezTo>
                <a:close/>
                <a:moveTo>
                  <a:pt x="189" y="511"/>
                </a:moveTo>
                <a:cubicBezTo>
                  <a:pt x="189" y="511"/>
                  <a:pt x="189" y="512"/>
                  <a:pt x="188" y="511"/>
                </a:cubicBezTo>
                <a:cubicBezTo>
                  <a:pt x="188" y="511"/>
                  <a:pt x="189" y="510"/>
                  <a:pt x="189" y="511"/>
                </a:cubicBezTo>
                <a:close/>
                <a:moveTo>
                  <a:pt x="186" y="470"/>
                </a:moveTo>
                <a:cubicBezTo>
                  <a:pt x="185" y="469"/>
                  <a:pt x="188" y="469"/>
                  <a:pt x="188" y="470"/>
                </a:cubicBezTo>
                <a:cubicBezTo>
                  <a:pt x="189" y="471"/>
                  <a:pt x="186" y="472"/>
                  <a:pt x="186" y="470"/>
                </a:cubicBezTo>
                <a:close/>
                <a:moveTo>
                  <a:pt x="184" y="470"/>
                </a:moveTo>
                <a:cubicBezTo>
                  <a:pt x="185" y="471"/>
                  <a:pt x="184" y="472"/>
                  <a:pt x="183" y="472"/>
                </a:cubicBezTo>
                <a:cubicBezTo>
                  <a:pt x="180" y="474"/>
                  <a:pt x="182" y="469"/>
                  <a:pt x="184" y="470"/>
                </a:cubicBezTo>
                <a:close/>
                <a:moveTo>
                  <a:pt x="183" y="435"/>
                </a:moveTo>
                <a:cubicBezTo>
                  <a:pt x="183" y="434"/>
                  <a:pt x="182" y="436"/>
                  <a:pt x="183" y="435"/>
                </a:cubicBezTo>
                <a:close/>
                <a:moveTo>
                  <a:pt x="180" y="443"/>
                </a:moveTo>
                <a:cubicBezTo>
                  <a:pt x="180" y="443"/>
                  <a:pt x="179" y="443"/>
                  <a:pt x="179" y="443"/>
                </a:cubicBezTo>
                <a:cubicBezTo>
                  <a:pt x="178" y="445"/>
                  <a:pt x="180" y="440"/>
                  <a:pt x="180" y="443"/>
                </a:cubicBezTo>
                <a:close/>
                <a:moveTo>
                  <a:pt x="174" y="445"/>
                </a:moveTo>
                <a:cubicBezTo>
                  <a:pt x="173" y="446"/>
                  <a:pt x="174" y="444"/>
                  <a:pt x="174" y="445"/>
                </a:cubicBezTo>
                <a:close/>
                <a:moveTo>
                  <a:pt x="173" y="182"/>
                </a:moveTo>
                <a:cubicBezTo>
                  <a:pt x="172" y="182"/>
                  <a:pt x="174" y="180"/>
                  <a:pt x="173" y="182"/>
                </a:cubicBezTo>
                <a:close/>
                <a:moveTo>
                  <a:pt x="173" y="438"/>
                </a:moveTo>
                <a:cubicBezTo>
                  <a:pt x="174" y="437"/>
                  <a:pt x="172" y="440"/>
                  <a:pt x="173" y="438"/>
                </a:cubicBezTo>
                <a:close/>
                <a:moveTo>
                  <a:pt x="173" y="477"/>
                </a:moveTo>
                <a:cubicBezTo>
                  <a:pt x="172" y="478"/>
                  <a:pt x="172" y="478"/>
                  <a:pt x="170" y="478"/>
                </a:cubicBezTo>
                <a:cubicBezTo>
                  <a:pt x="171" y="478"/>
                  <a:pt x="171" y="477"/>
                  <a:pt x="173" y="477"/>
                </a:cubicBezTo>
                <a:close/>
                <a:moveTo>
                  <a:pt x="173" y="314"/>
                </a:move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lose/>
                <a:moveTo>
                  <a:pt x="171" y="307"/>
                </a:moveTo>
                <a:cubicBezTo>
                  <a:pt x="171" y="308"/>
                  <a:pt x="171" y="309"/>
                  <a:pt x="169" y="310"/>
                </a:cubicBezTo>
                <a:cubicBezTo>
                  <a:pt x="168" y="310"/>
                  <a:pt x="167" y="310"/>
                  <a:pt x="166" y="309"/>
                </a:cubicBezTo>
                <a:cubicBezTo>
                  <a:pt x="164" y="305"/>
                  <a:pt x="171" y="303"/>
                  <a:pt x="171" y="307"/>
                </a:cubicBezTo>
                <a:close/>
                <a:moveTo>
                  <a:pt x="168" y="501"/>
                </a:moveTo>
                <a:cubicBezTo>
                  <a:pt x="168" y="501"/>
                  <a:pt x="168" y="501"/>
                  <a:pt x="169" y="501"/>
                </a:cubicBezTo>
                <a:cubicBezTo>
                  <a:pt x="169" y="501"/>
                  <a:pt x="168" y="502"/>
                  <a:pt x="168" y="501"/>
                </a:cubicBezTo>
                <a:close/>
                <a:moveTo>
                  <a:pt x="166" y="342"/>
                </a:moveTo>
                <a:cubicBezTo>
                  <a:pt x="166" y="342"/>
                  <a:pt x="166" y="342"/>
                  <a:pt x="166" y="342"/>
                </a:cubicBezTo>
                <a:cubicBezTo>
                  <a:pt x="166" y="342"/>
                  <a:pt x="166" y="343"/>
                  <a:pt x="165" y="343"/>
                </a:cubicBezTo>
                <a:cubicBezTo>
                  <a:pt x="165" y="343"/>
                  <a:pt x="165" y="343"/>
                  <a:pt x="165" y="343"/>
                </a:cubicBezTo>
                <a:cubicBezTo>
                  <a:pt x="165" y="343"/>
                  <a:pt x="166" y="342"/>
                  <a:pt x="166" y="342"/>
                </a:cubicBezTo>
                <a:close/>
                <a:moveTo>
                  <a:pt x="165" y="307"/>
                </a:moveTo>
                <a:cubicBezTo>
                  <a:pt x="163" y="308"/>
                  <a:pt x="167" y="306"/>
                  <a:pt x="165" y="307"/>
                </a:cubicBezTo>
                <a:close/>
                <a:moveTo>
                  <a:pt x="164" y="344"/>
                </a:moveTo>
                <a:cubicBezTo>
                  <a:pt x="163" y="344"/>
                  <a:pt x="166" y="342"/>
                  <a:pt x="164" y="344"/>
                </a:cubicBezTo>
                <a:close/>
                <a:moveTo>
                  <a:pt x="165" y="345"/>
                </a:moveTo>
                <a:cubicBezTo>
                  <a:pt x="164" y="346"/>
                  <a:pt x="164" y="347"/>
                  <a:pt x="162" y="347"/>
                </a:cubicBezTo>
                <a:cubicBezTo>
                  <a:pt x="163" y="347"/>
                  <a:pt x="163" y="346"/>
                  <a:pt x="165" y="345"/>
                </a:cubicBezTo>
                <a:close/>
                <a:moveTo>
                  <a:pt x="161" y="347"/>
                </a:moveTo>
                <a:cubicBezTo>
                  <a:pt x="160" y="348"/>
                  <a:pt x="162" y="346"/>
                  <a:pt x="161" y="347"/>
                </a:cubicBezTo>
                <a:close/>
                <a:moveTo>
                  <a:pt x="160" y="350"/>
                </a:moveTo>
                <a:cubicBezTo>
                  <a:pt x="161" y="348"/>
                  <a:pt x="162" y="349"/>
                  <a:pt x="160" y="350"/>
                </a:cubicBezTo>
                <a:close/>
                <a:moveTo>
                  <a:pt x="168" y="370"/>
                </a:moveTo>
                <a:cubicBezTo>
                  <a:pt x="165" y="373"/>
                  <a:pt x="163" y="376"/>
                  <a:pt x="158" y="378"/>
                </a:cubicBezTo>
                <a:cubicBezTo>
                  <a:pt x="161" y="375"/>
                  <a:pt x="164" y="372"/>
                  <a:pt x="168" y="370"/>
                </a:cubicBezTo>
                <a:close/>
                <a:moveTo>
                  <a:pt x="167" y="392"/>
                </a:moveTo>
                <a:cubicBezTo>
                  <a:pt x="166" y="393"/>
                  <a:pt x="168" y="390"/>
                  <a:pt x="167" y="391"/>
                </a:cubicBezTo>
                <a:cubicBezTo>
                  <a:pt x="167" y="391"/>
                  <a:pt x="167" y="392"/>
                  <a:pt x="167" y="392"/>
                </a:cubicBezTo>
                <a:close/>
                <a:moveTo>
                  <a:pt x="168" y="424"/>
                </a:moveTo>
                <a:cubicBezTo>
                  <a:pt x="168" y="424"/>
                  <a:pt x="167" y="424"/>
                  <a:pt x="167" y="424"/>
                </a:cubicBezTo>
                <a:cubicBezTo>
                  <a:pt x="166" y="423"/>
                  <a:pt x="168" y="423"/>
                  <a:pt x="168" y="424"/>
                </a:cubicBezTo>
                <a:close/>
                <a:moveTo>
                  <a:pt x="161" y="457"/>
                </a:moveTo>
                <a:cubicBezTo>
                  <a:pt x="161" y="458"/>
                  <a:pt x="158" y="461"/>
                  <a:pt x="157" y="460"/>
                </a:cubicBezTo>
                <a:cubicBezTo>
                  <a:pt x="156" y="458"/>
                  <a:pt x="159" y="456"/>
                  <a:pt x="161" y="457"/>
                </a:cubicBezTo>
                <a:close/>
                <a:moveTo>
                  <a:pt x="157" y="477"/>
                </a:move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lose/>
                <a:moveTo>
                  <a:pt x="161" y="502"/>
                </a:moveTo>
                <a:cubicBezTo>
                  <a:pt x="161" y="503"/>
                  <a:pt x="159" y="504"/>
                  <a:pt x="159" y="503"/>
                </a:cubicBezTo>
                <a:cubicBezTo>
                  <a:pt x="159" y="502"/>
                  <a:pt x="160" y="501"/>
                  <a:pt x="161" y="502"/>
                </a:cubicBezTo>
                <a:close/>
                <a:moveTo>
                  <a:pt x="159" y="482"/>
                </a:moveTo>
                <a:cubicBezTo>
                  <a:pt x="158" y="483"/>
                  <a:pt x="160" y="481"/>
                  <a:pt x="159" y="482"/>
                </a:cubicBezTo>
                <a:close/>
                <a:moveTo>
                  <a:pt x="162" y="484"/>
                </a:moveTo>
                <a:cubicBezTo>
                  <a:pt x="163" y="484"/>
                  <a:pt x="162" y="485"/>
                  <a:pt x="161" y="485"/>
                </a:cubicBezTo>
                <a:cubicBezTo>
                  <a:pt x="160" y="486"/>
                  <a:pt x="161" y="483"/>
                  <a:pt x="162" y="484"/>
                </a:cubicBezTo>
                <a:close/>
                <a:moveTo>
                  <a:pt x="161" y="428"/>
                </a:moveTo>
                <a:cubicBezTo>
                  <a:pt x="162" y="429"/>
                  <a:pt x="160" y="432"/>
                  <a:pt x="160" y="432"/>
                </a:cubicBezTo>
                <a:cubicBezTo>
                  <a:pt x="155" y="435"/>
                  <a:pt x="158" y="426"/>
                  <a:pt x="161" y="428"/>
                </a:cubicBezTo>
                <a:close/>
                <a:moveTo>
                  <a:pt x="164" y="506"/>
                </a:moveTo>
                <a:cubicBezTo>
                  <a:pt x="165" y="507"/>
                  <a:pt x="160" y="510"/>
                  <a:pt x="159" y="510"/>
                </a:cubicBezTo>
                <a:cubicBezTo>
                  <a:pt x="154" y="511"/>
                  <a:pt x="163" y="505"/>
                  <a:pt x="164" y="506"/>
                </a:cubicBezTo>
                <a:close/>
                <a:moveTo>
                  <a:pt x="163" y="443"/>
                </a:moveTo>
                <a:cubicBezTo>
                  <a:pt x="163" y="443"/>
                  <a:pt x="163" y="444"/>
                  <a:pt x="162" y="444"/>
                </a:cubicBezTo>
                <a:cubicBezTo>
                  <a:pt x="162" y="443"/>
                  <a:pt x="163" y="443"/>
                  <a:pt x="163" y="443"/>
                </a:cubicBezTo>
                <a:close/>
                <a:moveTo>
                  <a:pt x="159" y="351"/>
                </a:moveTo>
                <a:cubicBezTo>
                  <a:pt x="159" y="351"/>
                  <a:pt x="159" y="350"/>
                  <a:pt x="160" y="350"/>
                </a:cubicBezTo>
                <a:cubicBezTo>
                  <a:pt x="160" y="350"/>
                  <a:pt x="160" y="351"/>
                  <a:pt x="159" y="351"/>
                </a:cubicBezTo>
                <a:close/>
                <a:moveTo>
                  <a:pt x="160" y="259"/>
                </a:moveTo>
                <a:cubicBezTo>
                  <a:pt x="160" y="259"/>
                  <a:pt x="160" y="260"/>
                  <a:pt x="160" y="260"/>
                </a:cubicBezTo>
                <a:cubicBezTo>
                  <a:pt x="159" y="261"/>
                  <a:pt x="158" y="258"/>
                  <a:pt x="160" y="259"/>
                </a:cubicBezTo>
                <a:close/>
                <a:moveTo>
                  <a:pt x="160" y="349"/>
                </a:moveTo>
                <a:cubicBezTo>
                  <a:pt x="159" y="350"/>
                  <a:pt x="159" y="350"/>
                  <a:pt x="158" y="351"/>
                </a:cubicBezTo>
                <a:cubicBezTo>
                  <a:pt x="158" y="350"/>
                  <a:pt x="159" y="349"/>
                  <a:pt x="160" y="349"/>
                </a:cubicBezTo>
                <a:close/>
                <a:moveTo>
                  <a:pt x="159" y="352"/>
                </a:moveTo>
                <a:cubicBezTo>
                  <a:pt x="158" y="352"/>
                  <a:pt x="158" y="353"/>
                  <a:pt x="157" y="353"/>
                </a:cubicBezTo>
                <a:cubicBezTo>
                  <a:pt x="157" y="352"/>
                  <a:pt x="158" y="352"/>
                  <a:pt x="159" y="352"/>
                </a:cubicBezTo>
                <a:close/>
                <a:moveTo>
                  <a:pt x="156" y="354"/>
                </a:moveTo>
                <a:cubicBezTo>
                  <a:pt x="155" y="355"/>
                  <a:pt x="158" y="353"/>
                  <a:pt x="156" y="354"/>
                </a:cubicBezTo>
                <a:close/>
                <a:moveTo>
                  <a:pt x="157" y="415"/>
                </a:moveTo>
                <a:cubicBezTo>
                  <a:pt x="158" y="416"/>
                  <a:pt x="157" y="417"/>
                  <a:pt x="156" y="417"/>
                </a:cubicBezTo>
                <a:cubicBezTo>
                  <a:pt x="156" y="416"/>
                  <a:pt x="157" y="416"/>
                  <a:pt x="157" y="415"/>
                </a:cubicBezTo>
                <a:close/>
                <a:moveTo>
                  <a:pt x="133" y="461"/>
                </a:moveTo>
                <a:cubicBezTo>
                  <a:pt x="137" y="457"/>
                  <a:pt x="142" y="453"/>
                  <a:pt x="148" y="450"/>
                </a:cubicBezTo>
                <a:cubicBezTo>
                  <a:pt x="143" y="454"/>
                  <a:pt x="138" y="457"/>
                  <a:pt x="133" y="461"/>
                </a:cubicBezTo>
                <a:close/>
                <a:moveTo>
                  <a:pt x="138" y="463"/>
                </a:moveTo>
                <a:cubicBezTo>
                  <a:pt x="138" y="464"/>
                  <a:pt x="137" y="464"/>
                  <a:pt x="137" y="463"/>
                </a:cubicBezTo>
                <a:cubicBezTo>
                  <a:pt x="136" y="462"/>
                  <a:pt x="138" y="463"/>
                  <a:pt x="138" y="463"/>
                </a:cubicBezTo>
                <a:close/>
                <a:moveTo>
                  <a:pt x="147" y="446"/>
                </a:moveTo>
                <a:cubicBezTo>
                  <a:pt x="146" y="446"/>
                  <a:pt x="145" y="447"/>
                  <a:pt x="145" y="447"/>
                </a:cubicBezTo>
                <a:cubicBezTo>
                  <a:pt x="144" y="446"/>
                  <a:pt x="152" y="439"/>
                  <a:pt x="153" y="440"/>
                </a:cubicBezTo>
                <a:cubicBezTo>
                  <a:pt x="154" y="440"/>
                  <a:pt x="147" y="446"/>
                  <a:pt x="147" y="446"/>
                </a:cubicBezTo>
                <a:close/>
                <a:moveTo>
                  <a:pt x="148" y="401"/>
                </a:moveTo>
                <a:cubicBezTo>
                  <a:pt x="151" y="399"/>
                  <a:pt x="146" y="402"/>
                  <a:pt x="148" y="401"/>
                </a:cubicBezTo>
                <a:close/>
                <a:moveTo>
                  <a:pt x="150" y="439"/>
                </a:moveTo>
                <a:cubicBezTo>
                  <a:pt x="150" y="440"/>
                  <a:pt x="149" y="440"/>
                  <a:pt x="148" y="440"/>
                </a:cubicBezTo>
                <a:cubicBezTo>
                  <a:pt x="148" y="439"/>
                  <a:pt x="149" y="439"/>
                  <a:pt x="150" y="439"/>
                </a:cubicBezTo>
                <a:close/>
                <a:moveTo>
                  <a:pt x="151" y="379"/>
                </a:moveTo>
                <a:cubicBezTo>
                  <a:pt x="150" y="380"/>
                  <a:pt x="151" y="378"/>
                  <a:pt x="151" y="379"/>
                </a:cubicBezTo>
                <a:close/>
                <a:moveTo>
                  <a:pt x="153" y="447"/>
                </a:moveTo>
                <a:cubicBezTo>
                  <a:pt x="153" y="449"/>
                  <a:pt x="150" y="449"/>
                  <a:pt x="149" y="450"/>
                </a:cubicBezTo>
                <a:cubicBezTo>
                  <a:pt x="149" y="449"/>
                  <a:pt x="152" y="448"/>
                  <a:pt x="153" y="447"/>
                </a:cubicBezTo>
                <a:close/>
                <a:moveTo>
                  <a:pt x="156" y="472"/>
                </a:moveTo>
                <a:cubicBezTo>
                  <a:pt x="155" y="473"/>
                  <a:pt x="152" y="475"/>
                  <a:pt x="151" y="475"/>
                </a:cubicBezTo>
                <a:cubicBezTo>
                  <a:pt x="151" y="475"/>
                  <a:pt x="154" y="471"/>
                  <a:pt x="156" y="472"/>
                </a:cubicBezTo>
                <a:close/>
                <a:moveTo>
                  <a:pt x="156" y="435"/>
                </a:moveTo>
                <a:cubicBezTo>
                  <a:pt x="156" y="435"/>
                  <a:pt x="156" y="435"/>
                  <a:pt x="157" y="435"/>
                </a:cubicBezTo>
                <a:cubicBezTo>
                  <a:pt x="156" y="435"/>
                  <a:pt x="156" y="435"/>
                  <a:pt x="156" y="435"/>
                </a:cubicBezTo>
                <a:cubicBezTo>
                  <a:pt x="156" y="435"/>
                  <a:pt x="156" y="435"/>
                  <a:pt x="156" y="435"/>
                </a:cubicBezTo>
                <a:close/>
                <a:moveTo>
                  <a:pt x="155" y="447"/>
                </a:moveTo>
                <a:cubicBezTo>
                  <a:pt x="155" y="447"/>
                  <a:pt x="154" y="448"/>
                  <a:pt x="154" y="447"/>
                </a:cubicBezTo>
                <a:cubicBezTo>
                  <a:pt x="153" y="446"/>
                  <a:pt x="156" y="445"/>
                  <a:pt x="155" y="447"/>
                </a:cubicBezTo>
                <a:close/>
                <a:moveTo>
                  <a:pt x="155" y="434"/>
                </a:moveTo>
                <a:cubicBezTo>
                  <a:pt x="155" y="434"/>
                  <a:pt x="154" y="435"/>
                  <a:pt x="154" y="435"/>
                </a:cubicBezTo>
                <a:cubicBezTo>
                  <a:pt x="152" y="437"/>
                  <a:pt x="153" y="432"/>
                  <a:pt x="155" y="434"/>
                </a:cubicBezTo>
                <a:close/>
                <a:moveTo>
                  <a:pt x="152" y="391"/>
                </a:moveTo>
                <a:cubicBezTo>
                  <a:pt x="153" y="391"/>
                  <a:pt x="152" y="392"/>
                  <a:pt x="152" y="392"/>
                </a:cubicBezTo>
                <a:cubicBezTo>
                  <a:pt x="151" y="393"/>
                  <a:pt x="151" y="390"/>
                  <a:pt x="152" y="391"/>
                </a:cubicBezTo>
                <a:close/>
                <a:moveTo>
                  <a:pt x="151" y="438"/>
                </a:moveTo>
                <a:cubicBezTo>
                  <a:pt x="152" y="436"/>
                  <a:pt x="154" y="438"/>
                  <a:pt x="151" y="438"/>
                </a:cubicBezTo>
                <a:close/>
                <a:moveTo>
                  <a:pt x="151" y="253"/>
                </a:moveTo>
                <a:cubicBezTo>
                  <a:pt x="151" y="253"/>
                  <a:pt x="151" y="254"/>
                  <a:pt x="150" y="254"/>
                </a:cubicBezTo>
                <a:cubicBezTo>
                  <a:pt x="150" y="253"/>
                  <a:pt x="151" y="252"/>
                  <a:pt x="151" y="253"/>
                </a:cubicBezTo>
                <a:close/>
                <a:moveTo>
                  <a:pt x="150" y="436"/>
                </a:moveTo>
                <a:cubicBezTo>
                  <a:pt x="151" y="436"/>
                  <a:pt x="150" y="437"/>
                  <a:pt x="150" y="437"/>
                </a:cubicBezTo>
                <a:cubicBezTo>
                  <a:pt x="149" y="439"/>
                  <a:pt x="149" y="435"/>
                  <a:pt x="150" y="436"/>
                </a:cubicBezTo>
                <a:close/>
                <a:moveTo>
                  <a:pt x="149" y="322"/>
                </a:moveTo>
                <a:cubicBezTo>
                  <a:pt x="149" y="323"/>
                  <a:pt x="148" y="322"/>
                  <a:pt x="149" y="322"/>
                </a:cubicBezTo>
                <a:close/>
                <a:moveTo>
                  <a:pt x="149" y="365"/>
                </a:moveTo>
                <a:cubicBezTo>
                  <a:pt x="149" y="366"/>
                  <a:pt x="147" y="366"/>
                  <a:pt x="148" y="365"/>
                </a:cubicBezTo>
                <a:cubicBezTo>
                  <a:pt x="148" y="365"/>
                  <a:pt x="149" y="365"/>
                  <a:pt x="149" y="365"/>
                </a:cubicBezTo>
                <a:close/>
                <a:moveTo>
                  <a:pt x="147" y="197"/>
                </a:moveTo>
                <a:cubicBezTo>
                  <a:pt x="146" y="198"/>
                  <a:pt x="146" y="198"/>
                  <a:pt x="145" y="197"/>
                </a:cubicBezTo>
                <a:cubicBezTo>
                  <a:pt x="142" y="194"/>
                  <a:pt x="150" y="194"/>
                  <a:pt x="147" y="197"/>
                </a:cubicBezTo>
                <a:close/>
                <a:moveTo>
                  <a:pt x="145" y="359"/>
                </a:moveTo>
                <a:cubicBezTo>
                  <a:pt x="147" y="359"/>
                  <a:pt x="145" y="362"/>
                  <a:pt x="145" y="362"/>
                </a:cubicBezTo>
                <a:cubicBezTo>
                  <a:pt x="143" y="363"/>
                  <a:pt x="143" y="358"/>
                  <a:pt x="145" y="359"/>
                </a:cubicBezTo>
                <a:close/>
                <a:moveTo>
                  <a:pt x="145" y="402"/>
                </a:moveTo>
                <a:cubicBezTo>
                  <a:pt x="145" y="404"/>
                  <a:pt x="144" y="404"/>
                  <a:pt x="143" y="405"/>
                </a:cubicBezTo>
                <a:cubicBezTo>
                  <a:pt x="143" y="404"/>
                  <a:pt x="144" y="403"/>
                  <a:pt x="145" y="402"/>
                </a:cubicBezTo>
                <a:close/>
                <a:moveTo>
                  <a:pt x="132" y="456"/>
                </a:moveTo>
                <a:cubicBezTo>
                  <a:pt x="134" y="453"/>
                  <a:pt x="139" y="450"/>
                  <a:pt x="143" y="448"/>
                </a:cubicBezTo>
                <a:cubicBezTo>
                  <a:pt x="139" y="451"/>
                  <a:pt x="137" y="455"/>
                  <a:pt x="132" y="456"/>
                </a:cubicBezTo>
                <a:close/>
                <a:moveTo>
                  <a:pt x="131" y="395"/>
                </a:moveTo>
                <a:cubicBezTo>
                  <a:pt x="132" y="394"/>
                  <a:pt x="132" y="393"/>
                  <a:pt x="134" y="393"/>
                </a:cubicBezTo>
                <a:cubicBezTo>
                  <a:pt x="134" y="393"/>
                  <a:pt x="132" y="395"/>
                  <a:pt x="131" y="395"/>
                </a:cubicBezTo>
                <a:close/>
                <a:moveTo>
                  <a:pt x="134" y="448"/>
                </a:moveTo>
                <a:cubicBezTo>
                  <a:pt x="134" y="448"/>
                  <a:pt x="133" y="449"/>
                  <a:pt x="133" y="448"/>
                </a:cubicBezTo>
                <a:cubicBezTo>
                  <a:pt x="132" y="447"/>
                  <a:pt x="135" y="447"/>
                  <a:pt x="134" y="448"/>
                </a:cubicBezTo>
                <a:close/>
                <a:moveTo>
                  <a:pt x="132" y="422"/>
                </a:moveTo>
                <a:cubicBezTo>
                  <a:pt x="131" y="421"/>
                  <a:pt x="131" y="420"/>
                  <a:pt x="132" y="420"/>
                </a:cubicBezTo>
                <a:cubicBezTo>
                  <a:pt x="133" y="420"/>
                  <a:pt x="134" y="421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5" y="424"/>
                  <a:pt x="130" y="426"/>
                  <a:pt x="130" y="423"/>
                </a:cubicBezTo>
                <a:cubicBezTo>
                  <a:pt x="130" y="422"/>
                  <a:pt x="131" y="422"/>
                  <a:pt x="132" y="422"/>
                </a:cubicBezTo>
                <a:close/>
                <a:moveTo>
                  <a:pt x="138" y="416"/>
                </a:moveTo>
                <a:cubicBezTo>
                  <a:pt x="137" y="417"/>
                  <a:pt x="139" y="415"/>
                  <a:pt x="138" y="416"/>
                </a:cubicBezTo>
                <a:close/>
                <a:moveTo>
                  <a:pt x="139" y="433"/>
                </a:moveTo>
                <a:cubicBezTo>
                  <a:pt x="139" y="432"/>
                  <a:pt x="139" y="432"/>
                  <a:pt x="139" y="432"/>
                </a:cubicBezTo>
                <a:cubicBezTo>
                  <a:pt x="139" y="430"/>
                  <a:pt x="141" y="433"/>
                  <a:pt x="139" y="433"/>
                </a:cubicBezTo>
                <a:close/>
                <a:moveTo>
                  <a:pt x="140" y="443"/>
                </a:moveTo>
                <a:cubicBezTo>
                  <a:pt x="140" y="443"/>
                  <a:pt x="141" y="443"/>
                  <a:pt x="141" y="444"/>
                </a:cubicBezTo>
                <a:cubicBezTo>
                  <a:pt x="141" y="444"/>
                  <a:pt x="140" y="444"/>
                  <a:pt x="140" y="443"/>
                </a:cubicBezTo>
                <a:close/>
                <a:moveTo>
                  <a:pt x="142" y="387"/>
                </a:moveTo>
                <a:cubicBezTo>
                  <a:pt x="141" y="387"/>
                  <a:pt x="144" y="386"/>
                  <a:pt x="142" y="387"/>
                </a:cubicBezTo>
                <a:close/>
                <a:moveTo>
                  <a:pt x="142" y="436"/>
                </a:moveTo>
                <a:cubicBezTo>
                  <a:pt x="143" y="436"/>
                  <a:pt x="142" y="439"/>
                  <a:pt x="141" y="437"/>
                </a:cubicBezTo>
                <a:cubicBezTo>
                  <a:pt x="141" y="436"/>
                  <a:pt x="142" y="436"/>
                  <a:pt x="142" y="436"/>
                </a:cubicBezTo>
                <a:close/>
                <a:moveTo>
                  <a:pt x="142" y="387"/>
                </a:moveTo>
                <a:cubicBezTo>
                  <a:pt x="141" y="389"/>
                  <a:pt x="139" y="391"/>
                  <a:pt x="137" y="392"/>
                </a:cubicBezTo>
                <a:cubicBezTo>
                  <a:pt x="137" y="392"/>
                  <a:pt x="139" y="388"/>
                  <a:pt x="142" y="387"/>
                </a:cubicBezTo>
                <a:close/>
                <a:moveTo>
                  <a:pt x="136" y="246"/>
                </a:moveTo>
                <a:cubicBezTo>
                  <a:pt x="135" y="246"/>
                  <a:pt x="137" y="245"/>
                  <a:pt x="136" y="246"/>
                </a:cubicBezTo>
                <a:close/>
                <a:moveTo>
                  <a:pt x="134" y="301"/>
                </a:moveTo>
                <a:cubicBezTo>
                  <a:pt x="134" y="298"/>
                  <a:pt x="136" y="300"/>
                  <a:pt x="134" y="301"/>
                </a:cubicBezTo>
                <a:close/>
                <a:moveTo>
                  <a:pt x="135" y="342"/>
                </a:moveTo>
                <a:cubicBezTo>
                  <a:pt x="135" y="343"/>
                  <a:pt x="134" y="344"/>
                  <a:pt x="134" y="345"/>
                </a:cubicBezTo>
                <a:cubicBezTo>
                  <a:pt x="133" y="344"/>
                  <a:pt x="134" y="342"/>
                  <a:pt x="135" y="342"/>
                </a:cubicBezTo>
                <a:close/>
                <a:moveTo>
                  <a:pt x="129" y="351"/>
                </a:moveTo>
                <a:cubicBezTo>
                  <a:pt x="129" y="350"/>
                  <a:pt x="132" y="348"/>
                  <a:pt x="132" y="346"/>
                </a:cubicBezTo>
                <a:cubicBezTo>
                  <a:pt x="133" y="347"/>
                  <a:pt x="130" y="349"/>
                  <a:pt x="129" y="351"/>
                </a:cubicBezTo>
                <a:close/>
                <a:moveTo>
                  <a:pt x="132" y="280"/>
                </a:moveTo>
                <a:cubicBezTo>
                  <a:pt x="132" y="282"/>
                  <a:pt x="130" y="281"/>
                  <a:pt x="132" y="280"/>
                </a:cubicBezTo>
                <a:close/>
                <a:moveTo>
                  <a:pt x="129" y="305"/>
                </a:moveTo>
                <a:cubicBezTo>
                  <a:pt x="131" y="306"/>
                  <a:pt x="130" y="307"/>
                  <a:pt x="129" y="307"/>
                </a:cubicBezTo>
                <a:cubicBezTo>
                  <a:pt x="127" y="309"/>
                  <a:pt x="128" y="305"/>
                  <a:pt x="129" y="305"/>
                </a:cubicBezTo>
                <a:close/>
                <a:moveTo>
                  <a:pt x="118" y="327"/>
                </a:moveTo>
                <a:cubicBezTo>
                  <a:pt x="118" y="327"/>
                  <a:pt x="117" y="327"/>
                  <a:pt x="117" y="326"/>
                </a:cubicBezTo>
                <a:cubicBezTo>
                  <a:pt x="117" y="326"/>
                  <a:pt x="119" y="326"/>
                  <a:pt x="118" y="327"/>
                </a:cubicBezTo>
                <a:close/>
                <a:moveTo>
                  <a:pt x="118" y="336"/>
                </a:moveTo>
                <a:cubicBezTo>
                  <a:pt x="118" y="336"/>
                  <a:pt x="118" y="337"/>
                  <a:pt x="117" y="336"/>
                </a:cubicBezTo>
                <a:cubicBezTo>
                  <a:pt x="117" y="336"/>
                  <a:pt x="119" y="334"/>
                  <a:pt x="118" y="336"/>
                </a:cubicBezTo>
                <a:close/>
                <a:moveTo>
                  <a:pt x="115" y="336"/>
                </a:moveTo>
                <a:cubicBezTo>
                  <a:pt x="116" y="335"/>
                  <a:pt x="114" y="337"/>
                  <a:pt x="115" y="336"/>
                </a:cubicBezTo>
                <a:close/>
                <a:moveTo>
                  <a:pt x="115" y="386"/>
                </a:moveTo>
                <a:cubicBezTo>
                  <a:pt x="116" y="387"/>
                  <a:pt x="115" y="387"/>
                  <a:pt x="114" y="387"/>
                </a:cubicBezTo>
                <a:cubicBezTo>
                  <a:pt x="114" y="388"/>
                  <a:pt x="115" y="386"/>
                  <a:pt x="115" y="386"/>
                </a:cubicBezTo>
                <a:close/>
                <a:moveTo>
                  <a:pt x="114" y="388"/>
                </a:moveTo>
                <a:cubicBezTo>
                  <a:pt x="114" y="389"/>
                  <a:pt x="113" y="389"/>
                  <a:pt x="113" y="390"/>
                </a:cubicBezTo>
                <a:cubicBezTo>
                  <a:pt x="112" y="390"/>
                  <a:pt x="113" y="388"/>
                  <a:pt x="114" y="388"/>
                </a:cubicBezTo>
                <a:close/>
                <a:moveTo>
                  <a:pt x="111" y="394"/>
                </a:moveTo>
                <a:cubicBezTo>
                  <a:pt x="110" y="393"/>
                  <a:pt x="112" y="392"/>
                  <a:pt x="112" y="391"/>
                </a:cubicBezTo>
                <a:cubicBezTo>
                  <a:pt x="113" y="392"/>
                  <a:pt x="111" y="393"/>
                  <a:pt x="111" y="394"/>
                </a:cubicBezTo>
                <a:close/>
                <a:moveTo>
                  <a:pt x="112" y="243"/>
                </a:moveTo>
                <a:cubicBezTo>
                  <a:pt x="111" y="245"/>
                  <a:pt x="111" y="241"/>
                  <a:pt x="112" y="242"/>
                </a:cubicBezTo>
                <a:cubicBezTo>
                  <a:pt x="113" y="242"/>
                  <a:pt x="112" y="243"/>
                  <a:pt x="112" y="243"/>
                </a:cubicBezTo>
                <a:close/>
                <a:moveTo>
                  <a:pt x="115" y="433"/>
                </a:moveTo>
                <a:cubicBezTo>
                  <a:pt x="111" y="434"/>
                  <a:pt x="116" y="429"/>
                  <a:pt x="116" y="432"/>
                </a:cubicBezTo>
                <a:cubicBezTo>
                  <a:pt x="116" y="432"/>
                  <a:pt x="115" y="433"/>
                  <a:pt x="115" y="433"/>
                </a:cubicBezTo>
                <a:close/>
                <a:moveTo>
                  <a:pt x="116" y="435"/>
                </a:moveTo>
                <a:cubicBezTo>
                  <a:pt x="115" y="436"/>
                  <a:pt x="117" y="434"/>
                  <a:pt x="116" y="435"/>
                </a:cubicBezTo>
                <a:close/>
                <a:moveTo>
                  <a:pt x="113" y="417"/>
                </a:moveTo>
                <a:cubicBezTo>
                  <a:pt x="115" y="413"/>
                  <a:pt x="118" y="409"/>
                  <a:pt x="121" y="406"/>
                </a:cubicBezTo>
                <a:cubicBezTo>
                  <a:pt x="119" y="410"/>
                  <a:pt x="117" y="414"/>
                  <a:pt x="113" y="417"/>
                </a:cubicBezTo>
                <a:close/>
                <a:moveTo>
                  <a:pt x="121" y="276"/>
                </a:moveTo>
                <a:cubicBezTo>
                  <a:pt x="121" y="276"/>
                  <a:pt x="121" y="277"/>
                  <a:pt x="121" y="277"/>
                </a:cubicBezTo>
                <a:cubicBezTo>
                  <a:pt x="120" y="276"/>
                  <a:pt x="122" y="275"/>
                  <a:pt x="121" y="276"/>
                </a:cubicBezTo>
                <a:close/>
                <a:moveTo>
                  <a:pt x="122" y="193"/>
                </a:moveTo>
                <a:cubicBezTo>
                  <a:pt x="123" y="193"/>
                  <a:pt x="123" y="195"/>
                  <a:pt x="122" y="195"/>
                </a:cubicBezTo>
                <a:cubicBezTo>
                  <a:pt x="121" y="197"/>
                  <a:pt x="121" y="192"/>
                  <a:pt x="122" y="193"/>
                </a:cubicBezTo>
                <a:close/>
                <a:moveTo>
                  <a:pt x="122" y="472"/>
                </a:moveTo>
                <a:cubicBezTo>
                  <a:pt x="122" y="473"/>
                  <a:pt x="121" y="474"/>
                  <a:pt x="120" y="475"/>
                </a:cubicBezTo>
                <a:cubicBezTo>
                  <a:pt x="120" y="474"/>
                  <a:pt x="121" y="472"/>
                  <a:pt x="122" y="472"/>
                </a:cubicBezTo>
                <a:close/>
                <a:moveTo>
                  <a:pt x="120" y="461"/>
                </a:moveTo>
                <a:cubicBezTo>
                  <a:pt x="121" y="463"/>
                  <a:pt x="118" y="467"/>
                  <a:pt x="116" y="466"/>
                </a:cubicBezTo>
                <a:cubicBezTo>
                  <a:pt x="115" y="464"/>
                  <a:pt x="119" y="462"/>
                  <a:pt x="120" y="461"/>
                </a:cubicBezTo>
                <a:close/>
                <a:moveTo>
                  <a:pt x="111" y="479"/>
                </a:moveTo>
                <a:cubicBezTo>
                  <a:pt x="110" y="481"/>
                  <a:pt x="109" y="480"/>
                  <a:pt x="111" y="479"/>
                </a:cubicBezTo>
                <a:close/>
                <a:moveTo>
                  <a:pt x="110" y="496"/>
                </a:moveTo>
                <a:cubicBezTo>
                  <a:pt x="111" y="495"/>
                  <a:pt x="109" y="497"/>
                  <a:pt x="110" y="496"/>
                </a:cubicBezTo>
                <a:close/>
                <a:moveTo>
                  <a:pt x="107" y="477"/>
                </a:moveTo>
                <a:cubicBezTo>
                  <a:pt x="107" y="476"/>
                  <a:pt x="106" y="478"/>
                  <a:pt x="107" y="477"/>
                </a:cubicBezTo>
                <a:close/>
                <a:moveTo>
                  <a:pt x="109" y="509"/>
                </a:moveTo>
                <a:cubicBezTo>
                  <a:pt x="108" y="510"/>
                  <a:pt x="107" y="509"/>
                  <a:pt x="106" y="508"/>
                </a:cubicBezTo>
                <a:cubicBezTo>
                  <a:pt x="104" y="505"/>
                  <a:pt x="110" y="501"/>
                  <a:pt x="111" y="503"/>
                </a:cubicBezTo>
                <a:cubicBezTo>
                  <a:pt x="114" y="504"/>
                  <a:pt x="111" y="509"/>
                  <a:pt x="109" y="509"/>
                </a:cubicBezTo>
                <a:close/>
                <a:moveTo>
                  <a:pt x="115" y="501"/>
                </a:moveTo>
                <a:cubicBezTo>
                  <a:pt x="115" y="499"/>
                  <a:pt x="117" y="501"/>
                  <a:pt x="115" y="501"/>
                </a:cubicBezTo>
                <a:close/>
                <a:moveTo>
                  <a:pt x="115" y="498"/>
                </a:moveTo>
                <a:cubicBezTo>
                  <a:pt x="115" y="498"/>
                  <a:pt x="115" y="498"/>
                  <a:pt x="115" y="498"/>
                </a:cubicBezTo>
                <a:cubicBezTo>
                  <a:pt x="115" y="499"/>
                  <a:pt x="115" y="499"/>
                  <a:pt x="115" y="499"/>
                </a:cubicBezTo>
                <a:cubicBezTo>
                  <a:pt x="114" y="500"/>
                  <a:pt x="114" y="500"/>
                  <a:pt x="114" y="501"/>
                </a:cubicBezTo>
                <a:cubicBezTo>
                  <a:pt x="114" y="501"/>
                  <a:pt x="114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1"/>
                  <a:pt x="113" y="501"/>
                </a:cubicBezTo>
                <a:cubicBezTo>
                  <a:pt x="114" y="499"/>
                  <a:pt x="115" y="496"/>
                  <a:pt x="116" y="494"/>
                </a:cubicBezTo>
                <a:cubicBezTo>
                  <a:pt x="116" y="495"/>
                  <a:pt x="116" y="497"/>
                  <a:pt x="115" y="498"/>
                </a:cubicBezTo>
                <a:close/>
                <a:moveTo>
                  <a:pt x="115" y="482"/>
                </a:moveTo>
                <a:cubicBezTo>
                  <a:pt x="116" y="481"/>
                  <a:pt x="118" y="481"/>
                  <a:pt x="120" y="480"/>
                </a:cubicBezTo>
                <a:cubicBezTo>
                  <a:pt x="119" y="482"/>
                  <a:pt x="117" y="482"/>
                  <a:pt x="115" y="482"/>
                </a:cubicBezTo>
                <a:close/>
                <a:moveTo>
                  <a:pt x="121" y="500"/>
                </a:moveTo>
                <a:cubicBezTo>
                  <a:pt x="122" y="501"/>
                  <a:pt x="121" y="503"/>
                  <a:pt x="119" y="503"/>
                </a:cubicBezTo>
                <a:cubicBezTo>
                  <a:pt x="117" y="502"/>
                  <a:pt x="119" y="499"/>
                  <a:pt x="121" y="500"/>
                </a:cubicBezTo>
                <a:cubicBezTo>
                  <a:pt x="119" y="498"/>
                  <a:pt x="121" y="493"/>
                  <a:pt x="124" y="494"/>
                </a:cubicBezTo>
                <a:cubicBezTo>
                  <a:pt x="128" y="495"/>
                  <a:pt x="124" y="503"/>
                  <a:pt x="121" y="500"/>
                </a:cubicBezTo>
                <a:close/>
                <a:moveTo>
                  <a:pt x="123" y="425"/>
                </a:moveTo>
                <a:cubicBezTo>
                  <a:pt x="123" y="425"/>
                  <a:pt x="123" y="424"/>
                  <a:pt x="124" y="424"/>
                </a:cubicBezTo>
                <a:cubicBezTo>
                  <a:pt x="124" y="424"/>
                  <a:pt x="123" y="425"/>
                  <a:pt x="123" y="425"/>
                </a:cubicBezTo>
                <a:close/>
                <a:moveTo>
                  <a:pt x="123" y="474"/>
                </a:moveTo>
                <a:cubicBezTo>
                  <a:pt x="123" y="472"/>
                  <a:pt x="125" y="474"/>
                  <a:pt x="123" y="474"/>
                </a:cubicBezTo>
                <a:close/>
                <a:moveTo>
                  <a:pt x="123" y="471"/>
                </a:moveTo>
                <a:cubicBezTo>
                  <a:pt x="125" y="469"/>
                  <a:pt x="122" y="472"/>
                  <a:pt x="123" y="471"/>
                </a:cubicBezTo>
                <a:close/>
                <a:moveTo>
                  <a:pt x="126" y="472"/>
                </a:moveTo>
                <a:cubicBezTo>
                  <a:pt x="126" y="472"/>
                  <a:pt x="126" y="472"/>
                  <a:pt x="126" y="472"/>
                </a:cubicBezTo>
                <a:cubicBezTo>
                  <a:pt x="125" y="472"/>
                  <a:pt x="125" y="473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lose/>
                <a:moveTo>
                  <a:pt x="127" y="431"/>
                </a:moveTo>
                <a:cubicBezTo>
                  <a:pt x="127" y="431"/>
                  <a:pt x="128" y="431"/>
                  <a:pt x="127" y="432"/>
                </a:cubicBezTo>
                <a:cubicBezTo>
                  <a:pt x="127" y="433"/>
                  <a:pt x="126" y="431"/>
                  <a:pt x="127" y="431"/>
                </a:cubicBezTo>
                <a:close/>
                <a:moveTo>
                  <a:pt x="127" y="501"/>
                </a:moveTo>
                <a:cubicBezTo>
                  <a:pt x="127" y="500"/>
                  <a:pt x="127" y="500"/>
                  <a:pt x="127" y="500"/>
                </a:cubicBezTo>
                <a:cubicBezTo>
                  <a:pt x="127" y="498"/>
                  <a:pt x="129" y="501"/>
                  <a:pt x="127" y="501"/>
                </a:cubicBezTo>
                <a:close/>
                <a:moveTo>
                  <a:pt x="128" y="501"/>
                </a:moveTo>
                <a:cubicBezTo>
                  <a:pt x="127" y="502"/>
                  <a:pt x="128" y="499"/>
                  <a:pt x="129" y="500"/>
                </a:cubicBezTo>
                <a:cubicBezTo>
                  <a:pt x="130" y="501"/>
                  <a:pt x="129" y="501"/>
                  <a:pt x="128" y="501"/>
                </a:cubicBezTo>
                <a:close/>
                <a:moveTo>
                  <a:pt x="128" y="456"/>
                </a:moveTo>
                <a:cubicBezTo>
                  <a:pt x="129" y="455"/>
                  <a:pt x="127" y="457"/>
                  <a:pt x="128" y="456"/>
                </a:cubicBezTo>
                <a:close/>
                <a:moveTo>
                  <a:pt x="125" y="401"/>
                </a:moveTo>
                <a:cubicBezTo>
                  <a:pt x="125" y="401"/>
                  <a:pt x="122" y="406"/>
                  <a:pt x="123" y="403"/>
                </a:cubicBezTo>
                <a:cubicBezTo>
                  <a:pt x="123" y="401"/>
                  <a:pt x="128" y="398"/>
                  <a:pt x="130" y="396"/>
                </a:cubicBezTo>
                <a:cubicBezTo>
                  <a:pt x="129" y="398"/>
                  <a:pt x="127" y="399"/>
                  <a:pt x="125" y="401"/>
                </a:cubicBezTo>
                <a:close/>
                <a:moveTo>
                  <a:pt x="131" y="424"/>
                </a:moveTo>
                <a:cubicBezTo>
                  <a:pt x="131" y="424"/>
                  <a:pt x="131" y="425"/>
                  <a:pt x="130" y="426"/>
                </a:cubicBezTo>
                <a:cubicBezTo>
                  <a:pt x="130" y="426"/>
                  <a:pt x="130" y="424"/>
                  <a:pt x="131" y="424"/>
                </a:cubicBezTo>
                <a:close/>
                <a:moveTo>
                  <a:pt x="131" y="503"/>
                </a:moveTo>
                <a:cubicBezTo>
                  <a:pt x="129" y="502"/>
                  <a:pt x="134" y="500"/>
                  <a:pt x="132" y="503"/>
                </a:cubicBezTo>
                <a:cubicBezTo>
                  <a:pt x="132" y="503"/>
                  <a:pt x="131" y="504"/>
                  <a:pt x="131" y="503"/>
                </a:cubicBezTo>
                <a:close/>
                <a:moveTo>
                  <a:pt x="132" y="505"/>
                </a:moveTo>
                <a:cubicBezTo>
                  <a:pt x="132" y="506"/>
                  <a:pt x="133" y="504"/>
                  <a:pt x="132" y="505"/>
                </a:cubicBezTo>
                <a:close/>
                <a:moveTo>
                  <a:pt x="132" y="478"/>
                </a:moveTo>
                <a:cubicBezTo>
                  <a:pt x="130" y="480"/>
                  <a:pt x="130" y="474"/>
                  <a:pt x="132" y="475"/>
                </a:cubicBezTo>
                <a:cubicBezTo>
                  <a:pt x="134" y="476"/>
                  <a:pt x="133" y="478"/>
                  <a:pt x="132" y="478"/>
                </a:cubicBezTo>
                <a:close/>
                <a:moveTo>
                  <a:pt x="138" y="496"/>
                </a:moveTo>
                <a:cubicBezTo>
                  <a:pt x="136" y="498"/>
                  <a:pt x="135" y="493"/>
                  <a:pt x="137" y="494"/>
                </a:cubicBezTo>
                <a:cubicBezTo>
                  <a:pt x="138" y="494"/>
                  <a:pt x="138" y="496"/>
                  <a:pt x="138" y="496"/>
                </a:cubicBezTo>
                <a:close/>
                <a:moveTo>
                  <a:pt x="140" y="501"/>
                </a:moveTo>
                <a:cubicBezTo>
                  <a:pt x="141" y="500"/>
                  <a:pt x="141" y="502"/>
                  <a:pt x="140" y="501"/>
                </a:cubicBezTo>
                <a:close/>
                <a:moveTo>
                  <a:pt x="139" y="469"/>
                </a:moveTo>
                <a:cubicBezTo>
                  <a:pt x="138" y="471"/>
                  <a:pt x="136" y="474"/>
                  <a:pt x="135" y="475"/>
                </a:cubicBezTo>
                <a:cubicBezTo>
                  <a:pt x="130" y="476"/>
                  <a:pt x="139" y="468"/>
                  <a:pt x="141" y="467"/>
                </a:cubicBezTo>
                <a:cubicBezTo>
                  <a:pt x="138" y="469"/>
                  <a:pt x="141" y="465"/>
                  <a:pt x="142" y="466"/>
                </a:cubicBezTo>
                <a:cubicBezTo>
                  <a:pt x="143" y="467"/>
                  <a:pt x="140" y="469"/>
                  <a:pt x="139" y="469"/>
                </a:cubicBezTo>
                <a:close/>
                <a:moveTo>
                  <a:pt x="143" y="510"/>
                </a:moveTo>
                <a:cubicBezTo>
                  <a:pt x="142" y="510"/>
                  <a:pt x="142" y="511"/>
                  <a:pt x="142" y="511"/>
                </a:cubicBezTo>
                <a:cubicBezTo>
                  <a:pt x="143" y="510"/>
                  <a:pt x="143" y="509"/>
                  <a:pt x="143" y="510"/>
                </a:cubicBezTo>
                <a:close/>
                <a:moveTo>
                  <a:pt x="143" y="484"/>
                </a:moveTo>
                <a:cubicBezTo>
                  <a:pt x="143" y="484"/>
                  <a:pt x="144" y="483"/>
                  <a:pt x="144" y="483"/>
                </a:cubicBezTo>
                <a:cubicBezTo>
                  <a:pt x="144" y="483"/>
                  <a:pt x="144" y="484"/>
                  <a:pt x="143" y="484"/>
                </a:cubicBezTo>
                <a:close/>
                <a:moveTo>
                  <a:pt x="144" y="494"/>
                </a:moveTo>
                <a:cubicBezTo>
                  <a:pt x="144" y="493"/>
                  <a:pt x="147" y="493"/>
                  <a:pt x="147" y="494"/>
                </a:cubicBezTo>
                <a:cubicBezTo>
                  <a:pt x="147" y="495"/>
                  <a:pt x="144" y="497"/>
                  <a:pt x="144" y="494"/>
                </a:cubicBezTo>
                <a:close/>
                <a:moveTo>
                  <a:pt x="145" y="517"/>
                </a:moveTo>
                <a:cubicBezTo>
                  <a:pt x="144" y="515"/>
                  <a:pt x="148" y="516"/>
                  <a:pt x="148" y="517"/>
                </a:cubicBezTo>
                <a:cubicBezTo>
                  <a:pt x="147" y="518"/>
                  <a:pt x="145" y="519"/>
                  <a:pt x="145" y="517"/>
                </a:cubicBezTo>
                <a:close/>
                <a:moveTo>
                  <a:pt x="142" y="481"/>
                </a:moveTo>
                <a:cubicBezTo>
                  <a:pt x="144" y="479"/>
                  <a:pt x="146" y="477"/>
                  <a:pt x="149" y="476"/>
                </a:cubicBezTo>
                <a:cubicBezTo>
                  <a:pt x="147" y="478"/>
                  <a:pt x="145" y="480"/>
                  <a:pt x="142" y="481"/>
                </a:cubicBezTo>
                <a:close/>
                <a:moveTo>
                  <a:pt x="149" y="515"/>
                </a:moveTo>
                <a:cubicBezTo>
                  <a:pt x="149" y="515"/>
                  <a:pt x="147" y="515"/>
                  <a:pt x="148" y="514"/>
                </a:cubicBezTo>
                <a:cubicBezTo>
                  <a:pt x="148" y="514"/>
                  <a:pt x="150" y="515"/>
                  <a:pt x="149" y="515"/>
                </a:cubicBezTo>
                <a:close/>
                <a:moveTo>
                  <a:pt x="150" y="472"/>
                </a:moveTo>
                <a:cubicBezTo>
                  <a:pt x="149" y="472"/>
                  <a:pt x="150" y="470"/>
                  <a:pt x="150" y="470"/>
                </a:cubicBezTo>
                <a:cubicBezTo>
                  <a:pt x="151" y="471"/>
                  <a:pt x="149" y="472"/>
                  <a:pt x="150" y="472"/>
                </a:cubicBezTo>
                <a:close/>
                <a:moveTo>
                  <a:pt x="150" y="468"/>
                </a:moveTo>
                <a:cubicBezTo>
                  <a:pt x="150" y="468"/>
                  <a:pt x="150" y="468"/>
                  <a:pt x="151" y="468"/>
                </a:cubicBezTo>
                <a:cubicBezTo>
                  <a:pt x="151" y="468"/>
                  <a:pt x="151" y="467"/>
                  <a:pt x="151" y="467"/>
                </a:cubicBezTo>
                <a:cubicBezTo>
                  <a:pt x="151" y="467"/>
                  <a:pt x="151" y="467"/>
                  <a:pt x="151" y="467"/>
                </a:cubicBezTo>
                <a:cubicBezTo>
                  <a:pt x="151" y="468"/>
                  <a:pt x="151" y="468"/>
                  <a:pt x="151" y="468"/>
                </a:cubicBezTo>
                <a:cubicBezTo>
                  <a:pt x="150" y="468"/>
                  <a:pt x="150" y="468"/>
                  <a:pt x="150" y="468"/>
                </a:cubicBezTo>
                <a:close/>
                <a:moveTo>
                  <a:pt x="152" y="551"/>
                </a:moveTo>
                <a:cubicBezTo>
                  <a:pt x="151" y="551"/>
                  <a:pt x="151" y="551"/>
                  <a:pt x="151" y="551"/>
                </a:cubicBezTo>
                <a:cubicBezTo>
                  <a:pt x="150" y="550"/>
                  <a:pt x="153" y="549"/>
                  <a:pt x="152" y="551"/>
                </a:cubicBezTo>
                <a:close/>
                <a:moveTo>
                  <a:pt x="152" y="540"/>
                </a:moveTo>
                <a:cubicBezTo>
                  <a:pt x="150" y="541"/>
                  <a:pt x="150" y="536"/>
                  <a:pt x="153" y="537"/>
                </a:cubicBezTo>
                <a:cubicBezTo>
                  <a:pt x="154" y="537"/>
                  <a:pt x="153" y="539"/>
                  <a:pt x="152" y="540"/>
                </a:cubicBezTo>
                <a:close/>
                <a:moveTo>
                  <a:pt x="154" y="484"/>
                </a:moveTo>
                <a:cubicBezTo>
                  <a:pt x="153" y="483"/>
                  <a:pt x="155" y="483"/>
                  <a:pt x="155" y="484"/>
                </a:cubicBezTo>
                <a:cubicBezTo>
                  <a:pt x="155" y="484"/>
                  <a:pt x="154" y="485"/>
                  <a:pt x="154" y="484"/>
                </a:cubicBezTo>
                <a:close/>
                <a:moveTo>
                  <a:pt x="158" y="546"/>
                </a:moveTo>
                <a:cubicBezTo>
                  <a:pt x="158" y="546"/>
                  <a:pt x="158" y="547"/>
                  <a:pt x="158" y="547"/>
                </a:cubicBezTo>
                <a:cubicBezTo>
                  <a:pt x="158" y="547"/>
                  <a:pt x="158" y="547"/>
                  <a:pt x="158" y="547"/>
                </a:cubicBezTo>
                <a:cubicBezTo>
                  <a:pt x="157" y="547"/>
                  <a:pt x="155" y="548"/>
                  <a:pt x="154" y="548"/>
                </a:cubicBezTo>
                <a:cubicBezTo>
                  <a:pt x="155" y="546"/>
                  <a:pt x="158" y="546"/>
                  <a:pt x="160" y="545"/>
                </a:cubicBezTo>
                <a:cubicBezTo>
                  <a:pt x="160" y="545"/>
                  <a:pt x="159" y="546"/>
                  <a:pt x="158" y="546"/>
                </a:cubicBezTo>
                <a:close/>
                <a:moveTo>
                  <a:pt x="155" y="544"/>
                </a:moveTo>
                <a:cubicBezTo>
                  <a:pt x="155" y="544"/>
                  <a:pt x="156" y="543"/>
                  <a:pt x="156" y="544"/>
                </a:cubicBezTo>
                <a:cubicBezTo>
                  <a:pt x="156" y="544"/>
                  <a:pt x="155" y="546"/>
                  <a:pt x="155" y="544"/>
                </a:cubicBezTo>
                <a:close/>
                <a:moveTo>
                  <a:pt x="160" y="521"/>
                </a:moveTo>
                <a:cubicBezTo>
                  <a:pt x="151" y="525"/>
                  <a:pt x="154" y="511"/>
                  <a:pt x="161" y="512"/>
                </a:cubicBezTo>
                <a:cubicBezTo>
                  <a:pt x="165" y="513"/>
                  <a:pt x="162" y="520"/>
                  <a:pt x="160" y="521"/>
                </a:cubicBezTo>
                <a:close/>
                <a:moveTo>
                  <a:pt x="162" y="544"/>
                </a:moveTo>
                <a:cubicBezTo>
                  <a:pt x="162" y="545"/>
                  <a:pt x="161" y="545"/>
                  <a:pt x="161" y="545"/>
                </a:cubicBezTo>
                <a:cubicBezTo>
                  <a:pt x="160" y="544"/>
                  <a:pt x="165" y="543"/>
                  <a:pt x="162" y="544"/>
                </a:cubicBezTo>
                <a:close/>
                <a:moveTo>
                  <a:pt x="168" y="525"/>
                </a:moveTo>
                <a:cubicBezTo>
                  <a:pt x="168" y="525"/>
                  <a:pt x="169" y="525"/>
                  <a:pt x="169" y="525"/>
                </a:cubicBezTo>
                <a:cubicBezTo>
                  <a:pt x="169" y="526"/>
                  <a:pt x="168" y="526"/>
                  <a:pt x="168" y="525"/>
                </a:cubicBezTo>
                <a:close/>
                <a:moveTo>
                  <a:pt x="170" y="537"/>
                </a:moveTo>
                <a:cubicBezTo>
                  <a:pt x="168" y="538"/>
                  <a:pt x="168" y="535"/>
                  <a:pt x="170" y="535"/>
                </a:cubicBezTo>
                <a:cubicBezTo>
                  <a:pt x="171" y="536"/>
                  <a:pt x="170" y="536"/>
                  <a:pt x="170" y="537"/>
                </a:cubicBezTo>
                <a:close/>
                <a:moveTo>
                  <a:pt x="172" y="521"/>
                </a:moveTo>
                <a:cubicBezTo>
                  <a:pt x="170" y="522"/>
                  <a:pt x="165" y="524"/>
                  <a:pt x="161" y="525"/>
                </a:cubicBezTo>
                <a:cubicBezTo>
                  <a:pt x="164" y="523"/>
                  <a:pt x="170" y="520"/>
                  <a:pt x="173" y="519"/>
                </a:cubicBezTo>
                <a:cubicBezTo>
                  <a:pt x="172" y="519"/>
                  <a:pt x="175" y="519"/>
                  <a:pt x="175" y="519"/>
                </a:cubicBezTo>
                <a:cubicBezTo>
                  <a:pt x="175" y="520"/>
                  <a:pt x="173" y="520"/>
                  <a:pt x="172" y="521"/>
                </a:cubicBezTo>
                <a:close/>
                <a:moveTo>
                  <a:pt x="176" y="546"/>
                </a:moveTo>
                <a:cubicBezTo>
                  <a:pt x="175" y="547"/>
                  <a:pt x="175" y="547"/>
                  <a:pt x="175" y="546"/>
                </a:cubicBezTo>
                <a:cubicBezTo>
                  <a:pt x="174" y="545"/>
                  <a:pt x="177" y="545"/>
                  <a:pt x="176" y="546"/>
                </a:cubicBezTo>
                <a:close/>
                <a:moveTo>
                  <a:pt x="174" y="497"/>
                </a:moveTo>
                <a:cubicBezTo>
                  <a:pt x="174" y="496"/>
                  <a:pt x="176" y="497"/>
                  <a:pt x="176" y="497"/>
                </a:cubicBezTo>
                <a:cubicBezTo>
                  <a:pt x="176" y="498"/>
                  <a:pt x="174" y="499"/>
                  <a:pt x="174" y="497"/>
                </a:cubicBezTo>
                <a:close/>
                <a:moveTo>
                  <a:pt x="176" y="431"/>
                </a:moveTo>
                <a:cubicBezTo>
                  <a:pt x="176" y="431"/>
                  <a:pt x="176" y="431"/>
                  <a:pt x="176" y="431"/>
                </a:cubicBezTo>
                <a:cubicBezTo>
                  <a:pt x="175" y="433"/>
                  <a:pt x="176" y="429"/>
                  <a:pt x="176" y="431"/>
                </a:cubicBezTo>
                <a:close/>
                <a:moveTo>
                  <a:pt x="176" y="487"/>
                </a:moveTo>
                <a:cubicBezTo>
                  <a:pt x="176" y="485"/>
                  <a:pt x="181" y="484"/>
                  <a:pt x="181" y="486"/>
                </a:cubicBezTo>
                <a:cubicBezTo>
                  <a:pt x="182" y="489"/>
                  <a:pt x="176" y="491"/>
                  <a:pt x="176" y="487"/>
                </a:cubicBezTo>
                <a:close/>
                <a:moveTo>
                  <a:pt x="180" y="543"/>
                </a:moveTo>
                <a:cubicBezTo>
                  <a:pt x="180" y="543"/>
                  <a:pt x="181" y="542"/>
                  <a:pt x="182" y="543"/>
                </a:cubicBezTo>
                <a:cubicBezTo>
                  <a:pt x="182" y="544"/>
                  <a:pt x="180" y="544"/>
                  <a:pt x="180" y="543"/>
                </a:cubicBezTo>
                <a:close/>
                <a:moveTo>
                  <a:pt x="182" y="538"/>
                </a:moveTo>
                <a:cubicBezTo>
                  <a:pt x="181" y="539"/>
                  <a:pt x="182" y="536"/>
                  <a:pt x="183" y="537"/>
                </a:cubicBezTo>
                <a:cubicBezTo>
                  <a:pt x="183" y="537"/>
                  <a:pt x="183" y="538"/>
                  <a:pt x="182" y="538"/>
                </a:cubicBezTo>
                <a:close/>
                <a:moveTo>
                  <a:pt x="183" y="485"/>
                </a:moveTo>
                <a:cubicBezTo>
                  <a:pt x="183" y="484"/>
                  <a:pt x="181" y="483"/>
                  <a:pt x="181" y="482"/>
                </a:cubicBezTo>
                <a:cubicBezTo>
                  <a:pt x="182" y="480"/>
                  <a:pt x="183" y="482"/>
                  <a:pt x="184" y="481"/>
                </a:cubicBezTo>
                <a:cubicBezTo>
                  <a:pt x="186" y="479"/>
                  <a:pt x="186" y="475"/>
                  <a:pt x="189" y="472"/>
                </a:cubicBezTo>
                <a:cubicBezTo>
                  <a:pt x="188" y="476"/>
                  <a:pt x="185" y="481"/>
                  <a:pt x="183" y="485"/>
                </a:cubicBezTo>
                <a:close/>
                <a:moveTo>
                  <a:pt x="186" y="544"/>
                </a:moveTo>
                <a:cubicBezTo>
                  <a:pt x="184" y="546"/>
                  <a:pt x="184" y="543"/>
                  <a:pt x="186" y="544"/>
                </a:cubicBezTo>
                <a:close/>
                <a:moveTo>
                  <a:pt x="185" y="507"/>
                </a:moveTo>
                <a:cubicBezTo>
                  <a:pt x="183" y="504"/>
                  <a:pt x="190" y="504"/>
                  <a:pt x="187" y="507"/>
                </a:cubicBezTo>
                <a:cubicBezTo>
                  <a:pt x="187" y="507"/>
                  <a:pt x="186" y="507"/>
                  <a:pt x="185" y="507"/>
                </a:cubicBezTo>
                <a:close/>
                <a:moveTo>
                  <a:pt x="189" y="542"/>
                </a:moveTo>
                <a:cubicBezTo>
                  <a:pt x="189" y="542"/>
                  <a:pt x="190" y="541"/>
                  <a:pt x="190" y="541"/>
                </a:cubicBezTo>
                <a:cubicBezTo>
                  <a:pt x="191" y="541"/>
                  <a:pt x="190" y="541"/>
                  <a:pt x="189" y="542"/>
                </a:cubicBezTo>
                <a:close/>
                <a:moveTo>
                  <a:pt x="193" y="537"/>
                </a:moveTo>
                <a:cubicBezTo>
                  <a:pt x="193" y="537"/>
                  <a:pt x="193" y="538"/>
                  <a:pt x="193" y="538"/>
                </a:cubicBezTo>
                <a:cubicBezTo>
                  <a:pt x="191" y="539"/>
                  <a:pt x="193" y="535"/>
                  <a:pt x="193" y="537"/>
                </a:cubicBezTo>
                <a:close/>
                <a:moveTo>
                  <a:pt x="188" y="542"/>
                </a:moveTo>
                <a:cubicBezTo>
                  <a:pt x="188" y="540"/>
                  <a:pt x="191" y="536"/>
                  <a:pt x="193" y="535"/>
                </a:cubicBezTo>
                <a:cubicBezTo>
                  <a:pt x="191" y="537"/>
                  <a:pt x="190" y="540"/>
                  <a:pt x="188" y="542"/>
                </a:cubicBezTo>
                <a:close/>
                <a:moveTo>
                  <a:pt x="190" y="499"/>
                </a:moveTo>
                <a:cubicBezTo>
                  <a:pt x="191" y="498"/>
                  <a:pt x="192" y="497"/>
                  <a:pt x="194" y="497"/>
                </a:cubicBezTo>
                <a:cubicBezTo>
                  <a:pt x="193" y="498"/>
                  <a:pt x="192" y="499"/>
                  <a:pt x="190" y="499"/>
                </a:cubicBezTo>
                <a:close/>
                <a:moveTo>
                  <a:pt x="194" y="533"/>
                </a:moveTo>
                <a:cubicBezTo>
                  <a:pt x="193" y="533"/>
                  <a:pt x="195" y="531"/>
                  <a:pt x="195" y="531"/>
                </a:cubicBezTo>
                <a:cubicBezTo>
                  <a:pt x="196" y="531"/>
                  <a:pt x="194" y="533"/>
                  <a:pt x="194" y="533"/>
                </a:cubicBezTo>
                <a:close/>
                <a:moveTo>
                  <a:pt x="194" y="497"/>
                </a:moveTo>
                <a:cubicBezTo>
                  <a:pt x="194" y="497"/>
                  <a:pt x="194" y="497"/>
                  <a:pt x="194" y="497"/>
                </a:cubicBezTo>
                <a:close/>
                <a:moveTo>
                  <a:pt x="195" y="497"/>
                </a:move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7"/>
                </a:cubicBezTo>
                <a:close/>
                <a:moveTo>
                  <a:pt x="189" y="398"/>
                </a:moveTo>
                <a:cubicBezTo>
                  <a:pt x="192" y="394"/>
                  <a:pt x="196" y="392"/>
                  <a:pt x="201" y="389"/>
                </a:cubicBezTo>
                <a:cubicBezTo>
                  <a:pt x="198" y="392"/>
                  <a:pt x="192" y="395"/>
                  <a:pt x="189" y="398"/>
                </a:cubicBezTo>
                <a:close/>
                <a:moveTo>
                  <a:pt x="196" y="530"/>
                </a:moveTo>
                <a:cubicBezTo>
                  <a:pt x="196" y="531"/>
                  <a:pt x="195" y="529"/>
                  <a:pt x="196" y="530"/>
                </a:cubicBezTo>
                <a:close/>
                <a:moveTo>
                  <a:pt x="198" y="514"/>
                </a:moveTo>
                <a:cubicBezTo>
                  <a:pt x="198" y="514"/>
                  <a:pt x="198" y="515"/>
                  <a:pt x="197" y="515"/>
                </a:cubicBezTo>
                <a:cubicBezTo>
                  <a:pt x="196" y="516"/>
                  <a:pt x="197" y="513"/>
                  <a:pt x="198" y="514"/>
                </a:cubicBezTo>
                <a:close/>
                <a:moveTo>
                  <a:pt x="198" y="558"/>
                </a:moveTo>
                <a:cubicBezTo>
                  <a:pt x="198" y="556"/>
                  <a:pt x="204" y="555"/>
                  <a:pt x="204" y="558"/>
                </a:cubicBezTo>
                <a:cubicBezTo>
                  <a:pt x="205" y="561"/>
                  <a:pt x="197" y="562"/>
                  <a:pt x="198" y="558"/>
                </a:cubicBezTo>
                <a:close/>
                <a:moveTo>
                  <a:pt x="204" y="554"/>
                </a:moveTo>
                <a:cubicBezTo>
                  <a:pt x="205" y="554"/>
                  <a:pt x="206" y="553"/>
                  <a:pt x="207" y="553"/>
                </a:cubicBezTo>
                <a:cubicBezTo>
                  <a:pt x="207" y="554"/>
                  <a:pt x="204" y="555"/>
                  <a:pt x="204" y="554"/>
                </a:cubicBezTo>
                <a:close/>
                <a:moveTo>
                  <a:pt x="203" y="542"/>
                </a:moveTo>
                <a:cubicBezTo>
                  <a:pt x="200" y="539"/>
                  <a:pt x="203" y="534"/>
                  <a:pt x="205" y="533"/>
                </a:cubicBezTo>
                <a:cubicBezTo>
                  <a:pt x="207" y="532"/>
                  <a:pt x="210" y="533"/>
                  <a:pt x="211" y="532"/>
                </a:cubicBezTo>
                <a:cubicBezTo>
                  <a:pt x="215" y="532"/>
                  <a:pt x="213" y="532"/>
                  <a:pt x="215" y="534"/>
                </a:cubicBezTo>
                <a:cubicBezTo>
                  <a:pt x="217" y="537"/>
                  <a:pt x="216" y="541"/>
                  <a:pt x="213" y="540"/>
                </a:cubicBezTo>
                <a:cubicBezTo>
                  <a:pt x="214" y="535"/>
                  <a:pt x="211" y="542"/>
                  <a:pt x="210" y="543"/>
                </a:cubicBezTo>
                <a:cubicBezTo>
                  <a:pt x="209" y="543"/>
                  <a:pt x="204" y="543"/>
                  <a:pt x="203" y="542"/>
                </a:cubicBezTo>
                <a:close/>
                <a:moveTo>
                  <a:pt x="213" y="545"/>
                </a:moveTo>
                <a:cubicBezTo>
                  <a:pt x="213" y="544"/>
                  <a:pt x="216" y="545"/>
                  <a:pt x="215" y="546"/>
                </a:cubicBezTo>
                <a:cubicBezTo>
                  <a:pt x="215" y="546"/>
                  <a:pt x="214" y="546"/>
                  <a:pt x="213" y="545"/>
                </a:cubicBezTo>
                <a:close/>
                <a:moveTo>
                  <a:pt x="215" y="609"/>
                </a:moveTo>
                <a:cubicBezTo>
                  <a:pt x="215" y="609"/>
                  <a:pt x="215" y="609"/>
                  <a:pt x="215" y="609"/>
                </a:cubicBezTo>
                <a:cubicBezTo>
                  <a:pt x="214" y="607"/>
                  <a:pt x="217" y="611"/>
                  <a:pt x="215" y="609"/>
                </a:cubicBezTo>
                <a:close/>
                <a:moveTo>
                  <a:pt x="214" y="557"/>
                </a:moveTo>
                <a:cubicBezTo>
                  <a:pt x="214" y="556"/>
                  <a:pt x="216" y="555"/>
                  <a:pt x="217" y="556"/>
                </a:cubicBezTo>
                <a:cubicBezTo>
                  <a:pt x="217" y="558"/>
                  <a:pt x="214" y="557"/>
                  <a:pt x="214" y="557"/>
                </a:cubicBezTo>
                <a:close/>
                <a:moveTo>
                  <a:pt x="209" y="544"/>
                </a:moveTo>
                <a:cubicBezTo>
                  <a:pt x="210" y="544"/>
                  <a:pt x="217" y="540"/>
                  <a:pt x="217" y="542"/>
                </a:cubicBezTo>
                <a:cubicBezTo>
                  <a:pt x="217" y="543"/>
                  <a:pt x="211" y="545"/>
                  <a:pt x="209" y="544"/>
                </a:cubicBezTo>
                <a:close/>
                <a:moveTo>
                  <a:pt x="216" y="527"/>
                </a:moveTo>
                <a:cubicBezTo>
                  <a:pt x="216" y="526"/>
                  <a:pt x="216" y="526"/>
                  <a:pt x="216" y="526"/>
                </a:cubicBezTo>
                <a:cubicBezTo>
                  <a:pt x="217" y="525"/>
                  <a:pt x="217" y="527"/>
                  <a:pt x="216" y="527"/>
                </a:cubicBezTo>
                <a:close/>
                <a:moveTo>
                  <a:pt x="217" y="615"/>
                </a:moveTo>
                <a:cubicBezTo>
                  <a:pt x="216" y="614"/>
                  <a:pt x="218" y="613"/>
                  <a:pt x="218" y="614"/>
                </a:cubicBezTo>
                <a:cubicBezTo>
                  <a:pt x="218" y="614"/>
                  <a:pt x="217" y="614"/>
                  <a:pt x="217" y="615"/>
                </a:cubicBezTo>
                <a:close/>
                <a:moveTo>
                  <a:pt x="219" y="542"/>
                </a:moveTo>
                <a:cubicBezTo>
                  <a:pt x="216" y="544"/>
                  <a:pt x="217" y="538"/>
                  <a:pt x="219" y="539"/>
                </a:cubicBezTo>
                <a:cubicBezTo>
                  <a:pt x="221" y="540"/>
                  <a:pt x="219" y="542"/>
                  <a:pt x="219" y="542"/>
                </a:cubicBezTo>
                <a:close/>
                <a:moveTo>
                  <a:pt x="219" y="567"/>
                </a:moveTo>
                <a:cubicBezTo>
                  <a:pt x="219" y="566"/>
                  <a:pt x="220" y="566"/>
                  <a:pt x="221" y="566"/>
                </a:cubicBezTo>
                <a:cubicBezTo>
                  <a:pt x="220" y="567"/>
                  <a:pt x="220" y="567"/>
                  <a:pt x="219" y="567"/>
                </a:cubicBezTo>
                <a:close/>
                <a:moveTo>
                  <a:pt x="222" y="589"/>
                </a:moveTo>
                <a:cubicBezTo>
                  <a:pt x="222" y="589"/>
                  <a:pt x="221" y="589"/>
                  <a:pt x="220" y="589"/>
                </a:cubicBezTo>
                <a:cubicBezTo>
                  <a:pt x="220" y="589"/>
                  <a:pt x="222" y="588"/>
                  <a:pt x="222" y="589"/>
                </a:cubicBezTo>
                <a:close/>
                <a:moveTo>
                  <a:pt x="221" y="615"/>
                </a:moveTo>
                <a:cubicBezTo>
                  <a:pt x="221" y="614"/>
                  <a:pt x="222" y="614"/>
                  <a:pt x="223" y="614"/>
                </a:cubicBezTo>
                <a:cubicBezTo>
                  <a:pt x="222" y="615"/>
                  <a:pt x="221" y="614"/>
                  <a:pt x="221" y="615"/>
                </a:cubicBezTo>
                <a:close/>
                <a:moveTo>
                  <a:pt x="223" y="565"/>
                </a:moveTo>
                <a:cubicBezTo>
                  <a:pt x="223" y="565"/>
                  <a:pt x="223" y="565"/>
                  <a:pt x="223" y="566"/>
                </a:cubicBezTo>
                <a:cubicBezTo>
                  <a:pt x="223" y="566"/>
                  <a:pt x="223" y="566"/>
                  <a:pt x="223" y="566"/>
                </a:cubicBezTo>
                <a:cubicBezTo>
                  <a:pt x="223" y="567"/>
                  <a:pt x="223" y="566"/>
                  <a:pt x="223" y="566"/>
                </a:cubicBezTo>
                <a:cubicBezTo>
                  <a:pt x="223" y="565"/>
                  <a:pt x="223" y="565"/>
                  <a:pt x="223" y="565"/>
                </a:cubicBezTo>
                <a:close/>
                <a:moveTo>
                  <a:pt x="223" y="571"/>
                </a:moveTo>
                <a:cubicBezTo>
                  <a:pt x="223" y="569"/>
                  <a:pt x="227" y="570"/>
                  <a:pt x="226" y="571"/>
                </a:cubicBezTo>
                <a:cubicBezTo>
                  <a:pt x="226" y="572"/>
                  <a:pt x="223" y="572"/>
                  <a:pt x="223" y="571"/>
                </a:cubicBezTo>
                <a:close/>
                <a:moveTo>
                  <a:pt x="226" y="582"/>
                </a:moveTo>
                <a:cubicBezTo>
                  <a:pt x="226" y="581"/>
                  <a:pt x="226" y="583"/>
                  <a:pt x="226" y="582"/>
                </a:cubicBezTo>
                <a:close/>
                <a:moveTo>
                  <a:pt x="227" y="608"/>
                </a:moveTo>
                <a:cubicBezTo>
                  <a:pt x="227" y="608"/>
                  <a:pt x="225" y="608"/>
                  <a:pt x="224" y="607"/>
                </a:cubicBezTo>
                <a:cubicBezTo>
                  <a:pt x="224" y="606"/>
                  <a:pt x="228" y="607"/>
                  <a:pt x="227" y="608"/>
                </a:cubicBezTo>
                <a:close/>
                <a:moveTo>
                  <a:pt x="226" y="578"/>
                </a:moveTo>
                <a:cubicBezTo>
                  <a:pt x="226" y="578"/>
                  <a:pt x="227" y="577"/>
                  <a:pt x="227" y="578"/>
                </a:cubicBezTo>
                <a:cubicBezTo>
                  <a:pt x="227" y="578"/>
                  <a:pt x="226" y="578"/>
                  <a:pt x="226" y="578"/>
                </a:cubicBezTo>
                <a:close/>
                <a:moveTo>
                  <a:pt x="236" y="538"/>
                </a:moveTo>
                <a:cubicBezTo>
                  <a:pt x="237" y="537"/>
                  <a:pt x="238" y="536"/>
                  <a:pt x="239" y="537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40" y="538"/>
                  <a:pt x="239" y="539"/>
                  <a:pt x="239" y="539"/>
                </a:cubicBezTo>
                <a:cubicBezTo>
                  <a:pt x="238" y="540"/>
                  <a:pt x="237" y="539"/>
                  <a:pt x="237" y="539"/>
                </a:cubicBezTo>
                <a:cubicBezTo>
                  <a:pt x="236" y="539"/>
                  <a:pt x="236" y="538"/>
                  <a:pt x="235" y="539"/>
                </a:cubicBezTo>
                <a:cubicBezTo>
                  <a:pt x="234" y="539"/>
                  <a:pt x="228" y="544"/>
                  <a:pt x="227" y="543"/>
                </a:cubicBezTo>
                <a:cubicBezTo>
                  <a:pt x="226" y="541"/>
                  <a:pt x="235" y="538"/>
                  <a:pt x="236" y="538"/>
                </a:cubicBezTo>
                <a:close/>
                <a:moveTo>
                  <a:pt x="235" y="592"/>
                </a:moveTo>
                <a:cubicBezTo>
                  <a:pt x="235" y="592"/>
                  <a:pt x="234" y="593"/>
                  <a:pt x="234" y="592"/>
                </a:cubicBezTo>
                <a:cubicBezTo>
                  <a:pt x="233" y="592"/>
                  <a:pt x="235" y="591"/>
                  <a:pt x="235" y="592"/>
                </a:cubicBezTo>
                <a:close/>
                <a:moveTo>
                  <a:pt x="233" y="585"/>
                </a:moveTo>
                <a:cubicBezTo>
                  <a:pt x="233" y="585"/>
                  <a:pt x="234" y="583"/>
                  <a:pt x="235" y="584"/>
                </a:cubicBezTo>
                <a:cubicBezTo>
                  <a:pt x="235" y="585"/>
                  <a:pt x="233" y="586"/>
                  <a:pt x="233" y="585"/>
                </a:cubicBezTo>
                <a:close/>
                <a:moveTo>
                  <a:pt x="228" y="573"/>
                </a:moveTo>
                <a:cubicBezTo>
                  <a:pt x="228" y="571"/>
                  <a:pt x="230" y="572"/>
                  <a:pt x="228" y="573"/>
                </a:cubicBezTo>
                <a:close/>
                <a:moveTo>
                  <a:pt x="229" y="580"/>
                </a:moveTo>
                <a:cubicBezTo>
                  <a:pt x="229" y="581"/>
                  <a:pt x="228" y="581"/>
                  <a:pt x="228" y="581"/>
                </a:cubicBezTo>
                <a:cubicBezTo>
                  <a:pt x="227" y="579"/>
                  <a:pt x="230" y="579"/>
                  <a:pt x="229" y="580"/>
                </a:cubicBezTo>
                <a:close/>
                <a:moveTo>
                  <a:pt x="231" y="599"/>
                </a:moveTo>
                <a:cubicBezTo>
                  <a:pt x="231" y="599"/>
                  <a:pt x="233" y="598"/>
                  <a:pt x="233" y="599"/>
                </a:cubicBezTo>
                <a:cubicBezTo>
                  <a:pt x="233" y="600"/>
                  <a:pt x="231" y="601"/>
                  <a:pt x="231" y="599"/>
                </a:cubicBezTo>
                <a:close/>
                <a:moveTo>
                  <a:pt x="236" y="624"/>
                </a:moveTo>
                <a:cubicBezTo>
                  <a:pt x="236" y="624"/>
                  <a:pt x="237" y="623"/>
                  <a:pt x="237" y="623"/>
                </a:cubicBezTo>
                <a:cubicBezTo>
                  <a:pt x="237" y="623"/>
                  <a:pt x="237" y="624"/>
                  <a:pt x="236" y="624"/>
                </a:cubicBezTo>
                <a:close/>
                <a:moveTo>
                  <a:pt x="232" y="618"/>
                </a:moveTo>
                <a:cubicBezTo>
                  <a:pt x="233" y="616"/>
                  <a:pt x="237" y="616"/>
                  <a:pt x="239" y="615"/>
                </a:cubicBezTo>
                <a:cubicBezTo>
                  <a:pt x="237" y="617"/>
                  <a:pt x="234" y="617"/>
                  <a:pt x="232" y="618"/>
                </a:cubicBezTo>
                <a:close/>
                <a:moveTo>
                  <a:pt x="238" y="665"/>
                </a:moveTo>
                <a:cubicBezTo>
                  <a:pt x="238" y="664"/>
                  <a:pt x="239" y="665"/>
                  <a:pt x="240" y="665"/>
                </a:cubicBezTo>
                <a:cubicBezTo>
                  <a:pt x="240" y="666"/>
                  <a:pt x="239" y="665"/>
                  <a:pt x="238" y="665"/>
                </a:cubicBezTo>
                <a:close/>
                <a:moveTo>
                  <a:pt x="240" y="664"/>
                </a:moveTo>
                <a:cubicBezTo>
                  <a:pt x="240" y="664"/>
                  <a:pt x="239" y="663"/>
                  <a:pt x="239" y="663"/>
                </a:cubicBezTo>
                <a:cubicBezTo>
                  <a:pt x="239" y="662"/>
                  <a:pt x="241" y="663"/>
                  <a:pt x="240" y="664"/>
                </a:cubicBezTo>
                <a:close/>
                <a:moveTo>
                  <a:pt x="251" y="679"/>
                </a:moveTo>
                <a:cubicBezTo>
                  <a:pt x="249" y="681"/>
                  <a:pt x="247" y="678"/>
                  <a:pt x="244" y="678"/>
                </a:cubicBezTo>
                <a:cubicBezTo>
                  <a:pt x="242" y="678"/>
                  <a:pt x="238" y="679"/>
                  <a:pt x="237" y="677"/>
                </a:cubicBezTo>
                <a:cubicBezTo>
                  <a:pt x="237" y="676"/>
                  <a:pt x="243" y="677"/>
                  <a:pt x="243" y="677"/>
                </a:cubicBezTo>
                <a:cubicBezTo>
                  <a:pt x="243" y="676"/>
                  <a:pt x="241" y="672"/>
                  <a:pt x="241" y="672"/>
                </a:cubicBezTo>
                <a:cubicBezTo>
                  <a:pt x="240" y="664"/>
                  <a:pt x="252" y="669"/>
                  <a:pt x="255" y="671"/>
                </a:cubicBezTo>
                <a:cubicBezTo>
                  <a:pt x="259" y="674"/>
                  <a:pt x="250" y="671"/>
                  <a:pt x="253" y="676"/>
                </a:cubicBezTo>
                <a:cubicBezTo>
                  <a:pt x="250" y="674"/>
                  <a:pt x="251" y="679"/>
                  <a:pt x="251" y="679"/>
                </a:cubicBezTo>
                <a:close/>
                <a:moveTo>
                  <a:pt x="254" y="687"/>
                </a:moveTo>
                <a:cubicBezTo>
                  <a:pt x="254" y="686"/>
                  <a:pt x="254" y="685"/>
                  <a:pt x="255" y="686"/>
                </a:cubicBezTo>
                <a:cubicBezTo>
                  <a:pt x="257" y="686"/>
                  <a:pt x="254" y="689"/>
                  <a:pt x="254" y="687"/>
                </a:cubicBezTo>
                <a:close/>
                <a:moveTo>
                  <a:pt x="254" y="690"/>
                </a:moveTo>
                <a:cubicBezTo>
                  <a:pt x="255" y="689"/>
                  <a:pt x="256" y="689"/>
                  <a:pt x="258" y="689"/>
                </a:cubicBezTo>
                <a:cubicBezTo>
                  <a:pt x="257" y="690"/>
                  <a:pt x="255" y="690"/>
                  <a:pt x="254" y="690"/>
                </a:cubicBezTo>
                <a:close/>
                <a:moveTo>
                  <a:pt x="257" y="690"/>
                </a:moveTo>
                <a:cubicBezTo>
                  <a:pt x="257" y="689"/>
                  <a:pt x="258" y="689"/>
                  <a:pt x="258" y="690"/>
                </a:cubicBezTo>
                <a:cubicBezTo>
                  <a:pt x="258" y="689"/>
                  <a:pt x="258" y="691"/>
                  <a:pt x="257" y="690"/>
                </a:cubicBezTo>
                <a:close/>
                <a:moveTo>
                  <a:pt x="259" y="689"/>
                </a:moveTo>
                <a:cubicBezTo>
                  <a:pt x="258" y="689"/>
                  <a:pt x="261" y="689"/>
                  <a:pt x="259" y="689"/>
                </a:cubicBezTo>
                <a:close/>
                <a:moveTo>
                  <a:pt x="260" y="660"/>
                </a:moveTo>
                <a:cubicBezTo>
                  <a:pt x="259" y="660"/>
                  <a:pt x="259" y="659"/>
                  <a:pt x="260" y="660"/>
                </a:cubicBezTo>
                <a:close/>
                <a:moveTo>
                  <a:pt x="261" y="631"/>
                </a:moveTo>
                <a:cubicBezTo>
                  <a:pt x="260" y="631"/>
                  <a:pt x="261" y="630"/>
                  <a:pt x="261" y="630"/>
                </a:cubicBezTo>
                <a:cubicBezTo>
                  <a:pt x="262" y="630"/>
                  <a:pt x="261" y="631"/>
                  <a:pt x="261" y="631"/>
                </a:cubicBezTo>
                <a:close/>
                <a:moveTo>
                  <a:pt x="263" y="682"/>
                </a:moveTo>
                <a:cubicBezTo>
                  <a:pt x="263" y="681"/>
                  <a:pt x="265" y="681"/>
                  <a:pt x="265" y="682"/>
                </a:cubicBezTo>
                <a:cubicBezTo>
                  <a:pt x="266" y="682"/>
                  <a:pt x="263" y="683"/>
                  <a:pt x="263" y="682"/>
                </a:cubicBezTo>
                <a:close/>
                <a:moveTo>
                  <a:pt x="264" y="690"/>
                </a:moveTo>
                <a:cubicBezTo>
                  <a:pt x="263" y="689"/>
                  <a:pt x="265" y="690"/>
                  <a:pt x="265" y="690"/>
                </a:cubicBezTo>
                <a:cubicBezTo>
                  <a:pt x="265" y="691"/>
                  <a:pt x="264" y="691"/>
                  <a:pt x="264" y="690"/>
                </a:cubicBezTo>
                <a:close/>
                <a:moveTo>
                  <a:pt x="265" y="694"/>
                </a:moveTo>
                <a:cubicBezTo>
                  <a:pt x="266" y="694"/>
                  <a:pt x="266" y="694"/>
                  <a:pt x="267" y="694"/>
                </a:cubicBezTo>
                <a:cubicBezTo>
                  <a:pt x="266" y="695"/>
                  <a:pt x="266" y="695"/>
                  <a:pt x="265" y="694"/>
                </a:cubicBezTo>
                <a:close/>
                <a:moveTo>
                  <a:pt x="263" y="667"/>
                </a:moveTo>
                <a:cubicBezTo>
                  <a:pt x="264" y="666"/>
                  <a:pt x="273" y="668"/>
                  <a:pt x="273" y="668"/>
                </a:cubicBezTo>
                <a:cubicBezTo>
                  <a:pt x="272" y="669"/>
                  <a:pt x="265" y="667"/>
                  <a:pt x="263" y="667"/>
                </a:cubicBezTo>
                <a:close/>
                <a:moveTo>
                  <a:pt x="270" y="681"/>
                </a:moveTo>
                <a:cubicBezTo>
                  <a:pt x="269" y="683"/>
                  <a:pt x="268" y="680"/>
                  <a:pt x="270" y="681"/>
                </a:cubicBezTo>
                <a:close/>
                <a:moveTo>
                  <a:pt x="268" y="696"/>
                </a:moveTo>
                <a:cubicBezTo>
                  <a:pt x="268" y="695"/>
                  <a:pt x="269" y="695"/>
                  <a:pt x="269" y="695"/>
                </a:cubicBezTo>
                <a:cubicBezTo>
                  <a:pt x="270" y="695"/>
                  <a:pt x="269" y="696"/>
                  <a:pt x="268" y="696"/>
                </a:cubicBezTo>
                <a:close/>
                <a:moveTo>
                  <a:pt x="269" y="689"/>
                </a:moveTo>
                <a:cubicBezTo>
                  <a:pt x="268" y="688"/>
                  <a:pt x="270" y="688"/>
                  <a:pt x="270" y="688"/>
                </a:cubicBezTo>
                <a:cubicBezTo>
                  <a:pt x="270" y="689"/>
                  <a:pt x="269" y="689"/>
                  <a:pt x="269" y="689"/>
                </a:cubicBezTo>
                <a:close/>
                <a:moveTo>
                  <a:pt x="269" y="673"/>
                </a:moveTo>
                <a:cubicBezTo>
                  <a:pt x="269" y="671"/>
                  <a:pt x="274" y="673"/>
                  <a:pt x="273" y="674"/>
                </a:cubicBezTo>
                <a:cubicBezTo>
                  <a:pt x="273" y="676"/>
                  <a:pt x="268" y="676"/>
                  <a:pt x="269" y="673"/>
                </a:cubicBezTo>
                <a:close/>
                <a:moveTo>
                  <a:pt x="272" y="683"/>
                </a:moveTo>
                <a:cubicBezTo>
                  <a:pt x="271" y="681"/>
                  <a:pt x="276" y="682"/>
                  <a:pt x="276" y="683"/>
                </a:cubicBezTo>
                <a:cubicBezTo>
                  <a:pt x="277" y="685"/>
                  <a:pt x="272" y="686"/>
                  <a:pt x="272" y="683"/>
                </a:cubicBezTo>
                <a:close/>
                <a:moveTo>
                  <a:pt x="275" y="696"/>
                </a:moveTo>
                <a:cubicBezTo>
                  <a:pt x="275" y="696"/>
                  <a:pt x="274" y="696"/>
                  <a:pt x="274" y="696"/>
                </a:cubicBezTo>
                <a:cubicBezTo>
                  <a:pt x="274" y="694"/>
                  <a:pt x="277" y="698"/>
                  <a:pt x="275" y="696"/>
                </a:cubicBezTo>
                <a:close/>
                <a:moveTo>
                  <a:pt x="274" y="701"/>
                </a:moveTo>
                <a:cubicBezTo>
                  <a:pt x="274" y="699"/>
                  <a:pt x="277" y="699"/>
                  <a:pt x="277" y="700"/>
                </a:cubicBezTo>
                <a:cubicBezTo>
                  <a:pt x="278" y="701"/>
                  <a:pt x="274" y="701"/>
                  <a:pt x="274" y="701"/>
                </a:cubicBezTo>
                <a:close/>
                <a:moveTo>
                  <a:pt x="282" y="681"/>
                </a:moveTo>
                <a:cubicBezTo>
                  <a:pt x="284" y="680"/>
                  <a:pt x="289" y="680"/>
                  <a:pt x="291" y="681"/>
                </a:cubicBezTo>
                <a:cubicBezTo>
                  <a:pt x="292" y="682"/>
                  <a:pt x="291" y="684"/>
                  <a:pt x="290" y="683"/>
                </a:cubicBezTo>
                <a:cubicBezTo>
                  <a:pt x="289" y="683"/>
                  <a:pt x="289" y="682"/>
                  <a:pt x="289" y="682"/>
                </a:cubicBezTo>
                <a:cubicBezTo>
                  <a:pt x="288" y="681"/>
                  <a:pt x="287" y="683"/>
                  <a:pt x="287" y="683"/>
                </a:cubicBezTo>
                <a:cubicBezTo>
                  <a:pt x="287" y="684"/>
                  <a:pt x="288" y="684"/>
                  <a:pt x="288" y="685"/>
                </a:cubicBezTo>
                <a:cubicBezTo>
                  <a:pt x="289" y="684"/>
                  <a:pt x="289" y="685"/>
                  <a:pt x="288" y="685"/>
                </a:cubicBezTo>
                <a:cubicBezTo>
                  <a:pt x="287" y="686"/>
                  <a:pt x="286" y="685"/>
                  <a:pt x="286" y="685"/>
                </a:cubicBezTo>
                <a:cubicBezTo>
                  <a:pt x="285" y="685"/>
                  <a:pt x="284" y="686"/>
                  <a:pt x="283" y="685"/>
                </a:cubicBezTo>
                <a:cubicBezTo>
                  <a:pt x="282" y="685"/>
                  <a:pt x="278" y="682"/>
                  <a:pt x="282" y="681"/>
                </a:cubicBezTo>
                <a:close/>
                <a:moveTo>
                  <a:pt x="291" y="693"/>
                </a:moveTo>
                <a:cubicBezTo>
                  <a:pt x="290" y="694"/>
                  <a:pt x="288" y="696"/>
                  <a:pt x="287" y="694"/>
                </a:cubicBezTo>
                <a:cubicBezTo>
                  <a:pt x="285" y="693"/>
                  <a:pt x="290" y="692"/>
                  <a:pt x="291" y="693"/>
                </a:cubicBezTo>
                <a:close/>
                <a:moveTo>
                  <a:pt x="289" y="706"/>
                </a:moveTo>
                <a:cubicBezTo>
                  <a:pt x="290" y="707"/>
                  <a:pt x="288" y="706"/>
                  <a:pt x="289" y="706"/>
                </a:cubicBezTo>
                <a:close/>
                <a:moveTo>
                  <a:pt x="292" y="708"/>
                </a:moveTo>
                <a:cubicBezTo>
                  <a:pt x="291" y="707"/>
                  <a:pt x="292" y="708"/>
                  <a:pt x="293" y="708"/>
                </a:cubicBezTo>
                <a:cubicBezTo>
                  <a:pt x="293" y="708"/>
                  <a:pt x="292" y="708"/>
                  <a:pt x="292" y="708"/>
                </a:cubicBezTo>
                <a:close/>
                <a:moveTo>
                  <a:pt x="304" y="701"/>
                </a:moveTo>
                <a:cubicBezTo>
                  <a:pt x="299" y="701"/>
                  <a:pt x="295" y="701"/>
                  <a:pt x="290" y="702"/>
                </a:cubicBezTo>
                <a:cubicBezTo>
                  <a:pt x="289" y="702"/>
                  <a:pt x="282" y="702"/>
                  <a:pt x="282" y="700"/>
                </a:cubicBezTo>
                <a:cubicBezTo>
                  <a:pt x="281" y="699"/>
                  <a:pt x="290" y="699"/>
                  <a:pt x="292" y="700"/>
                </a:cubicBezTo>
                <a:cubicBezTo>
                  <a:pt x="296" y="700"/>
                  <a:pt x="299" y="700"/>
                  <a:pt x="301" y="699"/>
                </a:cubicBezTo>
                <a:cubicBezTo>
                  <a:pt x="299" y="699"/>
                  <a:pt x="297" y="697"/>
                  <a:pt x="297" y="695"/>
                </a:cubicBezTo>
                <a:cubicBezTo>
                  <a:pt x="299" y="690"/>
                  <a:pt x="306" y="693"/>
                  <a:pt x="309" y="695"/>
                </a:cubicBezTo>
                <a:cubicBezTo>
                  <a:pt x="309" y="695"/>
                  <a:pt x="309" y="696"/>
                  <a:pt x="310" y="696"/>
                </a:cubicBezTo>
                <a:cubicBezTo>
                  <a:pt x="310" y="697"/>
                  <a:pt x="307" y="699"/>
                  <a:pt x="305" y="699"/>
                </a:cubicBezTo>
                <a:cubicBezTo>
                  <a:pt x="306" y="699"/>
                  <a:pt x="307" y="699"/>
                  <a:pt x="309" y="700"/>
                </a:cubicBezTo>
                <a:cubicBezTo>
                  <a:pt x="313" y="700"/>
                  <a:pt x="305" y="701"/>
                  <a:pt x="304" y="701"/>
                </a:cubicBezTo>
                <a:close/>
                <a:moveTo>
                  <a:pt x="308" y="684"/>
                </a:moveTo>
                <a:cubicBezTo>
                  <a:pt x="309" y="683"/>
                  <a:pt x="312" y="683"/>
                  <a:pt x="314" y="683"/>
                </a:cubicBezTo>
                <a:cubicBezTo>
                  <a:pt x="312" y="684"/>
                  <a:pt x="310" y="684"/>
                  <a:pt x="308" y="684"/>
                </a:cubicBezTo>
                <a:close/>
                <a:moveTo>
                  <a:pt x="313" y="612"/>
                </a:moveTo>
                <a:cubicBezTo>
                  <a:pt x="314" y="612"/>
                  <a:pt x="309" y="616"/>
                  <a:pt x="308" y="614"/>
                </a:cubicBezTo>
                <a:cubicBezTo>
                  <a:pt x="307" y="612"/>
                  <a:pt x="313" y="611"/>
                  <a:pt x="313" y="612"/>
                </a:cubicBezTo>
                <a:close/>
                <a:moveTo>
                  <a:pt x="313" y="683"/>
                </a:moveTo>
                <a:cubicBezTo>
                  <a:pt x="312" y="682"/>
                  <a:pt x="314" y="681"/>
                  <a:pt x="314" y="682"/>
                </a:cubicBezTo>
                <a:cubicBezTo>
                  <a:pt x="314" y="682"/>
                  <a:pt x="313" y="683"/>
                  <a:pt x="313" y="683"/>
                </a:cubicBezTo>
                <a:close/>
                <a:moveTo>
                  <a:pt x="313" y="589"/>
                </a:moveTo>
                <a:cubicBezTo>
                  <a:pt x="311" y="590"/>
                  <a:pt x="308" y="592"/>
                  <a:pt x="307" y="592"/>
                </a:cubicBezTo>
                <a:cubicBezTo>
                  <a:pt x="304" y="593"/>
                  <a:pt x="309" y="590"/>
                  <a:pt x="309" y="590"/>
                </a:cubicBezTo>
                <a:cubicBezTo>
                  <a:pt x="310" y="590"/>
                  <a:pt x="312" y="589"/>
                  <a:pt x="313" y="589"/>
                </a:cubicBezTo>
                <a:cubicBezTo>
                  <a:pt x="314" y="589"/>
                  <a:pt x="314" y="589"/>
                  <a:pt x="315" y="589"/>
                </a:cubicBezTo>
                <a:cubicBezTo>
                  <a:pt x="314" y="589"/>
                  <a:pt x="314" y="589"/>
                  <a:pt x="313" y="589"/>
                </a:cubicBezTo>
                <a:close/>
                <a:moveTo>
                  <a:pt x="315" y="519"/>
                </a:moveTo>
                <a:cubicBezTo>
                  <a:pt x="315" y="517"/>
                  <a:pt x="318" y="518"/>
                  <a:pt x="315" y="519"/>
                </a:cubicBezTo>
                <a:close/>
                <a:moveTo>
                  <a:pt x="317" y="683"/>
                </a:moveTo>
                <a:cubicBezTo>
                  <a:pt x="315" y="684"/>
                  <a:pt x="315" y="682"/>
                  <a:pt x="317" y="683"/>
                </a:cubicBezTo>
                <a:close/>
                <a:moveTo>
                  <a:pt x="317" y="683"/>
                </a:moveTo>
                <a:cubicBezTo>
                  <a:pt x="318" y="682"/>
                  <a:pt x="319" y="682"/>
                  <a:pt x="321" y="682"/>
                </a:cubicBezTo>
                <a:cubicBezTo>
                  <a:pt x="321" y="683"/>
                  <a:pt x="318" y="683"/>
                  <a:pt x="317" y="683"/>
                </a:cubicBezTo>
                <a:close/>
                <a:moveTo>
                  <a:pt x="333" y="104"/>
                </a:moveTo>
                <a:cubicBezTo>
                  <a:pt x="333" y="104"/>
                  <a:pt x="336" y="103"/>
                  <a:pt x="334" y="104"/>
                </a:cubicBezTo>
                <a:cubicBezTo>
                  <a:pt x="331" y="106"/>
                  <a:pt x="326" y="107"/>
                  <a:pt x="322" y="108"/>
                </a:cubicBezTo>
                <a:cubicBezTo>
                  <a:pt x="325" y="106"/>
                  <a:pt x="329" y="104"/>
                  <a:pt x="333" y="104"/>
                </a:cubicBezTo>
                <a:close/>
                <a:moveTo>
                  <a:pt x="323" y="170"/>
                </a:moveTo>
                <a:cubicBezTo>
                  <a:pt x="324" y="170"/>
                  <a:pt x="324" y="170"/>
                  <a:pt x="325" y="170"/>
                </a:cubicBezTo>
                <a:cubicBezTo>
                  <a:pt x="325" y="171"/>
                  <a:pt x="324" y="171"/>
                  <a:pt x="323" y="170"/>
                </a:cubicBezTo>
                <a:close/>
                <a:moveTo>
                  <a:pt x="322" y="617"/>
                </a:moveTo>
                <a:cubicBezTo>
                  <a:pt x="323" y="616"/>
                  <a:pt x="324" y="618"/>
                  <a:pt x="322" y="617"/>
                </a:cubicBezTo>
                <a:close/>
                <a:moveTo>
                  <a:pt x="322" y="627"/>
                </a:moveTo>
                <a:cubicBezTo>
                  <a:pt x="323" y="627"/>
                  <a:pt x="327" y="626"/>
                  <a:pt x="327" y="627"/>
                </a:cubicBezTo>
                <a:cubicBezTo>
                  <a:pt x="326" y="626"/>
                  <a:pt x="324" y="628"/>
                  <a:pt x="322" y="627"/>
                </a:cubicBezTo>
                <a:close/>
                <a:moveTo>
                  <a:pt x="327" y="574"/>
                </a:moveTo>
                <a:cubicBezTo>
                  <a:pt x="327" y="572"/>
                  <a:pt x="330" y="573"/>
                  <a:pt x="329" y="574"/>
                </a:cubicBezTo>
                <a:cubicBezTo>
                  <a:pt x="329" y="575"/>
                  <a:pt x="328" y="574"/>
                  <a:pt x="327" y="574"/>
                </a:cubicBezTo>
                <a:close/>
                <a:moveTo>
                  <a:pt x="329" y="627"/>
                </a:moveTo>
                <a:cubicBezTo>
                  <a:pt x="329" y="626"/>
                  <a:pt x="331" y="626"/>
                  <a:pt x="331" y="626"/>
                </a:cubicBezTo>
                <a:cubicBezTo>
                  <a:pt x="331" y="626"/>
                  <a:pt x="330" y="627"/>
                  <a:pt x="329" y="627"/>
                </a:cubicBezTo>
                <a:close/>
                <a:moveTo>
                  <a:pt x="329" y="589"/>
                </a:moveTo>
                <a:cubicBezTo>
                  <a:pt x="328" y="587"/>
                  <a:pt x="332" y="588"/>
                  <a:pt x="332" y="589"/>
                </a:cubicBezTo>
                <a:cubicBezTo>
                  <a:pt x="332" y="590"/>
                  <a:pt x="329" y="590"/>
                  <a:pt x="329" y="589"/>
                </a:cubicBezTo>
                <a:close/>
                <a:moveTo>
                  <a:pt x="328" y="583"/>
                </a:moveTo>
                <a:cubicBezTo>
                  <a:pt x="329" y="579"/>
                  <a:pt x="336" y="581"/>
                  <a:pt x="336" y="583"/>
                </a:cubicBezTo>
                <a:cubicBezTo>
                  <a:pt x="335" y="586"/>
                  <a:pt x="328" y="587"/>
                  <a:pt x="328" y="583"/>
                </a:cubicBezTo>
                <a:close/>
                <a:moveTo>
                  <a:pt x="335" y="131"/>
                </a:moveTo>
                <a:cubicBezTo>
                  <a:pt x="334" y="130"/>
                  <a:pt x="336" y="131"/>
                  <a:pt x="335" y="131"/>
                </a:cubicBezTo>
                <a:close/>
                <a:moveTo>
                  <a:pt x="336" y="659"/>
                </a:moveTo>
                <a:cubicBezTo>
                  <a:pt x="337" y="661"/>
                  <a:pt x="335" y="659"/>
                  <a:pt x="336" y="659"/>
                </a:cubicBezTo>
                <a:close/>
                <a:moveTo>
                  <a:pt x="336" y="131"/>
                </a:moveTo>
                <a:cubicBezTo>
                  <a:pt x="336" y="130"/>
                  <a:pt x="338" y="130"/>
                  <a:pt x="338" y="130"/>
                </a:cubicBezTo>
                <a:cubicBezTo>
                  <a:pt x="338" y="131"/>
                  <a:pt x="337" y="130"/>
                  <a:pt x="336" y="131"/>
                </a:cubicBezTo>
                <a:close/>
                <a:moveTo>
                  <a:pt x="337" y="711"/>
                </a:moveTo>
                <a:cubicBezTo>
                  <a:pt x="336" y="711"/>
                  <a:pt x="337" y="710"/>
                  <a:pt x="337" y="710"/>
                </a:cubicBezTo>
                <a:cubicBezTo>
                  <a:pt x="338" y="711"/>
                  <a:pt x="338" y="712"/>
                  <a:pt x="337" y="711"/>
                </a:cubicBezTo>
                <a:close/>
                <a:moveTo>
                  <a:pt x="337" y="685"/>
                </a:moveTo>
                <a:cubicBezTo>
                  <a:pt x="337" y="684"/>
                  <a:pt x="339" y="684"/>
                  <a:pt x="339" y="685"/>
                </a:cubicBezTo>
                <a:cubicBezTo>
                  <a:pt x="340" y="685"/>
                  <a:pt x="338" y="686"/>
                  <a:pt x="337" y="685"/>
                </a:cubicBezTo>
                <a:close/>
                <a:moveTo>
                  <a:pt x="338" y="705"/>
                </a:moveTo>
                <a:cubicBezTo>
                  <a:pt x="338" y="704"/>
                  <a:pt x="340" y="704"/>
                  <a:pt x="340" y="705"/>
                </a:cubicBezTo>
                <a:cubicBezTo>
                  <a:pt x="340" y="705"/>
                  <a:pt x="339" y="706"/>
                  <a:pt x="338" y="705"/>
                </a:cubicBezTo>
                <a:close/>
                <a:moveTo>
                  <a:pt x="338" y="680"/>
                </a:moveTo>
                <a:cubicBezTo>
                  <a:pt x="338" y="680"/>
                  <a:pt x="341" y="680"/>
                  <a:pt x="341" y="680"/>
                </a:cubicBezTo>
                <a:cubicBezTo>
                  <a:pt x="341" y="681"/>
                  <a:pt x="337" y="682"/>
                  <a:pt x="338" y="680"/>
                </a:cubicBezTo>
                <a:close/>
                <a:moveTo>
                  <a:pt x="342" y="110"/>
                </a:moveTo>
                <a:cubicBezTo>
                  <a:pt x="341" y="111"/>
                  <a:pt x="341" y="109"/>
                  <a:pt x="342" y="110"/>
                </a:cubicBezTo>
                <a:close/>
                <a:moveTo>
                  <a:pt x="328" y="108"/>
                </a:moveTo>
                <a:cubicBezTo>
                  <a:pt x="326" y="108"/>
                  <a:pt x="329" y="107"/>
                  <a:pt x="331" y="106"/>
                </a:cubicBezTo>
                <a:cubicBezTo>
                  <a:pt x="334" y="106"/>
                  <a:pt x="339" y="104"/>
                  <a:pt x="342" y="104"/>
                </a:cubicBezTo>
                <a:cubicBezTo>
                  <a:pt x="343" y="104"/>
                  <a:pt x="344" y="105"/>
                  <a:pt x="344" y="105"/>
                </a:cubicBezTo>
                <a:cubicBezTo>
                  <a:pt x="344" y="105"/>
                  <a:pt x="330" y="108"/>
                  <a:pt x="328" y="108"/>
                </a:cubicBezTo>
                <a:close/>
                <a:moveTo>
                  <a:pt x="345" y="576"/>
                </a:moveTo>
                <a:cubicBezTo>
                  <a:pt x="345" y="576"/>
                  <a:pt x="345" y="576"/>
                  <a:pt x="345" y="576"/>
                </a:cubicBezTo>
                <a:cubicBezTo>
                  <a:pt x="346" y="576"/>
                  <a:pt x="346" y="576"/>
                  <a:pt x="346" y="576"/>
                </a:cubicBezTo>
                <a:cubicBezTo>
                  <a:pt x="346" y="576"/>
                  <a:pt x="345" y="576"/>
                  <a:pt x="345" y="576"/>
                </a:cubicBezTo>
                <a:close/>
                <a:moveTo>
                  <a:pt x="346" y="704"/>
                </a:moveTo>
                <a:cubicBezTo>
                  <a:pt x="346" y="703"/>
                  <a:pt x="347" y="703"/>
                  <a:pt x="347" y="703"/>
                </a:cubicBezTo>
                <a:cubicBezTo>
                  <a:pt x="348" y="704"/>
                  <a:pt x="346" y="704"/>
                  <a:pt x="346" y="704"/>
                </a:cubicBezTo>
                <a:close/>
                <a:moveTo>
                  <a:pt x="344" y="537"/>
                </a:moveTo>
                <a:cubicBezTo>
                  <a:pt x="345" y="535"/>
                  <a:pt x="348" y="535"/>
                  <a:pt x="349" y="534"/>
                </a:cubicBezTo>
                <a:cubicBezTo>
                  <a:pt x="348" y="535"/>
                  <a:pt x="345" y="536"/>
                  <a:pt x="344" y="537"/>
                </a:cubicBezTo>
                <a:close/>
                <a:moveTo>
                  <a:pt x="348" y="89"/>
                </a:moveTo>
                <a:cubicBezTo>
                  <a:pt x="347" y="90"/>
                  <a:pt x="346" y="89"/>
                  <a:pt x="348" y="89"/>
                </a:cubicBezTo>
                <a:close/>
                <a:moveTo>
                  <a:pt x="347" y="71"/>
                </a:moveTo>
                <a:cubicBezTo>
                  <a:pt x="347" y="72"/>
                  <a:pt x="348" y="72"/>
                  <a:pt x="347" y="72"/>
                </a:cubicBezTo>
                <a:cubicBezTo>
                  <a:pt x="347" y="72"/>
                  <a:pt x="347" y="72"/>
                  <a:pt x="347" y="71"/>
                </a:cubicBezTo>
                <a:close/>
                <a:moveTo>
                  <a:pt x="345" y="44"/>
                </a:moveTo>
                <a:cubicBezTo>
                  <a:pt x="346" y="42"/>
                  <a:pt x="350" y="42"/>
                  <a:pt x="350" y="45"/>
                </a:cubicBezTo>
                <a:cubicBezTo>
                  <a:pt x="349" y="47"/>
                  <a:pt x="345" y="46"/>
                  <a:pt x="345" y="44"/>
                </a:cubicBezTo>
                <a:close/>
                <a:moveTo>
                  <a:pt x="350" y="626"/>
                </a:moveTo>
                <a:cubicBezTo>
                  <a:pt x="350" y="627"/>
                  <a:pt x="349" y="625"/>
                  <a:pt x="350" y="626"/>
                </a:cubicBezTo>
                <a:close/>
                <a:moveTo>
                  <a:pt x="350" y="205"/>
                </a:moveTo>
                <a:cubicBezTo>
                  <a:pt x="349" y="205"/>
                  <a:pt x="350" y="203"/>
                  <a:pt x="350" y="204"/>
                </a:cubicBezTo>
                <a:cubicBezTo>
                  <a:pt x="351" y="204"/>
                  <a:pt x="351" y="205"/>
                  <a:pt x="350" y="205"/>
                </a:cubicBezTo>
                <a:close/>
                <a:moveTo>
                  <a:pt x="538" y="122"/>
                </a:moveTo>
                <a:cubicBezTo>
                  <a:pt x="538" y="121"/>
                  <a:pt x="540" y="121"/>
                  <a:pt x="540" y="122"/>
                </a:cubicBezTo>
                <a:cubicBezTo>
                  <a:pt x="542" y="121"/>
                  <a:pt x="543" y="121"/>
                  <a:pt x="543" y="123"/>
                </a:cubicBezTo>
                <a:cubicBezTo>
                  <a:pt x="543" y="124"/>
                  <a:pt x="539" y="125"/>
                  <a:pt x="538" y="124"/>
                </a:cubicBezTo>
                <a:cubicBezTo>
                  <a:pt x="538" y="123"/>
                  <a:pt x="538" y="123"/>
                  <a:pt x="538" y="122"/>
                </a:cubicBezTo>
                <a:cubicBezTo>
                  <a:pt x="538" y="122"/>
                  <a:pt x="538" y="122"/>
                  <a:pt x="538" y="122"/>
                </a:cubicBezTo>
                <a:close/>
                <a:moveTo>
                  <a:pt x="538" y="121"/>
                </a:moveTo>
                <a:cubicBezTo>
                  <a:pt x="538" y="121"/>
                  <a:pt x="536" y="122"/>
                  <a:pt x="536" y="121"/>
                </a:cubicBezTo>
                <a:cubicBezTo>
                  <a:pt x="536" y="121"/>
                  <a:pt x="537" y="121"/>
                  <a:pt x="538" y="121"/>
                </a:cubicBezTo>
                <a:close/>
                <a:moveTo>
                  <a:pt x="531" y="126"/>
                </a:moveTo>
                <a:cubicBezTo>
                  <a:pt x="531" y="126"/>
                  <a:pt x="531" y="127"/>
                  <a:pt x="530" y="127"/>
                </a:cubicBezTo>
                <a:cubicBezTo>
                  <a:pt x="530" y="127"/>
                  <a:pt x="531" y="126"/>
                  <a:pt x="531" y="126"/>
                </a:cubicBezTo>
                <a:close/>
                <a:moveTo>
                  <a:pt x="531" y="154"/>
                </a:moveTo>
                <a:cubicBezTo>
                  <a:pt x="529" y="157"/>
                  <a:pt x="525" y="158"/>
                  <a:pt x="522" y="159"/>
                </a:cubicBezTo>
                <a:cubicBezTo>
                  <a:pt x="524" y="156"/>
                  <a:pt x="528" y="156"/>
                  <a:pt x="531" y="154"/>
                </a:cubicBezTo>
                <a:close/>
                <a:moveTo>
                  <a:pt x="525" y="201"/>
                </a:moveTo>
                <a:cubicBezTo>
                  <a:pt x="524" y="202"/>
                  <a:pt x="523" y="203"/>
                  <a:pt x="521" y="203"/>
                </a:cubicBezTo>
                <a:cubicBezTo>
                  <a:pt x="522" y="202"/>
                  <a:pt x="523" y="201"/>
                  <a:pt x="525" y="201"/>
                </a:cubicBezTo>
                <a:close/>
                <a:moveTo>
                  <a:pt x="521" y="198"/>
                </a:moveTo>
                <a:cubicBezTo>
                  <a:pt x="521" y="198"/>
                  <a:pt x="521" y="197"/>
                  <a:pt x="522" y="197"/>
                </a:cubicBezTo>
                <a:cubicBezTo>
                  <a:pt x="524" y="195"/>
                  <a:pt x="523" y="200"/>
                  <a:pt x="521" y="198"/>
                </a:cubicBezTo>
                <a:close/>
                <a:moveTo>
                  <a:pt x="524" y="195"/>
                </a:moveTo>
                <a:cubicBezTo>
                  <a:pt x="524" y="194"/>
                  <a:pt x="525" y="194"/>
                  <a:pt x="525" y="194"/>
                </a:cubicBezTo>
                <a:cubicBezTo>
                  <a:pt x="526" y="195"/>
                  <a:pt x="524" y="195"/>
                  <a:pt x="524" y="195"/>
                </a:cubicBezTo>
                <a:close/>
                <a:moveTo>
                  <a:pt x="531" y="196"/>
                </a:moveTo>
                <a:cubicBezTo>
                  <a:pt x="530" y="198"/>
                  <a:pt x="527" y="199"/>
                  <a:pt x="525" y="201"/>
                </a:cubicBezTo>
                <a:cubicBezTo>
                  <a:pt x="526" y="199"/>
                  <a:pt x="529" y="197"/>
                  <a:pt x="531" y="196"/>
                </a:cubicBezTo>
                <a:close/>
                <a:moveTo>
                  <a:pt x="529" y="172"/>
                </a:moveTo>
                <a:cubicBezTo>
                  <a:pt x="531" y="170"/>
                  <a:pt x="530" y="174"/>
                  <a:pt x="528" y="173"/>
                </a:cubicBezTo>
                <a:cubicBezTo>
                  <a:pt x="528" y="173"/>
                  <a:pt x="529" y="172"/>
                  <a:pt x="529" y="172"/>
                </a:cubicBezTo>
                <a:close/>
                <a:moveTo>
                  <a:pt x="522" y="181"/>
                </a:moveTo>
                <a:cubicBezTo>
                  <a:pt x="521" y="181"/>
                  <a:pt x="523" y="180"/>
                  <a:pt x="523" y="181"/>
                </a:cubicBezTo>
                <a:cubicBezTo>
                  <a:pt x="524" y="181"/>
                  <a:pt x="522" y="182"/>
                  <a:pt x="522" y="181"/>
                </a:cubicBezTo>
                <a:close/>
                <a:moveTo>
                  <a:pt x="529" y="135"/>
                </a:moveTo>
                <a:cubicBezTo>
                  <a:pt x="528" y="136"/>
                  <a:pt x="526" y="138"/>
                  <a:pt x="524" y="138"/>
                </a:cubicBezTo>
                <a:cubicBezTo>
                  <a:pt x="525" y="138"/>
                  <a:pt x="526" y="138"/>
                  <a:pt x="525" y="139"/>
                </a:cubicBezTo>
                <a:cubicBezTo>
                  <a:pt x="525" y="140"/>
                  <a:pt x="522" y="140"/>
                  <a:pt x="522" y="139"/>
                </a:cubicBezTo>
                <a:cubicBezTo>
                  <a:pt x="522" y="139"/>
                  <a:pt x="523" y="138"/>
                  <a:pt x="524" y="138"/>
                </a:cubicBezTo>
                <a:cubicBezTo>
                  <a:pt x="524" y="138"/>
                  <a:pt x="524" y="138"/>
                  <a:pt x="524" y="138"/>
                </a:cubicBezTo>
                <a:cubicBezTo>
                  <a:pt x="525" y="136"/>
                  <a:pt x="527" y="136"/>
                  <a:pt x="529" y="135"/>
                </a:cubicBezTo>
                <a:close/>
                <a:moveTo>
                  <a:pt x="525" y="117"/>
                </a:moveTo>
                <a:cubicBezTo>
                  <a:pt x="525" y="117"/>
                  <a:pt x="525" y="117"/>
                  <a:pt x="524" y="117"/>
                </a:cubicBezTo>
                <a:cubicBezTo>
                  <a:pt x="524" y="117"/>
                  <a:pt x="524" y="116"/>
                  <a:pt x="525" y="117"/>
                </a:cubicBezTo>
                <a:close/>
                <a:moveTo>
                  <a:pt x="524" y="86"/>
                </a:moveTo>
                <a:cubicBezTo>
                  <a:pt x="523" y="86"/>
                  <a:pt x="522" y="86"/>
                  <a:pt x="521" y="86"/>
                </a:cubicBezTo>
                <a:cubicBezTo>
                  <a:pt x="522" y="85"/>
                  <a:pt x="523" y="85"/>
                  <a:pt x="524" y="86"/>
                </a:cubicBezTo>
                <a:close/>
                <a:moveTo>
                  <a:pt x="521" y="87"/>
                </a:moveTo>
                <a:cubicBezTo>
                  <a:pt x="521" y="87"/>
                  <a:pt x="523" y="88"/>
                  <a:pt x="523" y="88"/>
                </a:cubicBezTo>
                <a:cubicBezTo>
                  <a:pt x="523" y="88"/>
                  <a:pt x="520" y="88"/>
                  <a:pt x="521" y="87"/>
                </a:cubicBezTo>
                <a:close/>
                <a:moveTo>
                  <a:pt x="523" y="92"/>
                </a:moveTo>
                <a:cubicBezTo>
                  <a:pt x="523" y="92"/>
                  <a:pt x="521" y="92"/>
                  <a:pt x="521" y="91"/>
                </a:cubicBezTo>
                <a:cubicBezTo>
                  <a:pt x="522" y="90"/>
                  <a:pt x="523" y="91"/>
                  <a:pt x="523" y="92"/>
                </a:cubicBezTo>
                <a:close/>
                <a:moveTo>
                  <a:pt x="521" y="105"/>
                </a:moveTo>
                <a:cubicBezTo>
                  <a:pt x="521" y="106"/>
                  <a:pt x="520" y="104"/>
                  <a:pt x="521" y="105"/>
                </a:cubicBezTo>
                <a:close/>
                <a:moveTo>
                  <a:pt x="525" y="106"/>
                </a:moveTo>
                <a:cubicBezTo>
                  <a:pt x="527" y="106"/>
                  <a:pt x="528" y="108"/>
                  <a:pt x="526" y="111"/>
                </a:cubicBezTo>
                <a:cubicBezTo>
                  <a:pt x="525" y="112"/>
                  <a:pt x="523" y="112"/>
                  <a:pt x="522" y="112"/>
                </a:cubicBezTo>
                <a:cubicBezTo>
                  <a:pt x="520" y="112"/>
                  <a:pt x="518" y="112"/>
                  <a:pt x="518" y="112"/>
                </a:cubicBezTo>
                <a:cubicBezTo>
                  <a:pt x="518" y="112"/>
                  <a:pt x="519" y="112"/>
                  <a:pt x="519" y="112"/>
                </a:cubicBezTo>
                <a:cubicBezTo>
                  <a:pt x="519" y="112"/>
                  <a:pt x="518" y="112"/>
                  <a:pt x="518" y="112"/>
                </a:cubicBezTo>
                <a:cubicBezTo>
                  <a:pt x="518" y="112"/>
                  <a:pt x="518" y="111"/>
                  <a:pt x="518" y="111"/>
                </a:cubicBezTo>
                <a:cubicBezTo>
                  <a:pt x="517" y="110"/>
                  <a:pt x="522" y="106"/>
                  <a:pt x="525" y="106"/>
                </a:cubicBezTo>
                <a:close/>
                <a:moveTo>
                  <a:pt x="520" y="133"/>
                </a:moveTo>
                <a:cubicBezTo>
                  <a:pt x="522" y="131"/>
                  <a:pt x="522" y="133"/>
                  <a:pt x="520" y="133"/>
                </a:cubicBezTo>
                <a:close/>
                <a:moveTo>
                  <a:pt x="519" y="147"/>
                </a:moveTo>
                <a:cubicBezTo>
                  <a:pt x="519" y="146"/>
                  <a:pt x="521" y="145"/>
                  <a:pt x="521" y="146"/>
                </a:cubicBezTo>
                <a:cubicBezTo>
                  <a:pt x="522" y="147"/>
                  <a:pt x="520" y="147"/>
                  <a:pt x="519" y="147"/>
                </a:cubicBezTo>
                <a:close/>
                <a:moveTo>
                  <a:pt x="513" y="162"/>
                </a:moveTo>
                <a:cubicBezTo>
                  <a:pt x="512" y="161"/>
                  <a:pt x="516" y="159"/>
                  <a:pt x="516" y="161"/>
                </a:cubicBezTo>
                <a:cubicBezTo>
                  <a:pt x="517" y="162"/>
                  <a:pt x="513" y="163"/>
                  <a:pt x="513" y="162"/>
                </a:cubicBezTo>
                <a:close/>
                <a:moveTo>
                  <a:pt x="516" y="163"/>
                </a:moveTo>
                <a:cubicBezTo>
                  <a:pt x="516" y="164"/>
                  <a:pt x="515" y="165"/>
                  <a:pt x="516" y="164"/>
                </a:cubicBezTo>
                <a:cubicBezTo>
                  <a:pt x="516" y="164"/>
                  <a:pt x="516" y="164"/>
                  <a:pt x="516" y="163"/>
                </a:cubicBezTo>
                <a:close/>
                <a:moveTo>
                  <a:pt x="514" y="191"/>
                </a:moveTo>
                <a:cubicBezTo>
                  <a:pt x="515" y="190"/>
                  <a:pt x="516" y="192"/>
                  <a:pt x="514" y="191"/>
                </a:cubicBezTo>
                <a:close/>
                <a:moveTo>
                  <a:pt x="512" y="192"/>
                </a:moveTo>
                <a:cubicBezTo>
                  <a:pt x="512" y="191"/>
                  <a:pt x="514" y="191"/>
                  <a:pt x="514" y="191"/>
                </a:cubicBezTo>
                <a:cubicBezTo>
                  <a:pt x="514" y="192"/>
                  <a:pt x="512" y="192"/>
                  <a:pt x="512" y="192"/>
                </a:cubicBezTo>
                <a:close/>
                <a:moveTo>
                  <a:pt x="514" y="247"/>
                </a:moveTo>
                <a:cubicBezTo>
                  <a:pt x="514" y="248"/>
                  <a:pt x="513" y="245"/>
                  <a:pt x="514" y="247"/>
                </a:cubicBezTo>
                <a:close/>
                <a:moveTo>
                  <a:pt x="504" y="183"/>
                </a:moveTo>
                <a:cubicBezTo>
                  <a:pt x="506" y="182"/>
                  <a:pt x="506" y="181"/>
                  <a:pt x="504" y="181"/>
                </a:cubicBezTo>
                <a:cubicBezTo>
                  <a:pt x="505" y="178"/>
                  <a:pt x="508" y="175"/>
                  <a:pt x="511" y="176"/>
                </a:cubicBezTo>
                <a:cubicBezTo>
                  <a:pt x="517" y="179"/>
                  <a:pt x="509" y="186"/>
                  <a:pt x="504" y="183"/>
                </a:cubicBezTo>
                <a:close/>
                <a:moveTo>
                  <a:pt x="505" y="184"/>
                </a:moveTo>
                <a:cubicBezTo>
                  <a:pt x="505" y="184"/>
                  <a:pt x="505" y="184"/>
                  <a:pt x="505" y="184"/>
                </a:cubicBezTo>
                <a:cubicBezTo>
                  <a:pt x="506" y="186"/>
                  <a:pt x="503" y="183"/>
                  <a:pt x="505" y="184"/>
                </a:cubicBezTo>
                <a:close/>
                <a:moveTo>
                  <a:pt x="494" y="127"/>
                </a:moveTo>
                <a:cubicBezTo>
                  <a:pt x="494" y="127"/>
                  <a:pt x="497" y="125"/>
                  <a:pt x="498" y="127"/>
                </a:cubicBezTo>
                <a:cubicBezTo>
                  <a:pt x="498" y="128"/>
                  <a:pt x="494" y="129"/>
                  <a:pt x="494" y="127"/>
                </a:cubicBezTo>
                <a:close/>
                <a:moveTo>
                  <a:pt x="496" y="219"/>
                </a:moveTo>
                <a:cubicBezTo>
                  <a:pt x="495" y="219"/>
                  <a:pt x="496" y="218"/>
                  <a:pt x="496" y="218"/>
                </a:cubicBezTo>
                <a:cubicBezTo>
                  <a:pt x="497" y="218"/>
                  <a:pt x="496" y="219"/>
                  <a:pt x="496" y="219"/>
                </a:cubicBezTo>
                <a:close/>
                <a:moveTo>
                  <a:pt x="493" y="182"/>
                </a:moveTo>
                <a:cubicBezTo>
                  <a:pt x="493" y="181"/>
                  <a:pt x="495" y="181"/>
                  <a:pt x="495" y="181"/>
                </a:cubicBezTo>
                <a:cubicBezTo>
                  <a:pt x="496" y="182"/>
                  <a:pt x="494" y="183"/>
                  <a:pt x="493" y="182"/>
                </a:cubicBezTo>
                <a:close/>
                <a:moveTo>
                  <a:pt x="494" y="221"/>
                </a:moveTo>
                <a:cubicBezTo>
                  <a:pt x="494" y="221"/>
                  <a:pt x="495" y="220"/>
                  <a:pt x="495" y="220"/>
                </a:cubicBezTo>
                <a:cubicBezTo>
                  <a:pt x="495" y="220"/>
                  <a:pt x="494" y="222"/>
                  <a:pt x="494" y="221"/>
                </a:cubicBezTo>
                <a:close/>
                <a:moveTo>
                  <a:pt x="484" y="206"/>
                </a:moveTo>
                <a:cubicBezTo>
                  <a:pt x="487" y="204"/>
                  <a:pt x="490" y="201"/>
                  <a:pt x="492" y="200"/>
                </a:cubicBezTo>
                <a:cubicBezTo>
                  <a:pt x="492" y="200"/>
                  <a:pt x="494" y="199"/>
                  <a:pt x="493" y="200"/>
                </a:cubicBezTo>
                <a:cubicBezTo>
                  <a:pt x="492" y="203"/>
                  <a:pt x="487" y="205"/>
                  <a:pt x="484" y="206"/>
                </a:cubicBezTo>
                <a:close/>
                <a:moveTo>
                  <a:pt x="491" y="221"/>
                </a:moveTo>
                <a:cubicBezTo>
                  <a:pt x="491" y="220"/>
                  <a:pt x="493" y="220"/>
                  <a:pt x="493" y="221"/>
                </a:cubicBezTo>
                <a:cubicBezTo>
                  <a:pt x="493" y="222"/>
                  <a:pt x="491" y="222"/>
                  <a:pt x="491" y="221"/>
                </a:cubicBezTo>
                <a:close/>
                <a:moveTo>
                  <a:pt x="480" y="95"/>
                </a:moveTo>
                <a:cubicBezTo>
                  <a:pt x="482" y="94"/>
                  <a:pt x="483" y="93"/>
                  <a:pt x="485" y="93"/>
                </a:cubicBezTo>
                <a:cubicBezTo>
                  <a:pt x="483" y="94"/>
                  <a:pt x="482" y="95"/>
                  <a:pt x="480" y="95"/>
                </a:cubicBezTo>
                <a:close/>
                <a:moveTo>
                  <a:pt x="481" y="162"/>
                </a:moveTo>
                <a:cubicBezTo>
                  <a:pt x="481" y="160"/>
                  <a:pt x="484" y="161"/>
                  <a:pt x="481" y="162"/>
                </a:cubicBezTo>
                <a:close/>
                <a:moveTo>
                  <a:pt x="482" y="109"/>
                </a:moveTo>
                <a:cubicBezTo>
                  <a:pt x="481" y="112"/>
                  <a:pt x="478" y="110"/>
                  <a:pt x="482" y="109"/>
                </a:cubicBezTo>
                <a:close/>
                <a:moveTo>
                  <a:pt x="496" y="72"/>
                </a:moveTo>
                <a:cubicBezTo>
                  <a:pt x="496" y="73"/>
                  <a:pt x="495" y="73"/>
                  <a:pt x="494" y="73"/>
                </a:cubicBezTo>
                <a:cubicBezTo>
                  <a:pt x="494" y="73"/>
                  <a:pt x="496" y="71"/>
                  <a:pt x="496" y="72"/>
                </a:cubicBezTo>
                <a:close/>
                <a:moveTo>
                  <a:pt x="494" y="43"/>
                </a:moveTo>
                <a:cubicBezTo>
                  <a:pt x="494" y="43"/>
                  <a:pt x="496" y="43"/>
                  <a:pt x="496" y="43"/>
                </a:cubicBezTo>
                <a:cubicBezTo>
                  <a:pt x="497" y="45"/>
                  <a:pt x="494" y="44"/>
                  <a:pt x="494" y="43"/>
                </a:cubicBezTo>
                <a:close/>
                <a:moveTo>
                  <a:pt x="493" y="64"/>
                </a:moveTo>
                <a:cubicBezTo>
                  <a:pt x="493" y="64"/>
                  <a:pt x="494" y="64"/>
                  <a:pt x="495" y="65"/>
                </a:cubicBezTo>
                <a:cubicBezTo>
                  <a:pt x="495" y="66"/>
                  <a:pt x="493" y="65"/>
                  <a:pt x="493" y="64"/>
                </a:cubicBezTo>
                <a:close/>
                <a:moveTo>
                  <a:pt x="499" y="87"/>
                </a:moveTo>
                <a:cubicBezTo>
                  <a:pt x="498" y="89"/>
                  <a:pt x="488" y="88"/>
                  <a:pt x="488" y="87"/>
                </a:cubicBezTo>
                <a:cubicBezTo>
                  <a:pt x="489" y="86"/>
                  <a:pt x="496" y="88"/>
                  <a:pt x="499" y="87"/>
                </a:cubicBezTo>
                <a:close/>
                <a:moveTo>
                  <a:pt x="493" y="105"/>
                </a:moveTo>
                <a:cubicBezTo>
                  <a:pt x="493" y="105"/>
                  <a:pt x="493" y="105"/>
                  <a:pt x="493" y="105"/>
                </a:cubicBezTo>
                <a:cubicBezTo>
                  <a:pt x="493" y="105"/>
                  <a:pt x="493" y="105"/>
                  <a:pt x="492" y="105"/>
                </a:cubicBezTo>
                <a:cubicBezTo>
                  <a:pt x="489" y="105"/>
                  <a:pt x="493" y="97"/>
                  <a:pt x="497" y="101"/>
                </a:cubicBezTo>
                <a:cubicBezTo>
                  <a:pt x="498" y="102"/>
                  <a:pt x="498" y="102"/>
                  <a:pt x="498" y="103"/>
                </a:cubicBezTo>
                <a:cubicBezTo>
                  <a:pt x="498" y="106"/>
                  <a:pt x="494" y="107"/>
                  <a:pt x="493" y="105"/>
                </a:cubicBezTo>
                <a:close/>
                <a:moveTo>
                  <a:pt x="495" y="108"/>
                </a:moveTo>
                <a:cubicBezTo>
                  <a:pt x="495" y="108"/>
                  <a:pt x="494" y="109"/>
                  <a:pt x="494" y="108"/>
                </a:cubicBezTo>
                <a:cubicBezTo>
                  <a:pt x="493" y="108"/>
                  <a:pt x="495" y="107"/>
                  <a:pt x="495" y="108"/>
                </a:cubicBezTo>
                <a:close/>
                <a:moveTo>
                  <a:pt x="494" y="174"/>
                </a:moveTo>
                <a:cubicBezTo>
                  <a:pt x="494" y="175"/>
                  <a:pt x="492" y="176"/>
                  <a:pt x="492" y="175"/>
                </a:cubicBezTo>
                <a:cubicBezTo>
                  <a:pt x="492" y="174"/>
                  <a:pt x="494" y="173"/>
                  <a:pt x="494" y="174"/>
                </a:cubicBezTo>
                <a:close/>
                <a:moveTo>
                  <a:pt x="495" y="98"/>
                </a:moveTo>
                <a:cubicBezTo>
                  <a:pt x="496" y="99"/>
                  <a:pt x="494" y="98"/>
                  <a:pt x="495" y="98"/>
                </a:cubicBezTo>
                <a:close/>
                <a:moveTo>
                  <a:pt x="499" y="91"/>
                </a:moveTo>
                <a:cubicBezTo>
                  <a:pt x="498" y="92"/>
                  <a:pt x="497" y="91"/>
                  <a:pt x="499" y="91"/>
                </a:cubicBezTo>
                <a:close/>
                <a:moveTo>
                  <a:pt x="491" y="166"/>
                </a:moveTo>
                <a:cubicBezTo>
                  <a:pt x="491" y="167"/>
                  <a:pt x="489" y="169"/>
                  <a:pt x="488" y="169"/>
                </a:cubicBezTo>
                <a:cubicBezTo>
                  <a:pt x="488" y="167"/>
                  <a:pt x="490" y="167"/>
                  <a:pt x="491" y="166"/>
                </a:cubicBezTo>
                <a:close/>
                <a:moveTo>
                  <a:pt x="485" y="144"/>
                </a:moveTo>
                <a:cubicBezTo>
                  <a:pt x="488" y="143"/>
                  <a:pt x="489" y="145"/>
                  <a:pt x="485" y="144"/>
                </a:cubicBezTo>
                <a:close/>
                <a:moveTo>
                  <a:pt x="486" y="93"/>
                </a:moveTo>
                <a:cubicBezTo>
                  <a:pt x="488" y="92"/>
                  <a:pt x="489" y="91"/>
                  <a:pt x="491" y="90"/>
                </a:cubicBezTo>
                <a:cubicBezTo>
                  <a:pt x="490" y="92"/>
                  <a:pt x="488" y="92"/>
                  <a:pt x="486" y="93"/>
                </a:cubicBezTo>
                <a:close/>
                <a:moveTo>
                  <a:pt x="491" y="61"/>
                </a:moveTo>
                <a:cubicBezTo>
                  <a:pt x="491" y="60"/>
                  <a:pt x="492" y="60"/>
                  <a:pt x="493" y="61"/>
                </a:cubicBezTo>
                <a:cubicBezTo>
                  <a:pt x="492" y="61"/>
                  <a:pt x="492" y="61"/>
                  <a:pt x="491" y="61"/>
                </a:cubicBezTo>
                <a:close/>
                <a:moveTo>
                  <a:pt x="490" y="74"/>
                </a:moveTo>
                <a:cubicBezTo>
                  <a:pt x="491" y="73"/>
                  <a:pt x="491" y="75"/>
                  <a:pt x="490" y="74"/>
                </a:cubicBezTo>
                <a:close/>
                <a:moveTo>
                  <a:pt x="489" y="67"/>
                </a:moveTo>
                <a:cubicBezTo>
                  <a:pt x="488" y="66"/>
                  <a:pt x="490" y="66"/>
                  <a:pt x="490" y="66"/>
                </a:cubicBezTo>
                <a:cubicBezTo>
                  <a:pt x="491" y="67"/>
                  <a:pt x="489" y="68"/>
                  <a:pt x="489" y="67"/>
                </a:cubicBezTo>
                <a:close/>
                <a:moveTo>
                  <a:pt x="488" y="60"/>
                </a:moveTo>
                <a:cubicBezTo>
                  <a:pt x="488" y="60"/>
                  <a:pt x="489" y="60"/>
                  <a:pt x="489" y="60"/>
                </a:cubicBezTo>
                <a:cubicBezTo>
                  <a:pt x="489" y="60"/>
                  <a:pt x="489" y="61"/>
                  <a:pt x="488" y="60"/>
                </a:cubicBezTo>
                <a:close/>
                <a:moveTo>
                  <a:pt x="492" y="82"/>
                </a:moveTo>
                <a:cubicBezTo>
                  <a:pt x="492" y="84"/>
                  <a:pt x="487" y="83"/>
                  <a:pt x="487" y="81"/>
                </a:cubicBezTo>
                <a:cubicBezTo>
                  <a:pt x="487" y="79"/>
                  <a:pt x="492" y="79"/>
                  <a:pt x="492" y="82"/>
                </a:cubicBezTo>
                <a:close/>
                <a:moveTo>
                  <a:pt x="483" y="73"/>
                </a:moveTo>
                <a:cubicBezTo>
                  <a:pt x="482" y="71"/>
                  <a:pt x="487" y="70"/>
                  <a:pt x="487" y="72"/>
                </a:cubicBezTo>
                <a:cubicBezTo>
                  <a:pt x="488" y="75"/>
                  <a:pt x="483" y="74"/>
                  <a:pt x="483" y="73"/>
                </a:cubicBezTo>
                <a:close/>
                <a:moveTo>
                  <a:pt x="483" y="60"/>
                </a:moveTo>
                <a:cubicBezTo>
                  <a:pt x="483" y="60"/>
                  <a:pt x="483" y="60"/>
                  <a:pt x="483" y="60"/>
                </a:cubicBezTo>
                <a:cubicBezTo>
                  <a:pt x="484" y="62"/>
                  <a:pt x="481" y="59"/>
                  <a:pt x="483" y="60"/>
                </a:cubicBezTo>
                <a:close/>
                <a:moveTo>
                  <a:pt x="482" y="62"/>
                </a:moveTo>
                <a:cubicBezTo>
                  <a:pt x="483" y="63"/>
                  <a:pt x="481" y="63"/>
                  <a:pt x="481" y="62"/>
                </a:cubicBezTo>
                <a:cubicBezTo>
                  <a:pt x="481" y="62"/>
                  <a:pt x="482" y="62"/>
                  <a:pt x="482" y="62"/>
                </a:cubicBezTo>
                <a:close/>
                <a:moveTo>
                  <a:pt x="487" y="184"/>
                </a:moveTo>
                <a:cubicBezTo>
                  <a:pt x="487" y="185"/>
                  <a:pt x="485" y="186"/>
                  <a:pt x="484" y="186"/>
                </a:cubicBezTo>
                <a:cubicBezTo>
                  <a:pt x="485" y="185"/>
                  <a:pt x="486" y="185"/>
                  <a:pt x="487" y="184"/>
                </a:cubicBezTo>
                <a:close/>
                <a:moveTo>
                  <a:pt x="495" y="174"/>
                </a:moveTo>
                <a:cubicBezTo>
                  <a:pt x="495" y="174"/>
                  <a:pt x="495" y="174"/>
                  <a:pt x="495" y="174"/>
                </a:cubicBezTo>
                <a:cubicBezTo>
                  <a:pt x="495" y="175"/>
                  <a:pt x="494" y="175"/>
                  <a:pt x="495" y="174"/>
                </a:cubicBezTo>
                <a:close/>
                <a:moveTo>
                  <a:pt x="498" y="141"/>
                </a:moveTo>
                <a:cubicBezTo>
                  <a:pt x="499" y="142"/>
                  <a:pt x="497" y="143"/>
                  <a:pt x="497" y="142"/>
                </a:cubicBezTo>
                <a:cubicBezTo>
                  <a:pt x="496" y="141"/>
                  <a:pt x="498" y="141"/>
                  <a:pt x="498" y="141"/>
                </a:cubicBezTo>
                <a:close/>
                <a:moveTo>
                  <a:pt x="497" y="131"/>
                </a:moveTo>
                <a:cubicBezTo>
                  <a:pt x="497" y="131"/>
                  <a:pt x="498" y="131"/>
                  <a:pt x="498" y="131"/>
                </a:cubicBezTo>
                <a:cubicBezTo>
                  <a:pt x="499" y="132"/>
                  <a:pt x="497" y="132"/>
                  <a:pt x="497" y="131"/>
                </a:cubicBezTo>
                <a:close/>
                <a:moveTo>
                  <a:pt x="498" y="128"/>
                </a:moveTo>
                <a:cubicBezTo>
                  <a:pt x="499" y="129"/>
                  <a:pt x="500" y="126"/>
                  <a:pt x="501" y="126"/>
                </a:cubicBezTo>
                <a:cubicBezTo>
                  <a:pt x="508" y="122"/>
                  <a:pt x="510" y="132"/>
                  <a:pt x="502" y="132"/>
                </a:cubicBezTo>
                <a:cubicBezTo>
                  <a:pt x="501" y="132"/>
                  <a:pt x="498" y="131"/>
                  <a:pt x="498" y="128"/>
                </a:cubicBezTo>
                <a:close/>
                <a:moveTo>
                  <a:pt x="502" y="94"/>
                </a:moveTo>
                <a:cubicBezTo>
                  <a:pt x="503" y="93"/>
                  <a:pt x="504" y="95"/>
                  <a:pt x="502" y="94"/>
                </a:cubicBezTo>
                <a:close/>
                <a:moveTo>
                  <a:pt x="505" y="67"/>
                </a:moveTo>
                <a:cubicBezTo>
                  <a:pt x="505" y="67"/>
                  <a:pt x="505" y="68"/>
                  <a:pt x="504" y="68"/>
                </a:cubicBezTo>
                <a:cubicBezTo>
                  <a:pt x="502" y="68"/>
                  <a:pt x="504" y="64"/>
                  <a:pt x="505" y="67"/>
                </a:cubicBezTo>
                <a:close/>
                <a:moveTo>
                  <a:pt x="503" y="121"/>
                </a:moveTo>
                <a:cubicBezTo>
                  <a:pt x="504" y="121"/>
                  <a:pt x="502" y="123"/>
                  <a:pt x="501" y="122"/>
                </a:cubicBezTo>
                <a:cubicBezTo>
                  <a:pt x="502" y="122"/>
                  <a:pt x="502" y="122"/>
                  <a:pt x="503" y="121"/>
                </a:cubicBezTo>
                <a:close/>
                <a:moveTo>
                  <a:pt x="506" y="123"/>
                </a:moveTo>
                <a:cubicBezTo>
                  <a:pt x="507" y="123"/>
                  <a:pt x="505" y="124"/>
                  <a:pt x="505" y="124"/>
                </a:cubicBezTo>
                <a:cubicBezTo>
                  <a:pt x="505" y="123"/>
                  <a:pt x="505" y="122"/>
                  <a:pt x="506" y="123"/>
                </a:cubicBezTo>
                <a:close/>
                <a:moveTo>
                  <a:pt x="506" y="142"/>
                </a:moveTo>
                <a:cubicBezTo>
                  <a:pt x="507" y="142"/>
                  <a:pt x="505" y="143"/>
                  <a:pt x="505" y="142"/>
                </a:cubicBezTo>
                <a:cubicBezTo>
                  <a:pt x="505" y="142"/>
                  <a:pt x="506" y="142"/>
                  <a:pt x="506" y="142"/>
                </a:cubicBezTo>
                <a:close/>
                <a:moveTo>
                  <a:pt x="502" y="137"/>
                </a:moveTo>
                <a:cubicBezTo>
                  <a:pt x="503" y="139"/>
                  <a:pt x="499" y="139"/>
                  <a:pt x="499" y="138"/>
                </a:cubicBezTo>
                <a:cubicBezTo>
                  <a:pt x="499" y="136"/>
                  <a:pt x="502" y="136"/>
                  <a:pt x="502" y="137"/>
                </a:cubicBezTo>
                <a:close/>
                <a:moveTo>
                  <a:pt x="504" y="199"/>
                </a:moveTo>
                <a:cubicBezTo>
                  <a:pt x="504" y="199"/>
                  <a:pt x="503" y="200"/>
                  <a:pt x="503" y="200"/>
                </a:cubicBezTo>
                <a:cubicBezTo>
                  <a:pt x="501" y="200"/>
                  <a:pt x="503" y="197"/>
                  <a:pt x="504" y="199"/>
                </a:cubicBezTo>
                <a:close/>
                <a:moveTo>
                  <a:pt x="512" y="113"/>
                </a:moveTo>
                <a:cubicBezTo>
                  <a:pt x="512" y="114"/>
                  <a:pt x="509" y="116"/>
                  <a:pt x="507" y="114"/>
                </a:cubicBezTo>
                <a:cubicBezTo>
                  <a:pt x="506" y="113"/>
                  <a:pt x="511" y="111"/>
                  <a:pt x="512" y="113"/>
                </a:cubicBezTo>
                <a:close/>
                <a:moveTo>
                  <a:pt x="508" y="101"/>
                </a:moveTo>
                <a:cubicBezTo>
                  <a:pt x="508" y="100"/>
                  <a:pt x="509" y="100"/>
                  <a:pt x="510" y="101"/>
                </a:cubicBezTo>
                <a:cubicBezTo>
                  <a:pt x="511" y="102"/>
                  <a:pt x="508" y="102"/>
                  <a:pt x="508" y="101"/>
                </a:cubicBezTo>
                <a:close/>
                <a:moveTo>
                  <a:pt x="510" y="102"/>
                </a:moveTo>
                <a:cubicBezTo>
                  <a:pt x="511" y="101"/>
                  <a:pt x="512" y="103"/>
                  <a:pt x="510" y="102"/>
                </a:cubicBezTo>
                <a:close/>
                <a:moveTo>
                  <a:pt x="514" y="132"/>
                </a:moveTo>
                <a:cubicBezTo>
                  <a:pt x="514" y="132"/>
                  <a:pt x="514" y="133"/>
                  <a:pt x="514" y="134"/>
                </a:cubicBezTo>
                <a:cubicBezTo>
                  <a:pt x="512" y="137"/>
                  <a:pt x="512" y="131"/>
                  <a:pt x="514" y="132"/>
                </a:cubicBezTo>
                <a:close/>
                <a:moveTo>
                  <a:pt x="515" y="154"/>
                </a:moveTo>
                <a:cubicBezTo>
                  <a:pt x="515" y="154"/>
                  <a:pt x="515" y="153"/>
                  <a:pt x="515" y="153"/>
                </a:cubicBezTo>
                <a:cubicBezTo>
                  <a:pt x="516" y="154"/>
                  <a:pt x="515" y="155"/>
                  <a:pt x="515" y="154"/>
                </a:cubicBezTo>
                <a:close/>
                <a:moveTo>
                  <a:pt x="516" y="153"/>
                </a:moveTo>
                <a:cubicBezTo>
                  <a:pt x="516" y="151"/>
                  <a:pt x="519" y="152"/>
                  <a:pt x="516" y="153"/>
                </a:cubicBezTo>
                <a:close/>
                <a:moveTo>
                  <a:pt x="513" y="148"/>
                </a:moveTo>
                <a:cubicBezTo>
                  <a:pt x="514" y="147"/>
                  <a:pt x="516" y="145"/>
                  <a:pt x="517" y="145"/>
                </a:cubicBezTo>
                <a:cubicBezTo>
                  <a:pt x="520" y="143"/>
                  <a:pt x="516" y="149"/>
                  <a:pt x="513" y="148"/>
                </a:cubicBezTo>
                <a:close/>
                <a:moveTo>
                  <a:pt x="515" y="134"/>
                </a:moveTo>
                <a:cubicBezTo>
                  <a:pt x="514" y="133"/>
                  <a:pt x="515" y="133"/>
                  <a:pt x="515" y="134"/>
                </a:cubicBezTo>
                <a:close/>
                <a:moveTo>
                  <a:pt x="518" y="86"/>
                </a:moveTo>
                <a:cubicBezTo>
                  <a:pt x="517" y="86"/>
                  <a:pt x="519" y="86"/>
                  <a:pt x="519" y="86"/>
                </a:cubicBezTo>
                <a:cubicBezTo>
                  <a:pt x="520" y="86"/>
                  <a:pt x="518" y="87"/>
                  <a:pt x="518" y="86"/>
                </a:cubicBezTo>
                <a:close/>
                <a:moveTo>
                  <a:pt x="518" y="88"/>
                </a:moveTo>
                <a:cubicBezTo>
                  <a:pt x="519" y="87"/>
                  <a:pt x="520" y="88"/>
                  <a:pt x="518" y="88"/>
                </a:cubicBezTo>
                <a:close/>
                <a:moveTo>
                  <a:pt x="519" y="94"/>
                </a:moveTo>
                <a:cubicBezTo>
                  <a:pt x="519" y="96"/>
                  <a:pt x="514" y="96"/>
                  <a:pt x="515" y="93"/>
                </a:cubicBezTo>
                <a:cubicBezTo>
                  <a:pt x="515" y="92"/>
                  <a:pt x="519" y="92"/>
                  <a:pt x="519" y="94"/>
                </a:cubicBezTo>
                <a:close/>
                <a:moveTo>
                  <a:pt x="516" y="113"/>
                </a:moveTo>
                <a:cubicBezTo>
                  <a:pt x="516" y="112"/>
                  <a:pt x="516" y="112"/>
                  <a:pt x="516" y="112"/>
                </a:cubicBezTo>
                <a:cubicBezTo>
                  <a:pt x="518" y="110"/>
                  <a:pt x="517" y="114"/>
                  <a:pt x="516" y="113"/>
                </a:cubicBezTo>
                <a:close/>
                <a:moveTo>
                  <a:pt x="518" y="143"/>
                </a:moveTo>
                <a:cubicBezTo>
                  <a:pt x="518" y="143"/>
                  <a:pt x="516" y="144"/>
                  <a:pt x="516" y="144"/>
                </a:cubicBezTo>
                <a:cubicBezTo>
                  <a:pt x="516" y="143"/>
                  <a:pt x="517" y="142"/>
                  <a:pt x="518" y="143"/>
                </a:cubicBezTo>
                <a:close/>
                <a:moveTo>
                  <a:pt x="515" y="139"/>
                </a:moveTo>
                <a:cubicBezTo>
                  <a:pt x="516" y="140"/>
                  <a:pt x="515" y="140"/>
                  <a:pt x="515" y="140"/>
                </a:cubicBezTo>
                <a:cubicBezTo>
                  <a:pt x="515" y="140"/>
                  <a:pt x="515" y="139"/>
                  <a:pt x="515" y="139"/>
                </a:cubicBezTo>
                <a:close/>
                <a:moveTo>
                  <a:pt x="519" y="150"/>
                </a:moveTo>
                <a:cubicBezTo>
                  <a:pt x="520" y="150"/>
                  <a:pt x="518" y="151"/>
                  <a:pt x="518" y="151"/>
                </a:cubicBezTo>
                <a:cubicBezTo>
                  <a:pt x="517" y="150"/>
                  <a:pt x="519" y="150"/>
                  <a:pt x="519" y="150"/>
                </a:cubicBezTo>
                <a:close/>
                <a:moveTo>
                  <a:pt x="525" y="72"/>
                </a:moveTo>
                <a:cubicBezTo>
                  <a:pt x="525" y="72"/>
                  <a:pt x="525" y="72"/>
                  <a:pt x="524" y="72"/>
                </a:cubicBezTo>
                <a:cubicBezTo>
                  <a:pt x="524" y="72"/>
                  <a:pt x="525" y="71"/>
                  <a:pt x="525" y="72"/>
                </a:cubicBezTo>
                <a:close/>
                <a:moveTo>
                  <a:pt x="509" y="73"/>
                </a:moveTo>
                <a:cubicBezTo>
                  <a:pt x="510" y="72"/>
                  <a:pt x="513" y="74"/>
                  <a:pt x="516" y="74"/>
                </a:cubicBezTo>
                <a:cubicBezTo>
                  <a:pt x="517" y="73"/>
                  <a:pt x="522" y="72"/>
                  <a:pt x="523" y="73"/>
                </a:cubicBezTo>
                <a:cubicBezTo>
                  <a:pt x="523" y="75"/>
                  <a:pt x="517" y="75"/>
                  <a:pt x="517" y="75"/>
                </a:cubicBezTo>
                <a:cubicBezTo>
                  <a:pt x="517" y="76"/>
                  <a:pt x="520" y="79"/>
                  <a:pt x="520" y="79"/>
                </a:cubicBezTo>
                <a:cubicBezTo>
                  <a:pt x="522" y="87"/>
                  <a:pt x="509" y="84"/>
                  <a:pt x="506" y="82"/>
                </a:cubicBezTo>
                <a:cubicBezTo>
                  <a:pt x="501" y="80"/>
                  <a:pt x="510" y="81"/>
                  <a:pt x="507" y="77"/>
                </a:cubicBezTo>
                <a:cubicBezTo>
                  <a:pt x="511" y="79"/>
                  <a:pt x="508" y="74"/>
                  <a:pt x="509" y="73"/>
                </a:cubicBezTo>
                <a:close/>
                <a:moveTo>
                  <a:pt x="509" y="61"/>
                </a:moveTo>
                <a:cubicBezTo>
                  <a:pt x="510" y="61"/>
                  <a:pt x="508" y="62"/>
                  <a:pt x="507" y="61"/>
                </a:cubicBezTo>
                <a:cubicBezTo>
                  <a:pt x="507" y="61"/>
                  <a:pt x="509" y="60"/>
                  <a:pt x="509" y="61"/>
                </a:cubicBezTo>
                <a:close/>
                <a:moveTo>
                  <a:pt x="511" y="36"/>
                </a:moveTo>
                <a:cubicBezTo>
                  <a:pt x="511" y="37"/>
                  <a:pt x="509" y="37"/>
                  <a:pt x="509" y="36"/>
                </a:cubicBezTo>
                <a:cubicBezTo>
                  <a:pt x="509" y="35"/>
                  <a:pt x="510" y="35"/>
                  <a:pt x="511" y="36"/>
                </a:cubicBezTo>
                <a:close/>
                <a:moveTo>
                  <a:pt x="509" y="38"/>
                </a:moveTo>
                <a:cubicBezTo>
                  <a:pt x="509" y="40"/>
                  <a:pt x="506" y="39"/>
                  <a:pt x="506" y="38"/>
                </a:cubicBezTo>
                <a:cubicBezTo>
                  <a:pt x="506" y="37"/>
                  <a:pt x="509" y="36"/>
                  <a:pt x="509" y="38"/>
                </a:cubicBezTo>
                <a:close/>
                <a:moveTo>
                  <a:pt x="509" y="50"/>
                </a:moveTo>
                <a:cubicBezTo>
                  <a:pt x="504" y="53"/>
                  <a:pt x="503" y="50"/>
                  <a:pt x="509" y="50"/>
                </a:cubicBezTo>
                <a:close/>
                <a:moveTo>
                  <a:pt x="506" y="53"/>
                </a:moveTo>
                <a:cubicBezTo>
                  <a:pt x="505" y="54"/>
                  <a:pt x="504" y="53"/>
                  <a:pt x="504" y="53"/>
                </a:cubicBezTo>
                <a:cubicBezTo>
                  <a:pt x="504" y="53"/>
                  <a:pt x="506" y="53"/>
                  <a:pt x="506" y="53"/>
                </a:cubicBezTo>
                <a:close/>
                <a:moveTo>
                  <a:pt x="504" y="64"/>
                </a:moveTo>
                <a:cubicBezTo>
                  <a:pt x="503" y="65"/>
                  <a:pt x="502" y="65"/>
                  <a:pt x="501" y="65"/>
                </a:cubicBezTo>
                <a:cubicBezTo>
                  <a:pt x="501" y="64"/>
                  <a:pt x="503" y="63"/>
                  <a:pt x="504" y="64"/>
                </a:cubicBezTo>
                <a:close/>
                <a:moveTo>
                  <a:pt x="501" y="64"/>
                </a:moveTo>
                <a:cubicBezTo>
                  <a:pt x="501" y="64"/>
                  <a:pt x="500" y="65"/>
                  <a:pt x="500" y="64"/>
                </a:cubicBezTo>
                <a:cubicBezTo>
                  <a:pt x="500" y="64"/>
                  <a:pt x="501" y="63"/>
                  <a:pt x="501" y="64"/>
                </a:cubicBezTo>
                <a:close/>
                <a:moveTo>
                  <a:pt x="501" y="123"/>
                </a:moveTo>
                <a:cubicBezTo>
                  <a:pt x="501" y="123"/>
                  <a:pt x="501" y="123"/>
                  <a:pt x="501" y="123"/>
                </a:cubicBezTo>
                <a:cubicBezTo>
                  <a:pt x="502" y="125"/>
                  <a:pt x="499" y="121"/>
                  <a:pt x="501" y="123"/>
                </a:cubicBezTo>
                <a:close/>
                <a:moveTo>
                  <a:pt x="499" y="65"/>
                </a:moveTo>
                <a:cubicBezTo>
                  <a:pt x="501" y="65"/>
                  <a:pt x="497" y="65"/>
                  <a:pt x="499" y="65"/>
                </a:cubicBezTo>
                <a:close/>
                <a:moveTo>
                  <a:pt x="498" y="38"/>
                </a:moveTo>
                <a:cubicBezTo>
                  <a:pt x="498" y="38"/>
                  <a:pt x="497" y="39"/>
                  <a:pt x="497" y="38"/>
                </a:cubicBezTo>
                <a:cubicBezTo>
                  <a:pt x="497" y="38"/>
                  <a:pt x="497" y="37"/>
                  <a:pt x="498" y="38"/>
                </a:cubicBezTo>
                <a:close/>
                <a:moveTo>
                  <a:pt x="497" y="31"/>
                </a:moveTo>
                <a:cubicBezTo>
                  <a:pt x="497" y="32"/>
                  <a:pt x="495" y="32"/>
                  <a:pt x="495" y="31"/>
                </a:cubicBezTo>
                <a:cubicBezTo>
                  <a:pt x="495" y="31"/>
                  <a:pt x="496" y="31"/>
                  <a:pt x="497" y="31"/>
                </a:cubicBezTo>
                <a:close/>
                <a:moveTo>
                  <a:pt x="496" y="40"/>
                </a:moveTo>
                <a:cubicBezTo>
                  <a:pt x="496" y="41"/>
                  <a:pt x="493" y="42"/>
                  <a:pt x="493" y="41"/>
                </a:cubicBezTo>
                <a:cubicBezTo>
                  <a:pt x="492" y="40"/>
                  <a:pt x="495" y="39"/>
                  <a:pt x="496" y="40"/>
                </a:cubicBezTo>
                <a:close/>
                <a:moveTo>
                  <a:pt x="492" y="44"/>
                </a:moveTo>
                <a:cubicBezTo>
                  <a:pt x="493" y="43"/>
                  <a:pt x="494" y="45"/>
                  <a:pt x="492" y="44"/>
                </a:cubicBezTo>
                <a:close/>
                <a:moveTo>
                  <a:pt x="488" y="29"/>
                </a:moveTo>
                <a:cubicBezTo>
                  <a:pt x="489" y="30"/>
                  <a:pt x="486" y="30"/>
                  <a:pt x="486" y="29"/>
                </a:cubicBezTo>
                <a:cubicBezTo>
                  <a:pt x="486" y="28"/>
                  <a:pt x="488" y="28"/>
                  <a:pt x="488" y="29"/>
                </a:cubicBezTo>
                <a:close/>
                <a:moveTo>
                  <a:pt x="487" y="31"/>
                </a:moveTo>
                <a:cubicBezTo>
                  <a:pt x="487" y="31"/>
                  <a:pt x="488" y="31"/>
                  <a:pt x="488" y="31"/>
                </a:cubicBezTo>
                <a:cubicBezTo>
                  <a:pt x="489" y="32"/>
                  <a:pt x="487" y="32"/>
                  <a:pt x="487" y="31"/>
                </a:cubicBezTo>
                <a:close/>
                <a:moveTo>
                  <a:pt x="488" y="40"/>
                </a:moveTo>
                <a:cubicBezTo>
                  <a:pt x="488" y="41"/>
                  <a:pt x="487" y="41"/>
                  <a:pt x="486" y="41"/>
                </a:cubicBezTo>
                <a:cubicBezTo>
                  <a:pt x="486" y="40"/>
                  <a:pt x="487" y="40"/>
                  <a:pt x="488" y="40"/>
                </a:cubicBezTo>
                <a:close/>
                <a:moveTo>
                  <a:pt x="484" y="41"/>
                </a:moveTo>
                <a:cubicBezTo>
                  <a:pt x="485" y="42"/>
                  <a:pt x="483" y="42"/>
                  <a:pt x="483" y="42"/>
                </a:cubicBezTo>
                <a:cubicBezTo>
                  <a:pt x="483" y="41"/>
                  <a:pt x="484" y="41"/>
                  <a:pt x="484" y="41"/>
                </a:cubicBezTo>
                <a:close/>
                <a:moveTo>
                  <a:pt x="483" y="38"/>
                </a:moveTo>
                <a:cubicBezTo>
                  <a:pt x="482" y="37"/>
                  <a:pt x="484" y="38"/>
                  <a:pt x="483" y="38"/>
                </a:cubicBezTo>
                <a:close/>
                <a:moveTo>
                  <a:pt x="483" y="51"/>
                </a:moveTo>
                <a:cubicBezTo>
                  <a:pt x="485" y="47"/>
                  <a:pt x="492" y="43"/>
                  <a:pt x="496" y="48"/>
                </a:cubicBezTo>
                <a:cubicBezTo>
                  <a:pt x="496" y="49"/>
                  <a:pt x="494" y="53"/>
                  <a:pt x="493" y="53"/>
                </a:cubicBezTo>
                <a:cubicBezTo>
                  <a:pt x="493" y="53"/>
                  <a:pt x="491" y="53"/>
                  <a:pt x="490" y="53"/>
                </a:cubicBezTo>
                <a:cubicBezTo>
                  <a:pt x="490" y="53"/>
                  <a:pt x="490" y="54"/>
                  <a:pt x="489" y="54"/>
                </a:cubicBezTo>
                <a:cubicBezTo>
                  <a:pt x="488" y="54"/>
                  <a:pt x="485" y="54"/>
                  <a:pt x="483" y="54"/>
                </a:cubicBezTo>
                <a:cubicBezTo>
                  <a:pt x="483" y="54"/>
                  <a:pt x="483" y="54"/>
                  <a:pt x="482" y="54"/>
                </a:cubicBezTo>
                <a:cubicBezTo>
                  <a:pt x="482" y="53"/>
                  <a:pt x="483" y="52"/>
                  <a:pt x="483" y="51"/>
                </a:cubicBezTo>
                <a:close/>
                <a:moveTo>
                  <a:pt x="482" y="56"/>
                </a:moveTo>
                <a:cubicBezTo>
                  <a:pt x="483" y="57"/>
                  <a:pt x="480" y="57"/>
                  <a:pt x="480" y="57"/>
                </a:cubicBezTo>
                <a:cubicBezTo>
                  <a:pt x="479" y="55"/>
                  <a:pt x="482" y="55"/>
                  <a:pt x="482" y="56"/>
                </a:cubicBezTo>
                <a:close/>
                <a:moveTo>
                  <a:pt x="479" y="43"/>
                </a:moveTo>
                <a:cubicBezTo>
                  <a:pt x="479" y="45"/>
                  <a:pt x="475" y="45"/>
                  <a:pt x="474" y="44"/>
                </a:cubicBezTo>
                <a:cubicBezTo>
                  <a:pt x="474" y="43"/>
                  <a:pt x="478" y="42"/>
                  <a:pt x="479" y="43"/>
                </a:cubicBezTo>
                <a:close/>
                <a:moveTo>
                  <a:pt x="473" y="28"/>
                </a:moveTo>
                <a:cubicBezTo>
                  <a:pt x="472" y="28"/>
                  <a:pt x="474" y="28"/>
                  <a:pt x="473" y="28"/>
                </a:cubicBezTo>
                <a:close/>
                <a:moveTo>
                  <a:pt x="471" y="33"/>
                </a:moveTo>
                <a:cubicBezTo>
                  <a:pt x="471" y="34"/>
                  <a:pt x="470" y="34"/>
                  <a:pt x="469" y="34"/>
                </a:cubicBezTo>
                <a:cubicBezTo>
                  <a:pt x="469" y="33"/>
                  <a:pt x="471" y="32"/>
                  <a:pt x="471" y="33"/>
                </a:cubicBezTo>
                <a:close/>
                <a:moveTo>
                  <a:pt x="467" y="32"/>
                </a:moveTo>
                <a:cubicBezTo>
                  <a:pt x="469" y="31"/>
                  <a:pt x="470" y="33"/>
                  <a:pt x="467" y="32"/>
                </a:cubicBezTo>
                <a:close/>
                <a:moveTo>
                  <a:pt x="467" y="46"/>
                </a:moveTo>
                <a:cubicBezTo>
                  <a:pt x="468" y="44"/>
                  <a:pt x="469" y="47"/>
                  <a:pt x="467" y="46"/>
                </a:cubicBezTo>
                <a:close/>
                <a:moveTo>
                  <a:pt x="467" y="52"/>
                </a:moveTo>
                <a:cubicBezTo>
                  <a:pt x="466" y="52"/>
                  <a:pt x="468" y="53"/>
                  <a:pt x="467" y="52"/>
                </a:cubicBezTo>
                <a:close/>
                <a:moveTo>
                  <a:pt x="467" y="30"/>
                </a:moveTo>
                <a:cubicBezTo>
                  <a:pt x="467" y="30"/>
                  <a:pt x="468" y="31"/>
                  <a:pt x="467" y="31"/>
                </a:cubicBezTo>
                <a:cubicBezTo>
                  <a:pt x="465" y="31"/>
                  <a:pt x="467" y="28"/>
                  <a:pt x="467" y="30"/>
                </a:cubicBezTo>
                <a:close/>
                <a:moveTo>
                  <a:pt x="468" y="38"/>
                </a:moveTo>
                <a:cubicBezTo>
                  <a:pt x="468" y="39"/>
                  <a:pt x="466" y="40"/>
                  <a:pt x="465" y="39"/>
                </a:cubicBezTo>
                <a:cubicBezTo>
                  <a:pt x="465" y="38"/>
                  <a:pt x="467" y="37"/>
                  <a:pt x="468" y="38"/>
                </a:cubicBezTo>
                <a:close/>
                <a:moveTo>
                  <a:pt x="464" y="49"/>
                </a:moveTo>
                <a:cubicBezTo>
                  <a:pt x="463" y="50"/>
                  <a:pt x="462" y="48"/>
                  <a:pt x="462" y="49"/>
                </a:cubicBezTo>
                <a:cubicBezTo>
                  <a:pt x="460" y="46"/>
                  <a:pt x="468" y="49"/>
                  <a:pt x="464" y="49"/>
                </a:cubicBezTo>
                <a:close/>
                <a:moveTo>
                  <a:pt x="463" y="51"/>
                </a:moveTo>
                <a:cubicBezTo>
                  <a:pt x="463" y="51"/>
                  <a:pt x="464" y="51"/>
                  <a:pt x="464" y="51"/>
                </a:cubicBezTo>
                <a:cubicBezTo>
                  <a:pt x="465" y="52"/>
                  <a:pt x="464" y="51"/>
                  <a:pt x="463" y="51"/>
                </a:cubicBezTo>
                <a:close/>
                <a:moveTo>
                  <a:pt x="447" y="79"/>
                </a:moveTo>
                <a:cubicBezTo>
                  <a:pt x="448" y="79"/>
                  <a:pt x="446" y="80"/>
                  <a:pt x="446" y="80"/>
                </a:cubicBezTo>
                <a:cubicBezTo>
                  <a:pt x="446" y="79"/>
                  <a:pt x="446" y="79"/>
                  <a:pt x="447" y="79"/>
                </a:cubicBezTo>
                <a:close/>
                <a:moveTo>
                  <a:pt x="446" y="189"/>
                </a:moveTo>
                <a:cubicBezTo>
                  <a:pt x="446" y="188"/>
                  <a:pt x="448" y="188"/>
                  <a:pt x="448" y="189"/>
                </a:cubicBezTo>
                <a:cubicBezTo>
                  <a:pt x="448" y="190"/>
                  <a:pt x="446" y="190"/>
                  <a:pt x="446" y="189"/>
                </a:cubicBezTo>
                <a:close/>
                <a:moveTo>
                  <a:pt x="449" y="610"/>
                </a:moveTo>
                <a:cubicBezTo>
                  <a:pt x="448" y="610"/>
                  <a:pt x="447" y="610"/>
                  <a:pt x="446" y="610"/>
                </a:cubicBezTo>
                <a:cubicBezTo>
                  <a:pt x="447" y="609"/>
                  <a:pt x="448" y="609"/>
                  <a:pt x="449" y="610"/>
                </a:cubicBezTo>
                <a:close/>
                <a:moveTo>
                  <a:pt x="447" y="145"/>
                </a:moveTo>
                <a:cubicBezTo>
                  <a:pt x="446" y="146"/>
                  <a:pt x="445" y="145"/>
                  <a:pt x="447" y="145"/>
                </a:cubicBezTo>
                <a:close/>
                <a:moveTo>
                  <a:pt x="447" y="126"/>
                </a:moveTo>
                <a:cubicBezTo>
                  <a:pt x="447" y="126"/>
                  <a:pt x="446" y="127"/>
                  <a:pt x="446" y="127"/>
                </a:cubicBezTo>
                <a:cubicBezTo>
                  <a:pt x="446" y="127"/>
                  <a:pt x="446" y="126"/>
                  <a:pt x="447" y="126"/>
                </a:cubicBezTo>
                <a:close/>
                <a:moveTo>
                  <a:pt x="446" y="180"/>
                </a:moveTo>
                <a:cubicBezTo>
                  <a:pt x="446" y="184"/>
                  <a:pt x="439" y="183"/>
                  <a:pt x="438" y="180"/>
                </a:cubicBezTo>
                <a:cubicBezTo>
                  <a:pt x="438" y="178"/>
                  <a:pt x="446" y="176"/>
                  <a:pt x="446" y="180"/>
                </a:cubicBezTo>
                <a:close/>
                <a:moveTo>
                  <a:pt x="441" y="175"/>
                </a:moveTo>
                <a:cubicBezTo>
                  <a:pt x="441" y="173"/>
                  <a:pt x="444" y="173"/>
                  <a:pt x="444" y="174"/>
                </a:cubicBezTo>
                <a:cubicBezTo>
                  <a:pt x="445" y="176"/>
                  <a:pt x="442" y="176"/>
                  <a:pt x="441" y="175"/>
                </a:cubicBezTo>
                <a:close/>
                <a:moveTo>
                  <a:pt x="446" y="135"/>
                </a:moveTo>
                <a:cubicBezTo>
                  <a:pt x="444" y="136"/>
                  <a:pt x="441" y="137"/>
                  <a:pt x="440" y="136"/>
                </a:cubicBezTo>
                <a:cubicBezTo>
                  <a:pt x="442" y="136"/>
                  <a:pt x="444" y="134"/>
                  <a:pt x="446" y="135"/>
                </a:cubicBezTo>
                <a:close/>
                <a:moveTo>
                  <a:pt x="443" y="79"/>
                </a:moveTo>
                <a:cubicBezTo>
                  <a:pt x="444" y="78"/>
                  <a:pt x="445" y="80"/>
                  <a:pt x="443" y="79"/>
                </a:cubicBezTo>
                <a:close/>
                <a:moveTo>
                  <a:pt x="443" y="79"/>
                </a:moveTo>
                <a:cubicBezTo>
                  <a:pt x="442" y="80"/>
                  <a:pt x="440" y="81"/>
                  <a:pt x="439" y="81"/>
                </a:cubicBezTo>
                <a:cubicBezTo>
                  <a:pt x="439" y="79"/>
                  <a:pt x="441" y="80"/>
                  <a:pt x="443" y="79"/>
                </a:cubicBezTo>
                <a:close/>
                <a:moveTo>
                  <a:pt x="438" y="137"/>
                </a:moveTo>
                <a:cubicBezTo>
                  <a:pt x="439" y="137"/>
                  <a:pt x="437" y="138"/>
                  <a:pt x="437" y="138"/>
                </a:cubicBezTo>
                <a:cubicBezTo>
                  <a:pt x="437" y="138"/>
                  <a:pt x="438" y="137"/>
                  <a:pt x="438" y="137"/>
                </a:cubicBezTo>
                <a:close/>
                <a:moveTo>
                  <a:pt x="437" y="228"/>
                </a:moveTo>
                <a:cubicBezTo>
                  <a:pt x="436" y="229"/>
                  <a:pt x="433" y="230"/>
                  <a:pt x="432" y="232"/>
                </a:cubicBezTo>
                <a:cubicBezTo>
                  <a:pt x="433" y="230"/>
                  <a:pt x="435" y="229"/>
                  <a:pt x="437" y="228"/>
                </a:cubicBezTo>
                <a:close/>
                <a:moveTo>
                  <a:pt x="431" y="647"/>
                </a:moveTo>
                <a:cubicBezTo>
                  <a:pt x="432" y="648"/>
                  <a:pt x="430" y="646"/>
                  <a:pt x="431" y="647"/>
                </a:cubicBezTo>
                <a:close/>
                <a:moveTo>
                  <a:pt x="430" y="190"/>
                </a:move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lose/>
                <a:moveTo>
                  <a:pt x="430" y="233"/>
                </a:moveTo>
                <a:cubicBezTo>
                  <a:pt x="428" y="236"/>
                  <a:pt x="427" y="233"/>
                  <a:pt x="430" y="233"/>
                </a:cubicBezTo>
                <a:close/>
                <a:moveTo>
                  <a:pt x="430" y="647"/>
                </a:moveTo>
                <a:cubicBezTo>
                  <a:pt x="430" y="648"/>
                  <a:pt x="428" y="648"/>
                  <a:pt x="428" y="648"/>
                </a:cubicBezTo>
                <a:cubicBezTo>
                  <a:pt x="428" y="647"/>
                  <a:pt x="429" y="647"/>
                  <a:pt x="430" y="647"/>
                </a:cubicBezTo>
                <a:close/>
                <a:moveTo>
                  <a:pt x="427" y="105"/>
                </a:moveTo>
                <a:cubicBezTo>
                  <a:pt x="426" y="104"/>
                  <a:pt x="428" y="106"/>
                  <a:pt x="427" y="105"/>
                </a:cubicBezTo>
                <a:close/>
                <a:moveTo>
                  <a:pt x="426" y="572"/>
                </a:moveTo>
                <a:cubicBezTo>
                  <a:pt x="427" y="571"/>
                  <a:pt x="427" y="574"/>
                  <a:pt x="426" y="573"/>
                </a:cubicBezTo>
                <a:cubicBezTo>
                  <a:pt x="426" y="573"/>
                  <a:pt x="426" y="572"/>
                  <a:pt x="426" y="572"/>
                </a:cubicBezTo>
                <a:close/>
                <a:moveTo>
                  <a:pt x="424" y="210"/>
                </a:moveTo>
                <a:cubicBezTo>
                  <a:pt x="425" y="209"/>
                  <a:pt x="426" y="211"/>
                  <a:pt x="424" y="210"/>
                </a:cubicBezTo>
                <a:close/>
                <a:moveTo>
                  <a:pt x="422" y="80"/>
                </a:moveTo>
                <a:cubicBezTo>
                  <a:pt x="423" y="81"/>
                  <a:pt x="421" y="81"/>
                  <a:pt x="420" y="81"/>
                </a:cubicBezTo>
                <a:cubicBezTo>
                  <a:pt x="420" y="80"/>
                  <a:pt x="422" y="80"/>
                  <a:pt x="422" y="80"/>
                </a:cubicBezTo>
                <a:close/>
                <a:moveTo>
                  <a:pt x="423" y="85"/>
                </a:moveTo>
                <a:cubicBezTo>
                  <a:pt x="423" y="85"/>
                  <a:pt x="420" y="86"/>
                  <a:pt x="420" y="85"/>
                </a:cubicBezTo>
                <a:cubicBezTo>
                  <a:pt x="419" y="85"/>
                  <a:pt x="424" y="83"/>
                  <a:pt x="423" y="85"/>
                </a:cubicBezTo>
                <a:close/>
                <a:moveTo>
                  <a:pt x="421" y="667"/>
                </a:moveTo>
                <a:cubicBezTo>
                  <a:pt x="423" y="666"/>
                  <a:pt x="422" y="668"/>
                  <a:pt x="421" y="667"/>
                </a:cubicBezTo>
                <a:close/>
                <a:moveTo>
                  <a:pt x="419" y="54"/>
                </a:moveTo>
                <a:cubicBezTo>
                  <a:pt x="420" y="54"/>
                  <a:pt x="419" y="55"/>
                  <a:pt x="419" y="55"/>
                </a:cubicBezTo>
                <a:cubicBezTo>
                  <a:pt x="418" y="55"/>
                  <a:pt x="418" y="54"/>
                  <a:pt x="419" y="54"/>
                </a:cubicBezTo>
                <a:close/>
                <a:moveTo>
                  <a:pt x="419" y="61"/>
                </a:moveTo>
                <a:cubicBezTo>
                  <a:pt x="419" y="61"/>
                  <a:pt x="417" y="61"/>
                  <a:pt x="417" y="60"/>
                </a:cubicBezTo>
                <a:cubicBezTo>
                  <a:pt x="417" y="60"/>
                  <a:pt x="418" y="60"/>
                  <a:pt x="419" y="61"/>
                </a:cubicBezTo>
                <a:close/>
                <a:moveTo>
                  <a:pt x="411" y="63"/>
                </a:moveTo>
                <a:cubicBezTo>
                  <a:pt x="411" y="63"/>
                  <a:pt x="410" y="64"/>
                  <a:pt x="410" y="63"/>
                </a:cubicBezTo>
                <a:cubicBezTo>
                  <a:pt x="409" y="63"/>
                  <a:pt x="411" y="62"/>
                  <a:pt x="411" y="63"/>
                </a:cubicBezTo>
                <a:close/>
                <a:moveTo>
                  <a:pt x="408" y="93"/>
                </a:moveTo>
                <a:cubicBezTo>
                  <a:pt x="408" y="94"/>
                  <a:pt x="407" y="94"/>
                  <a:pt x="407" y="94"/>
                </a:cubicBezTo>
                <a:cubicBezTo>
                  <a:pt x="406" y="93"/>
                  <a:pt x="408" y="93"/>
                  <a:pt x="408" y="93"/>
                </a:cubicBezTo>
                <a:close/>
                <a:moveTo>
                  <a:pt x="406" y="125"/>
                </a:moveTo>
                <a:cubicBezTo>
                  <a:pt x="406" y="126"/>
                  <a:pt x="404" y="125"/>
                  <a:pt x="406" y="125"/>
                </a:cubicBezTo>
                <a:close/>
                <a:moveTo>
                  <a:pt x="405" y="97"/>
                </a:moveTo>
                <a:cubicBezTo>
                  <a:pt x="404" y="97"/>
                  <a:pt x="404" y="97"/>
                  <a:pt x="404" y="96"/>
                </a:cubicBezTo>
                <a:cubicBezTo>
                  <a:pt x="403" y="95"/>
                  <a:pt x="406" y="97"/>
                  <a:pt x="405" y="97"/>
                </a:cubicBezTo>
                <a:close/>
                <a:moveTo>
                  <a:pt x="408" y="154"/>
                </a:moveTo>
                <a:cubicBezTo>
                  <a:pt x="406" y="156"/>
                  <a:pt x="402" y="158"/>
                  <a:pt x="399" y="158"/>
                </a:cubicBezTo>
                <a:cubicBezTo>
                  <a:pt x="402" y="157"/>
                  <a:pt x="405" y="156"/>
                  <a:pt x="408" y="154"/>
                </a:cubicBezTo>
                <a:close/>
                <a:moveTo>
                  <a:pt x="399" y="122"/>
                </a:moveTo>
                <a:cubicBezTo>
                  <a:pt x="399" y="122"/>
                  <a:pt x="400" y="121"/>
                  <a:pt x="400" y="122"/>
                </a:cubicBezTo>
                <a:cubicBezTo>
                  <a:pt x="400" y="122"/>
                  <a:pt x="400" y="123"/>
                  <a:pt x="399" y="122"/>
                </a:cubicBezTo>
                <a:close/>
                <a:moveTo>
                  <a:pt x="401" y="71"/>
                </a:moveTo>
                <a:cubicBezTo>
                  <a:pt x="402" y="72"/>
                  <a:pt x="400" y="73"/>
                  <a:pt x="399" y="72"/>
                </a:cubicBezTo>
                <a:cubicBezTo>
                  <a:pt x="399" y="71"/>
                  <a:pt x="401" y="70"/>
                  <a:pt x="401" y="71"/>
                </a:cubicBezTo>
                <a:close/>
                <a:moveTo>
                  <a:pt x="399" y="97"/>
                </a:moveTo>
                <a:cubicBezTo>
                  <a:pt x="399" y="97"/>
                  <a:pt x="398" y="98"/>
                  <a:pt x="397" y="97"/>
                </a:cubicBezTo>
                <a:cubicBezTo>
                  <a:pt x="398" y="97"/>
                  <a:pt x="398" y="97"/>
                  <a:pt x="399" y="97"/>
                </a:cubicBezTo>
                <a:close/>
                <a:moveTo>
                  <a:pt x="398" y="160"/>
                </a:moveTo>
                <a:cubicBezTo>
                  <a:pt x="398" y="160"/>
                  <a:pt x="398" y="159"/>
                  <a:pt x="399" y="159"/>
                </a:cubicBezTo>
                <a:cubicBezTo>
                  <a:pt x="399" y="159"/>
                  <a:pt x="398" y="160"/>
                  <a:pt x="398" y="160"/>
                </a:cubicBezTo>
                <a:close/>
                <a:moveTo>
                  <a:pt x="398" y="169"/>
                </a:moveTo>
                <a:cubicBezTo>
                  <a:pt x="399" y="170"/>
                  <a:pt x="397" y="171"/>
                  <a:pt x="397" y="170"/>
                </a:cubicBezTo>
                <a:cubicBezTo>
                  <a:pt x="397" y="169"/>
                  <a:pt x="398" y="169"/>
                  <a:pt x="398" y="169"/>
                </a:cubicBezTo>
                <a:close/>
                <a:moveTo>
                  <a:pt x="397" y="159"/>
                </a:moveTo>
                <a:cubicBezTo>
                  <a:pt x="397" y="160"/>
                  <a:pt x="395" y="162"/>
                  <a:pt x="395" y="161"/>
                </a:cubicBezTo>
                <a:cubicBezTo>
                  <a:pt x="395" y="160"/>
                  <a:pt x="397" y="160"/>
                  <a:pt x="397" y="159"/>
                </a:cubicBezTo>
                <a:close/>
                <a:moveTo>
                  <a:pt x="395" y="78"/>
                </a:moveTo>
                <a:cubicBezTo>
                  <a:pt x="395" y="78"/>
                  <a:pt x="394" y="78"/>
                  <a:pt x="394" y="78"/>
                </a:cubicBezTo>
                <a:cubicBezTo>
                  <a:pt x="393" y="78"/>
                  <a:pt x="395" y="78"/>
                  <a:pt x="395" y="78"/>
                </a:cubicBezTo>
                <a:close/>
                <a:moveTo>
                  <a:pt x="392" y="104"/>
                </a:moveTo>
                <a:cubicBezTo>
                  <a:pt x="393" y="106"/>
                  <a:pt x="390" y="105"/>
                  <a:pt x="390" y="104"/>
                </a:cubicBezTo>
                <a:cubicBezTo>
                  <a:pt x="390" y="102"/>
                  <a:pt x="392" y="103"/>
                  <a:pt x="392" y="104"/>
                </a:cubicBezTo>
                <a:close/>
                <a:moveTo>
                  <a:pt x="388" y="79"/>
                </a:moveTo>
                <a:cubicBezTo>
                  <a:pt x="387" y="80"/>
                  <a:pt x="386" y="79"/>
                  <a:pt x="385" y="80"/>
                </a:cubicBezTo>
                <a:cubicBezTo>
                  <a:pt x="385" y="79"/>
                  <a:pt x="387" y="79"/>
                  <a:pt x="388" y="79"/>
                </a:cubicBezTo>
                <a:close/>
                <a:moveTo>
                  <a:pt x="385" y="112"/>
                </a:moveTo>
                <a:cubicBezTo>
                  <a:pt x="385" y="112"/>
                  <a:pt x="387" y="111"/>
                  <a:pt x="387" y="112"/>
                </a:cubicBezTo>
                <a:cubicBezTo>
                  <a:pt x="388" y="114"/>
                  <a:pt x="384" y="114"/>
                  <a:pt x="385" y="112"/>
                </a:cubicBezTo>
                <a:close/>
                <a:moveTo>
                  <a:pt x="382" y="113"/>
                </a:moveTo>
                <a:cubicBezTo>
                  <a:pt x="384" y="111"/>
                  <a:pt x="385" y="114"/>
                  <a:pt x="382" y="113"/>
                </a:cubicBezTo>
                <a:close/>
                <a:moveTo>
                  <a:pt x="379" y="110"/>
                </a:moveTo>
                <a:cubicBezTo>
                  <a:pt x="380" y="111"/>
                  <a:pt x="376" y="111"/>
                  <a:pt x="376" y="110"/>
                </a:cubicBezTo>
                <a:cubicBezTo>
                  <a:pt x="375" y="109"/>
                  <a:pt x="378" y="108"/>
                  <a:pt x="379" y="110"/>
                </a:cubicBezTo>
                <a:close/>
                <a:moveTo>
                  <a:pt x="379" y="80"/>
                </a:moveTo>
                <a:cubicBezTo>
                  <a:pt x="379" y="80"/>
                  <a:pt x="377" y="81"/>
                  <a:pt x="377" y="81"/>
                </a:cubicBezTo>
                <a:cubicBezTo>
                  <a:pt x="377" y="80"/>
                  <a:pt x="378" y="80"/>
                  <a:pt x="379" y="80"/>
                </a:cubicBezTo>
                <a:close/>
                <a:moveTo>
                  <a:pt x="376" y="81"/>
                </a:moveTo>
                <a:cubicBezTo>
                  <a:pt x="375" y="81"/>
                  <a:pt x="374" y="81"/>
                  <a:pt x="374" y="81"/>
                </a:cubicBezTo>
                <a:cubicBezTo>
                  <a:pt x="373" y="81"/>
                  <a:pt x="375" y="81"/>
                  <a:pt x="376" y="81"/>
                </a:cubicBezTo>
                <a:close/>
                <a:moveTo>
                  <a:pt x="372" y="76"/>
                </a:moveTo>
                <a:cubicBezTo>
                  <a:pt x="372" y="76"/>
                  <a:pt x="372" y="76"/>
                  <a:pt x="372" y="76"/>
                </a:cubicBezTo>
                <a:cubicBezTo>
                  <a:pt x="372" y="76"/>
                  <a:pt x="371" y="76"/>
                  <a:pt x="371" y="76"/>
                </a:cubicBezTo>
                <a:cubicBezTo>
                  <a:pt x="371" y="76"/>
                  <a:pt x="371" y="76"/>
                  <a:pt x="372" y="76"/>
                </a:cubicBezTo>
                <a:close/>
                <a:moveTo>
                  <a:pt x="363" y="95"/>
                </a:moveTo>
                <a:cubicBezTo>
                  <a:pt x="362" y="96"/>
                  <a:pt x="361" y="94"/>
                  <a:pt x="363" y="95"/>
                </a:cubicBezTo>
                <a:close/>
                <a:moveTo>
                  <a:pt x="362" y="110"/>
                </a:moveTo>
                <a:cubicBezTo>
                  <a:pt x="362" y="112"/>
                  <a:pt x="358" y="112"/>
                  <a:pt x="357" y="111"/>
                </a:cubicBezTo>
                <a:cubicBezTo>
                  <a:pt x="357" y="111"/>
                  <a:pt x="357" y="111"/>
                  <a:pt x="356" y="110"/>
                </a:cubicBezTo>
                <a:cubicBezTo>
                  <a:pt x="357" y="111"/>
                  <a:pt x="355" y="112"/>
                  <a:pt x="355" y="111"/>
                </a:cubicBezTo>
                <a:cubicBezTo>
                  <a:pt x="354" y="110"/>
                  <a:pt x="363" y="106"/>
                  <a:pt x="362" y="110"/>
                </a:cubicBezTo>
                <a:close/>
                <a:moveTo>
                  <a:pt x="357" y="127"/>
                </a:moveTo>
                <a:cubicBezTo>
                  <a:pt x="362" y="124"/>
                  <a:pt x="368" y="124"/>
                  <a:pt x="374" y="121"/>
                </a:cubicBezTo>
                <a:cubicBezTo>
                  <a:pt x="379" y="119"/>
                  <a:pt x="384" y="116"/>
                  <a:pt x="389" y="116"/>
                </a:cubicBezTo>
                <a:cubicBezTo>
                  <a:pt x="389" y="116"/>
                  <a:pt x="390" y="117"/>
                  <a:pt x="390" y="117"/>
                </a:cubicBezTo>
                <a:cubicBezTo>
                  <a:pt x="390" y="118"/>
                  <a:pt x="381" y="121"/>
                  <a:pt x="378" y="122"/>
                </a:cubicBezTo>
                <a:cubicBezTo>
                  <a:pt x="373" y="123"/>
                  <a:pt x="369" y="124"/>
                  <a:pt x="364" y="125"/>
                </a:cubicBezTo>
                <a:cubicBezTo>
                  <a:pt x="363" y="126"/>
                  <a:pt x="357" y="129"/>
                  <a:pt x="355" y="129"/>
                </a:cubicBezTo>
                <a:cubicBezTo>
                  <a:pt x="352" y="129"/>
                  <a:pt x="356" y="127"/>
                  <a:pt x="357" y="127"/>
                </a:cubicBezTo>
                <a:close/>
                <a:moveTo>
                  <a:pt x="357" y="587"/>
                </a:moveTo>
                <a:cubicBezTo>
                  <a:pt x="365" y="583"/>
                  <a:pt x="375" y="580"/>
                  <a:pt x="384" y="576"/>
                </a:cubicBezTo>
                <a:cubicBezTo>
                  <a:pt x="385" y="576"/>
                  <a:pt x="387" y="575"/>
                  <a:pt x="387" y="576"/>
                </a:cubicBezTo>
                <a:cubicBezTo>
                  <a:pt x="388" y="577"/>
                  <a:pt x="384" y="578"/>
                  <a:pt x="386" y="577"/>
                </a:cubicBezTo>
                <a:cubicBezTo>
                  <a:pt x="377" y="581"/>
                  <a:pt x="366" y="585"/>
                  <a:pt x="357" y="587"/>
                </a:cubicBezTo>
                <a:close/>
                <a:moveTo>
                  <a:pt x="376" y="609"/>
                </a:moveTo>
                <a:cubicBezTo>
                  <a:pt x="376" y="610"/>
                  <a:pt x="374" y="610"/>
                  <a:pt x="374" y="610"/>
                </a:cubicBezTo>
                <a:cubicBezTo>
                  <a:pt x="373" y="609"/>
                  <a:pt x="376" y="608"/>
                  <a:pt x="376" y="609"/>
                </a:cubicBezTo>
                <a:close/>
                <a:moveTo>
                  <a:pt x="374" y="600"/>
                </a:moveTo>
                <a:cubicBezTo>
                  <a:pt x="373" y="599"/>
                  <a:pt x="375" y="599"/>
                  <a:pt x="375" y="600"/>
                </a:cubicBezTo>
                <a:cubicBezTo>
                  <a:pt x="375" y="601"/>
                  <a:pt x="374" y="600"/>
                  <a:pt x="374" y="600"/>
                </a:cubicBezTo>
                <a:close/>
                <a:moveTo>
                  <a:pt x="372" y="610"/>
                </a:moveTo>
                <a:cubicBezTo>
                  <a:pt x="371" y="610"/>
                  <a:pt x="373" y="609"/>
                  <a:pt x="373" y="610"/>
                </a:cubicBezTo>
                <a:cubicBezTo>
                  <a:pt x="373" y="610"/>
                  <a:pt x="373" y="611"/>
                  <a:pt x="372" y="610"/>
                </a:cubicBezTo>
                <a:close/>
                <a:moveTo>
                  <a:pt x="364" y="137"/>
                </a:moveTo>
                <a:cubicBezTo>
                  <a:pt x="364" y="138"/>
                  <a:pt x="364" y="137"/>
                  <a:pt x="363" y="138"/>
                </a:cubicBezTo>
                <a:cubicBezTo>
                  <a:pt x="363" y="137"/>
                  <a:pt x="364" y="137"/>
                  <a:pt x="364" y="137"/>
                </a:cubicBezTo>
                <a:close/>
                <a:moveTo>
                  <a:pt x="376" y="167"/>
                </a:moveTo>
                <a:cubicBezTo>
                  <a:pt x="377" y="168"/>
                  <a:pt x="373" y="170"/>
                  <a:pt x="371" y="170"/>
                </a:cubicBezTo>
                <a:cubicBezTo>
                  <a:pt x="371" y="170"/>
                  <a:pt x="368" y="169"/>
                  <a:pt x="367" y="169"/>
                </a:cubicBezTo>
                <a:cubicBezTo>
                  <a:pt x="367" y="168"/>
                  <a:pt x="371" y="165"/>
                  <a:pt x="373" y="168"/>
                </a:cubicBezTo>
                <a:cubicBezTo>
                  <a:pt x="373" y="168"/>
                  <a:pt x="373" y="169"/>
                  <a:pt x="373" y="169"/>
                </a:cubicBezTo>
                <a:cubicBezTo>
                  <a:pt x="374" y="169"/>
                  <a:pt x="375" y="168"/>
                  <a:pt x="376" y="167"/>
                </a:cubicBezTo>
                <a:close/>
                <a:moveTo>
                  <a:pt x="369" y="576"/>
                </a:moveTo>
                <a:cubicBezTo>
                  <a:pt x="369" y="574"/>
                  <a:pt x="371" y="574"/>
                  <a:pt x="369" y="576"/>
                </a:cubicBezTo>
                <a:close/>
                <a:moveTo>
                  <a:pt x="368" y="211"/>
                </a:moveTo>
                <a:cubicBezTo>
                  <a:pt x="367" y="211"/>
                  <a:pt x="368" y="209"/>
                  <a:pt x="369" y="210"/>
                </a:cubicBezTo>
                <a:cubicBezTo>
                  <a:pt x="369" y="210"/>
                  <a:pt x="368" y="211"/>
                  <a:pt x="368" y="211"/>
                </a:cubicBezTo>
                <a:close/>
                <a:moveTo>
                  <a:pt x="368" y="576"/>
                </a:moveTo>
                <a:cubicBezTo>
                  <a:pt x="370" y="575"/>
                  <a:pt x="366" y="578"/>
                  <a:pt x="368" y="576"/>
                </a:cubicBezTo>
                <a:close/>
                <a:moveTo>
                  <a:pt x="379" y="184"/>
                </a:moveTo>
                <a:cubicBezTo>
                  <a:pt x="379" y="183"/>
                  <a:pt x="380" y="182"/>
                  <a:pt x="380" y="183"/>
                </a:cubicBezTo>
                <a:cubicBezTo>
                  <a:pt x="380" y="184"/>
                  <a:pt x="379" y="184"/>
                  <a:pt x="379" y="184"/>
                </a:cubicBezTo>
                <a:close/>
                <a:moveTo>
                  <a:pt x="356" y="609"/>
                </a:moveTo>
                <a:cubicBezTo>
                  <a:pt x="355" y="611"/>
                  <a:pt x="353" y="609"/>
                  <a:pt x="356" y="609"/>
                </a:cubicBezTo>
                <a:close/>
                <a:moveTo>
                  <a:pt x="354" y="556"/>
                </a:moveTo>
                <a:cubicBezTo>
                  <a:pt x="353" y="557"/>
                  <a:pt x="352" y="555"/>
                  <a:pt x="354" y="556"/>
                </a:cubicBezTo>
                <a:close/>
                <a:moveTo>
                  <a:pt x="352" y="532"/>
                </a:moveTo>
                <a:cubicBezTo>
                  <a:pt x="354" y="530"/>
                  <a:pt x="354" y="533"/>
                  <a:pt x="352" y="532"/>
                </a:cubicBezTo>
                <a:close/>
                <a:moveTo>
                  <a:pt x="354" y="674"/>
                </a:moveTo>
                <a:cubicBezTo>
                  <a:pt x="354" y="673"/>
                  <a:pt x="355" y="673"/>
                  <a:pt x="355" y="673"/>
                </a:cubicBezTo>
                <a:cubicBezTo>
                  <a:pt x="355" y="674"/>
                  <a:pt x="354" y="674"/>
                  <a:pt x="354" y="674"/>
                </a:cubicBezTo>
                <a:close/>
                <a:moveTo>
                  <a:pt x="357" y="697"/>
                </a:moveTo>
                <a:cubicBezTo>
                  <a:pt x="357" y="696"/>
                  <a:pt x="359" y="695"/>
                  <a:pt x="359" y="696"/>
                </a:cubicBezTo>
                <a:cubicBezTo>
                  <a:pt x="359" y="697"/>
                  <a:pt x="357" y="698"/>
                  <a:pt x="357" y="697"/>
                </a:cubicBezTo>
                <a:close/>
                <a:moveTo>
                  <a:pt x="357" y="671"/>
                </a:moveTo>
                <a:cubicBezTo>
                  <a:pt x="358" y="671"/>
                  <a:pt x="358" y="671"/>
                  <a:pt x="358" y="672"/>
                </a:cubicBezTo>
                <a:cubicBezTo>
                  <a:pt x="358" y="673"/>
                  <a:pt x="356" y="671"/>
                  <a:pt x="357" y="671"/>
                </a:cubicBezTo>
                <a:close/>
                <a:moveTo>
                  <a:pt x="360" y="643"/>
                </a:moveTo>
                <a:cubicBezTo>
                  <a:pt x="360" y="642"/>
                  <a:pt x="362" y="643"/>
                  <a:pt x="360" y="643"/>
                </a:cubicBezTo>
                <a:close/>
                <a:moveTo>
                  <a:pt x="360" y="630"/>
                </a:moveTo>
                <a:cubicBezTo>
                  <a:pt x="358" y="633"/>
                  <a:pt x="350" y="631"/>
                  <a:pt x="351" y="627"/>
                </a:cubicBezTo>
                <a:cubicBezTo>
                  <a:pt x="352" y="621"/>
                  <a:pt x="365" y="624"/>
                  <a:pt x="360" y="630"/>
                </a:cubicBezTo>
                <a:close/>
                <a:moveTo>
                  <a:pt x="371" y="611"/>
                </a:moveTo>
                <a:cubicBezTo>
                  <a:pt x="368" y="612"/>
                  <a:pt x="365" y="612"/>
                  <a:pt x="362" y="613"/>
                </a:cubicBezTo>
                <a:cubicBezTo>
                  <a:pt x="364" y="612"/>
                  <a:pt x="368" y="611"/>
                  <a:pt x="371" y="611"/>
                </a:cubicBezTo>
                <a:close/>
                <a:moveTo>
                  <a:pt x="363" y="671"/>
                </a:moveTo>
                <a:cubicBezTo>
                  <a:pt x="363" y="671"/>
                  <a:pt x="364" y="671"/>
                  <a:pt x="365" y="671"/>
                </a:cubicBezTo>
                <a:cubicBezTo>
                  <a:pt x="364" y="672"/>
                  <a:pt x="363" y="672"/>
                  <a:pt x="363" y="671"/>
                </a:cubicBezTo>
                <a:close/>
                <a:moveTo>
                  <a:pt x="364" y="691"/>
                </a:moveTo>
                <a:cubicBezTo>
                  <a:pt x="364" y="690"/>
                  <a:pt x="365" y="691"/>
                  <a:pt x="365" y="691"/>
                </a:cubicBezTo>
                <a:cubicBezTo>
                  <a:pt x="366" y="691"/>
                  <a:pt x="364" y="691"/>
                  <a:pt x="364" y="691"/>
                </a:cubicBezTo>
                <a:close/>
                <a:moveTo>
                  <a:pt x="365" y="647"/>
                </a:moveTo>
                <a:cubicBezTo>
                  <a:pt x="365" y="646"/>
                  <a:pt x="366" y="646"/>
                  <a:pt x="366" y="646"/>
                </a:cubicBezTo>
                <a:cubicBezTo>
                  <a:pt x="367" y="647"/>
                  <a:pt x="365" y="647"/>
                  <a:pt x="365" y="647"/>
                </a:cubicBezTo>
                <a:close/>
                <a:moveTo>
                  <a:pt x="370" y="666"/>
                </a:moveTo>
                <a:cubicBezTo>
                  <a:pt x="370" y="664"/>
                  <a:pt x="373" y="665"/>
                  <a:pt x="372" y="666"/>
                </a:cubicBezTo>
                <a:cubicBezTo>
                  <a:pt x="372" y="667"/>
                  <a:pt x="370" y="667"/>
                  <a:pt x="370" y="666"/>
                </a:cubicBezTo>
                <a:close/>
                <a:moveTo>
                  <a:pt x="371" y="691"/>
                </a:moveTo>
                <a:cubicBezTo>
                  <a:pt x="372" y="690"/>
                  <a:pt x="373" y="691"/>
                  <a:pt x="374" y="691"/>
                </a:cubicBezTo>
                <a:cubicBezTo>
                  <a:pt x="374" y="692"/>
                  <a:pt x="372" y="691"/>
                  <a:pt x="371" y="691"/>
                </a:cubicBezTo>
                <a:close/>
                <a:moveTo>
                  <a:pt x="379" y="659"/>
                </a:moveTo>
                <a:cubicBezTo>
                  <a:pt x="379" y="658"/>
                  <a:pt x="377" y="660"/>
                  <a:pt x="377" y="658"/>
                </a:cubicBezTo>
                <a:cubicBezTo>
                  <a:pt x="376" y="657"/>
                  <a:pt x="380" y="657"/>
                  <a:pt x="379" y="659"/>
                </a:cubicBezTo>
                <a:close/>
                <a:moveTo>
                  <a:pt x="381" y="691"/>
                </a:moveTo>
                <a:cubicBezTo>
                  <a:pt x="380" y="691"/>
                  <a:pt x="382" y="690"/>
                  <a:pt x="383" y="691"/>
                </a:cubicBezTo>
                <a:cubicBezTo>
                  <a:pt x="382" y="691"/>
                  <a:pt x="381" y="691"/>
                  <a:pt x="381" y="691"/>
                </a:cubicBezTo>
                <a:close/>
                <a:moveTo>
                  <a:pt x="382" y="658"/>
                </a:moveTo>
                <a:cubicBezTo>
                  <a:pt x="380" y="659"/>
                  <a:pt x="379" y="657"/>
                  <a:pt x="382" y="658"/>
                </a:cubicBezTo>
                <a:close/>
                <a:moveTo>
                  <a:pt x="383" y="691"/>
                </a:moveTo>
                <a:cubicBezTo>
                  <a:pt x="384" y="691"/>
                  <a:pt x="385" y="691"/>
                  <a:pt x="386" y="691"/>
                </a:cubicBezTo>
                <a:cubicBezTo>
                  <a:pt x="386" y="691"/>
                  <a:pt x="384" y="691"/>
                  <a:pt x="383" y="691"/>
                </a:cubicBezTo>
                <a:close/>
                <a:moveTo>
                  <a:pt x="387" y="696"/>
                </a:move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lose/>
                <a:moveTo>
                  <a:pt x="384" y="662"/>
                </a:moveTo>
                <a:cubicBezTo>
                  <a:pt x="384" y="660"/>
                  <a:pt x="388" y="661"/>
                  <a:pt x="388" y="662"/>
                </a:cubicBezTo>
                <a:cubicBezTo>
                  <a:pt x="388" y="663"/>
                  <a:pt x="385" y="664"/>
                  <a:pt x="384" y="662"/>
                </a:cubicBezTo>
                <a:close/>
                <a:moveTo>
                  <a:pt x="398" y="679"/>
                </a:moveTo>
                <a:cubicBezTo>
                  <a:pt x="400" y="678"/>
                  <a:pt x="400" y="680"/>
                  <a:pt x="398" y="679"/>
                </a:cubicBezTo>
                <a:close/>
                <a:moveTo>
                  <a:pt x="401" y="664"/>
                </a:moveTo>
                <a:cubicBezTo>
                  <a:pt x="402" y="662"/>
                  <a:pt x="405" y="663"/>
                  <a:pt x="406" y="663"/>
                </a:cubicBezTo>
                <a:cubicBezTo>
                  <a:pt x="406" y="663"/>
                  <a:pt x="407" y="664"/>
                  <a:pt x="407" y="664"/>
                </a:cubicBezTo>
                <a:cubicBezTo>
                  <a:pt x="406" y="664"/>
                  <a:pt x="408" y="663"/>
                  <a:pt x="409" y="664"/>
                </a:cubicBezTo>
                <a:cubicBezTo>
                  <a:pt x="409" y="665"/>
                  <a:pt x="400" y="667"/>
                  <a:pt x="401" y="664"/>
                </a:cubicBezTo>
                <a:close/>
                <a:moveTo>
                  <a:pt x="411" y="704"/>
                </a:moveTo>
                <a:cubicBezTo>
                  <a:pt x="410" y="704"/>
                  <a:pt x="411" y="704"/>
                  <a:pt x="411" y="704"/>
                </a:cubicBezTo>
                <a:cubicBezTo>
                  <a:pt x="411" y="704"/>
                  <a:pt x="411" y="704"/>
                  <a:pt x="411" y="704"/>
                </a:cubicBezTo>
                <a:close/>
                <a:moveTo>
                  <a:pt x="409" y="648"/>
                </a:moveTo>
                <a:cubicBezTo>
                  <a:pt x="403" y="650"/>
                  <a:pt x="397" y="649"/>
                  <a:pt x="391" y="651"/>
                </a:cubicBezTo>
                <a:cubicBezTo>
                  <a:pt x="386" y="652"/>
                  <a:pt x="381" y="655"/>
                  <a:pt x="376" y="654"/>
                </a:cubicBezTo>
                <a:cubicBezTo>
                  <a:pt x="375" y="654"/>
                  <a:pt x="375" y="653"/>
                  <a:pt x="375" y="653"/>
                </a:cubicBezTo>
                <a:cubicBezTo>
                  <a:pt x="374" y="652"/>
                  <a:pt x="384" y="650"/>
                  <a:pt x="387" y="650"/>
                </a:cubicBezTo>
                <a:cubicBezTo>
                  <a:pt x="393" y="649"/>
                  <a:pt x="396" y="649"/>
                  <a:pt x="401" y="648"/>
                </a:cubicBezTo>
                <a:cubicBezTo>
                  <a:pt x="403" y="648"/>
                  <a:pt x="408" y="646"/>
                  <a:pt x="410" y="646"/>
                </a:cubicBezTo>
                <a:cubicBezTo>
                  <a:pt x="413" y="647"/>
                  <a:pt x="409" y="648"/>
                  <a:pt x="409" y="648"/>
                </a:cubicBezTo>
                <a:close/>
                <a:moveTo>
                  <a:pt x="394" y="589"/>
                </a:moveTo>
                <a:cubicBezTo>
                  <a:pt x="394" y="588"/>
                  <a:pt x="395" y="588"/>
                  <a:pt x="395" y="589"/>
                </a:cubicBezTo>
                <a:cubicBezTo>
                  <a:pt x="395" y="589"/>
                  <a:pt x="394" y="590"/>
                  <a:pt x="394" y="589"/>
                </a:cubicBezTo>
                <a:close/>
                <a:moveTo>
                  <a:pt x="398" y="605"/>
                </a:moveTo>
                <a:cubicBezTo>
                  <a:pt x="398" y="605"/>
                  <a:pt x="399" y="604"/>
                  <a:pt x="399" y="604"/>
                </a:cubicBezTo>
                <a:cubicBezTo>
                  <a:pt x="398" y="604"/>
                  <a:pt x="396" y="605"/>
                  <a:pt x="395" y="605"/>
                </a:cubicBezTo>
                <a:cubicBezTo>
                  <a:pt x="395" y="605"/>
                  <a:pt x="399" y="603"/>
                  <a:pt x="400" y="603"/>
                </a:cubicBezTo>
                <a:cubicBezTo>
                  <a:pt x="401" y="603"/>
                  <a:pt x="404" y="605"/>
                  <a:pt x="404" y="605"/>
                </a:cubicBezTo>
                <a:cubicBezTo>
                  <a:pt x="404" y="606"/>
                  <a:pt x="400" y="608"/>
                  <a:pt x="398" y="605"/>
                </a:cubicBezTo>
                <a:close/>
                <a:moveTo>
                  <a:pt x="403" y="636"/>
                </a:moveTo>
                <a:cubicBezTo>
                  <a:pt x="403" y="636"/>
                  <a:pt x="404" y="637"/>
                  <a:pt x="404" y="636"/>
                </a:cubicBezTo>
                <a:cubicBezTo>
                  <a:pt x="404" y="637"/>
                  <a:pt x="403" y="637"/>
                  <a:pt x="403" y="636"/>
                </a:cubicBezTo>
                <a:close/>
                <a:moveTo>
                  <a:pt x="406" y="193"/>
                </a:moveTo>
                <a:cubicBezTo>
                  <a:pt x="406" y="195"/>
                  <a:pt x="404" y="195"/>
                  <a:pt x="406" y="193"/>
                </a:cubicBezTo>
                <a:close/>
                <a:moveTo>
                  <a:pt x="407" y="192"/>
                </a:moveTo>
                <a:cubicBezTo>
                  <a:pt x="406" y="194"/>
                  <a:pt x="409" y="190"/>
                  <a:pt x="407" y="192"/>
                </a:cubicBezTo>
                <a:close/>
                <a:moveTo>
                  <a:pt x="410" y="563"/>
                </a:moveTo>
                <a:cubicBezTo>
                  <a:pt x="410" y="564"/>
                  <a:pt x="410" y="565"/>
                  <a:pt x="409" y="564"/>
                </a:cubicBezTo>
                <a:cubicBezTo>
                  <a:pt x="408" y="564"/>
                  <a:pt x="409" y="563"/>
                  <a:pt x="410" y="563"/>
                </a:cubicBezTo>
                <a:close/>
                <a:moveTo>
                  <a:pt x="412" y="687"/>
                </a:moveTo>
                <a:cubicBezTo>
                  <a:pt x="414" y="686"/>
                  <a:pt x="414" y="687"/>
                  <a:pt x="412" y="687"/>
                </a:cubicBezTo>
                <a:close/>
                <a:moveTo>
                  <a:pt x="391" y="194"/>
                </a:moveTo>
                <a:cubicBezTo>
                  <a:pt x="391" y="194"/>
                  <a:pt x="389" y="196"/>
                  <a:pt x="388" y="195"/>
                </a:cubicBezTo>
                <a:cubicBezTo>
                  <a:pt x="388" y="194"/>
                  <a:pt x="391" y="193"/>
                  <a:pt x="390" y="194"/>
                </a:cubicBezTo>
                <a:cubicBezTo>
                  <a:pt x="398" y="189"/>
                  <a:pt x="408" y="183"/>
                  <a:pt x="417" y="179"/>
                </a:cubicBezTo>
                <a:cubicBezTo>
                  <a:pt x="409" y="185"/>
                  <a:pt x="400" y="189"/>
                  <a:pt x="391" y="194"/>
                </a:cubicBezTo>
                <a:close/>
                <a:moveTo>
                  <a:pt x="414" y="158"/>
                </a:moveTo>
                <a:cubicBezTo>
                  <a:pt x="415" y="156"/>
                  <a:pt x="417" y="157"/>
                  <a:pt x="414" y="158"/>
                </a:cubicBezTo>
                <a:close/>
                <a:moveTo>
                  <a:pt x="407" y="137"/>
                </a:moveTo>
                <a:cubicBezTo>
                  <a:pt x="409" y="134"/>
                  <a:pt x="417" y="135"/>
                  <a:pt x="417" y="139"/>
                </a:cubicBezTo>
                <a:cubicBezTo>
                  <a:pt x="417" y="145"/>
                  <a:pt x="403" y="144"/>
                  <a:pt x="407" y="137"/>
                </a:cubicBezTo>
                <a:close/>
                <a:moveTo>
                  <a:pt x="418" y="140"/>
                </a:moveTo>
                <a:cubicBezTo>
                  <a:pt x="418" y="139"/>
                  <a:pt x="419" y="142"/>
                  <a:pt x="418" y="140"/>
                </a:cubicBezTo>
                <a:close/>
                <a:moveTo>
                  <a:pt x="420" y="672"/>
                </a:moveTo>
                <a:cubicBezTo>
                  <a:pt x="419" y="672"/>
                  <a:pt x="418" y="672"/>
                  <a:pt x="418" y="672"/>
                </a:cubicBezTo>
                <a:cubicBezTo>
                  <a:pt x="418" y="671"/>
                  <a:pt x="432" y="670"/>
                  <a:pt x="435" y="670"/>
                </a:cubicBezTo>
                <a:cubicBezTo>
                  <a:pt x="437" y="671"/>
                  <a:pt x="433" y="672"/>
                  <a:pt x="432" y="672"/>
                </a:cubicBezTo>
                <a:cubicBezTo>
                  <a:pt x="428" y="672"/>
                  <a:pt x="423" y="673"/>
                  <a:pt x="420" y="672"/>
                </a:cubicBezTo>
                <a:close/>
                <a:moveTo>
                  <a:pt x="425" y="681"/>
                </a:moveTo>
                <a:cubicBezTo>
                  <a:pt x="425" y="681"/>
                  <a:pt x="425" y="680"/>
                  <a:pt x="425" y="680"/>
                </a:cubicBezTo>
                <a:cubicBezTo>
                  <a:pt x="425" y="680"/>
                  <a:pt x="425" y="680"/>
                  <a:pt x="425" y="681"/>
                </a:cubicBezTo>
                <a:cubicBezTo>
                  <a:pt x="425" y="681"/>
                  <a:pt x="425" y="681"/>
                  <a:pt x="425" y="681"/>
                </a:cubicBezTo>
                <a:cubicBezTo>
                  <a:pt x="426" y="681"/>
                  <a:pt x="426" y="681"/>
                  <a:pt x="425" y="681"/>
                </a:cubicBezTo>
                <a:close/>
                <a:moveTo>
                  <a:pt x="429" y="674"/>
                </a:moveTo>
                <a:cubicBezTo>
                  <a:pt x="429" y="674"/>
                  <a:pt x="426" y="674"/>
                  <a:pt x="428" y="673"/>
                </a:cubicBezTo>
                <a:cubicBezTo>
                  <a:pt x="431" y="672"/>
                  <a:pt x="437" y="672"/>
                  <a:pt x="441" y="672"/>
                </a:cubicBezTo>
                <a:cubicBezTo>
                  <a:pt x="438" y="673"/>
                  <a:pt x="433" y="674"/>
                  <a:pt x="429" y="674"/>
                </a:cubicBezTo>
                <a:close/>
                <a:moveTo>
                  <a:pt x="442" y="672"/>
                </a:moveTo>
                <a:cubicBezTo>
                  <a:pt x="444" y="671"/>
                  <a:pt x="448" y="669"/>
                  <a:pt x="452" y="670"/>
                </a:cubicBezTo>
                <a:cubicBezTo>
                  <a:pt x="449" y="671"/>
                  <a:pt x="445" y="671"/>
                  <a:pt x="442" y="672"/>
                </a:cubicBezTo>
                <a:close/>
                <a:moveTo>
                  <a:pt x="449" y="142"/>
                </a:moveTo>
                <a:cubicBezTo>
                  <a:pt x="450" y="141"/>
                  <a:pt x="450" y="141"/>
                  <a:pt x="451" y="142"/>
                </a:cubicBezTo>
                <a:cubicBezTo>
                  <a:pt x="451" y="142"/>
                  <a:pt x="450" y="142"/>
                  <a:pt x="449" y="142"/>
                </a:cubicBezTo>
                <a:close/>
                <a:moveTo>
                  <a:pt x="451" y="148"/>
                </a:moveTo>
                <a:cubicBezTo>
                  <a:pt x="452" y="149"/>
                  <a:pt x="450" y="147"/>
                  <a:pt x="451" y="148"/>
                </a:cubicBezTo>
                <a:close/>
                <a:moveTo>
                  <a:pt x="446" y="79"/>
                </a:moveTo>
                <a:cubicBezTo>
                  <a:pt x="448" y="77"/>
                  <a:pt x="450" y="78"/>
                  <a:pt x="452" y="77"/>
                </a:cubicBezTo>
                <a:cubicBezTo>
                  <a:pt x="451" y="78"/>
                  <a:pt x="448" y="79"/>
                  <a:pt x="446" y="79"/>
                </a:cubicBezTo>
                <a:close/>
                <a:moveTo>
                  <a:pt x="454" y="644"/>
                </a:moveTo>
                <a:cubicBezTo>
                  <a:pt x="454" y="644"/>
                  <a:pt x="454" y="644"/>
                  <a:pt x="454" y="644"/>
                </a:cubicBezTo>
                <a:cubicBezTo>
                  <a:pt x="455" y="642"/>
                  <a:pt x="455" y="647"/>
                  <a:pt x="454" y="644"/>
                </a:cubicBezTo>
                <a:close/>
                <a:moveTo>
                  <a:pt x="449" y="66"/>
                </a:moveTo>
                <a:cubicBezTo>
                  <a:pt x="449" y="66"/>
                  <a:pt x="448" y="65"/>
                  <a:pt x="448" y="65"/>
                </a:cubicBezTo>
                <a:cubicBezTo>
                  <a:pt x="448" y="64"/>
                  <a:pt x="451" y="62"/>
                  <a:pt x="453" y="61"/>
                </a:cubicBezTo>
                <a:cubicBezTo>
                  <a:pt x="451" y="61"/>
                  <a:pt x="450" y="62"/>
                  <a:pt x="448" y="62"/>
                </a:cubicBezTo>
                <a:cubicBezTo>
                  <a:pt x="444" y="62"/>
                  <a:pt x="452" y="60"/>
                  <a:pt x="453" y="60"/>
                </a:cubicBezTo>
                <a:cubicBezTo>
                  <a:pt x="458" y="59"/>
                  <a:pt x="462" y="58"/>
                  <a:pt x="466" y="57"/>
                </a:cubicBezTo>
                <a:cubicBezTo>
                  <a:pt x="468" y="57"/>
                  <a:pt x="475" y="56"/>
                  <a:pt x="475" y="57"/>
                </a:cubicBezTo>
                <a:cubicBezTo>
                  <a:pt x="476" y="58"/>
                  <a:pt x="468" y="59"/>
                  <a:pt x="465" y="59"/>
                </a:cubicBezTo>
                <a:cubicBezTo>
                  <a:pt x="461" y="60"/>
                  <a:pt x="459" y="60"/>
                  <a:pt x="456" y="61"/>
                </a:cubicBezTo>
                <a:cubicBezTo>
                  <a:pt x="458" y="61"/>
                  <a:pt x="461" y="62"/>
                  <a:pt x="460" y="64"/>
                </a:cubicBezTo>
                <a:cubicBezTo>
                  <a:pt x="460" y="69"/>
                  <a:pt x="453" y="68"/>
                  <a:pt x="449" y="66"/>
                </a:cubicBezTo>
                <a:close/>
                <a:moveTo>
                  <a:pt x="467" y="66"/>
                </a:moveTo>
                <a:cubicBezTo>
                  <a:pt x="468" y="65"/>
                  <a:pt x="470" y="62"/>
                  <a:pt x="471" y="63"/>
                </a:cubicBezTo>
                <a:cubicBezTo>
                  <a:pt x="473" y="65"/>
                  <a:pt x="469" y="66"/>
                  <a:pt x="467" y="66"/>
                </a:cubicBezTo>
                <a:close/>
                <a:moveTo>
                  <a:pt x="459" y="100"/>
                </a:moveTo>
                <a:cubicBezTo>
                  <a:pt x="458" y="100"/>
                  <a:pt x="458" y="99"/>
                  <a:pt x="459" y="98"/>
                </a:cubicBezTo>
                <a:cubicBezTo>
                  <a:pt x="461" y="96"/>
                  <a:pt x="462" y="100"/>
                  <a:pt x="459" y="100"/>
                </a:cubicBezTo>
                <a:close/>
                <a:moveTo>
                  <a:pt x="456" y="149"/>
                </a:moveTo>
                <a:cubicBezTo>
                  <a:pt x="456" y="149"/>
                  <a:pt x="460" y="145"/>
                  <a:pt x="461" y="146"/>
                </a:cubicBezTo>
                <a:cubicBezTo>
                  <a:pt x="463" y="148"/>
                  <a:pt x="457" y="150"/>
                  <a:pt x="456" y="149"/>
                </a:cubicBezTo>
                <a:close/>
                <a:moveTo>
                  <a:pt x="462" y="681"/>
                </a:moveTo>
                <a:cubicBezTo>
                  <a:pt x="464" y="680"/>
                  <a:pt x="464" y="682"/>
                  <a:pt x="462" y="681"/>
                </a:cubicBezTo>
                <a:close/>
                <a:moveTo>
                  <a:pt x="464" y="170"/>
                </a:moveTo>
                <a:cubicBezTo>
                  <a:pt x="463" y="171"/>
                  <a:pt x="461" y="171"/>
                  <a:pt x="460" y="171"/>
                </a:cubicBezTo>
                <a:cubicBezTo>
                  <a:pt x="459" y="172"/>
                  <a:pt x="459" y="172"/>
                  <a:pt x="458" y="172"/>
                </a:cubicBezTo>
                <a:cubicBezTo>
                  <a:pt x="459" y="172"/>
                  <a:pt x="459" y="172"/>
                  <a:pt x="460" y="171"/>
                </a:cubicBezTo>
                <a:cubicBezTo>
                  <a:pt x="462" y="170"/>
                  <a:pt x="464" y="168"/>
                  <a:pt x="465" y="168"/>
                </a:cubicBezTo>
                <a:cubicBezTo>
                  <a:pt x="468" y="167"/>
                  <a:pt x="464" y="170"/>
                  <a:pt x="464" y="170"/>
                </a:cubicBezTo>
                <a:close/>
                <a:moveTo>
                  <a:pt x="466" y="68"/>
                </a:moveTo>
                <a:cubicBezTo>
                  <a:pt x="466" y="68"/>
                  <a:pt x="466" y="68"/>
                  <a:pt x="466" y="68"/>
                </a:cubicBezTo>
                <a:cubicBezTo>
                  <a:pt x="467" y="70"/>
                  <a:pt x="464" y="67"/>
                  <a:pt x="466" y="68"/>
                </a:cubicBezTo>
                <a:close/>
                <a:moveTo>
                  <a:pt x="468" y="241"/>
                </a:moveTo>
                <a:cubicBezTo>
                  <a:pt x="468" y="243"/>
                  <a:pt x="465" y="242"/>
                  <a:pt x="468" y="241"/>
                </a:cubicBezTo>
                <a:close/>
                <a:moveTo>
                  <a:pt x="470" y="75"/>
                </a:moveTo>
                <a:cubicBezTo>
                  <a:pt x="470" y="75"/>
                  <a:pt x="470" y="76"/>
                  <a:pt x="470" y="77"/>
                </a:cubicBezTo>
                <a:cubicBezTo>
                  <a:pt x="471" y="77"/>
                  <a:pt x="472" y="75"/>
                  <a:pt x="472" y="75"/>
                </a:cubicBezTo>
                <a:cubicBezTo>
                  <a:pt x="472" y="74"/>
                  <a:pt x="471" y="74"/>
                  <a:pt x="471" y="73"/>
                </a:cubicBezTo>
                <a:cubicBezTo>
                  <a:pt x="471" y="74"/>
                  <a:pt x="470" y="73"/>
                  <a:pt x="471" y="73"/>
                </a:cubicBezTo>
                <a:cubicBezTo>
                  <a:pt x="472" y="72"/>
                  <a:pt x="473" y="73"/>
                  <a:pt x="473" y="73"/>
                </a:cubicBezTo>
                <a:cubicBezTo>
                  <a:pt x="474" y="72"/>
                  <a:pt x="475" y="72"/>
                  <a:pt x="476" y="72"/>
                </a:cubicBezTo>
                <a:cubicBezTo>
                  <a:pt x="477" y="72"/>
                  <a:pt x="481" y="75"/>
                  <a:pt x="478" y="76"/>
                </a:cubicBezTo>
                <a:cubicBezTo>
                  <a:pt x="476" y="77"/>
                  <a:pt x="471" y="78"/>
                  <a:pt x="469" y="77"/>
                </a:cubicBezTo>
                <a:cubicBezTo>
                  <a:pt x="468" y="77"/>
                  <a:pt x="468" y="74"/>
                  <a:pt x="470" y="75"/>
                </a:cubicBezTo>
                <a:close/>
                <a:moveTo>
                  <a:pt x="478" y="117"/>
                </a:moveTo>
                <a:cubicBezTo>
                  <a:pt x="479" y="118"/>
                  <a:pt x="477" y="118"/>
                  <a:pt x="476" y="118"/>
                </a:cubicBezTo>
                <a:cubicBezTo>
                  <a:pt x="476" y="117"/>
                  <a:pt x="478" y="117"/>
                  <a:pt x="478" y="117"/>
                </a:cubicBezTo>
                <a:close/>
                <a:moveTo>
                  <a:pt x="478" y="100"/>
                </a:move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lose/>
                <a:moveTo>
                  <a:pt x="478" y="100"/>
                </a:moveTo>
                <a:cubicBezTo>
                  <a:pt x="479" y="100"/>
                  <a:pt x="478" y="100"/>
                  <a:pt x="478" y="100"/>
                </a:cubicBezTo>
                <a:close/>
                <a:moveTo>
                  <a:pt x="476" y="97"/>
                </a:moveTo>
                <a:cubicBezTo>
                  <a:pt x="475" y="96"/>
                  <a:pt x="478" y="96"/>
                  <a:pt x="478" y="96"/>
                </a:cubicBezTo>
                <a:cubicBezTo>
                  <a:pt x="479" y="96"/>
                  <a:pt x="476" y="97"/>
                  <a:pt x="476" y="97"/>
                </a:cubicBezTo>
                <a:close/>
                <a:moveTo>
                  <a:pt x="474" y="91"/>
                </a:moveTo>
                <a:cubicBezTo>
                  <a:pt x="474" y="90"/>
                  <a:pt x="475" y="90"/>
                  <a:pt x="476" y="90"/>
                </a:cubicBezTo>
                <a:cubicBezTo>
                  <a:pt x="477" y="92"/>
                  <a:pt x="474" y="92"/>
                  <a:pt x="474" y="91"/>
                </a:cubicBezTo>
                <a:close/>
                <a:moveTo>
                  <a:pt x="477" y="107"/>
                </a:moveTo>
                <a:cubicBezTo>
                  <a:pt x="477" y="109"/>
                  <a:pt x="474" y="111"/>
                  <a:pt x="473" y="109"/>
                </a:cubicBezTo>
                <a:cubicBezTo>
                  <a:pt x="469" y="106"/>
                  <a:pt x="477" y="104"/>
                  <a:pt x="477" y="107"/>
                </a:cubicBezTo>
                <a:close/>
                <a:moveTo>
                  <a:pt x="472" y="112"/>
                </a:moveTo>
                <a:cubicBezTo>
                  <a:pt x="475" y="114"/>
                  <a:pt x="468" y="116"/>
                  <a:pt x="470" y="113"/>
                </a:cubicBezTo>
                <a:cubicBezTo>
                  <a:pt x="471" y="112"/>
                  <a:pt x="472" y="112"/>
                  <a:pt x="472" y="112"/>
                </a:cubicBezTo>
                <a:close/>
                <a:moveTo>
                  <a:pt x="475" y="122"/>
                </a:moveTo>
                <a:cubicBezTo>
                  <a:pt x="474" y="122"/>
                  <a:pt x="473" y="123"/>
                  <a:pt x="472" y="123"/>
                </a:cubicBezTo>
                <a:cubicBezTo>
                  <a:pt x="472" y="123"/>
                  <a:pt x="473" y="121"/>
                  <a:pt x="475" y="122"/>
                </a:cubicBezTo>
                <a:close/>
                <a:moveTo>
                  <a:pt x="474" y="123"/>
                </a:moveTo>
                <a:cubicBezTo>
                  <a:pt x="474" y="123"/>
                  <a:pt x="475" y="123"/>
                  <a:pt x="475" y="124"/>
                </a:cubicBezTo>
                <a:cubicBezTo>
                  <a:pt x="475" y="124"/>
                  <a:pt x="474" y="124"/>
                  <a:pt x="474" y="123"/>
                </a:cubicBezTo>
                <a:close/>
                <a:moveTo>
                  <a:pt x="477" y="158"/>
                </a:moveTo>
                <a:cubicBezTo>
                  <a:pt x="477" y="158"/>
                  <a:pt x="476" y="159"/>
                  <a:pt x="475" y="159"/>
                </a:cubicBezTo>
                <a:cubicBezTo>
                  <a:pt x="475" y="159"/>
                  <a:pt x="476" y="158"/>
                  <a:pt x="477" y="158"/>
                </a:cubicBezTo>
                <a:close/>
                <a:moveTo>
                  <a:pt x="476" y="121"/>
                </a:moveTo>
                <a:cubicBezTo>
                  <a:pt x="477" y="121"/>
                  <a:pt x="478" y="119"/>
                  <a:pt x="479" y="120"/>
                </a:cubicBezTo>
                <a:cubicBezTo>
                  <a:pt x="478" y="121"/>
                  <a:pt x="477" y="121"/>
                  <a:pt x="476" y="121"/>
                </a:cubicBezTo>
                <a:close/>
                <a:moveTo>
                  <a:pt x="472" y="165"/>
                </a:moveTo>
                <a:cubicBezTo>
                  <a:pt x="472" y="166"/>
                  <a:pt x="470" y="167"/>
                  <a:pt x="469" y="168"/>
                </a:cubicBezTo>
                <a:cubicBezTo>
                  <a:pt x="469" y="166"/>
                  <a:pt x="471" y="166"/>
                  <a:pt x="472" y="165"/>
                </a:cubicBezTo>
                <a:close/>
                <a:moveTo>
                  <a:pt x="471" y="178"/>
                </a:moveTo>
                <a:cubicBezTo>
                  <a:pt x="471" y="175"/>
                  <a:pt x="476" y="174"/>
                  <a:pt x="477" y="177"/>
                </a:cubicBezTo>
                <a:cubicBezTo>
                  <a:pt x="477" y="181"/>
                  <a:pt x="471" y="180"/>
                  <a:pt x="471" y="178"/>
                </a:cubicBezTo>
                <a:close/>
                <a:moveTo>
                  <a:pt x="472" y="233"/>
                </a:moveTo>
                <a:cubicBezTo>
                  <a:pt x="472" y="232"/>
                  <a:pt x="475" y="230"/>
                  <a:pt x="475" y="232"/>
                </a:cubicBezTo>
                <a:cubicBezTo>
                  <a:pt x="476" y="234"/>
                  <a:pt x="473" y="234"/>
                  <a:pt x="472" y="233"/>
                </a:cubicBezTo>
                <a:close/>
                <a:moveTo>
                  <a:pt x="475" y="180"/>
                </a:moveTo>
                <a:cubicBezTo>
                  <a:pt x="475" y="180"/>
                  <a:pt x="476" y="179"/>
                  <a:pt x="477" y="180"/>
                </a:cubicBezTo>
                <a:cubicBezTo>
                  <a:pt x="478" y="181"/>
                  <a:pt x="475" y="181"/>
                  <a:pt x="475" y="180"/>
                </a:cubicBezTo>
                <a:close/>
                <a:moveTo>
                  <a:pt x="482" y="155"/>
                </a:moveTo>
                <a:cubicBezTo>
                  <a:pt x="482" y="156"/>
                  <a:pt x="480" y="157"/>
                  <a:pt x="479" y="157"/>
                </a:cubicBezTo>
                <a:cubicBezTo>
                  <a:pt x="479" y="156"/>
                  <a:pt x="481" y="156"/>
                  <a:pt x="482" y="155"/>
                </a:cubicBezTo>
                <a:close/>
                <a:moveTo>
                  <a:pt x="479" y="164"/>
                </a:moveTo>
                <a:cubicBezTo>
                  <a:pt x="479" y="162"/>
                  <a:pt x="481" y="163"/>
                  <a:pt x="479" y="164"/>
                </a:cubicBezTo>
                <a:close/>
                <a:moveTo>
                  <a:pt x="479" y="175"/>
                </a:moveTo>
                <a:cubicBezTo>
                  <a:pt x="478" y="174"/>
                  <a:pt x="480" y="173"/>
                  <a:pt x="480" y="174"/>
                </a:cubicBezTo>
                <a:cubicBezTo>
                  <a:pt x="480" y="175"/>
                  <a:pt x="480" y="175"/>
                  <a:pt x="479" y="175"/>
                </a:cubicBezTo>
                <a:close/>
                <a:moveTo>
                  <a:pt x="480" y="164"/>
                </a:moveTo>
                <a:cubicBezTo>
                  <a:pt x="480" y="163"/>
                  <a:pt x="484" y="161"/>
                  <a:pt x="484" y="164"/>
                </a:cubicBezTo>
                <a:cubicBezTo>
                  <a:pt x="484" y="166"/>
                  <a:pt x="480" y="166"/>
                  <a:pt x="480" y="164"/>
                </a:cubicBezTo>
                <a:close/>
                <a:moveTo>
                  <a:pt x="482" y="188"/>
                </a:moveTo>
                <a:cubicBezTo>
                  <a:pt x="482" y="187"/>
                  <a:pt x="483" y="187"/>
                  <a:pt x="484" y="187"/>
                </a:cubicBezTo>
                <a:cubicBezTo>
                  <a:pt x="484" y="187"/>
                  <a:pt x="482" y="189"/>
                  <a:pt x="482" y="188"/>
                </a:cubicBezTo>
                <a:close/>
                <a:moveTo>
                  <a:pt x="487" y="253"/>
                </a:moveTo>
                <a:cubicBezTo>
                  <a:pt x="487" y="255"/>
                  <a:pt x="485" y="254"/>
                  <a:pt x="487" y="253"/>
                </a:cubicBezTo>
                <a:close/>
                <a:moveTo>
                  <a:pt x="484" y="228"/>
                </a:moveTo>
                <a:cubicBezTo>
                  <a:pt x="482" y="226"/>
                  <a:pt x="488" y="223"/>
                  <a:pt x="488" y="227"/>
                </a:cubicBezTo>
                <a:cubicBezTo>
                  <a:pt x="488" y="228"/>
                  <a:pt x="485" y="230"/>
                  <a:pt x="484" y="228"/>
                </a:cubicBezTo>
                <a:close/>
                <a:moveTo>
                  <a:pt x="486" y="208"/>
                </a:moveTo>
                <a:cubicBezTo>
                  <a:pt x="486" y="207"/>
                  <a:pt x="488" y="206"/>
                  <a:pt x="488" y="207"/>
                </a:cubicBezTo>
                <a:cubicBezTo>
                  <a:pt x="488" y="208"/>
                  <a:pt x="487" y="209"/>
                  <a:pt x="486" y="208"/>
                </a:cubicBezTo>
                <a:close/>
                <a:moveTo>
                  <a:pt x="490" y="250"/>
                </a:moveTo>
                <a:cubicBezTo>
                  <a:pt x="490" y="248"/>
                  <a:pt x="492" y="246"/>
                  <a:pt x="493" y="245"/>
                </a:cubicBezTo>
                <a:cubicBezTo>
                  <a:pt x="493" y="246"/>
                  <a:pt x="491" y="248"/>
                  <a:pt x="490" y="250"/>
                </a:cubicBezTo>
                <a:close/>
                <a:moveTo>
                  <a:pt x="494" y="245"/>
                </a:moveTo>
                <a:cubicBezTo>
                  <a:pt x="494" y="244"/>
                  <a:pt x="495" y="243"/>
                  <a:pt x="495" y="243"/>
                </a:cubicBezTo>
                <a:cubicBezTo>
                  <a:pt x="496" y="243"/>
                  <a:pt x="494" y="245"/>
                  <a:pt x="494" y="245"/>
                </a:cubicBezTo>
                <a:close/>
                <a:moveTo>
                  <a:pt x="499" y="230"/>
                </a:moveTo>
                <a:cubicBezTo>
                  <a:pt x="499" y="229"/>
                  <a:pt x="501" y="229"/>
                  <a:pt x="501" y="229"/>
                </a:cubicBezTo>
                <a:cubicBezTo>
                  <a:pt x="502" y="229"/>
                  <a:pt x="500" y="230"/>
                  <a:pt x="499" y="230"/>
                </a:cubicBezTo>
                <a:close/>
                <a:moveTo>
                  <a:pt x="496" y="230"/>
                </a:moveTo>
                <a:cubicBezTo>
                  <a:pt x="496" y="230"/>
                  <a:pt x="491" y="233"/>
                  <a:pt x="492" y="231"/>
                </a:cubicBezTo>
                <a:cubicBezTo>
                  <a:pt x="492" y="230"/>
                  <a:pt x="497" y="229"/>
                  <a:pt x="497" y="229"/>
                </a:cubicBezTo>
                <a:cubicBezTo>
                  <a:pt x="500" y="228"/>
                  <a:pt x="503" y="225"/>
                  <a:pt x="506" y="225"/>
                </a:cubicBezTo>
                <a:cubicBezTo>
                  <a:pt x="505" y="228"/>
                  <a:pt x="498" y="229"/>
                  <a:pt x="496" y="230"/>
                </a:cubicBezTo>
                <a:close/>
                <a:moveTo>
                  <a:pt x="505" y="195"/>
                </a:moveTo>
                <a:cubicBezTo>
                  <a:pt x="505" y="194"/>
                  <a:pt x="507" y="192"/>
                  <a:pt x="508" y="193"/>
                </a:cubicBezTo>
                <a:cubicBezTo>
                  <a:pt x="508" y="194"/>
                  <a:pt x="506" y="196"/>
                  <a:pt x="505" y="195"/>
                </a:cubicBezTo>
                <a:close/>
                <a:moveTo>
                  <a:pt x="507" y="222"/>
                </a:moveTo>
                <a:cubicBezTo>
                  <a:pt x="507" y="222"/>
                  <a:pt x="508" y="222"/>
                  <a:pt x="508" y="222"/>
                </a:cubicBezTo>
                <a:cubicBezTo>
                  <a:pt x="510" y="223"/>
                  <a:pt x="504" y="225"/>
                  <a:pt x="507" y="222"/>
                </a:cubicBezTo>
                <a:close/>
                <a:moveTo>
                  <a:pt x="506" y="190"/>
                </a:moveTo>
                <a:cubicBezTo>
                  <a:pt x="506" y="189"/>
                  <a:pt x="507" y="188"/>
                  <a:pt x="509" y="188"/>
                </a:cubicBezTo>
                <a:cubicBezTo>
                  <a:pt x="508" y="189"/>
                  <a:pt x="507" y="190"/>
                  <a:pt x="506" y="190"/>
                </a:cubicBezTo>
                <a:close/>
                <a:moveTo>
                  <a:pt x="516" y="247"/>
                </a:moveTo>
                <a:cubicBezTo>
                  <a:pt x="514" y="248"/>
                  <a:pt x="511" y="250"/>
                  <a:pt x="509" y="250"/>
                </a:cubicBezTo>
                <a:cubicBezTo>
                  <a:pt x="510" y="249"/>
                  <a:pt x="514" y="248"/>
                  <a:pt x="516" y="247"/>
                </a:cubicBezTo>
                <a:close/>
                <a:moveTo>
                  <a:pt x="512" y="258"/>
                </a:moveTo>
                <a:cubicBezTo>
                  <a:pt x="512" y="255"/>
                  <a:pt x="516" y="256"/>
                  <a:pt x="516" y="257"/>
                </a:cubicBezTo>
                <a:cubicBezTo>
                  <a:pt x="517" y="258"/>
                  <a:pt x="512" y="260"/>
                  <a:pt x="512" y="258"/>
                </a:cubicBezTo>
                <a:close/>
                <a:moveTo>
                  <a:pt x="517" y="268"/>
                </a:moveTo>
                <a:cubicBezTo>
                  <a:pt x="516" y="269"/>
                  <a:pt x="517" y="268"/>
                  <a:pt x="517" y="268"/>
                </a:cubicBezTo>
                <a:cubicBezTo>
                  <a:pt x="517" y="268"/>
                  <a:pt x="517" y="268"/>
                  <a:pt x="517" y="268"/>
                </a:cubicBezTo>
                <a:close/>
                <a:moveTo>
                  <a:pt x="517" y="247"/>
                </a:moveTo>
                <a:cubicBezTo>
                  <a:pt x="517" y="247"/>
                  <a:pt x="517" y="247"/>
                  <a:pt x="517" y="247"/>
                </a:cubicBezTo>
                <a:cubicBezTo>
                  <a:pt x="518" y="247"/>
                  <a:pt x="517" y="247"/>
                  <a:pt x="517" y="247"/>
                </a:cubicBezTo>
                <a:close/>
                <a:moveTo>
                  <a:pt x="518" y="154"/>
                </a:moveTo>
                <a:cubicBezTo>
                  <a:pt x="517" y="151"/>
                  <a:pt x="524" y="153"/>
                  <a:pt x="524" y="154"/>
                </a:cubicBezTo>
                <a:cubicBezTo>
                  <a:pt x="524" y="154"/>
                  <a:pt x="523" y="155"/>
                  <a:pt x="523" y="155"/>
                </a:cubicBezTo>
                <a:cubicBezTo>
                  <a:pt x="523" y="156"/>
                  <a:pt x="522" y="158"/>
                  <a:pt x="521" y="156"/>
                </a:cubicBezTo>
                <a:cubicBezTo>
                  <a:pt x="521" y="156"/>
                  <a:pt x="521" y="155"/>
                  <a:pt x="521" y="155"/>
                </a:cubicBezTo>
                <a:cubicBezTo>
                  <a:pt x="520" y="155"/>
                  <a:pt x="518" y="155"/>
                  <a:pt x="518" y="154"/>
                </a:cubicBezTo>
                <a:close/>
                <a:moveTo>
                  <a:pt x="518" y="188"/>
                </a:moveTo>
                <a:cubicBezTo>
                  <a:pt x="518" y="186"/>
                  <a:pt x="524" y="185"/>
                  <a:pt x="524" y="188"/>
                </a:cubicBezTo>
                <a:cubicBezTo>
                  <a:pt x="524" y="190"/>
                  <a:pt x="519" y="190"/>
                  <a:pt x="518" y="188"/>
                </a:cubicBezTo>
                <a:close/>
                <a:moveTo>
                  <a:pt x="522" y="286"/>
                </a:moveTo>
                <a:cubicBezTo>
                  <a:pt x="522" y="285"/>
                  <a:pt x="522" y="285"/>
                  <a:pt x="522" y="285"/>
                </a:cubicBezTo>
                <a:cubicBezTo>
                  <a:pt x="523" y="285"/>
                  <a:pt x="522" y="286"/>
                  <a:pt x="522" y="286"/>
                </a:cubicBezTo>
                <a:close/>
                <a:moveTo>
                  <a:pt x="521" y="231"/>
                </a:moveTo>
                <a:cubicBezTo>
                  <a:pt x="518" y="232"/>
                  <a:pt x="522" y="229"/>
                  <a:pt x="523" y="228"/>
                </a:cubicBezTo>
                <a:cubicBezTo>
                  <a:pt x="524" y="226"/>
                  <a:pt x="526" y="223"/>
                  <a:pt x="528" y="220"/>
                </a:cubicBezTo>
                <a:cubicBezTo>
                  <a:pt x="528" y="221"/>
                  <a:pt x="527" y="221"/>
                  <a:pt x="527" y="220"/>
                </a:cubicBezTo>
                <a:cubicBezTo>
                  <a:pt x="527" y="220"/>
                  <a:pt x="528" y="220"/>
                  <a:pt x="528" y="220"/>
                </a:cubicBezTo>
                <a:cubicBezTo>
                  <a:pt x="528" y="220"/>
                  <a:pt x="528" y="220"/>
                  <a:pt x="528" y="220"/>
                </a:cubicBezTo>
                <a:cubicBezTo>
                  <a:pt x="529" y="219"/>
                  <a:pt x="529" y="218"/>
                  <a:pt x="530" y="218"/>
                </a:cubicBezTo>
                <a:cubicBezTo>
                  <a:pt x="530" y="218"/>
                  <a:pt x="531" y="218"/>
                  <a:pt x="531" y="218"/>
                </a:cubicBezTo>
                <a:cubicBezTo>
                  <a:pt x="531" y="218"/>
                  <a:pt x="529" y="220"/>
                  <a:pt x="528" y="222"/>
                </a:cubicBezTo>
                <a:cubicBezTo>
                  <a:pt x="527" y="223"/>
                  <a:pt x="523" y="230"/>
                  <a:pt x="521" y="231"/>
                </a:cubicBezTo>
                <a:close/>
                <a:moveTo>
                  <a:pt x="530" y="232"/>
                </a:moveTo>
                <a:cubicBezTo>
                  <a:pt x="530" y="232"/>
                  <a:pt x="530" y="232"/>
                  <a:pt x="531" y="232"/>
                </a:cubicBezTo>
                <a:cubicBezTo>
                  <a:pt x="531" y="232"/>
                  <a:pt x="530" y="233"/>
                  <a:pt x="530" y="232"/>
                </a:cubicBezTo>
                <a:close/>
                <a:moveTo>
                  <a:pt x="530" y="268"/>
                </a:move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lose/>
                <a:moveTo>
                  <a:pt x="530" y="256"/>
                </a:moveTo>
                <a:cubicBezTo>
                  <a:pt x="530" y="256"/>
                  <a:pt x="531" y="255"/>
                  <a:pt x="531" y="256"/>
                </a:cubicBezTo>
                <a:cubicBezTo>
                  <a:pt x="532" y="258"/>
                  <a:pt x="529" y="258"/>
                  <a:pt x="530" y="256"/>
                </a:cubicBezTo>
                <a:close/>
                <a:moveTo>
                  <a:pt x="533" y="312"/>
                </a:moveTo>
                <a:cubicBezTo>
                  <a:pt x="533" y="311"/>
                  <a:pt x="533" y="310"/>
                  <a:pt x="534" y="310"/>
                </a:cubicBezTo>
                <a:cubicBezTo>
                  <a:pt x="536" y="308"/>
                  <a:pt x="535" y="313"/>
                  <a:pt x="533" y="312"/>
                </a:cubicBezTo>
                <a:close/>
                <a:moveTo>
                  <a:pt x="533" y="230"/>
                </a:moveTo>
                <a:cubicBezTo>
                  <a:pt x="534" y="229"/>
                  <a:pt x="535" y="232"/>
                  <a:pt x="533" y="231"/>
                </a:cubicBezTo>
                <a:cubicBezTo>
                  <a:pt x="533" y="231"/>
                  <a:pt x="533" y="230"/>
                  <a:pt x="533" y="230"/>
                </a:cubicBezTo>
                <a:close/>
                <a:moveTo>
                  <a:pt x="531" y="215"/>
                </a:moveTo>
                <a:cubicBezTo>
                  <a:pt x="530" y="213"/>
                  <a:pt x="535" y="211"/>
                  <a:pt x="535" y="214"/>
                </a:cubicBezTo>
                <a:cubicBezTo>
                  <a:pt x="535" y="215"/>
                  <a:pt x="531" y="217"/>
                  <a:pt x="531" y="215"/>
                </a:cubicBezTo>
                <a:close/>
                <a:moveTo>
                  <a:pt x="530" y="135"/>
                </a:moveTo>
                <a:cubicBezTo>
                  <a:pt x="532" y="134"/>
                  <a:pt x="534" y="133"/>
                  <a:pt x="536" y="131"/>
                </a:cubicBezTo>
                <a:cubicBezTo>
                  <a:pt x="535" y="134"/>
                  <a:pt x="532" y="134"/>
                  <a:pt x="530" y="135"/>
                </a:cubicBezTo>
                <a:close/>
                <a:moveTo>
                  <a:pt x="598" y="198"/>
                </a:moveTo>
                <a:cubicBezTo>
                  <a:pt x="598" y="198"/>
                  <a:pt x="597" y="199"/>
                  <a:pt x="597" y="199"/>
                </a:cubicBezTo>
                <a:cubicBezTo>
                  <a:pt x="596" y="198"/>
                  <a:pt x="598" y="198"/>
                  <a:pt x="598" y="198"/>
                </a:cubicBezTo>
                <a:close/>
                <a:moveTo>
                  <a:pt x="596" y="204"/>
                </a:moveTo>
                <a:cubicBezTo>
                  <a:pt x="598" y="202"/>
                  <a:pt x="597" y="205"/>
                  <a:pt x="596" y="205"/>
                </a:cubicBezTo>
                <a:cubicBezTo>
                  <a:pt x="596" y="204"/>
                  <a:pt x="596" y="204"/>
                  <a:pt x="596" y="204"/>
                </a:cubicBezTo>
                <a:close/>
                <a:moveTo>
                  <a:pt x="596" y="235"/>
                </a:moveTo>
                <a:cubicBezTo>
                  <a:pt x="597" y="235"/>
                  <a:pt x="598" y="234"/>
                  <a:pt x="598" y="235"/>
                </a:cubicBezTo>
                <a:cubicBezTo>
                  <a:pt x="601" y="237"/>
                  <a:pt x="594" y="238"/>
                  <a:pt x="596" y="235"/>
                </a:cubicBezTo>
                <a:close/>
                <a:moveTo>
                  <a:pt x="599" y="282"/>
                </a:moveTo>
                <a:cubicBezTo>
                  <a:pt x="598" y="284"/>
                  <a:pt x="597" y="283"/>
                  <a:pt x="599" y="282"/>
                </a:cubicBezTo>
                <a:close/>
                <a:moveTo>
                  <a:pt x="594" y="323"/>
                </a:moveTo>
                <a:cubicBezTo>
                  <a:pt x="594" y="322"/>
                  <a:pt x="595" y="322"/>
                  <a:pt x="595" y="322"/>
                </a:cubicBezTo>
                <a:cubicBezTo>
                  <a:pt x="597" y="323"/>
                  <a:pt x="593" y="325"/>
                  <a:pt x="594" y="323"/>
                </a:cubicBezTo>
                <a:close/>
                <a:moveTo>
                  <a:pt x="596" y="370"/>
                </a:moveTo>
                <a:cubicBezTo>
                  <a:pt x="597" y="370"/>
                  <a:pt x="594" y="371"/>
                  <a:pt x="596" y="370"/>
                </a:cubicBezTo>
                <a:close/>
                <a:moveTo>
                  <a:pt x="594" y="263"/>
                </a:moveTo>
                <a:cubicBezTo>
                  <a:pt x="595" y="262"/>
                  <a:pt x="596" y="264"/>
                  <a:pt x="594" y="263"/>
                </a:cubicBezTo>
                <a:close/>
                <a:moveTo>
                  <a:pt x="594" y="231"/>
                </a:moveTo>
                <a:cubicBezTo>
                  <a:pt x="595" y="231"/>
                  <a:pt x="594" y="232"/>
                  <a:pt x="594" y="231"/>
                </a:cubicBezTo>
                <a:cubicBezTo>
                  <a:pt x="594" y="231"/>
                  <a:pt x="594" y="231"/>
                  <a:pt x="594" y="231"/>
                </a:cubicBezTo>
                <a:close/>
                <a:moveTo>
                  <a:pt x="592" y="198"/>
                </a:moveTo>
                <a:cubicBezTo>
                  <a:pt x="594" y="196"/>
                  <a:pt x="594" y="199"/>
                  <a:pt x="592" y="198"/>
                </a:cubicBezTo>
                <a:close/>
                <a:moveTo>
                  <a:pt x="594" y="244"/>
                </a:moveTo>
                <a:cubicBezTo>
                  <a:pt x="594" y="245"/>
                  <a:pt x="593" y="245"/>
                  <a:pt x="591" y="246"/>
                </a:cubicBezTo>
                <a:cubicBezTo>
                  <a:pt x="592" y="245"/>
                  <a:pt x="593" y="244"/>
                  <a:pt x="594" y="244"/>
                </a:cubicBezTo>
                <a:close/>
                <a:moveTo>
                  <a:pt x="589" y="200"/>
                </a:moveTo>
                <a:cubicBezTo>
                  <a:pt x="590" y="201"/>
                  <a:pt x="588" y="202"/>
                  <a:pt x="588" y="202"/>
                </a:cubicBezTo>
                <a:cubicBezTo>
                  <a:pt x="588" y="201"/>
                  <a:pt x="589" y="201"/>
                  <a:pt x="589" y="200"/>
                </a:cubicBezTo>
                <a:close/>
                <a:moveTo>
                  <a:pt x="591" y="200"/>
                </a:moveTo>
                <a:cubicBezTo>
                  <a:pt x="590" y="203"/>
                  <a:pt x="589" y="206"/>
                  <a:pt x="586" y="208"/>
                </a:cubicBezTo>
                <a:cubicBezTo>
                  <a:pt x="588" y="206"/>
                  <a:pt x="589" y="203"/>
                  <a:pt x="591" y="200"/>
                </a:cubicBezTo>
                <a:close/>
                <a:moveTo>
                  <a:pt x="590" y="339"/>
                </a:moveTo>
                <a:cubicBezTo>
                  <a:pt x="591" y="338"/>
                  <a:pt x="590" y="340"/>
                  <a:pt x="590" y="339"/>
                </a:cubicBezTo>
                <a:close/>
                <a:moveTo>
                  <a:pt x="590" y="246"/>
                </a:moveTo>
                <a:cubicBezTo>
                  <a:pt x="591" y="246"/>
                  <a:pt x="591" y="246"/>
                  <a:pt x="590" y="246"/>
                </a:cubicBezTo>
                <a:close/>
                <a:moveTo>
                  <a:pt x="590" y="246"/>
                </a:moveTo>
                <a:cubicBezTo>
                  <a:pt x="590" y="246"/>
                  <a:pt x="590" y="247"/>
                  <a:pt x="590" y="247"/>
                </a:cubicBezTo>
                <a:cubicBezTo>
                  <a:pt x="590" y="247"/>
                  <a:pt x="590" y="247"/>
                  <a:pt x="590" y="247"/>
                </a:cubicBezTo>
                <a:cubicBezTo>
                  <a:pt x="590" y="247"/>
                  <a:pt x="590" y="247"/>
                  <a:pt x="590" y="246"/>
                </a:cubicBezTo>
                <a:close/>
                <a:moveTo>
                  <a:pt x="587" y="206"/>
                </a:moveTo>
                <a:cubicBezTo>
                  <a:pt x="587" y="206"/>
                  <a:pt x="586" y="205"/>
                  <a:pt x="586" y="205"/>
                </a:cubicBezTo>
                <a:cubicBezTo>
                  <a:pt x="587" y="204"/>
                  <a:pt x="587" y="208"/>
                  <a:pt x="587" y="206"/>
                </a:cubicBezTo>
                <a:close/>
                <a:moveTo>
                  <a:pt x="586" y="210"/>
                </a:moveTo>
                <a:cubicBezTo>
                  <a:pt x="587" y="211"/>
                  <a:pt x="585" y="212"/>
                  <a:pt x="585" y="213"/>
                </a:cubicBezTo>
                <a:cubicBezTo>
                  <a:pt x="584" y="212"/>
                  <a:pt x="586" y="210"/>
                  <a:pt x="586" y="210"/>
                </a:cubicBezTo>
                <a:close/>
                <a:moveTo>
                  <a:pt x="585" y="229"/>
                </a:moveTo>
                <a:cubicBezTo>
                  <a:pt x="586" y="228"/>
                  <a:pt x="585" y="230"/>
                  <a:pt x="584" y="230"/>
                </a:cubicBezTo>
                <a:cubicBezTo>
                  <a:pt x="584" y="230"/>
                  <a:pt x="585" y="229"/>
                  <a:pt x="585" y="229"/>
                </a:cubicBezTo>
                <a:close/>
                <a:moveTo>
                  <a:pt x="584" y="214"/>
                </a:moveTo>
                <a:cubicBezTo>
                  <a:pt x="584" y="212"/>
                  <a:pt x="585" y="214"/>
                  <a:pt x="584" y="214"/>
                </a:cubicBezTo>
                <a:close/>
                <a:moveTo>
                  <a:pt x="583" y="250"/>
                </a:moveTo>
                <a:cubicBezTo>
                  <a:pt x="583" y="250"/>
                  <a:pt x="583" y="251"/>
                  <a:pt x="582" y="251"/>
                </a:cubicBezTo>
                <a:cubicBezTo>
                  <a:pt x="582" y="251"/>
                  <a:pt x="581" y="251"/>
                  <a:pt x="581" y="251"/>
                </a:cubicBezTo>
                <a:cubicBezTo>
                  <a:pt x="582" y="251"/>
                  <a:pt x="583" y="251"/>
                  <a:pt x="583" y="250"/>
                </a:cubicBezTo>
                <a:close/>
                <a:moveTo>
                  <a:pt x="579" y="195"/>
                </a:moveTo>
                <a:cubicBezTo>
                  <a:pt x="578" y="194"/>
                  <a:pt x="581" y="195"/>
                  <a:pt x="579" y="195"/>
                </a:cubicBezTo>
                <a:close/>
                <a:moveTo>
                  <a:pt x="578" y="186"/>
                </a:moveTo>
                <a:cubicBezTo>
                  <a:pt x="578" y="188"/>
                  <a:pt x="573" y="190"/>
                  <a:pt x="572" y="187"/>
                </a:cubicBezTo>
                <a:cubicBezTo>
                  <a:pt x="571" y="184"/>
                  <a:pt x="579" y="182"/>
                  <a:pt x="578" y="186"/>
                </a:cubicBezTo>
                <a:close/>
                <a:moveTo>
                  <a:pt x="576" y="196"/>
                </a:moveTo>
                <a:cubicBezTo>
                  <a:pt x="576" y="196"/>
                  <a:pt x="576" y="196"/>
                  <a:pt x="576" y="196"/>
                </a:cubicBezTo>
                <a:cubicBezTo>
                  <a:pt x="577" y="198"/>
                  <a:pt x="574" y="195"/>
                  <a:pt x="576" y="196"/>
                </a:cubicBezTo>
                <a:close/>
                <a:moveTo>
                  <a:pt x="573" y="191"/>
                </a:moveTo>
                <a:cubicBezTo>
                  <a:pt x="572" y="191"/>
                  <a:pt x="571" y="192"/>
                  <a:pt x="570" y="192"/>
                </a:cubicBezTo>
                <a:cubicBezTo>
                  <a:pt x="570" y="191"/>
                  <a:pt x="573" y="190"/>
                  <a:pt x="573" y="191"/>
                </a:cubicBezTo>
                <a:close/>
                <a:moveTo>
                  <a:pt x="565" y="201"/>
                </a:moveTo>
                <a:cubicBezTo>
                  <a:pt x="565" y="202"/>
                  <a:pt x="563" y="202"/>
                  <a:pt x="563" y="201"/>
                </a:cubicBezTo>
                <a:cubicBezTo>
                  <a:pt x="563" y="200"/>
                  <a:pt x="564" y="200"/>
                  <a:pt x="565" y="201"/>
                </a:cubicBezTo>
                <a:close/>
                <a:moveTo>
                  <a:pt x="569" y="202"/>
                </a:moveTo>
                <a:cubicBezTo>
                  <a:pt x="568" y="201"/>
                  <a:pt x="562" y="207"/>
                  <a:pt x="562" y="205"/>
                </a:cubicBezTo>
                <a:cubicBezTo>
                  <a:pt x="562" y="204"/>
                  <a:pt x="567" y="200"/>
                  <a:pt x="569" y="202"/>
                </a:cubicBezTo>
                <a:close/>
                <a:moveTo>
                  <a:pt x="563" y="247"/>
                </a:moveTo>
                <a:cubicBezTo>
                  <a:pt x="563" y="247"/>
                  <a:pt x="561" y="248"/>
                  <a:pt x="561" y="248"/>
                </a:cubicBezTo>
                <a:cubicBezTo>
                  <a:pt x="560" y="247"/>
                  <a:pt x="562" y="245"/>
                  <a:pt x="563" y="247"/>
                </a:cubicBezTo>
                <a:close/>
                <a:moveTo>
                  <a:pt x="562" y="189"/>
                </a:moveTo>
                <a:cubicBezTo>
                  <a:pt x="563" y="190"/>
                  <a:pt x="560" y="191"/>
                  <a:pt x="560" y="190"/>
                </a:cubicBezTo>
                <a:cubicBezTo>
                  <a:pt x="560" y="189"/>
                  <a:pt x="562" y="189"/>
                  <a:pt x="562" y="189"/>
                </a:cubicBezTo>
                <a:close/>
                <a:moveTo>
                  <a:pt x="560" y="205"/>
                </a:moveTo>
                <a:cubicBezTo>
                  <a:pt x="563" y="203"/>
                  <a:pt x="562" y="209"/>
                  <a:pt x="560" y="207"/>
                </a:cubicBezTo>
                <a:cubicBezTo>
                  <a:pt x="558" y="207"/>
                  <a:pt x="560" y="205"/>
                  <a:pt x="560" y="205"/>
                </a:cubicBezTo>
                <a:close/>
                <a:moveTo>
                  <a:pt x="560" y="264"/>
                </a:moveTo>
                <a:cubicBezTo>
                  <a:pt x="562" y="263"/>
                  <a:pt x="559" y="266"/>
                  <a:pt x="560" y="264"/>
                </a:cubicBezTo>
                <a:cubicBezTo>
                  <a:pt x="560" y="264"/>
                  <a:pt x="560" y="264"/>
                  <a:pt x="560" y="264"/>
                </a:cubicBezTo>
                <a:close/>
                <a:moveTo>
                  <a:pt x="556" y="180"/>
                </a:moveTo>
                <a:cubicBezTo>
                  <a:pt x="557" y="181"/>
                  <a:pt x="555" y="182"/>
                  <a:pt x="555" y="181"/>
                </a:cubicBezTo>
                <a:cubicBezTo>
                  <a:pt x="555" y="181"/>
                  <a:pt x="556" y="181"/>
                  <a:pt x="556" y="180"/>
                </a:cubicBezTo>
                <a:close/>
                <a:moveTo>
                  <a:pt x="554" y="138"/>
                </a:moveTo>
                <a:cubicBezTo>
                  <a:pt x="554" y="138"/>
                  <a:pt x="555" y="138"/>
                  <a:pt x="555" y="138"/>
                </a:cubicBezTo>
                <a:cubicBezTo>
                  <a:pt x="555" y="140"/>
                  <a:pt x="552" y="136"/>
                  <a:pt x="554" y="138"/>
                </a:cubicBezTo>
                <a:close/>
                <a:moveTo>
                  <a:pt x="555" y="219"/>
                </a:moveTo>
                <a:cubicBezTo>
                  <a:pt x="555" y="219"/>
                  <a:pt x="554" y="221"/>
                  <a:pt x="553" y="221"/>
                </a:cubicBezTo>
                <a:cubicBezTo>
                  <a:pt x="553" y="220"/>
                  <a:pt x="554" y="218"/>
                  <a:pt x="555" y="219"/>
                </a:cubicBezTo>
                <a:close/>
                <a:moveTo>
                  <a:pt x="553" y="245"/>
                </a:moveTo>
                <a:cubicBezTo>
                  <a:pt x="554" y="245"/>
                  <a:pt x="552" y="246"/>
                  <a:pt x="552" y="245"/>
                </a:cubicBezTo>
                <a:cubicBezTo>
                  <a:pt x="552" y="244"/>
                  <a:pt x="553" y="244"/>
                  <a:pt x="553" y="245"/>
                </a:cubicBezTo>
                <a:close/>
                <a:moveTo>
                  <a:pt x="552" y="182"/>
                </a:move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lose/>
                <a:moveTo>
                  <a:pt x="552" y="133"/>
                </a:moveTo>
                <a:cubicBezTo>
                  <a:pt x="552" y="133"/>
                  <a:pt x="551" y="135"/>
                  <a:pt x="551" y="134"/>
                </a:cubicBezTo>
                <a:cubicBezTo>
                  <a:pt x="550" y="133"/>
                  <a:pt x="552" y="133"/>
                  <a:pt x="552" y="133"/>
                </a:cubicBezTo>
                <a:close/>
                <a:moveTo>
                  <a:pt x="552" y="158"/>
                </a:moveTo>
                <a:cubicBezTo>
                  <a:pt x="552" y="159"/>
                  <a:pt x="550" y="160"/>
                  <a:pt x="550" y="159"/>
                </a:cubicBezTo>
                <a:cubicBezTo>
                  <a:pt x="550" y="158"/>
                  <a:pt x="551" y="158"/>
                  <a:pt x="552" y="158"/>
                </a:cubicBezTo>
                <a:close/>
                <a:moveTo>
                  <a:pt x="552" y="177"/>
                </a:moveTo>
                <a:cubicBezTo>
                  <a:pt x="552" y="179"/>
                  <a:pt x="548" y="179"/>
                  <a:pt x="548" y="177"/>
                </a:cubicBezTo>
                <a:cubicBezTo>
                  <a:pt x="548" y="176"/>
                  <a:pt x="551" y="175"/>
                  <a:pt x="552" y="177"/>
                </a:cubicBezTo>
                <a:close/>
                <a:moveTo>
                  <a:pt x="547" y="170"/>
                </a:moveTo>
                <a:cubicBezTo>
                  <a:pt x="548" y="170"/>
                  <a:pt x="547" y="171"/>
                  <a:pt x="546" y="171"/>
                </a:cubicBezTo>
                <a:cubicBezTo>
                  <a:pt x="546" y="170"/>
                  <a:pt x="547" y="170"/>
                  <a:pt x="547" y="170"/>
                </a:cubicBezTo>
                <a:close/>
                <a:moveTo>
                  <a:pt x="547" y="166"/>
                </a:moveTo>
                <a:cubicBezTo>
                  <a:pt x="548" y="167"/>
                  <a:pt x="547" y="165"/>
                  <a:pt x="547" y="166"/>
                </a:cubicBezTo>
                <a:close/>
                <a:moveTo>
                  <a:pt x="548" y="133"/>
                </a:moveTo>
                <a:cubicBezTo>
                  <a:pt x="548" y="134"/>
                  <a:pt x="547" y="134"/>
                  <a:pt x="546" y="134"/>
                </a:cubicBezTo>
                <a:cubicBezTo>
                  <a:pt x="546" y="133"/>
                  <a:pt x="547" y="134"/>
                  <a:pt x="548" y="133"/>
                </a:cubicBezTo>
                <a:close/>
                <a:moveTo>
                  <a:pt x="547" y="176"/>
                </a:moveTo>
                <a:cubicBezTo>
                  <a:pt x="547" y="177"/>
                  <a:pt x="545" y="176"/>
                  <a:pt x="547" y="176"/>
                </a:cubicBezTo>
                <a:close/>
                <a:moveTo>
                  <a:pt x="546" y="168"/>
                </a:moveTo>
                <a:cubicBezTo>
                  <a:pt x="546" y="169"/>
                  <a:pt x="544" y="170"/>
                  <a:pt x="544" y="168"/>
                </a:cubicBezTo>
                <a:cubicBezTo>
                  <a:pt x="545" y="168"/>
                  <a:pt x="545" y="168"/>
                  <a:pt x="546" y="168"/>
                </a:cubicBezTo>
                <a:close/>
                <a:moveTo>
                  <a:pt x="545" y="141"/>
                </a:moveTo>
                <a:cubicBezTo>
                  <a:pt x="546" y="143"/>
                  <a:pt x="542" y="142"/>
                  <a:pt x="542" y="141"/>
                </a:cubicBezTo>
                <a:cubicBezTo>
                  <a:pt x="543" y="140"/>
                  <a:pt x="545" y="140"/>
                  <a:pt x="545" y="141"/>
                </a:cubicBezTo>
                <a:close/>
                <a:moveTo>
                  <a:pt x="540" y="150"/>
                </a:moveTo>
                <a:cubicBezTo>
                  <a:pt x="540" y="150"/>
                  <a:pt x="538" y="151"/>
                  <a:pt x="537" y="150"/>
                </a:cubicBezTo>
                <a:cubicBezTo>
                  <a:pt x="537" y="149"/>
                  <a:pt x="539" y="148"/>
                  <a:pt x="540" y="150"/>
                </a:cubicBezTo>
                <a:close/>
                <a:moveTo>
                  <a:pt x="537" y="158"/>
                </a:moveTo>
                <a:cubicBezTo>
                  <a:pt x="537" y="158"/>
                  <a:pt x="538" y="157"/>
                  <a:pt x="538" y="157"/>
                </a:cubicBezTo>
                <a:cubicBezTo>
                  <a:pt x="539" y="157"/>
                  <a:pt x="537" y="159"/>
                  <a:pt x="537" y="158"/>
                </a:cubicBezTo>
                <a:close/>
                <a:moveTo>
                  <a:pt x="538" y="165"/>
                </a:moveTo>
                <a:cubicBezTo>
                  <a:pt x="538" y="165"/>
                  <a:pt x="540" y="163"/>
                  <a:pt x="540" y="165"/>
                </a:cubicBezTo>
                <a:cubicBezTo>
                  <a:pt x="540" y="164"/>
                  <a:pt x="539" y="166"/>
                  <a:pt x="538" y="165"/>
                </a:cubicBezTo>
                <a:close/>
                <a:moveTo>
                  <a:pt x="540" y="214"/>
                </a:moveTo>
                <a:cubicBezTo>
                  <a:pt x="541" y="215"/>
                  <a:pt x="540" y="215"/>
                  <a:pt x="540" y="215"/>
                </a:cubicBezTo>
                <a:cubicBezTo>
                  <a:pt x="539" y="214"/>
                  <a:pt x="540" y="214"/>
                  <a:pt x="540" y="214"/>
                </a:cubicBezTo>
                <a:close/>
                <a:moveTo>
                  <a:pt x="541" y="291"/>
                </a:moveTo>
                <a:cubicBezTo>
                  <a:pt x="540" y="291"/>
                  <a:pt x="539" y="291"/>
                  <a:pt x="540" y="290"/>
                </a:cubicBezTo>
                <a:cubicBezTo>
                  <a:pt x="540" y="289"/>
                  <a:pt x="541" y="290"/>
                  <a:pt x="541" y="291"/>
                </a:cubicBezTo>
                <a:close/>
                <a:moveTo>
                  <a:pt x="541" y="212"/>
                </a:moveTo>
                <a:cubicBezTo>
                  <a:pt x="541" y="212"/>
                  <a:pt x="541" y="212"/>
                  <a:pt x="541" y="212"/>
                </a:cubicBezTo>
                <a:cubicBezTo>
                  <a:pt x="541" y="212"/>
                  <a:pt x="541" y="212"/>
                  <a:pt x="541" y="212"/>
                </a:cubicBezTo>
                <a:cubicBezTo>
                  <a:pt x="540" y="212"/>
                  <a:pt x="540" y="211"/>
                  <a:pt x="541" y="210"/>
                </a:cubicBezTo>
                <a:cubicBezTo>
                  <a:pt x="542" y="209"/>
                  <a:pt x="542" y="210"/>
                  <a:pt x="542" y="211"/>
                </a:cubicBezTo>
                <a:cubicBezTo>
                  <a:pt x="543" y="211"/>
                  <a:pt x="544" y="211"/>
                  <a:pt x="544" y="210"/>
                </a:cubicBezTo>
                <a:cubicBezTo>
                  <a:pt x="545" y="210"/>
                  <a:pt x="550" y="204"/>
                  <a:pt x="551" y="205"/>
                </a:cubicBezTo>
                <a:cubicBezTo>
                  <a:pt x="553" y="207"/>
                  <a:pt x="544" y="211"/>
                  <a:pt x="543" y="212"/>
                </a:cubicBezTo>
                <a:cubicBezTo>
                  <a:pt x="542" y="212"/>
                  <a:pt x="542" y="214"/>
                  <a:pt x="541" y="212"/>
                </a:cubicBezTo>
                <a:close/>
                <a:moveTo>
                  <a:pt x="549" y="242"/>
                </a:moveTo>
                <a:cubicBezTo>
                  <a:pt x="549" y="242"/>
                  <a:pt x="547" y="242"/>
                  <a:pt x="547" y="241"/>
                </a:cubicBezTo>
                <a:cubicBezTo>
                  <a:pt x="547" y="241"/>
                  <a:pt x="549" y="240"/>
                  <a:pt x="549" y="242"/>
                </a:cubicBezTo>
                <a:close/>
                <a:moveTo>
                  <a:pt x="543" y="245"/>
                </a:moveTo>
                <a:cubicBezTo>
                  <a:pt x="544" y="247"/>
                  <a:pt x="541" y="246"/>
                  <a:pt x="543" y="245"/>
                </a:cubicBezTo>
                <a:close/>
                <a:moveTo>
                  <a:pt x="547" y="220"/>
                </a:moveTo>
                <a:cubicBezTo>
                  <a:pt x="546" y="220"/>
                  <a:pt x="546" y="220"/>
                  <a:pt x="546" y="220"/>
                </a:cubicBezTo>
                <a:cubicBezTo>
                  <a:pt x="545" y="220"/>
                  <a:pt x="547" y="219"/>
                  <a:pt x="547" y="220"/>
                </a:cubicBezTo>
                <a:close/>
                <a:moveTo>
                  <a:pt x="546" y="265"/>
                </a:moveTo>
                <a:cubicBezTo>
                  <a:pt x="546" y="265"/>
                  <a:pt x="547" y="264"/>
                  <a:pt x="547" y="264"/>
                </a:cubicBezTo>
                <a:cubicBezTo>
                  <a:pt x="547" y="265"/>
                  <a:pt x="546" y="266"/>
                  <a:pt x="546" y="265"/>
                </a:cubicBezTo>
                <a:close/>
                <a:moveTo>
                  <a:pt x="548" y="300"/>
                </a:moveTo>
                <a:cubicBezTo>
                  <a:pt x="548" y="299"/>
                  <a:pt x="548" y="299"/>
                  <a:pt x="548" y="299"/>
                </a:cubicBezTo>
                <a:cubicBezTo>
                  <a:pt x="549" y="299"/>
                  <a:pt x="548" y="301"/>
                  <a:pt x="548" y="300"/>
                </a:cubicBezTo>
                <a:close/>
                <a:moveTo>
                  <a:pt x="547" y="280"/>
                </a:moveTo>
                <a:cubicBezTo>
                  <a:pt x="549" y="276"/>
                  <a:pt x="551" y="272"/>
                  <a:pt x="552" y="269"/>
                </a:cubicBezTo>
                <a:cubicBezTo>
                  <a:pt x="552" y="271"/>
                  <a:pt x="549" y="278"/>
                  <a:pt x="547" y="280"/>
                </a:cubicBezTo>
                <a:close/>
                <a:moveTo>
                  <a:pt x="553" y="329"/>
                </a:moveTo>
                <a:cubicBezTo>
                  <a:pt x="553" y="329"/>
                  <a:pt x="553" y="329"/>
                  <a:pt x="553" y="329"/>
                </a:cubicBezTo>
                <a:cubicBezTo>
                  <a:pt x="553" y="329"/>
                  <a:pt x="553" y="329"/>
                  <a:pt x="553" y="329"/>
                </a:cubicBezTo>
                <a:close/>
                <a:moveTo>
                  <a:pt x="551" y="261"/>
                </a:moveTo>
                <a:cubicBezTo>
                  <a:pt x="553" y="257"/>
                  <a:pt x="553" y="254"/>
                  <a:pt x="555" y="252"/>
                </a:cubicBezTo>
                <a:cubicBezTo>
                  <a:pt x="554" y="254"/>
                  <a:pt x="553" y="259"/>
                  <a:pt x="551" y="261"/>
                </a:cubicBezTo>
                <a:close/>
                <a:moveTo>
                  <a:pt x="554" y="222"/>
                </a:moveTo>
                <a:cubicBezTo>
                  <a:pt x="555" y="221"/>
                  <a:pt x="556" y="222"/>
                  <a:pt x="554" y="222"/>
                </a:cubicBezTo>
                <a:close/>
                <a:moveTo>
                  <a:pt x="554" y="184"/>
                </a:moveTo>
                <a:cubicBezTo>
                  <a:pt x="554" y="183"/>
                  <a:pt x="556" y="182"/>
                  <a:pt x="556" y="183"/>
                </a:cubicBezTo>
                <a:cubicBezTo>
                  <a:pt x="556" y="185"/>
                  <a:pt x="554" y="185"/>
                  <a:pt x="554" y="184"/>
                </a:cubicBezTo>
                <a:close/>
                <a:moveTo>
                  <a:pt x="557" y="285"/>
                </a:moveTo>
                <a:cubicBezTo>
                  <a:pt x="557" y="283"/>
                  <a:pt x="556" y="286"/>
                  <a:pt x="557" y="285"/>
                </a:cubicBezTo>
                <a:close/>
                <a:moveTo>
                  <a:pt x="560" y="320"/>
                </a:moveTo>
                <a:cubicBezTo>
                  <a:pt x="560" y="321"/>
                  <a:pt x="561" y="319"/>
                  <a:pt x="560" y="320"/>
                </a:cubicBezTo>
                <a:close/>
                <a:moveTo>
                  <a:pt x="557" y="283"/>
                </a:moveTo>
                <a:cubicBezTo>
                  <a:pt x="556" y="281"/>
                  <a:pt x="561" y="279"/>
                  <a:pt x="561" y="281"/>
                </a:cubicBezTo>
                <a:cubicBezTo>
                  <a:pt x="562" y="283"/>
                  <a:pt x="558" y="284"/>
                  <a:pt x="557" y="283"/>
                </a:cubicBezTo>
                <a:close/>
                <a:moveTo>
                  <a:pt x="562" y="258"/>
                </a:moveTo>
                <a:cubicBezTo>
                  <a:pt x="562" y="258"/>
                  <a:pt x="563" y="257"/>
                  <a:pt x="563" y="257"/>
                </a:cubicBezTo>
                <a:cubicBezTo>
                  <a:pt x="564" y="258"/>
                  <a:pt x="561" y="259"/>
                  <a:pt x="562" y="258"/>
                </a:cubicBezTo>
                <a:close/>
                <a:moveTo>
                  <a:pt x="565" y="221"/>
                </a:moveTo>
                <a:cubicBezTo>
                  <a:pt x="564" y="221"/>
                  <a:pt x="564" y="219"/>
                  <a:pt x="565" y="220"/>
                </a:cubicBezTo>
                <a:cubicBezTo>
                  <a:pt x="565" y="220"/>
                  <a:pt x="565" y="221"/>
                  <a:pt x="565" y="221"/>
                </a:cubicBezTo>
                <a:close/>
                <a:moveTo>
                  <a:pt x="566" y="206"/>
                </a:moveTo>
                <a:cubicBezTo>
                  <a:pt x="565" y="211"/>
                  <a:pt x="567" y="204"/>
                  <a:pt x="568" y="203"/>
                </a:cubicBezTo>
                <a:cubicBezTo>
                  <a:pt x="569" y="202"/>
                  <a:pt x="574" y="202"/>
                  <a:pt x="576" y="203"/>
                </a:cubicBezTo>
                <a:cubicBezTo>
                  <a:pt x="579" y="205"/>
                  <a:pt x="577" y="210"/>
                  <a:pt x="574" y="212"/>
                </a:cubicBezTo>
                <a:cubicBezTo>
                  <a:pt x="573" y="213"/>
                  <a:pt x="570" y="213"/>
                  <a:pt x="569" y="213"/>
                </a:cubicBezTo>
                <a:cubicBezTo>
                  <a:pt x="566" y="214"/>
                  <a:pt x="567" y="214"/>
                  <a:pt x="565" y="212"/>
                </a:cubicBezTo>
                <a:cubicBezTo>
                  <a:pt x="562" y="210"/>
                  <a:pt x="562" y="205"/>
                  <a:pt x="566" y="206"/>
                </a:cubicBezTo>
                <a:close/>
                <a:moveTo>
                  <a:pt x="573" y="236"/>
                </a:moveTo>
                <a:cubicBezTo>
                  <a:pt x="575" y="234"/>
                  <a:pt x="572" y="237"/>
                  <a:pt x="573" y="236"/>
                </a:cubicBezTo>
                <a:close/>
                <a:moveTo>
                  <a:pt x="571" y="238"/>
                </a:moveTo>
                <a:cubicBezTo>
                  <a:pt x="573" y="236"/>
                  <a:pt x="569" y="239"/>
                  <a:pt x="571" y="238"/>
                </a:cubicBezTo>
                <a:close/>
                <a:moveTo>
                  <a:pt x="569" y="326"/>
                </a:moveTo>
                <a:cubicBezTo>
                  <a:pt x="568" y="326"/>
                  <a:pt x="569" y="325"/>
                  <a:pt x="569" y="325"/>
                </a:cubicBezTo>
                <a:cubicBezTo>
                  <a:pt x="570" y="324"/>
                  <a:pt x="570" y="327"/>
                  <a:pt x="569" y="326"/>
                </a:cubicBezTo>
                <a:close/>
                <a:moveTo>
                  <a:pt x="567" y="224"/>
                </a:moveTo>
                <a:cubicBezTo>
                  <a:pt x="566" y="223"/>
                  <a:pt x="567" y="222"/>
                  <a:pt x="567" y="222"/>
                </a:cubicBezTo>
                <a:cubicBezTo>
                  <a:pt x="568" y="222"/>
                  <a:pt x="567" y="223"/>
                  <a:pt x="567" y="224"/>
                </a:cubicBezTo>
                <a:close/>
                <a:moveTo>
                  <a:pt x="567" y="311"/>
                </a:moveTo>
                <a:cubicBezTo>
                  <a:pt x="568" y="312"/>
                  <a:pt x="566" y="312"/>
                  <a:pt x="567" y="311"/>
                </a:cubicBezTo>
                <a:close/>
                <a:moveTo>
                  <a:pt x="565" y="280"/>
                </a:moveTo>
                <a:cubicBezTo>
                  <a:pt x="565" y="277"/>
                  <a:pt x="567" y="277"/>
                  <a:pt x="565" y="280"/>
                </a:cubicBezTo>
                <a:close/>
                <a:moveTo>
                  <a:pt x="566" y="411"/>
                </a:moveTo>
                <a:cubicBezTo>
                  <a:pt x="568" y="409"/>
                  <a:pt x="569" y="406"/>
                  <a:pt x="572" y="405"/>
                </a:cubicBezTo>
                <a:cubicBezTo>
                  <a:pt x="570" y="407"/>
                  <a:pt x="568" y="410"/>
                  <a:pt x="566" y="411"/>
                </a:cubicBezTo>
                <a:close/>
                <a:moveTo>
                  <a:pt x="571" y="279"/>
                </a:moveTo>
                <a:cubicBezTo>
                  <a:pt x="571" y="279"/>
                  <a:pt x="573" y="279"/>
                  <a:pt x="572" y="279"/>
                </a:cubicBezTo>
                <a:cubicBezTo>
                  <a:pt x="572" y="280"/>
                  <a:pt x="571" y="280"/>
                  <a:pt x="571" y="279"/>
                </a:cubicBezTo>
                <a:close/>
                <a:moveTo>
                  <a:pt x="573" y="383"/>
                </a:moveTo>
                <a:cubicBezTo>
                  <a:pt x="571" y="382"/>
                  <a:pt x="573" y="380"/>
                  <a:pt x="574" y="379"/>
                </a:cubicBezTo>
                <a:cubicBezTo>
                  <a:pt x="577" y="377"/>
                  <a:pt x="575" y="384"/>
                  <a:pt x="573" y="383"/>
                </a:cubicBezTo>
                <a:close/>
                <a:moveTo>
                  <a:pt x="578" y="218"/>
                </a:moveTo>
                <a:cubicBezTo>
                  <a:pt x="583" y="216"/>
                  <a:pt x="584" y="224"/>
                  <a:pt x="580" y="226"/>
                </a:cubicBezTo>
                <a:cubicBezTo>
                  <a:pt x="573" y="230"/>
                  <a:pt x="572" y="220"/>
                  <a:pt x="578" y="218"/>
                </a:cubicBezTo>
                <a:close/>
                <a:moveTo>
                  <a:pt x="577" y="295"/>
                </a:moveTo>
                <a:cubicBezTo>
                  <a:pt x="577" y="295"/>
                  <a:pt x="577" y="295"/>
                  <a:pt x="577" y="296"/>
                </a:cubicBezTo>
                <a:cubicBezTo>
                  <a:pt x="576" y="296"/>
                  <a:pt x="577" y="295"/>
                  <a:pt x="577" y="295"/>
                </a:cubicBezTo>
                <a:close/>
                <a:moveTo>
                  <a:pt x="577" y="425"/>
                </a:moveTo>
                <a:cubicBezTo>
                  <a:pt x="576" y="426"/>
                  <a:pt x="578" y="423"/>
                  <a:pt x="577" y="425"/>
                </a:cubicBezTo>
                <a:close/>
                <a:moveTo>
                  <a:pt x="577" y="371"/>
                </a:moveTo>
                <a:cubicBezTo>
                  <a:pt x="576" y="370"/>
                  <a:pt x="578" y="370"/>
                  <a:pt x="577" y="371"/>
                </a:cubicBezTo>
                <a:close/>
                <a:moveTo>
                  <a:pt x="577" y="297"/>
                </a:moveTo>
                <a:cubicBezTo>
                  <a:pt x="578" y="296"/>
                  <a:pt x="578" y="297"/>
                  <a:pt x="578" y="297"/>
                </a:cubicBezTo>
                <a:cubicBezTo>
                  <a:pt x="579" y="299"/>
                  <a:pt x="576" y="297"/>
                  <a:pt x="577" y="297"/>
                </a:cubicBezTo>
                <a:close/>
                <a:moveTo>
                  <a:pt x="580" y="277"/>
                </a:moveTo>
                <a:cubicBezTo>
                  <a:pt x="580" y="277"/>
                  <a:pt x="580" y="277"/>
                  <a:pt x="580" y="277"/>
                </a:cubicBezTo>
                <a:cubicBezTo>
                  <a:pt x="581" y="277"/>
                  <a:pt x="579" y="278"/>
                  <a:pt x="580" y="277"/>
                </a:cubicBezTo>
                <a:close/>
                <a:moveTo>
                  <a:pt x="580" y="387"/>
                </a:moveTo>
                <a:cubicBezTo>
                  <a:pt x="580" y="386"/>
                  <a:pt x="582" y="385"/>
                  <a:pt x="582" y="384"/>
                </a:cubicBezTo>
                <a:cubicBezTo>
                  <a:pt x="583" y="385"/>
                  <a:pt x="581" y="386"/>
                  <a:pt x="580" y="387"/>
                </a:cubicBezTo>
                <a:close/>
                <a:moveTo>
                  <a:pt x="578" y="268"/>
                </a:moveTo>
                <a:cubicBezTo>
                  <a:pt x="578" y="266"/>
                  <a:pt x="584" y="266"/>
                  <a:pt x="582" y="269"/>
                </a:cubicBezTo>
                <a:cubicBezTo>
                  <a:pt x="582" y="271"/>
                  <a:pt x="578" y="270"/>
                  <a:pt x="578" y="268"/>
                </a:cubicBezTo>
                <a:close/>
                <a:moveTo>
                  <a:pt x="582" y="302"/>
                </a:moveTo>
                <a:cubicBezTo>
                  <a:pt x="582" y="302"/>
                  <a:pt x="582" y="301"/>
                  <a:pt x="583" y="301"/>
                </a:cubicBezTo>
                <a:cubicBezTo>
                  <a:pt x="585" y="299"/>
                  <a:pt x="584" y="304"/>
                  <a:pt x="582" y="302"/>
                </a:cubicBezTo>
                <a:close/>
                <a:moveTo>
                  <a:pt x="584" y="367"/>
                </a:moveTo>
                <a:cubicBezTo>
                  <a:pt x="584" y="369"/>
                  <a:pt x="582" y="368"/>
                  <a:pt x="584" y="367"/>
                </a:cubicBezTo>
                <a:close/>
                <a:moveTo>
                  <a:pt x="584" y="364"/>
                </a:moveTo>
                <a:cubicBezTo>
                  <a:pt x="584" y="363"/>
                  <a:pt x="584" y="363"/>
                  <a:pt x="585" y="363"/>
                </a:cubicBezTo>
                <a:cubicBezTo>
                  <a:pt x="586" y="363"/>
                  <a:pt x="583" y="365"/>
                  <a:pt x="584" y="364"/>
                </a:cubicBezTo>
                <a:close/>
                <a:moveTo>
                  <a:pt x="585" y="305"/>
                </a:moveTo>
                <a:cubicBezTo>
                  <a:pt x="585" y="305"/>
                  <a:pt x="586" y="304"/>
                  <a:pt x="586" y="305"/>
                </a:cubicBezTo>
                <a:cubicBezTo>
                  <a:pt x="587" y="305"/>
                  <a:pt x="585" y="306"/>
                  <a:pt x="585" y="305"/>
                </a:cubicBezTo>
                <a:close/>
                <a:moveTo>
                  <a:pt x="585" y="289"/>
                </a:moveTo>
                <a:cubicBezTo>
                  <a:pt x="585" y="288"/>
                  <a:pt x="586" y="288"/>
                  <a:pt x="586" y="288"/>
                </a:cubicBezTo>
                <a:cubicBezTo>
                  <a:pt x="586" y="288"/>
                  <a:pt x="585" y="289"/>
                  <a:pt x="585" y="289"/>
                </a:cubicBezTo>
                <a:close/>
                <a:moveTo>
                  <a:pt x="585" y="250"/>
                </a:moveTo>
                <a:cubicBezTo>
                  <a:pt x="586" y="249"/>
                  <a:pt x="587" y="248"/>
                  <a:pt x="589" y="247"/>
                </a:cubicBezTo>
                <a:cubicBezTo>
                  <a:pt x="588" y="248"/>
                  <a:pt x="586" y="249"/>
                  <a:pt x="585" y="250"/>
                </a:cubicBezTo>
                <a:close/>
                <a:moveTo>
                  <a:pt x="590" y="437"/>
                </a:moveTo>
                <a:cubicBezTo>
                  <a:pt x="589" y="435"/>
                  <a:pt x="591" y="433"/>
                  <a:pt x="593" y="431"/>
                </a:cubicBezTo>
                <a:cubicBezTo>
                  <a:pt x="592" y="433"/>
                  <a:pt x="591" y="435"/>
                  <a:pt x="590" y="437"/>
                </a:cubicBezTo>
                <a:close/>
                <a:moveTo>
                  <a:pt x="594" y="251"/>
                </a:moveTo>
                <a:cubicBezTo>
                  <a:pt x="596" y="250"/>
                  <a:pt x="595" y="255"/>
                  <a:pt x="593" y="253"/>
                </a:cubicBezTo>
                <a:cubicBezTo>
                  <a:pt x="593" y="253"/>
                  <a:pt x="593" y="252"/>
                  <a:pt x="594" y="251"/>
                </a:cubicBezTo>
                <a:close/>
                <a:moveTo>
                  <a:pt x="594" y="357"/>
                </a:moveTo>
                <a:cubicBezTo>
                  <a:pt x="594" y="357"/>
                  <a:pt x="594" y="356"/>
                  <a:pt x="595" y="356"/>
                </a:cubicBezTo>
                <a:cubicBezTo>
                  <a:pt x="596" y="357"/>
                  <a:pt x="592" y="359"/>
                  <a:pt x="594" y="357"/>
                </a:cubicBezTo>
                <a:close/>
                <a:moveTo>
                  <a:pt x="595" y="371"/>
                </a:moveTo>
                <a:cubicBezTo>
                  <a:pt x="595" y="372"/>
                  <a:pt x="594" y="373"/>
                  <a:pt x="593" y="373"/>
                </a:cubicBezTo>
                <a:cubicBezTo>
                  <a:pt x="593" y="372"/>
                  <a:pt x="594" y="371"/>
                  <a:pt x="595" y="371"/>
                </a:cubicBezTo>
                <a:close/>
                <a:moveTo>
                  <a:pt x="593" y="429"/>
                </a:move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lose/>
                <a:moveTo>
                  <a:pt x="594" y="472"/>
                </a:moveTo>
                <a:cubicBezTo>
                  <a:pt x="594" y="472"/>
                  <a:pt x="595" y="470"/>
                  <a:pt x="595" y="470"/>
                </a:cubicBezTo>
                <a:cubicBezTo>
                  <a:pt x="596" y="471"/>
                  <a:pt x="594" y="472"/>
                  <a:pt x="594" y="472"/>
                </a:cubicBezTo>
                <a:close/>
                <a:moveTo>
                  <a:pt x="598" y="422"/>
                </a:moveTo>
                <a:cubicBezTo>
                  <a:pt x="598" y="423"/>
                  <a:pt x="596" y="426"/>
                  <a:pt x="594" y="428"/>
                </a:cubicBezTo>
                <a:cubicBezTo>
                  <a:pt x="594" y="425"/>
                  <a:pt x="599" y="418"/>
                  <a:pt x="598" y="422"/>
                </a:cubicBezTo>
                <a:close/>
                <a:moveTo>
                  <a:pt x="595" y="356"/>
                </a:moveTo>
                <a:cubicBezTo>
                  <a:pt x="596" y="355"/>
                  <a:pt x="597" y="354"/>
                  <a:pt x="599" y="353"/>
                </a:cubicBezTo>
                <a:cubicBezTo>
                  <a:pt x="598" y="355"/>
                  <a:pt x="597" y="355"/>
                  <a:pt x="595" y="356"/>
                </a:cubicBezTo>
                <a:close/>
                <a:moveTo>
                  <a:pt x="686" y="310"/>
                </a:moveTo>
                <a:cubicBezTo>
                  <a:pt x="686" y="309"/>
                  <a:pt x="686" y="312"/>
                  <a:pt x="686" y="310"/>
                </a:cubicBezTo>
                <a:close/>
                <a:moveTo>
                  <a:pt x="679" y="298"/>
                </a:moveTo>
                <a:cubicBezTo>
                  <a:pt x="682" y="297"/>
                  <a:pt x="678" y="302"/>
                  <a:pt x="678" y="299"/>
                </a:cubicBezTo>
                <a:cubicBezTo>
                  <a:pt x="678" y="299"/>
                  <a:pt x="678" y="298"/>
                  <a:pt x="679" y="298"/>
                </a:cubicBezTo>
                <a:close/>
                <a:moveTo>
                  <a:pt x="676" y="297"/>
                </a:moveTo>
                <a:cubicBezTo>
                  <a:pt x="677" y="295"/>
                  <a:pt x="676" y="298"/>
                  <a:pt x="676" y="297"/>
                </a:cubicBezTo>
                <a:close/>
                <a:moveTo>
                  <a:pt x="671" y="307"/>
                </a:moveTo>
                <a:cubicBezTo>
                  <a:pt x="671" y="307"/>
                  <a:pt x="672" y="308"/>
                  <a:pt x="671" y="308"/>
                </a:cubicBezTo>
                <a:cubicBezTo>
                  <a:pt x="670" y="309"/>
                  <a:pt x="671" y="307"/>
                  <a:pt x="671" y="307"/>
                </a:cubicBezTo>
                <a:close/>
                <a:moveTo>
                  <a:pt x="672" y="331"/>
                </a:moveTo>
                <a:cubicBezTo>
                  <a:pt x="672" y="331"/>
                  <a:pt x="675" y="326"/>
                  <a:pt x="675" y="328"/>
                </a:cubicBezTo>
                <a:cubicBezTo>
                  <a:pt x="675" y="331"/>
                  <a:pt x="670" y="334"/>
                  <a:pt x="668" y="337"/>
                </a:cubicBezTo>
                <a:cubicBezTo>
                  <a:pt x="669" y="335"/>
                  <a:pt x="671" y="333"/>
                  <a:pt x="672" y="331"/>
                </a:cubicBezTo>
                <a:close/>
                <a:moveTo>
                  <a:pt x="669" y="271"/>
                </a:moveTo>
                <a:cubicBezTo>
                  <a:pt x="668" y="270"/>
                  <a:pt x="671" y="264"/>
                  <a:pt x="672" y="266"/>
                </a:cubicBezTo>
                <a:cubicBezTo>
                  <a:pt x="674" y="267"/>
                  <a:pt x="670" y="270"/>
                  <a:pt x="669" y="271"/>
                </a:cubicBezTo>
                <a:close/>
                <a:moveTo>
                  <a:pt x="674" y="235"/>
                </a:moveTo>
                <a:cubicBezTo>
                  <a:pt x="673" y="236"/>
                  <a:pt x="675" y="233"/>
                  <a:pt x="674" y="235"/>
                </a:cubicBezTo>
                <a:close/>
                <a:moveTo>
                  <a:pt x="676" y="252"/>
                </a:moveTo>
                <a:cubicBezTo>
                  <a:pt x="676" y="250"/>
                  <a:pt x="677" y="251"/>
                  <a:pt x="676" y="252"/>
                </a:cubicBezTo>
                <a:close/>
                <a:moveTo>
                  <a:pt x="673" y="222"/>
                </a:moveTo>
                <a:cubicBezTo>
                  <a:pt x="674" y="221"/>
                  <a:pt x="676" y="222"/>
                  <a:pt x="676" y="222"/>
                </a:cubicBezTo>
                <a:cubicBezTo>
                  <a:pt x="678" y="225"/>
                  <a:pt x="674" y="230"/>
                  <a:pt x="672" y="229"/>
                </a:cubicBezTo>
                <a:cubicBezTo>
                  <a:pt x="669" y="227"/>
                  <a:pt x="671" y="223"/>
                  <a:pt x="673" y="222"/>
                </a:cubicBezTo>
                <a:close/>
                <a:moveTo>
                  <a:pt x="669" y="233"/>
                </a:moveTo>
                <a:cubicBezTo>
                  <a:pt x="669" y="232"/>
                  <a:pt x="670" y="231"/>
                  <a:pt x="670" y="230"/>
                </a:cubicBezTo>
                <a:cubicBezTo>
                  <a:pt x="669" y="230"/>
                  <a:pt x="669" y="230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1" y="229"/>
                </a:cubicBezTo>
                <a:cubicBezTo>
                  <a:pt x="670" y="230"/>
                  <a:pt x="670" y="230"/>
                  <a:pt x="670" y="230"/>
                </a:cubicBezTo>
                <a:cubicBezTo>
                  <a:pt x="670" y="233"/>
                  <a:pt x="669" y="236"/>
                  <a:pt x="668" y="238"/>
                </a:cubicBezTo>
                <a:cubicBezTo>
                  <a:pt x="668" y="237"/>
                  <a:pt x="668" y="235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lose/>
                <a:moveTo>
                  <a:pt x="668" y="231"/>
                </a:moveTo>
                <a:cubicBezTo>
                  <a:pt x="668" y="233"/>
                  <a:pt x="666" y="231"/>
                  <a:pt x="668" y="231"/>
                </a:cubicBezTo>
                <a:close/>
                <a:moveTo>
                  <a:pt x="671" y="249"/>
                </a:moveTo>
                <a:cubicBezTo>
                  <a:pt x="670" y="250"/>
                  <a:pt x="668" y="251"/>
                  <a:pt x="666" y="252"/>
                </a:cubicBezTo>
                <a:cubicBezTo>
                  <a:pt x="667" y="250"/>
                  <a:pt x="669" y="250"/>
                  <a:pt x="671" y="249"/>
                </a:cubicBezTo>
                <a:close/>
                <a:moveTo>
                  <a:pt x="667" y="257"/>
                </a:moveTo>
                <a:cubicBezTo>
                  <a:pt x="667" y="258"/>
                  <a:pt x="666" y="260"/>
                  <a:pt x="665" y="261"/>
                </a:cubicBezTo>
                <a:cubicBezTo>
                  <a:pt x="665" y="259"/>
                  <a:pt x="667" y="259"/>
                  <a:pt x="667" y="257"/>
                </a:cubicBezTo>
                <a:close/>
                <a:moveTo>
                  <a:pt x="666" y="302"/>
                </a:moveTo>
                <a:cubicBezTo>
                  <a:pt x="666" y="302"/>
                  <a:pt x="666" y="302"/>
                  <a:pt x="666" y="301"/>
                </a:cubicBezTo>
                <a:cubicBezTo>
                  <a:pt x="666" y="300"/>
                  <a:pt x="667" y="302"/>
                  <a:pt x="666" y="302"/>
                </a:cubicBezTo>
                <a:close/>
                <a:moveTo>
                  <a:pt x="657" y="233"/>
                </a:moveTo>
                <a:cubicBezTo>
                  <a:pt x="657" y="233"/>
                  <a:pt x="657" y="233"/>
                  <a:pt x="657" y="233"/>
                </a:cubicBezTo>
                <a:cubicBezTo>
                  <a:pt x="657" y="235"/>
                  <a:pt x="655" y="233"/>
                  <a:pt x="657" y="233"/>
                </a:cubicBezTo>
                <a:close/>
                <a:moveTo>
                  <a:pt x="655" y="232"/>
                </a:moveTo>
                <a:cubicBezTo>
                  <a:pt x="656" y="232"/>
                  <a:pt x="656" y="234"/>
                  <a:pt x="655" y="234"/>
                </a:cubicBezTo>
                <a:cubicBezTo>
                  <a:pt x="654" y="233"/>
                  <a:pt x="655" y="232"/>
                  <a:pt x="655" y="232"/>
                </a:cubicBezTo>
                <a:close/>
                <a:moveTo>
                  <a:pt x="655" y="256"/>
                </a:moveTo>
                <a:cubicBezTo>
                  <a:pt x="657" y="254"/>
                  <a:pt x="657" y="259"/>
                  <a:pt x="655" y="259"/>
                </a:cubicBezTo>
                <a:cubicBezTo>
                  <a:pt x="654" y="258"/>
                  <a:pt x="654" y="256"/>
                  <a:pt x="655" y="256"/>
                </a:cubicBezTo>
                <a:close/>
                <a:moveTo>
                  <a:pt x="651" y="231"/>
                </a:moveTo>
                <a:cubicBezTo>
                  <a:pt x="651" y="231"/>
                  <a:pt x="652" y="230"/>
                  <a:pt x="653" y="231"/>
                </a:cubicBezTo>
                <a:cubicBezTo>
                  <a:pt x="654" y="232"/>
                  <a:pt x="650" y="234"/>
                  <a:pt x="651" y="231"/>
                </a:cubicBezTo>
                <a:close/>
                <a:moveTo>
                  <a:pt x="651" y="229"/>
                </a:moveTo>
                <a:cubicBezTo>
                  <a:pt x="651" y="228"/>
                  <a:pt x="650" y="231"/>
                  <a:pt x="651" y="229"/>
                </a:cubicBezTo>
                <a:close/>
                <a:moveTo>
                  <a:pt x="647" y="239"/>
                </a:moveTo>
                <a:cubicBezTo>
                  <a:pt x="648" y="237"/>
                  <a:pt x="650" y="241"/>
                  <a:pt x="647" y="241"/>
                </a:cubicBezTo>
                <a:cubicBezTo>
                  <a:pt x="647" y="240"/>
                  <a:pt x="646" y="239"/>
                  <a:pt x="647" y="239"/>
                </a:cubicBezTo>
                <a:close/>
                <a:moveTo>
                  <a:pt x="649" y="265"/>
                </a:moveTo>
                <a:cubicBezTo>
                  <a:pt x="650" y="264"/>
                  <a:pt x="651" y="260"/>
                  <a:pt x="653" y="260"/>
                </a:cubicBezTo>
                <a:cubicBezTo>
                  <a:pt x="657" y="258"/>
                  <a:pt x="649" y="267"/>
                  <a:pt x="648" y="268"/>
                </a:cubicBezTo>
                <a:cubicBezTo>
                  <a:pt x="650" y="266"/>
                  <a:pt x="648" y="270"/>
                  <a:pt x="647" y="269"/>
                </a:cubicBezTo>
                <a:cubicBezTo>
                  <a:pt x="646" y="269"/>
                  <a:pt x="648" y="266"/>
                  <a:pt x="649" y="265"/>
                </a:cubicBezTo>
                <a:close/>
                <a:moveTo>
                  <a:pt x="652" y="271"/>
                </a:moveTo>
                <a:cubicBezTo>
                  <a:pt x="653" y="272"/>
                  <a:pt x="651" y="272"/>
                  <a:pt x="651" y="272"/>
                </a:cubicBezTo>
                <a:cubicBezTo>
                  <a:pt x="651" y="271"/>
                  <a:pt x="652" y="270"/>
                  <a:pt x="652" y="271"/>
                </a:cubicBezTo>
                <a:close/>
                <a:moveTo>
                  <a:pt x="657" y="273"/>
                </a:moveTo>
                <a:cubicBezTo>
                  <a:pt x="653" y="278"/>
                  <a:pt x="649" y="282"/>
                  <a:pt x="643" y="286"/>
                </a:cubicBezTo>
                <a:cubicBezTo>
                  <a:pt x="648" y="281"/>
                  <a:pt x="652" y="277"/>
                  <a:pt x="657" y="273"/>
                </a:cubicBezTo>
                <a:close/>
                <a:moveTo>
                  <a:pt x="645" y="387"/>
                </a:moveTo>
                <a:cubicBezTo>
                  <a:pt x="645" y="389"/>
                  <a:pt x="643" y="388"/>
                  <a:pt x="645" y="387"/>
                </a:cubicBezTo>
                <a:close/>
                <a:moveTo>
                  <a:pt x="645" y="390"/>
                </a:moveTo>
                <a:cubicBezTo>
                  <a:pt x="645" y="388"/>
                  <a:pt x="644" y="391"/>
                  <a:pt x="645" y="390"/>
                </a:cubicBezTo>
                <a:close/>
                <a:moveTo>
                  <a:pt x="641" y="392"/>
                </a:moveTo>
                <a:cubicBezTo>
                  <a:pt x="642" y="391"/>
                  <a:pt x="642" y="390"/>
                  <a:pt x="643" y="389"/>
                </a:cubicBezTo>
                <a:cubicBezTo>
                  <a:pt x="643" y="390"/>
                  <a:pt x="643" y="391"/>
                  <a:pt x="641" y="392"/>
                </a:cubicBezTo>
                <a:close/>
                <a:moveTo>
                  <a:pt x="642" y="393"/>
                </a:moveTo>
                <a:cubicBezTo>
                  <a:pt x="643" y="393"/>
                  <a:pt x="640" y="395"/>
                  <a:pt x="642" y="393"/>
                </a:cubicBezTo>
                <a:close/>
                <a:moveTo>
                  <a:pt x="643" y="300"/>
                </a:moveTo>
                <a:cubicBezTo>
                  <a:pt x="642" y="300"/>
                  <a:pt x="643" y="299"/>
                  <a:pt x="643" y="299"/>
                </a:cubicBezTo>
                <a:cubicBezTo>
                  <a:pt x="644" y="297"/>
                  <a:pt x="644" y="301"/>
                  <a:pt x="643" y="300"/>
                </a:cubicBezTo>
                <a:close/>
                <a:moveTo>
                  <a:pt x="642" y="297"/>
                </a:moveTo>
                <a:cubicBezTo>
                  <a:pt x="642" y="296"/>
                  <a:pt x="643" y="296"/>
                  <a:pt x="644" y="295"/>
                </a:cubicBezTo>
                <a:cubicBezTo>
                  <a:pt x="644" y="296"/>
                  <a:pt x="643" y="297"/>
                  <a:pt x="642" y="297"/>
                </a:cubicBezTo>
                <a:close/>
                <a:moveTo>
                  <a:pt x="639" y="297"/>
                </a:moveTo>
                <a:cubicBezTo>
                  <a:pt x="638" y="296"/>
                  <a:pt x="644" y="290"/>
                  <a:pt x="645" y="290"/>
                </a:cubicBezTo>
                <a:cubicBezTo>
                  <a:pt x="645" y="289"/>
                  <a:pt x="646" y="289"/>
                  <a:pt x="647" y="289"/>
                </a:cubicBezTo>
                <a:cubicBezTo>
                  <a:pt x="647" y="289"/>
                  <a:pt x="640" y="298"/>
                  <a:pt x="639" y="297"/>
                </a:cubicBezTo>
                <a:close/>
                <a:moveTo>
                  <a:pt x="642" y="298"/>
                </a:moveTo>
                <a:cubicBezTo>
                  <a:pt x="641" y="300"/>
                  <a:pt x="639" y="299"/>
                  <a:pt x="642" y="298"/>
                </a:cubicBezTo>
                <a:close/>
                <a:moveTo>
                  <a:pt x="639" y="303"/>
                </a:moveTo>
                <a:cubicBezTo>
                  <a:pt x="639" y="303"/>
                  <a:pt x="639" y="302"/>
                  <a:pt x="639" y="302"/>
                </a:cubicBezTo>
                <a:cubicBezTo>
                  <a:pt x="641" y="300"/>
                  <a:pt x="640" y="304"/>
                  <a:pt x="639" y="303"/>
                </a:cubicBezTo>
                <a:close/>
                <a:moveTo>
                  <a:pt x="640" y="320"/>
                </a:moveTo>
                <a:cubicBezTo>
                  <a:pt x="640" y="320"/>
                  <a:pt x="639" y="321"/>
                  <a:pt x="639" y="321"/>
                </a:cubicBezTo>
                <a:cubicBezTo>
                  <a:pt x="638" y="321"/>
                  <a:pt x="639" y="320"/>
                  <a:pt x="640" y="320"/>
                </a:cubicBezTo>
                <a:close/>
                <a:moveTo>
                  <a:pt x="638" y="266"/>
                </a:moveTo>
                <a:cubicBezTo>
                  <a:pt x="637" y="266"/>
                  <a:pt x="639" y="265"/>
                  <a:pt x="638" y="264"/>
                </a:cubicBezTo>
                <a:cubicBezTo>
                  <a:pt x="639" y="264"/>
                  <a:pt x="638" y="266"/>
                  <a:pt x="638" y="266"/>
                </a:cubicBezTo>
                <a:close/>
                <a:moveTo>
                  <a:pt x="638" y="268"/>
                </a:moveTo>
                <a:cubicBezTo>
                  <a:pt x="638" y="268"/>
                  <a:pt x="638" y="269"/>
                  <a:pt x="638" y="269"/>
                </a:cubicBezTo>
                <a:cubicBezTo>
                  <a:pt x="638" y="269"/>
                  <a:pt x="638" y="269"/>
                  <a:pt x="638" y="269"/>
                </a:cubicBezTo>
                <a:cubicBezTo>
                  <a:pt x="638" y="269"/>
                  <a:pt x="638" y="269"/>
                  <a:pt x="638" y="268"/>
                </a:cubicBezTo>
                <a:close/>
                <a:moveTo>
                  <a:pt x="642" y="286"/>
                </a:moveTo>
                <a:cubicBezTo>
                  <a:pt x="642" y="287"/>
                  <a:pt x="639" y="289"/>
                  <a:pt x="638" y="290"/>
                </a:cubicBezTo>
                <a:cubicBezTo>
                  <a:pt x="638" y="288"/>
                  <a:pt x="641" y="288"/>
                  <a:pt x="642" y="286"/>
                </a:cubicBezTo>
                <a:close/>
                <a:moveTo>
                  <a:pt x="644" y="234"/>
                </a:moveTo>
                <a:cubicBezTo>
                  <a:pt x="643" y="235"/>
                  <a:pt x="643" y="234"/>
                  <a:pt x="644" y="234"/>
                </a:cubicBezTo>
                <a:close/>
                <a:moveTo>
                  <a:pt x="643" y="251"/>
                </a:moveTo>
                <a:cubicBezTo>
                  <a:pt x="643" y="252"/>
                  <a:pt x="642" y="253"/>
                  <a:pt x="642" y="253"/>
                </a:cubicBezTo>
                <a:cubicBezTo>
                  <a:pt x="642" y="253"/>
                  <a:pt x="642" y="251"/>
                  <a:pt x="643" y="251"/>
                </a:cubicBezTo>
                <a:close/>
                <a:moveTo>
                  <a:pt x="645" y="254"/>
                </a:moveTo>
                <a:cubicBezTo>
                  <a:pt x="643" y="257"/>
                  <a:pt x="641" y="258"/>
                  <a:pt x="638" y="260"/>
                </a:cubicBezTo>
                <a:cubicBezTo>
                  <a:pt x="640" y="258"/>
                  <a:pt x="642" y="256"/>
                  <a:pt x="645" y="254"/>
                </a:cubicBezTo>
                <a:close/>
                <a:moveTo>
                  <a:pt x="640" y="225"/>
                </a:moveTo>
                <a:cubicBezTo>
                  <a:pt x="640" y="225"/>
                  <a:pt x="640" y="225"/>
                  <a:pt x="640" y="225"/>
                </a:cubicBezTo>
                <a:cubicBezTo>
                  <a:pt x="640" y="225"/>
                  <a:pt x="640" y="225"/>
                  <a:pt x="640" y="226"/>
                </a:cubicBezTo>
                <a:cubicBezTo>
                  <a:pt x="640" y="226"/>
                  <a:pt x="640" y="226"/>
                  <a:pt x="640" y="225"/>
                </a:cubicBezTo>
                <a:close/>
                <a:moveTo>
                  <a:pt x="640" y="241"/>
                </a:moveTo>
                <a:cubicBezTo>
                  <a:pt x="641" y="243"/>
                  <a:pt x="638" y="244"/>
                  <a:pt x="638" y="242"/>
                </a:cubicBezTo>
                <a:cubicBezTo>
                  <a:pt x="637" y="241"/>
                  <a:pt x="640" y="239"/>
                  <a:pt x="640" y="241"/>
                </a:cubicBezTo>
                <a:close/>
                <a:moveTo>
                  <a:pt x="638" y="290"/>
                </a:moveTo>
                <a:cubicBezTo>
                  <a:pt x="639" y="291"/>
                  <a:pt x="635" y="292"/>
                  <a:pt x="636" y="290"/>
                </a:cubicBezTo>
                <a:cubicBezTo>
                  <a:pt x="637" y="289"/>
                  <a:pt x="637" y="289"/>
                  <a:pt x="638" y="290"/>
                </a:cubicBezTo>
                <a:close/>
                <a:moveTo>
                  <a:pt x="637" y="302"/>
                </a:move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lose/>
                <a:moveTo>
                  <a:pt x="632" y="265"/>
                </a:moveTo>
                <a:cubicBezTo>
                  <a:pt x="633" y="264"/>
                  <a:pt x="635" y="262"/>
                  <a:pt x="636" y="262"/>
                </a:cubicBezTo>
                <a:cubicBezTo>
                  <a:pt x="636" y="262"/>
                  <a:pt x="634" y="265"/>
                  <a:pt x="632" y="265"/>
                </a:cubicBezTo>
                <a:close/>
                <a:moveTo>
                  <a:pt x="637" y="219"/>
                </a:moveTo>
                <a:cubicBezTo>
                  <a:pt x="637" y="221"/>
                  <a:pt x="634" y="221"/>
                  <a:pt x="634" y="219"/>
                </a:cubicBezTo>
                <a:cubicBezTo>
                  <a:pt x="634" y="218"/>
                  <a:pt x="636" y="217"/>
                  <a:pt x="637" y="219"/>
                </a:cubicBezTo>
                <a:close/>
                <a:moveTo>
                  <a:pt x="633" y="221"/>
                </a:moveTo>
                <a:cubicBezTo>
                  <a:pt x="633" y="221"/>
                  <a:pt x="635" y="221"/>
                  <a:pt x="634" y="222"/>
                </a:cubicBezTo>
                <a:cubicBezTo>
                  <a:pt x="634" y="222"/>
                  <a:pt x="632" y="222"/>
                  <a:pt x="633" y="221"/>
                </a:cubicBezTo>
                <a:close/>
                <a:moveTo>
                  <a:pt x="633" y="253"/>
                </a:moveTo>
                <a:cubicBezTo>
                  <a:pt x="633" y="254"/>
                  <a:pt x="632" y="254"/>
                  <a:pt x="631" y="254"/>
                </a:cubicBezTo>
                <a:cubicBezTo>
                  <a:pt x="631" y="253"/>
                  <a:pt x="632" y="252"/>
                  <a:pt x="633" y="253"/>
                </a:cubicBezTo>
                <a:close/>
                <a:moveTo>
                  <a:pt x="630" y="260"/>
                </a:moveTo>
                <a:cubicBezTo>
                  <a:pt x="630" y="260"/>
                  <a:pt x="630" y="260"/>
                  <a:pt x="630" y="261"/>
                </a:cubicBezTo>
                <a:cubicBezTo>
                  <a:pt x="630" y="261"/>
                  <a:pt x="630" y="261"/>
                  <a:pt x="630" y="261"/>
                </a:cubicBezTo>
                <a:cubicBezTo>
                  <a:pt x="630" y="261"/>
                  <a:pt x="630" y="260"/>
                  <a:pt x="630" y="260"/>
                </a:cubicBezTo>
                <a:close/>
                <a:moveTo>
                  <a:pt x="632" y="277"/>
                </a:moveTo>
                <a:cubicBezTo>
                  <a:pt x="634" y="279"/>
                  <a:pt x="631" y="281"/>
                  <a:pt x="629" y="281"/>
                </a:cubicBezTo>
                <a:cubicBezTo>
                  <a:pt x="629" y="280"/>
                  <a:pt x="631" y="277"/>
                  <a:pt x="632" y="277"/>
                </a:cubicBezTo>
                <a:close/>
                <a:moveTo>
                  <a:pt x="632" y="347"/>
                </a:moveTo>
                <a:cubicBezTo>
                  <a:pt x="632" y="347"/>
                  <a:pt x="632" y="346"/>
                  <a:pt x="632" y="346"/>
                </a:cubicBezTo>
                <a:cubicBezTo>
                  <a:pt x="633" y="344"/>
                  <a:pt x="632" y="348"/>
                  <a:pt x="632" y="347"/>
                </a:cubicBezTo>
                <a:close/>
                <a:moveTo>
                  <a:pt x="630" y="294"/>
                </a:moveTo>
                <a:cubicBezTo>
                  <a:pt x="630" y="295"/>
                  <a:pt x="629" y="295"/>
                  <a:pt x="629" y="295"/>
                </a:cubicBezTo>
                <a:cubicBezTo>
                  <a:pt x="629" y="295"/>
                  <a:pt x="629" y="294"/>
                  <a:pt x="630" y="294"/>
                </a:cubicBezTo>
                <a:close/>
                <a:moveTo>
                  <a:pt x="627" y="314"/>
                </a:moveTo>
                <a:cubicBezTo>
                  <a:pt x="627" y="314"/>
                  <a:pt x="628" y="314"/>
                  <a:pt x="628" y="314"/>
                </a:cubicBezTo>
                <a:cubicBezTo>
                  <a:pt x="629" y="315"/>
                  <a:pt x="627" y="315"/>
                  <a:pt x="627" y="314"/>
                </a:cubicBezTo>
                <a:close/>
                <a:moveTo>
                  <a:pt x="628" y="256"/>
                </a:moveTo>
                <a:cubicBezTo>
                  <a:pt x="628" y="254"/>
                  <a:pt x="627" y="257"/>
                  <a:pt x="628" y="256"/>
                </a:cubicBezTo>
                <a:close/>
                <a:moveTo>
                  <a:pt x="626" y="201"/>
                </a:moveTo>
                <a:cubicBezTo>
                  <a:pt x="624" y="200"/>
                  <a:pt x="625" y="198"/>
                  <a:pt x="626" y="198"/>
                </a:cubicBezTo>
                <a:cubicBezTo>
                  <a:pt x="629" y="196"/>
                  <a:pt x="628" y="201"/>
                  <a:pt x="626" y="201"/>
                </a:cubicBezTo>
                <a:close/>
                <a:moveTo>
                  <a:pt x="625" y="187"/>
                </a:moveTo>
                <a:cubicBezTo>
                  <a:pt x="625" y="186"/>
                  <a:pt x="626" y="186"/>
                  <a:pt x="626" y="186"/>
                </a:cubicBezTo>
                <a:cubicBezTo>
                  <a:pt x="627" y="187"/>
                  <a:pt x="624" y="188"/>
                  <a:pt x="625" y="187"/>
                </a:cubicBezTo>
                <a:close/>
                <a:moveTo>
                  <a:pt x="622" y="226"/>
                </a:moveTo>
                <a:cubicBezTo>
                  <a:pt x="617" y="226"/>
                  <a:pt x="619" y="218"/>
                  <a:pt x="621" y="217"/>
                </a:cubicBezTo>
                <a:cubicBezTo>
                  <a:pt x="629" y="212"/>
                  <a:pt x="628" y="227"/>
                  <a:pt x="622" y="226"/>
                </a:cubicBezTo>
                <a:close/>
                <a:moveTo>
                  <a:pt x="619" y="233"/>
                </a:moveTo>
                <a:cubicBezTo>
                  <a:pt x="618" y="232"/>
                  <a:pt x="623" y="228"/>
                  <a:pt x="624" y="228"/>
                </a:cubicBezTo>
                <a:cubicBezTo>
                  <a:pt x="628" y="226"/>
                  <a:pt x="620" y="234"/>
                  <a:pt x="619" y="233"/>
                </a:cubicBezTo>
                <a:close/>
                <a:moveTo>
                  <a:pt x="625" y="235"/>
                </a:moveTo>
                <a:cubicBezTo>
                  <a:pt x="625" y="236"/>
                  <a:pt x="623" y="237"/>
                  <a:pt x="623" y="236"/>
                </a:cubicBezTo>
                <a:cubicBezTo>
                  <a:pt x="622" y="235"/>
                  <a:pt x="624" y="234"/>
                  <a:pt x="625" y="235"/>
                </a:cubicBezTo>
                <a:close/>
                <a:moveTo>
                  <a:pt x="622" y="357"/>
                </a:move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lose/>
                <a:moveTo>
                  <a:pt x="608" y="328"/>
                </a:moveTo>
                <a:cubicBezTo>
                  <a:pt x="608" y="327"/>
                  <a:pt x="611" y="326"/>
                  <a:pt x="612" y="324"/>
                </a:cubicBezTo>
                <a:cubicBezTo>
                  <a:pt x="615" y="321"/>
                  <a:pt x="617" y="315"/>
                  <a:pt x="621" y="313"/>
                </a:cubicBezTo>
                <a:cubicBezTo>
                  <a:pt x="621" y="317"/>
                  <a:pt x="615" y="319"/>
                  <a:pt x="614" y="322"/>
                </a:cubicBezTo>
                <a:cubicBezTo>
                  <a:pt x="613" y="324"/>
                  <a:pt x="610" y="329"/>
                  <a:pt x="607" y="331"/>
                </a:cubicBezTo>
                <a:cubicBezTo>
                  <a:pt x="607" y="331"/>
                  <a:pt x="607" y="333"/>
                  <a:pt x="606" y="332"/>
                </a:cubicBezTo>
                <a:cubicBezTo>
                  <a:pt x="605" y="331"/>
                  <a:pt x="608" y="328"/>
                  <a:pt x="608" y="328"/>
                </a:cubicBezTo>
                <a:close/>
                <a:moveTo>
                  <a:pt x="605" y="271"/>
                </a:moveTo>
                <a:cubicBezTo>
                  <a:pt x="604" y="270"/>
                  <a:pt x="605" y="269"/>
                  <a:pt x="605" y="269"/>
                </a:cubicBezTo>
                <a:cubicBezTo>
                  <a:pt x="608" y="267"/>
                  <a:pt x="606" y="272"/>
                  <a:pt x="605" y="271"/>
                </a:cubicBezTo>
                <a:close/>
                <a:moveTo>
                  <a:pt x="609" y="243"/>
                </a:moveTo>
                <a:cubicBezTo>
                  <a:pt x="608" y="242"/>
                  <a:pt x="610" y="241"/>
                  <a:pt x="611" y="243"/>
                </a:cubicBezTo>
                <a:cubicBezTo>
                  <a:pt x="611" y="244"/>
                  <a:pt x="609" y="244"/>
                  <a:pt x="609" y="243"/>
                </a:cubicBezTo>
                <a:close/>
                <a:moveTo>
                  <a:pt x="611" y="305"/>
                </a:moveTo>
                <a:cubicBezTo>
                  <a:pt x="610" y="306"/>
                  <a:pt x="611" y="304"/>
                  <a:pt x="611" y="305"/>
                </a:cubicBezTo>
                <a:close/>
                <a:moveTo>
                  <a:pt x="613" y="298"/>
                </a:moveTo>
                <a:cubicBezTo>
                  <a:pt x="613" y="298"/>
                  <a:pt x="613" y="298"/>
                  <a:pt x="613" y="298"/>
                </a:cubicBezTo>
                <a:cubicBezTo>
                  <a:pt x="614" y="295"/>
                  <a:pt x="613" y="300"/>
                  <a:pt x="613" y="298"/>
                </a:cubicBezTo>
                <a:close/>
                <a:moveTo>
                  <a:pt x="617" y="261"/>
                </a:moveTo>
                <a:cubicBezTo>
                  <a:pt x="617" y="262"/>
                  <a:pt x="616" y="262"/>
                  <a:pt x="615" y="263"/>
                </a:cubicBezTo>
                <a:cubicBezTo>
                  <a:pt x="615" y="262"/>
                  <a:pt x="616" y="261"/>
                  <a:pt x="617" y="261"/>
                </a:cubicBezTo>
                <a:close/>
                <a:moveTo>
                  <a:pt x="616" y="238"/>
                </a:moveTo>
                <a:cubicBezTo>
                  <a:pt x="616" y="238"/>
                  <a:pt x="616" y="239"/>
                  <a:pt x="615" y="239"/>
                </a:cubicBezTo>
                <a:cubicBezTo>
                  <a:pt x="615" y="238"/>
                  <a:pt x="615" y="238"/>
                  <a:pt x="616" y="238"/>
                </a:cubicBezTo>
                <a:close/>
                <a:moveTo>
                  <a:pt x="618" y="309"/>
                </a:moveTo>
                <a:cubicBezTo>
                  <a:pt x="618" y="309"/>
                  <a:pt x="618" y="308"/>
                  <a:pt x="618" y="308"/>
                </a:cubicBezTo>
                <a:cubicBezTo>
                  <a:pt x="619" y="306"/>
                  <a:pt x="618" y="311"/>
                  <a:pt x="618" y="309"/>
                </a:cubicBezTo>
                <a:close/>
                <a:moveTo>
                  <a:pt x="618" y="295"/>
                </a:moveTo>
                <a:cubicBezTo>
                  <a:pt x="619" y="293"/>
                  <a:pt x="618" y="296"/>
                  <a:pt x="618" y="295"/>
                </a:cubicBezTo>
                <a:close/>
                <a:moveTo>
                  <a:pt x="620" y="301"/>
                </a:moveTo>
                <a:cubicBezTo>
                  <a:pt x="619" y="302"/>
                  <a:pt x="621" y="300"/>
                  <a:pt x="620" y="301"/>
                </a:cubicBezTo>
                <a:close/>
                <a:moveTo>
                  <a:pt x="621" y="333"/>
                </a:moveTo>
                <a:cubicBezTo>
                  <a:pt x="620" y="335"/>
                  <a:pt x="619" y="336"/>
                  <a:pt x="618" y="337"/>
                </a:cubicBezTo>
                <a:cubicBezTo>
                  <a:pt x="619" y="336"/>
                  <a:pt x="620" y="334"/>
                  <a:pt x="621" y="333"/>
                </a:cubicBezTo>
                <a:close/>
                <a:moveTo>
                  <a:pt x="622" y="194"/>
                </a:moveTo>
                <a:cubicBezTo>
                  <a:pt x="621" y="194"/>
                  <a:pt x="622" y="192"/>
                  <a:pt x="623" y="193"/>
                </a:cubicBezTo>
                <a:cubicBezTo>
                  <a:pt x="623" y="194"/>
                  <a:pt x="622" y="195"/>
                  <a:pt x="622" y="194"/>
                </a:cubicBezTo>
                <a:close/>
                <a:moveTo>
                  <a:pt x="619" y="192"/>
                </a:moveTo>
                <a:cubicBezTo>
                  <a:pt x="619" y="192"/>
                  <a:pt x="619" y="192"/>
                  <a:pt x="620" y="191"/>
                </a:cubicBezTo>
                <a:cubicBezTo>
                  <a:pt x="620" y="192"/>
                  <a:pt x="620" y="192"/>
                  <a:pt x="620" y="192"/>
                </a:cubicBezTo>
                <a:cubicBezTo>
                  <a:pt x="621" y="191"/>
                  <a:pt x="622" y="190"/>
                  <a:pt x="623" y="190"/>
                </a:cubicBezTo>
                <a:cubicBezTo>
                  <a:pt x="622" y="192"/>
                  <a:pt x="620" y="193"/>
                  <a:pt x="617" y="194"/>
                </a:cubicBezTo>
                <a:cubicBezTo>
                  <a:pt x="618" y="193"/>
                  <a:pt x="618" y="193"/>
                  <a:pt x="619" y="192"/>
                </a:cubicBezTo>
                <a:close/>
                <a:moveTo>
                  <a:pt x="615" y="194"/>
                </a:moveTo>
                <a:cubicBezTo>
                  <a:pt x="616" y="194"/>
                  <a:pt x="617" y="193"/>
                  <a:pt x="617" y="194"/>
                </a:cubicBezTo>
                <a:cubicBezTo>
                  <a:pt x="618" y="195"/>
                  <a:pt x="613" y="196"/>
                  <a:pt x="615" y="194"/>
                </a:cubicBezTo>
                <a:close/>
                <a:moveTo>
                  <a:pt x="612" y="214"/>
                </a:moveTo>
                <a:cubicBezTo>
                  <a:pt x="613" y="215"/>
                  <a:pt x="612" y="215"/>
                  <a:pt x="611" y="214"/>
                </a:cubicBezTo>
                <a:cubicBezTo>
                  <a:pt x="611" y="214"/>
                  <a:pt x="612" y="213"/>
                  <a:pt x="612" y="214"/>
                </a:cubicBezTo>
                <a:close/>
                <a:moveTo>
                  <a:pt x="609" y="203"/>
                </a:moveTo>
                <a:cubicBezTo>
                  <a:pt x="611" y="201"/>
                  <a:pt x="611" y="205"/>
                  <a:pt x="609" y="205"/>
                </a:cubicBezTo>
                <a:cubicBezTo>
                  <a:pt x="609" y="204"/>
                  <a:pt x="609" y="204"/>
                  <a:pt x="609" y="203"/>
                </a:cubicBezTo>
                <a:close/>
                <a:moveTo>
                  <a:pt x="609" y="219"/>
                </a:moveTo>
                <a:cubicBezTo>
                  <a:pt x="612" y="218"/>
                  <a:pt x="616" y="215"/>
                  <a:pt x="620" y="214"/>
                </a:cubicBezTo>
                <a:cubicBezTo>
                  <a:pt x="617" y="216"/>
                  <a:pt x="611" y="220"/>
                  <a:pt x="608" y="221"/>
                </a:cubicBezTo>
                <a:cubicBezTo>
                  <a:pt x="609" y="221"/>
                  <a:pt x="607" y="222"/>
                  <a:pt x="607" y="221"/>
                </a:cubicBezTo>
                <a:cubicBezTo>
                  <a:pt x="606" y="220"/>
                  <a:pt x="609" y="220"/>
                  <a:pt x="609" y="219"/>
                </a:cubicBezTo>
                <a:close/>
                <a:moveTo>
                  <a:pt x="610" y="253"/>
                </a:moveTo>
                <a:cubicBezTo>
                  <a:pt x="610" y="255"/>
                  <a:pt x="605" y="256"/>
                  <a:pt x="605" y="255"/>
                </a:cubicBezTo>
                <a:cubicBezTo>
                  <a:pt x="604" y="252"/>
                  <a:pt x="610" y="249"/>
                  <a:pt x="610" y="253"/>
                </a:cubicBezTo>
                <a:close/>
                <a:moveTo>
                  <a:pt x="602" y="194"/>
                </a:moveTo>
                <a:cubicBezTo>
                  <a:pt x="602" y="194"/>
                  <a:pt x="603" y="194"/>
                  <a:pt x="603" y="194"/>
                </a:cubicBezTo>
                <a:cubicBezTo>
                  <a:pt x="604" y="196"/>
                  <a:pt x="601" y="196"/>
                  <a:pt x="602" y="194"/>
                </a:cubicBezTo>
                <a:close/>
                <a:moveTo>
                  <a:pt x="604" y="256"/>
                </a:moveTo>
                <a:cubicBezTo>
                  <a:pt x="604" y="257"/>
                  <a:pt x="606" y="258"/>
                  <a:pt x="606" y="259"/>
                </a:cubicBezTo>
                <a:cubicBezTo>
                  <a:pt x="605" y="261"/>
                  <a:pt x="604" y="259"/>
                  <a:pt x="603" y="260"/>
                </a:cubicBezTo>
                <a:cubicBezTo>
                  <a:pt x="601" y="262"/>
                  <a:pt x="602" y="267"/>
                  <a:pt x="600" y="270"/>
                </a:cubicBezTo>
                <a:cubicBezTo>
                  <a:pt x="600" y="265"/>
                  <a:pt x="602" y="261"/>
                  <a:pt x="604" y="256"/>
                </a:cubicBezTo>
                <a:close/>
                <a:moveTo>
                  <a:pt x="600" y="272"/>
                </a:moveTo>
                <a:cubicBezTo>
                  <a:pt x="600" y="271"/>
                  <a:pt x="602" y="269"/>
                  <a:pt x="603" y="271"/>
                </a:cubicBezTo>
                <a:cubicBezTo>
                  <a:pt x="603" y="273"/>
                  <a:pt x="601" y="273"/>
                  <a:pt x="600" y="272"/>
                </a:cubicBezTo>
                <a:close/>
                <a:moveTo>
                  <a:pt x="601" y="310"/>
                </a:moveTo>
                <a:cubicBezTo>
                  <a:pt x="600" y="310"/>
                  <a:pt x="601" y="310"/>
                  <a:pt x="601" y="310"/>
                </a:cubicBezTo>
                <a:cubicBezTo>
                  <a:pt x="602" y="310"/>
                  <a:pt x="601" y="310"/>
                  <a:pt x="601" y="310"/>
                </a:cubicBezTo>
                <a:close/>
                <a:moveTo>
                  <a:pt x="602" y="303"/>
                </a:moveTo>
                <a:cubicBezTo>
                  <a:pt x="602" y="302"/>
                  <a:pt x="603" y="302"/>
                  <a:pt x="603" y="302"/>
                </a:cubicBezTo>
                <a:cubicBezTo>
                  <a:pt x="604" y="302"/>
                  <a:pt x="602" y="304"/>
                  <a:pt x="602" y="303"/>
                </a:cubicBezTo>
                <a:close/>
                <a:moveTo>
                  <a:pt x="607" y="416"/>
                </a:moveTo>
                <a:cubicBezTo>
                  <a:pt x="607" y="415"/>
                  <a:pt x="607" y="415"/>
                  <a:pt x="608" y="414"/>
                </a:cubicBezTo>
                <a:cubicBezTo>
                  <a:pt x="607" y="415"/>
                  <a:pt x="607" y="416"/>
                  <a:pt x="607" y="416"/>
                </a:cubicBezTo>
                <a:close/>
                <a:moveTo>
                  <a:pt x="608" y="393"/>
                </a:moveTo>
                <a:cubicBezTo>
                  <a:pt x="608" y="392"/>
                  <a:pt x="609" y="391"/>
                  <a:pt x="610" y="390"/>
                </a:cubicBezTo>
                <a:cubicBezTo>
                  <a:pt x="610" y="390"/>
                  <a:pt x="609" y="392"/>
                  <a:pt x="608" y="393"/>
                </a:cubicBezTo>
                <a:close/>
                <a:moveTo>
                  <a:pt x="600" y="353"/>
                </a:moveTo>
                <a:cubicBezTo>
                  <a:pt x="601" y="350"/>
                  <a:pt x="607" y="346"/>
                  <a:pt x="610" y="343"/>
                </a:cubicBezTo>
                <a:cubicBezTo>
                  <a:pt x="608" y="347"/>
                  <a:pt x="603" y="350"/>
                  <a:pt x="600" y="353"/>
                </a:cubicBezTo>
                <a:close/>
                <a:moveTo>
                  <a:pt x="611" y="388"/>
                </a:moveTo>
                <a:cubicBezTo>
                  <a:pt x="610" y="388"/>
                  <a:pt x="612" y="387"/>
                  <a:pt x="611" y="388"/>
                </a:cubicBezTo>
                <a:close/>
                <a:moveTo>
                  <a:pt x="612" y="387"/>
                </a:moveTo>
                <a:cubicBezTo>
                  <a:pt x="612" y="386"/>
                  <a:pt x="612" y="386"/>
                  <a:pt x="613" y="385"/>
                </a:cubicBezTo>
                <a:cubicBezTo>
                  <a:pt x="613" y="386"/>
                  <a:pt x="612" y="387"/>
                  <a:pt x="612" y="387"/>
                </a:cubicBezTo>
                <a:close/>
                <a:moveTo>
                  <a:pt x="611" y="344"/>
                </a:moveTo>
                <a:cubicBezTo>
                  <a:pt x="612" y="342"/>
                  <a:pt x="613" y="341"/>
                  <a:pt x="616" y="339"/>
                </a:cubicBezTo>
                <a:cubicBezTo>
                  <a:pt x="614" y="341"/>
                  <a:pt x="613" y="343"/>
                  <a:pt x="611" y="344"/>
                </a:cubicBezTo>
                <a:close/>
                <a:moveTo>
                  <a:pt x="615" y="357"/>
                </a:moveTo>
                <a:cubicBezTo>
                  <a:pt x="615" y="357"/>
                  <a:pt x="616" y="356"/>
                  <a:pt x="617" y="356"/>
                </a:cubicBezTo>
                <a:cubicBezTo>
                  <a:pt x="616" y="357"/>
                  <a:pt x="615" y="357"/>
                  <a:pt x="615" y="357"/>
                </a:cubicBezTo>
                <a:close/>
                <a:moveTo>
                  <a:pt x="617" y="539"/>
                </a:moveTo>
                <a:cubicBezTo>
                  <a:pt x="616" y="539"/>
                  <a:pt x="617" y="537"/>
                  <a:pt x="618" y="537"/>
                </a:cubicBezTo>
                <a:cubicBezTo>
                  <a:pt x="618" y="538"/>
                  <a:pt x="617" y="539"/>
                  <a:pt x="617" y="539"/>
                </a:cubicBezTo>
                <a:close/>
                <a:moveTo>
                  <a:pt x="618" y="445"/>
                </a:moveTo>
                <a:cubicBezTo>
                  <a:pt x="617" y="445"/>
                  <a:pt x="618" y="443"/>
                  <a:pt x="618" y="443"/>
                </a:cubicBezTo>
                <a:cubicBezTo>
                  <a:pt x="620" y="441"/>
                  <a:pt x="619" y="446"/>
                  <a:pt x="618" y="445"/>
                </a:cubicBezTo>
                <a:close/>
                <a:moveTo>
                  <a:pt x="619" y="557"/>
                </a:moveTo>
                <a:cubicBezTo>
                  <a:pt x="619" y="557"/>
                  <a:pt x="619" y="556"/>
                  <a:pt x="619" y="557"/>
                </a:cubicBezTo>
                <a:cubicBezTo>
                  <a:pt x="620" y="557"/>
                  <a:pt x="619" y="558"/>
                  <a:pt x="619" y="557"/>
                </a:cubicBezTo>
                <a:close/>
                <a:moveTo>
                  <a:pt x="619" y="347"/>
                </a:moveTo>
                <a:cubicBezTo>
                  <a:pt x="618" y="347"/>
                  <a:pt x="619" y="345"/>
                  <a:pt x="619" y="345"/>
                </a:cubicBezTo>
                <a:cubicBezTo>
                  <a:pt x="621" y="342"/>
                  <a:pt x="620" y="348"/>
                  <a:pt x="619" y="347"/>
                </a:cubicBezTo>
                <a:close/>
                <a:moveTo>
                  <a:pt x="620" y="435"/>
                </a:moveTo>
                <a:cubicBezTo>
                  <a:pt x="621" y="434"/>
                  <a:pt x="619" y="437"/>
                  <a:pt x="620" y="435"/>
                </a:cubicBezTo>
                <a:close/>
                <a:moveTo>
                  <a:pt x="623" y="526"/>
                </a:moveTo>
                <a:cubicBezTo>
                  <a:pt x="624" y="527"/>
                  <a:pt x="622" y="529"/>
                  <a:pt x="621" y="530"/>
                </a:cubicBezTo>
                <a:cubicBezTo>
                  <a:pt x="621" y="529"/>
                  <a:pt x="623" y="527"/>
                  <a:pt x="623" y="526"/>
                </a:cubicBezTo>
                <a:close/>
                <a:moveTo>
                  <a:pt x="622" y="561"/>
                </a:moveTo>
                <a:cubicBezTo>
                  <a:pt x="621" y="560"/>
                  <a:pt x="622" y="558"/>
                  <a:pt x="622" y="558"/>
                </a:cubicBezTo>
                <a:cubicBezTo>
                  <a:pt x="625" y="555"/>
                  <a:pt x="624" y="562"/>
                  <a:pt x="622" y="561"/>
                </a:cubicBezTo>
                <a:close/>
                <a:moveTo>
                  <a:pt x="624" y="492"/>
                </a:moveTo>
                <a:cubicBezTo>
                  <a:pt x="624" y="490"/>
                  <a:pt x="623" y="493"/>
                  <a:pt x="624" y="492"/>
                </a:cubicBezTo>
                <a:close/>
                <a:moveTo>
                  <a:pt x="625" y="381"/>
                </a:moveTo>
                <a:cubicBezTo>
                  <a:pt x="625" y="381"/>
                  <a:pt x="624" y="381"/>
                  <a:pt x="624" y="381"/>
                </a:cubicBezTo>
                <a:cubicBezTo>
                  <a:pt x="625" y="379"/>
                  <a:pt x="626" y="381"/>
                  <a:pt x="625" y="381"/>
                </a:cubicBezTo>
                <a:close/>
                <a:moveTo>
                  <a:pt x="624" y="254"/>
                </a:moveTo>
                <a:cubicBezTo>
                  <a:pt x="624" y="254"/>
                  <a:pt x="625" y="253"/>
                  <a:pt x="625" y="253"/>
                </a:cubicBezTo>
                <a:cubicBezTo>
                  <a:pt x="626" y="252"/>
                  <a:pt x="625" y="255"/>
                  <a:pt x="624" y="254"/>
                </a:cubicBezTo>
                <a:close/>
                <a:moveTo>
                  <a:pt x="626" y="488"/>
                </a:moveTo>
                <a:cubicBezTo>
                  <a:pt x="626" y="488"/>
                  <a:pt x="627" y="486"/>
                  <a:pt x="627" y="486"/>
                </a:cubicBezTo>
                <a:cubicBezTo>
                  <a:pt x="627" y="487"/>
                  <a:pt x="626" y="487"/>
                  <a:pt x="626" y="488"/>
                </a:cubicBezTo>
                <a:close/>
                <a:moveTo>
                  <a:pt x="628" y="522"/>
                </a:moveTo>
                <a:cubicBezTo>
                  <a:pt x="626" y="521"/>
                  <a:pt x="628" y="521"/>
                  <a:pt x="628" y="522"/>
                </a:cubicBezTo>
                <a:close/>
                <a:moveTo>
                  <a:pt x="633" y="526"/>
                </a:moveTo>
                <a:cubicBezTo>
                  <a:pt x="634" y="528"/>
                  <a:pt x="631" y="529"/>
                  <a:pt x="633" y="526"/>
                </a:cubicBezTo>
                <a:close/>
                <a:moveTo>
                  <a:pt x="628" y="417"/>
                </a:moveTo>
                <a:cubicBezTo>
                  <a:pt x="630" y="415"/>
                  <a:pt x="631" y="410"/>
                  <a:pt x="634" y="409"/>
                </a:cubicBezTo>
                <a:cubicBezTo>
                  <a:pt x="633" y="409"/>
                  <a:pt x="631" y="417"/>
                  <a:pt x="628" y="417"/>
                </a:cubicBezTo>
                <a:close/>
                <a:moveTo>
                  <a:pt x="633" y="310"/>
                </a:moveTo>
                <a:cubicBezTo>
                  <a:pt x="632" y="309"/>
                  <a:pt x="634" y="305"/>
                  <a:pt x="634" y="305"/>
                </a:cubicBezTo>
                <a:cubicBezTo>
                  <a:pt x="638" y="302"/>
                  <a:pt x="636" y="311"/>
                  <a:pt x="633" y="310"/>
                </a:cubicBezTo>
                <a:close/>
                <a:moveTo>
                  <a:pt x="637" y="496"/>
                </a:moveTo>
                <a:cubicBezTo>
                  <a:pt x="636" y="497"/>
                  <a:pt x="637" y="495"/>
                  <a:pt x="637" y="496"/>
                </a:cubicBezTo>
                <a:close/>
                <a:moveTo>
                  <a:pt x="637" y="495"/>
                </a:moveTo>
                <a:cubicBezTo>
                  <a:pt x="635" y="495"/>
                  <a:pt x="637" y="490"/>
                  <a:pt x="638" y="490"/>
                </a:cubicBezTo>
                <a:cubicBezTo>
                  <a:pt x="640" y="489"/>
                  <a:pt x="639" y="496"/>
                  <a:pt x="637" y="495"/>
                </a:cubicBezTo>
                <a:close/>
                <a:moveTo>
                  <a:pt x="638" y="424"/>
                </a:move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lose/>
                <a:moveTo>
                  <a:pt x="634" y="368"/>
                </a:moveTo>
                <a:cubicBezTo>
                  <a:pt x="637" y="365"/>
                  <a:pt x="639" y="361"/>
                  <a:pt x="643" y="358"/>
                </a:cubicBezTo>
                <a:cubicBezTo>
                  <a:pt x="641" y="362"/>
                  <a:pt x="638" y="365"/>
                  <a:pt x="634" y="368"/>
                </a:cubicBezTo>
                <a:close/>
                <a:moveTo>
                  <a:pt x="641" y="395"/>
                </a:moveTo>
                <a:cubicBezTo>
                  <a:pt x="641" y="395"/>
                  <a:pt x="641" y="395"/>
                  <a:pt x="641" y="395"/>
                </a:cubicBezTo>
                <a:cubicBezTo>
                  <a:pt x="641" y="395"/>
                  <a:pt x="641" y="394"/>
                  <a:pt x="641" y="395"/>
                </a:cubicBezTo>
                <a:close/>
                <a:moveTo>
                  <a:pt x="640" y="430"/>
                </a:moveTo>
                <a:cubicBezTo>
                  <a:pt x="640" y="430"/>
                  <a:pt x="640" y="428"/>
                  <a:pt x="642" y="428"/>
                </a:cubicBezTo>
                <a:cubicBezTo>
                  <a:pt x="643" y="427"/>
                  <a:pt x="644" y="427"/>
                  <a:pt x="645" y="428"/>
                </a:cubicBezTo>
                <a:cubicBezTo>
                  <a:pt x="648" y="432"/>
                  <a:pt x="641" y="434"/>
                  <a:pt x="640" y="430"/>
                </a:cubicBezTo>
                <a:close/>
                <a:moveTo>
                  <a:pt x="645" y="387"/>
                </a:moveTo>
                <a:cubicBezTo>
                  <a:pt x="645" y="386"/>
                  <a:pt x="645" y="385"/>
                  <a:pt x="646" y="385"/>
                </a:cubicBezTo>
                <a:cubicBezTo>
                  <a:pt x="646" y="386"/>
                  <a:pt x="646" y="386"/>
                  <a:pt x="645" y="387"/>
                </a:cubicBezTo>
                <a:close/>
                <a:moveTo>
                  <a:pt x="647" y="552"/>
                </a:moveTo>
                <a:cubicBezTo>
                  <a:pt x="646" y="553"/>
                  <a:pt x="648" y="551"/>
                  <a:pt x="647" y="552"/>
                </a:cubicBezTo>
                <a:close/>
                <a:moveTo>
                  <a:pt x="647" y="429"/>
                </a:moveTo>
                <a:cubicBezTo>
                  <a:pt x="648" y="428"/>
                  <a:pt x="645" y="431"/>
                  <a:pt x="647" y="429"/>
                </a:cubicBezTo>
                <a:close/>
                <a:moveTo>
                  <a:pt x="646" y="388"/>
                </a:moveTo>
                <a:cubicBezTo>
                  <a:pt x="646" y="387"/>
                  <a:pt x="647" y="386"/>
                  <a:pt x="647" y="385"/>
                </a:cubicBezTo>
                <a:cubicBezTo>
                  <a:pt x="647" y="386"/>
                  <a:pt x="647" y="387"/>
                  <a:pt x="646" y="388"/>
                </a:cubicBezTo>
                <a:close/>
                <a:moveTo>
                  <a:pt x="646" y="385"/>
                </a:moveTo>
                <a:cubicBezTo>
                  <a:pt x="647" y="384"/>
                  <a:pt x="647" y="383"/>
                  <a:pt x="648" y="383"/>
                </a:cubicBezTo>
                <a:cubicBezTo>
                  <a:pt x="648" y="384"/>
                  <a:pt x="647" y="384"/>
                  <a:pt x="646" y="385"/>
                </a:cubicBezTo>
                <a:close/>
                <a:moveTo>
                  <a:pt x="647" y="345"/>
                </a:moveTo>
                <a:cubicBezTo>
                  <a:pt x="646" y="345"/>
                  <a:pt x="647" y="344"/>
                  <a:pt x="647" y="344"/>
                </a:cubicBezTo>
                <a:cubicBezTo>
                  <a:pt x="648" y="342"/>
                  <a:pt x="648" y="345"/>
                  <a:pt x="647" y="345"/>
                </a:cubicBezTo>
                <a:close/>
                <a:moveTo>
                  <a:pt x="648" y="529"/>
                </a:moveTo>
                <a:cubicBezTo>
                  <a:pt x="647" y="529"/>
                  <a:pt x="648" y="528"/>
                  <a:pt x="648" y="528"/>
                </a:cubicBezTo>
                <a:cubicBezTo>
                  <a:pt x="649" y="528"/>
                  <a:pt x="648" y="529"/>
                  <a:pt x="648" y="529"/>
                </a:cubicBezTo>
                <a:close/>
                <a:moveTo>
                  <a:pt x="648" y="382"/>
                </a:moveTo>
                <a:cubicBezTo>
                  <a:pt x="649" y="381"/>
                  <a:pt x="647" y="383"/>
                  <a:pt x="648" y="382"/>
                </a:cubicBezTo>
                <a:close/>
                <a:moveTo>
                  <a:pt x="650" y="335"/>
                </a:moveTo>
                <a:cubicBezTo>
                  <a:pt x="647" y="337"/>
                  <a:pt x="652" y="333"/>
                  <a:pt x="650" y="335"/>
                </a:cubicBezTo>
                <a:close/>
                <a:moveTo>
                  <a:pt x="651" y="357"/>
                </a:moveTo>
                <a:cubicBezTo>
                  <a:pt x="651" y="355"/>
                  <a:pt x="650" y="358"/>
                  <a:pt x="651" y="357"/>
                </a:cubicBezTo>
                <a:close/>
                <a:moveTo>
                  <a:pt x="651" y="299"/>
                </a:moveTo>
                <a:cubicBezTo>
                  <a:pt x="649" y="299"/>
                  <a:pt x="651" y="296"/>
                  <a:pt x="652" y="298"/>
                </a:cubicBezTo>
                <a:cubicBezTo>
                  <a:pt x="652" y="298"/>
                  <a:pt x="651" y="299"/>
                  <a:pt x="651" y="299"/>
                </a:cubicBezTo>
                <a:close/>
                <a:moveTo>
                  <a:pt x="651" y="291"/>
                </a:moveTo>
                <a:cubicBezTo>
                  <a:pt x="651" y="291"/>
                  <a:pt x="652" y="291"/>
                  <a:pt x="652" y="291"/>
                </a:cubicBezTo>
                <a:cubicBezTo>
                  <a:pt x="652" y="292"/>
                  <a:pt x="651" y="291"/>
                  <a:pt x="651" y="291"/>
                </a:cubicBezTo>
                <a:close/>
                <a:moveTo>
                  <a:pt x="652" y="333"/>
                </a:moveTo>
                <a:cubicBezTo>
                  <a:pt x="652" y="331"/>
                  <a:pt x="654" y="331"/>
                  <a:pt x="654" y="330"/>
                </a:cubicBezTo>
                <a:cubicBezTo>
                  <a:pt x="654" y="331"/>
                  <a:pt x="653" y="332"/>
                  <a:pt x="652" y="333"/>
                </a:cubicBezTo>
                <a:close/>
                <a:moveTo>
                  <a:pt x="654" y="302"/>
                </a:moveTo>
                <a:cubicBezTo>
                  <a:pt x="655" y="302"/>
                  <a:pt x="654" y="302"/>
                  <a:pt x="654" y="302"/>
                </a:cubicBezTo>
                <a:cubicBezTo>
                  <a:pt x="655" y="304"/>
                  <a:pt x="652" y="302"/>
                  <a:pt x="654" y="302"/>
                </a:cubicBezTo>
                <a:close/>
                <a:moveTo>
                  <a:pt x="654" y="370"/>
                </a:moveTo>
                <a:cubicBezTo>
                  <a:pt x="654" y="369"/>
                  <a:pt x="656" y="369"/>
                  <a:pt x="655" y="370"/>
                </a:cubicBezTo>
                <a:cubicBezTo>
                  <a:pt x="655" y="370"/>
                  <a:pt x="654" y="370"/>
                  <a:pt x="654" y="370"/>
                </a:cubicBezTo>
                <a:close/>
                <a:moveTo>
                  <a:pt x="648" y="287"/>
                </a:moveTo>
                <a:cubicBezTo>
                  <a:pt x="651" y="284"/>
                  <a:pt x="653" y="280"/>
                  <a:pt x="658" y="277"/>
                </a:cubicBezTo>
                <a:cubicBezTo>
                  <a:pt x="657" y="281"/>
                  <a:pt x="652" y="285"/>
                  <a:pt x="648" y="287"/>
                </a:cubicBezTo>
                <a:close/>
                <a:moveTo>
                  <a:pt x="657" y="286"/>
                </a:moveTo>
                <a:cubicBezTo>
                  <a:pt x="657" y="285"/>
                  <a:pt x="658" y="285"/>
                  <a:pt x="658" y="285"/>
                </a:cubicBezTo>
                <a:cubicBezTo>
                  <a:pt x="659" y="286"/>
                  <a:pt x="656" y="287"/>
                  <a:pt x="657" y="286"/>
                </a:cubicBezTo>
                <a:close/>
                <a:moveTo>
                  <a:pt x="658" y="318"/>
                </a:moveTo>
                <a:cubicBezTo>
                  <a:pt x="659" y="317"/>
                  <a:pt x="657" y="319"/>
                  <a:pt x="658" y="318"/>
                </a:cubicBezTo>
                <a:close/>
                <a:moveTo>
                  <a:pt x="658" y="348"/>
                </a:moveTo>
                <a:cubicBezTo>
                  <a:pt x="659" y="347"/>
                  <a:pt x="656" y="349"/>
                  <a:pt x="658" y="348"/>
                </a:cubicBezTo>
                <a:close/>
                <a:moveTo>
                  <a:pt x="658" y="477"/>
                </a:moveTo>
                <a:cubicBezTo>
                  <a:pt x="658" y="476"/>
                  <a:pt x="658" y="476"/>
                  <a:pt x="658" y="476"/>
                </a:cubicBezTo>
                <a:cubicBezTo>
                  <a:pt x="659" y="474"/>
                  <a:pt x="660" y="477"/>
                  <a:pt x="658" y="477"/>
                </a:cubicBezTo>
                <a:close/>
                <a:moveTo>
                  <a:pt x="658" y="376"/>
                </a:moveTo>
                <a:cubicBezTo>
                  <a:pt x="657" y="375"/>
                  <a:pt x="658" y="373"/>
                  <a:pt x="658" y="373"/>
                </a:cubicBezTo>
                <a:cubicBezTo>
                  <a:pt x="661" y="371"/>
                  <a:pt x="661" y="376"/>
                  <a:pt x="658" y="376"/>
                </a:cubicBezTo>
                <a:close/>
                <a:moveTo>
                  <a:pt x="660" y="413"/>
                </a:moveTo>
                <a:cubicBezTo>
                  <a:pt x="660" y="412"/>
                  <a:pt x="661" y="412"/>
                  <a:pt x="660" y="413"/>
                </a:cubicBezTo>
                <a:close/>
                <a:moveTo>
                  <a:pt x="658" y="347"/>
                </a:moveTo>
                <a:cubicBezTo>
                  <a:pt x="659" y="345"/>
                  <a:pt x="660" y="343"/>
                  <a:pt x="662" y="342"/>
                </a:cubicBezTo>
                <a:cubicBezTo>
                  <a:pt x="662" y="342"/>
                  <a:pt x="660" y="346"/>
                  <a:pt x="658" y="347"/>
                </a:cubicBezTo>
                <a:close/>
                <a:moveTo>
                  <a:pt x="663" y="312"/>
                </a:moveTo>
                <a:cubicBezTo>
                  <a:pt x="663" y="312"/>
                  <a:pt x="664" y="313"/>
                  <a:pt x="663" y="313"/>
                </a:cubicBezTo>
                <a:cubicBezTo>
                  <a:pt x="662" y="314"/>
                  <a:pt x="661" y="312"/>
                  <a:pt x="662" y="312"/>
                </a:cubicBezTo>
                <a:cubicBezTo>
                  <a:pt x="662" y="312"/>
                  <a:pt x="662" y="312"/>
                  <a:pt x="662" y="312"/>
                </a:cubicBezTo>
                <a:cubicBezTo>
                  <a:pt x="662" y="311"/>
                  <a:pt x="662" y="311"/>
                  <a:pt x="661" y="311"/>
                </a:cubicBezTo>
                <a:cubicBezTo>
                  <a:pt x="660" y="310"/>
                  <a:pt x="664" y="308"/>
                  <a:pt x="664" y="310"/>
                </a:cubicBezTo>
                <a:cubicBezTo>
                  <a:pt x="664" y="311"/>
                  <a:pt x="664" y="311"/>
                  <a:pt x="663" y="312"/>
                </a:cubicBezTo>
                <a:close/>
                <a:moveTo>
                  <a:pt x="662" y="277"/>
                </a:moveTo>
                <a:cubicBezTo>
                  <a:pt x="661" y="279"/>
                  <a:pt x="662" y="276"/>
                  <a:pt x="662" y="277"/>
                </a:cubicBezTo>
                <a:close/>
                <a:moveTo>
                  <a:pt x="662" y="261"/>
                </a:moveTo>
                <a:cubicBezTo>
                  <a:pt x="662" y="261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ubicBezTo>
                  <a:pt x="662" y="260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lose/>
                <a:moveTo>
                  <a:pt x="664" y="309"/>
                </a:moveTo>
                <a:cubicBezTo>
                  <a:pt x="663" y="309"/>
                  <a:pt x="663" y="308"/>
                  <a:pt x="664" y="308"/>
                </a:cubicBezTo>
                <a:cubicBezTo>
                  <a:pt x="664" y="307"/>
                  <a:pt x="665" y="309"/>
                  <a:pt x="664" y="309"/>
                </a:cubicBezTo>
                <a:close/>
                <a:moveTo>
                  <a:pt x="664" y="258"/>
                </a:moveTo>
                <a:cubicBezTo>
                  <a:pt x="664" y="260"/>
                  <a:pt x="662" y="259"/>
                  <a:pt x="664" y="258"/>
                </a:cubicBezTo>
                <a:close/>
                <a:moveTo>
                  <a:pt x="665" y="262"/>
                </a:moveTo>
                <a:cubicBezTo>
                  <a:pt x="663" y="263"/>
                  <a:pt x="666" y="260"/>
                  <a:pt x="665" y="262"/>
                </a:cubicBezTo>
                <a:close/>
                <a:moveTo>
                  <a:pt x="663" y="233"/>
                </a:moveTo>
                <a:cubicBezTo>
                  <a:pt x="665" y="234"/>
                  <a:pt x="663" y="240"/>
                  <a:pt x="660" y="239"/>
                </a:cubicBezTo>
                <a:cubicBezTo>
                  <a:pt x="657" y="239"/>
                  <a:pt x="659" y="230"/>
                  <a:pt x="663" y="233"/>
                </a:cubicBezTo>
                <a:cubicBezTo>
                  <a:pt x="662" y="232"/>
                  <a:pt x="662" y="229"/>
                  <a:pt x="664" y="230"/>
                </a:cubicBezTo>
                <a:cubicBezTo>
                  <a:pt x="666" y="230"/>
                  <a:pt x="665" y="234"/>
                  <a:pt x="663" y="233"/>
                </a:cubicBezTo>
                <a:close/>
                <a:moveTo>
                  <a:pt x="665" y="341"/>
                </a:moveTo>
                <a:cubicBezTo>
                  <a:pt x="665" y="340"/>
                  <a:pt x="667" y="338"/>
                  <a:pt x="668" y="337"/>
                </a:cubicBezTo>
                <a:cubicBezTo>
                  <a:pt x="667" y="339"/>
                  <a:pt x="667" y="340"/>
                  <a:pt x="665" y="341"/>
                </a:cubicBezTo>
                <a:close/>
                <a:moveTo>
                  <a:pt x="668" y="481"/>
                </a:moveTo>
                <a:cubicBezTo>
                  <a:pt x="668" y="481"/>
                  <a:pt x="668" y="480"/>
                  <a:pt x="668" y="481"/>
                </a:cubicBezTo>
                <a:cubicBezTo>
                  <a:pt x="669" y="481"/>
                  <a:pt x="668" y="482"/>
                  <a:pt x="668" y="481"/>
                </a:cubicBezTo>
                <a:close/>
                <a:moveTo>
                  <a:pt x="671" y="391"/>
                </a:moveTo>
                <a:cubicBezTo>
                  <a:pt x="671" y="390"/>
                  <a:pt x="672" y="389"/>
                  <a:pt x="672" y="388"/>
                </a:cubicBezTo>
                <a:cubicBezTo>
                  <a:pt x="673" y="389"/>
                  <a:pt x="672" y="391"/>
                  <a:pt x="671" y="391"/>
                </a:cubicBezTo>
                <a:close/>
                <a:moveTo>
                  <a:pt x="673" y="387"/>
                </a:moveTo>
                <a:cubicBezTo>
                  <a:pt x="673" y="385"/>
                  <a:pt x="675" y="383"/>
                  <a:pt x="675" y="381"/>
                </a:cubicBezTo>
                <a:cubicBezTo>
                  <a:pt x="676" y="383"/>
                  <a:pt x="674" y="385"/>
                  <a:pt x="673" y="387"/>
                </a:cubicBezTo>
                <a:close/>
                <a:moveTo>
                  <a:pt x="683" y="314"/>
                </a:moveTo>
                <a:cubicBezTo>
                  <a:pt x="681" y="318"/>
                  <a:pt x="678" y="322"/>
                  <a:pt x="676" y="326"/>
                </a:cubicBezTo>
                <a:cubicBezTo>
                  <a:pt x="678" y="322"/>
                  <a:pt x="679" y="317"/>
                  <a:pt x="683" y="314"/>
                </a:cubicBezTo>
                <a:close/>
                <a:moveTo>
                  <a:pt x="678" y="432"/>
                </a:moveTo>
                <a:cubicBezTo>
                  <a:pt x="678" y="434"/>
                  <a:pt x="676" y="433"/>
                  <a:pt x="678" y="432"/>
                </a:cubicBezTo>
                <a:close/>
                <a:moveTo>
                  <a:pt x="682" y="426"/>
                </a:moveTo>
                <a:cubicBezTo>
                  <a:pt x="681" y="426"/>
                  <a:pt x="681" y="425"/>
                  <a:pt x="682" y="424"/>
                </a:cubicBezTo>
                <a:cubicBezTo>
                  <a:pt x="683" y="423"/>
                  <a:pt x="684" y="427"/>
                  <a:pt x="682" y="426"/>
                </a:cubicBezTo>
                <a:close/>
                <a:moveTo>
                  <a:pt x="683" y="451"/>
                </a:moveTo>
                <a:cubicBezTo>
                  <a:pt x="683" y="450"/>
                  <a:pt x="685" y="451"/>
                  <a:pt x="683" y="451"/>
                </a:cubicBezTo>
                <a:close/>
                <a:moveTo>
                  <a:pt x="683" y="486"/>
                </a:moveTo>
                <a:cubicBezTo>
                  <a:pt x="684" y="486"/>
                  <a:pt x="682" y="487"/>
                  <a:pt x="683" y="486"/>
                </a:cubicBezTo>
                <a:close/>
                <a:moveTo>
                  <a:pt x="685" y="289"/>
                </a:moveTo>
                <a:cubicBezTo>
                  <a:pt x="686" y="289"/>
                  <a:pt x="684" y="290"/>
                  <a:pt x="684" y="290"/>
                </a:cubicBezTo>
                <a:cubicBezTo>
                  <a:pt x="684" y="290"/>
                  <a:pt x="685" y="290"/>
                  <a:pt x="685" y="289"/>
                </a:cubicBezTo>
                <a:close/>
                <a:moveTo>
                  <a:pt x="685" y="345"/>
                </a:moveTo>
                <a:cubicBezTo>
                  <a:pt x="684" y="344"/>
                  <a:pt x="685" y="344"/>
                  <a:pt x="685" y="343"/>
                </a:cubicBezTo>
                <a:cubicBezTo>
                  <a:pt x="686" y="343"/>
                  <a:pt x="685" y="345"/>
                  <a:pt x="685" y="345"/>
                </a:cubicBezTo>
                <a:close/>
                <a:moveTo>
                  <a:pt x="686" y="342"/>
                </a:moveTo>
                <a:cubicBezTo>
                  <a:pt x="685" y="341"/>
                  <a:pt x="686" y="341"/>
                  <a:pt x="686" y="340"/>
                </a:cubicBezTo>
                <a:cubicBezTo>
                  <a:pt x="687" y="340"/>
                  <a:pt x="686" y="342"/>
                  <a:pt x="686" y="342"/>
                </a:cubicBezTo>
                <a:close/>
                <a:moveTo>
                  <a:pt x="687" y="340"/>
                </a:moveTo>
                <a:cubicBezTo>
                  <a:pt x="686" y="339"/>
                  <a:pt x="687" y="337"/>
                  <a:pt x="688" y="336"/>
                </a:cubicBezTo>
                <a:cubicBezTo>
                  <a:pt x="688" y="337"/>
                  <a:pt x="687" y="339"/>
                  <a:pt x="687" y="340"/>
                </a:cubicBezTo>
                <a:close/>
                <a:moveTo>
                  <a:pt x="688" y="329"/>
                </a:moveTo>
                <a:cubicBezTo>
                  <a:pt x="688" y="329"/>
                  <a:pt x="688" y="329"/>
                  <a:pt x="688" y="329"/>
                </a:cubicBezTo>
                <a:cubicBezTo>
                  <a:pt x="688" y="329"/>
                  <a:pt x="687" y="330"/>
                  <a:pt x="688" y="329"/>
                </a:cubicBezTo>
                <a:close/>
                <a:moveTo>
                  <a:pt x="688" y="284"/>
                </a:moveTo>
                <a:cubicBezTo>
                  <a:pt x="689" y="283"/>
                  <a:pt x="686" y="286"/>
                  <a:pt x="688" y="284"/>
                </a:cubicBezTo>
                <a:close/>
                <a:moveTo>
                  <a:pt x="693" y="290"/>
                </a:moveTo>
                <a:cubicBezTo>
                  <a:pt x="697" y="288"/>
                  <a:pt x="695" y="297"/>
                  <a:pt x="692" y="296"/>
                </a:cubicBezTo>
                <a:cubicBezTo>
                  <a:pt x="690" y="295"/>
                  <a:pt x="692" y="291"/>
                  <a:pt x="693" y="290"/>
                </a:cubicBezTo>
                <a:close/>
                <a:moveTo>
                  <a:pt x="691" y="285"/>
                </a:moveTo>
                <a:cubicBezTo>
                  <a:pt x="691" y="286"/>
                  <a:pt x="692" y="284"/>
                  <a:pt x="691" y="285"/>
                </a:cubicBezTo>
                <a:close/>
                <a:moveTo>
                  <a:pt x="689" y="285"/>
                </a:moveTo>
                <a:cubicBezTo>
                  <a:pt x="690" y="285"/>
                  <a:pt x="690" y="284"/>
                  <a:pt x="691" y="284"/>
                </a:cubicBezTo>
                <a:cubicBezTo>
                  <a:pt x="693" y="285"/>
                  <a:pt x="688" y="288"/>
                  <a:pt x="689" y="285"/>
                </a:cubicBezTo>
                <a:close/>
                <a:moveTo>
                  <a:pt x="689" y="316"/>
                </a:moveTo>
                <a:cubicBezTo>
                  <a:pt x="690" y="317"/>
                  <a:pt x="688" y="316"/>
                  <a:pt x="689" y="316"/>
                </a:cubicBezTo>
                <a:close/>
                <a:moveTo>
                  <a:pt x="689" y="395"/>
                </a:moveTo>
                <a:cubicBezTo>
                  <a:pt x="689" y="395"/>
                  <a:pt x="689" y="394"/>
                  <a:pt x="689" y="394"/>
                </a:cubicBezTo>
                <a:cubicBezTo>
                  <a:pt x="690" y="394"/>
                  <a:pt x="688" y="397"/>
                  <a:pt x="689" y="395"/>
                </a:cubicBezTo>
                <a:close/>
                <a:moveTo>
                  <a:pt x="690" y="404"/>
                </a:moveTo>
                <a:cubicBezTo>
                  <a:pt x="690" y="403"/>
                  <a:pt x="691" y="404"/>
                  <a:pt x="691" y="404"/>
                </a:cubicBezTo>
                <a:cubicBezTo>
                  <a:pt x="691" y="405"/>
                  <a:pt x="689" y="405"/>
                  <a:pt x="690" y="404"/>
                </a:cubicBezTo>
                <a:close/>
                <a:moveTo>
                  <a:pt x="691" y="343"/>
                </a:moveTo>
                <a:cubicBezTo>
                  <a:pt x="691" y="342"/>
                  <a:pt x="691" y="341"/>
                  <a:pt x="691" y="341"/>
                </a:cubicBezTo>
                <a:cubicBezTo>
                  <a:pt x="692" y="340"/>
                  <a:pt x="692" y="343"/>
                  <a:pt x="691" y="343"/>
                </a:cubicBezTo>
                <a:close/>
                <a:moveTo>
                  <a:pt x="692" y="394"/>
                </a:moveTo>
                <a:cubicBezTo>
                  <a:pt x="691" y="395"/>
                  <a:pt x="693" y="393"/>
                  <a:pt x="692" y="394"/>
                </a:cubicBezTo>
                <a:close/>
                <a:moveTo>
                  <a:pt x="692" y="300"/>
                </a:moveTo>
                <a:cubicBezTo>
                  <a:pt x="690" y="300"/>
                  <a:pt x="691" y="299"/>
                  <a:pt x="692" y="298"/>
                </a:cubicBezTo>
                <a:cubicBezTo>
                  <a:pt x="693" y="297"/>
                  <a:pt x="693" y="300"/>
                  <a:pt x="692" y="300"/>
                </a:cubicBezTo>
                <a:close/>
                <a:moveTo>
                  <a:pt x="694" y="330"/>
                </a:moveTo>
                <a:cubicBezTo>
                  <a:pt x="695" y="329"/>
                  <a:pt x="695" y="332"/>
                  <a:pt x="694" y="331"/>
                </a:cubicBezTo>
                <a:cubicBezTo>
                  <a:pt x="693" y="331"/>
                  <a:pt x="694" y="330"/>
                  <a:pt x="694" y="330"/>
                </a:cubicBezTo>
                <a:close/>
                <a:moveTo>
                  <a:pt x="694" y="454"/>
                </a:moveTo>
                <a:cubicBezTo>
                  <a:pt x="694" y="454"/>
                  <a:pt x="694" y="454"/>
                  <a:pt x="695" y="454"/>
                </a:cubicBezTo>
                <a:cubicBezTo>
                  <a:pt x="696" y="454"/>
                  <a:pt x="693" y="455"/>
                  <a:pt x="694" y="454"/>
                </a:cubicBezTo>
                <a:close/>
                <a:moveTo>
                  <a:pt x="696" y="312"/>
                </a:moveTo>
                <a:cubicBezTo>
                  <a:pt x="694" y="313"/>
                  <a:pt x="694" y="308"/>
                  <a:pt x="695" y="307"/>
                </a:cubicBezTo>
                <a:cubicBezTo>
                  <a:pt x="700" y="304"/>
                  <a:pt x="697" y="312"/>
                  <a:pt x="696" y="312"/>
                </a:cubicBezTo>
                <a:close/>
                <a:moveTo>
                  <a:pt x="699" y="327"/>
                </a:moveTo>
                <a:cubicBezTo>
                  <a:pt x="699" y="327"/>
                  <a:pt x="700" y="326"/>
                  <a:pt x="700" y="326"/>
                </a:cubicBezTo>
                <a:cubicBezTo>
                  <a:pt x="702" y="327"/>
                  <a:pt x="698" y="329"/>
                  <a:pt x="699" y="327"/>
                </a:cubicBezTo>
                <a:close/>
                <a:moveTo>
                  <a:pt x="702" y="431"/>
                </a:moveTo>
                <a:cubicBezTo>
                  <a:pt x="702" y="430"/>
                  <a:pt x="704" y="429"/>
                  <a:pt x="704" y="428"/>
                </a:cubicBezTo>
                <a:cubicBezTo>
                  <a:pt x="704" y="429"/>
                  <a:pt x="704" y="431"/>
                  <a:pt x="702" y="431"/>
                </a:cubicBezTo>
                <a:close/>
                <a:moveTo>
                  <a:pt x="704" y="427"/>
                </a:moveTo>
                <a:cubicBezTo>
                  <a:pt x="705" y="425"/>
                  <a:pt x="705" y="423"/>
                  <a:pt x="706" y="421"/>
                </a:cubicBezTo>
                <a:cubicBezTo>
                  <a:pt x="707" y="422"/>
                  <a:pt x="705" y="426"/>
                  <a:pt x="704" y="427"/>
                </a:cubicBezTo>
                <a:close/>
                <a:moveTo>
                  <a:pt x="706" y="392"/>
                </a:moveTo>
                <a:cubicBezTo>
                  <a:pt x="706" y="393"/>
                  <a:pt x="706" y="393"/>
                  <a:pt x="706" y="392"/>
                </a:cubicBezTo>
                <a:close/>
                <a:moveTo>
                  <a:pt x="709" y="396"/>
                </a:moveTo>
                <a:cubicBezTo>
                  <a:pt x="710" y="397"/>
                  <a:pt x="708" y="397"/>
                  <a:pt x="709" y="396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r>
              <a:rPr lang="en-ID" b="1" dirty="0">
                <a:solidFill>
                  <a:schemeClr val="bg1"/>
                </a:solidFill>
              </a:rPr>
              <a:t>LOREM IPSUM</a:t>
            </a:r>
          </a:p>
        </p:txBody>
      </p:sp>
      <p:sp>
        <p:nvSpPr>
          <p:cNvPr id="51" name="Freeform 97">
            <a:extLst>
              <a:ext uri="{FF2B5EF4-FFF2-40B4-BE49-F238E27FC236}">
                <a16:creationId xmlns="" xmlns:a16="http://schemas.microsoft.com/office/drawing/2014/main" id="{A8618EC8-0BC9-463E-A8BD-6021CF25BF7B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6501655" y="4048884"/>
            <a:ext cx="2119312" cy="2119312"/>
          </a:xfrm>
          <a:custGeom>
            <a:avLst/>
            <a:gdLst>
              <a:gd name="T0" fmla="*/ 677 w 714"/>
              <a:gd name="T1" fmla="*/ 212 h 715"/>
              <a:gd name="T2" fmla="*/ 626 w 714"/>
              <a:gd name="T3" fmla="*/ 179 h 715"/>
              <a:gd name="T4" fmla="*/ 573 w 714"/>
              <a:gd name="T5" fmla="*/ 139 h 715"/>
              <a:gd name="T6" fmla="*/ 553 w 714"/>
              <a:gd name="T7" fmla="*/ 94 h 715"/>
              <a:gd name="T8" fmla="*/ 516 w 714"/>
              <a:gd name="T9" fmla="*/ 53 h 715"/>
              <a:gd name="T10" fmla="*/ 421 w 714"/>
              <a:gd name="T11" fmla="*/ 60 h 715"/>
              <a:gd name="T12" fmla="*/ 429 w 714"/>
              <a:gd name="T13" fmla="*/ 26 h 715"/>
              <a:gd name="T14" fmla="*/ 22 w 714"/>
              <a:gd name="T15" fmla="*/ 436 h 715"/>
              <a:gd name="T16" fmla="*/ 39 w 714"/>
              <a:gd name="T17" fmla="*/ 451 h 715"/>
              <a:gd name="T18" fmla="*/ 60 w 714"/>
              <a:gd name="T19" fmla="*/ 465 h 715"/>
              <a:gd name="T20" fmla="*/ 108 w 714"/>
              <a:gd name="T21" fmla="*/ 446 h 715"/>
              <a:gd name="T22" fmla="*/ 102 w 714"/>
              <a:gd name="T23" fmla="*/ 508 h 715"/>
              <a:gd name="T24" fmla="*/ 146 w 714"/>
              <a:gd name="T25" fmla="*/ 552 h 715"/>
              <a:gd name="T26" fmla="*/ 190 w 714"/>
              <a:gd name="T27" fmla="*/ 596 h 715"/>
              <a:gd name="T28" fmla="*/ 214 w 714"/>
              <a:gd name="T29" fmla="*/ 647 h 715"/>
              <a:gd name="T30" fmla="*/ 296 w 714"/>
              <a:gd name="T31" fmla="*/ 709 h 715"/>
              <a:gd name="T32" fmla="*/ 684 w 714"/>
              <a:gd name="T33" fmla="*/ 227 h 715"/>
              <a:gd name="T34" fmla="*/ 434 w 714"/>
              <a:gd name="T35" fmla="*/ 24 h 715"/>
              <a:gd name="T36" fmla="*/ 9 w 714"/>
              <a:gd name="T37" fmla="*/ 371 h 715"/>
              <a:gd name="T38" fmla="*/ 37 w 714"/>
              <a:gd name="T39" fmla="*/ 344 h 715"/>
              <a:gd name="T40" fmla="*/ 45 w 714"/>
              <a:gd name="T41" fmla="*/ 192 h 715"/>
              <a:gd name="T42" fmla="*/ 64 w 714"/>
              <a:gd name="T43" fmla="*/ 419 h 715"/>
              <a:gd name="T44" fmla="*/ 84 w 714"/>
              <a:gd name="T45" fmla="*/ 332 h 715"/>
              <a:gd name="T46" fmla="*/ 87 w 714"/>
              <a:gd name="T47" fmla="*/ 502 h 715"/>
              <a:gd name="T48" fmla="*/ 234 w 714"/>
              <a:gd name="T49" fmla="*/ 679 h 715"/>
              <a:gd name="T50" fmla="*/ 287 w 714"/>
              <a:gd name="T51" fmla="*/ 641 h 715"/>
              <a:gd name="T52" fmla="*/ 303 w 714"/>
              <a:gd name="T53" fmla="*/ 67 h 715"/>
              <a:gd name="T54" fmla="*/ 270 w 714"/>
              <a:gd name="T55" fmla="*/ 571 h 715"/>
              <a:gd name="T56" fmla="*/ 246 w 714"/>
              <a:gd name="T57" fmla="*/ 640 h 715"/>
              <a:gd name="T58" fmla="*/ 249 w 714"/>
              <a:gd name="T59" fmla="*/ 640 h 715"/>
              <a:gd name="T60" fmla="*/ 227 w 714"/>
              <a:gd name="T61" fmla="*/ 527 h 715"/>
              <a:gd name="T62" fmla="*/ 209 w 714"/>
              <a:gd name="T63" fmla="*/ 468 h 715"/>
              <a:gd name="T64" fmla="*/ 178 w 714"/>
              <a:gd name="T65" fmla="*/ 383 h 715"/>
              <a:gd name="T66" fmla="*/ 165 w 714"/>
              <a:gd name="T67" fmla="*/ 345 h 715"/>
              <a:gd name="T68" fmla="*/ 156 w 714"/>
              <a:gd name="T69" fmla="*/ 435 h 715"/>
              <a:gd name="T70" fmla="*/ 132 w 714"/>
              <a:gd name="T71" fmla="*/ 280 h 715"/>
              <a:gd name="T72" fmla="*/ 123 w 714"/>
              <a:gd name="T73" fmla="*/ 474 h 715"/>
              <a:gd name="T74" fmla="*/ 154 w 714"/>
              <a:gd name="T75" fmla="*/ 484 h 715"/>
              <a:gd name="T76" fmla="*/ 189 w 714"/>
              <a:gd name="T77" fmla="*/ 398 h 715"/>
              <a:gd name="T78" fmla="*/ 235 w 714"/>
              <a:gd name="T79" fmla="*/ 592 h 715"/>
              <a:gd name="T80" fmla="*/ 277 w 714"/>
              <a:gd name="T81" fmla="*/ 700 h 715"/>
              <a:gd name="T82" fmla="*/ 335 w 714"/>
              <a:gd name="T83" fmla="*/ 131 h 715"/>
              <a:gd name="T84" fmla="*/ 522 w 714"/>
              <a:gd name="T85" fmla="*/ 181 h 715"/>
              <a:gd name="T86" fmla="*/ 480 w 714"/>
              <a:gd name="T87" fmla="*/ 95 h 715"/>
              <a:gd name="T88" fmla="*/ 502 w 714"/>
              <a:gd name="T89" fmla="*/ 132 h 715"/>
              <a:gd name="T90" fmla="*/ 509 w 714"/>
              <a:gd name="T91" fmla="*/ 36 h 715"/>
              <a:gd name="T92" fmla="*/ 462 w 714"/>
              <a:gd name="T93" fmla="*/ 49 h 715"/>
              <a:gd name="T94" fmla="*/ 406 w 714"/>
              <a:gd name="T95" fmla="*/ 125 h 715"/>
              <a:gd name="T96" fmla="*/ 372 w 714"/>
              <a:gd name="T97" fmla="*/ 610 h 715"/>
              <a:gd name="T98" fmla="*/ 398 w 714"/>
              <a:gd name="T99" fmla="*/ 679 h 715"/>
              <a:gd name="T100" fmla="*/ 454 w 714"/>
              <a:gd name="T101" fmla="*/ 644 h 715"/>
              <a:gd name="T102" fmla="*/ 469 w 714"/>
              <a:gd name="T103" fmla="*/ 168 h 715"/>
              <a:gd name="T104" fmla="*/ 522 w 714"/>
              <a:gd name="T105" fmla="*/ 285 h 715"/>
              <a:gd name="T106" fmla="*/ 585 w 714"/>
              <a:gd name="T107" fmla="*/ 213 h 715"/>
              <a:gd name="T108" fmla="*/ 544 w 714"/>
              <a:gd name="T109" fmla="*/ 168 h 715"/>
              <a:gd name="T110" fmla="*/ 573 w 714"/>
              <a:gd name="T111" fmla="*/ 236 h 715"/>
              <a:gd name="T112" fmla="*/ 595 w 714"/>
              <a:gd name="T113" fmla="*/ 470 h 715"/>
              <a:gd name="T114" fmla="*/ 651 w 714"/>
              <a:gd name="T115" fmla="*/ 272 h 715"/>
              <a:gd name="T116" fmla="*/ 630 w 714"/>
              <a:gd name="T117" fmla="*/ 261 h 715"/>
              <a:gd name="T118" fmla="*/ 615 w 714"/>
              <a:gd name="T119" fmla="*/ 194 h 715"/>
              <a:gd name="T120" fmla="*/ 625 w 714"/>
              <a:gd name="T121" fmla="*/ 381 h 715"/>
              <a:gd name="T122" fmla="*/ 658 w 714"/>
              <a:gd name="T123" fmla="*/ 277 h 715"/>
              <a:gd name="T124" fmla="*/ 686 w 714"/>
              <a:gd name="T125" fmla="*/ 342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14" h="715">
                <a:moveTo>
                  <a:pt x="710" y="304"/>
                </a:moveTo>
                <a:cubicBezTo>
                  <a:pt x="710" y="305"/>
                  <a:pt x="710" y="305"/>
                  <a:pt x="709" y="305"/>
                </a:cubicBezTo>
                <a:cubicBezTo>
                  <a:pt x="709" y="304"/>
                  <a:pt x="710" y="303"/>
                  <a:pt x="710" y="303"/>
                </a:cubicBezTo>
                <a:cubicBezTo>
                  <a:pt x="710" y="303"/>
                  <a:pt x="710" y="303"/>
                  <a:pt x="710" y="303"/>
                </a:cubicBezTo>
                <a:cubicBezTo>
                  <a:pt x="709" y="297"/>
                  <a:pt x="708" y="292"/>
                  <a:pt x="707" y="286"/>
                </a:cubicBezTo>
                <a:cubicBezTo>
                  <a:pt x="707" y="287"/>
                  <a:pt x="707" y="288"/>
                  <a:pt x="706" y="290"/>
                </a:cubicBezTo>
                <a:cubicBezTo>
                  <a:pt x="706" y="289"/>
                  <a:pt x="707" y="289"/>
                  <a:pt x="707" y="289"/>
                </a:cubicBezTo>
                <a:cubicBezTo>
                  <a:pt x="707" y="290"/>
                  <a:pt x="706" y="290"/>
                  <a:pt x="706" y="290"/>
                </a:cubicBezTo>
                <a:cubicBezTo>
                  <a:pt x="706" y="292"/>
                  <a:pt x="706" y="294"/>
                  <a:pt x="705" y="295"/>
                </a:cubicBezTo>
                <a:cubicBezTo>
                  <a:pt x="703" y="298"/>
                  <a:pt x="703" y="301"/>
                  <a:pt x="703" y="301"/>
                </a:cubicBezTo>
                <a:cubicBezTo>
                  <a:pt x="702" y="302"/>
                  <a:pt x="700" y="300"/>
                  <a:pt x="699" y="300"/>
                </a:cubicBezTo>
                <a:cubicBezTo>
                  <a:pt x="697" y="301"/>
                  <a:pt x="697" y="303"/>
                  <a:pt x="696" y="300"/>
                </a:cubicBezTo>
                <a:cubicBezTo>
                  <a:pt x="696" y="299"/>
                  <a:pt x="696" y="301"/>
                  <a:pt x="695" y="298"/>
                </a:cubicBezTo>
                <a:cubicBezTo>
                  <a:pt x="695" y="297"/>
                  <a:pt x="697" y="291"/>
                  <a:pt x="700" y="292"/>
                </a:cubicBezTo>
                <a:cubicBezTo>
                  <a:pt x="701" y="293"/>
                  <a:pt x="702" y="295"/>
                  <a:pt x="703" y="292"/>
                </a:cubicBezTo>
                <a:cubicBezTo>
                  <a:pt x="703" y="291"/>
                  <a:pt x="703" y="290"/>
                  <a:pt x="703" y="289"/>
                </a:cubicBezTo>
                <a:cubicBezTo>
                  <a:pt x="703" y="287"/>
                  <a:pt x="705" y="284"/>
                  <a:pt x="706" y="282"/>
                </a:cubicBezTo>
                <a:cubicBezTo>
                  <a:pt x="705" y="276"/>
                  <a:pt x="704" y="270"/>
                  <a:pt x="702" y="264"/>
                </a:cubicBezTo>
                <a:cubicBezTo>
                  <a:pt x="701" y="268"/>
                  <a:pt x="695" y="273"/>
                  <a:pt x="691" y="270"/>
                </a:cubicBezTo>
                <a:cubicBezTo>
                  <a:pt x="691" y="271"/>
                  <a:pt x="691" y="270"/>
                  <a:pt x="690" y="270"/>
                </a:cubicBezTo>
                <a:cubicBezTo>
                  <a:pt x="690" y="270"/>
                  <a:pt x="690" y="270"/>
                  <a:pt x="690" y="270"/>
                </a:cubicBezTo>
                <a:cubicBezTo>
                  <a:pt x="690" y="271"/>
                  <a:pt x="690" y="270"/>
                  <a:pt x="690" y="270"/>
                </a:cubicBezTo>
                <a:cubicBezTo>
                  <a:pt x="690" y="270"/>
                  <a:pt x="690" y="270"/>
                  <a:pt x="690" y="269"/>
                </a:cubicBezTo>
                <a:cubicBezTo>
                  <a:pt x="689" y="270"/>
                  <a:pt x="688" y="271"/>
                  <a:pt x="688" y="271"/>
                </a:cubicBezTo>
                <a:cubicBezTo>
                  <a:pt x="686" y="270"/>
                  <a:pt x="686" y="273"/>
                  <a:pt x="685" y="274"/>
                </a:cubicBezTo>
                <a:cubicBezTo>
                  <a:pt x="684" y="274"/>
                  <a:pt x="682" y="273"/>
                  <a:pt x="682" y="275"/>
                </a:cubicBezTo>
                <a:cubicBezTo>
                  <a:pt x="681" y="270"/>
                  <a:pt x="674" y="279"/>
                  <a:pt x="674" y="281"/>
                </a:cubicBezTo>
                <a:cubicBezTo>
                  <a:pt x="675" y="280"/>
                  <a:pt x="681" y="280"/>
                  <a:pt x="680" y="280"/>
                </a:cubicBezTo>
                <a:cubicBezTo>
                  <a:pt x="680" y="280"/>
                  <a:pt x="681" y="280"/>
                  <a:pt x="681" y="280"/>
                </a:cubicBezTo>
                <a:cubicBezTo>
                  <a:pt x="681" y="280"/>
                  <a:pt x="681" y="280"/>
                  <a:pt x="681" y="280"/>
                </a:cubicBezTo>
                <a:cubicBezTo>
                  <a:pt x="681" y="279"/>
                  <a:pt x="682" y="278"/>
                  <a:pt x="682" y="279"/>
                </a:cubicBezTo>
                <a:cubicBezTo>
                  <a:pt x="684" y="280"/>
                  <a:pt x="681" y="280"/>
                  <a:pt x="681" y="281"/>
                </a:cubicBezTo>
                <a:cubicBezTo>
                  <a:pt x="681" y="282"/>
                  <a:pt x="681" y="282"/>
                  <a:pt x="681" y="282"/>
                </a:cubicBezTo>
                <a:cubicBezTo>
                  <a:pt x="682" y="282"/>
                  <a:pt x="683" y="282"/>
                  <a:pt x="683" y="284"/>
                </a:cubicBezTo>
                <a:cubicBezTo>
                  <a:pt x="683" y="284"/>
                  <a:pt x="683" y="284"/>
                  <a:pt x="683" y="284"/>
                </a:cubicBezTo>
                <a:cubicBezTo>
                  <a:pt x="683" y="284"/>
                  <a:pt x="684" y="285"/>
                  <a:pt x="684" y="286"/>
                </a:cubicBezTo>
                <a:cubicBezTo>
                  <a:pt x="684" y="286"/>
                  <a:pt x="681" y="289"/>
                  <a:pt x="681" y="290"/>
                </a:cubicBezTo>
                <a:cubicBezTo>
                  <a:pt x="680" y="290"/>
                  <a:pt x="679" y="295"/>
                  <a:pt x="678" y="295"/>
                </a:cubicBezTo>
                <a:cubicBezTo>
                  <a:pt x="676" y="295"/>
                  <a:pt x="679" y="293"/>
                  <a:pt x="677" y="292"/>
                </a:cubicBezTo>
                <a:cubicBezTo>
                  <a:pt x="677" y="291"/>
                  <a:pt x="675" y="293"/>
                  <a:pt x="674" y="293"/>
                </a:cubicBezTo>
                <a:cubicBezTo>
                  <a:pt x="673" y="292"/>
                  <a:pt x="674" y="291"/>
                  <a:pt x="673" y="290"/>
                </a:cubicBezTo>
                <a:cubicBezTo>
                  <a:pt x="673" y="290"/>
                  <a:pt x="671" y="292"/>
                  <a:pt x="670" y="290"/>
                </a:cubicBezTo>
                <a:cubicBezTo>
                  <a:pt x="669" y="288"/>
                  <a:pt x="672" y="289"/>
                  <a:pt x="672" y="288"/>
                </a:cubicBezTo>
                <a:cubicBezTo>
                  <a:pt x="672" y="287"/>
                  <a:pt x="671" y="287"/>
                  <a:pt x="671" y="287"/>
                </a:cubicBezTo>
                <a:cubicBezTo>
                  <a:pt x="671" y="286"/>
                  <a:pt x="672" y="285"/>
                  <a:pt x="672" y="283"/>
                </a:cubicBezTo>
                <a:cubicBezTo>
                  <a:pt x="672" y="283"/>
                  <a:pt x="672" y="282"/>
                  <a:pt x="672" y="282"/>
                </a:cubicBezTo>
                <a:cubicBezTo>
                  <a:pt x="673" y="279"/>
                  <a:pt x="678" y="276"/>
                  <a:pt x="677" y="271"/>
                </a:cubicBezTo>
                <a:cubicBezTo>
                  <a:pt x="676" y="270"/>
                  <a:pt x="675" y="271"/>
                  <a:pt x="674" y="272"/>
                </a:cubicBezTo>
                <a:cubicBezTo>
                  <a:pt x="675" y="269"/>
                  <a:pt x="676" y="260"/>
                  <a:pt x="681" y="259"/>
                </a:cubicBezTo>
                <a:cubicBezTo>
                  <a:pt x="681" y="259"/>
                  <a:pt x="684" y="259"/>
                  <a:pt x="685" y="259"/>
                </a:cubicBezTo>
                <a:cubicBezTo>
                  <a:pt x="685" y="259"/>
                  <a:pt x="686" y="260"/>
                  <a:pt x="687" y="261"/>
                </a:cubicBezTo>
                <a:cubicBezTo>
                  <a:pt x="687" y="261"/>
                  <a:pt x="687" y="261"/>
                  <a:pt x="688" y="261"/>
                </a:cubicBezTo>
                <a:cubicBezTo>
                  <a:pt x="688" y="261"/>
                  <a:pt x="688" y="261"/>
                  <a:pt x="688" y="261"/>
                </a:cubicBezTo>
                <a:cubicBezTo>
                  <a:pt x="688" y="262"/>
                  <a:pt x="688" y="262"/>
                  <a:pt x="689" y="262"/>
                </a:cubicBezTo>
                <a:cubicBezTo>
                  <a:pt x="690" y="261"/>
                  <a:pt x="691" y="259"/>
                  <a:pt x="692" y="258"/>
                </a:cubicBezTo>
                <a:cubicBezTo>
                  <a:pt x="691" y="257"/>
                  <a:pt x="690" y="258"/>
                  <a:pt x="689" y="259"/>
                </a:cubicBezTo>
                <a:cubicBezTo>
                  <a:pt x="689" y="258"/>
                  <a:pt x="689" y="258"/>
                  <a:pt x="689" y="258"/>
                </a:cubicBezTo>
                <a:cubicBezTo>
                  <a:pt x="688" y="258"/>
                  <a:pt x="687" y="258"/>
                  <a:pt x="687" y="257"/>
                </a:cubicBezTo>
                <a:cubicBezTo>
                  <a:pt x="686" y="256"/>
                  <a:pt x="688" y="256"/>
                  <a:pt x="688" y="256"/>
                </a:cubicBezTo>
                <a:cubicBezTo>
                  <a:pt x="689" y="254"/>
                  <a:pt x="687" y="255"/>
                  <a:pt x="688" y="253"/>
                </a:cubicBezTo>
                <a:cubicBezTo>
                  <a:pt x="689" y="252"/>
                  <a:pt x="692" y="252"/>
                  <a:pt x="692" y="251"/>
                </a:cubicBezTo>
                <a:cubicBezTo>
                  <a:pt x="692" y="251"/>
                  <a:pt x="692" y="250"/>
                  <a:pt x="692" y="250"/>
                </a:cubicBezTo>
                <a:cubicBezTo>
                  <a:pt x="692" y="250"/>
                  <a:pt x="691" y="249"/>
                  <a:pt x="691" y="249"/>
                </a:cubicBezTo>
                <a:cubicBezTo>
                  <a:pt x="691" y="249"/>
                  <a:pt x="692" y="247"/>
                  <a:pt x="691" y="246"/>
                </a:cubicBezTo>
                <a:cubicBezTo>
                  <a:pt x="690" y="245"/>
                  <a:pt x="690" y="246"/>
                  <a:pt x="690" y="246"/>
                </a:cubicBezTo>
                <a:cubicBezTo>
                  <a:pt x="689" y="246"/>
                  <a:pt x="688" y="242"/>
                  <a:pt x="688" y="242"/>
                </a:cubicBezTo>
                <a:cubicBezTo>
                  <a:pt x="689" y="240"/>
                  <a:pt x="691" y="242"/>
                  <a:pt x="693" y="241"/>
                </a:cubicBezTo>
                <a:cubicBezTo>
                  <a:pt x="692" y="241"/>
                  <a:pt x="693" y="239"/>
                  <a:pt x="694" y="239"/>
                </a:cubicBezTo>
                <a:cubicBezTo>
                  <a:pt x="693" y="235"/>
                  <a:pt x="691" y="231"/>
                  <a:pt x="690" y="227"/>
                </a:cubicBezTo>
                <a:cubicBezTo>
                  <a:pt x="690" y="227"/>
                  <a:pt x="689" y="227"/>
                  <a:pt x="689" y="227"/>
                </a:cubicBezTo>
                <a:cubicBezTo>
                  <a:pt x="688" y="227"/>
                  <a:pt x="689" y="225"/>
                  <a:pt x="688" y="224"/>
                </a:cubicBezTo>
                <a:cubicBezTo>
                  <a:pt x="688" y="223"/>
                  <a:pt x="688" y="223"/>
                  <a:pt x="688" y="223"/>
                </a:cubicBezTo>
                <a:cubicBezTo>
                  <a:pt x="688" y="222"/>
                  <a:pt x="688" y="222"/>
                  <a:pt x="688" y="221"/>
                </a:cubicBezTo>
                <a:cubicBezTo>
                  <a:pt x="685" y="222"/>
                  <a:pt x="682" y="222"/>
                  <a:pt x="681" y="222"/>
                </a:cubicBezTo>
                <a:cubicBezTo>
                  <a:pt x="679" y="222"/>
                  <a:pt x="680" y="219"/>
                  <a:pt x="678" y="220"/>
                </a:cubicBezTo>
                <a:cubicBezTo>
                  <a:pt x="680" y="218"/>
                  <a:pt x="676" y="218"/>
                  <a:pt x="676" y="216"/>
                </a:cubicBezTo>
                <a:cubicBezTo>
                  <a:pt x="675" y="215"/>
                  <a:pt x="677" y="215"/>
                  <a:pt x="677" y="215"/>
                </a:cubicBezTo>
                <a:cubicBezTo>
                  <a:pt x="678" y="214"/>
                  <a:pt x="676" y="213"/>
                  <a:pt x="677" y="212"/>
                </a:cubicBezTo>
                <a:cubicBezTo>
                  <a:pt x="677" y="212"/>
                  <a:pt x="677" y="212"/>
                  <a:pt x="677" y="212"/>
                </a:cubicBezTo>
                <a:cubicBezTo>
                  <a:pt x="676" y="212"/>
                  <a:pt x="675" y="210"/>
                  <a:pt x="675" y="209"/>
                </a:cubicBezTo>
                <a:cubicBezTo>
                  <a:pt x="674" y="209"/>
                  <a:pt x="674" y="209"/>
                  <a:pt x="673" y="209"/>
                </a:cubicBezTo>
                <a:cubicBezTo>
                  <a:pt x="674" y="210"/>
                  <a:pt x="674" y="210"/>
                  <a:pt x="674" y="211"/>
                </a:cubicBezTo>
                <a:cubicBezTo>
                  <a:pt x="674" y="212"/>
                  <a:pt x="674" y="212"/>
                  <a:pt x="673" y="213"/>
                </a:cubicBezTo>
                <a:cubicBezTo>
                  <a:pt x="673" y="214"/>
                  <a:pt x="673" y="214"/>
                  <a:pt x="673" y="215"/>
                </a:cubicBezTo>
                <a:cubicBezTo>
                  <a:pt x="673" y="215"/>
                  <a:pt x="673" y="215"/>
                  <a:pt x="673" y="215"/>
                </a:cubicBezTo>
                <a:cubicBezTo>
                  <a:pt x="673" y="215"/>
                  <a:pt x="672" y="216"/>
                  <a:pt x="672" y="216"/>
                </a:cubicBezTo>
                <a:cubicBezTo>
                  <a:pt x="671" y="217"/>
                  <a:pt x="669" y="218"/>
                  <a:pt x="669" y="220"/>
                </a:cubicBezTo>
                <a:cubicBezTo>
                  <a:pt x="670" y="217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7" y="219"/>
                </a:cubicBezTo>
                <a:cubicBezTo>
                  <a:pt x="668" y="220"/>
                  <a:pt x="668" y="224"/>
                  <a:pt x="667" y="225"/>
                </a:cubicBezTo>
                <a:cubicBezTo>
                  <a:pt x="667" y="225"/>
                  <a:pt x="667" y="224"/>
                  <a:pt x="666" y="224"/>
                </a:cubicBezTo>
                <a:cubicBezTo>
                  <a:pt x="665" y="225"/>
                  <a:pt x="663" y="228"/>
                  <a:pt x="660" y="228"/>
                </a:cubicBezTo>
                <a:cubicBezTo>
                  <a:pt x="661" y="226"/>
                  <a:pt x="663" y="226"/>
                  <a:pt x="663" y="225"/>
                </a:cubicBezTo>
                <a:cubicBezTo>
                  <a:pt x="663" y="224"/>
                  <a:pt x="662" y="225"/>
                  <a:pt x="661" y="224"/>
                </a:cubicBezTo>
                <a:cubicBezTo>
                  <a:pt x="660" y="223"/>
                  <a:pt x="662" y="219"/>
                  <a:pt x="665" y="218"/>
                </a:cubicBezTo>
                <a:cubicBezTo>
                  <a:pt x="665" y="217"/>
                  <a:pt x="665" y="216"/>
                  <a:pt x="665" y="216"/>
                </a:cubicBezTo>
                <a:cubicBezTo>
                  <a:pt x="665" y="215"/>
                  <a:pt x="664" y="215"/>
                  <a:pt x="664" y="215"/>
                </a:cubicBezTo>
                <a:cubicBezTo>
                  <a:pt x="663" y="217"/>
                  <a:pt x="661" y="218"/>
                  <a:pt x="660" y="220"/>
                </a:cubicBezTo>
                <a:cubicBezTo>
                  <a:pt x="660" y="221"/>
                  <a:pt x="661" y="222"/>
                  <a:pt x="660" y="223"/>
                </a:cubicBezTo>
                <a:cubicBezTo>
                  <a:pt x="660" y="223"/>
                  <a:pt x="659" y="224"/>
                  <a:pt x="659" y="225"/>
                </a:cubicBezTo>
                <a:cubicBezTo>
                  <a:pt x="659" y="226"/>
                  <a:pt x="661" y="225"/>
                  <a:pt x="660" y="226"/>
                </a:cubicBezTo>
                <a:cubicBezTo>
                  <a:pt x="660" y="227"/>
                  <a:pt x="659" y="228"/>
                  <a:pt x="659" y="227"/>
                </a:cubicBezTo>
                <a:cubicBezTo>
                  <a:pt x="658" y="227"/>
                  <a:pt x="658" y="225"/>
                  <a:pt x="657" y="224"/>
                </a:cubicBezTo>
                <a:cubicBezTo>
                  <a:pt x="657" y="223"/>
                  <a:pt x="656" y="224"/>
                  <a:pt x="655" y="223"/>
                </a:cubicBezTo>
                <a:cubicBezTo>
                  <a:pt x="653" y="223"/>
                  <a:pt x="653" y="221"/>
                  <a:pt x="650" y="224"/>
                </a:cubicBezTo>
                <a:cubicBezTo>
                  <a:pt x="653" y="220"/>
                  <a:pt x="649" y="222"/>
                  <a:pt x="648" y="221"/>
                </a:cubicBezTo>
                <a:cubicBezTo>
                  <a:pt x="648" y="222"/>
                  <a:pt x="647" y="215"/>
                  <a:pt x="647" y="215"/>
                </a:cubicBezTo>
                <a:cubicBezTo>
                  <a:pt x="647" y="214"/>
                  <a:pt x="648" y="211"/>
                  <a:pt x="648" y="209"/>
                </a:cubicBezTo>
                <a:cubicBezTo>
                  <a:pt x="648" y="210"/>
                  <a:pt x="648" y="210"/>
                  <a:pt x="647" y="210"/>
                </a:cubicBezTo>
                <a:cubicBezTo>
                  <a:pt x="647" y="210"/>
                  <a:pt x="647" y="209"/>
                  <a:pt x="648" y="208"/>
                </a:cubicBezTo>
                <a:cubicBezTo>
                  <a:pt x="648" y="208"/>
                  <a:pt x="648" y="208"/>
                  <a:pt x="648" y="208"/>
                </a:cubicBezTo>
                <a:cubicBezTo>
                  <a:pt x="647" y="208"/>
                  <a:pt x="647" y="209"/>
                  <a:pt x="647" y="209"/>
                </a:cubicBezTo>
                <a:cubicBezTo>
                  <a:pt x="647" y="209"/>
                  <a:pt x="647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4" y="211"/>
                  <a:pt x="639" y="212"/>
                  <a:pt x="635" y="212"/>
                </a:cubicBezTo>
                <a:cubicBezTo>
                  <a:pt x="635" y="213"/>
                  <a:pt x="635" y="214"/>
                  <a:pt x="635" y="214"/>
                </a:cubicBezTo>
                <a:cubicBezTo>
                  <a:pt x="634" y="214"/>
                  <a:pt x="634" y="213"/>
                  <a:pt x="634" y="212"/>
                </a:cubicBezTo>
                <a:cubicBezTo>
                  <a:pt x="633" y="212"/>
                  <a:pt x="633" y="212"/>
                  <a:pt x="633" y="212"/>
                </a:cubicBezTo>
                <a:cubicBezTo>
                  <a:pt x="633" y="211"/>
                  <a:pt x="633" y="210"/>
                  <a:pt x="635" y="210"/>
                </a:cubicBezTo>
                <a:cubicBezTo>
                  <a:pt x="634" y="210"/>
                  <a:pt x="634" y="209"/>
                  <a:pt x="634" y="209"/>
                </a:cubicBezTo>
                <a:cubicBezTo>
                  <a:pt x="633" y="208"/>
                  <a:pt x="634" y="207"/>
                  <a:pt x="635" y="206"/>
                </a:cubicBezTo>
                <a:cubicBezTo>
                  <a:pt x="634" y="205"/>
                  <a:pt x="634" y="204"/>
                  <a:pt x="635" y="203"/>
                </a:cubicBezTo>
                <a:cubicBezTo>
                  <a:pt x="636" y="203"/>
                  <a:pt x="636" y="203"/>
                  <a:pt x="637" y="203"/>
                </a:cubicBezTo>
                <a:cubicBezTo>
                  <a:pt x="637" y="202"/>
                  <a:pt x="636" y="202"/>
                  <a:pt x="635" y="203"/>
                </a:cubicBezTo>
                <a:cubicBezTo>
                  <a:pt x="634" y="203"/>
                  <a:pt x="632" y="206"/>
                  <a:pt x="632" y="206"/>
                </a:cubicBezTo>
                <a:cubicBezTo>
                  <a:pt x="632" y="207"/>
                  <a:pt x="632" y="207"/>
                  <a:pt x="633" y="207"/>
                </a:cubicBezTo>
                <a:cubicBezTo>
                  <a:pt x="629" y="209"/>
                  <a:pt x="629" y="201"/>
                  <a:pt x="631" y="201"/>
                </a:cubicBezTo>
                <a:cubicBezTo>
                  <a:pt x="631" y="201"/>
                  <a:pt x="632" y="203"/>
                  <a:pt x="632" y="203"/>
                </a:cubicBezTo>
                <a:cubicBezTo>
                  <a:pt x="633" y="203"/>
                  <a:pt x="636" y="199"/>
                  <a:pt x="638" y="198"/>
                </a:cubicBezTo>
                <a:cubicBezTo>
                  <a:pt x="638" y="198"/>
                  <a:pt x="638" y="197"/>
                  <a:pt x="639" y="197"/>
                </a:cubicBezTo>
                <a:cubicBezTo>
                  <a:pt x="639" y="196"/>
                  <a:pt x="637" y="195"/>
                  <a:pt x="637" y="194"/>
                </a:cubicBezTo>
                <a:cubicBezTo>
                  <a:pt x="637" y="193"/>
                  <a:pt x="639" y="193"/>
                  <a:pt x="639" y="193"/>
                </a:cubicBezTo>
                <a:cubicBezTo>
                  <a:pt x="639" y="192"/>
                  <a:pt x="640" y="189"/>
                  <a:pt x="639" y="189"/>
                </a:cubicBezTo>
                <a:cubicBezTo>
                  <a:pt x="639" y="188"/>
                  <a:pt x="637" y="189"/>
                  <a:pt x="638" y="190"/>
                </a:cubicBezTo>
                <a:cubicBezTo>
                  <a:pt x="638" y="190"/>
                  <a:pt x="636" y="188"/>
                  <a:pt x="637" y="187"/>
                </a:cubicBezTo>
                <a:cubicBezTo>
                  <a:pt x="637" y="187"/>
                  <a:pt x="637" y="187"/>
                  <a:pt x="637" y="187"/>
                </a:cubicBezTo>
                <a:cubicBezTo>
                  <a:pt x="637" y="186"/>
                  <a:pt x="637" y="186"/>
                  <a:pt x="636" y="186"/>
                </a:cubicBezTo>
                <a:cubicBezTo>
                  <a:pt x="636" y="187"/>
                  <a:pt x="636" y="188"/>
                  <a:pt x="636" y="188"/>
                </a:cubicBezTo>
                <a:cubicBezTo>
                  <a:pt x="636" y="188"/>
                  <a:pt x="636" y="188"/>
                  <a:pt x="637" y="188"/>
                </a:cubicBezTo>
                <a:cubicBezTo>
                  <a:pt x="637" y="189"/>
                  <a:pt x="637" y="189"/>
                  <a:pt x="636" y="189"/>
                </a:cubicBezTo>
                <a:cubicBezTo>
                  <a:pt x="637" y="190"/>
                  <a:pt x="636" y="191"/>
                  <a:pt x="635" y="190"/>
                </a:cubicBezTo>
                <a:cubicBezTo>
                  <a:pt x="635" y="190"/>
                  <a:pt x="635" y="190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4" y="190"/>
                  <a:pt x="633" y="190"/>
                  <a:pt x="632" y="189"/>
                </a:cubicBezTo>
                <a:cubicBezTo>
                  <a:pt x="631" y="188"/>
                  <a:pt x="631" y="186"/>
                  <a:pt x="632" y="185"/>
                </a:cubicBezTo>
                <a:cubicBezTo>
                  <a:pt x="632" y="185"/>
                  <a:pt x="632" y="185"/>
                  <a:pt x="631" y="185"/>
                </a:cubicBezTo>
                <a:cubicBezTo>
                  <a:pt x="630" y="186"/>
                  <a:pt x="632" y="185"/>
                  <a:pt x="631" y="184"/>
                </a:cubicBezTo>
                <a:cubicBezTo>
                  <a:pt x="630" y="184"/>
                  <a:pt x="630" y="185"/>
                  <a:pt x="630" y="185"/>
                </a:cubicBezTo>
                <a:cubicBezTo>
                  <a:pt x="629" y="185"/>
                  <a:pt x="630" y="185"/>
                  <a:pt x="630" y="185"/>
                </a:cubicBezTo>
                <a:cubicBezTo>
                  <a:pt x="629" y="185"/>
                  <a:pt x="629" y="186"/>
                  <a:pt x="628" y="185"/>
                </a:cubicBezTo>
                <a:cubicBezTo>
                  <a:pt x="625" y="185"/>
                  <a:pt x="628" y="181"/>
                  <a:pt x="626" y="179"/>
                </a:cubicBezTo>
                <a:cubicBezTo>
                  <a:pt x="625" y="180"/>
                  <a:pt x="624" y="180"/>
                  <a:pt x="624" y="180"/>
                </a:cubicBezTo>
                <a:cubicBezTo>
                  <a:pt x="623" y="181"/>
                  <a:pt x="623" y="182"/>
                  <a:pt x="623" y="183"/>
                </a:cubicBezTo>
                <a:cubicBezTo>
                  <a:pt x="624" y="184"/>
                  <a:pt x="625" y="185"/>
                  <a:pt x="624" y="186"/>
                </a:cubicBezTo>
                <a:cubicBezTo>
                  <a:pt x="624" y="191"/>
                  <a:pt x="618" y="190"/>
                  <a:pt x="617" y="188"/>
                </a:cubicBezTo>
                <a:cubicBezTo>
                  <a:pt x="616" y="188"/>
                  <a:pt x="615" y="188"/>
                  <a:pt x="615" y="189"/>
                </a:cubicBezTo>
                <a:cubicBezTo>
                  <a:pt x="615" y="189"/>
                  <a:pt x="616" y="188"/>
                  <a:pt x="615" y="188"/>
                </a:cubicBezTo>
                <a:cubicBezTo>
                  <a:pt x="614" y="189"/>
                  <a:pt x="612" y="190"/>
                  <a:pt x="610" y="190"/>
                </a:cubicBezTo>
                <a:cubicBezTo>
                  <a:pt x="609" y="191"/>
                  <a:pt x="607" y="191"/>
                  <a:pt x="607" y="191"/>
                </a:cubicBezTo>
                <a:cubicBezTo>
                  <a:pt x="607" y="190"/>
                  <a:pt x="608" y="190"/>
                  <a:pt x="609" y="189"/>
                </a:cubicBezTo>
                <a:cubicBezTo>
                  <a:pt x="609" y="189"/>
                  <a:pt x="608" y="189"/>
                  <a:pt x="608" y="189"/>
                </a:cubicBezTo>
                <a:cubicBezTo>
                  <a:pt x="608" y="188"/>
                  <a:pt x="607" y="187"/>
                  <a:pt x="607" y="186"/>
                </a:cubicBezTo>
                <a:cubicBezTo>
                  <a:pt x="606" y="186"/>
                  <a:pt x="604" y="186"/>
                  <a:pt x="605" y="183"/>
                </a:cubicBezTo>
                <a:cubicBezTo>
                  <a:pt x="606" y="181"/>
                  <a:pt x="605" y="180"/>
                  <a:pt x="605" y="179"/>
                </a:cubicBezTo>
                <a:cubicBezTo>
                  <a:pt x="605" y="179"/>
                  <a:pt x="606" y="178"/>
                  <a:pt x="605" y="177"/>
                </a:cubicBezTo>
                <a:cubicBezTo>
                  <a:pt x="604" y="179"/>
                  <a:pt x="603" y="181"/>
                  <a:pt x="601" y="183"/>
                </a:cubicBezTo>
                <a:cubicBezTo>
                  <a:pt x="604" y="184"/>
                  <a:pt x="606" y="186"/>
                  <a:pt x="602" y="189"/>
                </a:cubicBezTo>
                <a:cubicBezTo>
                  <a:pt x="602" y="189"/>
                  <a:pt x="601" y="189"/>
                  <a:pt x="600" y="190"/>
                </a:cubicBezTo>
                <a:cubicBezTo>
                  <a:pt x="602" y="190"/>
                  <a:pt x="602" y="194"/>
                  <a:pt x="599" y="193"/>
                </a:cubicBezTo>
                <a:cubicBezTo>
                  <a:pt x="598" y="192"/>
                  <a:pt x="599" y="191"/>
                  <a:pt x="599" y="191"/>
                </a:cubicBezTo>
                <a:cubicBezTo>
                  <a:pt x="600" y="190"/>
                  <a:pt x="600" y="190"/>
                  <a:pt x="600" y="190"/>
                </a:cubicBezTo>
                <a:cubicBezTo>
                  <a:pt x="598" y="190"/>
                  <a:pt x="596" y="191"/>
                  <a:pt x="595" y="192"/>
                </a:cubicBezTo>
                <a:cubicBezTo>
                  <a:pt x="593" y="194"/>
                  <a:pt x="594" y="195"/>
                  <a:pt x="592" y="194"/>
                </a:cubicBezTo>
                <a:cubicBezTo>
                  <a:pt x="592" y="193"/>
                  <a:pt x="591" y="192"/>
                  <a:pt x="590" y="193"/>
                </a:cubicBezTo>
                <a:cubicBezTo>
                  <a:pt x="590" y="193"/>
                  <a:pt x="587" y="198"/>
                  <a:pt x="587" y="195"/>
                </a:cubicBezTo>
                <a:cubicBezTo>
                  <a:pt x="587" y="194"/>
                  <a:pt x="588" y="194"/>
                  <a:pt x="588" y="194"/>
                </a:cubicBezTo>
                <a:cubicBezTo>
                  <a:pt x="587" y="193"/>
                  <a:pt x="584" y="194"/>
                  <a:pt x="583" y="193"/>
                </a:cubicBezTo>
                <a:cubicBezTo>
                  <a:pt x="583" y="192"/>
                  <a:pt x="587" y="190"/>
                  <a:pt x="584" y="189"/>
                </a:cubicBezTo>
                <a:cubicBezTo>
                  <a:pt x="583" y="188"/>
                  <a:pt x="583" y="188"/>
                  <a:pt x="583" y="188"/>
                </a:cubicBezTo>
                <a:cubicBezTo>
                  <a:pt x="583" y="188"/>
                  <a:pt x="583" y="188"/>
                  <a:pt x="583" y="187"/>
                </a:cubicBezTo>
                <a:cubicBezTo>
                  <a:pt x="584" y="186"/>
                  <a:pt x="584" y="185"/>
                  <a:pt x="583" y="185"/>
                </a:cubicBezTo>
                <a:cubicBezTo>
                  <a:pt x="582" y="186"/>
                  <a:pt x="581" y="186"/>
                  <a:pt x="580" y="185"/>
                </a:cubicBezTo>
                <a:cubicBezTo>
                  <a:pt x="580" y="184"/>
                  <a:pt x="581" y="184"/>
                  <a:pt x="581" y="183"/>
                </a:cubicBezTo>
                <a:cubicBezTo>
                  <a:pt x="582" y="183"/>
                  <a:pt x="582" y="183"/>
                  <a:pt x="582" y="183"/>
                </a:cubicBezTo>
                <a:cubicBezTo>
                  <a:pt x="581" y="182"/>
                  <a:pt x="580" y="182"/>
                  <a:pt x="579" y="182"/>
                </a:cubicBezTo>
                <a:cubicBezTo>
                  <a:pt x="578" y="181"/>
                  <a:pt x="580" y="179"/>
                  <a:pt x="580" y="178"/>
                </a:cubicBezTo>
                <a:cubicBezTo>
                  <a:pt x="578" y="176"/>
                  <a:pt x="577" y="179"/>
                  <a:pt x="574" y="179"/>
                </a:cubicBezTo>
                <a:cubicBezTo>
                  <a:pt x="574" y="179"/>
                  <a:pt x="572" y="177"/>
                  <a:pt x="570" y="179"/>
                </a:cubicBezTo>
                <a:cubicBezTo>
                  <a:pt x="569" y="180"/>
                  <a:pt x="571" y="182"/>
                  <a:pt x="568" y="184"/>
                </a:cubicBezTo>
                <a:cubicBezTo>
                  <a:pt x="567" y="184"/>
                  <a:pt x="562" y="186"/>
                  <a:pt x="562" y="185"/>
                </a:cubicBezTo>
                <a:cubicBezTo>
                  <a:pt x="561" y="184"/>
                  <a:pt x="563" y="184"/>
                  <a:pt x="563" y="184"/>
                </a:cubicBezTo>
                <a:cubicBezTo>
                  <a:pt x="564" y="182"/>
                  <a:pt x="562" y="180"/>
                  <a:pt x="562" y="181"/>
                </a:cubicBezTo>
                <a:cubicBezTo>
                  <a:pt x="563" y="179"/>
                  <a:pt x="565" y="179"/>
                  <a:pt x="565" y="178"/>
                </a:cubicBezTo>
                <a:cubicBezTo>
                  <a:pt x="565" y="178"/>
                  <a:pt x="565" y="178"/>
                  <a:pt x="564" y="178"/>
                </a:cubicBezTo>
                <a:cubicBezTo>
                  <a:pt x="564" y="177"/>
                  <a:pt x="565" y="177"/>
                  <a:pt x="565" y="177"/>
                </a:cubicBezTo>
                <a:cubicBezTo>
                  <a:pt x="565" y="176"/>
                  <a:pt x="564" y="174"/>
                  <a:pt x="565" y="173"/>
                </a:cubicBezTo>
                <a:cubicBezTo>
                  <a:pt x="565" y="173"/>
                  <a:pt x="565" y="173"/>
                  <a:pt x="565" y="173"/>
                </a:cubicBezTo>
                <a:cubicBezTo>
                  <a:pt x="565" y="173"/>
                  <a:pt x="565" y="172"/>
                  <a:pt x="565" y="172"/>
                </a:cubicBezTo>
                <a:cubicBezTo>
                  <a:pt x="564" y="172"/>
                  <a:pt x="564" y="171"/>
                  <a:pt x="566" y="170"/>
                </a:cubicBezTo>
                <a:cubicBezTo>
                  <a:pt x="566" y="170"/>
                  <a:pt x="566" y="170"/>
                  <a:pt x="566" y="170"/>
                </a:cubicBezTo>
                <a:cubicBezTo>
                  <a:pt x="566" y="170"/>
                  <a:pt x="565" y="170"/>
                  <a:pt x="565" y="170"/>
                </a:cubicBezTo>
                <a:cubicBezTo>
                  <a:pt x="564" y="170"/>
                  <a:pt x="563" y="170"/>
                  <a:pt x="563" y="169"/>
                </a:cubicBezTo>
                <a:cubicBezTo>
                  <a:pt x="562" y="169"/>
                  <a:pt x="562" y="169"/>
                  <a:pt x="562" y="169"/>
                </a:cubicBezTo>
                <a:cubicBezTo>
                  <a:pt x="562" y="169"/>
                  <a:pt x="562" y="168"/>
                  <a:pt x="563" y="167"/>
                </a:cubicBezTo>
                <a:cubicBezTo>
                  <a:pt x="563" y="167"/>
                  <a:pt x="563" y="166"/>
                  <a:pt x="562" y="166"/>
                </a:cubicBezTo>
                <a:cubicBezTo>
                  <a:pt x="563" y="165"/>
                  <a:pt x="566" y="165"/>
                  <a:pt x="568" y="164"/>
                </a:cubicBezTo>
                <a:cubicBezTo>
                  <a:pt x="567" y="165"/>
                  <a:pt x="568" y="167"/>
                  <a:pt x="569" y="165"/>
                </a:cubicBezTo>
                <a:cubicBezTo>
                  <a:pt x="571" y="164"/>
                  <a:pt x="569" y="164"/>
                  <a:pt x="569" y="164"/>
                </a:cubicBezTo>
                <a:cubicBezTo>
                  <a:pt x="569" y="164"/>
                  <a:pt x="570" y="163"/>
                  <a:pt x="569" y="162"/>
                </a:cubicBezTo>
                <a:cubicBezTo>
                  <a:pt x="569" y="162"/>
                  <a:pt x="569" y="162"/>
                  <a:pt x="569" y="162"/>
                </a:cubicBezTo>
                <a:cubicBezTo>
                  <a:pt x="567" y="163"/>
                  <a:pt x="565" y="164"/>
                  <a:pt x="563" y="163"/>
                </a:cubicBezTo>
                <a:cubicBezTo>
                  <a:pt x="563" y="163"/>
                  <a:pt x="563" y="163"/>
                  <a:pt x="563" y="164"/>
                </a:cubicBezTo>
                <a:cubicBezTo>
                  <a:pt x="563" y="164"/>
                  <a:pt x="564" y="164"/>
                  <a:pt x="564" y="164"/>
                </a:cubicBezTo>
                <a:cubicBezTo>
                  <a:pt x="563" y="165"/>
                  <a:pt x="563" y="164"/>
                  <a:pt x="563" y="163"/>
                </a:cubicBezTo>
                <a:cubicBezTo>
                  <a:pt x="562" y="163"/>
                  <a:pt x="562" y="162"/>
                  <a:pt x="562" y="161"/>
                </a:cubicBezTo>
                <a:cubicBezTo>
                  <a:pt x="562" y="160"/>
                  <a:pt x="564" y="158"/>
                  <a:pt x="567" y="158"/>
                </a:cubicBezTo>
                <a:cubicBezTo>
                  <a:pt x="566" y="157"/>
                  <a:pt x="565" y="156"/>
                  <a:pt x="566" y="155"/>
                </a:cubicBezTo>
                <a:cubicBezTo>
                  <a:pt x="566" y="153"/>
                  <a:pt x="570" y="153"/>
                  <a:pt x="569" y="152"/>
                </a:cubicBezTo>
                <a:cubicBezTo>
                  <a:pt x="570" y="152"/>
                  <a:pt x="572" y="151"/>
                  <a:pt x="574" y="151"/>
                </a:cubicBezTo>
                <a:cubicBezTo>
                  <a:pt x="576" y="153"/>
                  <a:pt x="575" y="153"/>
                  <a:pt x="579" y="152"/>
                </a:cubicBezTo>
                <a:cubicBezTo>
                  <a:pt x="579" y="152"/>
                  <a:pt x="580" y="151"/>
                  <a:pt x="581" y="151"/>
                </a:cubicBezTo>
                <a:cubicBezTo>
                  <a:pt x="584" y="150"/>
                  <a:pt x="583" y="150"/>
                  <a:pt x="582" y="148"/>
                </a:cubicBezTo>
                <a:cubicBezTo>
                  <a:pt x="584" y="150"/>
                  <a:pt x="583" y="148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0" y="147"/>
                  <a:pt x="580" y="147"/>
                </a:cubicBezTo>
                <a:cubicBezTo>
                  <a:pt x="580" y="147"/>
                  <a:pt x="579" y="149"/>
                  <a:pt x="578" y="148"/>
                </a:cubicBezTo>
                <a:cubicBezTo>
                  <a:pt x="577" y="147"/>
                  <a:pt x="581" y="144"/>
                  <a:pt x="577" y="144"/>
                </a:cubicBezTo>
                <a:cubicBezTo>
                  <a:pt x="583" y="142"/>
                  <a:pt x="575" y="140"/>
                  <a:pt x="573" y="139"/>
                </a:cubicBezTo>
                <a:cubicBezTo>
                  <a:pt x="572" y="138"/>
                  <a:pt x="571" y="137"/>
                  <a:pt x="570" y="135"/>
                </a:cubicBezTo>
                <a:cubicBezTo>
                  <a:pt x="570" y="135"/>
                  <a:pt x="569" y="134"/>
                  <a:pt x="569" y="134"/>
                </a:cubicBezTo>
                <a:cubicBezTo>
                  <a:pt x="569" y="134"/>
                  <a:pt x="569" y="134"/>
                  <a:pt x="569" y="133"/>
                </a:cubicBezTo>
                <a:cubicBezTo>
                  <a:pt x="569" y="133"/>
                  <a:pt x="568" y="132"/>
                  <a:pt x="568" y="132"/>
                </a:cubicBezTo>
                <a:cubicBezTo>
                  <a:pt x="567" y="132"/>
                  <a:pt x="567" y="132"/>
                  <a:pt x="567" y="132"/>
                </a:cubicBezTo>
                <a:cubicBezTo>
                  <a:pt x="567" y="132"/>
                  <a:pt x="566" y="133"/>
                  <a:pt x="566" y="133"/>
                </a:cubicBezTo>
                <a:cubicBezTo>
                  <a:pt x="566" y="134"/>
                  <a:pt x="564" y="135"/>
                  <a:pt x="563" y="135"/>
                </a:cubicBezTo>
                <a:cubicBezTo>
                  <a:pt x="562" y="135"/>
                  <a:pt x="561" y="134"/>
                  <a:pt x="561" y="133"/>
                </a:cubicBezTo>
                <a:cubicBezTo>
                  <a:pt x="560" y="134"/>
                  <a:pt x="559" y="134"/>
                  <a:pt x="558" y="134"/>
                </a:cubicBezTo>
                <a:cubicBezTo>
                  <a:pt x="557" y="134"/>
                  <a:pt x="559" y="133"/>
                  <a:pt x="560" y="133"/>
                </a:cubicBezTo>
                <a:cubicBezTo>
                  <a:pt x="560" y="132"/>
                  <a:pt x="560" y="131"/>
                  <a:pt x="561" y="131"/>
                </a:cubicBezTo>
                <a:cubicBezTo>
                  <a:pt x="560" y="131"/>
                  <a:pt x="558" y="131"/>
                  <a:pt x="557" y="131"/>
                </a:cubicBezTo>
                <a:cubicBezTo>
                  <a:pt x="557" y="131"/>
                  <a:pt x="557" y="131"/>
                  <a:pt x="557" y="131"/>
                </a:cubicBezTo>
                <a:cubicBezTo>
                  <a:pt x="558" y="131"/>
                  <a:pt x="559" y="131"/>
                  <a:pt x="559" y="132"/>
                </a:cubicBezTo>
                <a:cubicBezTo>
                  <a:pt x="558" y="132"/>
                  <a:pt x="557" y="132"/>
                  <a:pt x="556" y="132"/>
                </a:cubicBezTo>
                <a:cubicBezTo>
                  <a:pt x="555" y="132"/>
                  <a:pt x="555" y="132"/>
                  <a:pt x="555" y="133"/>
                </a:cubicBezTo>
                <a:cubicBezTo>
                  <a:pt x="556" y="133"/>
                  <a:pt x="555" y="135"/>
                  <a:pt x="554" y="134"/>
                </a:cubicBezTo>
                <a:cubicBezTo>
                  <a:pt x="553" y="135"/>
                  <a:pt x="552" y="135"/>
                  <a:pt x="552" y="135"/>
                </a:cubicBezTo>
                <a:cubicBezTo>
                  <a:pt x="552" y="134"/>
                  <a:pt x="552" y="134"/>
                  <a:pt x="553" y="133"/>
                </a:cubicBezTo>
                <a:cubicBezTo>
                  <a:pt x="552" y="133"/>
                  <a:pt x="551" y="131"/>
                  <a:pt x="553" y="132"/>
                </a:cubicBezTo>
                <a:cubicBezTo>
                  <a:pt x="553" y="132"/>
                  <a:pt x="553" y="132"/>
                  <a:pt x="553" y="132"/>
                </a:cubicBezTo>
                <a:cubicBezTo>
                  <a:pt x="553" y="133"/>
                  <a:pt x="553" y="133"/>
                  <a:pt x="553" y="133"/>
                </a:cubicBezTo>
                <a:cubicBezTo>
                  <a:pt x="554" y="133"/>
                  <a:pt x="554" y="132"/>
                  <a:pt x="554" y="132"/>
                </a:cubicBezTo>
                <a:cubicBezTo>
                  <a:pt x="553" y="132"/>
                  <a:pt x="552" y="131"/>
                  <a:pt x="552" y="131"/>
                </a:cubicBezTo>
                <a:cubicBezTo>
                  <a:pt x="552" y="131"/>
                  <a:pt x="553" y="131"/>
                  <a:pt x="555" y="131"/>
                </a:cubicBezTo>
                <a:cubicBezTo>
                  <a:pt x="554" y="130"/>
                  <a:pt x="554" y="130"/>
                  <a:pt x="554" y="130"/>
                </a:cubicBezTo>
                <a:cubicBezTo>
                  <a:pt x="553" y="130"/>
                  <a:pt x="552" y="131"/>
                  <a:pt x="552" y="131"/>
                </a:cubicBezTo>
                <a:cubicBezTo>
                  <a:pt x="551" y="130"/>
                  <a:pt x="550" y="127"/>
                  <a:pt x="548" y="129"/>
                </a:cubicBezTo>
                <a:cubicBezTo>
                  <a:pt x="548" y="130"/>
                  <a:pt x="549" y="131"/>
                  <a:pt x="549" y="130"/>
                </a:cubicBezTo>
                <a:cubicBezTo>
                  <a:pt x="549" y="131"/>
                  <a:pt x="549" y="131"/>
                  <a:pt x="549" y="131"/>
                </a:cubicBezTo>
                <a:cubicBezTo>
                  <a:pt x="549" y="131"/>
                  <a:pt x="549" y="131"/>
                  <a:pt x="550" y="131"/>
                </a:cubicBezTo>
                <a:cubicBezTo>
                  <a:pt x="551" y="131"/>
                  <a:pt x="549" y="133"/>
                  <a:pt x="549" y="132"/>
                </a:cubicBezTo>
                <a:cubicBezTo>
                  <a:pt x="549" y="132"/>
                  <a:pt x="549" y="132"/>
                  <a:pt x="549" y="132"/>
                </a:cubicBezTo>
                <a:cubicBezTo>
                  <a:pt x="548" y="133"/>
                  <a:pt x="544" y="131"/>
                  <a:pt x="543" y="131"/>
                </a:cubicBezTo>
                <a:cubicBezTo>
                  <a:pt x="545" y="130"/>
                  <a:pt x="543" y="130"/>
                  <a:pt x="542" y="129"/>
                </a:cubicBezTo>
                <a:cubicBezTo>
                  <a:pt x="540" y="130"/>
                  <a:pt x="539" y="131"/>
                  <a:pt x="537" y="132"/>
                </a:cubicBezTo>
                <a:cubicBezTo>
                  <a:pt x="538" y="130"/>
                  <a:pt x="540" y="129"/>
                  <a:pt x="542" y="129"/>
                </a:cubicBezTo>
                <a:cubicBezTo>
                  <a:pt x="541" y="128"/>
                  <a:pt x="541" y="127"/>
                  <a:pt x="541" y="127"/>
                </a:cubicBezTo>
                <a:cubicBezTo>
                  <a:pt x="542" y="125"/>
                  <a:pt x="546" y="126"/>
                  <a:pt x="546" y="124"/>
                </a:cubicBezTo>
                <a:cubicBezTo>
                  <a:pt x="547" y="123"/>
                  <a:pt x="545" y="124"/>
                  <a:pt x="545" y="124"/>
                </a:cubicBezTo>
                <a:cubicBezTo>
                  <a:pt x="546" y="122"/>
                  <a:pt x="547" y="121"/>
                  <a:pt x="545" y="120"/>
                </a:cubicBezTo>
                <a:cubicBezTo>
                  <a:pt x="545" y="120"/>
                  <a:pt x="540" y="120"/>
                  <a:pt x="538" y="120"/>
                </a:cubicBezTo>
                <a:cubicBezTo>
                  <a:pt x="536" y="120"/>
                  <a:pt x="534" y="121"/>
                  <a:pt x="531" y="119"/>
                </a:cubicBezTo>
                <a:cubicBezTo>
                  <a:pt x="534" y="119"/>
                  <a:pt x="535" y="117"/>
                  <a:pt x="537" y="117"/>
                </a:cubicBezTo>
                <a:cubicBezTo>
                  <a:pt x="537" y="117"/>
                  <a:pt x="537" y="116"/>
                  <a:pt x="537" y="116"/>
                </a:cubicBezTo>
                <a:cubicBezTo>
                  <a:pt x="537" y="116"/>
                  <a:pt x="537" y="117"/>
                  <a:pt x="537" y="117"/>
                </a:cubicBezTo>
                <a:cubicBezTo>
                  <a:pt x="538" y="116"/>
                  <a:pt x="538" y="116"/>
                  <a:pt x="539" y="116"/>
                </a:cubicBezTo>
                <a:cubicBezTo>
                  <a:pt x="542" y="115"/>
                  <a:pt x="545" y="118"/>
                  <a:pt x="548" y="117"/>
                </a:cubicBezTo>
                <a:cubicBezTo>
                  <a:pt x="548" y="117"/>
                  <a:pt x="551" y="114"/>
                  <a:pt x="552" y="114"/>
                </a:cubicBezTo>
                <a:cubicBezTo>
                  <a:pt x="553" y="114"/>
                  <a:pt x="554" y="115"/>
                  <a:pt x="554" y="114"/>
                </a:cubicBezTo>
                <a:cubicBezTo>
                  <a:pt x="553" y="114"/>
                  <a:pt x="553" y="113"/>
                  <a:pt x="553" y="113"/>
                </a:cubicBezTo>
                <a:cubicBezTo>
                  <a:pt x="553" y="113"/>
                  <a:pt x="552" y="113"/>
                  <a:pt x="552" y="113"/>
                </a:cubicBezTo>
                <a:cubicBezTo>
                  <a:pt x="552" y="114"/>
                  <a:pt x="551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8" y="114"/>
                  <a:pt x="547" y="114"/>
                  <a:pt x="547" y="114"/>
                </a:cubicBezTo>
                <a:cubicBezTo>
                  <a:pt x="547" y="114"/>
                  <a:pt x="547" y="113"/>
                  <a:pt x="547" y="113"/>
                </a:cubicBezTo>
                <a:cubicBezTo>
                  <a:pt x="547" y="112"/>
                  <a:pt x="548" y="111"/>
                  <a:pt x="549" y="110"/>
                </a:cubicBezTo>
                <a:cubicBezTo>
                  <a:pt x="550" y="110"/>
                  <a:pt x="552" y="111"/>
                  <a:pt x="552" y="112"/>
                </a:cubicBezTo>
                <a:cubicBezTo>
                  <a:pt x="552" y="112"/>
                  <a:pt x="552" y="112"/>
                  <a:pt x="553" y="112"/>
                </a:cubicBezTo>
                <a:cubicBezTo>
                  <a:pt x="552" y="111"/>
                  <a:pt x="554" y="110"/>
                  <a:pt x="555" y="111"/>
                </a:cubicBezTo>
                <a:cubicBezTo>
                  <a:pt x="555" y="110"/>
                  <a:pt x="555" y="110"/>
                  <a:pt x="554" y="109"/>
                </a:cubicBezTo>
                <a:cubicBezTo>
                  <a:pt x="554" y="110"/>
                  <a:pt x="554" y="110"/>
                  <a:pt x="554" y="110"/>
                </a:cubicBezTo>
                <a:cubicBezTo>
                  <a:pt x="554" y="110"/>
                  <a:pt x="554" y="109"/>
                  <a:pt x="554" y="109"/>
                </a:cubicBezTo>
                <a:cubicBezTo>
                  <a:pt x="553" y="108"/>
                  <a:pt x="550" y="108"/>
                  <a:pt x="549" y="107"/>
                </a:cubicBezTo>
                <a:cubicBezTo>
                  <a:pt x="550" y="106"/>
                  <a:pt x="551" y="106"/>
                  <a:pt x="550" y="105"/>
                </a:cubicBezTo>
                <a:cubicBezTo>
                  <a:pt x="549" y="106"/>
                  <a:pt x="546" y="106"/>
                  <a:pt x="548" y="104"/>
                </a:cubicBezTo>
                <a:cubicBezTo>
                  <a:pt x="548" y="104"/>
                  <a:pt x="548" y="104"/>
                  <a:pt x="548" y="104"/>
                </a:cubicBezTo>
                <a:cubicBezTo>
                  <a:pt x="548" y="104"/>
                  <a:pt x="547" y="103"/>
                  <a:pt x="547" y="103"/>
                </a:cubicBezTo>
                <a:cubicBezTo>
                  <a:pt x="545" y="104"/>
                  <a:pt x="543" y="105"/>
                  <a:pt x="541" y="106"/>
                </a:cubicBezTo>
                <a:cubicBezTo>
                  <a:pt x="537" y="107"/>
                  <a:pt x="541" y="104"/>
                  <a:pt x="543" y="103"/>
                </a:cubicBezTo>
                <a:cubicBezTo>
                  <a:pt x="544" y="103"/>
                  <a:pt x="546" y="102"/>
                  <a:pt x="548" y="101"/>
                </a:cubicBezTo>
                <a:cubicBezTo>
                  <a:pt x="548" y="101"/>
                  <a:pt x="548" y="101"/>
                  <a:pt x="548" y="100"/>
                </a:cubicBezTo>
                <a:cubicBezTo>
                  <a:pt x="549" y="100"/>
                  <a:pt x="549" y="100"/>
                  <a:pt x="550" y="100"/>
                </a:cubicBezTo>
                <a:cubicBezTo>
                  <a:pt x="552" y="99"/>
                  <a:pt x="553" y="99"/>
                  <a:pt x="554" y="98"/>
                </a:cubicBezTo>
                <a:cubicBezTo>
                  <a:pt x="555" y="97"/>
                  <a:pt x="555" y="95"/>
                  <a:pt x="555" y="94"/>
                </a:cubicBezTo>
                <a:cubicBezTo>
                  <a:pt x="554" y="95"/>
                  <a:pt x="554" y="94"/>
                  <a:pt x="553" y="94"/>
                </a:cubicBezTo>
                <a:cubicBezTo>
                  <a:pt x="553" y="94"/>
                  <a:pt x="553" y="94"/>
                  <a:pt x="553" y="94"/>
                </a:cubicBezTo>
                <a:cubicBezTo>
                  <a:pt x="553" y="94"/>
                  <a:pt x="553" y="94"/>
                  <a:pt x="552" y="94"/>
                </a:cubicBezTo>
                <a:cubicBezTo>
                  <a:pt x="552" y="94"/>
                  <a:pt x="550" y="93"/>
                  <a:pt x="550" y="93"/>
                </a:cubicBezTo>
                <a:cubicBezTo>
                  <a:pt x="550" y="93"/>
                  <a:pt x="550" y="93"/>
                  <a:pt x="550" y="92"/>
                </a:cubicBezTo>
                <a:cubicBezTo>
                  <a:pt x="549" y="91"/>
                  <a:pt x="551" y="90"/>
                  <a:pt x="552" y="90"/>
                </a:cubicBezTo>
                <a:cubicBezTo>
                  <a:pt x="552" y="89"/>
                  <a:pt x="552" y="89"/>
                  <a:pt x="553" y="88"/>
                </a:cubicBezTo>
                <a:cubicBezTo>
                  <a:pt x="553" y="88"/>
                  <a:pt x="553" y="88"/>
                  <a:pt x="553" y="88"/>
                </a:cubicBezTo>
                <a:cubicBezTo>
                  <a:pt x="552" y="87"/>
                  <a:pt x="550" y="87"/>
                  <a:pt x="549" y="87"/>
                </a:cubicBezTo>
                <a:cubicBezTo>
                  <a:pt x="548" y="87"/>
                  <a:pt x="546" y="87"/>
                  <a:pt x="546" y="86"/>
                </a:cubicBezTo>
                <a:cubicBezTo>
                  <a:pt x="545" y="86"/>
                  <a:pt x="544" y="85"/>
                  <a:pt x="544" y="84"/>
                </a:cubicBezTo>
                <a:cubicBezTo>
                  <a:pt x="543" y="85"/>
                  <a:pt x="542" y="85"/>
                  <a:pt x="542" y="84"/>
                </a:cubicBezTo>
                <a:cubicBezTo>
                  <a:pt x="541" y="84"/>
                  <a:pt x="540" y="82"/>
                  <a:pt x="542" y="81"/>
                </a:cubicBezTo>
                <a:cubicBezTo>
                  <a:pt x="542" y="81"/>
                  <a:pt x="542" y="81"/>
                  <a:pt x="542" y="81"/>
                </a:cubicBezTo>
                <a:cubicBezTo>
                  <a:pt x="541" y="80"/>
                  <a:pt x="542" y="80"/>
                  <a:pt x="542" y="79"/>
                </a:cubicBezTo>
                <a:cubicBezTo>
                  <a:pt x="541" y="80"/>
                  <a:pt x="540" y="80"/>
                  <a:pt x="539" y="80"/>
                </a:cubicBezTo>
                <a:cubicBezTo>
                  <a:pt x="539" y="80"/>
                  <a:pt x="538" y="81"/>
                  <a:pt x="539" y="82"/>
                </a:cubicBezTo>
                <a:cubicBezTo>
                  <a:pt x="538" y="82"/>
                  <a:pt x="536" y="83"/>
                  <a:pt x="535" y="84"/>
                </a:cubicBezTo>
                <a:cubicBezTo>
                  <a:pt x="534" y="85"/>
                  <a:pt x="533" y="85"/>
                  <a:pt x="532" y="86"/>
                </a:cubicBezTo>
                <a:cubicBezTo>
                  <a:pt x="532" y="86"/>
                  <a:pt x="532" y="87"/>
                  <a:pt x="532" y="87"/>
                </a:cubicBezTo>
                <a:cubicBezTo>
                  <a:pt x="531" y="87"/>
                  <a:pt x="530" y="86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8" y="87"/>
                </a:cubicBezTo>
                <a:cubicBezTo>
                  <a:pt x="527" y="87"/>
                  <a:pt x="527" y="88"/>
                  <a:pt x="526" y="88"/>
                </a:cubicBezTo>
                <a:cubicBezTo>
                  <a:pt x="526" y="88"/>
                  <a:pt x="526" y="87"/>
                  <a:pt x="526" y="87"/>
                </a:cubicBezTo>
                <a:cubicBezTo>
                  <a:pt x="525" y="85"/>
                  <a:pt x="521" y="83"/>
                  <a:pt x="520" y="81"/>
                </a:cubicBezTo>
                <a:cubicBezTo>
                  <a:pt x="520" y="79"/>
                  <a:pt x="524" y="78"/>
                  <a:pt x="525" y="76"/>
                </a:cubicBezTo>
                <a:cubicBezTo>
                  <a:pt x="526" y="76"/>
                  <a:pt x="524" y="74"/>
                  <a:pt x="525" y="74"/>
                </a:cubicBezTo>
                <a:cubicBezTo>
                  <a:pt x="526" y="73"/>
                  <a:pt x="526" y="75"/>
                  <a:pt x="527" y="75"/>
                </a:cubicBezTo>
                <a:cubicBezTo>
                  <a:pt x="528" y="76"/>
                  <a:pt x="533" y="76"/>
                  <a:pt x="535" y="76"/>
                </a:cubicBezTo>
                <a:cubicBezTo>
                  <a:pt x="536" y="76"/>
                  <a:pt x="537" y="76"/>
                  <a:pt x="538" y="77"/>
                </a:cubicBezTo>
                <a:cubicBezTo>
                  <a:pt x="539" y="75"/>
                  <a:pt x="543" y="75"/>
                  <a:pt x="543" y="74"/>
                </a:cubicBezTo>
                <a:cubicBezTo>
                  <a:pt x="544" y="74"/>
                  <a:pt x="542" y="74"/>
                  <a:pt x="542" y="73"/>
                </a:cubicBezTo>
                <a:cubicBezTo>
                  <a:pt x="543" y="73"/>
                  <a:pt x="544" y="73"/>
                  <a:pt x="545" y="74"/>
                </a:cubicBezTo>
                <a:cubicBezTo>
                  <a:pt x="547" y="73"/>
                  <a:pt x="550" y="72"/>
                  <a:pt x="553" y="72"/>
                </a:cubicBezTo>
                <a:cubicBezTo>
                  <a:pt x="552" y="71"/>
                  <a:pt x="552" y="70"/>
                  <a:pt x="551" y="70"/>
                </a:cubicBezTo>
                <a:cubicBezTo>
                  <a:pt x="551" y="70"/>
                  <a:pt x="550" y="71"/>
                  <a:pt x="550" y="71"/>
                </a:cubicBezTo>
                <a:cubicBezTo>
                  <a:pt x="550" y="71"/>
                  <a:pt x="547" y="70"/>
                  <a:pt x="545" y="69"/>
                </a:cubicBezTo>
                <a:cubicBezTo>
                  <a:pt x="544" y="69"/>
                  <a:pt x="543" y="69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2" y="67"/>
                  <a:pt x="543" y="66"/>
                  <a:pt x="542" y="66"/>
                </a:cubicBezTo>
                <a:cubicBezTo>
                  <a:pt x="540" y="64"/>
                  <a:pt x="537" y="66"/>
                  <a:pt x="535" y="66"/>
                </a:cubicBezTo>
                <a:cubicBezTo>
                  <a:pt x="535" y="66"/>
                  <a:pt x="534" y="65"/>
                  <a:pt x="534" y="65"/>
                </a:cubicBezTo>
                <a:cubicBezTo>
                  <a:pt x="534" y="65"/>
                  <a:pt x="534" y="65"/>
                  <a:pt x="534" y="65"/>
                </a:cubicBezTo>
                <a:cubicBezTo>
                  <a:pt x="534" y="67"/>
                  <a:pt x="529" y="69"/>
                  <a:pt x="528" y="68"/>
                </a:cubicBezTo>
                <a:cubicBezTo>
                  <a:pt x="527" y="66"/>
                  <a:pt x="528" y="64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2"/>
                  <a:pt x="529" y="62"/>
                </a:cubicBezTo>
                <a:cubicBezTo>
                  <a:pt x="529" y="62"/>
                  <a:pt x="529" y="62"/>
                  <a:pt x="529" y="62"/>
                </a:cubicBezTo>
                <a:cubicBezTo>
                  <a:pt x="528" y="62"/>
                  <a:pt x="527" y="63"/>
                  <a:pt x="526" y="63"/>
                </a:cubicBezTo>
                <a:cubicBezTo>
                  <a:pt x="526" y="63"/>
                  <a:pt x="526" y="63"/>
                  <a:pt x="526" y="63"/>
                </a:cubicBezTo>
                <a:cubicBezTo>
                  <a:pt x="526" y="64"/>
                  <a:pt x="526" y="64"/>
                  <a:pt x="526" y="65"/>
                </a:cubicBezTo>
                <a:cubicBezTo>
                  <a:pt x="525" y="66"/>
                  <a:pt x="522" y="66"/>
                  <a:pt x="520" y="68"/>
                </a:cubicBezTo>
                <a:cubicBezTo>
                  <a:pt x="519" y="69"/>
                  <a:pt x="517" y="72"/>
                  <a:pt x="515" y="72"/>
                </a:cubicBezTo>
                <a:cubicBezTo>
                  <a:pt x="514" y="71"/>
                  <a:pt x="514" y="70"/>
                  <a:pt x="513" y="70"/>
                </a:cubicBezTo>
                <a:cubicBezTo>
                  <a:pt x="513" y="69"/>
                  <a:pt x="513" y="70"/>
                  <a:pt x="512" y="70"/>
                </a:cubicBezTo>
                <a:cubicBezTo>
                  <a:pt x="511" y="71"/>
                  <a:pt x="510" y="70"/>
                  <a:pt x="510" y="69"/>
                </a:cubicBezTo>
                <a:cubicBezTo>
                  <a:pt x="509" y="69"/>
                  <a:pt x="508" y="69"/>
                  <a:pt x="508" y="68"/>
                </a:cubicBezTo>
                <a:cubicBezTo>
                  <a:pt x="508" y="68"/>
                  <a:pt x="509" y="67"/>
                  <a:pt x="510" y="66"/>
                </a:cubicBezTo>
                <a:cubicBezTo>
                  <a:pt x="510" y="65"/>
                  <a:pt x="511" y="65"/>
                  <a:pt x="512" y="66"/>
                </a:cubicBezTo>
                <a:cubicBezTo>
                  <a:pt x="513" y="67"/>
                  <a:pt x="513" y="66"/>
                  <a:pt x="513" y="65"/>
                </a:cubicBezTo>
                <a:cubicBezTo>
                  <a:pt x="512" y="64"/>
                  <a:pt x="511" y="64"/>
                  <a:pt x="511" y="63"/>
                </a:cubicBezTo>
                <a:cubicBezTo>
                  <a:pt x="511" y="63"/>
                  <a:pt x="511" y="62"/>
                  <a:pt x="513" y="61"/>
                </a:cubicBezTo>
                <a:cubicBezTo>
                  <a:pt x="511" y="61"/>
                  <a:pt x="510" y="60"/>
                  <a:pt x="509" y="59"/>
                </a:cubicBezTo>
                <a:cubicBezTo>
                  <a:pt x="509" y="59"/>
                  <a:pt x="510" y="56"/>
                  <a:pt x="511" y="55"/>
                </a:cubicBezTo>
                <a:cubicBezTo>
                  <a:pt x="512" y="54"/>
                  <a:pt x="515" y="54"/>
                  <a:pt x="515" y="53"/>
                </a:cubicBezTo>
                <a:cubicBezTo>
                  <a:pt x="515" y="53"/>
                  <a:pt x="514" y="53"/>
                  <a:pt x="514" y="53"/>
                </a:cubicBezTo>
                <a:cubicBezTo>
                  <a:pt x="514" y="53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2" y="54"/>
                  <a:pt x="511" y="55"/>
                  <a:pt x="510" y="54"/>
                </a:cubicBezTo>
                <a:cubicBezTo>
                  <a:pt x="510" y="54"/>
                  <a:pt x="510" y="53"/>
                  <a:pt x="510" y="53"/>
                </a:cubicBezTo>
                <a:cubicBezTo>
                  <a:pt x="510" y="53"/>
                  <a:pt x="510" y="53"/>
                  <a:pt x="510" y="53"/>
                </a:cubicBezTo>
                <a:cubicBezTo>
                  <a:pt x="510" y="53"/>
                  <a:pt x="510" y="52"/>
                  <a:pt x="510" y="52"/>
                </a:cubicBezTo>
                <a:cubicBezTo>
                  <a:pt x="510" y="52"/>
                  <a:pt x="510" y="52"/>
                  <a:pt x="510" y="52"/>
                </a:cubicBezTo>
                <a:cubicBezTo>
                  <a:pt x="511" y="51"/>
                  <a:pt x="513" y="51"/>
                  <a:pt x="513" y="52"/>
                </a:cubicBezTo>
                <a:cubicBezTo>
                  <a:pt x="515" y="52"/>
                  <a:pt x="517" y="52"/>
                  <a:pt x="516" y="53"/>
                </a:cubicBezTo>
                <a:cubicBezTo>
                  <a:pt x="516" y="53"/>
                  <a:pt x="515" y="54"/>
                  <a:pt x="515" y="54"/>
                </a:cubicBezTo>
                <a:cubicBezTo>
                  <a:pt x="516" y="54"/>
                  <a:pt x="517" y="54"/>
                  <a:pt x="517" y="54"/>
                </a:cubicBezTo>
                <a:cubicBezTo>
                  <a:pt x="518" y="54"/>
                  <a:pt x="519" y="55"/>
                  <a:pt x="520" y="55"/>
                </a:cubicBezTo>
                <a:cubicBezTo>
                  <a:pt x="521" y="55"/>
                  <a:pt x="522" y="55"/>
                  <a:pt x="522" y="56"/>
                </a:cubicBezTo>
                <a:cubicBezTo>
                  <a:pt x="522" y="57"/>
                  <a:pt x="522" y="57"/>
                  <a:pt x="521" y="57"/>
                </a:cubicBezTo>
                <a:cubicBezTo>
                  <a:pt x="521" y="57"/>
                  <a:pt x="521" y="58"/>
                  <a:pt x="521" y="58"/>
                </a:cubicBezTo>
                <a:cubicBezTo>
                  <a:pt x="522" y="57"/>
                  <a:pt x="523" y="57"/>
                  <a:pt x="525" y="58"/>
                </a:cubicBezTo>
                <a:cubicBezTo>
                  <a:pt x="525" y="59"/>
                  <a:pt x="524" y="59"/>
                  <a:pt x="524" y="59"/>
                </a:cubicBezTo>
                <a:cubicBezTo>
                  <a:pt x="525" y="59"/>
                  <a:pt x="526" y="58"/>
                  <a:pt x="528" y="58"/>
                </a:cubicBezTo>
                <a:cubicBezTo>
                  <a:pt x="528" y="58"/>
                  <a:pt x="528" y="57"/>
                  <a:pt x="528" y="57"/>
                </a:cubicBezTo>
                <a:cubicBezTo>
                  <a:pt x="528" y="57"/>
                  <a:pt x="527" y="57"/>
                  <a:pt x="527" y="56"/>
                </a:cubicBezTo>
                <a:cubicBezTo>
                  <a:pt x="527" y="54"/>
                  <a:pt x="532" y="55"/>
                  <a:pt x="530" y="57"/>
                </a:cubicBezTo>
                <a:cubicBezTo>
                  <a:pt x="530" y="57"/>
                  <a:pt x="530" y="57"/>
                  <a:pt x="530" y="57"/>
                </a:cubicBezTo>
                <a:cubicBezTo>
                  <a:pt x="531" y="56"/>
                  <a:pt x="533" y="55"/>
                  <a:pt x="533" y="55"/>
                </a:cubicBezTo>
                <a:cubicBezTo>
                  <a:pt x="532" y="54"/>
                  <a:pt x="530" y="55"/>
                  <a:pt x="529" y="54"/>
                </a:cubicBezTo>
                <a:cubicBezTo>
                  <a:pt x="529" y="53"/>
                  <a:pt x="532" y="51"/>
                  <a:pt x="532" y="51"/>
                </a:cubicBezTo>
                <a:cubicBezTo>
                  <a:pt x="532" y="51"/>
                  <a:pt x="532" y="50"/>
                  <a:pt x="532" y="50"/>
                </a:cubicBezTo>
                <a:cubicBezTo>
                  <a:pt x="530" y="52"/>
                  <a:pt x="527" y="52"/>
                  <a:pt x="525" y="52"/>
                </a:cubicBezTo>
                <a:cubicBezTo>
                  <a:pt x="523" y="51"/>
                  <a:pt x="522" y="48"/>
                  <a:pt x="521" y="48"/>
                </a:cubicBezTo>
                <a:cubicBezTo>
                  <a:pt x="520" y="48"/>
                  <a:pt x="518" y="48"/>
                  <a:pt x="516" y="49"/>
                </a:cubicBezTo>
                <a:cubicBezTo>
                  <a:pt x="517" y="48"/>
                  <a:pt x="518" y="48"/>
                  <a:pt x="519" y="47"/>
                </a:cubicBezTo>
                <a:cubicBezTo>
                  <a:pt x="519" y="47"/>
                  <a:pt x="520" y="47"/>
                  <a:pt x="520" y="47"/>
                </a:cubicBezTo>
                <a:cubicBezTo>
                  <a:pt x="521" y="46"/>
                  <a:pt x="521" y="46"/>
                  <a:pt x="521" y="45"/>
                </a:cubicBezTo>
                <a:cubicBezTo>
                  <a:pt x="520" y="45"/>
                  <a:pt x="520" y="45"/>
                  <a:pt x="519" y="45"/>
                </a:cubicBezTo>
                <a:cubicBezTo>
                  <a:pt x="519" y="44"/>
                  <a:pt x="520" y="44"/>
                  <a:pt x="521" y="44"/>
                </a:cubicBezTo>
                <a:cubicBezTo>
                  <a:pt x="521" y="44"/>
                  <a:pt x="521" y="44"/>
                  <a:pt x="521" y="44"/>
                </a:cubicBezTo>
                <a:cubicBezTo>
                  <a:pt x="521" y="43"/>
                  <a:pt x="521" y="41"/>
                  <a:pt x="521" y="40"/>
                </a:cubicBezTo>
                <a:cubicBezTo>
                  <a:pt x="521" y="40"/>
                  <a:pt x="520" y="40"/>
                  <a:pt x="520" y="40"/>
                </a:cubicBezTo>
                <a:cubicBezTo>
                  <a:pt x="520" y="40"/>
                  <a:pt x="520" y="40"/>
                  <a:pt x="520" y="40"/>
                </a:cubicBezTo>
                <a:cubicBezTo>
                  <a:pt x="520" y="40"/>
                  <a:pt x="520" y="40"/>
                  <a:pt x="520" y="39"/>
                </a:cubicBezTo>
                <a:cubicBezTo>
                  <a:pt x="520" y="39"/>
                  <a:pt x="520" y="39"/>
                  <a:pt x="520" y="39"/>
                </a:cubicBezTo>
                <a:cubicBezTo>
                  <a:pt x="510" y="34"/>
                  <a:pt x="501" y="30"/>
                  <a:pt x="491" y="26"/>
                </a:cubicBezTo>
                <a:cubicBezTo>
                  <a:pt x="491" y="26"/>
                  <a:pt x="489" y="27"/>
                  <a:pt x="489" y="27"/>
                </a:cubicBezTo>
                <a:cubicBezTo>
                  <a:pt x="489" y="26"/>
                  <a:pt x="489" y="26"/>
                  <a:pt x="490" y="26"/>
                </a:cubicBezTo>
                <a:cubicBezTo>
                  <a:pt x="487" y="24"/>
                  <a:pt x="483" y="23"/>
                  <a:pt x="480" y="22"/>
                </a:cubicBezTo>
                <a:cubicBezTo>
                  <a:pt x="480" y="22"/>
                  <a:pt x="480" y="22"/>
                  <a:pt x="480" y="22"/>
                </a:cubicBezTo>
                <a:cubicBezTo>
                  <a:pt x="478" y="22"/>
                  <a:pt x="476" y="25"/>
                  <a:pt x="474" y="25"/>
                </a:cubicBezTo>
                <a:cubicBezTo>
                  <a:pt x="472" y="25"/>
                  <a:pt x="473" y="25"/>
                  <a:pt x="471" y="25"/>
                </a:cubicBezTo>
                <a:cubicBezTo>
                  <a:pt x="471" y="25"/>
                  <a:pt x="469" y="26"/>
                  <a:pt x="468" y="27"/>
                </a:cubicBezTo>
                <a:cubicBezTo>
                  <a:pt x="467" y="27"/>
                  <a:pt x="464" y="29"/>
                  <a:pt x="464" y="29"/>
                </a:cubicBezTo>
                <a:cubicBezTo>
                  <a:pt x="462" y="30"/>
                  <a:pt x="464" y="30"/>
                  <a:pt x="462" y="30"/>
                </a:cubicBezTo>
                <a:cubicBezTo>
                  <a:pt x="461" y="30"/>
                  <a:pt x="461" y="30"/>
                  <a:pt x="460" y="30"/>
                </a:cubicBezTo>
                <a:cubicBezTo>
                  <a:pt x="461" y="30"/>
                  <a:pt x="461" y="30"/>
                  <a:pt x="461" y="30"/>
                </a:cubicBezTo>
                <a:cubicBezTo>
                  <a:pt x="462" y="31"/>
                  <a:pt x="459" y="32"/>
                  <a:pt x="459" y="31"/>
                </a:cubicBezTo>
                <a:cubicBezTo>
                  <a:pt x="459" y="31"/>
                  <a:pt x="458" y="32"/>
                  <a:pt x="458" y="32"/>
                </a:cubicBezTo>
                <a:cubicBezTo>
                  <a:pt x="458" y="32"/>
                  <a:pt x="458" y="33"/>
                  <a:pt x="458" y="33"/>
                </a:cubicBezTo>
                <a:cubicBezTo>
                  <a:pt x="461" y="34"/>
                  <a:pt x="463" y="32"/>
                  <a:pt x="461" y="36"/>
                </a:cubicBezTo>
                <a:cubicBezTo>
                  <a:pt x="461" y="37"/>
                  <a:pt x="462" y="37"/>
                  <a:pt x="461" y="37"/>
                </a:cubicBezTo>
                <a:cubicBezTo>
                  <a:pt x="460" y="39"/>
                  <a:pt x="459" y="37"/>
                  <a:pt x="459" y="36"/>
                </a:cubicBezTo>
                <a:cubicBezTo>
                  <a:pt x="458" y="37"/>
                  <a:pt x="458" y="38"/>
                  <a:pt x="460" y="39"/>
                </a:cubicBezTo>
                <a:cubicBezTo>
                  <a:pt x="460" y="39"/>
                  <a:pt x="457" y="39"/>
                  <a:pt x="456" y="39"/>
                </a:cubicBezTo>
                <a:cubicBezTo>
                  <a:pt x="456" y="39"/>
                  <a:pt x="454" y="36"/>
                  <a:pt x="453" y="35"/>
                </a:cubicBezTo>
                <a:cubicBezTo>
                  <a:pt x="452" y="35"/>
                  <a:pt x="451" y="36"/>
                  <a:pt x="451" y="36"/>
                </a:cubicBezTo>
                <a:cubicBezTo>
                  <a:pt x="449" y="37"/>
                  <a:pt x="446" y="38"/>
                  <a:pt x="444" y="39"/>
                </a:cubicBezTo>
                <a:cubicBezTo>
                  <a:pt x="443" y="40"/>
                  <a:pt x="443" y="40"/>
                  <a:pt x="442" y="40"/>
                </a:cubicBezTo>
                <a:cubicBezTo>
                  <a:pt x="441" y="40"/>
                  <a:pt x="440" y="41"/>
                  <a:pt x="439" y="41"/>
                </a:cubicBezTo>
                <a:cubicBezTo>
                  <a:pt x="437" y="42"/>
                  <a:pt x="435" y="43"/>
                  <a:pt x="432" y="44"/>
                </a:cubicBezTo>
                <a:cubicBezTo>
                  <a:pt x="433" y="44"/>
                  <a:pt x="433" y="44"/>
                  <a:pt x="433" y="44"/>
                </a:cubicBezTo>
                <a:cubicBezTo>
                  <a:pt x="433" y="44"/>
                  <a:pt x="433" y="44"/>
                  <a:pt x="432" y="44"/>
                </a:cubicBezTo>
                <a:cubicBezTo>
                  <a:pt x="432" y="44"/>
                  <a:pt x="431" y="44"/>
                  <a:pt x="431" y="44"/>
                </a:cubicBezTo>
                <a:cubicBezTo>
                  <a:pt x="430" y="44"/>
                  <a:pt x="427" y="45"/>
                  <a:pt x="427" y="46"/>
                </a:cubicBezTo>
                <a:cubicBezTo>
                  <a:pt x="427" y="46"/>
                  <a:pt x="433" y="44"/>
                  <a:pt x="432" y="48"/>
                </a:cubicBezTo>
                <a:cubicBezTo>
                  <a:pt x="432" y="49"/>
                  <a:pt x="431" y="49"/>
                  <a:pt x="431" y="49"/>
                </a:cubicBezTo>
                <a:cubicBezTo>
                  <a:pt x="435" y="49"/>
                  <a:pt x="440" y="49"/>
                  <a:pt x="444" y="50"/>
                </a:cubicBezTo>
                <a:cubicBezTo>
                  <a:pt x="444" y="47"/>
                  <a:pt x="436" y="48"/>
                  <a:pt x="436" y="45"/>
                </a:cubicBezTo>
                <a:cubicBezTo>
                  <a:pt x="436" y="42"/>
                  <a:pt x="442" y="45"/>
                  <a:pt x="444" y="43"/>
                </a:cubicBezTo>
                <a:cubicBezTo>
                  <a:pt x="445" y="43"/>
                  <a:pt x="444" y="42"/>
                  <a:pt x="445" y="42"/>
                </a:cubicBezTo>
                <a:cubicBezTo>
                  <a:pt x="446" y="42"/>
                  <a:pt x="449" y="43"/>
                  <a:pt x="448" y="41"/>
                </a:cubicBezTo>
                <a:cubicBezTo>
                  <a:pt x="448" y="38"/>
                  <a:pt x="459" y="43"/>
                  <a:pt x="460" y="46"/>
                </a:cubicBezTo>
                <a:cubicBezTo>
                  <a:pt x="460" y="48"/>
                  <a:pt x="459" y="52"/>
                  <a:pt x="458" y="52"/>
                </a:cubicBezTo>
                <a:cubicBezTo>
                  <a:pt x="458" y="53"/>
                  <a:pt x="452" y="54"/>
                  <a:pt x="452" y="54"/>
                </a:cubicBezTo>
                <a:cubicBezTo>
                  <a:pt x="451" y="53"/>
                  <a:pt x="449" y="53"/>
                  <a:pt x="448" y="53"/>
                </a:cubicBezTo>
                <a:cubicBezTo>
                  <a:pt x="449" y="53"/>
                  <a:pt x="449" y="53"/>
                  <a:pt x="449" y="54"/>
                </a:cubicBezTo>
                <a:cubicBezTo>
                  <a:pt x="450" y="55"/>
                  <a:pt x="450" y="57"/>
                  <a:pt x="450" y="58"/>
                </a:cubicBezTo>
                <a:cubicBezTo>
                  <a:pt x="447" y="62"/>
                  <a:pt x="436" y="61"/>
                  <a:pt x="432" y="59"/>
                </a:cubicBezTo>
                <a:cubicBezTo>
                  <a:pt x="432" y="60"/>
                  <a:pt x="432" y="61"/>
                  <a:pt x="432" y="62"/>
                </a:cubicBezTo>
                <a:cubicBezTo>
                  <a:pt x="431" y="65"/>
                  <a:pt x="423" y="63"/>
                  <a:pt x="423" y="60"/>
                </a:cubicBezTo>
                <a:cubicBezTo>
                  <a:pt x="423" y="61"/>
                  <a:pt x="421" y="60"/>
                  <a:pt x="421" y="60"/>
                </a:cubicBezTo>
                <a:cubicBezTo>
                  <a:pt x="421" y="59"/>
                  <a:pt x="423" y="59"/>
                  <a:pt x="423" y="60"/>
                </a:cubicBezTo>
                <a:cubicBezTo>
                  <a:pt x="424" y="58"/>
                  <a:pt x="427" y="58"/>
                  <a:pt x="429" y="58"/>
                </a:cubicBezTo>
                <a:cubicBezTo>
                  <a:pt x="430" y="58"/>
                  <a:pt x="431" y="57"/>
                  <a:pt x="432" y="55"/>
                </a:cubicBezTo>
                <a:cubicBezTo>
                  <a:pt x="432" y="55"/>
                  <a:pt x="432" y="53"/>
                  <a:pt x="432" y="54"/>
                </a:cubicBezTo>
                <a:cubicBezTo>
                  <a:pt x="432" y="53"/>
                  <a:pt x="434" y="52"/>
                  <a:pt x="435" y="52"/>
                </a:cubicBezTo>
                <a:cubicBezTo>
                  <a:pt x="435" y="50"/>
                  <a:pt x="431" y="50"/>
                  <a:pt x="429" y="50"/>
                </a:cubicBezTo>
                <a:cubicBezTo>
                  <a:pt x="427" y="50"/>
                  <a:pt x="423" y="49"/>
                  <a:pt x="422" y="48"/>
                </a:cubicBezTo>
                <a:cubicBezTo>
                  <a:pt x="422" y="48"/>
                  <a:pt x="422" y="47"/>
                  <a:pt x="422" y="47"/>
                </a:cubicBezTo>
                <a:cubicBezTo>
                  <a:pt x="422" y="47"/>
                  <a:pt x="421" y="47"/>
                  <a:pt x="421" y="48"/>
                </a:cubicBezTo>
                <a:cubicBezTo>
                  <a:pt x="420" y="48"/>
                  <a:pt x="419" y="49"/>
                  <a:pt x="417" y="50"/>
                </a:cubicBezTo>
                <a:cubicBezTo>
                  <a:pt x="417" y="50"/>
                  <a:pt x="416" y="50"/>
                  <a:pt x="416" y="51"/>
                </a:cubicBezTo>
                <a:cubicBezTo>
                  <a:pt x="418" y="53"/>
                  <a:pt x="416" y="54"/>
                  <a:pt x="414" y="54"/>
                </a:cubicBezTo>
                <a:cubicBezTo>
                  <a:pt x="413" y="54"/>
                  <a:pt x="412" y="54"/>
                  <a:pt x="412" y="54"/>
                </a:cubicBezTo>
                <a:cubicBezTo>
                  <a:pt x="412" y="54"/>
                  <a:pt x="412" y="54"/>
                  <a:pt x="412" y="53"/>
                </a:cubicBezTo>
                <a:cubicBezTo>
                  <a:pt x="411" y="53"/>
                  <a:pt x="411" y="53"/>
                  <a:pt x="411" y="53"/>
                </a:cubicBezTo>
                <a:cubicBezTo>
                  <a:pt x="410" y="53"/>
                  <a:pt x="410" y="53"/>
                  <a:pt x="410" y="53"/>
                </a:cubicBezTo>
                <a:cubicBezTo>
                  <a:pt x="409" y="53"/>
                  <a:pt x="409" y="54"/>
                  <a:pt x="409" y="54"/>
                </a:cubicBezTo>
                <a:cubicBezTo>
                  <a:pt x="408" y="55"/>
                  <a:pt x="407" y="54"/>
                  <a:pt x="407" y="55"/>
                </a:cubicBezTo>
                <a:cubicBezTo>
                  <a:pt x="406" y="55"/>
                  <a:pt x="405" y="56"/>
                  <a:pt x="404" y="57"/>
                </a:cubicBezTo>
                <a:cubicBezTo>
                  <a:pt x="404" y="57"/>
                  <a:pt x="404" y="58"/>
                  <a:pt x="402" y="58"/>
                </a:cubicBezTo>
                <a:cubicBezTo>
                  <a:pt x="401" y="59"/>
                  <a:pt x="401" y="59"/>
                  <a:pt x="400" y="60"/>
                </a:cubicBezTo>
                <a:cubicBezTo>
                  <a:pt x="396" y="62"/>
                  <a:pt x="392" y="63"/>
                  <a:pt x="388" y="64"/>
                </a:cubicBezTo>
                <a:cubicBezTo>
                  <a:pt x="387" y="65"/>
                  <a:pt x="387" y="65"/>
                  <a:pt x="387" y="65"/>
                </a:cubicBezTo>
                <a:cubicBezTo>
                  <a:pt x="387" y="65"/>
                  <a:pt x="388" y="65"/>
                  <a:pt x="388" y="65"/>
                </a:cubicBezTo>
                <a:cubicBezTo>
                  <a:pt x="389" y="65"/>
                  <a:pt x="391" y="66"/>
                  <a:pt x="392" y="67"/>
                </a:cubicBezTo>
                <a:cubicBezTo>
                  <a:pt x="392" y="67"/>
                  <a:pt x="393" y="68"/>
                  <a:pt x="392" y="68"/>
                </a:cubicBezTo>
                <a:cubicBezTo>
                  <a:pt x="393" y="69"/>
                  <a:pt x="394" y="70"/>
                  <a:pt x="393" y="71"/>
                </a:cubicBezTo>
                <a:cubicBezTo>
                  <a:pt x="393" y="78"/>
                  <a:pt x="380" y="78"/>
                  <a:pt x="374" y="76"/>
                </a:cubicBezTo>
                <a:cubicBezTo>
                  <a:pt x="373" y="75"/>
                  <a:pt x="371" y="73"/>
                  <a:pt x="370" y="72"/>
                </a:cubicBezTo>
                <a:cubicBezTo>
                  <a:pt x="368" y="73"/>
                  <a:pt x="366" y="74"/>
                  <a:pt x="366" y="73"/>
                </a:cubicBezTo>
                <a:cubicBezTo>
                  <a:pt x="365" y="72"/>
                  <a:pt x="367" y="71"/>
                  <a:pt x="369" y="70"/>
                </a:cubicBezTo>
                <a:cubicBezTo>
                  <a:pt x="369" y="70"/>
                  <a:pt x="369" y="70"/>
                  <a:pt x="369" y="70"/>
                </a:cubicBezTo>
                <a:cubicBezTo>
                  <a:pt x="368" y="69"/>
                  <a:pt x="366" y="69"/>
                  <a:pt x="366" y="69"/>
                </a:cubicBezTo>
                <a:cubicBezTo>
                  <a:pt x="366" y="67"/>
                  <a:pt x="370" y="65"/>
                  <a:pt x="374" y="64"/>
                </a:cubicBezTo>
                <a:cubicBezTo>
                  <a:pt x="369" y="65"/>
                  <a:pt x="362" y="65"/>
                  <a:pt x="358" y="66"/>
                </a:cubicBezTo>
                <a:cubicBezTo>
                  <a:pt x="358" y="66"/>
                  <a:pt x="351" y="68"/>
                  <a:pt x="351" y="67"/>
                </a:cubicBezTo>
                <a:cubicBezTo>
                  <a:pt x="350" y="66"/>
                  <a:pt x="356" y="66"/>
                  <a:pt x="357" y="65"/>
                </a:cubicBezTo>
                <a:cubicBezTo>
                  <a:pt x="363" y="65"/>
                  <a:pt x="372" y="62"/>
                  <a:pt x="379" y="62"/>
                </a:cubicBezTo>
                <a:cubicBezTo>
                  <a:pt x="379" y="62"/>
                  <a:pt x="379" y="62"/>
                  <a:pt x="379" y="62"/>
                </a:cubicBezTo>
                <a:cubicBezTo>
                  <a:pt x="379" y="62"/>
                  <a:pt x="380" y="62"/>
                  <a:pt x="379" y="62"/>
                </a:cubicBezTo>
                <a:cubicBezTo>
                  <a:pt x="379" y="63"/>
                  <a:pt x="379" y="63"/>
                  <a:pt x="378" y="63"/>
                </a:cubicBezTo>
                <a:cubicBezTo>
                  <a:pt x="379" y="63"/>
                  <a:pt x="381" y="63"/>
                  <a:pt x="382" y="63"/>
                </a:cubicBezTo>
                <a:cubicBezTo>
                  <a:pt x="382" y="62"/>
                  <a:pt x="383" y="61"/>
                  <a:pt x="383" y="61"/>
                </a:cubicBezTo>
                <a:cubicBezTo>
                  <a:pt x="384" y="61"/>
                  <a:pt x="384" y="62"/>
                  <a:pt x="384" y="62"/>
                </a:cubicBezTo>
                <a:cubicBezTo>
                  <a:pt x="385" y="61"/>
                  <a:pt x="385" y="60"/>
                  <a:pt x="386" y="60"/>
                </a:cubicBezTo>
                <a:cubicBezTo>
                  <a:pt x="387" y="59"/>
                  <a:pt x="389" y="59"/>
                  <a:pt x="390" y="59"/>
                </a:cubicBezTo>
                <a:cubicBezTo>
                  <a:pt x="392" y="58"/>
                  <a:pt x="393" y="57"/>
                  <a:pt x="395" y="56"/>
                </a:cubicBezTo>
                <a:cubicBezTo>
                  <a:pt x="396" y="56"/>
                  <a:pt x="396" y="56"/>
                  <a:pt x="396" y="56"/>
                </a:cubicBezTo>
                <a:cubicBezTo>
                  <a:pt x="398" y="55"/>
                  <a:pt x="399" y="53"/>
                  <a:pt x="400" y="52"/>
                </a:cubicBezTo>
                <a:cubicBezTo>
                  <a:pt x="401" y="52"/>
                  <a:pt x="402" y="53"/>
                  <a:pt x="402" y="52"/>
                </a:cubicBezTo>
                <a:cubicBezTo>
                  <a:pt x="404" y="52"/>
                  <a:pt x="405" y="51"/>
                  <a:pt x="407" y="50"/>
                </a:cubicBezTo>
                <a:cubicBezTo>
                  <a:pt x="409" y="50"/>
                  <a:pt x="411" y="48"/>
                  <a:pt x="411" y="48"/>
                </a:cubicBezTo>
                <a:cubicBezTo>
                  <a:pt x="412" y="48"/>
                  <a:pt x="412" y="49"/>
                  <a:pt x="412" y="49"/>
                </a:cubicBezTo>
                <a:cubicBezTo>
                  <a:pt x="413" y="48"/>
                  <a:pt x="413" y="48"/>
                  <a:pt x="413" y="47"/>
                </a:cubicBezTo>
                <a:cubicBezTo>
                  <a:pt x="414" y="47"/>
                  <a:pt x="414" y="48"/>
                  <a:pt x="415" y="48"/>
                </a:cubicBezTo>
                <a:cubicBezTo>
                  <a:pt x="415" y="47"/>
                  <a:pt x="415" y="47"/>
                  <a:pt x="416" y="46"/>
                </a:cubicBezTo>
                <a:cubicBezTo>
                  <a:pt x="416" y="46"/>
                  <a:pt x="416" y="47"/>
                  <a:pt x="417" y="47"/>
                </a:cubicBezTo>
                <a:cubicBezTo>
                  <a:pt x="417" y="47"/>
                  <a:pt x="417" y="46"/>
                  <a:pt x="418" y="45"/>
                </a:cubicBezTo>
                <a:cubicBezTo>
                  <a:pt x="419" y="45"/>
                  <a:pt x="419" y="46"/>
                  <a:pt x="420" y="45"/>
                </a:cubicBezTo>
                <a:cubicBezTo>
                  <a:pt x="420" y="45"/>
                  <a:pt x="420" y="44"/>
                  <a:pt x="421" y="44"/>
                </a:cubicBezTo>
                <a:cubicBezTo>
                  <a:pt x="422" y="43"/>
                  <a:pt x="424" y="43"/>
                  <a:pt x="425" y="42"/>
                </a:cubicBezTo>
                <a:cubicBezTo>
                  <a:pt x="427" y="40"/>
                  <a:pt x="432" y="39"/>
                  <a:pt x="435" y="36"/>
                </a:cubicBezTo>
                <a:cubicBezTo>
                  <a:pt x="438" y="35"/>
                  <a:pt x="441" y="33"/>
                  <a:pt x="444" y="32"/>
                </a:cubicBezTo>
                <a:cubicBezTo>
                  <a:pt x="444" y="32"/>
                  <a:pt x="443" y="32"/>
                  <a:pt x="443" y="32"/>
                </a:cubicBezTo>
                <a:cubicBezTo>
                  <a:pt x="440" y="31"/>
                  <a:pt x="439" y="28"/>
                  <a:pt x="438" y="28"/>
                </a:cubicBezTo>
                <a:cubicBezTo>
                  <a:pt x="437" y="28"/>
                  <a:pt x="437" y="28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5" y="30"/>
                  <a:pt x="434" y="30"/>
                  <a:pt x="433" y="31"/>
                </a:cubicBezTo>
                <a:cubicBezTo>
                  <a:pt x="432" y="31"/>
                  <a:pt x="431" y="31"/>
                  <a:pt x="431" y="30"/>
                </a:cubicBezTo>
                <a:cubicBezTo>
                  <a:pt x="431" y="30"/>
                  <a:pt x="431" y="30"/>
                  <a:pt x="431" y="30"/>
                </a:cubicBezTo>
                <a:cubicBezTo>
                  <a:pt x="430" y="30"/>
                  <a:pt x="430" y="31"/>
                  <a:pt x="429" y="31"/>
                </a:cubicBezTo>
                <a:cubicBezTo>
                  <a:pt x="428" y="32"/>
                  <a:pt x="425" y="32"/>
                  <a:pt x="424" y="31"/>
                </a:cubicBezTo>
                <a:cubicBezTo>
                  <a:pt x="424" y="31"/>
                  <a:pt x="425" y="30"/>
                  <a:pt x="426" y="30"/>
                </a:cubicBezTo>
                <a:cubicBezTo>
                  <a:pt x="426" y="30"/>
                  <a:pt x="425" y="29"/>
                  <a:pt x="425" y="29"/>
                </a:cubicBezTo>
                <a:cubicBezTo>
                  <a:pt x="424" y="30"/>
                  <a:pt x="423" y="30"/>
                  <a:pt x="423" y="30"/>
                </a:cubicBezTo>
                <a:cubicBezTo>
                  <a:pt x="418" y="29"/>
                  <a:pt x="416" y="25"/>
                  <a:pt x="419" y="23"/>
                </a:cubicBezTo>
                <a:cubicBezTo>
                  <a:pt x="421" y="21"/>
                  <a:pt x="429" y="22"/>
                  <a:pt x="429" y="26"/>
                </a:cubicBezTo>
                <a:cubicBezTo>
                  <a:pt x="429" y="29"/>
                  <a:pt x="428" y="27"/>
                  <a:pt x="431" y="27"/>
                </a:cubicBezTo>
                <a:cubicBezTo>
                  <a:pt x="434" y="26"/>
                  <a:pt x="435" y="27"/>
                  <a:pt x="436" y="25"/>
                </a:cubicBezTo>
                <a:cubicBezTo>
                  <a:pt x="439" y="21"/>
                  <a:pt x="442" y="21"/>
                  <a:pt x="446" y="22"/>
                </a:cubicBezTo>
                <a:cubicBezTo>
                  <a:pt x="446" y="21"/>
                  <a:pt x="448" y="21"/>
                  <a:pt x="449" y="22"/>
                </a:cubicBezTo>
                <a:cubicBezTo>
                  <a:pt x="450" y="22"/>
                  <a:pt x="450" y="21"/>
                  <a:pt x="451" y="21"/>
                </a:cubicBezTo>
                <a:cubicBezTo>
                  <a:pt x="452" y="22"/>
                  <a:pt x="451" y="23"/>
                  <a:pt x="450" y="24"/>
                </a:cubicBezTo>
                <a:cubicBezTo>
                  <a:pt x="451" y="25"/>
                  <a:pt x="452" y="26"/>
                  <a:pt x="452" y="28"/>
                </a:cubicBezTo>
                <a:cubicBezTo>
                  <a:pt x="451" y="28"/>
                  <a:pt x="451" y="29"/>
                  <a:pt x="451" y="30"/>
                </a:cubicBezTo>
                <a:cubicBezTo>
                  <a:pt x="451" y="29"/>
                  <a:pt x="451" y="29"/>
                  <a:pt x="452" y="29"/>
                </a:cubicBezTo>
                <a:cubicBezTo>
                  <a:pt x="453" y="29"/>
                  <a:pt x="455" y="29"/>
                  <a:pt x="457" y="29"/>
                </a:cubicBezTo>
                <a:cubicBezTo>
                  <a:pt x="458" y="28"/>
                  <a:pt x="458" y="27"/>
                  <a:pt x="460" y="27"/>
                </a:cubicBezTo>
                <a:cubicBezTo>
                  <a:pt x="461" y="26"/>
                  <a:pt x="463" y="26"/>
                  <a:pt x="465" y="26"/>
                </a:cubicBezTo>
                <a:cubicBezTo>
                  <a:pt x="463" y="25"/>
                  <a:pt x="462" y="25"/>
                  <a:pt x="460" y="25"/>
                </a:cubicBezTo>
                <a:cubicBezTo>
                  <a:pt x="462" y="25"/>
                  <a:pt x="462" y="23"/>
                  <a:pt x="461" y="23"/>
                </a:cubicBezTo>
                <a:cubicBezTo>
                  <a:pt x="461" y="23"/>
                  <a:pt x="462" y="21"/>
                  <a:pt x="463" y="20"/>
                </a:cubicBezTo>
                <a:cubicBezTo>
                  <a:pt x="464" y="20"/>
                  <a:pt x="465" y="20"/>
                  <a:pt x="466" y="20"/>
                </a:cubicBezTo>
                <a:cubicBezTo>
                  <a:pt x="466" y="20"/>
                  <a:pt x="467" y="20"/>
                  <a:pt x="468" y="20"/>
                </a:cubicBezTo>
                <a:cubicBezTo>
                  <a:pt x="468" y="21"/>
                  <a:pt x="467" y="21"/>
                  <a:pt x="466" y="21"/>
                </a:cubicBezTo>
                <a:cubicBezTo>
                  <a:pt x="468" y="22"/>
                  <a:pt x="468" y="23"/>
                  <a:pt x="468" y="24"/>
                </a:cubicBezTo>
                <a:cubicBezTo>
                  <a:pt x="469" y="23"/>
                  <a:pt x="470" y="23"/>
                  <a:pt x="471" y="22"/>
                </a:cubicBezTo>
                <a:cubicBezTo>
                  <a:pt x="471" y="22"/>
                  <a:pt x="470" y="22"/>
                  <a:pt x="470" y="21"/>
                </a:cubicBezTo>
                <a:cubicBezTo>
                  <a:pt x="469" y="20"/>
                  <a:pt x="471" y="19"/>
                  <a:pt x="473" y="19"/>
                </a:cubicBezTo>
                <a:cubicBezTo>
                  <a:pt x="473" y="19"/>
                  <a:pt x="473" y="19"/>
                  <a:pt x="473" y="19"/>
                </a:cubicBezTo>
                <a:cubicBezTo>
                  <a:pt x="456" y="13"/>
                  <a:pt x="438" y="9"/>
                  <a:pt x="419" y="5"/>
                </a:cubicBezTo>
                <a:cubicBezTo>
                  <a:pt x="427" y="10"/>
                  <a:pt x="416" y="16"/>
                  <a:pt x="410" y="12"/>
                </a:cubicBezTo>
                <a:cubicBezTo>
                  <a:pt x="408" y="10"/>
                  <a:pt x="409" y="9"/>
                  <a:pt x="407" y="7"/>
                </a:cubicBezTo>
                <a:cubicBezTo>
                  <a:pt x="408" y="6"/>
                  <a:pt x="410" y="5"/>
                  <a:pt x="412" y="4"/>
                </a:cubicBezTo>
                <a:cubicBezTo>
                  <a:pt x="408" y="4"/>
                  <a:pt x="405" y="3"/>
                  <a:pt x="401" y="3"/>
                </a:cubicBezTo>
                <a:cubicBezTo>
                  <a:pt x="401" y="3"/>
                  <a:pt x="401" y="3"/>
                  <a:pt x="401" y="3"/>
                </a:cubicBezTo>
                <a:cubicBezTo>
                  <a:pt x="398" y="2"/>
                  <a:pt x="396" y="2"/>
                  <a:pt x="393" y="2"/>
                </a:cubicBezTo>
                <a:cubicBezTo>
                  <a:pt x="392" y="6"/>
                  <a:pt x="385" y="4"/>
                  <a:pt x="382" y="1"/>
                </a:cubicBezTo>
                <a:cubicBezTo>
                  <a:pt x="374" y="0"/>
                  <a:pt x="366" y="0"/>
                  <a:pt x="357" y="0"/>
                </a:cubicBezTo>
                <a:cubicBezTo>
                  <a:pt x="343" y="0"/>
                  <a:pt x="328" y="1"/>
                  <a:pt x="314" y="3"/>
                </a:cubicBezTo>
                <a:cubicBezTo>
                  <a:pt x="314" y="3"/>
                  <a:pt x="314" y="3"/>
                  <a:pt x="315" y="3"/>
                </a:cubicBezTo>
                <a:cubicBezTo>
                  <a:pt x="315" y="3"/>
                  <a:pt x="315" y="3"/>
                  <a:pt x="315" y="3"/>
                </a:cubicBezTo>
                <a:cubicBezTo>
                  <a:pt x="315" y="4"/>
                  <a:pt x="314" y="3"/>
                  <a:pt x="314" y="3"/>
                </a:cubicBezTo>
                <a:cubicBezTo>
                  <a:pt x="138" y="24"/>
                  <a:pt x="1" y="173"/>
                  <a:pt x="0" y="354"/>
                </a:cubicBezTo>
                <a:cubicBezTo>
                  <a:pt x="0" y="354"/>
                  <a:pt x="0" y="353"/>
                  <a:pt x="1" y="353"/>
                </a:cubicBezTo>
                <a:cubicBezTo>
                  <a:pt x="1" y="353"/>
                  <a:pt x="2" y="356"/>
                  <a:pt x="1" y="356"/>
                </a:cubicBezTo>
                <a:cubicBezTo>
                  <a:pt x="0" y="357"/>
                  <a:pt x="0" y="356"/>
                  <a:pt x="0" y="356"/>
                </a:cubicBezTo>
                <a:cubicBezTo>
                  <a:pt x="0" y="356"/>
                  <a:pt x="0" y="357"/>
                  <a:pt x="0" y="357"/>
                </a:cubicBezTo>
                <a:cubicBezTo>
                  <a:pt x="0" y="375"/>
                  <a:pt x="1" y="392"/>
                  <a:pt x="4" y="409"/>
                </a:cubicBezTo>
                <a:cubicBezTo>
                  <a:pt x="4" y="409"/>
                  <a:pt x="4" y="409"/>
                  <a:pt x="4" y="409"/>
                </a:cubicBezTo>
                <a:cubicBezTo>
                  <a:pt x="5" y="409"/>
                  <a:pt x="5" y="412"/>
                  <a:pt x="5" y="412"/>
                </a:cubicBezTo>
                <a:cubicBezTo>
                  <a:pt x="4" y="413"/>
                  <a:pt x="4" y="413"/>
                  <a:pt x="4" y="413"/>
                </a:cubicBezTo>
                <a:cubicBezTo>
                  <a:pt x="5" y="418"/>
                  <a:pt x="6" y="424"/>
                  <a:pt x="7" y="429"/>
                </a:cubicBezTo>
                <a:cubicBezTo>
                  <a:pt x="8" y="429"/>
                  <a:pt x="8" y="429"/>
                  <a:pt x="8" y="429"/>
                </a:cubicBezTo>
                <a:cubicBezTo>
                  <a:pt x="9" y="430"/>
                  <a:pt x="8" y="430"/>
                  <a:pt x="7" y="431"/>
                </a:cubicBezTo>
                <a:cubicBezTo>
                  <a:pt x="8" y="433"/>
                  <a:pt x="8" y="435"/>
                  <a:pt x="9" y="438"/>
                </a:cubicBezTo>
                <a:cubicBezTo>
                  <a:pt x="9" y="438"/>
                  <a:pt x="9" y="438"/>
                  <a:pt x="9" y="438"/>
                </a:cubicBezTo>
                <a:cubicBezTo>
                  <a:pt x="9" y="440"/>
                  <a:pt x="10" y="441"/>
                  <a:pt x="10" y="443"/>
                </a:cubicBezTo>
                <a:cubicBezTo>
                  <a:pt x="10" y="443"/>
                  <a:pt x="10" y="443"/>
                  <a:pt x="10" y="442"/>
                </a:cubicBezTo>
                <a:cubicBezTo>
                  <a:pt x="10" y="442"/>
                  <a:pt x="10" y="442"/>
                  <a:pt x="10" y="441"/>
                </a:cubicBezTo>
                <a:cubicBezTo>
                  <a:pt x="10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2" y="441"/>
                  <a:pt x="13" y="440"/>
                  <a:pt x="14" y="440"/>
                </a:cubicBezTo>
                <a:cubicBezTo>
                  <a:pt x="14" y="439"/>
                  <a:pt x="15" y="438"/>
                  <a:pt x="16" y="439"/>
                </a:cubicBezTo>
                <a:cubicBezTo>
                  <a:pt x="17" y="439"/>
                  <a:pt x="17" y="439"/>
                  <a:pt x="18" y="440"/>
                </a:cubicBezTo>
                <a:cubicBezTo>
                  <a:pt x="20" y="443"/>
                  <a:pt x="19" y="438"/>
                  <a:pt x="18" y="438"/>
                </a:cubicBezTo>
                <a:cubicBezTo>
                  <a:pt x="18" y="438"/>
                  <a:pt x="18" y="438"/>
                  <a:pt x="17" y="437"/>
                </a:cubicBezTo>
                <a:cubicBezTo>
                  <a:pt x="17" y="437"/>
                  <a:pt x="17" y="437"/>
                  <a:pt x="17" y="436"/>
                </a:cubicBezTo>
                <a:cubicBezTo>
                  <a:pt x="17" y="435"/>
                  <a:pt x="17" y="432"/>
                  <a:pt x="17" y="431"/>
                </a:cubicBezTo>
                <a:cubicBezTo>
                  <a:pt x="17" y="433"/>
                  <a:pt x="18" y="434"/>
                  <a:pt x="19" y="435"/>
                </a:cubicBezTo>
                <a:cubicBezTo>
                  <a:pt x="19" y="435"/>
                  <a:pt x="19" y="435"/>
                  <a:pt x="19" y="435"/>
                </a:cubicBezTo>
                <a:cubicBezTo>
                  <a:pt x="20" y="435"/>
                  <a:pt x="19" y="436"/>
                  <a:pt x="19" y="436"/>
                </a:cubicBezTo>
                <a:cubicBezTo>
                  <a:pt x="19" y="437"/>
                  <a:pt x="19" y="437"/>
                  <a:pt x="19" y="438"/>
                </a:cubicBezTo>
                <a:cubicBezTo>
                  <a:pt x="20" y="437"/>
                  <a:pt x="19" y="435"/>
                  <a:pt x="21" y="434"/>
                </a:cubicBezTo>
                <a:cubicBezTo>
                  <a:pt x="20" y="436"/>
                  <a:pt x="20" y="437"/>
                  <a:pt x="21" y="438"/>
                </a:cubicBezTo>
                <a:cubicBezTo>
                  <a:pt x="21" y="438"/>
                  <a:pt x="22" y="438"/>
                  <a:pt x="22" y="438"/>
                </a:cubicBezTo>
                <a:cubicBezTo>
                  <a:pt x="22" y="438"/>
                  <a:pt x="22" y="438"/>
                  <a:pt x="22" y="438"/>
                </a:cubicBezTo>
                <a:cubicBezTo>
                  <a:pt x="23" y="438"/>
                  <a:pt x="23" y="438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3" y="435"/>
                  <a:pt x="23" y="434"/>
                  <a:pt x="23" y="434"/>
                </a:cubicBezTo>
                <a:cubicBezTo>
                  <a:pt x="23" y="433"/>
                  <a:pt x="22" y="433"/>
                  <a:pt x="21" y="434"/>
                </a:cubicBezTo>
                <a:cubicBezTo>
                  <a:pt x="20" y="434"/>
                  <a:pt x="20" y="435"/>
                  <a:pt x="19" y="434"/>
                </a:cubicBezTo>
                <a:cubicBezTo>
                  <a:pt x="19" y="434"/>
                  <a:pt x="19" y="434"/>
                  <a:pt x="19" y="433"/>
                </a:cubicBezTo>
                <a:cubicBezTo>
                  <a:pt x="19" y="433"/>
                  <a:pt x="19" y="433"/>
                  <a:pt x="19" y="433"/>
                </a:cubicBezTo>
                <a:cubicBezTo>
                  <a:pt x="18" y="433"/>
                  <a:pt x="19" y="431"/>
                  <a:pt x="18" y="429"/>
                </a:cubicBezTo>
                <a:cubicBezTo>
                  <a:pt x="17" y="430"/>
                  <a:pt x="16" y="429"/>
                  <a:pt x="16" y="426"/>
                </a:cubicBezTo>
                <a:cubicBezTo>
                  <a:pt x="16" y="426"/>
                  <a:pt x="16" y="426"/>
                  <a:pt x="16" y="426"/>
                </a:cubicBezTo>
                <a:cubicBezTo>
                  <a:pt x="16" y="427"/>
                  <a:pt x="14" y="432"/>
                  <a:pt x="15" y="433"/>
                </a:cubicBezTo>
                <a:cubicBezTo>
                  <a:pt x="15" y="433"/>
                  <a:pt x="16" y="437"/>
                  <a:pt x="14" y="435"/>
                </a:cubicBezTo>
                <a:cubicBezTo>
                  <a:pt x="12" y="434"/>
                  <a:pt x="15" y="429"/>
                  <a:pt x="15" y="426"/>
                </a:cubicBezTo>
                <a:cubicBezTo>
                  <a:pt x="14" y="426"/>
                  <a:pt x="14" y="426"/>
                  <a:pt x="14" y="425"/>
                </a:cubicBezTo>
                <a:cubicBezTo>
                  <a:pt x="13" y="424"/>
                  <a:pt x="14" y="424"/>
                  <a:pt x="14" y="423"/>
                </a:cubicBezTo>
                <a:cubicBezTo>
                  <a:pt x="14" y="423"/>
                  <a:pt x="14" y="422"/>
                  <a:pt x="15" y="422"/>
                </a:cubicBezTo>
                <a:cubicBezTo>
                  <a:pt x="14" y="421"/>
                  <a:pt x="13" y="422"/>
                  <a:pt x="12" y="421"/>
                </a:cubicBezTo>
                <a:cubicBezTo>
                  <a:pt x="13" y="421"/>
                  <a:pt x="11" y="419"/>
                  <a:pt x="11" y="420"/>
                </a:cubicBezTo>
                <a:cubicBezTo>
                  <a:pt x="11" y="417"/>
                  <a:pt x="14" y="417"/>
                  <a:pt x="15" y="419"/>
                </a:cubicBezTo>
                <a:cubicBezTo>
                  <a:pt x="14" y="418"/>
                  <a:pt x="16" y="419"/>
                  <a:pt x="17" y="418"/>
                </a:cubicBezTo>
                <a:cubicBezTo>
                  <a:pt x="16" y="418"/>
                  <a:pt x="17" y="413"/>
                  <a:pt x="19" y="413"/>
                </a:cubicBezTo>
                <a:cubicBezTo>
                  <a:pt x="19" y="413"/>
                  <a:pt x="18" y="416"/>
                  <a:pt x="19" y="417"/>
                </a:cubicBezTo>
                <a:cubicBezTo>
                  <a:pt x="19" y="417"/>
                  <a:pt x="19" y="417"/>
                  <a:pt x="19" y="417"/>
                </a:cubicBezTo>
                <a:cubicBezTo>
                  <a:pt x="19" y="417"/>
                  <a:pt x="19" y="416"/>
                  <a:pt x="20" y="417"/>
                </a:cubicBezTo>
                <a:cubicBezTo>
                  <a:pt x="20" y="417"/>
                  <a:pt x="21" y="418"/>
                  <a:pt x="20" y="419"/>
                </a:cubicBezTo>
                <a:cubicBezTo>
                  <a:pt x="20" y="419"/>
                  <a:pt x="20" y="419"/>
                  <a:pt x="20" y="419"/>
                </a:cubicBezTo>
                <a:cubicBezTo>
                  <a:pt x="21" y="419"/>
                  <a:pt x="20" y="420"/>
                  <a:pt x="19" y="420"/>
                </a:cubicBezTo>
                <a:cubicBezTo>
                  <a:pt x="17" y="421"/>
                  <a:pt x="19" y="421"/>
                  <a:pt x="20" y="422"/>
                </a:cubicBezTo>
                <a:cubicBezTo>
                  <a:pt x="20" y="422"/>
                  <a:pt x="20" y="422"/>
                  <a:pt x="21" y="422"/>
                </a:cubicBezTo>
                <a:cubicBezTo>
                  <a:pt x="21" y="422"/>
                  <a:pt x="21" y="422"/>
                  <a:pt x="21" y="422"/>
                </a:cubicBezTo>
                <a:cubicBezTo>
                  <a:pt x="22" y="423"/>
                  <a:pt x="22" y="423"/>
                  <a:pt x="22" y="424"/>
                </a:cubicBezTo>
                <a:cubicBezTo>
                  <a:pt x="22" y="424"/>
                  <a:pt x="23" y="423"/>
                  <a:pt x="24" y="423"/>
                </a:cubicBezTo>
                <a:cubicBezTo>
                  <a:pt x="25" y="423"/>
                  <a:pt x="24" y="425"/>
                  <a:pt x="26" y="425"/>
                </a:cubicBezTo>
                <a:cubicBezTo>
                  <a:pt x="26" y="425"/>
                  <a:pt x="26" y="425"/>
                  <a:pt x="26" y="425"/>
                </a:cubicBezTo>
                <a:cubicBezTo>
                  <a:pt x="27" y="422"/>
                  <a:pt x="30" y="417"/>
                  <a:pt x="26" y="418"/>
                </a:cubicBezTo>
                <a:cubicBezTo>
                  <a:pt x="29" y="416"/>
                  <a:pt x="25" y="414"/>
                  <a:pt x="24" y="414"/>
                </a:cubicBezTo>
                <a:cubicBezTo>
                  <a:pt x="23" y="412"/>
                  <a:pt x="25" y="415"/>
                  <a:pt x="25" y="414"/>
                </a:cubicBezTo>
                <a:cubicBezTo>
                  <a:pt x="27" y="413"/>
                  <a:pt x="24" y="411"/>
                  <a:pt x="24" y="408"/>
                </a:cubicBezTo>
                <a:cubicBezTo>
                  <a:pt x="24" y="408"/>
                  <a:pt x="26" y="406"/>
                  <a:pt x="26" y="406"/>
                </a:cubicBezTo>
                <a:cubicBezTo>
                  <a:pt x="27" y="404"/>
                  <a:pt x="24" y="405"/>
                  <a:pt x="27" y="404"/>
                </a:cubicBezTo>
                <a:cubicBezTo>
                  <a:pt x="29" y="404"/>
                  <a:pt x="29" y="400"/>
                  <a:pt x="30" y="399"/>
                </a:cubicBezTo>
                <a:cubicBezTo>
                  <a:pt x="30" y="399"/>
                  <a:pt x="34" y="398"/>
                  <a:pt x="34" y="396"/>
                </a:cubicBezTo>
                <a:cubicBezTo>
                  <a:pt x="30" y="400"/>
                  <a:pt x="28" y="395"/>
                  <a:pt x="29" y="394"/>
                </a:cubicBezTo>
                <a:cubicBezTo>
                  <a:pt x="29" y="394"/>
                  <a:pt x="28" y="391"/>
                  <a:pt x="31" y="391"/>
                </a:cubicBezTo>
                <a:cubicBezTo>
                  <a:pt x="33" y="390"/>
                  <a:pt x="32" y="391"/>
                  <a:pt x="34" y="389"/>
                </a:cubicBezTo>
                <a:cubicBezTo>
                  <a:pt x="35" y="388"/>
                  <a:pt x="34" y="396"/>
                  <a:pt x="35" y="396"/>
                </a:cubicBezTo>
                <a:cubicBezTo>
                  <a:pt x="36" y="398"/>
                  <a:pt x="36" y="395"/>
                  <a:pt x="37" y="398"/>
                </a:cubicBezTo>
                <a:cubicBezTo>
                  <a:pt x="38" y="404"/>
                  <a:pt x="42" y="414"/>
                  <a:pt x="34" y="417"/>
                </a:cubicBezTo>
                <a:cubicBezTo>
                  <a:pt x="32" y="418"/>
                  <a:pt x="31" y="417"/>
                  <a:pt x="30" y="418"/>
                </a:cubicBezTo>
                <a:cubicBezTo>
                  <a:pt x="28" y="420"/>
                  <a:pt x="28" y="422"/>
                  <a:pt x="27" y="425"/>
                </a:cubicBezTo>
                <a:cubicBezTo>
                  <a:pt x="27" y="425"/>
                  <a:pt x="27" y="425"/>
                  <a:pt x="27" y="425"/>
                </a:cubicBezTo>
                <a:cubicBezTo>
                  <a:pt x="28" y="425"/>
                  <a:pt x="27" y="426"/>
                  <a:pt x="28" y="427"/>
                </a:cubicBezTo>
                <a:cubicBezTo>
                  <a:pt x="28" y="427"/>
                  <a:pt x="29" y="427"/>
                  <a:pt x="30" y="427"/>
                </a:cubicBezTo>
                <a:cubicBezTo>
                  <a:pt x="30" y="426"/>
                  <a:pt x="30" y="426"/>
                  <a:pt x="31" y="426"/>
                </a:cubicBezTo>
                <a:cubicBezTo>
                  <a:pt x="31" y="426"/>
                  <a:pt x="31" y="426"/>
                  <a:pt x="31" y="427"/>
                </a:cubicBezTo>
                <a:cubicBezTo>
                  <a:pt x="31" y="427"/>
                  <a:pt x="32" y="427"/>
                  <a:pt x="32" y="427"/>
                </a:cubicBezTo>
                <a:cubicBezTo>
                  <a:pt x="32" y="428"/>
                  <a:pt x="31" y="430"/>
                  <a:pt x="33" y="429"/>
                </a:cubicBezTo>
                <a:cubicBezTo>
                  <a:pt x="33" y="430"/>
                  <a:pt x="33" y="432"/>
                  <a:pt x="33" y="433"/>
                </a:cubicBezTo>
                <a:cubicBezTo>
                  <a:pt x="33" y="433"/>
                  <a:pt x="33" y="433"/>
                  <a:pt x="33" y="433"/>
                </a:cubicBezTo>
                <a:cubicBezTo>
                  <a:pt x="34" y="433"/>
                  <a:pt x="36" y="432"/>
                  <a:pt x="35" y="432"/>
                </a:cubicBezTo>
                <a:cubicBezTo>
                  <a:pt x="36" y="432"/>
                  <a:pt x="35" y="435"/>
                  <a:pt x="34" y="436"/>
                </a:cubicBezTo>
                <a:cubicBezTo>
                  <a:pt x="34" y="437"/>
                  <a:pt x="34" y="437"/>
                  <a:pt x="35" y="437"/>
                </a:cubicBezTo>
                <a:cubicBezTo>
                  <a:pt x="34" y="437"/>
                  <a:pt x="38" y="431"/>
                  <a:pt x="39" y="435"/>
                </a:cubicBezTo>
                <a:cubicBezTo>
                  <a:pt x="39" y="434"/>
                  <a:pt x="39" y="434"/>
                  <a:pt x="39" y="434"/>
                </a:cubicBezTo>
                <a:cubicBezTo>
                  <a:pt x="39" y="434"/>
                  <a:pt x="41" y="432"/>
                  <a:pt x="41" y="432"/>
                </a:cubicBezTo>
                <a:cubicBezTo>
                  <a:pt x="43" y="433"/>
                  <a:pt x="41" y="437"/>
                  <a:pt x="40" y="439"/>
                </a:cubicBezTo>
                <a:cubicBezTo>
                  <a:pt x="42" y="439"/>
                  <a:pt x="43" y="440"/>
                  <a:pt x="42" y="441"/>
                </a:cubicBezTo>
                <a:cubicBezTo>
                  <a:pt x="42" y="441"/>
                  <a:pt x="42" y="442"/>
                  <a:pt x="42" y="442"/>
                </a:cubicBezTo>
                <a:cubicBezTo>
                  <a:pt x="42" y="442"/>
                  <a:pt x="42" y="443"/>
                  <a:pt x="41" y="443"/>
                </a:cubicBezTo>
                <a:cubicBezTo>
                  <a:pt x="41" y="443"/>
                  <a:pt x="40" y="444"/>
                  <a:pt x="40" y="444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5"/>
                  <a:pt x="39" y="447"/>
                  <a:pt x="38" y="448"/>
                </a:cubicBezTo>
                <a:cubicBezTo>
                  <a:pt x="38" y="449"/>
                  <a:pt x="38" y="449"/>
                  <a:pt x="38" y="450"/>
                </a:cubicBezTo>
                <a:cubicBezTo>
                  <a:pt x="38" y="450"/>
                  <a:pt x="38" y="450"/>
                  <a:pt x="39" y="450"/>
                </a:cubicBezTo>
                <a:cubicBezTo>
                  <a:pt x="39" y="449"/>
                  <a:pt x="40" y="448"/>
                  <a:pt x="41" y="447"/>
                </a:cubicBezTo>
                <a:cubicBezTo>
                  <a:pt x="41" y="448"/>
                  <a:pt x="40" y="450"/>
                  <a:pt x="39" y="451"/>
                </a:cubicBezTo>
                <a:cubicBezTo>
                  <a:pt x="39" y="451"/>
                  <a:pt x="39" y="451"/>
                  <a:pt x="39" y="451"/>
                </a:cubicBezTo>
                <a:cubicBezTo>
                  <a:pt x="39" y="451"/>
                  <a:pt x="40" y="451"/>
                  <a:pt x="40" y="451"/>
                </a:cubicBezTo>
                <a:cubicBezTo>
                  <a:pt x="40" y="451"/>
                  <a:pt x="39" y="452"/>
                  <a:pt x="39" y="451"/>
                </a:cubicBezTo>
                <a:cubicBezTo>
                  <a:pt x="38" y="453"/>
                  <a:pt x="35" y="455"/>
                  <a:pt x="35" y="457"/>
                </a:cubicBezTo>
                <a:cubicBezTo>
                  <a:pt x="35" y="456"/>
                  <a:pt x="35" y="456"/>
                  <a:pt x="35" y="456"/>
                </a:cubicBezTo>
                <a:cubicBezTo>
                  <a:pt x="36" y="456"/>
                  <a:pt x="36" y="458"/>
                  <a:pt x="36" y="459"/>
                </a:cubicBezTo>
                <a:cubicBezTo>
                  <a:pt x="36" y="459"/>
                  <a:pt x="37" y="459"/>
                  <a:pt x="37" y="460"/>
                </a:cubicBezTo>
                <a:cubicBezTo>
                  <a:pt x="37" y="461"/>
                  <a:pt x="35" y="463"/>
                  <a:pt x="34" y="463"/>
                </a:cubicBezTo>
                <a:cubicBezTo>
                  <a:pt x="34" y="463"/>
                  <a:pt x="34" y="462"/>
                  <a:pt x="34" y="462"/>
                </a:cubicBezTo>
                <a:cubicBezTo>
                  <a:pt x="34" y="462"/>
                  <a:pt x="34" y="462"/>
                  <a:pt x="34" y="462"/>
                </a:cubicBezTo>
                <a:cubicBezTo>
                  <a:pt x="34" y="462"/>
                  <a:pt x="33" y="463"/>
                  <a:pt x="33" y="463"/>
                </a:cubicBezTo>
                <a:cubicBezTo>
                  <a:pt x="31" y="462"/>
                  <a:pt x="33" y="461"/>
                  <a:pt x="34" y="461"/>
                </a:cubicBezTo>
                <a:cubicBezTo>
                  <a:pt x="34" y="461"/>
                  <a:pt x="34" y="460"/>
                  <a:pt x="33" y="460"/>
                </a:cubicBezTo>
                <a:cubicBezTo>
                  <a:pt x="33" y="460"/>
                  <a:pt x="33" y="460"/>
                  <a:pt x="33" y="461"/>
                </a:cubicBezTo>
                <a:cubicBezTo>
                  <a:pt x="32" y="462"/>
                  <a:pt x="31" y="461"/>
                  <a:pt x="32" y="460"/>
                </a:cubicBezTo>
                <a:cubicBezTo>
                  <a:pt x="29" y="460"/>
                  <a:pt x="23" y="461"/>
                  <a:pt x="24" y="461"/>
                </a:cubicBezTo>
                <a:cubicBezTo>
                  <a:pt x="23" y="461"/>
                  <a:pt x="21" y="469"/>
                  <a:pt x="21" y="464"/>
                </a:cubicBezTo>
                <a:cubicBezTo>
                  <a:pt x="21" y="464"/>
                  <a:pt x="21" y="465"/>
                  <a:pt x="20" y="465"/>
                </a:cubicBezTo>
                <a:cubicBezTo>
                  <a:pt x="20" y="465"/>
                  <a:pt x="20" y="465"/>
                  <a:pt x="20" y="465"/>
                </a:cubicBezTo>
                <a:cubicBezTo>
                  <a:pt x="20" y="465"/>
                  <a:pt x="20" y="466"/>
                  <a:pt x="19" y="465"/>
                </a:cubicBezTo>
                <a:cubicBezTo>
                  <a:pt x="19" y="465"/>
                  <a:pt x="19" y="466"/>
                  <a:pt x="19" y="466"/>
                </a:cubicBezTo>
                <a:cubicBezTo>
                  <a:pt x="19" y="467"/>
                  <a:pt x="18" y="465"/>
                  <a:pt x="18" y="465"/>
                </a:cubicBezTo>
                <a:cubicBezTo>
                  <a:pt x="17" y="464"/>
                  <a:pt x="17" y="464"/>
                  <a:pt x="16" y="464"/>
                </a:cubicBezTo>
                <a:cubicBezTo>
                  <a:pt x="16" y="464"/>
                  <a:pt x="16" y="463"/>
                  <a:pt x="16" y="463"/>
                </a:cubicBezTo>
                <a:cubicBezTo>
                  <a:pt x="17" y="466"/>
                  <a:pt x="17" y="468"/>
                  <a:pt x="18" y="470"/>
                </a:cubicBezTo>
                <a:cubicBezTo>
                  <a:pt x="18" y="471"/>
                  <a:pt x="19" y="471"/>
                  <a:pt x="18" y="471"/>
                </a:cubicBezTo>
                <a:cubicBezTo>
                  <a:pt x="18" y="472"/>
                  <a:pt x="19" y="472"/>
                  <a:pt x="19" y="472"/>
                </a:cubicBezTo>
                <a:cubicBezTo>
                  <a:pt x="19" y="472"/>
                  <a:pt x="19" y="472"/>
                  <a:pt x="19" y="471"/>
                </a:cubicBezTo>
                <a:cubicBezTo>
                  <a:pt x="20" y="470"/>
                  <a:pt x="21" y="470"/>
                  <a:pt x="22" y="469"/>
                </a:cubicBezTo>
                <a:cubicBezTo>
                  <a:pt x="21" y="468"/>
                  <a:pt x="22" y="466"/>
                  <a:pt x="23" y="467"/>
                </a:cubicBezTo>
                <a:cubicBezTo>
                  <a:pt x="24" y="467"/>
                  <a:pt x="24" y="468"/>
                  <a:pt x="23" y="469"/>
                </a:cubicBezTo>
                <a:cubicBezTo>
                  <a:pt x="23" y="469"/>
                  <a:pt x="23" y="469"/>
                  <a:pt x="24" y="469"/>
                </a:cubicBezTo>
                <a:cubicBezTo>
                  <a:pt x="24" y="469"/>
                  <a:pt x="24" y="469"/>
                  <a:pt x="24" y="469"/>
                </a:cubicBezTo>
                <a:cubicBezTo>
                  <a:pt x="26" y="468"/>
                  <a:pt x="28" y="469"/>
                  <a:pt x="29" y="470"/>
                </a:cubicBezTo>
                <a:cubicBezTo>
                  <a:pt x="29" y="470"/>
                  <a:pt x="30" y="470"/>
                  <a:pt x="30" y="470"/>
                </a:cubicBezTo>
                <a:cubicBezTo>
                  <a:pt x="30" y="470"/>
                  <a:pt x="30" y="470"/>
                  <a:pt x="30" y="470"/>
                </a:cubicBezTo>
                <a:cubicBezTo>
                  <a:pt x="30" y="470"/>
                  <a:pt x="31" y="471"/>
                  <a:pt x="30" y="471"/>
                </a:cubicBezTo>
                <a:cubicBezTo>
                  <a:pt x="32" y="472"/>
                  <a:pt x="33" y="475"/>
                  <a:pt x="33" y="477"/>
                </a:cubicBezTo>
                <a:cubicBezTo>
                  <a:pt x="33" y="477"/>
                  <a:pt x="32" y="480"/>
                  <a:pt x="31" y="480"/>
                </a:cubicBezTo>
                <a:cubicBezTo>
                  <a:pt x="31" y="480"/>
                  <a:pt x="30" y="479"/>
                  <a:pt x="30" y="480"/>
                </a:cubicBezTo>
                <a:cubicBezTo>
                  <a:pt x="30" y="480"/>
                  <a:pt x="30" y="480"/>
                  <a:pt x="30" y="480"/>
                </a:cubicBezTo>
                <a:cubicBezTo>
                  <a:pt x="29" y="480"/>
                  <a:pt x="29" y="481"/>
                  <a:pt x="29" y="481"/>
                </a:cubicBezTo>
                <a:cubicBezTo>
                  <a:pt x="29" y="481"/>
                  <a:pt x="30" y="481"/>
                  <a:pt x="30" y="482"/>
                </a:cubicBezTo>
                <a:cubicBezTo>
                  <a:pt x="30" y="482"/>
                  <a:pt x="29" y="483"/>
                  <a:pt x="28" y="482"/>
                </a:cubicBezTo>
                <a:cubicBezTo>
                  <a:pt x="28" y="482"/>
                  <a:pt x="28" y="482"/>
                  <a:pt x="28" y="482"/>
                </a:cubicBezTo>
                <a:cubicBezTo>
                  <a:pt x="28" y="483"/>
                  <a:pt x="28" y="484"/>
                  <a:pt x="28" y="485"/>
                </a:cubicBezTo>
                <a:cubicBezTo>
                  <a:pt x="29" y="485"/>
                  <a:pt x="31" y="483"/>
                  <a:pt x="32" y="485"/>
                </a:cubicBezTo>
                <a:cubicBezTo>
                  <a:pt x="29" y="485"/>
                  <a:pt x="31" y="486"/>
                  <a:pt x="31" y="489"/>
                </a:cubicBezTo>
                <a:cubicBezTo>
                  <a:pt x="31" y="493"/>
                  <a:pt x="30" y="491"/>
                  <a:pt x="32" y="488"/>
                </a:cubicBezTo>
                <a:cubicBezTo>
                  <a:pt x="33" y="487"/>
                  <a:pt x="33" y="489"/>
                  <a:pt x="35" y="487"/>
                </a:cubicBezTo>
                <a:cubicBezTo>
                  <a:pt x="35" y="486"/>
                  <a:pt x="35" y="484"/>
                  <a:pt x="35" y="482"/>
                </a:cubicBezTo>
                <a:cubicBezTo>
                  <a:pt x="35" y="482"/>
                  <a:pt x="35" y="482"/>
                  <a:pt x="35" y="482"/>
                </a:cubicBezTo>
                <a:cubicBezTo>
                  <a:pt x="35" y="481"/>
                  <a:pt x="35" y="481"/>
                  <a:pt x="35" y="480"/>
                </a:cubicBezTo>
                <a:cubicBezTo>
                  <a:pt x="35" y="482"/>
                  <a:pt x="31" y="480"/>
                  <a:pt x="33" y="479"/>
                </a:cubicBezTo>
                <a:cubicBezTo>
                  <a:pt x="33" y="479"/>
                  <a:pt x="33" y="479"/>
                  <a:pt x="34" y="478"/>
                </a:cubicBezTo>
                <a:cubicBezTo>
                  <a:pt x="34" y="477"/>
                  <a:pt x="35" y="474"/>
                  <a:pt x="36" y="473"/>
                </a:cubicBezTo>
                <a:cubicBezTo>
                  <a:pt x="36" y="470"/>
                  <a:pt x="37" y="470"/>
                  <a:pt x="36" y="473"/>
                </a:cubicBezTo>
                <a:cubicBezTo>
                  <a:pt x="36" y="475"/>
                  <a:pt x="36" y="477"/>
                  <a:pt x="35" y="478"/>
                </a:cubicBezTo>
                <a:cubicBezTo>
                  <a:pt x="37" y="477"/>
                  <a:pt x="35" y="476"/>
                  <a:pt x="36" y="475"/>
                </a:cubicBezTo>
                <a:cubicBezTo>
                  <a:pt x="36" y="474"/>
                  <a:pt x="38" y="473"/>
                  <a:pt x="39" y="472"/>
                </a:cubicBezTo>
                <a:cubicBezTo>
                  <a:pt x="39" y="472"/>
                  <a:pt x="39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39" y="469"/>
                  <a:pt x="43" y="469"/>
                  <a:pt x="42" y="470"/>
                </a:cubicBezTo>
                <a:cubicBezTo>
                  <a:pt x="43" y="470"/>
                  <a:pt x="43" y="470"/>
                  <a:pt x="43" y="470"/>
                </a:cubicBezTo>
                <a:cubicBezTo>
                  <a:pt x="43" y="470"/>
                  <a:pt x="44" y="470"/>
                  <a:pt x="44" y="471"/>
                </a:cubicBezTo>
                <a:cubicBezTo>
                  <a:pt x="44" y="471"/>
                  <a:pt x="44" y="471"/>
                  <a:pt x="44" y="471"/>
                </a:cubicBezTo>
                <a:cubicBezTo>
                  <a:pt x="44" y="471"/>
                  <a:pt x="45" y="473"/>
                  <a:pt x="46" y="474"/>
                </a:cubicBezTo>
                <a:cubicBezTo>
                  <a:pt x="46" y="474"/>
                  <a:pt x="47" y="474"/>
                  <a:pt x="47" y="474"/>
                </a:cubicBezTo>
                <a:cubicBezTo>
                  <a:pt x="47" y="474"/>
                  <a:pt x="47" y="475"/>
                  <a:pt x="47" y="475"/>
                </a:cubicBezTo>
                <a:cubicBezTo>
                  <a:pt x="47" y="475"/>
                  <a:pt x="48" y="475"/>
                  <a:pt x="48" y="474"/>
                </a:cubicBezTo>
                <a:cubicBezTo>
                  <a:pt x="48" y="474"/>
                  <a:pt x="48" y="473"/>
                  <a:pt x="48" y="473"/>
                </a:cubicBezTo>
                <a:cubicBezTo>
                  <a:pt x="49" y="473"/>
                  <a:pt x="56" y="472"/>
                  <a:pt x="53" y="470"/>
                </a:cubicBezTo>
                <a:cubicBezTo>
                  <a:pt x="52" y="470"/>
                  <a:pt x="52" y="471"/>
                  <a:pt x="52" y="471"/>
                </a:cubicBezTo>
                <a:cubicBezTo>
                  <a:pt x="52" y="471"/>
                  <a:pt x="52" y="470"/>
                  <a:pt x="51" y="470"/>
                </a:cubicBezTo>
                <a:cubicBezTo>
                  <a:pt x="50" y="470"/>
                  <a:pt x="49" y="472"/>
                  <a:pt x="48" y="472"/>
                </a:cubicBezTo>
                <a:cubicBezTo>
                  <a:pt x="50" y="471"/>
                  <a:pt x="48" y="468"/>
                  <a:pt x="49" y="467"/>
                </a:cubicBezTo>
                <a:cubicBezTo>
                  <a:pt x="51" y="467"/>
                  <a:pt x="53" y="470"/>
                  <a:pt x="55" y="470"/>
                </a:cubicBezTo>
                <a:cubicBezTo>
                  <a:pt x="58" y="469"/>
                  <a:pt x="59" y="467"/>
                  <a:pt x="60" y="465"/>
                </a:cubicBezTo>
                <a:cubicBezTo>
                  <a:pt x="59" y="466"/>
                  <a:pt x="57" y="466"/>
                  <a:pt x="56" y="465"/>
                </a:cubicBezTo>
                <a:cubicBezTo>
                  <a:pt x="55" y="466"/>
                  <a:pt x="54" y="467"/>
                  <a:pt x="53" y="465"/>
                </a:cubicBezTo>
                <a:cubicBezTo>
                  <a:pt x="52" y="463"/>
                  <a:pt x="48" y="460"/>
                  <a:pt x="50" y="458"/>
                </a:cubicBezTo>
                <a:cubicBezTo>
                  <a:pt x="53" y="455"/>
                  <a:pt x="58" y="451"/>
                  <a:pt x="59" y="445"/>
                </a:cubicBezTo>
                <a:cubicBezTo>
                  <a:pt x="55" y="450"/>
                  <a:pt x="54" y="444"/>
                  <a:pt x="59" y="443"/>
                </a:cubicBezTo>
                <a:cubicBezTo>
                  <a:pt x="58" y="445"/>
                  <a:pt x="60" y="444"/>
                  <a:pt x="61" y="445"/>
                </a:cubicBezTo>
                <a:cubicBezTo>
                  <a:pt x="61" y="445"/>
                  <a:pt x="61" y="446"/>
                  <a:pt x="61" y="446"/>
                </a:cubicBezTo>
                <a:cubicBezTo>
                  <a:pt x="61" y="446"/>
                  <a:pt x="61" y="446"/>
                  <a:pt x="61" y="446"/>
                </a:cubicBezTo>
                <a:cubicBezTo>
                  <a:pt x="63" y="446"/>
                  <a:pt x="60" y="450"/>
                  <a:pt x="60" y="447"/>
                </a:cubicBezTo>
                <a:cubicBezTo>
                  <a:pt x="60" y="447"/>
                  <a:pt x="60" y="447"/>
                  <a:pt x="60" y="447"/>
                </a:cubicBezTo>
                <a:cubicBezTo>
                  <a:pt x="60" y="448"/>
                  <a:pt x="59" y="448"/>
                  <a:pt x="59" y="449"/>
                </a:cubicBezTo>
                <a:cubicBezTo>
                  <a:pt x="59" y="452"/>
                  <a:pt x="59" y="456"/>
                  <a:pt x="60" y="459"/>
                </a:cubicBezTo>
                <a:cubicBezTo>
                  <a:pt x="61" y="459"/>
                  <a:pt x="61" y="459"/>
                  <a:pt x="62" y="460"/>
                </a:cubicBezTo>
                <a:cubicBezTo>
                  <a:pt x="62" y="460"/>
                  <a:pt x="62" y="460"/>
                  <a:pt x="62" y="461"/>
                </a:cubicBezTo>
                <a:cubicBezTo>
                  <a:pt x="63" y="462"/>
                  <a:pt x="64" y="461"/>
                  <a:pt x="66" y="457"/>
                </a:cubicBezTo>
                <a:cubicBezTo>
                  <a:pt x="67" y="464"/>
                  <a:pt x="71" y="455"/>
                  <a:pt x="70" y="453"/>
                </a:cubicBezTo>
                <a:cubicBezTo>
                  <a:pt x="70" y="453"/>
                  <a:pt x="68" y="453"/>
                  <a:pt x="68" y="452"/>
                </a:cubicBezTo>
                <a:cubicBezTo>
                  <a:pt x="67" y="452"/>
                  <a:pt x="68" y="449"/>
                  <a:pt x="68" y="447"/>
                </a:cubicBezTo>
                <a:cubicBezTo>
                  <a:pt x="69" y="446"/>
                  <a:pt x="73" y="440"/>
                  <a:pt x="72" y="445"/>
                </a:cubicBezTo>
                <a:cubicBezTo>
                  <a:pt x="71" y="446"/>
                  <a:pt x="71" y="448"/>
                  <a:pt x="71" y="449"/>
                </a:cubicBezTo>
                <a:cubicBezTo>
                  <a:pt x="72" y="449"/>
                  <a:pt x="72" y="449"/>
                  <a:pt x="71" y="449"/>
                </a:cubicBezTo>
                <a:cubicBezTo>
                  <a:pt x="71" y="449"/>
                  <a:pt x="71" y="449"/>
                  <a:pt x="71" y="449"/>
                </a:cubicBezTo>
                <a:cubicBezTo>
                  <a:pt x="71" y="450"/>
                  <a:pt x="71" y="452"/>
                  <a:pt x="71" y="453"/>
                </a:cubicBezTo>
                <a:cubicBezTo>
                  <a:pt x="71" y="455"/>
                  <a:pt x="70" y="457"/>
                  <a:pt x="70" y="458"/>
                </a:cubicBezTo>
                <a:cubicBezTo>
                  <a:pt x="70" y="458"/>
                  <a:pt x="70" y="458"/>
                  <a:pt x="71" y="459"/>
                </a:cubicBezTo>
                <a:cubicBezTo>
                  <a:pt x="71" y="459"/>
                  <a:pt x="72" y="459"/>
                  <a:pt x="72" y="460"/>
                </a:cubicBezTo>
                <a:cubicBezTo>
                  <a:pt x="71" y="460"/>
                  <a:pt x="71" y="460"/>
                  <a:pt x="71" y="460"/>
                </a:cubicBezTo>
                <a:cubicBezTo>
                  <a:pt x="71" y="461"/>
                  <a:pt x="72" y="461"/>
                  <a:pt x="72" y="461"/>
                </a:cubicBezTo>
                <a:cubicBezTo>
                  <a:pt x="74" y="461"/>
                  <a:pt x="74" y="453"/>
                  <a:pt x="73" y="450"/>
                </a:cubicBezTo>
                <a:cubicBezTo>
                  <a:pt x="73" y="450"/>
                  <a:pt x="73" y="451"/>
                  <a:pt x="73" y="450"/>
                </a:cubicBezTo>
                <a:cubicBezTo>
                  <a:pt x="72" y="450"/>
                  <a:pt x="73" y="449"/>
                  <a:pt x="73" y="449"/>
                </a:cubicBezTo>
                <a:cubicBezTo>
                  <a:pt x="73" y="449"/>
                  <a:pt x="73" y="449"/>
                  <a:pt x="73" y="449"/>
                </a:cubicBezTo>
                <a:cubicBezTo>
                  <a:pt x="73" y="449"/>
                  <a:pt x="74" y="448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5"/>
                  <a:pt x="74" y="442"/>
                  <a:pt x="75" y="442"/>
                </a:cubicBezTo>
                <a:cubicBezTo>
                  <a:pt x="78" y="440"/>
                  <a:pt x="73" y="455"/>
                  <a:pt x="78" y="450"/>
                </a:cubicBezTo>
                <a:cubicBezTo>
                  <a:pt x="79" y="450"/>
                  <a:pt x="83" y="445"/>
                  <a:pt x="83" y="445"/>
                </a:cubicBezTo>
                <a:cubicBezTo>
                  <a:pt x="82" y="444"/>
                  <a:pt x="81" y="445"/>
                  <a:pt x="80" y="445"/>
                </a:cubicBezTo>
                <a:cubicBezTo>
                  <a:pt x="78" y="444"/>
                  <a:pt x="79" y="441"/>
                  <a:pt x="80" y="441"/>
                </a:cubicBezTo>
                <a:cubicBezTo>
                  <a:pt x="82" y="440"/>
                  <a:pt x="82" y="442"/>
                  <a:pt x="83" y="442"/>
                </a:cubicBezTo>
                <a:cubicBezTo>
                  <a:pt x="85" y="441"/>
                  <a:pt x="85" y="439"/>
                  <a:pt x="86" y="437"/>
                </a:cubicBezTo>
                <a:cubicBezTo>
                  <a:pt x="86" y="438"/>
                  <a:pt x="85" y="438"/>
                  <a:pt x="85" y="438"/>
                </a:cubicBezTo>
                <a:cubicBezTo>
                  <a:pt x="85" y="437"/>
                  <a:pt x="86" y="437"/>
                  <a:pt x="86" y="437"/>
                </a:cubicBezTo>
                <a:cubicBezTo>
                  <a:pt x="86" y="435"/>
                  <a:pt x="87" y="434"/>
                  <a:pt x="88" y="432"/>
                </a:cubicBezTo>
                <a:cubicBezTo>
                  <a:pt x="90" y="430"/>
                  <a:pt x="91" y="426"/>
                  <a:pt x="91" y="426"/>
                </a:cubicBezTo>
                <a:cubicBezTo>
                  <a:pt x="91" y="426"/>
                  <a:pt x="93" y="428"/>
                  <a:pt x="95" y="428"/>
                </a:cubicBezTo>
                <a:cubicBezTo>
                  <a:pt x="97" y="428"/>
                  <a:pt x="96" y="426"/>
                  <a:pt x="97" y="428"/>
                </a:cubicBezTo>
                <a:cubicBezTo>
                  <a:pt x="97" y="430"/>
                  <a:pt x="98" y="428"/>
                  <a:pt x="98" y="430"/>
                </a:cubicBezTo>
                <a:cubicBezTo>
                  <a:pt x="98" y="432"/>
                  <a:pt x="95" y="437"/>
                  <a:pt x="92" y="435"/>
                </a:cubicBezTo>
                <a:cubicBezTo>
                  <a:pt x="91" y="435"/>
                  <a:pt x="91" y="433"/>
                  <a:pt x="89" y="435"/>
                </a:cubicBezTo>
                <a:cubicBezTo>
                  <a:pt x="89" y="436"/>
                  <a:pt x="90" y="437"/>
                  <a:pt x="89" y="439"/>
                </a:cubicBezTo>
                <a:cubicBezTo>
                  <a:pt x="88" y="441"/>
                  <a:pt x="84" y="445"/>
                  <a:pt x="83" y="448"/>
                </a:cubicBezTo>
                <a:cubicBezTo>
                  <a:pt x="82" y="450"/>
                  <a:pt x="83" y="453"/>
                  <a:pt x="81" y="456"/>
                </a:cubicBezTo>
                <a:cubicBezTo>
                  <a:pt x="80" y="458"/>
                  <a:pt x="75" y="461"/>
                  <a:pt x="75" y="463"/>
                </a:cubicBezTo>
                <a:cubicBezTo>
                  <a:pt x="75" y="463"/>
                  <a:pt x="76" y="464"/>
                  <a:pt x="76" y="464"/>
                </a:cubicBezTo>
                <a:cubicBezTo>
                  <a:pt x="77" y="464"/>
                  <a:pt x="77" y="464"/>
                  <a:pt x="77" y="464"/>
                </a:cubicBezTo>
                <a:cubicBezTo>
                  <a:pt x="77" y="465"/>
                  <a:pt x="77" y="465"/>
                  <a:pt x="77" y="465"/>
                </a:cubicBezTo>
                <a:cubicBezTo>
                  <a:pt x="79" y="466"/>
                  <a:pt x="83" y="467"/>
                  <a:pt x="86" y="467"/>
                </a:cubicBezTo>
                <a:cubicBezTo>
                  <a:pt x="86" y="467"/>
                  <a:pt x="86" y="466"/>
                  <a:pt x="86" y="466"/>
                </a:cubicBezTo>
                <a:cubicBezTo>
                  <a:pt x="86" y="465"/>
                  <a:pt x="86" y="465"/>
                  <a:pt x="86" y="464"/>
                </a:cubicBezTo>
                <a:cubicBezTo>
                  <a:pt x="87" y="460"/>
                  <a:pt x="94" y="456"/>
                  <a:pt x="98" y="458"/>
                </a:cubicBezTo>
                <a:cubicBezTo>
                  <a:pt x="98" y="458"/>
                  <a:pt x="98" y="459"/>
                  <a:pt x="99" y="459"/>
                </a:cubicBezTo>
                <a:cubicBezTo>
                  <a:pt x="99" y="459"/>
                  <a:pt x="99" y="459"/>
                  <a:pt x="99" y="459"/>
                </a:cubicBezTo>
                <a:cubicBezTo>
                  <a:pt x="100" y="458"/>
                  <a:pt x="99" y="459"/>
                  <a:pt x="99" y="459"/>
                </a:cubicBezTo>
                <a:cubicBezTo>
                  <a:pt x="99" y="459"/>
                  <a:pt x="99" y="459"/>
                  <a:pt x="99" y="460"/>
                </a:cubicBezTo>
                <a:cubicBezTo>
                  <a:pt x="100" y="459"/>
                  <a:pt x="101" y="459"/>
                  <a:pt x="101" y="458"/>
                </a:cubicBezTo>
                <a:cubicBezTo>
                  <a:pt x="103" y="459"/>
                  <a:pt x="103" y="456"/>
                  <a:pt x="105" y="456"/>
                </a:cubicBezTo>
                <a:cubicBezTo>
                  <a:pt x="106" y="455"/>
                  <a:pt x="108" y="458"/>
                  <a:pt x="108" y="455"/>
                </a:cubicBezTo>
                <a:cubicBezTo>
                  <a:pt x="108" y="460"/>
                  <a:pt x="116" y="452"/>
                  <a:pt x="116" y="451"/>
                </a:cubicBezTo>
                <a:cubicBezTo>
                  <a:pt x="116" y="451"/>
                  <a:pt x="110" y="450"/>
                  <a:pt x="110" y="450"/>
                </a:cubicBezTo>
                <a:cubicBezTo>
                  <a:pt x="110" y="450"/>
                  <a:pt x="110" y="450"/>
                  <a:pt x="110" y="450"/>
                </a:cubicBezTo>
                <a:cubicBezTo>
                  <a:pt x="110" y="451"/>
                  <a:pt x="110" y="451"/>
                  <a:pt x="110" y="451"/>
                </a:cubicBezTo>
                <a:cubicBezTo>
                  <a:pt x="109" y="451"/>
                  <a:pt x="109" y="452"/>
                  <a:pt x="108" y="451"/>
                </a:cubicBezTo>
                <a:cubicBezTo>
                  <a:pt x="107" y="450"/>
                  <a:pt x="109" y="450"/>
                  <a:pt x="110" y="449"/>
                </a:cubicBezTo>
                <a:cubicBezTo>
                  <a:pt x="110" y="449"/>
                  <a:pt x="110" y="449"/>
                  <a:pt x="109" y="449"/>
                </a:cubicBezTo>
                <a:cubicBezTo>
                  <a:pt x="109" y="449"/>
                  <a:pt x="108" y="448"/>
                  <a:pt x="108" y="447"/>
                </a:cubicBezTo>
                <a:cubicBezTo>
                  <a:pt x="108" y="447"/>
                  <a:pt x="108" y="446"/>
                  <a:pt x="108" y="446"/>
                </a:cubicBezTo>
                <a:cubicBezTo>
                  <a:pt x="108" y="446"/>
                  <a:pt x="108" y="445"/>
                  <a:pt x="108" y="444"/>
                </a:cubicBezTo>
                <a:cubicBezTo>
                  <a:pt x="108" y="444"/>
                  <a:pt x="110" y="441"/>
                  <a:pt x="111" y="441"/>
                </a:cubicBezTo>
                <a:cubicBezTo>
                  <a:pt x="112" y="440"/>
                  <a:pt x="114" y="435"/>
                  <a:pt x="115" y="436"/>
                </a:cubicBezTo>
                <a:cubicBezTo>
                  <a:pt x="116" y="436"/>
                  <a:pt x="114" y="438"/>
                  <a:pt x="115" y="439"/>
                </a:cubicBezTo>
                <a:cubicBezTo>
                  <a:pt x="115" y="440"/>
                  <a:pt x="117" y="439"/>
                  <a:pt x="118" y="439"/>
                </a:cubicBezTo>
                <a:cubicBezTo>
                  <a:pt x="119" y="439"/>
                  <a:pt x="118" y="441"/>
                  <a:pt x="119" y="442"/>
                </a:cubicBezTo>
                <a:cubicBezTo>
                  <a:pt x="119" y="441"/>
                  <a:pt x="121" y="440"/>
                  <a:pt x="122" y="442"/>
                </a:cubicBezTo>
                <a:cubicBezTo>
                  <a:pt x="122" y="444"/>
                  <a:pt x="120" y="443"/>
                  <a:pt x="120" y="444"/>
                </a:cubicBezTo>
                <a:cubicBezTo>
                  <a:pt x="119" y="444"/>
                  <a:pt x="120" y="445"/>
                  <a:pt x="120" y="445"/>
                </a:cubicBezTo>
                <a:cubicBezTo>
                  <a:pt x="121" y="446"/>
                  <a:pt x="119" y="447"/>
                  <a:pt x="118" y="448"/>
                </a:cubicBezTo>
                <a:cubicBezTo>
                  <a:pt x="118" y="449"/>
                  <a:pt x="119" y="450"/>
                  <a:pt x="119" y="450"/>
                </a:cubicBezTo>
                <a:cubicBezTo>
                  <a:pt x="117" y="453"/>
                  <a:pt x="112" y="455"/>
                  <a:pt x="113" y="460"/>
                </a:cubicBezTo>
                <a:cubicBezTo>
                  <a:pt x="113" y="461"/>
                  <a:pt x="114" y="460"/>
                  <a:pt x="115" y="460"/>
                </a:cubicBezTo>
                <a:cubicBezTo>
                  <a:pt x="114" y="463"/>
                  <a:pt x="112" y="471"/>
                  <a:pt x="107" y="472"/>
                </a:cubicBezTo>
                <a:cubicBezTo>
                  <a:pt x="106" y="472"/>
                  <a:pt x="104" y="471"/>
                  <a:pt x="103" y="471"/>
                </a:cubicBezTo>
                <a:cubicBezTo>
                  <a:pt x="102" y="471"/>
                  <a:pt x="102" y="470"/>
                  <a:pt x="101" y="469"/>
                </a:cubicBezTo>
                <a:cubicBezTo>
                  <a:pt x="101" y="469"/>
                  <a:pt x="100" y="469"/>
                  <a:pt x="100" y="468"/>
                </a:cubicBezTo>
                <a:cubicBezTo>
                  <a:pt x="100" y="468"/>
                  <a:pt x="100" y="468"/>
                  <a:pt x="100" y="468"/>
                </a:cubicBezTo>
                <a:cubicBezTo>
                  <a:pt x="100" y="468"/>
                  <a:pt x="100" y="467"/>
                  <a:pt x="99" y="467"/>
                </a:cubicBezTo>
                <a:cubicBezTo>
                  <a:pt x="98" y="468"/>
                  <a:pt x="96" y="470"/>
                  <a:pt x="95" y="470"/>
                </a:cubicBezTo>
                <a:cubicBezTo>
                  <a:pt x="96" y="472"/>
                  <a:pt x="98" y="470"/>
                  <a:pt x="99" y="470"/>
                </a:cubicBezTo>
                <a:cubicBezTo>
                  <a:pt x="98" y="471"/>
                  <a:pt x="98" y="471"/>
                  <a:pt x="98" y="472"/>
                </a:cubicBezTo>
                <a:cubicBezTo>
                  <a:pt x="99" y="472"/>
                  <a:pt x="100" y="472"/>
                  <a:pt x="100" y="472"/>
                </a:cubicBezTo>
                <a:cubicBezTo>
                  <a:pt x="101" y="473"/>
                  <a:pt x="99" y="473"/>
                  <a:pt x="99" y="473"/>
                </a:cubicBezTo>
                <a:cubicBezTo>
                  <a:pt x="98" y="475"/>
                  <a:pt x="100" y="474"/>
                  <a:pt x="99" y="476"/>
                </a:cubicBezTo>
                <a:cubicBezTo>
                  <a:pt x="98" y="478"/>
                  <a:pt x="95" y="477"/>
                  <a:pt x="94" y="478"/>
                </a:cubicBezTo>
                <a:cubicBezTo>
                  <a:pt x="94" y="478"/>
                  <a:pt x="94" y="478"/>
                  <a:pt x="94" y="479"/>
                </a:cubicBezTo>
                <a:cubicBezTo>
                  <a:pt x="95" y="479"/>
                  <a:pt x="95" y="479"/>
                  <a:pt x="96" y="479"/>
                </a:cubicBezTo>
                <a:cubicBezTo>
                  <a:pt x="96" y="480"/>
                  <a:pt x="94" y="481"/>
                  <a:pt x="95" y="483"/>
                </a:cubicBezTo>
                <a:cubicBezTo>
                  <a:pt x="95" y="483"/>
                  <a:pt x="96" y="483"/>
                  <a:pt x="96" y="483"/>
                </a:cubicBezTo>
                <a:cubicBezTo>
                  <a:pt x="96" y="483"/>
                  <a:pt x="97" y="487"/>
                  <a:pt x="97" y="487"/>
                </a:cubicBezTo>
                <a:cubicBezTo>
                  <a:pt x="96" y="489"/>
                  <a:pt x="94" y="487"/>
                  <a:pt x="92" y="488"/>
                </a:cubicBezTo>
                <a:cubicBezTo>
                  <a:pt x="93" y="488"/>
                  <a:pt x="90" y="490"/>
                  <a:pt x="90" y="490"/>
                </a:cubicBezTo>
                <a:cubicBezTo>
                  <a:pt x="90" y="491"/>
                  <a:pt x="91" y="491"/>
                  <a:pt x="91" y="492"/>
                </a:cubicBezTo>
                <a:cubicBezTo>
                  <a:pt x="90" y="495"/>
                  <a:pt x="89" y="494"/>
                  <a:pt x="89" y="497"/>
                </a:cubicBezTo>
                <a:cubicBezTo>
                  <a:pt x="89" y="498"/>
                  <a:pt x="86" y="502"/>
                  <a:pt x="84" y="502"/>
                </a:cubicBezTo>
                <a:cubicBezTo>
                  <a:pt x="80" y="502"/>
                  <a:pt x="82" y="494"/>
                  <a:pt x="76" y="496"/>
                </a:cubicBezTo>
                <a:cubicBezTo>
                  <a:pt x="75" y="491"/>
                  <a:pt x="70" y="501"/>
                  <a:pt x="69" y="501"/>
                </a:cubicBezTo>
                <a:cubicBezTo>
                  <a:pt x="69" y="501"/>
                  <a:pt x="69" y="501"/>
                  <a:pt x="69" y="501"/>
                </a:cubicBezTo>
                <a:cubicBezTo>
                  <a:pt x="69" y="501"/>
                  <a:pt x="69" y="502"/>
                  <a:pt x="68" y="501"/>
                </a:cubicBezTo>
                <a:cubicBezTo>
                  <a:pt x="68" y="501"/>
                  <a:pt x="68" y="501"/>
                  <a:pt x="68" y="501"/>
                </a:cubicBezTo>
                <a:cubicBezTo>
                  <a:pt x="68" y="500"/>
                  <a:pt x="69" y="500"/>
                  <a:pt x="69" y="501"/>
                </a:cubicBezTo>
                <a:cubicBezTo>
                  <a:pt x="69" y="499"/>
                  <a:pt x="73" y="494"/>
                  <a:pt x="68" y="496"/>
                </a:cubicBezTo>
                <a:cubicBezTo>
                  <a:pt x="67" y="497"/>
                  <a:pt x="69" y="499"/>
                  <a:pt x="68" y="500"/>
                </a:cubicBezTo>
                <a:cubicBezTo>
                  <a:pt x="67" y="501"/>
                  <a:pt x="64" y="500"/>
                  <a:pt x="62" y="500"/>
                </a:cubicBezTo>
                <a:cubicBezTo>
                  <a:pt x="62" y="500"/>
                  <a:pt x="61" y="504"/>
                  <a:pt x="61" y="505"/>
                </a:cubicBezTo>
                <a:cubicBezTo>
                  <a:pt x="62" y="506"/>
                  <a:pt x="63" y="506"/>
                  <a:pt x="62" y="508"/>
                </a:cubicBezTo>
                <a:cubicBezTo>
                  <a:pt x="62" y="508"/>
                  <a:pt x="62" y="507"/>
                  <a:pt x="63" y="507"/>
                </a:cubicBezTo>
                <a:cubicBezTo>
                  <a:pt x="62" y="508"/>
                  <a:pt x="62" y="509"/>
                  <a:pt x="65" y="508"/>
                </a:cubicBezTo>
                <a:cubicBezTo>
                  <a:pt x="63" y="511"/>
                  <a:pt x="60" y="511"/>
                  <a:pt x="61" y="514"/>
                </a:cubicBezTo>
                <a:cubicBezTo>
                  <a:pt x="61" y="514"/>
                  <a:pt x="67" y="516"/>
                  <a:pt x="66" y="517"/>
                </a:cubicBezTo>
                <a:cubicBezTo>
                  <a:pt x="70" y="515"/>
                  <a:pt x="64" y="513"/>
                  <a:pt x="65" y="510"/>
                </a:cubicBezTo>
                <a:cubicBezTo>
                  <a:pt x="66" y="507"/>
                  <a:pt x="68" y="514"/>
                  <a:pt x="69" y="514"/>
                </a:cubicBezTo>
                <a:cubicBezTo>
                  <a:pt x="70" y="515"/>
                  <a:pt x="69" y="514"/>
                  <a:pt x="70" y="514"/>
                </a:cubicBezTo>
                <a:cubicBezTo>
                  <a:pt x="72" y="513"/>
                  <a:pt x="73" y="516"/>
                  <a:pt x="74" y="514"/>
                </a:cubicBezTo>
                <a:cubicBezTo>
                  <a:pt x="74" y="514"/>
                  <a:pt x="71" y="514"/>
                  <a:pt x="72" y="512"/>
                </a:cubicBezTo>
                <a:cubicBezTo>
                  <a:pt x="73" y="511"/>
                  <a:pt x="75" y="513"/>
                  <a:pt x="75" y="513"/>
                </a:cubicBezTo>
                <a:cubicBezTo>
                  <a:pt x="76" y="513"/>
                  <a:pt x="77" y="513"/>
                  <a:pt x="78" y="514"/>
                </a:cubicBezTo>
                <a:cubicBezTo>
                  <a:pt x="78" y="513"/>
                  <a:pt x="78" y="513"/>
                  <a:pt x="78" y="513"/>
                </a:cubicBezTo>
                <a:cubicBezTo>
                  <a:pt x="78" y="513"/>
                  <a:pt x="78" y="514"/>
                  <a:pt x="78" y="515"/>
                </a:cubicBezTo>
                <a:cubicBezTo>
                  <a:pt x="78" y="517"/>
                  <a:pt x="78" y="519"/>
                  <a:pt x="78" y="520"/>
                </a:cubicBezTo>
                <a:cubicBezTo>
                  <a:pt x="78" y="520"/>
                  <a:pt x="78" y="520"/>
                  <a:pt x="78" y="520"/>
                </a:cubicBezTo>
                <a:cubicBezTo>
                  <a:pt x="79" y="520"/>
                  <a:pt x="78" y="519"/>
                  <a:pt x="79" y="519"/>
                </a:cubicBezTo>
                <a:cubicBezTo>
                  <a:pt x="80" y="520"/>
                  <a:pt x="80" y="520"/>
                  <a:pt x="81" y="520"/>
                </a:cubicBezTo>
                <a:cubicBezTo>
                  <a:pt x="81" y="518"/>
                  <a:pt x="82" y="515"/>
                  <a:pt x="82" y="515"/>
                </a:cubicBezTo>
                <a:cubicBezTo>
                  <a:pt x="84" y="514"/>
                  <a:pt x="85" y="516"/>
                  <a:pt x="86" y="514"/>
                </a:cubicBezTo>
                <a:cubicBezTo>
                  <a:pt x="86" y="513"/>
                  <a:pt x="84" y="512"/>
                  <a:pt x="84" y="511"/>
                </a:cubicBezTo>
                <a:cubicBezTo>
                  <a:pt x="84" y="511"/>
                  <a:pt x="83" y="509"/>
                  <a:pt x="84" y="509"/>
                </a:cubicBezTo>
                <a:cubicBezTo>
                  <a:pt x="82" y="509"/>
                  <a:pt x="80" y="511"/>
                  <a:pt x="80" y="510"/>
                </a:cubicBezTo>
                <a:cubicBezTo>
                  <a:pt x="79" y="510"/>
                  <a:pt x="80" y="508"/>
                  <a:pt x="81" y="507"/>
                </a:cubicBezTo>
                <a:cubicBezTo>
                  <a:pt x="82" y="510"/>
                  <a:pt x="84" y="506"/>
                  <a:pt x="85" y="505"/>
                </a:cubicBezTo>
                <a:cubicBezTo>
                  <a:pt x="86" y="504"/>
                  <a:pt x="89" y="504"/>
                  <a:pt x="89" y="504"/>
                </a:cubicBezTo>
                <a:cubicBezTo>
                  <a:pt x="90" y="503"/>
                  <a:pt x="88" y="501"/>
                  <a:pt x="90" y="501"/>
                </a:cubicBezTo>
                <a:cubicBezTo>
                  <a:pt x="91" y="501"/>
                  <a:pt x="90" y="502"/>
                  <a:pt x="90" y="502"/>
                </a:cubicBezTo>
                <a:cubicBezTo>
                  <a:pt x="91" y="503"/>
                  <a:pt x="93" y="501"/>
                  <a:pt x="94" y="502"/>
                </a:cubicBezTo>
                <a:cubicBezTo>
                  <a:pt x="95" y="502"/>
                  <a:pt x="94" y="504"/>
                  <a:pt x="94" y="505"/>
                </a:cubicBezTo>
                <a:cubicBezTo>
                  <a:pt x="94" y="506"/>
                  <a:pt x="94" y="507"/>
                  <a:pt x="94" y="508"/>
                </a:cubicBezTo>
                <a:cubicBezTo>
                  <a:pt x="97" y="507"/>
                  <a:pt x="101" y="507"/>
                  <a:pt x="102" y="508"/>
                </a:cubicBezTo>
                <a:cubicBezTo>
                  <a:pt x="103" y="509"/>
                  <a:pt x="101" y="511"/>
                  <a:pt x="104" y="510"/>
                </a:cubicBezTo>
                <a:cubicBezTo>
                  <a:pt x="102" y="512"/>
                  <a:pt x="106" y="513"/>
                  <a:pt x="106" y="514"/>
                </a:cubicBezTo>
                <a:cubicBezTo>
                  <a:pt x="106" y="515"/>
                  <a:pt x="104" y="516"/>
                  <a:pt x="104" y="516"/>
                </a:cubicBezTo>
                <a:cubicBezTo>
                  <a:pt x="104" y="516"/>
                  <a:pt x="105" y="517"/>
                  <a:pt x="104" y="518"/>
                </a:cubicBezTo>
                <a:cubicBezTo>
                  <a:pt x="104" y="518"/>
                  <a:pt x="104" y="518"/>
                  <a:pt x="104" y="518"/>
                </a:cubicBezTo>
                <a:cubicBezTo>
                  <a:pt x="105" y="519"/>
                  <a:pt x="106" y="520"/>
                  <a:pt x="106" y="522"/>
                </a:cubicBezTo>
                <a:cubicBezTo>
                  <a:pt x="106" y="522"/>
                  <a:pt x="107" y="522"/>
                  <a:pt x="107" y="522"/>
                </a:cubicBezTo>
                <a:cubicBezTo>
                  <a:pt x="107" y="521"/>
                  <a:pt x="106" y="521"/>
                  <a:pt x="106" y="520"/>
                </a:cubicBezTo>
                <a:cubicBezTo>
                  <a:pt x="106" y="519"/>
                  <a:pt x="107" y="518"/>
                  <a:pt x="108" y="518"/>
                </a:cubicBezTo>
                <a:cubicBezTo>
                  <a:pt x="108" y="517"/>
                  <a:pt x="108" y="517"/>
                  <a:pt x="109" y="516"/>
                </a:cubicBezTo>
                <a:cubicBezTo>
                  <a:pt x="109" y="516"/>
                  <a:pt x="108" y="516"/>
                  <a:pt x="108" y="516"/>
                </a:cubicBezTo>
                <a:cubicBezTo>
                  <a:pt x="108" y="515"/>
                  <a:pt x="109" y="515"/>
                  <a:pt x="109" y="515"/>
                </a:cubicBezTo>
                <a:cubicBezTo>
                  <a:pt x="111" y="514"/>
                  <a:pt x="112" y="513"/>
                  <a:pt x="113" y="512"/>
                </a:cubicBezTo>
                <a:cubicBezTo>
                  <a:pt x="112" y="514"/>
                  <a:pt x="115" y="514"/>
                  <a:pt x="115" y="514"/>
                </a:cubicBezTo>
                <a:cubicBezTo>
                  <a:pt x="115" y="514"/>
                  <a:pt x="116" y="514"/>
                  <a:pt x="116" y="514"/>
                </a:cubicBezTo>
                <a:cubicBezTo>
                  <a:pt x="116" y="514"/>
                  <a:pt x="116" y="514"/>
                  <a:pt x="116" y="514"/>
                </a:cubicBezTo>
                <a:cubicBezTo>
                  <a:pt x="115" y="514"/>
                  <a:pt x="115" y="513"/>
                  <a:pt x="115" y="513"/>
                </a:cubicBezTo>
                <a:cubicBezTo>
                  <a:pt x="114" y="512"/>
                  <a:pt x="115" y="508"/>
                  <a:pt x="115" y="507"/>
                </a:cubicBezTo>
                <a:cubicBezTo>
                  <a:pt x="116" y="507"/>
                  <a:pt x="116" y="508"/>
                  <a:pt x="117" y="508"/>
                </a:cubicBezTo>
                <a:cubicBezTo>
                  <a:pt x="118" y="507"/>
                  <a:pt x="120" y="504"/>
                  <a:pt x="123" y="505"/>
                </a:cubicBezTo>
                <a:cubicBezTo>
                  <a:pt x="122" y="507"/>
                  <a:pt x="120" y="506"/>
                  <a:pt x="120" y="507"/>
                </a:cubicBezTo>
                <a:cubicBezTo>
                  <a:pt x="119" y="508"/>
                  <a:pt x="121" y="508"/>
                  <a:pt x="121" y="508"/>
                </a:cubicBezTo>
                <a:cubicBezTo>
                  <a:pt x="122" y="510"/>
                  <a:pt x="120" y="514"/>
                  <a:pt x="117" y="514"/>
                </a:cubicBezTo>
                <a:cubicBezTo>
                  <a:pt x="117" y="515"/>
                  <a:pt x="117" y="516"/>
                  <a:pt x="116" y="517"/>
                </a:cubicBezTo>
                <a:cubicBezTo>
                  <a:pt x="117" y="517"/>
                  <a:pt x="117" y="517"/>
                  <a:pt x="117" y="517"/>
                </a:cubicBezTo>
                <a:cubicBezTo>
                  <a:pt x="118" y="515"/>
                  <a:pt x="121" y="515"/>
                  <a:pt x="122" y="513"/>
                </a:cubicBezTo>
                <a:cubicBezTo>
                  <a:pt x="122" y="512"/>
                  <a:pt x="122" y="511"/>
                  <a:pt x="122" y="510"/>
                </a:cubicBezTo>
                <a:cubicBezTo>
                  <a:pt x="122" y="510"/>
                  <a:pt x="123" y="509"/>
                  <a:pt x="123" y="508"/>
                </a:cubicBezTo>
                <a:cubicBezTo>
                  <a:pt x="123" y="507"/>
                  <a:pt x="122" y="508"/>
                  <a:pt x="122" y="507"/>
                </a:cubicBezTo>
                <a:cubicBezTo>
                  <a:pt x="123" y="506"/>
                  <a:pt x="124" y="505"/>
                  <a:pt x="124" y="506"/>
                </a:cubicBezTo>
                <a:cubicBezTo>
                  <a:pt x="125" y="506"/>
                  <a:pt x="124" y="508"/>
                  <a:pt x="125" y="510"/>
                </a:cubicBezTo>
                <a:cubicBezTo>
                  <a:pt x="125" y="510"/>
                  <a:pt x="127" y="510"/>
                  <a:pt x="128" y="510"/>
                </a:cubicBezTo>
                <a:cubicBezTo>
                  <a:pt x="129" y="511"/>
                  <a:pt x="129" y="513"/>
                  <a:pt x="132" y="511"/>
                </a:cubicBezTo>
                <a:cubicBezTo>
                  <a:pt x="129" y="514"/>
                  <a:pt x="133" y="512"/>
                  <a:pt x="134" y="513"/>
                </a:cubicBezTo>
                <a:cubicBezTo>
                  <a:pt x="133" y="513"/>
                  <a:pt x="134" y="519"/>
                  <a:pt x="134" y="520"/>
                </a:cubicBezTo>
                <a:cubicBezTo>
                  <a:pt x="134" y="521"/>
                  <a:pt x="132" y="523"/>
                  <a:pt x="132" y="525"/>
                </a:cubicBezTo>
                <a:cubicBezTo>
                  <a:pt x="132" y="525"/>
                  <a:pt x="133" y="524"/>
                  <a:pt x="133" y="524"/>
                </a:cubicBezTo>
                <a:cubicBezTo>
                  <a:pt x="133" y="525"/>
                  <a:pt x="133" y="525"/>
                  <a:pt x="132" y="526"/>
                </a:cubicBezTo>
                <a:cubicBezTo>
                  <a:pt x="132" y="526"/>
                  <a:pt x="132" y="526"/>
                  <a:pt x="132" y="527"/>
                </a:cubicBezTo>
                <a:cubicBezTo>
                  <a:pt x="133" y="526"/>
                  <a:pt x="133" y="526"/>
                  <a:pt x="133" y="526"/>
                </a:cubicBezTo>
                <a:cubicBezTo>
                  <a:pt x="133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6" y="524"/>
                  <a:pt x="142" y="524"/>
                  <a:pt x="145" y="524"/>
                </a:cubicBezTo>
                <a:cubicBezTo>
                  <a:pt x="145" y="523"/>
                  <a:pt x="146" y="522"/>
                  <a:pt x="146" y="522"/>
                </a:cubicBezTo>
                <a:cubicBezTo>
                  <a:pt x="147" y="522"/>
                  <a:pt x="147" y="523"/>
                  <a:pt x="147" y="524"/>
                </a:cubicBezTo>
                <a:cubicBezTo>
                  <a:pt x="147" y="524"/>
                  <a:pt x="148" y="524"/>
                  <a:pt x="148" y="525"/>
                </a:cubicBezTo>
                <a:cubicBezTo>
                  <a:pt x="148" y="526"/>
                  <a:pt x="147" y="526"/>
                  <a:pt x="145" y="527"/>
                </a:cubicBezTo>
                <a:cubicBezTo>
                  <a:pt x="146" y="527"/>
                  <a:pt x="146" y="527"/>
                  <a:pt x="146" y="527"/>
                </a:cubicBezTo>
                <a:cubicBezTo>
                  <a:pt x="146" y="529"/>
                  <a:pt x="146" y="530"/>
                  <a:pt x="145" y="530"/>
                </a:cubicBezTo>
                <a:cubicBezTo>
                  <a:pt x="145" y="531"/>
                  <a:pt x="145" y="532"/>
                  <a:pt x="144" y="533"/>
                </a:cubicBezTo>
                <a:cubicBezTo>
                  <a:pt x="144" y="533"/>
                  <a:pt x="143" y="533"/>
                  <a:pt x="142" y="533"/>
                </a:cubicBezTo>
                <a:cubicBezTo>
                  <a:pt x="142" y="534"/>
                  <a:pt x="143" y="534"/>
                  <a:pt x="144" y="533"/>
                </a:cubicBezTo>
                <a:cubicBezTo>
                  <a:pt x="145" y="533"/>
                  <a:pt x="147" y="530"/>
                  <a:pt x="147" y="530"/>
                </a:cubicBezTo>
                <a:cubicBezTo>
                  <a:pt x="148" y="530"/>
                  <a:pt x="148" y="529"/>
                  <a:pt x="147" y="529"/>
                </a:cubicBezTo>
                <a:cubicBezTo>
                  <a:pt x="151" y="528"/>
                  <a:pt x="150" y="537"/>
                  <a:pt x="148" y="535"/>
                </a:cubicBezTo>
                <a:cubicBezTo>
                  <a:pt x="148" y="535"/>
                  <a:pt x="147" y="533"/>
                  <a:pt x="147" y="533"/>
                </a:cubicBezTo>
                <a:cubicBezTo>
                  <a:pt x="146" y="533"/>
                  <a:pt x="143" y="537"/>
                  <a:pt x="141" y="538"/>
                </a:cubicBezTo>
                <a:cubicBezTo>
                  <a:pt x="140" y="538"/>
                  <a:pt x="140" y="538"/>
                  <a:pt x="139" y="539"/>
                </a:cubicBezTo>
                <a:cubicBezTo>
                  <a:pt x="140" y="540"/>
                  <a:pt x="141" y="541"/>
                  <a:pt x="140" y="542"/>
                </a:cubicBezTo>
                <a:cubicBezTo>
                  <a:pt x="140" y="542"/>
                  <a:pt x="139" y="543"/>
                  <a:pt x="139" y="543"/>
                </a:cubicBezTo>
                <a:cubicBezTo>
                  <a:pt x="139" y="543"/>
                  <a:pt x="138" y="546"/>
                  <a:pt x="138" y="547"/>
                </a:cubicBezTo>
                <a:cubicBezTo>
                  <a:pt x="138" y="547"/>
                  <a:pt x="140" y="546"/>
                  <a:pt x="139" y="546"/>
                </a:cubicBezTo>
                <a:cubicBezTo>
                  <a:pt x="139" y="546"/>
                  <a:pt x="141" y="548"/>
                  <a:pt x="140" y="549"/>
                </a:cubicBezTo>
                <a:cubicBezTo>
                  <a:pt x="140" y="549"/>
                  <a:pt x="140" y="549"/>
                  <a:pt x="139" y="549"/>
                </a:cubicBezTo>
                <a:cubicBezTo>
                  <a:pt x="140" y="549"/>
                  <a:pt x="140" y="550"/>
                  <a:pt x="141" y="550"/>
                </a:cubicBezTo>
                <a:cubicBezTo>
                  <a:pt x="141" y="549"/>
                  <a:pt x="141" y="548"/>
                  <a:pt x="142" y="548"/>
                </a:cubicBezTo>
                <a:cubicBezTo>
                  <a:pt x="141" y="548"/>
                  <a:pt x="141" y="548"/>
                  <a:pt x="140" y="548"/>
                </a:cubicBezTo>
                <a:cubicBezTo>
                  <a:pt x="140" y="547"/>
                  <a:pt x="140" y="547"/>
                  <a:pt x="141" y="547"/>
                </a:cubicBezTo>
                <a:cubicBezTo>
                  <a:pt x="141" y="546"/>
                  <a:pt x="142" y="544"/>
                  <a:pt x="142" y="546"/>
                </a:cubicBezTo>
                <a:cubicBezTo>
                  <a:pt x="143" y="546"/>
                  <a:pt x="142" y="546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3" y="546"/>
                  <a:pt x="144" y="546"/>
                  <a:pt x="145" y="548"/>
                </a:cubicBezTo>
                <a:cubicBezTo>
                  <a:pt x="146" y="549"/>
                  <a:pt x="145" y="550"/>
                  <a:pt x="145" y="551"/>
                </a:cubicBezTo>
                <a:cubicBezTo>
                  <a:pt x="145" y="551"/>
                  <a:pt x="145" y="551"/>
                  <a:pt x="145" y="551"/>
                </a:cubicBezTo>
                <a:cubicBezTo>
                  <a:pt x="147" y="551"/>
                  <a:pt x="145" y="551"/>
                  <a:pt x="146" y="552"/>
                </a:cubicBezTo>
                <a:cubicBezTo>
                  <a:pt x="146" y="552"/>
                  <a:pt x="146" y="552"/>
                  <a:pt x="147" y="552"/>
                </a:cubicBezTo>
                <a:cubicBezTo>
                  <a:pt x="147" y="552"/>
                  <a:pt x="147" y="552"/>
                  <a:pt x="147" y="552"/>
                </a:cubicBezTo>
                <a:cubicBezTo>
                  <a:pt x="147" y="551"/>
                  <a:pt x="148" y="551"/>
                  <a:pt x="148" y="551"/>
                </a:cubicBezTo>
                <a:cubicBezTo>
                  <a:pt x="151" y="552"/>
                  <a:pt x="148" y="556"/>
                  <a:pt x="149" y="558"/>
                </a:cubicBezTo>
                <a:cubicBezTo>
                  <a:pt x="150" y="558"/>
                  <a:pt x="152" y="558"/>
                  <a:pt x="152" y="557"/>
                </a:cubicBezTo>
                <a:cubicBezTo>
                  <a:pt x="153" y="557"/>
                  <a:pt x="153" y="556"/>
                  <a:pt x="154" y="555"/>
                </a:cubicBezTo>
                <a:cubicBezTo>
                  <a:pt x="152" y="554"/>
                  <a:pt x="152" y="553"/>
                  <a:pt x="152" y="551"/>
                </a:cubicBezTo>
                <a:cubicBezTo>
                  <a:pt x="154" y="547"/>
                  <a:pt x="159" y="548"/>
                  <a:pt x="160" y="551"/>
                </a:cubicBezTo>
                <a:cubicBezTo>
                  <a:pt x="161" y="551"/>
                  <a:pt x="161" y="551"/>
                  <a:pt x="162" y="550"/>
                </a:cubicBezTo>
                <a:cubicBezTo>
                  <a:pt x="161" y="550"/>
                  <a:pt x="161" y="551"/>
                  <a:pt x="161" y="551"/>
                </a:cubicBezTo>
                <a:cubicBezTo>
                  <a:pt x="163" y="550"/>
                  <a:pt x="165" y="549"/>
                  <a:pt x="167" y="550"/>
                </a:cubicBezTo>
                <a:cubicBezTo>
                  <a:pt x="169" y="549"/>
                  <a:pt x="170" y="549"/>
                  <a:pt x="170" y="549"/>
                </a:cubicBezTo>
                <a:cubicBezTo>
                  <a:pt x="171" y="550"/>
                  <a:pt x="170" y="550"/>
                  <a:pt x="168" y="551"/>
                </a:cubicBezTo>
                <a:cubicBezTo>
                  <a:pt x="168" y="551"/>
                  <a:pt x="169" y="551"/>
                  <a:pt x="169" y="551"/>
                </a:cubicBezTo>
                <a:cubicBezTo>
                  <a:pt x="169" y="552"/>
                  <a:pt x="169" y="553"/>
                  <a:pt x="169" y="554"/>
                </a:cubicBezTo>
                <a:cubicBezTo>
                  <a:pt x="171" y="554"/>
                  <a:pt x="172" y="555"/>
                  <a:pt x="171" y="557"/>
                </a:cubicBezTo>
                <a:cubicBezTo>
                  <a:pt x="170" y="559"/>
                  <a:pt x="171" y="560"/>
                  <a:pt x="171" y="561"/>
                </a:cubicBezTo>
                <a:cubicBezTo>
                  <a:pt x="171" y="561"/>
                  <a:pt x="170" y="562"/>
                  <a:pt x="170" y="563"/>
                </a:cubicBezTo>
                <a:cubicBezTo>
                  <a:pt x="172" y="561"/>
                  <a:pt x="173" y="559"/>
                  <a:pt x="175" y="558"/>
                </a:cubicBezTo>
                <a:cubicBezTo>
                  <a:pt x="173" y="556"/>
                  <a:pt x="171" y="554"/>
                  <a:pt x="175" y="552"/>
                </a:cubicBezTo>
                <a:cubicBezTo>
                  <a:pt x="175" y="551"/>
                  <a:pt x="176" y="551"/>
                  <a:pt x="177" y="551"/>
                </a:cubicBezTo>
                <a:cubicBezTo>
                  <a:pt x="175" y="551"/>
                  <a:pt x="176" y="547"/>
                  <a:pt x="178" y="548"/>
                </a:cubicBezTo>
                <a:cubicBezTo>
                  <a:pt x="179" y="549"/>
                  <a:pt x="178" y="550"/>
                  <a:pt x="178" y="550"/>
                </a:cubicBezTo>
                <a:cubicBezTo>
                  <a:pt x="177" y="551"/>
                  <a:pt x="177" y="551"/>
                  <a:pt x="177" y="551"/>
                </a:cubicBezTo>
                <a:cubicBezTo>
                  <a:pt x="179" y="551"/>
                  <a:pt x="181" y="550"/>
                  <a:pt x="182" y="550"/>
                </a:cubicBezTo>
                <a:cubicBezTo>
                  <a:pt x="184" y="548"/>
                  <a:pt x="183" y="547"/>
                  <a:pt x="185" y="549"/>
                </a:cubicBezTo>
                <a:cubicBezTo>
                  <a:pt x="186" y="549"/>
                  <a:pt x="186" y="550"/>
                  <a:pt x="188" y="549"/>
                </a:cubicBezTo>
                <a:cubicBezTo>
                  <a:pt x="188" y="549"/>
                  <a:pt x="191" y="545"/>
                  <a:pt x="191" y="548"/>
                </a:cubicBezTo>
                <a:cubicBezTo>
                  <a:pt x="191" y="549"/>
                  <a:pt x="189" y="549"/>
                  <a:pt x="189" y="549"/>
                </a:cubicBezTo>
                <a:cubicBezTo>
                  <a:pt x="190" y="550"/>
                  <a:pt x="194" y="550"/>
                  <a:pt x="194" y="550"/>
                </a:cubicBezTo>
                <a:cubicBezTo>
                  <a:pt x="194" y="551"/>
                  <a:pt x="190" y="553"/>
                  <a:pt x="192" y="555"/>
                </a:cubicBezTo>
                <a:cubicBezTo>
                  <a:pt x="193" y="555"/>
                  <a:pt x="194" y="555"/>
                  <a:pt x="194" y="555"/>
                </a:cubicBezTo>
                <a:cubicBezTo>
                  <a:pt x="194" y="555"/>
                  <a:pt x="193" y="556"/>
                  <a:pt x="193" y="556"/>
                </a:cubicBezTo>
                <a:cubicBezTo>
                  <a:pt x="192" y="558"/>
                  <a:pt x="192" y="558"/>
                  <a:pt x="193" y="558"/>
                </a:cubicBezTo>
                <a:cubicBezTo>
                  <a:pt x="194" y="558"/>
                  <a:pt x="195" y="558"/>
                  <a:pt x="196" y="559"/>
                </a:cubicBezTo>
                <a:cubicBezTo>
                  <a:pt x="196" y="560"/>
                  <a:pt x="195" y="560"/>
                  <a:pt x="194" y="560"/>
                </a:cubicBezTo>
                <a:cubicBezTo>
                  <a:pt x="194" y="561"/>
                  <a:pt x="194" y="561"/>
                  <a:pt x="194" y="561"/>
                </a:cubicBezTo>
                <a:cubicBezTo>
                  <a:pt x="194" y="562"/>
                  <a:pt x="196" y="561"/>
                  <a:pt x="196" y="562"/>
                </a:cubicBezTo>
                <a:cubicBezTo>
                  <a:pt x="197" y="563"/>
                  <a:pt x="195" y="565"/>
                  <a:pt x="195" y="566"/>
                </a:cubicBezTo>
                <a:cubicBezTo>
                  <a:pt x="197" y="568"/>
                  <a:pt x="199" y="565"/>
                  <a:pt x="201" y="566"/>
                </a:cubicBezTo>
                <a:cubicBezTo>
                  <a:pt x="201" y="566"/>
                  <a:pt x="203" y="568"/>
                  <a:pt x="205" y="566"/>
                </a:cubicBezTo>
                <a:cubicBezTo>
                  <a:pt x="206" y="565"/>
                  <a:pt x="204" y="563"/>
                  <a:pt x="208" y="562"/>
                </a:cubicBezTo>
                <a:cubicBezTo>
                  <a:pt x="209" y="561"/>
                  <a:pt x="214" y="560"/>
                  <a:pt x="214" y="562"/>
                </a:cubicBezTo>
                <a:cubicBezTo>
                  <a:pt x="214" y="563"/>
                  <a:pt x="213" y="562"/>
                  <a:pt x="212" y="563"/>
                </a:cubicBezTo>
                <a:cubicBezTo>
                  <a:pt x="211" y="563"/>
                  <a:pt x="213" y="566"/>
                  <a:pt x="213" y="566"/>
                </a:cubicBezTo>
                <a:cubicBezTo>
                  <a:pt x="212" y="567"/>
                  <a:pt x="210" y="567"/>
                  <a:pt x="210" y="568"/>
                </a:cubicBezTo>
                <a:cubicBezTo>
                  <a:pt x="210" y="568"/>
                  <a:pt x="210" y="568"/>
                  <a:pt x="210" y="568"/>
                </a:cubicBezTo>
                <a:cubicBezTo>
                  <a:pt x="210" y="569"/>
                  <a:pt x="210" y="569"/>
                  <a:pt x="210" y="569"/>
                </a:cubicBezTo>
                <a:cubicBezTo>
                  <a:pt x="210" y="570"/>
                  <a:pt x="211" y="572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10" y="574"/>
                  <a:pt x="210" y="575"/>
                  <a:pt x="208" y="576"/>
                </a:cubicBezTo>
                <a:cubicBezTo>
                  <a:pt x="208" y="576"/>
                  <a:pt x="208" y="576"/>
                  <a:pt x="208" y="576"/>
                </a:cubicBezTo>
                <a:cubicBezTo>
                  <a:pt x="208" y="576"/>
                  <a:pt x="209" y="576"/>
                  <a:pt x="209" y="576"/>
                </a:cubicBezTo>
                <a:cubicBezTo>
                  <a:pt x="210" y="576"/>
                  <a:pt x="210" y="576"/>
                  <a:pt x="211" y="577"/>
                </a:cubicBezTo>
                <a:cubicBezTo>
                  <a:pt x="211" y="577"/>
                  <a:pt x="212" y="577"/>
                  <a:pt x="212" y="577"/>
                </a:cubicBezTo>
                <a:cubicBezTo>
                  <a:pt x="212" y="578"/>
                  <a:pt x="211" y="578"/>
                  <a:pt x="211" y="579"/>
                </a:cubicBezTo>
                <a:cubicBezTo>
                  <a:pt x="211" y="579"/>
                  <a:pt x="211" y="580"/>
                  <a:pt x="211" y="580"/>
                </a:cubicBezTo>
                <a:cubicBezTo>
                  <a:pt x="210" y="581"/>
                  <a:pt x="207" y="580"/>
                  <a:pt x="205" y="581"/>
                </a:cubicBezTo>
                <a:cubicBezTo>
                  <a:pt x="206" y="580"/>
                  <a:pt x="206" y="578"/>
                  <a:pt x="204" y="580"/>
                </a:cubicBezTo>
                <a:cubicBezTo>
                  <a:pt x="202" y="581"/>
                  <a:pt x="204" y="581"/>
                  <a:pt x="204" y="582"/>
                </a:cubicBezTo>
                <a:cubicBezTo>
                  <a:pt x="204" y="582"/>
                  <a:pt x="203" y="582"/>
                  <a:pt x="204" y="583"/>
                </a:cubicBezTo>
                <a:cubicBezTo>
                  <a:pt x="204" y="583"/>
                  <a:pt x="204" y="583"/>
                  <a:pt x="204" y="583"/>
                </a:cubicBezTo>
                <a:cubicBezTo>
                  <a:pt x="206" y="582"/>
                  <a:pt x="208" y="582"/>
                  <a:pt x="210" y="583"/>
                </a:cubicBezTo>
                <a:cubicBezTo>
                  <a:pt x="209" y="583"/>
                  <a:pt x="209" y="582"/>
                  <a:pt x="209" y="582"/>
                </a:cubicBezTo>
                <a:cubicBezTo>
                  <a:pt x="209" y="582"/>
                  <a:pt x="209" y="582"/>
                  <a:pt x="209" y="582"/>
                </a:cubicBezTo>
                <a:cubicBezTo>
                  <a:pt x="210" y="581"/>
                  <a:pt x="210" y="582"/>
                  <a:pt x="210" y="583"/>
                </a:cubicBezTo>
                <a:cubicBezTo>
                  <a:pt x="210" y="583"/>
                  <a:pt x="211" y="584"/>
                  <a:pt x="210" y="585"/>
                </a:cubicBezTo>
                <a:cubicBezTo>
                  <a:pt x="210" y="586"/>
                  <a:pt x="208" y="588"/>
                  <a:pt x="205" y="588"/>
                </a:cubicBezTo>
                <a:cubicBezTo>
                  <a:pt x="206" y="588"/>
                  <a:pt x="206" y="590"/>
                  <a:pt x="206" y="591"/>
                </a:cubicBezTo>
                <a:cubicBezTo>
                  <a:pt x="205" y="592"/>
                  <a:pt x="201" y="592"/>
                  <a:pt x="202" y="593"/>
                </a:cubicBezTo>
                <a:cubicBezTo>
                  <a:pt x="201" y="593"/>
                  <a:pt x="199" y="594"/>
                  <a:pt x="198" y="593"/>
                </a:cubicBezTo>
                <a:cubicBezTo>
                  <a:pt x="195" y="591"/>
                  <a:pt x="196" y="591"/>
                  <a:pt x="192" y="592"/>
                </a:cubicBezTo>
                <a:cubicBezTo>
                  <a:pt x="192" y="592"/>
                  <a:pt x="191" y="592"/>
                  <a:pt x="190" y="592"/>
                </a:cubicBezTo>
                <a:cubicBezTo>
                  <a:pt x="188" y="592"/>
                  <a:pt x="189" y="593"/>
                  <a:pt x="189" y="595"/>
                </a:cubicBezTo>
                <a:cubicBezTo>
                  <a:pt x="187" y="593"/>
                  <a:pt x="188" y="595"/>
                  <a:pt x="189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1" y="597"/>
                  <a:pt x="191" y="596"/>
                </a:cubicBezTo>
                <a:cubicBezTo>
                  <a:pt x="190" y="597"/>
                  <a:pt x="192" y="594"/>
                  <a:pt x="193" y="596"/>
                </a:cubicBezTo>
                <a:cubicBezTo>
                  <a:pt x="193" y="596"/>
                  <a:pt x="190" y="600"/>
                  <a:pt x="193" y="600"/>
                </a:cubicBezTo>
                <a:cubicBezTo>
                  <a:pt x="187" y="601"/>
                  <a:pt x="195" y="604"/>
                  <a:pt x="197" y="605"/>
                </a:cubicBezTo>
                <a:cubicBezTo>
                  <a:pt x="198" y="606"/>
                  <a:pt x="198" y="608"/>
                  <a:pt x="198" y="609"/>
                </a:cubicBezTo>
                <a:cubicBezTo>
                  <a:pt x="199" y="610"/>
                  <a:pt x="200" y="610"/>
                  <a:pt x="199" y="611"/>
                </a:cubicBezTo>
                <a:cubicBezTo>
                  <a:pt x="199" y="611"/>
                  <a:pt x="199" y="611"/>
                  <a:pt x="199" y="611"/>
                </a:cubicBezTo>
                <a:cubicBezTo>
                  <a:pt x="200" y="612"/>
                  <a:pt x="200" y="613"/>
                  <a:pt x="201" y="613"/>
                </a:cubicBezTo>
                <a:cubicBezTo>
                  <a:pt x="201" y="613"/>
                  <a:pt x="201" y="613"/>
                  <a:pt x="202" y="613"/>
                </a:cubicBezTo>
                <a:cubicBezTo>
                  <a:pt x="202" y="613"/>
                  <a:pt x="202" y="613"/>
                  <a:pt x="202" y="612"/>
                </a:cubicBezTo>
                <a:cubicBezTo>
                  <a:pt x="203" y="611"/>
                  <a:pt x="204" y="611"/>
                  <a:pt x="206" y="611"/>
                </a:cubicBezTo>
                <a:cubicBezTo>
                  <a:pt x="207" y="611"/>
                  <a:pt x="208" y="612"/>
                  <a:pt x="208" y="613"/>
                </a:cubicBezTo>
                <a:cubicBezTo>
                  <a:pt x="209" y="613"/>
                  <a:pt x="209" y="612"/>
                  <a:pt x="211" y="612"/>
                </a:cubicBezTo>
                <a:cubicBezTo>
                  <a:pt x="211" y="613"/>
                  <a:pt x="210" y="613"/>
                  <a:pt x="208" y="613"/>
                </a:cubicBezTo>
                <a:cubicBezTo>
                  <a:pt x="208" y="614"/>
                  <a:pt x="208" y="615"/>
                  <a:pt x="207" y="615"/>
                </a:cubicBezTo>
                <a:cubicBezTo>
                  <a:pt x="209" y="616"/>
                  <a:pt x="211" y="616"/>
                  <a:pt x="211" y="616"/>
                </a:cubicBezTo>
                <a:cubicBezTo>
                  <a:pt x="211" y="616"/>
                  <a:pt x="211" y="616"/>
                  <a:pt x="212" y="616"/>
                </a:cubicBezTo>
                <a:cubicBezTo>
                  <a:pt x="211" y="615"/>
                  <a:pt x="210" y="615"/>
                  <a:pt x="209" y="615"/>
                </a:cubicBezTo>
                <a:cubicBezTo>
                  <a:pt x="210" y="614"/>
                  <a:pt x="211" y="614"/>
                  <a:pt x="213" y="615"/>
                </a:cubicBezTo>
                <a:cubicBezTo>
                  <a:pt x="213" y="614"/>
                  <a:pt x="213" y="614"/>
                  <a:pt x="213" y="614"/>
                </a:cubicBezTo>
                <a:cubicBezTo>
                  <a:pt x="213" y="614"/>
                  <a:pt x="214" y="612"/>
                  <a:pt x="215" y="613"/>
                </a:cubicBezTo>
                <a:cubicBezTo>
                  <a:pt x="216" y="612"/>
                  <a:pt x="216" y="612"/>
                  <a:pt x="217" y="613"/>
                </a:cubicBezTo>
                <a:cubicBezTo>
                  <a:pt x="217" y="613"/>
                  <a:pt x="216" y="613"/>
                  <a:pt x="216" y="614"/>
                </a:cubicBezTo>
                <a:cubicBezTo>
                  <a:pt x="216" y="614"/>
                  <a:pt x="217" y="616"/>
                  <a:pt x="216" y="615"/>
                </a:cubicBezTo>
                <a:cubicBezTo>
                  <a:pt x="216" y="615"/>
                  <a:pt x="215" y="615"/>
                  <a:pt x="215" y="615"/>
                </a:cubicBezTo>
                <a:cubicBezTo>
                  <a:pt x="215" y="614"/>
                  <a:pt x="215" y="614"/>
                  <a:pt x="215" y="614"/>
                </a:cubicBezTo>
                <a:cubicBezTo>
                  <a:pt x="215" y="614"/>
                  <a:pt x="214" y="615"/>
                  <a:pt x="214" y="615"/>
                </a:cubicBezTo>
                <a:cubicBezTo>
                  <a:pt x="215" y="615"/>
                  <a:pt x="216" y="616"/>
                  <a:pt x="216" y="616"/>
                </a:cubicBezTo>
                <a:cubicBezTo>
                  <a:pt x="216" y="617"/>
                  <a:pt x="215" y="616"/>
                  <a:pt x="214" y="616"/>
                </a:cubicBezTo>
                <a:cubicBezTo>
                  <a:pt x="214" y="616"/>
                  <a:pt x="214" y="617"/>
                  <a:pt x="214" y="617"/>
                </a:cubicBezTo>
                <a:cubicBezTo>
                  <a:pt x="215" y="617"/>
                  <a:pt x="216" y="616"/>
                  <a:pt x="216" y="616"/>
                </a:cubicBezTo>
                <a:cubicBezTo>
                  <a:pt x="217" y="617"/>
                  <a:pt x="218" y="620"/>
                  <a:pt x="220" y="618"/>
                </a:cubicBezTo>
                <a:cubicBezTo>
                  <a:pt x="220" y="618"/>
                  <a:pt x="219" y="617"/>
                  <a:pt x="219" y="617"/>
                </a:cubicBezTo>
                <a:cubicBezTo>
                  <a:pt x="219" y="617"/>
                  <a:pt x="219" y="617"/>
                  <a:pt x="219" y="617"/>
                </a:cubicBezTo>
                <a:cubicBezTo>
                  <a:pt x="219" y="617"/>
                  <a:pt x="219" y="617"/>
                  <a:pt x="218" y="617"/>
                </a:cubicBezTo>
                <a:cubicBezTo>
                  <a:pt x="218" y="616"/>
                  <a:pt x="219" y="615"/>
                  <a:pt x="220" y="616"/>
                </a:cubicBezTo>
                <a:cubicBezTo>
                  <a:pt x="220" y="616"/>
                  <a:pt x="220" y="616"/>
                  <a:pt x="220" y="616"/>
                </a:cubicBezTo>
                <a:cubicBezTo>
                  <a:pt x="221" y="615"/>
                  <a:pt x="224" y="617"/>
                  <a:pt x="225" y="617"/>
                </a:cubicBezTo>
                <a:cubicBezTo>
                  <a:pt x="223" y="618"/>
                  <a:pt x="225" y="619"/>
                  <a:pt x="226" y="620"/>
                </a:cubicBezTo>
                <a:cubicBezTo>
                  <a:pt x="227" y="619"/>
                  <a:pt x="229" y="618"/>
                  <a:pt x="231" y="618"/>
                </a:cubicBezTo>
                <a:cubicBezTo>
                  <a:pt x="230" y="619"/>
                  <a:pt x="228" y="620"/>
                  <a:pt x="226" y="620"/>
                </a:cubicBezTo>
                <a:cubicBezTo>
                  <a:pt x="227" y="621"/>
                  <a:pt x="227" y="621"/>
                  <a:pt x="226" y="622"/>
                </a:cubicBezTo>
                <a:cubicBezTo>
                  <a:pt x="225" y="624"/>
                  <a:pt x="222" y="622"/>
                  <a:pt x="221" y="624"/>
                </a:cubicBezTo>
                <a:cubicBezTo>
                  <a:pt x="220" y="624"/>
                  <a:pt x="222" y="624"/>
                  <a:pt x="222" y="624"/>
                </a:cubicBezTo>
                <a:cubicBezTo>
                  <a:pt x="221" y="626"/>
                  <a:pt x="219" y="627"/>
                  <a:pt x="222" y="628"/>
                </a:cubicBezTo>
                <a:cubicBezTo>
                  <a:pt x="222" y="628"/>
                  <a:pt x="227" y="629"/>
                  <a:pt x="228" y="629"/>
                </a:cubicBezTo>
                <a:cubicBezTo>
                  <a:pt x="231" y="629"/>
                  <a:pt x="233" y="629"/>
                  <a:pt x="235" y="631"/>
                </a:cubicBezTo>
                <a:cubicBezTo>
                  <a:pt x="232" y="631"/>
                  <a:pt x="231" y="632"/>
                  <a:pt x="228" y="633"/>
                </a:cubicBezTo>
                <a:cubicBezTo>
                  <a:pt x="228" y="633"/>
                  <a:pt x="229" y="633"/>
                  <a:pt x="229" y="633"/>
                </a:cubicBezTo>
                <a:cubicBezTo>
                  <a:pt x="229" y="633"/>
                  <a:pt x="228" y="633"/>
                  <a:pt x="228" y="633"/>
                </a:cubicBezTo>
                <a:cubicBezTo>
                  <a:pt x="228" y="633"/>
                  <a:pt x="228" y="633"/>
                  <a:pt x="227" y="633"/>
                </a:cubicBezTo>
                <a:cubicBezTo>
                  <a:pt x="224" y="633"/>
                  <a:pt x="221" y="630"/>
                  <a:pt x="218" y="630"/>
                </a:cubicBezTo>
                <a:cubicBezTo>
                  <a:pt x="218" y="630"/>
                  <a:pt x="215" y="633"/>
                  <a:pt x="214" y="633"/>
                </a:cubicBezTo>
                <a:cubicBezTo>
                  <a:pt x="213" y="633"/>
                  <a:pt x="212" y="632"/>
                  <a:pt x="212" y="633"/>
                </a:cubicBezTo>
                <a:cubicBezTo>
                  <a:pt x="212" y="633"/>
                  <a:pt x="213" y="633"/>
                  <a:pt x="213" y="634"/>
                </a:cubicBezTo>
                <a:cubicBezTo>
                  <a:pt x="213" y="634"/>
                  <a:pt x="213" y="634"/>
                  <a:pt x="214" y="634"/>
                </a:cubicBezTo>
                <a:cubicBezTo>
                  <a:pt x="214" y="633"/>
                  <a:pt x="215" y="633"/>
                  <a:pt x="216" y="633"/>
                </a:cubicBezTo>
                <a:cubicBezTo>
                  <a:pt x="216" y="633"/>
                  <a:pt x="217" y="633"/>
                  <a:pt x="217" y="633"/>
                </a:cubicBezTo>
                <a:cubicBezTo>
                  <a:pt x="217" y="633"/>
                  <a:pt x="217" y="633"/>
                  <a:pt x="217" y="633"/>
                </a:cubicBezTo>
                <a:cubicBezTo>
                  <a:pt x="218" y="633"/>
                  <a:pt x="219" y="633"/>
                  <a:pt x="219" y="634"/>
                </a:cubicBezTo>
                <a:cubicBezTo>
                  <a:pt x="219" y="634"/>
                  <a:pt x="219" y="635"/>
                  <a:pt x="218" y="635"/>
                </a:cubicBezTo>
                <a:cubicBezTo>
                  <a:pt x="218" y="636"/>
                  <a:pt x="217" y="637"/>
                  <a:pt x="216" y="637"/>
                </a:cubicBezTo>
                <a:cubicBezTo>
                  <a:pt x="215" y="637"/>
                  <a:pt x="213" y="636"/>
                  <a:pt x="213" y="635"/>
                </a:cubicBezTo>
                <a:cubicBezTo>
                  <a:pt x="213" y="635"/>
                  <a:pt x="213" y="635"/>
                  <a:pt x="213" y="635"/>
                </a:cubicBezTo>
                <a:cubicBezTo>
                  <a:pt x="213" y="636"/>
                  <a:pt x="211" y="636"/>
                  <a:pt x="210" y="636"/>
                </a:cubicBezTo>
                <a:cubicBezTo>
                  <a:pt x="210" y="636"/>
                  <a:pt x="210" y="637"/>
                  <a:pt x="211" y="637"/>
                </a:cubicBezTo>
                <a:cubicBezTo>
                  <a:pt x="211" y="637"/>
                  <a:pt x="211" y="637"/>
                  <a:pt x="211" y="637"/>
                </a:cubicBezTo>
                <a:cubicBezTo>
                  <a:pt x="212" y="637"/>
                  <a:pt x="211" y="637"/>
                  <a:pt x="211" y="637"/>
                </a:cubicBezTo>
                <a:cubicBezTo>
                  <a:pt x="212" y="639"/>
                  <a:pt x="215" y="640"/>
                  <a:pt x="216" y="641"/>
                </a:cubicBezTo>
                <a:cubicBezTo>
                  <a:pt x="214" y="641"/>
                  <a:pt x="214" y="642"/>
                  <a:pt x="214" y="642"/>
                </a:cubicBezTo>
                <a:cubicBezTo>
                  <a:pt x="216" y="641"/>
                  <a:pt x="219" y="642"/>
                  <a:pt x="216" y="643"/>
                </a:cubicBezTo>
                <a:cubicBezTo>
                  <a:pt x="216" y="643"/>
                  <a:pt x="216" y="644"/>
                  <a:pt x="216" y="644"/>
                </a:cubicBezTo>
                <a:cubicBezTo>
                  <a:pt x="216" y="644"/>
                  <a:pt x="217" y="644"/>
                  <a:pt x="217" y="645"/>
                </a:cubicBezTo>
                <a:cubicBezTo>
                  <a:pt x="219" y="644"/>
                  <a:pt x="222" y="643"/>
                  <a:pt x="224" y="643"/>
                </a:cubicBezTo>
                <a:cubicBezTo>
                  <a:pt x="228" y="642"/>
                  <a:pt x="223" y="645"/>
                  <a:pt x="221" y="645"/>
                </a:cubicBezTo>
                <a:cubicBezTo>
                  <a:pt x="220" y="645"/>
                  <a:pt x="218" y="646"/>
                  <a:pt x="216" y="646"/>
                </a:cubicBezTo>
                <a:cubicBezTo>
                  <a:pt x="216" y="647"/>
                  <a:pt x="216" y="647"/>
                  <a:pt x="215" y="647"/>
                </a:cubicBezTo>
                <a:cubicBezTo>
                  <a:pt x="215" y="647"/>
                  <a:pt x="214" y="647"/>
                  <a:pt x="214" y="647"/>
                </a:cubicBezTo>
                <a:cubicBezTo>
                  <a:pt x="212" y="648"/>
                  <a:pt x="211" y="648"/>
                  <a:pt x="210" y="649"/>
                </a:cubicBezTo>
                <a:cubicBezTo>
                  <a:pt x="209" y="650"/>
                  <a:pt x="208" y="651"/>
                  <a:pt x="208" y="652"/>
                </a:cubicBezTo>
                <a:cubicBezTo>
                  <a:pt x="209" y="652"/>
                  <a:pt x="209" y="652"/>
                  <a:pt x="210" y="653"/>
                </a:cubicBezTo>
                <a:cubicBezTo>
                  <a:pt x="210" y="653"/>
                  <a:pt x="210" y="653"/>
                  <a:pt x="210" y="653"/>
                </a:cubicBezTo>
                <a:cubicBezTo>
                  <a:pt x="210" y="653"/>
                  <a:pt x="210" y="653"/>
                  <a:pt x="211" y="653"/>
                </a:cubicBezTo>
                <a:cubicBezTo>
                  <a:pt x="211" y="653"/>
                  <a:pt x="213" y="654"/>
                  <a:pt x="213" y="654"/>
                </a:cubicBezTo>
                <a:cubicBezTo>
                  <a:pt x="213" y="654"/>
                  <a:pt x="213" y="655"/>
                  <a:pt x="213" y="655"/>
                </a:cubicBezTo>
                <a:cubicBezTo>
                  <a:pt x="213" y="656"/>
                  <a:pt x="212" y="657"/>
                  <a:pt x="210" y="657"/>
                </a:cubicBezTo>
                <a:cubicBezTo>
                  <a:pt x="210" y="658"/>
                  <a:pt x="210" y="658"/>
                  <a:pt x="209" y="659"/>
                </a:cubicBezTo>
                <a:cubicBezTo>
                  <a:pt x="209" y="659"/>
                  <a:pt x="209" y="659"/>
                  <a:pt x="209" y="659"/>
                </a:cubicBezTo>
                <a:cubicBezTo>
                  <a:pt x="210" y="660"/>
                  <a:pt x="212" y="660"/>
                  <a:pt x="213" y="660"/>
                </a:cubicBezTo>
                <a:cubicBezTo>
                  <a:pt x="214" y="660"/>
                  <a:pt x="216" y="660"/>
                  <a:pt x="216" y="661"/>
                </a:cubicBezTo>
                <a:cubicBezTo>
                  <a:pt x="217" y="662"/>
                  <a:pt x="218" y="663"/>
                  <a:pt x="218" y="663"/>
                </a:cubicBezTo>
                <a:cubicBezTo>
                  <a:pt x="218" y="663"/>
                  <a:pt x="219" y="663"/>
                  <a:pt x="220" y="664"/>
                </a:cubicBezTo>
                <a:cubicBezTo>
                  <a:pt x="221" y="665"/>
                  <a:pt x="221" y="667"/>
                  <a:pt x="219" y="667"/>
                </a:cubicBezTo>
                <a:cubicBezTo>
                  <a:pt x="219" y="667"/>
                  <a:pt x="219" y="667"/>
                  <a:pt x="219" y="667"/>
                </a:cubicBezTo>
                <a:cubicBezTo>
                  <a:pt x="219" y="668"/>
                  <a:pt x="219" y="668"/>
                  <a:pt x="219" y="669"/>
                </a:cubicBezTo>
                <a:cubicBezTo>
                  <a:pt x="220" y="669"/>
                  <a:pt x="221" y="668"/>
                  <a:pt x="222" y="669"/>
                </a:cubicBezTo>
                <a:cubicBezTo>
                  <a:pt x="222" y="668"/>
                  <a:pt x="223" y="667"/>
                  <a:pt x="223" y="667"/>
                </a:cubicBezTo>
                <a:cubicBezTo>
                  <a:pt x="223" y="667"/>
                  <a:pt x="225" y="666"/>
                  <a:pt x="226" y="666"/>
                </a:cubicBezTo>
                <a:cubicBezTo>
                  <a:pt x="227" y="664"/>
                  <a:pt x="228" y="664"/>
                  <a:pt x="229" y="664"/>
                </a:cubicBezTo>
                <a:cubicBezTo>
                  <a:pt x="230" y="664"/>
                  <a:pt x="229" y="663"/>
                  <a:pt x="230" y="663"/>
                </a:cubicBezTo>
                <a:cubicBezTo>
                  <a:pt x="231" y="662"/>
                  <a:pt x="232" y="664"/>
                  <a:pt x="232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4" y="663"/>
                </a:cubicBezTo>
                <a:cubicBezTo>
                  <a:pt x="235" y="664"/>
                  <a:pt x="235" y="662"/>
                  <a:pt x="236" y="663"/>
                </a:cubicBezTo>
                <a:cubicBezTo>
                  <a:pt x="236" y="663"/>
                  <a:pt x="235" y="664"/>
                  <a:pt x="235" y="664"/>
                </a:cubicBezTo>
                <a:cubicBezTo>
                  <a:pt x="236" y="665"/>
                  <a:pt x="241" y="668"/>
                  <a:pt x="241" y="670"/>
                </a:cubicBezTo>
                <a:cubicBezTo>
                  <a:pt x="241" y="672"/>
                  <a:pt x="236" y="672"/>
                  <a:pt x="235" y="674"/>
                </a:cubicBezTo>
                <a:cubicBezTo>
                  <a:pt x="235" y="675"/>
                  <a:pt x="236" y="676"/>
                  <a:pt x="235" y="677"/>
                </a:cubicBezTo>
                <a:cubicBezTo>
                  <a:pt x="233" y="677"/>
                  <a:pt x="234" y="675"/>
                  <a:pt x="233" y="675"/>
                </a:cubicBezTo>
                <a:cubicBezTo>
                  <a:pt x="232" y="674"/>
                  <a:pt x="227" y="674"/>
                  <a:pt x="225" y="673"/>
                </a:cubicBezTo>
                <a:cubicBezTo>
                  <a:pt x="225" y="673"/>
                  <a:pt x="224" y="672"/>
                  <a:pt x="223" y="672"/>
                </a:cubicBezTo>
                <a:cubicBezTo>
                  <a:pt x="221" y="673"/>
                  <a:pt x="217" y="673"/>
                  <a:pt x="217" y="674"/>
                </a:cubicBezTo>
                <a:cubicBezTo>
                  <a:pt x="216" y="674"/>
                  <a:pt x="218" y="674"/>
                  <a:pt x="218" y="675"/>
                </a:cubicBezTo>
                <a:cubicBezTo>
                  <a:pt x="217" y="675"/>
                  <a:pt x="216" y="674"/>
                  <a:pt x="215" y="674"/>
                </a:cubicBezTo>
                <a:cubicBezTo>
                  <a:pt x="213" y="674"/>
                  <a:pt x="210" y="675"/>
                  <a:pt x="207" y="675"/>
                </a:cubicBezTo>
                <a:cubicBezTo>
                  <a:pt x="208" y="676"/>
                  <a:pt x="208" y="677"/>
                  <a:pt x="208" y="677"/>
                </a:cubicBezTo>
                <a:cubicBezTo>
                  <a:pt x="209" y="677"/>
                  <a:pt x="209" y="676"/>
                  <a:pt x="209" y="676"/>
                </a:cubicBezTo>
                <a:cubicBezTo>
                  <a:pt x="210" y="676"/>
                  <a:pt x="212" y="677"/>
                  <a:pt x="214" y="679"/>
                </a:cubicBezTo>
                <a:cubicBezTo>
                  <a:pt x="215" y="679"/>
                  <a:pt x="216" y="679"/>
                  <a:pt x="216" y="679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7" y="681"/>
                  <a:pt x="216" y="682"/>
                  <a:pt x="216" y="682"/>
                </a:cubicBezTo>
                <a:cubicBezTo>
                  <a:pt x="218" y="684"/>
                  <a:pt x="222" y="683"/>
                  <a:pt x="224" y="683"/>
                </a:cubicBezTo>
                <a:cubicBezTo>
                  <a:pt x="224" y="683"/>
                  <a:pt x="224" y="684"/>
                  <a:pt x="225" y="684"/>
                </a:cubicBezTo>
                <a:cubicBezTo>
                  <a:pt x="225" y="684"/>
                  <a:pt x="225" y="684"/>
                  <a:pt x="225" y="684"/>
                </a:cubicBezTo>
                <a:cubicBezTo>
                  <a:pt x="225" y="683"/>
                  <a:pt x="230" y="681"/>
                  <a:pt x="231" y="682"/>
                </a:cubicBezTo>
                <a:cubicBezTo>
                  <a:pt x="232" y="684"/>
                  <a:pt x="231" y="686"/>
                  <a:pt x="229" y="686"/>
                </a:cubicBezTo>
                <a:cubicBezTo>
                  <a:pt x="229" y="686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30" y="688"/>
                  <a:pt x="231" y="688"/>
                  <a:pt x="232" y="687"/>
                </a:cubicBezTo>
                <a:cubicBezTo>
                  <a:pt x="232" y="687"/>
                  <a:pt x="232" y="687"/>
                  <a:pt x="232" y="687"/>
                </a:cubicBezTo>
                <a:cubicBezTo>
                  <a:pt x="232" y="687"/>
                  <a:pt x="233" y="686"/>
                  <a:pt x="233" y="686"/>
                </a:cubicBezTo>
                <a:cubicBezTo>
                  <a:pt x="234" y="685"/>
                  <a:pt x="237" y="685"/>
                  <a:pt x="239" y="683"/>
                </a:cubicBezTo>
                <a:cubicBezTo>
                  <a:pt x="240" y="682"/>
                  <a:pt x="243" y="680"/>
                  <a:pt x="244" y="680"/>
                </a:cubicBezTo>
                <a:cubicBezTo>
                  <a:pt x="245" y="681"/>
                  <a:pt x="245" y="682"/>
                  <a:pt x="246" y="683"/>
                </a:cubicBezTo>
                <a:cubicBezTo>
                  <a:pt x="246" y="683"/>
                  <a:pt x="246" y="682"/>
                  <a:pt x="247" y="682"/>
                </a:cubicBezTo>
                <a:cubicBezTo>
                  <a:pt x="248" y="682"/>
                  <a:pt x="249" y="683"/>
                  <a:pt x="249" y="684"/>
                </a:cubicBezTo>
                <a:cubicBezTo>
                  <a:pt x="250" y="684"/>
                  <a:pt x="251" y="684"/>
                  <a:pt x="251" y="685"/>
                </a:cubicBezTo>
                <a:cubicBezTo>
                  <a:pt x="251" y="685"/>
                  <a:pt x="250" y="686"/>
                  <a:pt x="249" y="686"/>
                </a:cubicBezTo>
                <a:cubicBezTo>
                  <a:pt x="248" y="687"/>
                  <a:pt x="247" y="688"/>
                  <a:pt x="246" y="686"/>
                </a:cubicBezTo>
                <a:cubicBezTo>
                  <a:pt x="246" y="685"/>
                  <a:pt x="246" y="686"/>
                  <a:pt x="246" y="687"/>
                </a:cubicBezTo>
                <a:cubicBezTo>
                  <a:pt x="247" y="688"/>
                  <a:pt x="248" y="688"/>
                  <a:pt x="248" y="689"/>
                </a:cubicBezTo>
                <a:cubicBezTo>
                  <a:pt x="248" y="690"/>
                  <a:pt x="247" y="690"/>
                  <a:pt x="245" y="691"/>
                </a:cubicBezTo>
                <a:cubicBezTo>
                  <a:pt x="247" y="692"/>
                  <a:pt x="248" y="693"/>
                  <a:pt x="248" y="694"/>
                </a:cubicBezTo>
                <a:cubicBezTo>
                  <a:pt x="248" y="694"/>
                  <a:pt x="247" y="696"/>
                  <a:pt x="246" y="697"/>
                </a:cubicBezTo>
                <a:cubicBezTo>
                  <a:pt x="252" y="699"/>
                  <a:pt x="257" y="700"/>
                  <a:pt x="263" y="702"/>
                </a:cubicBezTo>
                <a:cubicBezTo>
                  <a:pt x="263" y="702"/>
                  <a:pt x="263" y="702"/>
                  <a:pt x="264" y="701"/>
                </a:cubicBezTo>
                <a:cubicBezTo>
                  <a:pt x="264" y="701"/>
                  <a:pt x="265" y="702"/>
                  <a:pt x="266" y="702"/>
                </a:cubicBezTo>
                <a:cubicBezTo>
                  <a:pt x="267" y="702"/>
                  <a:pt x="267" y="701"/>
                  <a:pt x="268" y="701"/>
                </a:cubicBezTo>
                <a:cubicBezTo>
                  <a:pt x="269" y="701"/>
                  <a:pt x="271" y="702"/>
                  <a:pt x="273" y="702"/>
                </a:cubicBezTo>
                <a:cubicBezTo>
                  <a:pt x="274" y="703"/>
                  <a:pt x="274" y="702"/>
                  <a:pt x="274" y="703"/>
                </a:cubicBezTo>
                <a:cubicBezTo>
                  <a:pt x="275" y="703"/>
                  <a:pt x="274" y="704"/>
                  <a:pt x="274" y="705"/>
                </a:cubicBezTo>
                <a:cubicBezTo>
                  <a:pt x="281" y="707"/>
                  <a:pt x="289" y="708"/>
                  <a:pt x="296" y="709"/>
                </a:cubicBezTo>
                <a:cubicBezTo>
                  <a:pt x="297" y="708"/>
                  <a:pt x="297" y="708"/>
                  <a:pt x="298" y="707"/>
                </a:cubicBezTo>
                <a:cubicBezTo>
                  <a:pt x="298" y="707"/>
                  <a:pt x="304" y="707"/>
                  <a:pt x="305" y="707"/>
                </a:cubicBezTo>
                <a:cubicBezTo>
                  <a:pt x="306" y="707"/>
                  <a:pt x="307" y="708"/>
                  <a:pt x="308" y="708"/>
                </a:cubicBezTo>
                <a:cubicBezTo>
                  <a:pt x="307" y="708"/>
                  <a:pt x="307" y="708"/>
                  <a:pt x="307" y="707"/>
                </a:cubicBezTo>
                <a:cubicBezTo>
                  <a:pt x="306" y="706"/>
                  <a:pt x="306" y="704"/>
                  <a:pt x="307" y="703"/>
                </a:cubicBezTo>
                <a:cubicBezTo>
                  <a:pt x="311" y="699"/>
                  <a:pt x="321" y="702"/>
                  <a:pt x="325" y="704"/>
                </a:cubicBezTo>
                <a:cubicBezTo>
                  <a:pt x="325" y="703"/>
                  <a:pt x="325" y="703"/>
                  <a:pt x="325" y="702"/>
                </a:cubicBezTo>
                <a:cubicBezTo>
                  <a:pt x="326" y="699"/>
                  <a:pt x="334" y="701"/>
                  <a:pt x="334" y="704"/>
                </a:cubicBezTo>
                <a:cubicBezTo>
                  <a:pt x="334" y="704"/>
                  <a:pt x="336" y="705"/>
                  <a:pt x="336" y="705"/>
                </a:cubicBezTo>
                <a:cubicBezTo>
                  <a:pt x="336" y="706"/>
                  <a:pt x="334" y="706"/>
                  <a:pt x="334" y="705"/>
                </a:cubicBezTo>
                <a:cubicBezTo>
                  <a:pt x="333" y="706"/>
                  <a:pt x="330" y="707"/>
                  <a:pt x="328" y="706"/>
                </a:cubicBezTo>
                <a:cubicBezTo>
                  <a:pt x="327" y="706"/>
                  <a:pt x="325" y="706"/>
                  <a:pt x="324" y="708"/>
                </a:cubicBezTo>
                <a:cubicBezTo>
                  <a:pt x="324" y="708"/>
                  <a:pt x="324" y="710"/>
                  <a:pt x="324" y="710"/>
                </a:cubicBezTo>
                <a:cubicBezTo>
                  <a:pt x="323" y="711"/>
                  <a:pt x="321" y="711"/>
                  <a:pt x="321" y="711"/>
                </a:cubicBezTo>
                <a:cubicBezTo>
                  <a:pt x="321" y="712"/>
                  <a:pt x="322" y="713"/>
                  <a:pt x="323" y="713"/>
                </a:cubicBezTo>
                <a:cubicBezTo>
                  <a:pt x="328" y="713"/>
                  <a:pt x="334" y="714"/>
                  <a:pt x="339" y="714"/>
                </a:cubicBezTo>
                <a:cubicBezTo>
                  <a:pt x="338" y="712"/>
                  <a:pt x="340" y="712"/>
                  <a:pt x="342" y="712"/>
                </a:cubicBezTo>
                <a:cubicBezTo>
                  <a:pt x="342" y="712"/>
                  <a:pt x="343" y="712"/>
                  <a:pt x="344" y="712"/>
                </a:cubicBezTo>
                <a:cubicBezTo>
                  <a:pt x="344" y="712"/>
                  <a:pt x="344" y="713"/>
                  <a:pt x="344" y="713"/>
                </a:cubicBezTo>
                <a:cubicBezTo>
                  <a:pt x="344" y="713"/>
                  <a:pt x="345" y="713"/>
                  <a:pt x="345" y="714"/>
                </a:cubicBezTo>
                <a:cubicBezTo>
                  <a:pt x="345" y="714"/>
                  <a:pt x="346" y="714"/>
                  <a:pt x="346" y="714"/>
                </a:cubicBezTo>
                <a:cubicBezTo>
                  <a:pt x="346" y="713"/>
                  <a:pt x="347" y="712"/>
                  <a:pt x="347" y="712"/>
                </a:cubicBezTo>
                <a:cubicBezTo>
                  <a:pt x="348" y="712"/>
                  <a:pt x="349" y="712"/>
                  <a:pt x="349" y="712"/>
                </a:cubicBezTo>
                <a:cubicBezTo>
                  <a:pt x="350" y="712"/>
                  <a:pt x="351" y="711"/>
                  <a:pt x="352" y="711"/>
                </a:cubicBezTo>
                <a:cubicBezTo>
                  <a:pt x="352" y="710"/>
                  <a:pt x="352" y="710"/>
                  <a:pt x="354" y="709"/>
                </a:cubicBezTo>
                <a:cubicBezTo>
                  <a:pt x="355" y="709"/>
                  <a:pt x="355" y="708"/>
                  <a:pt x="357" y="708"/>
                </a:cubicBezTo>
                <a:cubicBezTo>
                  <a:pt x="360" y="707"/>
                  <a:pt x="365" y="706"/>
                  <a:pt x="369" y="705"/>
                </a:cubicBezTo>
                <a:cubicBezTo>
                  <a:pt x="370" y="705"/>
                  <a:pt x="370" y="705"/>
                  <a:pt x="370" y="705"/>
                </a:cubicBezTo>
                <a:cubicBezTo>
                  <a:pt x="370" y="705"/>
                  <a:pt x="369" y="705"/>
                  <a:pt x="369" y="705"/>
                </a:cubicBezTo>
                <a:cubicBezTo>
                  <a:pt x="368" y="705"/>
                  <a:pt x="367" y="704"/>
                  <a:pt x="366" y="702"/>
                </a:cubicBezTo>
                <a:cubicBezTo>
                  <a:pt x="365" y="702"/>
                  <a:pt x="365" y="702"/>
                  <a:pt x="365" y="701"/>
                </a:cubicBezTo>
                <a:cubicBezTo>
                  <a:pt x="365" y="700"/>
                  <a:pt x="364" y="699"/>
                  <a:pt x="365" y="698"/>
                </a:cubicBezTo>
                <a:cubicBezTo>
                  <a:pt x="366" y="692"/>
                  <a:pt x="379" y="693"/>
                  <a:pt x="384" y="696"/>
                </a:cubicBezTo>
                <a:cubicBezTo>
                  <a:pt x="386" y="697"/>
                  <a:pt x="387" y="699"/>
                  <a:pt x="388" y="701"/>
                </a:cubicBezTo>
                <a:cubicBezTo>
                  <a:pt x="390" y="700"/>
                  <a:pt x="392" y="699"/>
                  <a:pt x="392" y="700"/>
                </a:cubicBezTo>
                <a:cubicBezTo>
                  <a:pt x="393" y="701"/>
                  <a:pt x="391" y="702"/>
                  <a:pt x="389" y="702"/>
                </a:cubicBezTo>
                <a:cubicBezTo>
                  <a:pt x="389" y="702"/>
                  <a:pt x="389" y="702"/>
                  <a:pt x="389" y="702"/>
                </a:cubicBezTo>
                <a:cubicBezTo>
                  <a:pt x="390" y="703"/>
                  <a:pt x="391" y="704"/>
                  <a:pt x="391" y="704"/>
                </a:cubicBezTo>
                <a:cubicBezTo>
                  <a:pt x="391" y="706"/>
                  <a:pt x="387" y="707"/>
                  <a:pt x="383" y="708"/>
                </a:cubicBezTo>
                <a:cubicBezTo>
                  <a:pt x="388" y="708"/>
                  <a:pt x="395" y="708"/>
                  <a:pt x="399" y="708"/>
                </a:cubicBezTo>
                <a:cubicBezTo>
                  <a:pt x="399" y="708"/>
                  <a:pt x="406" y="707"/>
                  <a:pt x="406" y="708"/>
                </a:cubicBezTo>
                <a:cubicBezTo>
                  <a:pt x="407" y="710"/>
                  <a:pt x="401" y="709"/>
                  <a:pt x="400" y="709"/>
                </a:cubicBezTo>
                <a:cubicBezTo>
                  <a:pt x="394" y="709"/>
                  <a:pt x="384" y="709"/>
                  <a:pt x="378" y="709"/>
                </a:cubicBezTo>
                <a:cubicBezTo>
                  <a:pt x="378" y="709"/>
                  <a:pt x="377" y="709"/>
                  <a:pt x="377" y="709"/>
                </a:cubicBezTo>
                <a:cubicBezTo>
                  <a:pt x="377" y="709"/>
                  <a:pt x="377" y="709"/>
                  <a:pt x="377" y="708"/>
                </a:cubicBezTo>
                <a:cubicBezTo>
                  <a:pt x="378" y="708"/>
                  <a:pt x="378" y="708"/>
                  <a:pt x="379" y="708"/>
                </a:cubicBezTo>
                <a:cubicBezTo>
                  <a:pt x="377" y="708"/>
                  <a:pt x="376" y="708"/>
                  <a:pt x="375" y="708"/>
                </a:cubicBezTo>
                <a:cubicBezTo>
                  <a:pt x="374" y="708"/>
                  <a:pt x="374" y="709"/>
                  <a:pt x="373" y="709"/>
                </a:cubicBezTo>
                <a:cubicBezTo>
                  <a:pt x="373" y="709"/>
                  <a:pt x="372" y="709"/>
                  <a:pt x="372" y="709"/>
                </a:cubicBezTo>
                <a:cubicBezTo>
                  <a:pt x="372" y="709"/>
                  <a:pt x="371" y="710"/>
                  <a:pt x="370" y="710"/>
                </a:cubicBezTo>
                <a:cubicBezTo>
                  <a:pt x="369" y="710"/>
                  <a:pt x="367" y="710"/>
                  <a:pt x="366" y="711"/>
                </a:cubicBezTo>
                <a:cubicBezTo>
                  <a:pt x="364" y="711"/>
                  <a:pt x="363" y="712"/>
                  <a:pt x="361" y="713"/>
                </a:cubicBezTo>
                <a:cubicBezTo>
                  <a:pt x="360" y="713"/>
                  <a:pt x="360" y="713"/>
                  <a:pt x="360" y="713"/>
                </a:cubicBezTo>
                <a:cubicBezTo>
                  <a:pt x="359" y="713"/>
                  <a:pt x="358" y="714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554" y="715"/>
                  <a:pt x="714" y="555"/>
                  <a:pt x="714" y="357"/>
                </a:cubicBezTo>
                <a:cubicBezTo>
                  <a:pt x="714" y="339"/>
                  <a:pt x="713" y="322"/>
                  <a:pt x="710" y="304"/>
                </a:cubicBezTo>
                <a:close/>
                <a:moveTo>
                  <a:pt x="703" y="277"/>
                </a:moveTo>
                <a:cubicBezTo>
                  <a:pt x="704" y="277"/>
                  <a:pt x="703" y="279"/>
                  <a:pt x="702" y="279"/>
                </a:cubicBezTo>
                <a:cubicBezTo>
                  <a:pt x="702" y="278"/>
                  <a:pt x="703" y="278"/>
                  <a:pt x="703" y="277"/>
                </a:cubicBezTo>
                <a:close/>
                <a:moveTo>
                  <a:pt x="702" y="292"/>
                </a:moveTo>
                <a:cubicBezTo>
                  <a:pt x="702" y="292"/>
                  <a:pt x="702" y="292"/>
                  <a:pt x="702" y="292"/>
                </a:cubicBezTo>
                <a:cubicBezTo>
                  <a:pt x="702" y="292"/>
                  <a:pt x="701" y="293"/>
                  <a:pt x="701" y="293"/>
                </a:cubicBezTo>
                <a:cubicBezTo>
                  <a:pt x="701" y="293"/>
                  <a:pt x="701" y="292"/>
                  <a:pt x="702" y="292"/>
                </a:cubicBezTo>
                <a:close/>
                <a:moveTo>
                  <a:pt x="699" y="271"/>
                </a:moveTo>
                <a:cubicBezTo>
                  <a:pt x="697" y="274"/>
                  <a:pt x="700" y="270"/>
                  <a:pt x="699" y="271"/>
                </a:cubicBezTo>
                <a:close/>
                <a:moveTo>
                  <a:pt x="681" y="279"/>
                </a:moveTo>
                <a:cubicBezTo>
                  <a:pt x="681" y="277"/>
                  <a:pt x="683" y="278"/>
                  <a:pt x="681" y="279"/>
                </a:cubicBezTo>
                <a:close/>
                <a:moveTo>
                  <a:pt x="682" y="275"/>
                </a:moveTo>
                <a:cubicBezTo>
                  <a:pt x="683" y="276"/>
                  <a:pt x="681" y="277"/>
                  <a:pt x="682" y="275"/>
                </a:cubicBezTo>
                <a:close/>
                <a:moveTo>
                  <a:pt x="686" y="247"/>
                </a:moveTo>
                <a:cubicBezTo>
                  <a:pt x="687" y="248"/>
                  <a:pt x="687" y="250"/>
                  <a:pt x="687" y="252"/>
                </a:cubicBezTo>
                <a:cubicBezTo>
                  <a:pt x="686" y="251"/>
                  <a:pt x="686" y="249"/>
                  <a:pt x="686" y="247"/>
                </a:cubicBezTo>
                <a:close/>
                <a:moveTo>
                  <a:pt x="680" y="254"/>
                </a:moveTo>
                <a:cubicBezTo>
                  <a:pt x="680" y="255"/>
                  <a:pt x="681" y="252"/>
                  <a:pt x="680" y="254"/>
                </a:cubicBezTo>
                <a:close/>
                <a:moveTo>
                  <a:pt x="684" y="227"/>
                </a:moveTo>
                <a:cubicBezTo>
                  <a:pt x="687" y="230"/>
                  <a:pt x="682" y="233"/>
                  <a:pt x="680" y="234"/>
                </a:cubicBezTo>
                <a:cubicBezTo>
                  <a:pt x="678" y="231"/>
                  <a:pt x="681" y="225"/>
                  <a:pt x="684" y="227"/>
                </a:cubicBezTo>
                <a:close/>
                <a:moveTo>
                  <a:pt x="634" y="190"/>
                </a:moveTo>
                <a:cubicBezTo>
                  <a:pt x="634" y="190"/>
                  <a:pt x="634" y="191"/>
                  <a:pt x="634" y="191"/>
                </a:cubicBezTo>
                <a:cubicBezTo>
                  <a:pt x="635" y="194"/>
                  <a:pt x="630" y="192"/>
                  <a:pt x="634" y="190"/>
                </a:cubicBezTo>
                <a:close/>
                <a:moveTo>
                  <a:pt x="574" y="146"/>
                </a:moveTo>
                <a:cubicBezTo>
                  <a:pt x="575" y="147"/>
                  <a:pt x="573" y="147"/>
                  <a:pt x="573" y="146"/>
                </a:cubicBezTo>
                <a:cubicBezTo>
                  <a:pt x="572" y="146"/>
                  <a:pt x="574" y="145"/>
                  <a:pt x="574" y="146"/>
                </a:cubicBezTo>
                <a:close/>
                <a:moveTo>
                  <a:pt x="571" y="138"/>
                </a:moveTo>
                <a:cubicBezTo>
                  <a:pt x="571" y="138"/>
                  <a:pt x="571" y="138"/>
                  <a:pt x="571" y="138"/>
                </a:cubicBezTo>
                <a:cubicBezTo>
                  <a:pt x="572" y="140"/>
                  <a:pt x="569" y="137"/>
                  <a:pt x="571" y="138"/>
                </a:cubicBezTo>
                <a:close/>
                <a:moveTo>
                  <a:pt x="566" y="136"/>
                </a:moveTo>
                <a:cubicBezTo>
                  <a:pt x="566" y="137"/>
                  <a:pt x="564" y="137"/>
                  <a:pt x="564" y="137"/>
                </a:cubicBezTo>
                <a:cubicBezTo>
                  <a:pt x="564" y="136"/>
                  <a:pt x="566" y="135"/>
                  <a:pt x="566" y="136"/>
                </a:cubicBezTo>
                <a:close/>
                <a:moveTo>
                  <a:pt x="562" y="145"/>
                </a:moveTo>
                <a:cubicBezTo>
                  <a:pt x="563" y="146"/>
                  <a:pt x="562" y="146"/>
                  <a:pt x="562" y="146"/>
                </a:cubicBezTo>
                <a:cubicBezTo>
                  <a:pt x="561" y="145"/>
                  <a:pt x="562" y="145"/>
                  <a:pt x="562" y="145"/>
                </a:cubicBezTo>
                <a:close/>
                <a:moveTo>
                  <a:pt x="549" y="88"/>
                </a:moveTo>
                <a:cubicBezTo>
                  <a:pt x="549" y="88"/>
                  <a:pt x="549" y="88"/>
                  <a:pt x="549" y="88"/>
                </a:cubicBezTo>
                <a:cubicBezTo>
                  <a:pt x="549" y="88"/>
                  <a:pt x="549" y="88"/>
                  <a:pt x="549" y="88"/>
                </a:cubicBezTo>
                <a:close/>
                <a:moveTo>
                  <a:pt x="549" y="88"/>
                </a:moveTo>
                <a:cubicBezTo>
                  <a:pt x="549" y="88"/>
                  <a:pt x="548" y="88"/>
                  <a:pt x="549" y="88"/>
                </a:cubicBezTo>
                <a:close/>
                <a:moveTo>
                  <a:pt x="549" y="90"/>
                </a:moveTo>
                <a:cubicBezTo>
                  <a:pt x="549" y="91"/>
                  <a:pt x="548" y="91"/>
                  <a:pt x="548" y="91"/>
                </a:cubicBezTo>
                <a:cubicBezTo>
                  <a:pt x="548" y="91"/>
                  <a:pt x="549" y="90"/>
                  <a:pt x="549" y="90"/>
                </a:cubicBezTo>
                <a:close/>
                <a:moveTo>
                  <a:pt x="547" y="89"/>
                </a:moveTo>
                <a:cubicBezTo>
                  <a:pt x="546" y="89"/>
                  <a:pt x="546" y="90"/>
                  <a:pt x="545" y="90"/>
                </a:cubicBezTo>
                <a:cubicBezTo>
                  <a:pt x="546" y="90"/>
                  <a:pt x="544" y="88"/>
                  <a:pt x="544" y="88"/>
                </a:cubicBezTo>
                <a:cubicBezTo>
                  <a:pt x="545" y="87"/>
                  <a:pt x="547" y="87"/>
                  <a:pt x="547" y="89"/>
                </a:cubicBezTo>
                <a:close/>
                <a:moveTo>
                  <a:pt x="540" y="94"/>
                </a:moveTo>
                <a:cubicBezTo>
                  <a:pt x="541" y="94"/>
                  <a:pt x="539" y="94"/>
                  <a:pt x="539" y="94"/>
                </a:cubicBezTo>
                <a:cubicBezTo>
                  <a:pt x="539" y="93"/>
                  <a:pt x="540" y="93"/>
                  <a:pt x="540" y="94"/>
                </a:cubicBezTo>
                <a:close/>
                <a:moveTo>
                  <a:pt x="540" y="97"/>
                </a:moveTo>
                <a:cubicBezTo>
                  <a:pt x="540" y="96"/>
                  <a:pt x="538" y="98"/>
                  <a:pt x="539" y="97"/>
                </a:cubicBezTo>
                <a:cubicBezTo>
                  <a:pt x="539" y="96"/>
                  <a:pt x="542" y="93"/>
                  <a:pt x="544" y="93"/>
                </a:cubicBezTo>
                <a:cubicBezTo>
                  <a:pt x="546" y="93"/>
                  <a:pt x="549" y="94"/>
                  <a:pt x="548" y="96"/>
                </a:cubicBezTo>
                <a:cubicBezTo>
                  <a:pt x="548" y="98"/>
                  <a:pt x="544" y="100"/>
                  <a:pt x="542" y="100"/>
                </a:cubicBezTo>
                <a:cubicBezTo>
                  <a:pt x="541" y="100"/>
                  <a:pt x="540" y="99"/>
                  <a:pt x="540" y="99"/>
                </a:cubicBezTo>
                <a:cubicBezTo>
                  <a:pt x="539" y="99"/>
                  <a:pt x="538" y="101"/>
                  <a:pt x="538" y="99"/>
                </a:cubicBezTo>
                <a:cubicBezTo>
                  <a:pt x="538" y="99"/>
                  <a:pt x="540" y="97"/>
                  <a:pt x="540" y="97"/>
                </a:cubicBezTo>
                <a:close/>
                <a:moveTo>
                  <a:pt x="535" y="95"/>
                </a:moveTo>
                <a:cubicBezTo>
                  <a:pt x="536" y="96"/>
                  <a:pt x="533" y="95"/>
                  <a:pt x="535" y="95"/>
                </a:cubicBezTo>
                <a:close/>
                <a:moveTo>
                  <a:pt x="535" y="97"/>
                </a:moveTo>
                <a:cubicBezTo>
                  <a:pt x="535" y="97"/>
                  <a:pt x="535" y="96"/>
                  <a:pt x="535" y="96"/>
                </a:cubicBezTo>
                <a:cubicBezTo>
                  <a:pt x="535" y="97"/>
                  <a:pt x="536" y="97"/>
                  <a:pt x="535" y="97"/>
                </a:cubicBezTo>
                <a:close/>
                <a:moveTo>
                  <a:pt x="534" y="111"/>
                </a:moveTo>
                <a:cubicBezTo>
                  <a:pt x="534" y="110"/>
                  <a:pt x="535" y="109"/>
                  <a:pt x="536" y="110"/>
                </a:cubicBezTo>
                <a:cubicBezTo>
                  <a:pt x="537" y="111"/>
                  <a:pt x="535" y="111"/>
                  <a:pt x="534" y="111"/>
                </a:cubicBezTo>
                <a:close/>
                <a:moveTo>
                  <a:pt x="535" y="84"/>
                </a:moveTo>
                <a:cubicBezTo>
                  <a:pt x="538" y="83"/>
                  <a:pt x="536" y="88"/>
                  <a:pt x="534" y="87"/>
                </a:cubicBezTo>
                <a:cubicBezTo>
                  <a:pt x="532" y="86"/>
                  <a:pt x="534" y="85"/>
                  <a:pt x="535" y="84"/>
                </a:cubicBezTo>
                <a:close/>
                <a:moveTo>
                  <a:pt x="545" y="73"/>
                </a:moveTo>
                <a:cubicBezTo>
                  <a:pt x="544" y="74"/>
                  <a:pt x="544" y="72"/>
                  <a:pt x="545" y="73"/>
                </a:cubicBezTo>
                <a:close/>
                <a:moveTo>
                  <a:pt x="541" y="72"/>
                </a:moveTo>
                <a:cubicBezTo>
                  <a:pt x="540" y="73"/>
                  <a:pt x="539" y="73"/>
                  <a:pt x="537" y="73"/>
                </a:cubicBezTo>
                <a:cubicBezTo>
                  <a:pt x="539" y="73"/>
                  <a:pt x="539" y="71"/>
                  <a:pt x="541" y="72"/>
                </a:cubicBezTo>
                <a:close/>
                <a:moveTo>
                  <a:pt x="534" y="73"/>
                </a:moveTo>
                <a:cubicBezTo>
                  <a:pt x="534" y="74"/>
                  <a:pt x="532" y="75"/>
                  <a:pt x="532" y="74"/>
                </a:cubicBezTo>
                <a:cubicBezTo>
                  <a:pt x="531" y="74"/>
                  <a:pt x="534" y="73"/>
                  <a:pt x="534" y="73"/>
                </a:cubicBezTo>
                <a:close/>
                <a:moveTo>
                  <a:pt x="531" y="74"/>
                </a:moveTo>
                <a:cubicBezTo>
                  <a:pt x="532" y="75"/>
                  <a:pt x="530" y="74"/>
                  <a:pt x="530" y="74"/>
                </a:cubicBezTo>
                <a:cubicBezTo>
                  <a:pt x="529" y="73"/>
                  <a:pt x="531" y="73"/>
                  <a:pt x="531" y="74"/>
                </a:cubicBezTo>
                <a:close/>
                <a:moveTo>
                  <a:pt x="458" y="41"/>
                </a:moveTo>
                <a:cubicBezTo>
                  <a:pt x="458" y="42"/>
                  <a:pt x="458" y="42"/>
                  <a:pt x="458" y="42"/>
                </a:cubicBezTo>
                <a:cubicBezTo>
                  <a:pt x="458" y="41"/>
                  <a:pt x="457" y="40"/>
                  <a:pt x="458" y="41"/>
                </a:cubicBezTo>
                <a:close/>
                <a:moveTo>
                  <a:pt x="421" y="34"/>
                </a:moveTo>
                <a:cubicBezTo>
                  <a:pt x="420" y="34"/>
                  <a:pt x="420" y="33"/>
                  <a:pt x="421" y="34"/>
                </a:cubicBezTo>
                <a:close/>
                <a:moveTo>
                  <a:pt x="421" y="29"/>
                </a:moveTo>
                <a:cubicBezTo>
                  <a:pt x="422" y="30"/>
                  <a:pt x="420" y="30"/>
                  <a:pt x="420" y="30"/>
                </a:cubicBezTo>
                <a:cubicBezTo>
                  <a:pt x="419" y="29"/>
                  <a:pt x="421" y="29"/>
                  <a:pt x="421" y="29"/>
                </a:cubicBezTo>
                <a:close/>
                <a:moveTo>
                  <a:pt x="461" y="19"/>
                </a:moveTo>
                <a:cubicBezTo>
                  <a:pt x="461" y="20"/>
                  <a:pt x="458" y="20"/>
                  <a:pt x="458" y="19"/>
                </a:cubicBezTo>
                <a:cubicBezTo>
                  <a:pt x="457" y="18"/>
                  <a:pt x="461" y="17"/>
                  <a:pt x="461" y="19"/>
                </a:cubicBezTo>
                <a:close/>
                <a:moveTo>
                  <a:pt x="456" y="20"/>
                </a:moveTo>
                <a:cubicBezTo>
                  <a:pt x="457" y="21"/>
                  <a:pt x="454" y="22"/>
                  <a:pt x="454" y="20"/>
                </a:cubicBezTo>
                <a:cubicBezTo>
                  <a:pt x="454" y="20"/>
                  <a:pt x="456" y="20"/>
                  <a:pt x="456" y="20"/>
                </a:cubicBezTo>
                <a:close/>
                <a:moveTo>
                  <a:pt x="455" y="23"/>
                </a:moveTo>
                <a:cubicBezTo>
                  <a:pt x="456" y="24"/>
                  <a:pt x="453" y="23"/>
                  <a:pt x="453" y="23"/>
                </a:cubicBezTo>
                <a:cubicBezTo>
                  <a:pt x="453" y="22"/>
                  <a:pt x="455" y="22"/>
                  <a:pt x="455" y="23"/>
                </a:cubicBezTo>
                <a:close/>
                <a:moveTo>
                  <a:pt x="434" y="24"/>
                </a:moveTo>
                <a:cubicBezTo>
                  <a:pt x="434" y="25"/>
                  <a:pt x="430" y="24"/>
                  <a:pt x="430" y="23"/>
                </a:cubicBezTo>
                <a:cubicBezTo>
                  <a:pt x="430" y="22"/>
                  <a:pt x="433" y="22"/>
                  <a:pt x="434" y="24"/>
                </a:cubicBezTo>
                <a:close/>
                <a:moveTo>
                  <a:pt x="427" y="20"/>
                </a:moveTo>
                <a:cubicBezTo>
                  <a:pt x="427" y="21"/>
                  <a:pt x="425" y="20"/>
                  <a:pt x="425" y="20"/>
                </a:cubicBezTo>
                <a:cubicBezTo>
                  <a:pt x="425" y="20"/>
                  <a:pt x="427" y="19"/>
                  <a:pt x="427" y="20"/>
                </a:cubicBezTo>
                <a:close/>
                <a:moveTo>
                  <a:pt x="418" y="41"/>
                </a:moveTo>
                <a:cubicBezTo>
                  <a:pt x="418" y="41"/>
                  <a:pt x="418" y="40"/>
                  <a:pt x="418" y="40"/>
                </a:cubicBezTo>
                <a:cubicBezTo>
                  <a:pt x="416" y="39"/>
                  <a:pt x="420" y="40"/>
                  <a:pt x="418" y="41"/>
                </a:cubicBezTo>
                <a:close/>
                <a:moveTo>
                  <a:pt x="415" y="43"/>
                </a:moveTo>
                <a:cubicBezTo>
                  <a:pt x="416" y="44"/>
                  <a:pt x="414" y="44"/>
                  <a:pt x="414" y="44"/>
                </a:cubicBezTo>
                <a:cubicBezTo>
                  <a:pt x="414" y="44"/>
                  <a:pt x="414" y="43"/>
                  <a:pt x="415" y="43"/>
                </a:cubicBezTo>
                <a:close/>
                <a:moveTo>
                  <a:pt x="388" y="45"/>
                </a:moveTo>
                <a:cubicBezTo>
                  <a:pt x="388" y="43"/>
                  <a:pt x="393" y="43"/>
                  <a:pt x="393" y="45"/>
                </a:cubicBezTo>
                <a:cubicBezTo>
                  <a:pt x="393" y="48"/>
                  <a:pt x="388" y="46"/>
                  <a:pt x="388" y="45"/>
                </a:cubicBezTo>
                <a:close/>
                <a:moveTo>
                  <a:pt x="394" y="10"/>
                </a:moveTo>
                <a:cubicBezTo>
                  <a:pt x="394" y="11"/>
                  <a:pt x="393" y="11"/>
                  <a:pt x="392" y="11"/>
                </a:cubicBezTo>
                <a:cubicBezTo>
                  <a:pt x="393" y="10"/>
                  <a:pt x="394" y="10"/>
                  <a:pt x="394" y="10"/>
                </a:cubicBezTo>
                <a:close/>
                <a:moveTo>
                  <a:pt x="389" y="10"/>
                </a:moveTo>
                <a:cubicBezTo>
                  <a:pt x="391" y="9"/>
                  <a:pt x="391" y="12"/>
                  <a:pt x="389" y="10"/>
                </a:cubicBezTo>
                <a:close/>
                <a:moveTo>
                  <a:pt x="387" y="32"/>
                </a:moveTo>
                <a:cubicBezTo>
                  <a:pt x="393" y="30"/>
                  <a:pt x="399" y="30"/>
                  <a:pt x="404" y="30"/>
                </a:cubicBezTo>
                <a:cubicBezTo>
                  <a:pt x="399" y="31"/>
                  <a:pt x="391" y="32"/>
                  <a:pt x="384" y="33"/>
                </a:cubicBezTo>
                <a:cubicBezTo>
                  <a:pt x="379" y="35"/>
                  <a:pt x="386" y="32"/>
                  <a:pt x="387" y="32"/>
                </a:cubicBezTo>
                <a:close/>
                <a:moveTo>
                  <a:pt x="380" y="25"/>
                </a:moveTo>
                <a:cubicBezTo>
                  <a:pt x="381" y="24"/>
                  <a:pt x="382" y="26"/>
                  <a:pt x="380" y="25"/>
                </a:cubicBezTo>
                <a:close/>
                <a:moveTo>
                  <a:pt x="355" y="52"/>
                </a:moveTo>
                <a:cubicBezTo>
                  <a:pt x="355" y="51"/>
                  <a:pt x="357" y="50"/>
                  <a:pt x="357" y="51"/>
                </a:cubicBezTo>
                <a:cubicBezTo>
                  <a:pt x="358" y="53"/>
                  <a:pt x="356" y="52"/>
                  <a:pt x="355" y="52"/>
                </a:cubicBezTo>
                <a:close/>
                <a:moveTo>
                  <a:pt x="375" y="42"/>
                </a:move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lose/>
                <a:moveTo>
                  <a:pt x="371" y="6"/>
                </a:moveTo>
                <a:cubicBezTo>
                  <a:pt x="372" y="5"/>
                  <a:pt x="373" y="7"/>
                  <a:pt x="371" y="6"/>
                </a:cubicBezTo>
                <a:close/>
                <a:moveTo>
                  <a:pt x="367" y="52"/>
                </a:moveTo>
                <a:cubicBezTo>
                  <a:pt x="366" y="53"/>
                  <a:pt x="365" y="53"/>
                  <a:pt x="364" y="53"/>
                </a:cubicBezTo>
                <a:cubicBezTo>
                  <a:pt x="365" y="52"/>
                  <a:pt x="366" y="52"/>
                  <a:pt x="367" y="52"/>
                </a:cubicBezTo>
                <a:close/>
                <a:moveTo>
                  <a:pt x="360" y="41"/>
                </a:moveTo>
                <a:cubicBezTo>
                  <a:pt x="358" y="42"/>
                  <a:pt x="354" y="43"/>
                  <a:pt x="351" y="41"/>
                </a:cubicBezTo>
                <a:cubicBezTo>
                  <a:pt x="351" y="40"/>
                  <a:pt x="360" y="41"/>
                  <a:pt x="360" y="41"/>
                </a:cubicBezTo>
                <a:close/>
                <a:moveTo>
                  <a:pt x="2" y="391"/>
                </a:moveTo>
                <a:cubicBezTo>
                  <a:pt x="2" y="392"/>
                  <a:pt x="2" y="389"/>
                  <a:pt x="2" y="391"/>
                </a:cubicBezTo>
                <a:close/>
                <a:moveTo>
                  <a:pt x="2" y="338"/>
                </a:moveTo>
                <a:cubicBezTo>
                  <a:pt x="1" y="339"/>
                  <a:pt x="1" y="336"/>
                  <a:pt x="2" y="337"/>
                </a:cubicBezTo>
                <a:cubicBezTo>
                  <a:pt x="2" y="337"/>
                  <a:pt x="2" y="337"/>
                  <a:pt x="2" y="338"/>
                </a:cubicBezTo>
                <a:close/>
                <a:moveTo>
                  <a:pt x="6" y="411"/>
                </a:moveTo>
                <a:cubicBezTo>
                  <a:pt x="7" y="410"/>
                  <a:pt x="8" y="410"/>
                  <a:pt x="6" y="411"/>
                </a:cubicBezTo>
                <a:close/>
                <a:moveTo>
                  <a:pt x="7" y="377"/>
                </a:moveTo>
                <a:cubicBezTo>
                  <a:pt x="8" y="377"/>
                  <a:pt x="8" y="378"/>
                  <a:pt x="7" y="379"/>
                </a:cubicBezTo>
                <a:cubicBezTo>
                  <a:pt x="6" y="380"/>
                  <a:pt x="7" y="377"/>
                  <a:pt x="7" y="377"/>
                </a:cubicBezTo>
                <a:close/>
                <a:moveTo>
                  <a:pt x="7" y="415"/>
                </a:moveTo>
                <a:cubicBezTo>
                  <a:pt x="7" y="416"/>
                  <a:pt x="7" y="413"/>
                  <a:pt x="8" y="414"/>
                </a:cubicBezTo>
                <a:cubicBezTo>
                  <a:pt x="9" y="414"/>
                  <a:pt x="8" y="415"/>
                  <a:pt x="7" y="415"/>
                </a:cubicBezTo>
                <a:close/>
                <a:moveTo>
                  <a:pt x="7" y="368"/>
                </a:moveTo>
                <a:cubicBezTo>
                  <a:pt x="6" y="367"/>
                  <a:pt x="7" y="364"/>
                  <a:pt x="8" y="363"/>
                </a:cubicBezTo>
                <a:cubicBezTo>
                  <a:pt x="8" y="365"/>
                  <a:pt x="7" y="366"/>
                  <a:pt x="7" y="368"/>
                </a:cubicBezTo>
                <a:close/>
                <a:moveTo>
                  <a:pt x="13" y="438"/>
                </a:moveTo>
                <a:cubicBezTo>
                  <a:pt x="13" y="438"/>
                  <a:pt x="13" y="439"/>
                  <a:pt x="13" y="439"/>
                </a:cubicBezTo>
                <a:cubicBezTo>
                  <a:pt x="13" y="441"/>
                  <a:pt x="12" y="437"/>
                  <a:pt x="13" y="438"/>
                </a:cubicBezTo>
                <a:close/>
                <a:moveTo>
                  <a:pt x="12" y="423"/>
                </a:moveTo>
                <a:cubicBezTo>
                  <a:pt x="13" y="423"/>
                  <a:pt x="11" y="425"/>
                  <a:pt x="12" y="423"/>
                </a:cubicBezTo>
                <a:close/>
                <a:moveTo>
                  <a:pt x="15" y="295"/>
                </a:moveTo>
                <a:cubicBezTo>
                  <a:pt x="15" y="298"/>
                  <a:pt x="13" y="296"/>
                  <a:pt x="15" y="295"/>
                </a:cubicBezTo>
                <a:close/>
                <a:moveTo>
                  <a:pt x="13" y="368"/>
                </a:moveTo>
                <a:cubicBezTo>
                  <a:pt x="14" y="368"/>
                  <a:pt x="13" y="369"/>
                  <a:pt x="13" y="369"/>
                </a:cubicBezTo>
                <a:cubicBezTo>
                  <a:pt x="12" y="370"/>
                  <a:pt x="12" y="367"/>
                  <a:pt x="13" y="368"/>
                </a:cubicBezTo>
                <a:close/>
                <a:moveTo>
                  <a:pt x="12" y="352"/>
                </a:moveTo>
                <a:cubicBezTo>
                  <a:pt x="11" y="353"/>
                  <a:pt x="11" y="350"/>
                  <a:pt x="12" y="351"/>
                </a:cubicBezTo>
                <a:cubicBezTo>
                  <a:pt x="13" y="351"/>
                  <a:pt x="12" y="352"/>
                  <a:pt x="12" y="352"/>
                </a:cubicBezTo>
                <a:close/>
                <a:moveTo>
                  <a:pt x="10" y="333"/>
                </a:moveTo>
                <a:cubicBezTo>
                  <a:pt x="12" y="332"/>
                  <a:pt x="14" y="337"/>
                  <a:pt x="12" y="338"/>
                </a:cubicBezTo>
                <a:cubicBezTo>
                  <a:pt x="9" y="339"/>
                  <a:pt x="9" y="334"/>
                  <a:pt x="10" y="333"/>
                </a:cubicBezTo>
                <a:close/>
                <a:moveTo>
                  <a:pt x="10" y="355"/>
                </a:moveTo>
                <a:cubicBezTo>
                  <a:pt x="9" y="356"/>
                  <a:pt x="10" y="353"/>
                  <a:pt x="10" y="353"/>
                </a:cubicBezTo>
                <a:cubicBezTo>
                  <a:pt x="11" y="354"/>
                  <a:pt x="10" y="355"/>
                  <a:pt x="10" y="355"/>
                </a:cubicBezTo>
                <a:close/>
                <a:moveTo>
                  <a:pt x="9" y="371"/>
                </a:moveTo>
                <a:cubicBezTo>
                  <a:pt x="8" y="372"/>
                  <a:pt x="8" y="369"/>
                  <a:pt x="9" y="370"/>
                </a:cubicBezTo>
                <a:cubicBezTo>
                  <a:pt x="9" y="370"/>
                  <a:pt x="9" y="371"/>
                  <a:pt x="9" y="371"/>
                </a:cubicBezTo>
                <a:close/>
                <a:moveTo>
                  <a:pt x="9" y="359"/>
                </a:moveTo>
                <a:cubicBezTo>
                  <a:pt x="8" y="359"/>
                  <a:pt x="9" y="357"/>
                  <a:pt x="10" y="357"/>
                </a:cubicBezTo>
                <a:cubicBezTo>
                  <a:pt x="9" y="358"/>
                  <a:pt x="9" y="358"/>
                  <a:pt x="9" y="359"/>
                </a:cubicBezTo>
                <a:close/>
                <a:moveTo>
                  <a:pt x="10" y="438"/>
                </a:moveTo>
                <a:cubicBezTo>
                  <a:pt x="9" y="439"/>
                  <a:pt x="10" y="436"/>
                  <a:pt x="11" y="436"/>
                </a:cubicBezTo>
                <a:cubicBezTo>
                  <a:pt x="12" y="437"/>
                  <a:pt x="11" y="437"/>
                  <a:pt x="10" y="438"/>
                </a:cubicBezTo>
                <a:close/>
                <a:moveTo>
                  <a:pt x="10" y="424"/>
                </a:moveTo>
                <a:cubicBezTo>
                  <a:pt x="9" y="425"/>
                  <a:pt x="10" y="422"/>
                  <a:pt x="11" y="423"/>
                </a:cubicBezTo>
                <a:cubicBezTo>
                  <a:pt x="12" y="424"/>
                  <a:pt x="11" y="424"/>
                  <a:pt x="10" y="424"/>
                </a:cubicBezTo>
                <a:close/>
                <a:moveTo>
                  <a:pt x="11" y="386"/>
                </a:moveTo>
                <a:cubicBezTo>
                  <a:pt x="10" y="386"/>
                  <a:pt x="10" y="387"/>
                  <a:pt x="10" y="385"/>
                </a:cubicBezTo>
                <a:cubicBezTo>
                  <a:pt x="10" y="383"/>
                  <a:pt x="14" y="374"/>
                  <a:pt x="14" y="374"/>
                </a:cubicBezTo>
                <a:cubicBezTo>
                  <a:pt x="16" y="374"/>
                  <a:pt x="13" y="377"/>
                  <a:pt x="13" y="378"/>
                </a:cubicBezTo>
                <a:cubicBezTo>
                  <a:pt x="12" y="381"/>
                  <a:pt x="14" y="385"/>
                  <a:pt x="11" y="386"/>
                </a:cubicBezTo>
                <a:close/>
                <a:moveTo>
                  <a:pt x="14" y="394"/>
                </a:moveTo>
                <a:cubicBezTo>
                  <a:pt x="13" y="396"/>
                  <a:pt x="14" y="393"/>
                  <a:pt x="14" y="393"/>
                </a:cubicBezTo>
                <a:cubicBezTo>
                  <a:pt x="15" y="393"/>
                  <a:pt x="15" y="394"/>
                  <a:pt x="14" y="394"/>
                </a:cubicBezTo>
                <a:close/>
                <a:moveTo>
                  <a:pt x="15" y="388"/>
                </a:moveTo>
                <a:cubicBezTo>
                  <a:pt x="14" y="388"/>
                  <a:pt x="15" y="387"/>
                  <a:pt x="15" y="387"/>
                </a:cubicBezTo>
                <a:cubicBezTo>
                  <a:pt x="15" y="387"/>
                  <a:pt x="15" y="388"/>
                  <a:pt x="15" y="388"/>
                </a:cubicBezTo>
                <a:close/>
                <a:moveTo>
                  <a:pt x="15" y="300"/>
                </a:moveTo>
                <a:cubicBezTo>
                  <a:pt x="16" y="302"/>
                  <a:pt x="14" y="301"/>
                  <a:pt x="15" y="300"/>
                </a:cubicBezTo>
                <a:close/>
                <a:moveTo>
                  <a:pt x="16" y="366"/>
                </a:moveTo>
                <a:cubicBezTo>
                  <a:pt x="15" y="367"/>
                  <a:pt x="17" y="364"/>
                  <a:pt x="16" y="366"/>
                </a:cubicBezTo>
                <a:close/>
                <a:moveTo>
                  <a:pt x="17" y="380"/>
                </a:moveTo>
                <a:cubicBezTo>
                  <a:pt x="16" y="381"/>
                  <a:pt x="16" y="379"/>
                  <a:pt x="17" y="379"/>
                </a:cubicBezTo>
                <a:cubicBezTo>
                  <a:pt x="17" y="378"/>
                  <a:pt x="17" y="380"/>
                  <a:pt x="17" y="380"/>
                </a:cubicBezTo>
                <a:close/>
                <a:moveTo>
                  <a:pt x="27" y="420"/>
                </a:move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lose/>
                <a:moveTo>
                  <a:pt x="23" y="346"/>
                </a:moveTo>
                <a:cubicBezTo>
                  <a:pt x="23" y="346"/>
                  <a:pt x="23" y="347"/>
                  <a:pt x="23" y="347"/>
                </a:cubicBezTo>
                <a:cubicBezTo>
                  <a:pt x="22" y="347"/>
                  <a:pt x="22" y="346"/>
                  <a:pt x="23" y="346"/>
                </a:cubicBezTo>
                <a:close/>
                <a:moveTo>
                  <a:pt x="19" y="405"/>
                </a:moveTo>
                <a:cubicBezTo>
                  <a:pt x="19" y="405"/>
                  <a:pt x="18" y="404"/>
                  <a:pt x="18" y="404"/>
                </a:cubicBezTo>
                <a:cubicBezTo>
                  <a:pt x="18" y="404"/>
                  <a:pt x="20" y="404"/>
                  <a:pt x="19" y="405"/>
                </a:cubicBezTo>
                <a:close/>
                <a:moveTo>
                  <a:pt x="20" y="406"/>
                </a:moveTo>
                <a:cubicBezTo>
                  <a:pt x="19" y="406"/>
                  <a:pt x="20" y="405"/>
                  <a:pt x="20" y="404"/>
                </a:cubicBezTo>
                <a:cubicBezTo>
                  <a:pt x="21" y="404"/>
                  <a:pt x="20" y="405"/>
                  <a:pt x="20" y="406"/>
                </a:cubicBezTo>
                <a:close/>
                <a:moveTo>
                  <a:pt x="20" y="360"/>
                </a:moveTo>
                <a:cubicBezTo>
                  <a:pt x="19" y="359"/>
                  <a:pt x="21" y="359"/>
                  <a:pt x="20" y="360"/>
                </a:cubicBezTo>
                <a:close/>
                <a:moveTo>
                  <a:pt x="22" y="268"/>
                </a:moveTo>
                <a:cubicBezTo>
                  <a:pt x="23" y="268"/>
                  <a:pt x="22" y="270"/>
                  <a:pt x="22" y="271"/>
                </a:cubicBezTo>
                <a:cubicBezTo>
                  <a:pt x="19" y="273"/>
                  <a:pt x="19" y="267"/>
                  <a:pt x="22" y="268"/>
                </a:cubicBezTo>
                <a:close/>
                <a:moveTo>
                  <a:pt x="21" y="397"/>
                </a:moveTo>
                <a:cubicBezTo>
                  <a:pt x="21" y="396"/>
                  <a:pt x="22" y="397"/>
                  <a:pt x="22" y="398"/>
                </a:cubicBezTo>
                <a:cubicBezTo>
                  <a:pt x="21" y="399"/>
                  <a:pt x="20" y="397"/>
                  <a:pt x="21" y="397"/>
                </a:cubicBezTo>
                <a:close/>
                <a:moveTo>
                  <a:pt x="21" y="415"/>
                </a:moveTo>
                <a:cubicBezTo>
                  <a:pt x="22" y="416"/>
                  <a:pt x="21" y="417"/>
                  <a:pt x="21" y="415"/>
                </a:cubicBezTo>
                <a:close/>
                <a:moveTo>
                  <a:pt x="21" y="413"/>
                </a:moveTo>
                <a:cubicBezTo>
                  <a:pt x="21" y="413"/>
                  <a:pt x="23" y="413"/>
                  <a:pt x="23" y="413"/>
                </a:cubicBezTo>
                <a:cubicBezTo>
                  <a:pt x="23" y="414"/>
                  <a:pt x="20" y="414"/>
                  <a:pt x="21" y="413"/>
                </a:cubicBezTo>
                <a:close/>
                <a:moveTo>
                  <a:pt x="24" y="367"/>
                </a:moveTo>
                <a:cubicBezTo>
                  <a:pt x="25" y="368"/>
                  <a:pt x="23" y="369"/>
                  <a:pt x="24" y="367"/>
                </a:cubicBezTo>
                <a:close/>
                <a:moveTo>
                  <a:pt x="24" y="412"/>
                </a:moveTo>
                <a:cubicBezTo>
                  <a:pt x="24" y="413"/>
                  <a:pt x="24" y="410"/>
                  <a:pt x="24" y="412"/>
                </a:cubicBezTo>
                <a:close/>
                <a:moveTo>
                  <a:pt x="25" y="401"/>
                </a:moveTo>
                <a:cubicBezTo>
                  <a:pt x="24" y="402"/>
                  <a:pt x="24" y="400"/>
                  <a:pt x="24" y="399"/>
                </a:cubicBezTo>
                <a:cubicBezTo>
                  <a:pt x="25" y="399"/>
                  <a:pt x="25" y="401"/>
                  <a:pt x="25" y="401"/>
                </a:cubicBezTo>
                <a:close/>
                <a:moveTo>
                  <a:pt x="27" y="397"/>
                </a:moveTo>
                <a:cubicBezTo>
                  <a:pt x="27" y="398"/>
                  <a:pt x="28" y="396"/>
                  <a:pt x="27" y="397"/>
                </a:cubicBezTo>
                <a:close/>
                <a:moveTo>
                  <a:pt x="25" y="343"/>
                </a:moveTo>
                <a:cubicBezTo>
                  <a:pt x="23" y="342"/>
                  <a:pt x="25" y="340"/>
                  <a:pt x="25" y="338"/>
                </a:cubicBezTo>
                <a:cubicBezTo>
                  <a:pt x="25" y="340"/>
                  <a:pt x="26" y="339"/>
                  <a:pt x="27" y="340"/>
                </a:cubicBezTo>
                <a:cubicBezTo>
                  <a:pt x="29" y="342"/>
                  <a:pt x="26" y="345"/>
                  <a:pt x="25" y="343"/>
                </a:cubicBezTo>
                <a:close/>
                <a:moveTo>
                  <a:pt x="31" y="233"/>
                </a:moveTo>
                <a:cubicBezTo>
                  <a:pt x="30" y="234"/>
                  <a:pt x="30" y="231"/>
                  <a:pt x="30" y="231"/>
                </a:cubicBezTo>
                <a:cubicBezTo>
                  <a:pt x="32" y="231"/>
                  <a:pt x="31" y="233"/>
                  <a:pt x="31" y="233"/>
                </a:cubicBezTo>
                <a:close/>
                <a:moveTo>
                  <a:pt x="33" y="290"/>
                </a:moveTo>
                <a:cubicBezTo>
                  <a:pt x="32" y="291"/>
                  <a:pt x="32" y="288"/>
                  <a:pt x="33" y="289"/>
                </a:cubicBezTo>
                <a:cubicBezTo>
                  <a:pt x="34" y="289"/>
                  <a:pt x="33" y="290"/>
                  <a:pt x="33" y="290"/>
                </a:cubicBezTo>
                <a:close/>
                <a:moveTo>
                  <a:pt x="34" y="385"/>
                </a:moveTo>
                <a:cubicBezTo>
                  <a:pt x="33" y="386"/>
                  <a:pt x="34" y="383"/>
                  <a:pt x="35" y="383"/>
                </a:cubicBezTo>
                <a:cubicBezTo>
                  <a:pt x="35" y="384"/>
                  <a:pt x="34" y="385"/>
                  <a:pt x="34" y="385"/>
                </a:cubicBezTo>
                <a:close/>
                <a:moveTo>
                  <a:pt x="36" y="305"/>
                </a:moveTo>
                <a:cubicBezTo>
                  <a:pt x="35" y="307"/>
                  <a:pt x="37" y="303"/>
                  <a:pt x="36" y="305"/>
                </a:cubicBezTo>
                <a:close/>
                <a:moveTo>
                  <a:pt x="37" y="344"/>
                </a:moveTo>
                <a:cubicBezTo>
                  <a:pt x="37" y="344"/>
                  <a:pt x="38" y="344"/>
                  <a:pt x="38" y="344"/>
                </a:cubicBezTo>
                <a:cubicBezTo>
                  <a:pt x="38" y="345"/>
                  <a:pt x="37" y="345"/>
                  <a:pt x="37" y="344"/>
                </a:cubicBezTo>
                <a:close/>
                <a:moveTo>
                  <a:pt x="29" y="469"/>
                </a:moveTo>
                <a:cubicBezTo>
                  <a:pt x="25" y="471"/>
                  <a:pt x="25" y="463"/>
                  <a:pt x="29" y="464"/>
                </a:cubicBezTo>
                <a:cubicBezTo>
                  <a:pt x="31" y="464"/>
                  <a:pt x="31" y="468"/>
                  <a:pt x="29" y="469"/>
                </a:cubicBezTo>
                <a:close/>
                <a:moveTo>
                  <a:pt x="34" y="484"/>
                </a:moveTo>
                <a:cubicBezTo>
                  <a:pt x="34" y="485"/>
                  <a:pt x="34" y="485"/>
                  <a:pt x="33" y="485"/>
                </a:cubicBezTo>
                <a:cubicBezTo>
                  <a:pt x="32" y="486"/>
                  <a:pt x="33" y="483"/>
                  <a:pt x="34" y="484"/>
                </a:cubicBezTo>
                <a:close/>
                <a:moveTo>
                  <a:pt x="36" y="466"/>
                </a:moveTo>
                <a:cubicBezTo>
                  <a:pt x="34" y="467"/>
                  <a:pt x="34" y="464"/>
                  <a:pt x="35" y="463"/>
                </a:cubicBezTo>
                <a:cubicBezTo>
                  <a:pt x="36" y="463"/>
                  <a:pt x="37" y="465"/>
                  <a:pt x="36" y="466"/>
                </a:cubicBezTo>
                <a:close/>
                <a:moveTo>
                  <a:pt x="38" y="455"/>
                </a:moveTo>
                <a:cubicBezTo>
                  <a:pt x="38" y="455"/>
                  <a:pt x="38" y="456"/>
                  <a:pt x="38" y="456"/>
                </a:cubicBezTo>
                <a:cubicBezTo>
                  <a:pt x="37" y="458"/>
                  <a:pt x="36" y="454"/>
                  <a:pt x="38" y="455"/>
                </a:cubicBezTo>
                <a:close/>
                <a:moveTo>
                  <a:pt x="38" y="461"/>
                </a:moveTo>
                <a:cubicBezTo>
                  <a:pt x="36" y="462"/>
                  <a:pt x="38" y="459"/>
                  <a:pt x="39" y="459"/>
                </a:cubicBezTo>
                <a:cubicBezTo>
                  <a:pt x="39" y="460"/>
                  <a:pt x="38" y="461"/>
                  <a:pt x="38" y="461"/>
                </a:cubicBezTo>
                <a:close/>
                <a:moveTo>
                  <a:pt x="66" y="337"/>
                </a:moveTo>
                <a:cubicBezTo>
                  <a:pt x="66" y="337"/>
                  <a:pt x="66" y="338"/>
                  <a:pt x="66" y="338"/>
                </a:cubicBezTo>
                <a:cubicBezTo>
                  <a:pt x="65" y="339"/>
                  <a:pt x="65" y="336"/>
                  <a:pt x="66" y="337"/>
                </a:cubicBezTo>
                <a:close/>
                <a:moveTo>
                  <a:pt x="66" y="380"/>
                </a:moveTo>
                <a:cubicBezTo>
                  <a:pt x="67" y="380"/>
                  <a:pt x="67" y="382"/>
                  <a:pt x="66" y="382"/>
                </a:cubicBezTo>
                <a:cubicBezTo>
                  <a:pt x="65" y="384"/>
                  <a:pt x="65" y="379"/>
                  <a:pt x="66" y="380"/>
                </a:cubicBezTo>
                <a:close/>
                <a:moveTo>
                  <a:pt x="63" y="330"/>
                </a:moveTo>
                <a:cubicBezTo>
                  <a:pt x="62" y="331"/>
                  <a:pt x="64" y="329"/>
                  <a:pt x="63" y="330"/>
                </a:cubicBezTo>
                <a:close/>
                <a:moveTo>
                  <a:pt x="64" y="346"/>
                </a:moveTo>
                <a:cubicBezTo>
                  <a:pt x="66" y="346"/>
                  <a:pt x="65" y="351"/>
                  <a:pt x="62" y="351"/>
                </a:cubicBezTo>
                <a:cubicBezTo>
                  <a:pt x="62" y="351"/>
                  <a:pt x="62" y="345"/>
                  <a:pt x="64" y="346"/>
                </a:cubicBezTo>
                <a:close/>
                <a:moveTo>
                  <a:pt x="64" y="393"/>
                </a:moveTo>
                <a:cubicBezTo>
                  <a:pt x="64" y="392"/>
                  <a:pt x="65" y="394"/>
                  <a:pt x="64" y="393"/>
                </a:cubicBezTo>
                <a:close/>
                <a:moveTo>
                  <a:pt x="61" y="364"/>
                </a:moveTo>
                <a:cubicBezTo>
                  <a:pt x="61" y="362"/>
                  <a:pt x="62" y="363"/>
                  <a:pt x="61" y="364"/>
                </a:cubicBezTo>
                <a:close/>
                <a:moveTo>
                  <a:pt x="61" y="403"/>
                </a:moveTo>
                <a:cubicBezTo>
                  <a:pt x="61" y="403"/>
                  <a:pt x="61" y="403"/>
                  <a:pt x="62" y="403"/>
                </a:cubicBezTo>
                <a:cubicBezTo>
                  <a:pt x="63" y="402"/>
                  <a:pt x="61" y="403"/>
                  <a:pt x="61" y="403"/>
                </a:cubicBezTo>
                <a:close/>
                <a:moveTo>
                  <a:pt x="61" y="365"/>
                </a:moveTo>
                <a:cubicBezTo>
                  <a:pt x="61" y="366"/>
                  <a:pt x="59" y="365"/>
                  <a:pt x="61" y="365"/>
                </a:cubicBezTo>
                <a:close/>
                <a:moveTo>
                  <a:pt x="58" y="357"/>
                </a:moveTo>
                <a:cubicBezTo>
                  <a:pt x="59" y="357"/>
                  <a:pt x="58" y="359"/>
                  <a:pt x="58" y="359"/>
                </a:cubicBezTo>
                <a:cubicBezTo>
                  <a:pt x="56" y="361"/>
                  <a:pt x="55" y="356"/>
                  <a:pt x="58" y="357"/>
                </a:cubicBezTo>
                <a:close/>
                <a:moveTo>
                  <a:pt x="56" y="405"/>
                </a:moveTo>
                <a:cubicBezTo>
                  <a:pt x="56" y="405"/>
                  <a:pt x="56" y="406"/>
                  <a:pt x="56" y="406"/>
                </a:cubicBezTo>
                <a:cubicBezTo>
                  <a:pt x="55" y="407"/>
                  <a:pt x="55" y="405"/>
                  <a:pt x="56" y="405"/>
                </a:cubicBezTo>
                <a:close/>
                <a:moveTo>
                  <a:pt x="54" y="374"/>
                </a:moveTo>
                <a:cubicBezTo>
                  <a:pt x="55" y="374"/>
                  <a:pt x="55" y="375"/>
                  <a:pt x="54" y="375"/>
                </a:cubicBezTo>
                <a:cubicBezTo>
                  <a:pt x="53" y="376"/>
                  <a:pt x="53" y="374"/>
                  <a:pt x="54" y="374"/>
                </a:cubicBezTo>
                <a:close/>
                <a:moveTo>
                  <a:pt x="49" y="398"/>
                </a:moveTo>
                <a:cubicBezTo>
                  <a:pt x="51" y="396"/>
                  <a:pt x="52" y="393"/>
                  <a:pt x="54" y="390"/>
                </a:cubicBezTo>
                <a:cubicBezTo>
                  <a:pt x="53" y="393"/>
                  <a:pt x="51" y="396"/>
                  <a:pt x="49" y="398"/>
                </a:cubicBezTo>
                <a:close/>
                <a:moveTo>
                  <a:pt x="51" y="408"/>
                </a:moveTo>
                <a:cubicBezTo>
                  <a:pt x="50" y="407"/>
                  <a:pt x="52" y="406"/>
                  <a:pt x="52" y="407"/>
                </a:cubicBezTo>
                <a:cubicBezTo>
                  <a:pt x="54" y="408"/>
                  <a:pt x="52" y="410"/>
                  <a:pt x="51" y="408"/>
                </a:cubicBezTo>
                <a:close/>
                <a:moveTo>
                  <a:pt x="46" y="404"/>
                </a:moveTo>
                <a:cubicBezTo>
                  <a:pt x="46" y="404"/>
                  <a:pt x="47" y="400"/>
                  <a:pt x="48" y="399"/>
                </a:cubicBezTo>
                <a:cubicBezTo>
                  <a:pt x="48" y="400"/>
                  <a:pt x="47" y="404"/>
                  <a:pt x="46" y="404"/>
                </a:cubicBezTo>
                <a:close/>
                <a:moveTo>
                  <a:pt x="47" y="409"/>
                </a:moveTo>
                <a:cubicBezTo>
                  <a:pt x="48" y="408"/>
                  <a:pt x="47" y="410"/>
                  <a:pt x="47" y="409"/>
                </a:cubicBezTo>
                <a:close/>
                <a:moveTo>
                  <a:pt x="48" y="392"/>
                </a:moveTo>
                <a:cubicBezTo>
                  <a:pt x="46" y="393"/>
                  <a:pt x="46" y="388"/>
                  <a:pt x="49" y="389"/>
                </a:cubicBezTo>
                <a:cubicBezTo>
                  <a:pt x="50" y="389"/>
                  <a:pt x="49" y="392"/>
                  <a:pt x="48" y="392"/>
                </a:cubicBezTo>
                <a:close/>
                <a:moveTo>
                  <a:pt x="53" y="323"/>
                </a:moveTo>
                <a:cubicBezTo>
                  <a:pt x="54" y="323"/>
                  <a:pt x="54" y="325"/>
                  <a:pt x="53" y="325"/>
                </a:cubicBezTo>
                <a:cubicBezTo>
                  <a:pt x="52" y="326"/>
                  <a:pt x="52" y="323"/>
                  <a:pt x="53" y="323"/>
                </a:cubicBezTo>
                <a:close/>
                <a:moveTo>
                  <a:pt x="50" y="354"/>
                </a:moveTo>
                <a:cubicBezTo>
                  <a:pt x="53" y="355"/>
                  <a:pt x="51" y="360"/>
                  <a:pt x="50" y="360"/>
                </a:cubicBezTo>
                <a:cubicBezTo>
                  <a:pt x="45" y="362"/>
                  <a:pt x="47" y="352"/>
                  <a:pt x="50" y="354"/>
                </a:cubicBezTo>
                <a:close/>
                <a:moveTo>
                  <a:pt x="47" y="328"/>
                </a:moveTo>
                <a:cubicBezTo>
                  <a:pt x="47" y="328"/>
                  <a:pt x="48" y="328"/>
                  <a:pt x="48" y="327"/>
                </a:cubicBezTo>
                <a:cubicBezTo>
                  <a:pt x="49" y="327"/>
                  <a:pt x="49" y="328"/>
                  <a:pt x="47" y="328"/>
                </a:cubicBezTo>
                <a:close/>
                <a:moveTo>
                  <a:pt x="48" y="267"/>
                </a:moveTo>
                <a:cubicBezTo>
                  <a:pt x="47" y="267"/>
                  <a:pt x="47" y="267"/>
                  <a:pt x="47" y="266"/>
                </a:cubicBezTo>
                <a:cubicBezTo>
                  <a:pt x="47" y="266"/>
                  <a:pt x="49" y="266"/>
                  <a:pt x="48" y="267"/>
                </a:cubicBezTo>
                <a:close/>
                <a:moveTo>
                  <a:pt x="46" y="377"/>
                </a:moveTo>
                <a:cubicBezTo>
                  <a:pt x="45" y="378"/>
                  <a:pt x="45" y="376"/>
                  <a:pt x="46" y="376"/>
                </a:cubicBezTo>
                <a:cubicBezTo>
                  <a:pt x="47" y="376"/>
                  <a:pt x="46" y="377"/>
                  <a:pt x="46" y="377"/>
                </a:cubicBezTo>
                <a:close/>
                <a:moveTo>
                  <a:pt x="45" y="192"/>
                </a:moveTo>
                <a:cubicBezTo>
                  <a:pt x="46" y="192"/>
                  <a:pt x="46" y="193"/>
                  <a:pt x="46" y="193"/>
                </a:cubicBezTo>
                <a:cubicBezTo>
                  <a:pt x="44" y="195"/>
                  <a:pt x="44" y="191"/>
                  <a:pt x="45" y="192"/>
                </a:cubicBezTo>
                <a:close/>
                <a:moveTo>
                  <a:pt x="45" y="207"/>
                </a:moveTo>
                <a:cubicBezTo>
                  <a:pt x="46" y="207"/>
                  <a:pt x="45" y="208"/>
                  <a:pt x="45" y="209"/>
                </a:cubicBezTo>
                <a:cubicBezTo>
                  <a:pt x="44" y="210"/>
                  <a:pt x="44" y="207"/>
                  <a:pt x="45" y="207"/>
                </a:cubicBezTo>
                <a:close/>
                <a:moveTo>
                  <a:pt x="44" y="360"/>
                </a:moveTo>
                <a:cubicBezTo>
                  <a:pt x="45" y="361"/>
                  <a:pt x="44" y="363"/>
                  <a:pt x="44" y="363"/>
                </a:cubicBezTo>
                <a:cubicBezTo>
                  <a:pt x="42" y="364"/>
                  <a:pt x="43" y="360"/>
                  <a:pt x="44" y="360"/>
                </a:cubicBezTo>
                <a:close/>
                <a:moveTo>
                  <a:pt x="43" y="227"/>
                </a:moveTo>
                <a:cubicBezTo>
                  <a:pt x="43" y="227"/>
                  <a:pt x="43" y="228"/>
                  <a:pt x="43" y="228"/>
                </a:cubicBezTo>
                <a:cubicBezTo>
                  <a:pt x="42" y="229"/>
                  <a:pt x="43" y="226"/>
                  <a:pt x="43" y="227"/>
                </a:cubicBezTo>
                <a:close/>
                <a:moveTo>
                  <a:pt x="40" y="322"/>
                </a:moveTo>
                <a:cubicBezTo>
                  <a:pt x="41" y="320"/>
                  <a:pt x="39" y="322"/>
                  <a:pt x="40" y="322"/>
                </a:cubicBezTo>
                <a:close/>
                <a:moveTo>
                  <a:pt x="36" y="429"/>
                </a:moveTo>
                <a:cubicBezTo>
                  <a:pt x="35" y="431"/>
                  <a:pt x="35" y="428"/>
                  <a:pt x="36" y="428"/>
                </a:cubicBezTo>
                <a:cubicBezTo>
                  <a:pt x="36" y="429"/>
                  <a:pt x="36" y="429"/>
                  <a:pt x="36" y="429"/>
                </a:cubicBezTo>
                <a:close/>
                <a:moveTo>
                  <a:pt x="35" y="428"/>
                </a:moveTo>
                <a:cubicBezTo>
                  <a:pt x="34" y="427"/>
                  <a:pt x="36" y="425"/>
                  <a:pt x="36" y="426"/>
                </a:cubicBezTo>
                <a:cubicBezTo>
                  <a:pt x="37" y="428"/>
                  <a:pt x="35" y="429"/>
                  <a:pt x="35" y="428"/>
                </a:cubicBezTo>
                <a:close/>
                <a:moveTo>
                  <a:pt x="38" y="424"/>
                </a:moveTo>
                <a:cubicBezTo>
                  <a:pt x="35" y="427"/>
                  <a:pt x="33" y="418"/>
                  <a:pt x="37" y="417"/>
                </a:cubicBezTo>
                <a:cubicBezTo>
                  <a:pt x="35" y="420"/>
                  <a:pt x="39" y="419"/>
                  <a:pt x="39" y="420"/>
                </a:cubicBezTo>
                <a:cubicBezTo>
                  <a:pt x="39" y="421"/>
                  <a:pt x="39" y="423"/>
                  <a:pt x="38" y="424"/>
                </a:cubicBezTo>
                <a:close/>
                <a:moveTo>
                  <a:pt x="40" y="358"/>
                </a:moveTo>
                <a:cubicBezTo>
                  <a:pt x="38" y="358"/>
                  <a:pt x="41" y="356"/>
                  <a:pt x="40" y="357"/>
                </a:cubicBezTo>
                <a:cubicBezTo>
                  <a:pt x="40" y="357"/>
                  <a:pt x="40" y="358"/>
                  <a:pt x="40" y="358"/>
                </a:cubicBezTo>
                <a:close/>
                <a:moveTo>
                  <a:pt x="41" y="431"/>
                </a:moveTo>
                <a:cubicBezTo>
                  <a:pt x="42" y="430"/>
                  <a:pt x="43" y="432"/>
                  <a:pt x="41" y="431"/>
                </a:cubicBezTo>
                <a:close/>
                <a:moveTo>
                  <a:pt x="42" y="382"/>
                </a:moveTo>
                <a:cubicBezTo>
                  <a:pt x="42" y="380"/>
                  <a:pt x="43" y="381"/>
                  <a:pt x="44" y="380"/>
                </a:cubicBezTo>
                <a:cubicBezTo>
                  <a:pt x="44" y="379"/>
                  <a:pt x="44" y="378"/>
                  <a:pt x="46" y="378"/>
                </a:cubicBezTo>
                <a:cubicBezTo>
                  <a:pt x="50" y="378"/>
                  <a:pt x="48" y="384"/>
                  <a:pt x="45" y="385"/>
                </a:cubicBezTo>
                <a:cubicBezTo>
                  <a:pt x="43" y="385"/>
                  <a:pt x="41" y="385"/>
                  <a:pt x="42" y="382"/>
                </a:cubicBezTo>
                <a:close/>
                <a:moveTo>
                  <a:pt x="44" y="391"/>
                </a:moveTo>
                <a:cubicBezTo>
                  <a:pt x="43" y="392"/>
                  <a:pt x="45" y="389"/>
                  <a:pt x="44" y="391"/>
                </a:cubicBezTo>
                <a:close/>
                <a:moveTo>
                  <a:pt x="42" y="449"/>
                </a:moveTo>
                <a:cubicBezTo>
                  <a:pt x="42" y="450"/>
                  <a:pt x="43" y="447"/>
                  <a:pt x="42" y="449"/>
                </a:cubicBezTo>
                <a:close/>
                <a:moveTo>
                  <a:pt x="44" y="465"/>
                </a:moveTo>
                <a:cubicBezTo>
                  <a:pt x="45" y="464"/>
                  <a:pt x="43" y="466"/>
                  <a:pt x="44" y="465"/>
                </a:cubicBezTo>
                <a:close/>
                <a:moveTo>
                  <a:pt x="45" y="462"/>
                </a:moveTo>
                <a:cubicBezTo>
                  <a:pt x="45" y="462"/>
                  <a:pt x="45" y="462"/>
                  <a:pt x="46" y="462"/>
                </a:cubicBezTo>
                <a:cubicBezTo>
                  <a:pt x="46" y="462"/>
                  <a:pt x="46" y="462"/>
                  <a:pt x="46" y="462"/>
                </a:cubicBezTo>
                <a:cubicBezTo>
                  <a:pt x="46" y="462"/>
                  <a:pt x="45" y="462"/>
                  <a:pt x="45" y="462"/>
                </a:cubicBezTo>
                <a:close/>
                <a:moveTo>
                  <a:pt x="43" y="445"/>
                </a:moveTo>
                <a:cubicBezTo>
                  <a:pt x="43" y="443"/>
                  <a:pt x="45" y="441"/>
                  <a:pt x="47" y="439"/>
                </a:cubicBezTo>
                <a:cubicBezTo>
                  <a:pt x="47" y="442"/>
                  <a:pt x="44" y="443"/>
                  <a:pt x="43" y="445"/>
                </a:cubicBezTo>
                <a:close/>
                <a:moveTo>
                  <a:pt x="46" y="434"/>
                </a:moveTo>
                <a:cubicBezTo>
                  <a:pt x="46" y="434"/>
                  <a:pt x="47" y="433"/>
                  <a:pt x="46" y="434"/>
                </a:cubicBezTo>
                <a:cubicBezTo>
                  <a:pt x="46" y="434"/>
                  <a:pt x="46" y="434"/>
                  <a:pt x="46" y="434"/>
                </a:cubicBezTo>
                <a:close/>
                <a:moveTo>
                  <a:pt x="47" y="432"/>
                </a:moveTo>
                <a:cubicBezTo>
                  <a:pt x="48" y="430"/>
                  <a:pt x="50" y="431"/>
                  <a:pt x="47" y="432"/>
                </a:cubicBezTo>
                <a:close/>
                <a:moveTo>
                  <a:pt x="50" y="418"/>
                </a:moveTo>
                <a:cubicBezTo>
                  <a:pt x="50" y="419"/>
                  <a:pt x="52" y="419"/>
                  <a:pt x="51" y="420"/>
                </a:cubicBezTo>
                <a:cubicBezTo>
                  <a:pt x="52" y="419"/>
                  <a:pt x="48" y="420"/>
                  <a:pt x="49" y="421"/>
                </a:cubicBezTo>
                <a:cubicBezTo>
                  <a:pt x="48" y="420"/>
                  <a:pt x="48" y="419"/>
                  <a:pt x="49" y="418"/>
                </a:cubicBezTo>
                <a:cubicBezTo>
                  <a:pt x="47" y="418"/>
                  <a:pt x="45" y="417"/>
                  <a:pt x="45" y="416"/>
                </a:cubicBezTo>
                <a:cubicBezTo>
                  <a:pt x="44" y="413"/>
                  <a:pt x="47" y="411"/>
                  <a:pt x="49" y="410"/>
                </a:cubicBezTo>
                <a:cubicBezTo>
                  <a:pt x="49" y="410"/>
                  <a:pt x="49" y="409"/>
                  <a:pt x="49" y="409"/>
                </a:cubicBezTo>
                <a:cubicBezTo>
                  <a:pt x="50" y="409"/>
                  <a:pt x="51" y="411"/>
                  <a:pt x="51" y="411"/>
                </a:cubicBezTo>
                <a:cubicBezTo>
                  <a:pt x="53" y="412"/>
                  <a:pt x="52" y="407"/>
                  <a:pt x="54" y="407"/>
                </a:cubicBezTo>
                <a:cubicBezTo>
                  <a:pt x="56" y="408"/>
                  <a:pt x="54" y="410"/>
                  <a:pt x="54" y="411"/>
                </a:cubicBezTo>
                <a:cubicBezTo>
                  <a:pt x="54" y="413"/>
                  <a:pt x="55" y="413"/>
                  <a:pt x="53" y="414"/>
                </a:cubicBezTo>
                <a:cubicBezTo>
                  <a:pt x="52" y="415"/>
                  <a:pt x="51" y="418"/>
                  <a:pt x="50" y="418"/>
                </a:cubicBezTo>
                <a:close/>
                <a:moveTo>
                  <a:pt x="58" y="443"/>
                </a:moveTo>
                <a:cubicBezTo>
                  <a:pt x="57" y="444"/>
                  <a:pt x="57" y="442"/>
                  <a:pt x="58" y="441"/>
                </a:cubicBezTo>
                <a:cubicBezTo>
                  <a:pt x="59" y="441"/>
                  <a:pt x="58" y="442"/>
                  <a:pt x="58" y="443"/>
                </a:cubicBezTo>
                <a:close/>
                <a:moveTo>
                  <a:pt x="59" y="440"/>
                </a:moveTo>
                <a:cubicBezTo>
                  <a:pt x="57" y="441"/>
                  <a:pt x="59" y="437"/>
                  <a:pt x="60" y="439"/>
                </a:cubicBezTo>
                <a:cubicBezTo>
                  <a:pt x="60" y="439"/>
                  <a:pt x="59" y="440"/>
                  <a:pt x="59" y="440"/>
                </a:cubicBezTo>
                <a:close/>
                <a:moveTo>
                  <a:pt x="63" y="454"/>
                </a:moveTo>
                <a:cubicBezTo>
                  <a:pt x="64" y="455"/>
                  <a:pt x="62" y="456"/>
                  <a:pt x="63" y="454"/>
                </a:cubicBezTo>
                <a:close/>
                <a:moveTo>
                  <a:pt x="60" y="436"/>
                </a:moveTo>
                <a:cubicBezTo>
                  <a:pt x="60" y="435"/>
                  <a:pt x="64" y="434"/>
                  <a:pt x="64" y="437"/>
                </a:cubicBezTo>
                <a:cubicBezTo>
                  <a:pt x="64" y="439"/>
                  <a:pt x="58" y="440"/>
                  <a:pt x="60" y="436"/>
                </a:cubicBezTo>
                <a:close/>
                <a:moveTo>
                  <a:pt x="63" y="432"/>
                </a:moveTo>
                <a:cubicBezTo>
                  <a:pt x="62" y="431"/>
                  <a:pt x="64" y="430"/>
                  <a:pt x="63" y="432"/>
                </a:cubicBezTo>
                <a:close/>
                <a:moveTo>
                  <a:pt x="64" y="427"/>
                </a:moveTo>
                <a:cubicBezTo>
                  <a:pt x="64" y="427"/>
                  <a:pt x="64" y="428"/>
                  <a:pt x="64" y="428"/>
                </a:cubicBezTo>
                <a:cubicBezTo>
                  <a:pt x="63" y="429"/>
                  <a:pt x="63" y="426"/>
                  <a:pt x="64" y="427"/>
                </a:cubicBezTo>
                <a:close/>
                <a:moveTo>
                  <a:pt x="64" y="419"/>
                </a:moveTo>
                <a:cubicBezTo>
                  <a:pt x="62" y="420"/>
                  <a:pt x="59" y="423"/>
                  <a:pt x="58" y="424"/>
                </a:cubicBezTo>
                <a:cubicBezTo>
                  <a:pt x="57" y="426"/>
                  <a:pt x="56" y="428"/>
                  <a:pt x="54" y="429"/>
                </a:cubicBezTo>
                <a:cubicBezTo>
                  <a:pt x="57" y="423"/>
                  <a:pt x="63" y="418"/>
                  <a:pt x="66" y="413"/>
                </a:cubicBezTo>
                <a:cubicBezTo>
                  <a:pt x="69" y="409"/>
                  <a:pt x="65" y="417"/>
                  <a:pt x="64" y="419"/>
                </a:cubicBezTo>
                <a:close/>
                <a:moveTo>
                  <a:pt x="66" y="423"/>
                </a:moveTo>
                <a:cubicBezTo>
                  <a:pt x="66" y="423"/>
                  <a:pt x="65" y="423"/>
                  <a:pt x="65" y="423"/>
                </a:cubicBezTo>
                <a:cubicBezTo>
                  <a:pt x="64" y="423"/>
                  <a:pt x="66" y="422"/>
                  <a:pt x="66" y="423"/>
                </a:cubicBezTo>
                <a:close/>
                <a:moveTo>
                  <a:pt x="67" y="443"/>
                </a:moveTo>
                <a:cubicBezTo>
                  <a:pt x="67" y="443"/>
                  <a:pt x="67" y="443"/>
                  <a:pt x="67" y="443"/>
                </a:cubicBezTo>
                <a:cubicBezTo>
                  <a:pt x="67" y="441"/>
                  <a:pt x="69" y="445"/>
                  <a:pt x="67" y="443"/>
                </a:cubicBezTo>
                <a:close/>
                <a:moveTo>
                  <a:pt x="67" y="430"/>
                </a:moveTo>
                <a:cubicBezTo>
                  <a:pt x="67" y="431"/>
                  <a:pt x="66" y="432"/>
                  <a:pt x="66" y="431"/>
                </a:cubicBezTo>
                <a:cubicBezTo>
                  <a:pt x="62" y="428"/>
                  <a:pt x="71" y="428"/>
                  <a:pt x="67" y="430"/>
                </a:cubicBezTo>
                <a:close/>
                <a:moveTo>
                  <a:pt x="68" y="358"/>
                </a:moveTo>
                <a:cubicBezTo>
                  <a:pt x="65" y="360"/>
                  <a:pt x="65" y="354"/>
                  <a:pt x="67" y="355"/>
                </a:cubicBezTo>
                <a:cubicBezTo>
                  <a:pt x="69" y="355"/>
                  <a:pt x="68" y="357"/>
                  <a:pt x="68" y="358"/>
                </a:cubicBezTo>
                <a:close/>
                <a:moveTo>
                  <a:pt x="80" y="396"/>
                </a:moveTo>
                <a:cubicBezTo>
                  <a:pt x="79" y="397"/>
                  <a:pt x="80" y="395"/>
                  <a:pt x="80" y="396"/>
                </a:cubicBezTo>
                <a:close/>
                <a:moveTo>
                  <a:pt x="76" y="428"/>
                </a:moveTo>
                <a:cubicBezTo>
                  <a:pt x="76" y="428"/>
                  <a:pt x="76" y="428"/>
                  <a:pt x="76" y="428"/>
                </a:cubicBezTo>
                <a:cubicBezTo>
                  <a:pt x="77" y="427"/>
                  <a:pt x="76" y="428"/>
                  <a:pt x="76" y="428"/>
                </a:cubicBezTo>
                <a:close/>
                <a:moveTo>
                  <a:pt x="76" y="353"/>
                </a:moveTo>
                <a:cubicBezTo>
                  <a:pt x="76" y="355"/>
                  <a:pt x="75" y="355"/>
                  <a:pt x="75" y="356"/>
                </a:cubicBezTo>
                <a:cubicBezTo>
                  <a:pt x="74" y="355"/>
                  <a:pt x="76" y="354"/>
                  <a:pt x="76" y="353"/>
                </a:cubicBezTo>
                <a:close/>
                <a:moveTo>
                  <a:pt x="75" y="387"/>
                </a:moveTo>
                <a:cubicBezTo>
                  <a:pt x="74" y="387"/>
                  <a:pt x="77" y="386"/>
                  <a:pt x="75" y="387"/>
                </a:cubicBezTo>
                <a:close/>
                <a:moveTo>
                  <a:pt x="73" y="290"/>
                </a:moveTo>
                <a:cubicBezTo>
                  <a:pt x="73" y="291"/>
                  <a:pt x="73" y="292"/>
                  <a:pt x="72" y="293"/>
                </a:cubicBezTo>
                <a:cubicBezTo>
                  <a:pt x="72" y="292"/>
                  <a:pt x="73" y="290"/>
                  <a:pt x="73" y="290"/>
                </a:cubicBezTo>
                <a:close/>
                <a:moveTo>
                  <a:pt x="69" y="327"/>
                </a:moveTo>
                <a:cubicBezTo>
                  <a:pt x="69" y="326"/>
                  <a:pt x="71" y="325"/>
                  <a:pt x="72" y="324"/>
                </a:cubicBezTo>
                <a:cubicBezTo>
                  <a:pt x="72" y="326"/>
                  <a:pt x="70" y="326"/>
                  <a:pt x="69" y="327"/>
                </a:cubicBezTo>
                <a:close/>
                <a:moveTo>
                  <a:pt x="72" y="428"/>
                </a:moveTo>
                <a:cubicBezTo>
                  <a:pt x="70" y="430"/>
                  <a:pt x="71" y="426"/>
                  <a:pt x="72" y="427"/>
                </a:cubicBezTo>
                <a:cubicBezTo>
                  <a:pt x="73" y="427"/>
                  <a:pt x="73" y="428"/>
                  <a:pt x="72" y="428"/>
                </a:cubicBezTo>
                <a:close/>
                <a:moveTo>
                  <a:pt x="72" y="367"/>
                </a:moveTo>
                <a:cubicBezTo>
                  <a:pt x="72" y="367"/>
                  <a:pt x="72" y="368"/>
                  <a:pt x="72" y="368"/>
                </a:cubicBezTo>
                <a:cubicBezTo>
                  <a:pt x="71" y="369"/>
                  <a:pt x="71" y="366"/>
                  <a:pt x="72" y="367"/>
                </a:cubicBezTo>
                <a:close/>
                <a:moveTo>
                  <a:pt x="73" y="356"/>
                </a:moveTo>
                <a:cubicBezTo>
                  <a:pt x="70" y="358"/>
                  <a:pt x="71" y="351"/>
                  <a:pt x="73" y="352"/>
                </a:cubicBezTo>
                <a:cubicBezTo>
                  <a:pt x="75" y="353"/>
                  <a:pt x="73" y="356"/>
                  <a:pt x="73" y="356"/>
                </a:cubicBezTo>
                <a:close/>
                <a:moveTo>
                  <a:pt x="75" y="401"/>
                </a:moveTo>
                <a:cubicBezTo>
                  <a:pt x="73" y="402"/>
                  <a:pt x="73" y="397"/>
                  <a:pt x="75" y="398"/>
                </a:cubicBezTo>
                <a:cubicBezTo>
                  <a:pt x="76" y="399"/>
                  <a:pt x="76" y="400"/>
                  <a:pt x="75" y="401"/>
                </a:cubicBezTo>
                <a:close/>
                <a:moveTo>
                  <a:pt x="76" y="434"/>
                </a:moveTo>
                <a:cubicBezTo>
                  <a:pt x="77" y="432"/>
                  <a:pt x="79" y="430"/>
                  <a:pt x="80" y="429"/>
                </a:cubicBezTo>
                <a:cubicBezTo>
                  <a:pt x="79" y="431"/>
                  <a:pt x="78" y="432"/>
                  <a:pt x="76" y="434"/>
                </a:cubicBezTo>
                <a:close/>
                <a:moveTo>
                  <a:pt x="81" y="418"/>
                </a:moveTo>
                <a:cubicBezTo>
                  <a:pt x="80" y="418"/>
                  <a:pt x="82" y="417"/>
                  <a:pt x="81" y="418"/>
                </a:cubicBezTo>
                <a:close/>
                <a:moveTo>
                  <a:pt x="81" y="339"/>
                </a:moveTo>
                <a:cubicBezTo>
                  <a:pt x="80" y="339"/>
                  <a:pt x="81" y="337"/>
                  <a:pt x="82" y="337"/>
                </a:cubicBezTo>
                <a:cubicBezTo>
                  <a:pt x="82" y="338"/>
                  <a:pt x="81" y="338"/>
                  <a:pt x="81" y="339"/>
                </a:cubicBezTo>
                <a:close/>
                <a:moveTo>
                  <a:pt x="87" y="450"/>
                </a:moveTo>
                <a:cubicBezTo>
                  <a:pt x="87" y="450"/>
                  <a:pt x="88" y="449"/>
                  <a:pt x="89" y="449"/>
                </a:cubicBezTo>
                <a:cubicBezTo>
                  <a:pt x="89" y="449"/>
                  <a:pt x="88" y="450"/>
                  <a:pt x="87" y="450"/>
                </a:cubicBezTo>
                <a:close/>
                <a:moveTo>
                  <a:pt x="90" y="457"/>
                </a:moveTo>
                <a:cubicBezTo>
                  <a:pt x="90" y="457"/>
                  <a:pt x="90" y="457"/>
                  <a:pt x="90" y="456"/>
                </a:cubicBezTo>
                <a:cubicBezTo>
                  <a:pt x="92" y="455"/>
                  <a:pt x="91" y="456"/>
                  <a:pt x="90" y="457"/>
                </a:cubicBezTo>
                <a:close/>
                <a:moveTo>
                  <a:pt x="91" y="435"/>
                </a:moveTo>
                <a:cubicBezTo>
                  <a:pt x="89" y="437"/>
                  <a:pt x="92" y="434"/>
                  <a:pt x="91" y="435"/>
                </a:cubicBezTo>
                <a:close/>
                <a:moveTo>
                  <a:pt x="109" y="452"/>
                </a:moveTo>
                <a:cubicBezTo>
                  <a:pt x="109" y="453"/>
                  <a:pt x="108" y="452"/>
                  <a:pt x="109" y="452"/>
                </a:cubicBezTo>
                <a:close/>
                <a:moveTo>
                  <a:pt x="104" y="235"/>
                </a:moveTo>
                <a:cubicBezTo>
                  <a:pt x="103" y="236"/>
                  <a:pt x="105" y="234"/>
                  <a:pt x="104" y="235"/>
                </a:cubicBezTo>
                <a:close/>
                <a:moveTo>
                  <a:pt x="100" y="336"/>
                </a:moveTo>
                <a:cubicBezTo>
                  <a:pt x="101" y="335"/>
                  <a:pt x="101" y="335"/>
                  <a:pt x="100" y="336"/>
                </a:cubicBezTo>
                <a:close/>
                <a:moveTo>
                  <a:pt x="98" y="332"/>
                </a:moveTo>
                <a:cubicBezTo>
                  <a:pt x="97" y="331"/>
                  <a:pt x="100" y="331"/>
                  <a:pt x="98" y="332"/>
                </a:cubicBezTo>
                <a:close/>
                <a:moveTo>
                  <a:pt x="96" y="215"/>
                </a:moveTo>
                <a:cubicBezTo>
                  <a:pt x="97" y="215"/>
                  <a:pt x="97" y="216"/>
                  <a:pt x="96" y="217"/>
                </a:cubicBezTo>
                <a:cubicBezTo>
                  <a:pt x="95" y="219"/>
                  <a:pt x="95" y="214"/>
                  <a:pt x="96" y="215"/>
                </a:cubicBezTo>
                <a:close/>
                <a:moveTo>
                  <a:pt x="87" y="329"/>
                </a:moveTo>
                <a:cubicBezTo>
                  <a:pt x="87" y="330"/>
                  <a:pt x="86" y="330"/>
                  <a:pt x="86" y="331"/>
                </a:cubicBezTo>
                <a:cubicBezTo>
                  <a:pt x="85" y="331"/>
                  <a:pt x="86" y="329"/>
                  <a:pt x="87" y="329"/>
                </a:cubicBezTo>
                <a:close/>
                <a:moveTo>
                  <a:pt x="85" y="293"/>
                </a:moveTo>
                <a:cubicBezTo>
                  <a:pt x="85" y="293"/>
                  <a:pt x="85" y="294"/>
                  <a:pt x="85" y="294"/>
                </a:cubicBezTo>
                <a:cubicBezTo>
                  <a:pt x="83" y="296"/>
                  <a:pt x="83" y="291"/>
                  <a:pt x="85" y="293"/>
                </a:cubicBezTo>
                <a:close/>
                <a:moveTo>
                  <a:pt x="84" y="332"/>
                </a:moveTo>
                <a:cubicBezTo>
                  <a:pt x="86" y="333"/>
                  <a:pt x="84" y="335"/>
                  <a:pt x="82" y="336"/>
                </a:cubicBezTo>
                <a:cubicBezTo>
                  <a:pt x="83" y="334"/>
                  <a:pt x="85" y="333"/>
                  <a:pt x="84" y="332"/>
                </a:cubicBezTo>
                <a:close/>
                <a:moveTo>
                  <a:pt x="83" y="441"/>
                </a:moveTo>
                <a:cubicBezTo>
                  <a:pt x="82" y="442"/>
                  <a:pt x="84" y="440"/>
                  <a:pt x="83" y="441"/>
                </a:cubicBezTo>
                <a:close/>
                <a:moveTo>
                  <a:pt x="84" y="423"/>
                </a:moveTo>
                <a:cubicBezTo>
                  <a:pt x="83" y="424"/>
                  <a:pt x="84" y="421"/>
                  <a:pt x="85" y="422"/>
                </a:cubicBezTo>
                <a:cubicBezTo>
                  <a:pt x="86" y="422"/>
                  <a:pt x="85" y="423"/>
                  <a:pt x="84" y="423"/>
                </a:cubicBezTo>
                <a:close/>
                <a:moveTo>
                  <a:pt x="88" y="356"/>
                </a:moveTo>
                <a:cubicBezTo>
                  <a:pt x="86" y="358"/>
                  <a:pt x="87" y="353"/>
                  <a:pt x="88" y="354"/>
                </a:cubicBezTo>
                <a:cubicBezTo>
                  <a:pt x="89" y="355"/>
                  <a:pt x="88" y="356"/>
                  <a:pt x="88" y="356"/>
                </a:cubicBezTo>
                <a:close/>
                <a:moveTo>
                  <a:pt x="96" y="325"/>
                </a:moveTo>
                <a:cubicBezTo>
                  <a:pt x="96" y="326"/>
                  <a:pt x="95" y="326"/>
                  <a:pt x="94" y="328"/>
                </a:cubicBezTo>
                <a:cubicBezTo>
                  <a:pt x="92" y="330"/>
                  <a:pt x="89" y="335"/>
                  <a:pt x="87" y="340"/>
                </a:cubicBezTo>
                <a:cubicBezTo>
                  <a:pt x="85" y="344"/>
                  <a:pt x="85" y="347"/>
                  <a:pt x="83" y="350"/>
                </a:cubicBezTo>
                <a:cubicBezTo>
                  <a:pt x="83" y="350"/>
                  <a:pt x="82" y="350"/>
                  <a:pt x="82" y="350"/>
                </a:cubicBezTo>
                <a:cubicBezTo>
                  <a:pt x="81" y="350"/>
                  <a:pt x="84" y="344"/>
                  <a:pt x="85" y="342"/>
                </a:cubicBezTo>
                <a:cubicBezTo>
                  <a:pt x="86" y="339"/>
                  <a:pt x="87" y="337"/>
                  <a:pt x="89" y="334"/>
                </a:cubicBezTo>
                <a:cubicBezTo>
                  <a:pt x="90" y="332"/>
                  <a:pt x="93" y="329"/>
                  <a:pt x="93" y="326"/>
                </a:cubicBezTo>
                <a:cubicBezTo>
                  <a:pt x="93" y="326"/>
                  <a:pt x="92" y="325"/>
                  <a:pt x="92" y="324"/>
                </a:cubicBezTo>
                <a:cubicBezTo>
                  <a:pt x="92" y="320"/>
                  <a:pt x="99" y="320"/>
                  <a:pt x="96" y="325"/>
                </a:cubicBezTo>
                <a:close/>
                <a:moveTo>
                  <a:pt x="96" y="227"/>
                </a:moveTo>
                <a:cubicBezTo>
                  <a:pt x="97" y="227"/>
                  <a:pt x="97" y="228"/>
                  <a:pt x="97" y="229"/>
                </a:cubicBezTo>
                <a:cubicBezTo>
                  <a:pt x="96" y="230"/>
                  <a:pt x="96" y="227"/>
                  <a:pt x="96" y="227"/>
                </a:cubicBezTo>
                <a:close/>
                <a:moveTo>
                  <a:pt x="98" y="402"/>
                </a:moveTo>
                <a:cubicBezTo>
                  <a:pt x="98" y="402"/>
                  <a:pt x="98" y="402"/>
                  <a:pt x="97" y="402"/>
                </a:cubicBezTo>
                <a:cubicBezTo>
                  <a:pt x="95" y="401"/>
                  <a:pt x="100" y="400"/>
                  <a:pt x="98" y="402"/>
                </a:cubicBezTo>
                <a:close/>
                <a:moveTo>
                  <a:pt x="99" y="416"/>
                </a:moveTo>
                <a:cubicBezTo>
                  <a:pt x="101" y="416"/>
                  <a:pt x="100" y="421"/>
                  <a:pt x="99" y="422"/>
                </a:cubicBezTo>
                <a:cubicBezTo>
                  <a:pt x="94" y="424"/>
                  <a:pt x="98" y="416"/>
                  <a:pt x="99" y="416"/>
                </a:cubicBezTo>
                <a:close/>
                <a:moveTo>
                  <a:pt x="101" y="433"/>
                </a:moveTo>
                <a:cubicBezTo>
                  <a:pt x="103" y="434"/>
                  <a:pt x="100" y="438"/>
                  <a:pt x="100" y="439"/>
                </a:cubicBezTo>
                <a:cubicBezTo>
                  <a:pt x="94" y="441"/>
                  <a:pt x="98" y="431"/>
                  <a:pt x="101" y="433"/>
                </a:cubicBezTo>
                <a:close/>
                <a:moveTo>
                  <a:pt x="100" y="444"/>
                </a:moveTo>
                <a:cubicBezTo>
                  <a:pt x="101" y="443"/>
                  <a:pt x="99" y="445"/>
                  <a:pt x="100" y="444"/>
                </a:cubicBezTo>
                <a:close/>
                <a:moveTo>
                  <a:pt x="102" y="444"/>
                </a:moveTo>
                <a:cubicBezTo>
                  <a:pt x="102" y="445"/>
                  <a:pt x="101" y="445"/>
                  <a:pt x="101" y="445"/>
                </a:cubicBezTo>
                <a:cubicBezTo>
                  <a:pt x="99" y="443"/>
                  <a:pt x="104" y="442"/>
                  <a:pt x="102" y="444"/>
                </a:cubicBezTo>
                <a:close/>
                <a:moveTo>
                  <a:pt x="102" y="431"/>
                </a:moveTo>
                <a:cubicBezTo>
                  <a:pt x="100" y="432"/>
                  <a:pt x="100" y="428"/>
                  <a:pt x="102" y="429"/>
                </a:cubicBezTo>
                <a:cubicBezTo>
                  <a:pt x="103" y="429"/>
                  <a:pt x="103" y="430"/>
                  <a:pt x="102" y="431"/>
                </a:cubicBezTo>
                <a:close/>
                <a:moveTo>
                  <a:pt x="103" y="445"/>
                </a:moveTo>
                <a:cubicBezTo>
                  <a:pt x="102" y="447"/>
                  <a:pt x="105" y="444"/>
                  <a:pt x="103" y="445"/>
                </a:cubicBezTo>
                <a:close/>
                <a:moveTo>
                  <a:pt x="104" y="399"/>
                </a:moveTo>
                <a:cubicBezTo>
                  <a:pt x="103" y="399"/>
                  <a:pt x="103" y="397"/>
                  <a:pt x="104" y="398"/>
                </a:cubicBezTo>
                <a:cubicBezTo>
                  <a:pt x="104" y="398"/>
                  <a:pt x="104" y="399"/>
                  <a:pt x="104" y="399"/>
                </a:cubicBezTo>
                <a:close/>
                <a:moveTo>
                  <a:pt x="104" y="288"/>
                </a:moveTo>
                <a:cubicBezTo>
                  <a:pt x="103" y="290"/>
                  <a:pt x="105" y="287"/>
                  <a:pt x="104" y="288"/>
                </a:cubicBezTo>
                <a:close/>
                <a:moveTo>
                  <a:pt x="105" y="307"/>
                </a:moveTo>
                <a:cubicBezTo>
                  <a:pt x="104" y="306"/>
                  <a:pt x="106" y="303"/>
                  <a:pt x="107" y="302"/>
                </a:cubicBezTo>
                <a:cubicBezTo>
                  <a:pt x="107" y="304"/>
                  <a:pt x="106" y="306"/>
                  <a:pt x="105" y="307"/>
                </a:cubicBezTo>
                <a:close/>
                <a:moveTo>
                  <a:pt x="106" y="414"/>
                </a:moveTo>
                <a:cubicBezTo>
                  <a:pt x="106" y="413"/>
                  <a:pt x="108" y="413"/>
                  <a:pt x="106" y="414"/>
                </a:cubicBezTo>
                <a:close/>
                <a:moveTo>
                  <a:pt x="108" y="455"/>
                </a:moveTo>
                <a:cubicBezTo>
                  <a:pt x="107" y="454"/>
                  <a:pt x="109" y="454"/>
                  <a:pt x="108" y="455"/>
                </a:cubicBezTo>
                <a:close/>
                <a:moveTo>
                  <a:pt x="107" y="441"/>
                </a:moveTo>
                <a:cubicBezTo>
                  <a:pt x="106" y="441"/>
                  <a:pt x="108" y="440"/>
                  <a:pt x="108" y="440"/>
                </a:cubicBezTo>
                <a:cubicBezTo>
                  <a:pt x="108" y="440"/>
                  <a:pt x="107" y="440"/>
                  <a:pt x="107" y="441"/>
                </a:cubicBezTo>
                <a:close/>
                <a:moveTo>
                  <a:pt x="108" y="388"/>
                </a:moveTo>
                <a:cubicBezTo>
                  <a:pt x="107" y="390"/>
                  <a:pt x="107" y="386"/>
                  <a:pt x="108" y="387"/>
                </a:cubicBezTo>
                <a:cubicBezTo>
                  <a:pt x="109" y="387"/>
                  <a:pt x="108" y="388"/>
                  <a:pt x="108" y="388"/>
                </a:cubicBezTo>
                <a:close/>
                <a:moveTo>
                  <a:pt x="109" y="420"/>
                </a:moveTo>
                <a:cubicBezTo>
                  <a:pt x="109" y="421"/>
                  <a:pt x="109" y="418"/>
                  <a:pt x="109" y="420"/>
                </a:cubicBezTo>
                <a:close/>
                <a:moveTo>
                  <a:pt x="108" y="301"/>
                </a:moveTo>
                <a:cubicBezTo>
                  <a:pt x="107" y="300"/>
                  <a:pt x="108" y="298"/>
                  <a:pt x="110" y="298"/>
                </a:cubicBezTo>
                <a:cubicBezTo>
                  <a:pt x="110" y="299"/>
                  <a:pt x="108" y="300"/>
                  <a:pt x="108" y="301"/>
                </a:cubicBezTo>
                <a:close/>
                <a:moveTo>
                  <a:pt x="110" y="401"/>
                </a:moveTo>
                <a:cubicBezTo>
                  <a:pt x="110" y="401"/>
                  <a:pt x="110" y="401"/>
                  <a:pt x="110" y="401"/>
                </a:cubicBezTo>
                <a:cubicBezTo>
                  <a:pt x="110" y="401"/>
                  <a:pt x="110" y="400"/>
                  <a:pt x="110" y="401"/>
                </a:cubicBezTo>
                <a:close/>
                <a:moveTo>
                  <a:pt x="69" y="513"/>
                </a:moveTo>
                <a:cubicBezTo>
                  <a:pt x="69" y="513"/>
                  <a:pt x="70" y="512"/>
                  <a:pt x="70" y="512"/>
                </a:cubicBezTo>
                <a:cubicBezTo>
                  <a:pt x="70" y="513"/>
                  <a:pt x="69" y="513"/>
                  <a:pt x="69" y="513"/>
                </a:cubicBezTo>
                <a:close/>
                <a:moveTo>
                  <a:pt x="73" y="498"/>
                </a:moveTo>
                <a:cubicBezTo>
                  <a:pt x="73" y="497"/>
                  <a:pt x="74" y="496"/>
                  <a:pt x="75" y="496"/>
                </a:cubicBezTo>
                <a:cubicBezTo>
                  <a:pt x="75" y="497"/>
                  <a:pt x="74" y="498"/>
                  <a:pt x="73" y="498"/>
                </a:cubicBezTo>
                <a:close/>
                <a:moveTo>
                  <a:pt x="76" y="499"/>
                </a:moveTo>
                <a:cubicBezTo>
                  <a:pt x="76" y="500"/>
                  <a:pt x="77" y="498"/>
                  <a:pt x="76" y="499"/>
                </a:cubicBezTo>
                <a:close/>
                <a:moveTo>
                  <a:pt x="87" y="502"/>
                </a:moveTo>
                <a:cubicBezTo>
                  <a:pt x="86" y="500"/>
                  <a:pt x="89" y="499"/>
                  <a:pt x="87" y="502"/>
                </a:cubicBezTo>
                <a:close/>
                <a:moveTo>
                  <a:pt x="100" y="477"/>
                </a:moveTo>
                <a:cubicBezTo>
                  <a:pt x="101" y="479"/>
                  <a:pt x="100" y="481"/>
                  <a:pt x="100" y="483"/>
                </a:cubicBezTo>
                <a:cubicBezTo>
                  <a:pt x="99" y="481"/>
                  <a:pt x="99" y="479"/>
                  <a:pt x="100" y="477"/>
                </a:cubicBezTo>
                <a:close/>
                <a:moveTo>
                  <a:pt x="100" y="502"/>
                </a:moveTo>
                <a:cubicBezTo>
                  <a:pt x="97" y="499"/>
                  <a:pt x="102" y="497"/>
                  <a:pt x="104" y="496"/>
                </a:cubicBezTo>
                <a:cubicBezTo>
                  <a:pt x="105" y="499"/>
                  <a:pt x="102" y="505"/>
                  <a:pt x="100" y="502"/>
                </a:cubicBezTo>
                <a:close/>
                <a:moveTo>
                  <a:pt x="144" y="546"/>
                </a:moveTo>
                <a:cubicBezTo>
                  <a:pt x="143" y="546"/>
                  <a:pt x="144" y="546"/>
                  <a:pt x="144" y="545"/>
                </a:cubicBezTo>
                <a:cubicBezTo>
                  <a:pt x="143" y="542"/>
                  <a:pt x="147" y="545"/>
                  <a:pt x="144" y="546"/>
                </a:cubicBezTo>
                <a:close/>
                <a:moveTo>
                  <a:pt x="196" y="598"/>
                </a:moveTo>
                <a:cubicBezTo>
                  <a:pt x="196" y="598"/>
                  <a:pt x="198" y="597"/>
                  <a:pt x="198" y="598"/>
                </a:cubicBezTo>
                <a:cubicBezTo>
                  <a:pt x="198" y="599"/>
                  <a:pt x="197" y="599"/>
                  <a:pt x="196" y="598"/>
                </a:cubicBezTo>
                <a:close/>
                <a:moveTo>
                  <a:pt x="199" y="607"/>
                </a:moveTo>
                <a:cubicBezTo>
                  <a:pt x="198" y="607"/>
                  <a:pt x="198" y="607"/>
                  <a:pt x="198" y="607"/>
                </a:cubicBezTo>
                <a:cubicBezTo>
                  <a:pt x="198" y="605"/>
                  <a:pt x="200" y="608"/>
                  <a:pt x="199" y="607"/>
                </a:cubicBezTo>
                <a:close/>
                <a:moveTo>
                  <a:pt x="203" y="609"/>
                </a:moveTo>
                <a:cubicBezTo>
                  <a:pt x="203" y="608"/>
                  <a:pt x="205" y="608"/>
                  <a:pt x="205" y="609"/>
                </a:cubicBezTo>
                <a:cubicBezTo>
                  <a:pt x="205" y="609"/>
                  <a:pt x="203" y="610"/>
                  <a:pt x="203" y="609"/>
                </a:cubicBezTo>
                <a:close/>
                <a:moveTo>
                  <a:pt x="208" y="600"/>
                </a:moveTo>
                <a:cubicBezTo>
                  <a:pt x="207" y="600"/>
                  <a:pt x="209" y="600"/>
                  <a:pt x="209" y="600"/>
                </a:cubicBezTo>
                <a:cubicBezTo>
                  <a:pt x="209" y="601"/>
                  <a:pt x="208" y="601"/>
                  <a:pt x="208" y="600"/>
                </a:cubicBezTo>
                <a:close/>
                <a:moveTo>
                  <a:pt x="226" y="627"/>
                </a:moveTo>
                <a:cubicBezTo>
                  <a:pt x="225" y="627"/>
                  <a:pt x="223" y="627"/>
                  <a:pt x="224" y="625"/>
                </a:cubicBezTo>
                <a:cubicBezTo>
                  <a:pt x="225" y="624"/>
                  <a:pt x="229" y="624"/>
                  <a:pt x="229" y="625"/>
                </a:cubicBezTo>
                <a:cubicBezTo>
                  <a:pt x="229" y="626"/>
                  <a:pt x="229" y="626"/>
                  <a:pt x="228" y="627"/>
                </a:cubicBezTo>
                <a:cubicBezTo>
                  <a:pt x="229" y="627"/>
                  <a:pt x="229" y="627"/>
                  <a:pt x="229" y="627"/>
                </a:cubicBezTo>
                <a:cubicBezTo>
                  <a:pt x="228" y="628"/>
                  <a:pt x="227" y="628"/>
                  <a:pt x="226" y="627"/>
                </a:cubicBezTo>
                <a:close/>
                <a:moveTo>
                  <a:pt x="229" y="628"/>
                </a:moveTo>
                <a:cubicBezTo>
                  <a:pt x="229" y="628"/>
                  <a:pt x="231" y="628"/>
                  <a:pt x="231" y="628"/>
                </a:cubicBezTo>
                <a:cubicBezTo>
                  <a:pt x="231" y="629"/>
                  <a:pt x="229" y="628"/>
                  <a:pt x="229" y="628"/>
                </a:cubicBezTo>
                <a:close/>
                <a:moveTo>
                  <a:pt x="228" y="653"/>
                </a:moveTo>
                <a:cubicBezTo>
                  <a:pt x="228" y="653"/>
                  <a:pt x="228" y="653"/>
                  <a:pt x="228" y="653"/>
                </a:cubicBezTo>
                <a:cubicBezTo>
                  <a:pt x="228" y="653"/>
                  <a:pt x="228" y="652"/>
                  <a:pt x="228" y="653"/>
                </a:cubicBezTo>
                <a:close/>
                <a:moveTo>
                  <a:pt x="213" y="659"/>
                </a:moveTo>
                <a:cubicBezTo>
                  <a:pt x="213" y="659"/>
                  <a:pt x="213" y="659"/>
                  <a:pt x="213" y="659"/>
                </a:cubicBezTo>
                <a:cubicBezTo>
                  <a:pt x="213" y="659"/>
                  <a:pt x="213" y="659"/>
                  <a:pt x="213" y="659"/>
                </a:cubicBezTo>
                <a:close/>
                <a:moveTo>
                  <a:pt x="213" y="659"/>
                </a:moveTo>
                <a:cubicBezTo>
                  <a:pt x="214" y="659"/>
                  <a:pt x="213" y="659"/>
                  <a:pt x="213" y="659"/>
                </a:cubicBezTo>
                <a:close/>
                <a:moveTo>
                  <a:pt x="213" y="657"/>
                </a:moveTo>
                <a:cubicBezTo>
                  <a:pt x="213" y="656"/>
                  <a:pt x="214" y="656"/>
                  <a:pt x="214" y="656"/>
                </a:cubicBezTo>
                <a:cubicBezTo>
                  <a:pt x="215" y="657"/>
                  <a:pt x="214" y="657"/>
                  <a:pt x="213" y="657"/>
                </a:cubicBezTo>
                <a:close/>
                <a:moveTo>
                  <a:pt x="216" y="659"/>
                </a:moveTo>
                <a:cubicBezTo>
                  <a:pt x="216" y="658"/>
                  <a:pt x="216" y="657"/>
                  <a:pt x="217" y="658"/>
                </a:cubicBezTo>
                <a:cubicBezTo>
                  <a:pt x="216" y="658"/>
                  <a:pt x="218" y="660"/>
                  <a:pt x="218" y="660"/>
                </a:cubicBezTo>
                <a:cubicBezTo>
                  <a:pt x="217" y="661"/>
                  <a:pt x="215" y="661"/>
                  <a:pt x="216" y="659"/>
                </a:cubicBezTo>
                <a:close/>
                <a:moveTo>
                  <a:pt x="223" y="655"/>
                </a:moveTo>
                <a:cubicBezTo>
                  <a:pt x="222" y="654"/>
                  <a:pt x="224" y="654"/>
                  <a:pt x="224" y="655"/>
                </a:cubicBezTo>
                <a:cubicBezTo>
                  <a:pt x="224" y="655"/>
                  <a:pt x="223" y="655"/>
                  <a:pt x="223" y="655"/>
                </a:cubicBezTo>
                <a:close/>
                <a:moveTo>
                  <a:pt x="218" y="655"/>
                </a:moveTo>
                <a:cubicBezTo>
                  <a:pt x="217" y="655"/>
                  <a:pt x="214" y="653"/>
                  <a:pt x="215" y="651"/>
                </a:cubicBezTo>
                <a:cubicBezTo>
                  <a:pt x="216" y="650"/>
                  <a:pt x="220" y="648"/>
                  <a:pt x="222" y="648"/>
                </a:cubicBezTo>
                <a:cubicBezTo>
                  <a:pt x="223" y="649"/>
                  <a:pt x="224" y="649"/>
                  <a:pt x="224" y="650"/>
                </a:cubicBezTo>
                <a:cubicBezTo>
                  <a:pt x="224" y="650"/>
                  <a:pt x="226" y="648"/>
                  <a:pt x="225" y="650"/>
                </a:cubicBezTo>
                <a:cubicBezTo>
                  <a:pt x="225" y="650"/>
                  <a:pt x="223" y="651"/>
                  <a:pt x="223" y="652"/>
                </a:cubicBezTo>
                <a:cubicBezTo>
                  <a:pt x="224" y="652"/>
                  <a:pt x="225" y="651"/>
                  <a:pt x="225" y="652"/>
                </a:cubicBezTo>
                <a:cubicBezTo>
                  <a:pt x="224" y="652"/>
                  <a:pt x="221" y="655"/>
                  <a:pt x="218" y="655"/>
                </a:cubicBezTo>
                <a:close/>
                <a:moveTo>
                  <a:pt x="227" y="665"/>
                </a:moveTo>
                <a:cubicBezTo>
                  <a:pt x="223" y="666"/>
                  <a:pt x="226" y="661"/>
                  <a:pt x="228" y="662"/>
                </a:cubicBezTo>
                <a:cubicBezTo>
                  <a:pt x="229" y="664"/>
                  <a:pt x="228" y="664"/>
                  <a:pt x="227" y="665"/>
                </a:cubicBezTo>
                <a:close/>
                <a:moveTo>
                  <a:pt x="228" y="654"/>
                </a:moveTo>
                <a:cubicBezTo>
                  <a:pt x="227" y="653"/>
                  <a:pt x="230" y="655"/>
                  <a:pt x="228" y="654"/>
                </a:cubicBezTo>
                <a:close/>
                <a:moveTo>
                  <a:pt x="229" y="639"/>
                </a:moveTo>
                <a:cubicBezTo>
                  <a:pt x="228" y="638"/>
                  <a:pt x="231" y="638"/>
                  <a:pt x="231" y="639"/>
                </a:cubicBezTo>
                <a:cubicBezTo>
                  <a:pt x="231" y="639"/>
                  <a:pt x="230" y="640"/>
                  <a:pt x="229" y="639"/>
                </a:cubicBezTo>
                <a:close/>
                <a:moveTo>
                  <a:pt x="215" y="675"/>
                </a:moveTo>
                <a:cubicBezTo>
                  <a:pt x="216" y="673"/>
                  <a:pt x="216" y="675"/>
                  <a:pt x="215" y="675"/>
                </a:cubicBezTo>
                <a:close/>
                <a:moveTo>
                  <a:pt x="219" y="676"/>
                </a:moveTo>
                <a:cubicBezTo>
                  <a:pt x="220" y="675"/>
                  <a:pt x="221" y="676"/>
                  <a:pt x="223" y="676"/>
                </a:cubicBezTo>
                <a:cubicBezTo>
                  <a:pt x="221" y="676"/>
                  <a:pt x="220" y="677"/>
                  <a:pt x="219" y="676"/>
                </a:cubicBezTo>
                <a:close/>
                <a:moveTo>
                  <a:pt x="226" y="676"/>
                </a:moveTo>
                <a:cubicBezTo>
                  <a:pt x="226" y="675"/>
                  <a:pt x="228" y="675"/>
                  <a:pt x="228" y="675"/>
                </a:cubicBezTo>
                <a:cubicBezTo>
                  <a:pt x="228" y="676"/>
                  <a:pt x="226" y="676"/>
                  <a:pt x="226" y="676"/>
                </a:cubicBezTo>
                <a:close/>
                <a:moveTo>
                  <a:pt x="229" y="676"/>
                </a:moveTo>
                <a:cubicBezTo>
                  <a:pt x="229" y="675"/>
                  <a:pt x="230" y="676"/>
                  <a:pt x="230" y="676"/>
                </a:cubicBezTo>
                <a:cubicBezTo>
                  <a:pt x="230" y="676"/>
                  <a:pt x="229" y="677"/>
                  <a:pt x="229" y="676"/>
                </a:cubicBezTo>
                <a:close/>
                <a:moveTo>
                  <a:pt x="234" y="679"/>
                </a:moveTo>
                <a:cubicBezTo>
                  <a:pt x="234" y="678"/>
                  <a:pt x="235" y="678"/>
                  <a:pt x="235" y="678"/>
                </a:cubicBezTo>
                <a:cubicBezTo>
                  <a:pt x="236" y="679"/>
                  <a:pt x="234" y="679"/>
                  <a:pt x="234" y="679"/>
                </a:cubicBezTo>
                <a:close/>
                <a:moveTo>
                  <a:pt x="248" y="692"/>
                </a:moveTo>
                <a:cubicBezTo>
                  <a:pt x="248" y="691"/>
                  <a:pt x="250" y="691"/>
                  <a:pt x="250" y="691"/>
                </a:cubicBezTo>
                <a:cubicBezTo>
                  <a:pt x="251" y="692"/>
                  <a:pt x="249" y="692"/>
                  <a:pt x="248" y="692"/>
                </a:cubicBezTo>
                <a:close/>
                <a:moveTo>
                  <a:pt x="349" y="41"/>
                </a:moveTo>
                <a:cubicBezTo>
                  <a:pt x="348" y="41"/>
                  <a:pt x="345" y="42"/>
                  <a:pt x="344" y="41"/>
                </a:cubicBezTo>
                <a:cubicBezTo>
                  <a:pt x="344" y="40"/>
                  <a:pt x="348" y="40"/>
                  <a:pt x="349" y="41"/>
                </a:cubicBezTo>
                <a:close/>
                <a:moveTo>
                  <a:pt x="343" y="7"/>
                </a:moveTo>
                <a:cubicBezTo>
                  <a:pt x="344" y="6"/>
                  <a:pt x="345" y="8"/>
                  <a:pt x="343" y="7"/>
                </a:cubicBezTo>
                <a:close/>
                <a:moveTo>
                  <a:pt x="342" y="38"/>
                </a:moveTo>
                <a:cubicBezTo>
                  <a:pt x="341" y="38"/>
                  <a:pt x="340" y="37"/>
                  <a:pt x="339" y="38"/>
                </a:cubicBezTo>
                <a:cubicBezTo>
                  <a:pt x="339" y="37"/>
                  <a:pt x="341" y="37"/>
                  <a:pt x="342" y="38"/>
                </a:cubicBezTo>
                <a:close/>
                <a:moveTo>
                  <a:pt x="335" y="37"/>
                </a:moveTo>
                <a:cubicBezTo>
                  <a:pt x="336" y="36"/>
                  <a:pt x="337" y="39"/>
                  <a:pt x="335" y="37"/>
                </a:cubicBezTo>
                <a:close/>
                <a:moveTo>
                  <a:pt x="336" y="97"/>
                </a:move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5" y="96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lose/>
                <a:moveTo>
                  <a:pt x="316" y="49"/>
                </a:moveTo>
                <a:cubicBezTo>
                  <a:pt x="316" y="49"/>
                  <a:pt x="313" y="50"/>
                  <a:pt x="313" y="49"/>
                </a:cubicBezTo>
                <a:cubicBezTo>
                  <a:pt x="312" y="49"/>
                  <a:pt x="315" y="48"/>
                  <a:pt x="316" y="49"/>
                </a:cubicBezTo>
                <a:close/>
                <a:moveTo>
                  <a:pt x="321" y="108"/>
                </a:moveTo>
                <a:cubicBezTo>
                  <a:pt x="319" y="109"/>
                  <a:pt x="315" y="112"/>
                  <a:pt x="311" y="111"/>
                </a:cubicBezTo>
                <a:cubicBezTo>
                  <a:pt x="314" y="109"/>
                  <a:pt x="317" y="109"/>
                  <a:pt x="321" y="108"/>
                </a:cubicBezTo>
                <a:close/>
                <a:moveTo>
                  <a:pt x="320" y="636"/>
                </a:moveTo>
                <a:cubicBezTo>
                  <a:pt x="319" y="636"/>
                  <a:pt x="320" y="635"/>
                  <a:pt x="320" y="635"/>
                </a:cubicBezTo>
                <a:cubicBezTo>
                  <a:pt x="321" y="635"/>
                  <a:pt x="320" y="636"/>
                  <a:pt x="320" y="636"/>
                </a:cubicBezTo>
                <a:close/>
                <a:moveTo>
                  <a:pt x="319" y="620"/>
                </a:moveTo>
                <a:cubicBezTo>
                  <a:pt x="319" y="620"/>
                  <a:pt x="318" y="620"/>
                  <a:pt x="317" y="620"/>
                </a:cubicBezTo>
                <a:cubicBezTo>
                  <a:pt x="318" y="620"/>
                  <a:pt x="319" y="619"/>
                  <a:pt x="319" y="620"/>
                </a:cubicBezTo>
                <a:close/>
                <a:moveTo>
                  <a:pt x="318" y="614"/>
                </a:moveTo>
                <a:cubicBezTo>
                  <a:pt x="317" y="613"/>
                  <a:pt x="319" y="615"/>
                  <a:pt x="318" y="614"/>
                </a:cubicBezTo>
                <a:close/>
                <a:moveTo>
                  <a:pt x="313" y="137"/>
                </a:moveTo>
                <a:cubicBezTo>
                  <a:pt x="312" y="140"/>
                  <a:pt x="312" y="135"/>
                  <a:pt x="312" y="137"/>
                </a:cubicBezTo>
                <a:cubicBezTo>
                  <a:pt x="312" y="137"/>
                  <a:pt x="313" y="137"/>
                  <a:pt x="313" y="137"/>
                </a:cubicBezTo>
                <a:close/>
                <a:moveTo>
                  <a:pt x="311" y="41"/>
                </a:moveTo>
                <a:cubicBezTo>
                  <a:pt x="310" y="42"/>
                  <a:pt x="309" y="40"/>
                  <a:pt x="311" y="41"/>
                </a:cubicBezTo>
                <a:close/>
                <a:moveTo>
                  <a:pt x="309" y="527"/>
                </a:moveTo>
                <a:cubicBezTo>
                  <a:pt x="309" y="528"/>
                  <a:pt x="306" y="529"/>
                  <a:pt x="306" y="527"/>
                </a:cubicBezTo>
                <a:cubicBezTo>
                  <a:pt x="306" y="525"/>
                  <a:pt x="309" y="526"/>
                  <a:pt x="309" y="527"/>
                </a:cubicBezTo>
                <a:close/>
                <a:moveTo>
                  <a:pt x="307" y="61"/>
                </a:moveTo>
                <a:cubicBezTo>
                  <a:pt x="306" y="60"/>
                  <a:pt x="308" y="61"/>
                  <a:pt x="307" y="61"/>
                </a:cubicBezTo>
                <a:close/>
                <a:moveTo>
                  <a:pt x="293" y="53"/>
                </a:moveTo>
                <a:cubicBezTo>
                  <a:pt x="298" y="52"/>
                  <a:pt x="304" y="52"/>
                  <a:pt x="309" y="51"/>
                </a:cubicBezTo>
                <a:cubicBezTo>
                  <a:pt x="304" y="53"/>
                  <a:pt x="299" y="53"/>
                  <a:pt x="293" y="53"/>
                </a:cubicBezTo>
                <a:close/>
                <a:moveTo>
                  <a:pt x="282" y="662"/>
                </a:moveTo>
                <a:cubicBezTo>
                  <a:pt x="281" y="662"/>
                  <a:pt x="279" y="663"/>
                  <a:pt x="277" y="663"/>
                </a:cubicBezTo>
                <a:cubicBezTo>
                  <a:pt x="279" y="662"/>
                  <a:pt x="281" y="661"/>
                  <a:pt x="282" y="662"/>
                </a:cubicBezTo>
                <a:close/>
                <a:moveTo>
                  <a:pt x="278" y="582"/>
                </a:moveTo>
                <a:cubicBezTo>
                  <a:pt x="278" y="581"/>
                  <a:pt x="280" y="581"/>
                  <a:pt x="279" y="582"/>
                </a:cubicBezTo>
                <a:cubicBezTo>
                  <a:pt x="279" y="582"/>
                  <a:pt x="279" y="582"/>
                  <a:pt x="278" y="582"/>
                </a:cubicBezTo>
                <a:close/>
                <a:moveTo>
                  <a:pt x="282" y="582"/>
                </a:moveTo>
                <a:cubicBezTo>
                  <a:pt x="282" y="582"/>
                  <a:pt x="280" y="583"/>
                  <a:pt x="280" y="581"/>
                </a:cubicBezTo>
                <a:cubicBezTo>
                  <a:pt x="280" y="580"/>
                  <a:pt x="282" y="581"/>
                  <a:pt x="282" y="582"/>
                </a:cubicBezTo>
                <a:close/>
                <a:moveTo>
                  <a:pt x="281" y="574"/>
                </a:moveTo>
                <a:cubicBezTo>
                  <a:pt x="281" y="575"/>
                  <a:pt x="280" y="575"/>
                  <a:pt x="280" y="574"/>
                </a:cubicBezTo>
                <a:cubicBezTo>
                  <a:pt x="279" y="574"/>
                  <a:pt x="281" y="573"/>
                  <a:pt x="281" y="574"/>
                </a:cubicBezTo>
                <a:close/>
                <a:moveTo>
                  <a:pt x="294" y="551"/>
                </a:moveTo>
                <a:cubicBezTo>
                  <a:pt x="291" y="553"/>
                  <a:pt x="287" y="555"/>
                  <a:pt x="285" y="556"/>
                </a:cubicBezTo>
                <a:cubicBezTo>
                  <a:pt x="285" y="556"/>
                  <a:pt x="283" y="557"/>
                  <a:pt x="284" y="556"/>
                </a:cubicBezTo>
                <a:cubicBezTo>
                  <a:pt x="286" y="553"/>
                  <a:pt x="291" y="553"/>
                  <a:pt x="294" y="551"/>
                </a:cubicBezTo>
                <a:close/>
                <a:moveTo>
                  <a:pt x="286" y="536"/>
                </a:moveTo>
                <a:cubicBezTo>
                  <a:pt x="286" y="535"/>
                  <a:pt x="286" y="536"/>
                  <a:pt x="286" y="536"/>
                </a:cubicBezTo>
                <a:cubicBezTo>
                  <a:pt x="285" y="536"/>
                  <a:pt x="286" y="535"/>
                  <a:pt x="286" y="536"/>
                </a:cubicBezTo>
                <a:close/>
                <a:moveTo>
                  <a:pt x="287" y="536"/>
                </a:moveTo>
                <a:cubicBezTo>
                  <a:pt x="287" y="534"/>
                  <a:pt x="289" y="534"/>
                  <a:pt x="289" y="536"/>
                </a:cubicBezTo>
                <a:cubicBezTo>
                  <a:pt x="289" y="537"/>
                  <a:pt x="287" y="536"/>
                  <a:pt x="287" y="536"/>
                </a:cubicBezTo>
                <a:close/>
                <a:moveTo>
                  <a:pt x="290" y="512"/>
                </a:moveTo>
                <a:cubicBezTo>
                  <a:pt x="291" y="510"/>
                  <a:pt x="293" y="509"/>
                  <a:pt x="294" y="508"/>
                </a:cubicBezTo>
                <a:cubicBezTo>
                  <a:pt x="294" y="509"/>
                  <a:pt x="292" y="510"/>
                  <a:pt x="290" y="512"/>
                </a:cubicBezTo>
                <a:close/>
                <a:moveTo>
                  <a:pt x="290" y="550"/>
                </a:moveTo>
                <a:cubicBezTo>
                  <a:pt x="290" y="549"/>
                  <a:pt x="291" y="548"/>
                  <a:pt x="292" y="549"/>
                </a:cubicBezTo>
                <a:cubicBezTo>
                  <a:pt x="292" y="550"/>
                  <a:pt x="290" y="551"/>
                  <a:pt x="290" y="550"/>
                </a:cubicBezTo>
                <a:close/>
                <a:moveTo>
                  <a:pt x="287" y="638"/>
                </a:moveTo>
                <a:cubicBezTo>
                  <a:pt x="288" y="637"/>
                  <a:pt x="289" y="637"/>
                  <a:pt x="290" y="637"/>
                </a:cubicBezTo>
                <a:cubicBezTo>
                  <a:pt x="289" y="637"/>
                  <a:pt x="288" y="638"/>
                  <a:pt x="287" y="638"/>
                </a:cubicBezTo>
                <a:close/>
                <a:moveTo>
                  <a:pt x="290" y="640"/>
                </a:moveTo>
                <a:cubicBezTo>
                  <a:pt x="289" y="641"/>
                  <a:pt x="288" y="640"/>
                  <a:pt x="287" y="641"/>
                </a:cubicBezTo>
                <a:cubicBezTo>
                  <a:pt x="287" y="640"/>
                  <a:pt x="289" y="639"/>
                  <a:pt x="290" y="640"/>
                </a:cubicBezTo>
                <a:close/>
                <a:moveTo>
                  <a:pt x="292" y="594"/>
                </a:moveTo>
                <a:cubicBezTo>
                  <a:pt x="292" y="595"/>
                  <a:pt x="288" y="596"/>
                  <a:pt x="288" y="593"/>
                </a:cubicBezTo>
                <a:cubicBezTo>
                  <a:pt x="288" y="591"/>
                  <a:pt x="292" y="592"/>
                  <a:pt x="292" y="594"/>
                </a:cubicBezTo>
                <a:close/>
                <a:moveTo>
                  <a:pt x="288" y="573"/>
                </a:moveTo>
                <a:cubicBezTo>
                  <a:pt x="288" y="572"/>
                  <a:pt x="290" y="571"/>
                  <a:pt x="291" y="571"/>
                </a:cubicBezTo>
                <a:cubicBezTo>
                  <a:pt x="290" y="572"/>
                  <a:pt x="289" y="572"/>
                  <a:pt x="288" y="573"/>
                </a:cubicBezTo>
                <a:close/>
                <a:moveTo>
                  <a:pt x="292" y="571"/>
                </a:moveTo>
                <a:cubicBezTo>
                  <a:pt x="292" y="570"/>
                  <a:pt x="293" y="569"/>
                  <a:pt x="294" y="570"/>
                </a:cubicBezTo>
                <a:cubicBezTo>
                  <a:pt x="294" y="571"/>
                  <a:pt x="292" y="571"/>
                  <a:pt x="292" y="571"/>
                </a:cubicBezTo>
                <a:close/>
                <a:moveTo>
                  <a:pt x="293" y="594"/>
                </a:moveTo>
                <a:cubicBezTo>
                  <a:pt x="293" y="596"/>
                  <a:pt x="291" y="595"/>
                  <a:pt x="293" y="594"/>
                </a:cubicBezTo>
                <a:close/>
                <a:moveTo>
                  <a:pt x="291" y="595"/>
                </a:moveTo>
                <a:cubicBezTo>
                  <a:pt x="290" y="597"/>
                  <a:pt x="288" y="596"/>
                  <a:pt x="291" y="595"/>
                </a:cubicBezTo>
                <a:close/>
                <a:moveTo>
                  <a:pt x="290" y="625"/>
                </a:moveTo>
                <a:cubicBezTo>
                  <a:pt x="291" y="626"/>
                  <a:pt x="290" y="625"/>
                  <a:pt x="290" y="625"/>
                </a:cubicBezTo>
                <a:cubicBezTo>
                  <a:pt x="290" y="625"/>
                  <a:pt x="290" y="625"/>
                  <a:pt x="290" y="625"/>
                </a:cubicBezTo>
                <a:close/>
                <a:moveTo>
                  <a:pt x="289" y="602"/>
                </a:moveTo>
                <a:cubicBezTo>
                  <a:pt x="289" y="601"/>
                  <a:pt x="292" y="601"/>
                  <a:pt x="293" y="601"/>
                </a:cubicBezTo>
                <a:cubicBezTo>
                  <a:pt x="292" y="602"/>
                  <a:pt x="290" y="602"/>
                  <a:pt x="289" y="602"/>
                </a:cubicBezTo>
                <a:close/>
                <a:moveTo>
                  <a:pt x="291" y="634"/>
                </a:moveTo>
                <a:cubicBezTo>
                  <a:pt x="292" y="634"/>
                  <a:pt x="293" y="634"/>
                  <a:pt x="292" y="635"/>
                </a:cubicBezTo>
                <a:cubicBezTo>
                  <a:pt x="292" y="636"/>
                  <a:pt x="291" y="635"/>
                  <a:pt x="291" y="634"/>
                </a:cubicBezTo>
                <a:close/>
                <a:moveTo>
                  <a:pt x="295" y="635"/>
                </a:moveTo>
                <a:cubicBezTo>
                  <a:pt x="294" y="636"/>
                  <a:pt x="293" y="637"/>
                  <a:pt x="291" y="636"/>
                </a:cubicBezTo>
                <a:cubicBezTo>
                  <a:pt x="292" y="636"/>
                  <a:pt x="294" y="636"/>
                  <a:pt x="295" y="635"/>
                </a:cubicBezTo>
                <a:close/>
                <a:moveTo>
                  <a:pt x="293" y="583"/>
                </a:moveTo>
                <a:cubicBezTo>
                  <a:pt x="293" y="583"/>
                  <a:pt x="294" y="583"/>
                  <a:pt x="294" y="583"/>
                </a:cubicBezTo>
                <a:cubicBezTo>
                  <a:pt x="295" y="584"/>
                  <a:pt x="293" y="585"/>
                  <a:pt x="293" y="583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538"/>
                </a:moveTo>
                <a:cubicBezTo>
                  <a:pt x="283" y="538"/>
                  <a:pt x="284" y="537"/>
                  <a:pt x="284" y="537"/>
                </a:cubicBezTo>
                <a:cubicBezTo>
                  <a:pt x="285" y="537"/>
                  <a:pt x="284" y="538"/>
                  <a:pt x="284" y="538"/>
                </a:cubicBezTo>
                <a:close/>
                <a:moveTo>
                  <a:pt x="285" y="588"/>
                </a:moveTo>
                <a:cubicBezTo>
                  <a:pt x="284" y="589"/>
                  <a:pt x="283" y="589"/>
                  <a:pt x="282" y="590"/>
                </a:cubicBezTo>
                <a:cubicBezTo>
                  <a:pt x="282" y="590"/>
                  <a:pt x="284" y="588"/>
                  <a:pt x="285" y="588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612"/>
                </a:moveTo>
                <a:cubicBezTo>
                  <a:pt x="281" y="614"/>
                  <a:pt x="281" y="612"/>
                  <a:pt x="284" y="612"/>
                </a:cubicBezTo>
                <a:close/>
                <a:moveTo>
                  <a:pt x="283" y="648"/>
                </a:moveTo>
                <a:cubicBezTo>
                  <a:pt x="284" y="645"/>
                  <a:pt x="286" y="647"/>
                  <a:pt x="283" y="648"/>
                </a:cubicBezTo>
                <a:close/>
                <a:moveTo>
                  <a:pt x="287" y="661"/>
                </a:moveTo>
                <a:cubicBezTo>
                  <a:pt x="287" y="661"/>
                  <a:pt x="285" y="662"/>
                  <a:pt x="284" y="662"/>
                </a:cubicBezTo>
                <a:cubicBezTo>
                  <a:pt x="284" y="661"/>
                  <a:pt x="287" y="660"/>
                  <a:pt x="287" y="661"/>
                </a:cubicBezTo>
                <a:close/>
                <a:moveTo>
                  <a:pt x="288" y="667"/>
                </a:moveTo>
                <a:cubicBezTo>
                  <a:pt x="288" y="668"/>
                  <a:pt x="286" y="668"/>
                  <a:pt x="286" y="667"/>
                </a:cubicBezTo>
                <a:cubicBezTo>
                  <a:pt x="285" y="666"/>
                  <a:pt x="288" y="666"/>
                  <a:pt x="288" y="667"/>
                </a:cubicBezTo>
                <a:close/>
                <a:moveTo>
                  <a:pt x="287" y="650"/>
                </a:moveTo>
                <a:cubicBezTo>
                  <a:pt x="287" y="648"/>
                  <a:pt x="290" y="647"/>
                  <a:pt x="291" y="649"/>
                </a:cubicBezTo>
                <a:cubicBezTo>
                  <a:pt x="295" y="653"/>
                  <a:pt x="286" y="654"/>
                  <a:pt x="287" y="650"/>
                </a:cubicBezTo>
                <a:close/>
                <a:moveTo>
                  <a:pt x="292" y="691"/>
                </a:moveTo>
                <a:cubicBezTo>
                  <a:pt x="292" y="691"/>
                  <a:pt x="292" y="691"/>
                  <a:pt x="292" y="691"/>
                </a:cubicBezTo>
                <a:cubicBezTo>
                  <a:pt x="292" y="689"/>
                  <a:pt x="294" y="692"/>
                  <a:pt x="292" y="691"/>
                </a:cubicBezTo>
                <a:close/>
                <a:moveTo>
                  <a:pt x="292" y="646"/>
                </a:moveTo>
                <a:cubicBezTo>
                  <a:pt x="290" y="644"/>
                  <a:pt x="297" y="643"/>
                  <a:pt x="294" y="646"/>
                </a:cubicBezTo>
                <a:cubicBezTo>
                  <a:pt x="294" y="646"/>
                  <a:pt x="293" y="646"/>
                  <a:pt x="292" y="646"/>
                </a:cubicBezTo>
                <a:close/>
                <a:moveTo>
                  <a:pt x="294" y="600"/>
                </a:moveTo>
                <a:cubicBezTo>
                  <a:pt x="294" y="600"/>
                  <a:pt x="296" y="599"/>
                  <a:pt x="297" y="599"/>
                </a:cubicBezTo>
                <a:cubicBezTo>
                  <a:pt x="296" y="600"/>
                  <a:pt x="295" y="600"/>
                  <a:pt x="294" y="600"/>
                </a:cubicBezTo>
                <a:close/>
                <a:moveTo>
                  <a:pt x="293" y="530"/>
                </a:moveTo>
                <a:cubicBezTo>
                  <a:pt x="294" y="529"/>
                  <a:pt x="296" y="528"/>
                  <a:pt x="297" y="530"/>
                </a:cubicBezTo>
                <a:cubicBezTo>
                  <a:pt x="298" y="532"/>
                  <a:pt x="293" y="534"/>
                  <a:pt x="293" y="530"/>
                </a:cubicBezTo>
                <a:close/>
                <a:moveTo>
                  <a:pt x="303" y="581"/>
                </a:moveTo>
                <a:cubicBezTo>
                  <a:pt x="303" y="584"/>
                  <a:pt x="298" y="584"/>
                  <a:pt x="297" y="581"/>
                </a:cubicBezTo>
                <a:cubicBezTo>
                  <a:pt x="297" y="578"/>
                  <a:pt x="303" y="579"/>
                  <a:pt x="303" y="581"/>
                </a:cubicBezTo>
                <a:close/>
                <a:moveTo>
                  <a:pt x="298" y="504"/>
                </a:moveTo>
                <a:cubicBezTo>
                  <a:pt x="298" y="503"/>
                  <a:pt x="300" y="504"/>
                  <a:pt x="298" y="504"/>
                </a:cubicBezTo>
                <a:close/>
                <a:moveTo>
                  <a:pt x="300" y="102"/>
                </a:moveTo>
                <a:cubicBezTo>
                  <a:pt x="298" y="103"/>
                  <a:pt x="297" y="101"/>
                  <a:pt x="300" y="102"/>
                </a:cubicBezTo>
                <a:close/>
                <a:moveTo>
                  <a:pt x="299" y="578"/>
                </a:moveTo>
                <a:cubicBezTo>
                  <a:pt x="299" y="578"/>
                  <a:pt x="298" y="579"/>
                  <a:pt x="298" y="578"/>
                </a:cubicBezTo>
                <a:cubicBezTo>
                  <a:pt x="297" y="577"/>
                  <a:pt x="300" y="577"/>
                  <a:pt x="299" y="578"/>
                </a:cubicBezTo>
                <a:close/>
                <a:moveTo>
                  <a:pt x="303" y="67"/>
                </a:moveTo>
                <a:cubicBezTo>
                  <a:pt x="302" y="69"/>
                  <a:pt x="302" y="67"/>
                  <a:pt x="303" y="67"/>
                </a:cubicBezTo>
                <a:close/>
                <a:moveTo>
                  <a:pt x="304" y="592"/>
                </a:moveTo>
                <a:cubicBezTo>
                  <a:pt x="304" y="593"/>
                  <a:pt x="301" y="593"/>
                  <a:pt x="300" y="594"/>
                </a:cubicBezTo>
                <a:cubicBezTo>
                  <a:pt x="301" y="593"/>
                  <a:pt x="303" y="592"/>
                  <a:pt x="304" y="592"/>
                </a:cubicBezTo>
                <a:close/>
                <a:moveTo>
                  <a:pt x="304" y="660"/>
                </a:moveTo>
                <a:cubicBezTo>
                  <a:pt x="304" y="661"/>
                  <a:pt x="304" y="662"/>
                  <a:pt x="304" y="662"/>
                </a:cubicBezTo>
                <a:cubicBezTo>
                  <a:pt x="302" y="664"/>
                  <a:pt x="301" y="659"/>
                  <a:pt x="304" y="660"/>
                </a:cubicBezTo>
                <a:close/>
                <a:moveTo>
                  <a:pt x="308" y="41"/>
                </a:moveTo>
                <a:cubicBezTo>
                  <a:pt x="308" y="41"/>
                  <a:pt x="307" y="42"/>
                  <a:pt x="307" y="42"/>
                </a:cubicBezTo>
                <a:cubicBezTo>
                  <a:pt x="306" y="42"/>
                  <a:pt x="307" y="41"/>
                  <a:pt x="308" y="41"/>
                </a:cubicBezTo>
                <a:close/>
                <a:moveTo>
                  <a:pt x="298" y="26"/>
                </a:moveTo>
                <a:cubicBezTo>
                  <a:pt x="300" y="25"/>
                  <a:pt x="300" y="27"/>
                  <a:pt x="298" y="26"/>
                </a:cubicBezTo>
                <a:close/>
                <a:moveTo>
                  <a:pt x="299" y="30"/>
                </a:moveTo>
                <a:cubicBezTo>
                  <a:pt x="297" y="31"/>
                  <a:pt x="295" y="30"/>
                  <a:pt x="293" y="30"/>
                </a:cubicBezTo>
                <a:cubicBezTo>
                  <a:pt x="295" y="29"/>
                  <a:pt x="297" y="29"/>
                  <a:pt x="299" y="30"/>
                </a:cubicBezTo>
                <a:close/>
                <a:moveTo>
                  <a:pt x="291" y="53"/>
                </a:moveTo>
                <a:cubicBezTo>
                  <a:pt x="287" y="54"/>
                  <a:pt x="283" y="55"/>
                  <a:pt x="279" y="55"/>
                </a:cubicBezTo>
                <a:cubicBezTo>
                  <a:pt x="283" y="54"/>
                  <a:pt x="287" y="53"/>
                  <a:pt x="291" y="53"/>
                </a:cubicBezTo>
                <a:close/>
                <a:moveTo>
                  <a:pt x="288" y="513"/>
                </a:moveTo>
                <a:cubicBezTo>
                  <a:pt x="287" y="513"/>
                  <a:pt x="290" y="512"/>
                  <a:pt x="289" y="512"/>
                </a:cubicBezTo>
                <a:cubicBezTo>
                  <a:pt x="290" y="512"/>
                  <a:pt x="289" y="514"/>
                  <a:pt x="288" y="513"/>
                </a:cubicBezTo>
                <a:close/>
                <a:moveTo>
                  <a:pt x="282" y="526"/>
                </a:moveTo>
                <a:cubicBezTo>
                  <a:pt x="282" y="526"/>
                  <a:pt x="281" y="527"/>
                  <a:pt x="280" y="526"/>
                </a:cubicBezTo>
                <a:cubicBezTo>
                  <a:pt x="280" y="526"/>
                  <a:pt x="282" y="525"/>
                  <a:pt x="282" y="526"/>
                </a:cubicBezTo>
                <a:close/>
                <a:moveTo>
                  <a:pt x="286" y="526"/>
                </a:moveTo>
                <a:cubicBezTo>
                  <a:pt x="286" y="526"/>
                  <a:pt x="291" y="524"/>
                  <a:pt x="290" y="526"/>
                </a:cubicBezTo>
                <a:cubicBezTo>
                  <a:pt x="290" y="527"/>
                  <a:pt x="285" y="527"/>
                  <a:pt x="284" y="527"/>
                </a:cubicBezTo>
                <a:cubicBezTo>
                  <a:pt x="281" y="527"/>
                  <a:pt x="278" y="530"/>
                  <a:pt x="275" y="529"/>
                </a:cubicBezTo>
                <a:cubicBezTo>
                  <a:pt x="276" y="527"/>
                  <a:pt x="284" y="527"/>
                  <a:pt x="286" y="526"/>
                </a:cubicBezTo>
                <a:close/>
                <a:moveTo>
                  <a:pt x="277" y="694"/>
                </a:moveTo>
                <a:cubicBezTo>
                  <a:pt x="277" y="695"/>
                  <a:pt x="275" y="695"/>
                  <a:pt x="275" y="694"/>
                </a:cubicBezTo>
                <a:cubicBezTo>
                  <a:pt x="275" y="693"/>
                  <a:pt x="277" y="694"/>
                  <a:pt x="277" y="694"/>
                </a:cubicBezTo>
                <a:close/>
                <a:moveTo>
                  <a:pt x="266" y="653"/>
                </a:moveTo>
                <a:cubicBezTo>
                  <a:pt x="266" y="653"/>
                  <a:pt x="266" y="652"/>
                  <a:pt x="266" y="651"/>
                </a:cubicBezTo>
                <a:cubicBezTo>
                  <a:pt x="267" y="648"/>
                  <a:pt x="270" y="649"/>
                  <a:pt x="271" y="650"/>
                </a:cubicBezTo>
                <a:cubicBezTo>
                  <a:pt x="271" y="650"/>
                  <a:pt x="271" y="650"/>
                  <a:pt x="271" y="650"/>
                </a:cubicBezTo>
                <a:cubicBezTo>
                  <a:pt x="271" y="650"/>
                  <a:pt x="271" y="650"/>
                  <a:pt x="272" y="650"/>
                </a:cubicBezTo>
                <a:cubicBezTo>
                  <a:pt x="275" y="651"/>
                  <a:pt x="270" y="659"/>
                  <a:pt x="266" y="653"/>
                </a:cubicBezTo>
                <a:close/>
                <a:moveTo>
                  <a:pt x="268" y="657"/>
                </a:moveTo>
                <a:cubicBezTo>
                  <a:pt x="267" y="656"/>
                  <a:pt x="269" y="657"/>
                  <a:pt x="268" y="657"/>
                </a:cubicBezTo>
                <a:close/>
                <a:moveTo>
                  <a:pt x="264" y="633"/>
                </a:moveTo>
                <a:cubicBezTo>
                  <a:pt x="263" y="633"/>
                  <a:pt x="264" y="632"/>
                  <a:pt x="265" y="632"/>
                </a:cubicBezTo>
                <a:cubicBezTo>
                  <a:pt x="265" y="633"/>
                  <a:pt x="264" y="632"/>
                  <a:pt x="264" y="633"/>
                </a:cubicBezTo>
                <a:close/>
                <a:moveTo>
                  <a:pt x="263" y="663"/>
                </a:moveTo>
                <a:cubicBezTo>
                  <a:pt x="265" y="662"/>
                  <a:pt x="265" y="664"/>
                  <a:pt x="263" y="663"/>
                </a:cubicBezTo>
                <a:close/>
                <a:moveTo>
                  <a:pt x="265" y="623"/>
                </a:moveTo>
                <a:cubicBezTo>
                  <a:pt x="267" y="623"/>
                  <a:pt x="269" y="624"/>
                  <a:pt x="269" y="627"/>
                </a:cubicBezTo>
                <a:cubicBezTo>
                  <a:pt x="268" y="625"/>
                  <a:pt x="267" y="628"/>
                  <a:pt x="265" y="629"/>
                </a:cubicBezTo>
                <a:cubicBezTo>
                  <a:pt x="258" y="631"/>
                  <a:pt x="258" y="621"/>
                  <a:pt x="265" y="623"/>
                </a:cubicBezTo>
                <a:close/>
                <a:moveTo>
                  <a:pt x="271" y="560"/>
                </a:moveTo>
                <a:cubicBezTo>
                  <a:pt x="272" y="561"/>
                  <a:pt x="269" y="562"/>
                  <a:pt x="269" y="561"/>
                </a:cubicBezTo>
                <a:cubicBezTo>
                  <a:pt x="269" y="560"/>
                  <a:pt x="271" y="559"/>
                  <a:pt x="271" y="560"/>
                </a:cubicBezTo>
                <a:close/>
                <a:moveTo>
                  <a:pt x="271" y="507"/>
                </a:moveTo>
                <a:cubicBezTo>
                  <a:pt x="271" y="505"/>
                  <a:pt x="271" y="509"/>
                  <a:pt x="271" y="507"/>
                </a:cubicBezTo>
                <a:close/>
                <a:moveTo>
                  <a:pt x="273" y="532"/>
                </a:moveTo>
                <a:cubicBezTo>
                  <a:pt x="273" y="532"/>
                  <a:pt x="273" y="533"/>
                  <a:pt x="273" y="533"/>
                </a:cubicBezTo>
                <a:cubicBezTo>
                  <a:pt x="270" y="531"/>
                  <a:pt x="277" y="530"/>
                  <a:pt x="273" y="532"/>
                </a:cubicBezTo>
                <a:close/>
                <a:moveTo>
                  <a:pt x="273" y="556"/>
                </a:moveTo>
                <a:cubicBezTo>
                  <a:pt x="273" y="555"/>
                  <a:pt x="274" y="555"/>
                  <a:pt x="274" y="555"/>
                </a:cubicBezTo>
                <a:cubicBezTo>
                  <a:pt x="277" y="555"/>
                  <a:pt x="274" y="558"/>
                  <a:pt x="273" y="556"/>
                </a:cubicBezTo>
                <a:close/>
                <a:moveTo>
                  <a:pt x="270" y="624"/>
                </a:moveTo>
                <a:cubicBezTo>
                  <a:pt x="270" y="624"/>
                  <a:pt x="269" y="624"/>
                  <a:pt x="269" y="624"/>
                </a:cubicBezTo>
                <a:cubicBezTo>
                  <a:pt x="269" y="623"/>
                  <a:pt x="271" y="623"/>
                  <a:pt x="270" y="624"/>
                </a:cubicBezTo>
                <a:close/>
                <a:moveTo>
                  <a:pt x="266" y="617"/>
                </a:moveTo>
                <a:cubicBezTo>
                  <a:pt x="266" y="615"/>
                  <a:pt x="269" y="616"/>
                  <a:pt x="269" y="617"/>
                </a:cubicBezTo>
                <a:cubicBezTo>
                  <a:pt x="269" y="618"/>
                  <a:pt x="267" y="618"/>
                  <a:pt x="266" y="617"/>
                </a:cubicBezTo>
                <a:close/>
                <a:moveTo>
                  <a:pt x="271" y="647"/>
                </a:moveTo>
                <a:cubicBezTo>
                  <a:pt x="271" y="648"/>
                  <a:pt x="269" y="648"/>
                  <a:pt x="269" y="647"/>
                </a:cubicBezTo>
                <a:cubicBezTo>
                  <a:pt x="269" y="647"/>
                  <a:pt x="270" y="646"/>
                  <a:pt x="271" y="647"/>
                </a:cubicBezTo>
                <a:close/>
                <a:moveTo>
                  <a:pt x="270" y="628"/>
                </a:moveTo>
                <a:cubicBezTo>
                  <a:pt x="270" y="627"/>
                  <a:pt x="273" y="626"/>
                  <a:pt x="273" y="628"/>
                </a:cubicBezTo>
                <a:cubicBezTo>
                  <a:pt x="273" y="628"/>
                  <a:pt x="270" y="630"/>
                  <a:pt x="270" y="628"/>
                </a:cubicBezTo>
                <a:close/>
                <a:moveTo>
                  <a:pt x="273" y="613"/>
                </a:moveTo>
                <a:cubicBezTo>
                  <a:pt x="273" y="614"/>
                  <a:pt x="271" y="614"/>
                  <a:pt x="271" y="614"/>
                </a:cubicBezTo>
                <a:cubicBezTo>
                  <a:pt x="270" y="613"/>
                  <a:pt x="272" y="613"/>
                  <a:pt x="273" y="613"/>
                </a:cubicBezTo>
                <a:close/>
                <a:moveTo>
                  <a:pt x="270" y="571"/>
                </a:moveTo>
                <a:cubicBezTo>
                  <a:pt x="270" y="571"/>
                  <a:pt x="270" y="571"/>
                  <a:pt x="270" y="571"/>
                </a:cubicBezTo>
                <a:cubicBezTo>
                  <a:pt x="270" y="569"/>
                  <a:pt x="272" y="572"/>
                  <a:pt x="270" y="571"/>
                </a:cubicBezTo>
                <a:close/>
                <a:moveTo>
                  <a:pt x="271" y="564"/>
                </a:moveTo>
                <a:cubicBezTo>
                  <a:pt x="269" y="565"/>
                  <a:pt x="268" y="566"/>
                  <a:pt x="267" y="566"/>
                </a:cubicBezTo>
                <a:cubicBezTo>
                  <a:pt x="268" y="565"/>
                  <a:pt x="269" y="564"/>
                  <a:pt x="271" y="564"/>
                </a:cubicBezTo>
                <a:close/>
                <a:moveTo>
                  <a:pt x="271" y="572"/>
                </a:moveTo>
                <a:cubicBezTo>
                  <a:pt x="269" y="573"/>
                  <a:pt x="269" y="574"/>
                  <a:pt x="271" y="574"/>
                </a:cubicBezTo>
                <a:cubicBezTo>
                  <a:pt x="270" y="576"/>
                  <a:pt x="266" y="579"/>
                  <a:pt x="263" y="577"/>
                </a:cubicBezTo>
                <a:cubicBezTo>
                  <a:pt x="258" y="573"/>
                  <a:pt x="266" y="568"/>
                  <a:pt x="271" y="572"/>
                </a:cubicBezTo>
                <a:close/>
                <a:moveTo>
                  <a:pt x="264" y="612"/>
                </a:moveTo>
                <a:cubicBezTo>
                  <a:pt x="265" y="612"/>
                  <a:pt x="263" y="612"/>
                  <a:pt x="263" y="612"/>
                </a:cubicBezTo>
                <a:cubicBezTo>
                  <a:pt x="263" y="611"/>
                  <a:pt x="264" y="611"/>
                  <a:pt x="264" y="612"/>
                </a:cubicBezTo>
                <a:close/>
                <a:moveTo>
                  <a:pt x="266" y="632"/>
                </a:moveTo>
                <a:cubicBezTo>
                  <a:pt x="266" y="632"/>
                  <a:pt x="266" y="632"/>
                  <a:pt x="266" y="632"/>
                </a:cubicBezTo>
                <a:cubicBezTo>
                  <a:pt x="265" y="630"/>
                  <a:pt x="268" y="633"/>
                  <a:pt x="266" y="632"/>
                </a:cubicBezTo>
                <a:close/>
                <a:moveTo>
                  <a:pt x="276" y="663"/>
                </a:moveTo>
                <a:cubicBezTo>
                  <a:pt x="274" y="664"/>
                  <a:pt x="273" y="665"/>
                  <a:pt x="271" y="665"/>
                </a:cubicBezTo>
                <a:cubicBezTo>
                  <a:pt x="272" y="663"/>
                  <a:pt x="274" y="663"/>
                  <a:pt x="276" y="663"/>
                </a:cubicBezTo>
                <a:close/>
                <a:moveTo>
                  <a:pt x="270" y="486"/>
                </a:moveTo>
                <a:cubicBezTo>
                  <a:pt x="270" y="486"/>
                  <a:pt x="270" y="486"/>
                  <a:pt x="270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0" y="485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lose/>
                <a:moveTo>
                  <a:pt x="274" y="496"/>
                </a:moveTo>
                <a:cubicBezTo>
                  <a:pt x="274" y="499"/>
                  <a:pt x="269" y="498"/>
                  <a:pt x="269" y="496"/>
                </a:cubicBezTo>
                <a:cubicBezTo>
                  <a:pt x="269" y="496"/>
                  <a:pt x="274" y="494"/>
                  <a:pt x="274" y="496"/>
                </a:cubicBezTo>
                <a:close/>
                <a:moveTo>
                  <a:pt x="276" y="504"/>
                </a:moveTo>
                <a:cubicBezTo>
                  <a:pt x="274" y="506"/>
                  <a:pt x="271" y="506"/>
                  <a:pt x="269" y="507"/>
                </a:cubicBezTo>
                <a:cubicBezTo>
                  <a:pt x="270" y="506"/>
                  <a:pt x="274" y="504"/>
                  <a:pt x="276" y="504"/>
                </a:cubicBezTo>
                <a:close/>
                <a:moveTo>
                  <a:pt x="268" y="467"/>
                </a:moveTo>
                <a:cubicBezTo>
                  <a:pt x="268" y="468"/>
                  <a:pt x="268" y="468"/>
                  <a:pt x="267" y="468"/>
                </a:cubicBezTo>
                <a:cubicBezTo>
                  <a:pt x="267" y="468"/>
                  <a:pt x="268" y="467"/>
                  <a:pt x="268" y="467"/>
                </a:cubicBezTo>
                <a:close/>
                <a:moveTo>
                  <a:pt x="267" y="506"/>
                </a:moveTo>
                <a:cubicBezTo>
                  <a:pt x="268" y="506"/>
                  <a:pt x="267" y="507"/>
                  <a:pt x="267" y="507"/>
                </a:cubicBezTo>
                <a:cubicBezTo>
                  <a:pt x="266" y="506"/>
                  <a:pt x="267" y="506"/>
                  <a:pt x="267" y="506"/>
                </a:cubicBezTo>
                <a:close/>
                <a:moveTo>
                  <a:pt x="264" y="562"/>
                </a:moveTo>
                <a:cubicBezTo>
                  <a:pt x="265" y="562"/>
                  <a:pt x="262" y="562"/>
                  <a:pt x="262" y="562"/>
                </a:cubicBezTo>
                <a:cubicBezTo>
                  <a:pt x="262" y="562"/>
                  <a:pt x="264" y="561"/>
                  <a:pt x="264" y="562"/>
                </a:cubicBezTo>
                <a:close/>
                <a:moveTo>
                  <a:pt x="262" y="562"/>
                </a:moveTo>
                <a:cubicBezTo>
                  <a:pt x="261" y="563"/>
                  <a:pt x="260" y="561"/>
                  <a:pt x="262" y="562"/>
                </a:cubicBezTo>
                <a:close/>
                <a:moveTo>
                  <a:pt x="260" y="440"/>
                </a:moveTo>
                <a:cubicBezTo>
                  <a:pt x="261" y="440"/>
                  <a:pt x="260" y="441"/>
                  <a:pt x="260" y="441"/>
                </a:cubicBezTo>
                <a:cubicBezTo>
                  <a:pt x="257" y="443"/>
                  <a:pt x="259" y="439"/>
                  <a:pt x="260" y="440"/>
                </a:cubicBezTo>
                <a:close/>
                <a:moveTo>
                  <a:pt x="257" y="484"/>
                </a:moveTo>
                <a:cubicBezTo>
                  <a:pt x="257" y="484"/>
                  <a:pt x="257" y="483"/>
                  <a:pt x="257" y="483"/>
                </a:cubicBezTo>
                <a:cubicBezTo>
                  <a:pt x="257" y="484"/>
                  <a:pt x="257" y="484"/>
                  <a:pt x="257" y="484"/>
                </a:cubicBezTo>
                <a:cubicBezTo>
                  <a:pt x="257" y="484"/>
                  <a:pt x="257" y="484"/>
                  <a:pt x="257" y="484"/>
                </a:cubicBezTo>
                <a:close/>
                <a:moveTo>
                  <a:pt x="256" y="495"/>
                </a:moveTo>
                <a:cubicBezTo>
                  <a:pt x="255" y="496"/>
                  <a:pt x="255" y="496"/>
                  <a:pt x="254" y="495"/>
                </a:cubicBezTo>
                <a:cubicBezTo>
                  <a:pt x="254" y="494"/>
                  <a:pt x="257" y="494"/>
                  <a:pt x="256" y="495"/>
                </a:cubicBezTo>
                <a:close/>
                <a:moveTo>
                  <a:pt x="252" y="519"/>
                </a:moveTo>
                <a:cubicBezTo>
                  <a:pt x="252" y="519"/>
                  <a:pt x="252" y="520"/>
                  <a:pt x="252" y="520"/>
                </a:cubicBezTo>
                <a:cubicBezTo>
                  <a:pt x="251" y="519"/>
                  <a:pt x="252" y="518"/>
                  <a:pt x="252" y="519"/>
                </a:cubicBezTo>
                <a:close/>
                <a:moveTo>
                  <a:pt x="250" y="460"/>
                </a:moveTo>
                <a:cubicBezTo>
                  <a:pt x="251" y="459"/>
                  <a:pt x="251" y="460"/>
                  <a:pt x="251" y="461"/>
                </a:cubicBezTo>
                <a:cubicBezTo>
                  <a:pt x="250" y="462"/>
                  <a:pt x="249" y="460"/>
                  <a:pt x="250" y="460"/>
                </a:cubicBezTo>
                <a:close/>
                <a:moveTo>
                  <a:pt x="253" y="530"/>
                </a:moveTo>
                <a:cubicBezTo>
                  <a:pt x="254" y="528"/>
                  <a:pt x="259" y="522"/>
                  <a:pt x="261" y="522"/>
                </a:cubicBezTo>
                <a:cubicBezTo>
                  <a:pt x="264" y="521"/>
                  <a:pt x="260" y="524"/>
                  <a:pt x="259" y="524"/>
                </a:cubicBezTo>
                <a:cubicBezTo>
                  <a:pt x="257" y="526"/>
                  <a:pt x="255" y="529"/>
                  <a:pt x="253" y="531"/>
                </a:cubicBezTo>
                <a:cubicBezTo>
                  <a:pt x="253" y="531"/>
                  <a:pt x="253" y="531"/>
                  <a:pt x="253" y="531"/>
                </a:cubicBezTo>
                <a:cubicBezTo>
                  <a:pt x="253" y="531"/>
                  <a:pt x="253" y="532"/>
                  <a:pt x="252" y="532"/>
                </a:cubicBezTo>
                <a:cubicBezTo>
                  <a:pt x="252" y="532"/>
                  <a:pt x="252" y="532"/>
                  <a:pt x="252" y="532"/>
                </a:cubicBezTo>
                <a:cubicBezTo>
                  <a:pt x="251" y="533"/>
                  <a:pt x="251" y="533"/>
                  <a:pt x="250" y="534"/>
                </a:cubicBezTo>
                <a:cubicBezTo>
                  <a:pt x="250" y="534"/>
                  <a:pt x="249" y="533"/>
                  <a:pt x="249" y="533"/>
                </a:cubicBezTo>
                <a:cubicBezTo>
                  <a:pt x="249" y="533"/>
                  <a:pt x="251" y="531"/>
                  <a:pt x="253" y="530"/>
                </a:cubicBezTo>
                <a:close/>
                <a:moveTo>
                  <a:pt x="253" y="640"/>
                </a:moveTo>
                <a:cubicBezTo>
                  <a:pt x="253" y="638"/>
                  <a:pt x="257" y="638"/>
                  <a:pt x="258" y="639"/>
                </a:cubicBezTo>
                <a:cubicBezTo>
                  <a:pt x="259" y="641"/>
                  <a:pt x="254" y="642"/>
                  <a:pt x="253" y="640"/>
                </a:cubicBezTo>
                <a:close/>
                <a:moveTo>
                  <a:pt x="255" y="652"/>
                </a:moveTo>
                <a:cubicBezTo>
                  <a:pt x="256" y="653"/>
                  <a:pt x="254" y="653"/>
                  <a:pt x="254" y="652"/>
                </a:cubicBezTo>
                <a:cubicBezTo>
                  <a:pt x="253" y="651"/>
                  <a:pt x="255" y="651"/>
                  <a:pt x="255" y="652"/>
                </a:cubicBezTo>
                <a:close/>
                <a:moveTo>
                  <a:pt x="240" y="645"/>
                </a:moveTo>
                <a:cubicBezTo>
                  <a:pt x="238" y="644"/>
                  <a:pt x="237" y="642"/>
                  <a:pt x="239" y="640"/>
                </a:cubicBezTo>
                <a:cubicBezTo>
                  <a:pt x="240" y="639"/>
                  <a:pt x="242" y="639"/>
                  <a:pt x="244" y="639"/>
                </a:cubicBezTo>
                <a:cubicBezTo>
                  <a:pt x="245" y="639"/>
                  <a:pt x="247" y="639"/>
                  <a:pt x="247" y="640"/>
                </a:cubicBezTo>
                <a:cubicBezTo>
                  <a:pt x="247" y="640"/>
                  <a:pt x="247" y="640"/>
                  <a:pt x="246" y="640"/>
                </a:cubicBezTo>
                <a:cubicBezTo>
                  <a:pt x="246" y="640"/>
                  <a:pt x="247" y="640"/>
                  <a:pt x="247" y="640"/>
                </a:cubicBezTo>
                <a:cubicBezTo>
                  <a:pt x="247" y="640"/>
                  <a:pt x="247" y="641"/>
                  <a:pt x="247" y="641"/>
                </a:cubicBezTo>
                <a:cubicBezTo>
                  <a:pt x="248" y="642"/>
                  <a:pt x="242" y="646"/>
                  <a:pt x="240" y="645"/>
                </a:cubicBezTo>
                <a:close/>
                <a:moveTo>
                  <a:pt x="241" y="660"/>
                </a:moveTo>
                <a:cubicBezTo>
                  <a:pt x="240" y="661"/>
                  <a:pt x="239" y="660"/>
                  <a:pt x="240" y="659"/>
                </a:cubicBezTo>
                <a:cubicBezTo>
                  <a:pt x="240" y="659"/>
                  <a:pt x="242" y="659"/>
                  <a:pt x="241" y="660"/>
                </a:cubicBezTo>
                <a:close/>
                <a:moveTo>
                  <a:pt x="250" y="593"/>
                </a:moveTo>
                <a:cubicBezTo>
                  <a:pt x="247" y="595"/>
                  <a:pt x="244" y="594"/>
                  <a:pt x="240" y="596"/>
                </a:cubicBezTo>
                <a:cubicBezTo>
                  <a:pt x="243" y="594"/>
                  <a:pt x="247" y="594"/>
                  <a:pt x="250" y="593"/>
                </a:cubicBezTo>
                <a:close/>
                <a:moveTo>
                  <a:pt x="245" y="578"/>
                </a:moveTo>
                <a:cubicBezTo>
                  <a:pt x="246" y="579"/>
                  <a:pt x="245" y="579"/>
                  <a:pt x="245" y="579"/>
                </a:cubicBezTo>
                <a:cubicBezTo>
                  <a:pt x="243" y="581"/>
                  <a:pt x="244" y="577"/>
                  <a:pt x="245" y="578"/>
                </a:cubicBezTo>
                <a:close/>
                <a:moveTo>
                  <a:pt x="253" y="551"/>
                </a:moveTo>
                <a:cubicBezTo>
                  <a:pt x="254" y="550"/>
                  <a:pt x="255" y="549"/>
                  <a:pt x="257" y="549"/>
                </a:cubicBezTo>
                <a:cubicBezTo>
                  <a:pt x="256" y="550"/>
                  <a:pt x="254" y="551"/>
                  <a:pt x="253" y="551"/>
                </a:cubicBezTo>
                <a:close/>
                <a:moveTo>
                  <a:pt x="255" y="555"/>
                </a:moveTo>
                <a:cubicBezTo>
                  <a:pt x="253" y="557"/>
                  <a:pt x="254" y="552"/>
                  <a:pt x="256" y="554"/>
                </a:cubicBezTo>
                <a:cubicBezTo>
                  <a:pt x="257" y="554"/>
                  <a:pt x="256" y="555"/>
                  <a:pt x="255" y="555"/>
                </a:cubicBezTo>
                <a:close/>
                <a:moveTo>
                  <a:pt x="258" y="564"/>
                </a:moveTo>
                <a:cubicBezTo>
                  <a:pt x="258" y="566"/>
                  <a:pt x="252" y="567"/>
                  <a:pt x="252" y="564"/>
                </a:cubicBezTo>
                <a:cubicBezTo>
                  <a:pt x="252" y="561"/>
                  <a:pt x="258" y="562"/>
                  <a:pt x="258" y="564"/>
                </a:cubicBezTo>
                <a:close/>
                <a:moveTo>
                  <a:pt x="257" y="589"/>
                </a:moveTo>
                <a:cubicBezTo>
                  <a:pt x="256" y="590"/>
                  <a:pt x="258" y="588"/>
                  <a:pt x="257" y="589"/>
                </a:cubicBezTo>
                <a:close/>
                <a:moveTo>
                  <a:pt x="254" y="619"/>
                </a:moveTo>
                <a:cubicBezTo>
                  <a:pt x="254" y="619"/>
                  <a:pt x="253" y="619"/>
                  <a:pt x="254" y="619"/>
                </a:cubicBezTo>
                <a:close/>
                <a:moveTo>
                  <a:pt x="254" y="612"/>
                </a:moveTo>
                <a:cubicBezTo>
                  <a:pt x="254" y="612"/>
                  <a:pt x="254" y="613"/>
                  <a:pt x="254" y="613"/>
                </a:cubicBezTo>
                <a:cubicBezTo>
                  <a:pt x="253" y="613"/>
                  <a:pt x="254" y="612"/>
                  <a:pt x="254" y="612"/>
                </a:cubicBezTo>
                <a:close/>
                <a:moveTo>
                  <a:pt x="254" y="619"/>
                </a:moveTo>
                <a:cubicBezTo>
                  <a:pt x="257" y="616"/>
                  <a:pt x="255" y="621"/>
                  <a:pt x="254" y="620"/>
                </a:cubicBezTo>
                <a:cubicBezTo>
                  <a:pt x="254" y="620"/>
                  <a:pt x="254" y="619"/>
                  <a:pt x="254" y="619"/>
                </a:cubicBezTo>
                <a:close/>
                <a:moveTo>
                  <a:pt x="253" y="608"/>
                </a:moveTo>
                <a:cubicBezTo>
                  <a:pt x="250" y="609"/>
                  <a:pt x="255" y="604"/>
                  <a:pt x="257" y="605"/>
                </a:cubicBezTo>
                <a:cubicBezTo>
                  <a:pt x="256" y="605"/>
                  <a:pt x="254" y="607"/>
                  <a:pt x="253" y="608"/>
                </a:cubicBezTo>
                <a:close/>
                <a:moveTo>
                  <a:pt x="255" y="600"/>
                </a:moveTo>
                <a:cubicBezTo>
                  <a:pt x="254" y="602"/>
                  <a:pt x="252" y="601"/>
                  <a:pt x="255" y="600"/>
                </a:cubicBezTo>
                <a:close/>
                <a:moveTo>
                  <a:pt x="256" y="599"/>
                </a:moveTo>
                <a:cubicBezTo>
                  <a:pt x="255" y="599"/>
                  <a:pt x="256" y="598"/>
                  <a:pt x="256" y="599"/>
                </a:cubicBezTo>
                <a:cubicBezTo>
                  <a:pt x="256" y="599"/>
                  <a:pt x="256" y="599"/>
                  <a:pt x="256" y="599"/>
                </a:cubicBezTo>
                <a:close/>
                <a:moveTo>
                  <a:pt x="253" y="571"/>
                </a:moveTo>
                <a:cubicBezTo>
                  <a:pt x="253" y="571"/>
                  <a:pt x="252" y="572"/>
                  <a:pt x="252" y="571"/>
                </a:cubicBezTo>
                <a:cubicBezTo>
                  <a:pt x="251" y="570"/>
                  <a:pt x="253" y="570"/>
                  <a:pt x="253" y="571"/>
                </a:cubicBezTo>
                <a:close/>
                <a:moveTo>
                  <a:pt x="251" y="558"/>
                </a:moveTo>
                <a:cubicBezTo>
                  <a:pt x="251" y="557"/>
                  <a:pt x="253" y="556"/>
                  <a:pt x="253" y="557"/>
                </a:cubicBezTo>
                <a:cubicBezTo>
                  <a:pt x="253" y="558"/>
                  <a:pt x="252" y="558"/>
                  <a:pt x="251" y="558"/>
                </a:cubicBezTo>
                <a:close/>
                <a:moveTo>
                  <a:pt x="246" y="555"/>
                </a:moveTo>
                <a:cubicBezTo>
                  <a:pt x="247" y="553"/>
                  <a:pt x="251" y="552"/>
                  <a:pt x="253" y="551"/>
                </a:cubicBezTo>
                <a:cubicBezTo>
                  <a:pt x="251" y="553"/>
                  <a:pt x="248" y="554"/>
                  <a:pt x="246" y="555"/>
                </a:cubicBezTo>
                <a:close/>
                <a:moveTo>
                  <a:pt x="245" y="613"/>
                </a:moveTo>
                <a:cubicBezTo>
                  <a:pt x="244" y="615"/>
                  <a:pt x="242" y="615"/>
                  <a:pt x="240" y="615"/>
                </a:cubicBezTo>
                <a:cubicBezTo>
                  <a:pt x="241" y="614"/>
                  <a:pt x="243" y="613"/>
                  <a:pt x="244" y="613"/>
                </a:cubicBezTo>
                <a:cubicBezTo>
                  <a:pt x="244" y="613"/>
                  <a:pt x="243" y="613"/>
                  <a:pt x="244" y="612"/>
                </a:cubicBezTo>
                <a:cubicBezTo>
                  <a:pt x="244" y="611"/>
                  <a:pt x="247" y="612"/>
                  <a:pt x="247" y="612"/>
                </a:cubicBezTo>
                <a:cubicBezTo>
                  <a:pt x="247" y="613"/>
                  <a:pt x="246" y="613"/>
                  <a:pt x="245" y="613"/>
                </a:cubicBezTo>
                <a:cubicBezTo>
                  <a:pt x="245" y="613"/>
                  <a:pt x="245" y="613"/>
                  <a:pt x="245" y="613"/>
                </a:cubicBezTo>
                <a:close/>
                <a:moveTo>
                  <a:pt x="241" y="634"/>
                </a:moveTo>
                <a:cubicBezTo>
                  <a:pt x="241" y="634"/>
                  <a:pt x="241" y="634"/>
                  <a:pt x="242" y="634"/>
                </a:cubicBezTo>
                <a:cubicBezTo>
                  <a:pt x="242" y="634"/>
                  <a:pt x="242" y="635"/>
                  <a:pt x="241" y="634"/>
                </a:cubicBezTo>
                <a:close/>
                <a:moveTo>
                  <a:pt x="240" y="485"/>
                </a:moveTo>
                <a:cubicBezTo>
                  <a:pt x="240" y="485"/>
                  <a:pt x="241" y="484"/>
                  <a:pt x="241" y="484"/>
                </a:cubicBezTo>
                <a:cubicBezTo>
                  <a:pt x="241" y="485"/>
                  <a:pt x="240" y="485"/>
                  <a:pt x="240" y="485"/>
                </a:cubicBezTo>
                <a:close/>
                <a:moveTo>
                  <a:pt x="240" y="535"/>
                </a:moveTo>
                <a:cubicBezTo>
                  <a:pt x="240" y="535"/>
                  <a:pt x="240" y="535"/>
                  <a:pt x="239" y="535"/>
                </a:cubicBezTo>
                <a:cubicBezTo>
                  <a:pt x="239" y="535"/>
                  <a:pt x="240" y="534"/>
                  <a:pt x="240" y="535"/>
                </a:cubicBezTo>
                <a:close/>
                <a:moveTo>
                  <a:pt x="243" y="647"/>
                </a:moveTo>
                <a:cubicBezTo>
                  <a:pt x="243" y="646"/>
                  <a:pt x="244" y="647"/>
                  <a:pt x="243" y="647"/>
                </a:cubicBezTo>
                <a:close/>
                <a:moveTo>
                  <a:pt x="243" y="664"/>
                </a:moveTo>
                <a:cubicBezTo>
                  <a:pt x="242" y="665"/>
                  <a:pt x="242" y="663"/>
                  <a:pt x="243" y="664"/>
                </a:cubicBezTo>
                <a:close/>
                <a:moveTo>
                  <a:pt x="244" y="665"/>
                </a:moveTo>
                <a:cubicBezTo>
                  <a:pt x="244" y="666"/>
                  <a:pt x="243" y="666"/>
                  <a:pt x="243" y="666"/>
                </a:cubicBezTo>
                <a:cubicBezTo>
                  <a:pt x="242" y="665"/>
                  <a:pt x="244" y="665"/>
                  <a:pt x="244" y="665"/>
                </a:cubicBezTo>
                <a:close/>
                <a:moveTo>
                  <a:pt x="244" y="658"/>
                </a:moveTo>
                <a:cubicBezTo>
                  <a:pt x="244" y="656"/>
                  <a:pt x="249" y="657"/>
                  <a:pt x="247" y="659"/>
                </a:cubicBezTo>
                <a:cubicBezTo>
                  <a:pt x="247" y="660"/>
                  <a:pt x="244" y="659"/>
                  <a:pt x="244" y="658"/>
                </a:cubicBezTo>
                <a:close/>
                <a:moveTo>
                  <a:pt x="248" y="619"/>
                </a:moveTo>
                <a:cubicBezTo>
                  <a:pt x="246" y="620"/>
                  <a:pt x="246" y="618"/>
                  <a:pt x="248" y="619"/>
                </a:cubicBezTo>
                <a:close/>
                <a:moveTo>
                  <a:pt x="249" y="639"/>
                </a:moveTo>
                <a:cubicBezTo>
                  <a:pt x="250" y="640"/>
                  <a:pt x="249" y="640"/>
                  <a:pt x="249" y="640"/>
                </a:cubicBezTo>
                <a:cubicBezTo>
                  <a:pt x="247" y="642"/>
                  <a:pt x="248" y="638"/>
                  <a:pt x="249" y="639"/>
                </a:cubicBezTo>
                <a:close/>
                <a:moveTo>
                  <a:pt x="249" y="606"/>
                </a:moveTo>
                <a:cubicBezTo>
                  <a:pt x="248" y="605"/>
                  <a:pt x="251" y="605"/>
                  <a:pt x="251" y="605"/>
                </a:cubicBezTo>
                <a:cubicBezTo>
                  <a:pt x="251" y="606"/>
                  <a:pt x="249" y="606"/>
                  <a:pt x="249" y="606"/>
                </a:cubicBezTo>
                <a:close/>
                <a:moveTo>
                  <a:pt x="247" y="598"/>
                </a:moveTo>
                <a:cubicBezTo>
                  <a:pt x="247" y="598"/>
                  <a:pt x="248" y="596"/>
                  <a:pt x="248" y="596"/>
                </a:cubicBezTo>
                <a:cubicBezTo>
                  <a:pt x="249" y="595"/>
                  <a:pt x="250" y="594"/>
                  <a:pt x="251" y="596"/>
                </a:cubicBezTo>
                <a:cubicBezTo>
                  <a:pt x="251" y="596"/>
                  <a:pt x="251" y="596"/>
                  <a:pt x="250" y="597"/>
                </a:cubicBezTo>
                <a:cubicBezTo>
                  <a:pt x="251" y="597"/>
                  <a:pt x="253" y="598"/>
                  <a:pt x="253" y="598"/>
                </a:cubicBezTo>
                <a:cubicBezTo>
                  <a:pt x="254" y="602"/>
                  <a:pt x="247" y="599"/>
                  <a:pt x="247" y="598"/>
                </a:cubicBezTo>
                <a:close/>
                <a:moveTo>
                  <a:pt x="253" y="601"/>
                </a:moveTo>
                <a:cubicBezTo>
                  <a:pt x="253" y="602"/>
                  <a:pt x="252" y="602"/>
                  <a:pt x="251" y="602"/>
                </a:cubicBezTo>
                <a:cubicBezTo>
                  <a:pt x="251" y="602"/>
                  <a:pt x="252" y="601"/>
                  <a:pt x="253" y="601"/>
                </a:cubicBezTo>
                <a:close/>
                <a:moveTo>
                  <a:pt x="253" y="609"/>
                </a:moveTo>
                <a:cubicBezTo>
                  <a:pt x="254" y="609"/>
                  <a:pt x="252" y="610"/>
                  <a:pt x="252" y="610"/>
                </a:cubicBezTo>
                <a:cubicBezTo>
                  <a:pt x="251" y="609"/>
                  <a:pt x="253" y="608"/>
                  <a:pt x="253" y="609"/>
                </a:cubicBezTo>
                <a:close/>
                <a:moveTo>
                  <a:pt x="254" y="650"/>
                </a:moveTo>
                <a:cubicBezTo>
                  <a:pt x="253" y="652"/>
                  <a:pt x="252" y="649"/>
                  <a:pt x="254" y="650"/>
                </a:cubicBezTo>
                <a:close/>
                <a:moveTo>
                  <a:pt x="256" y="592"/>
                </a:moveTo>
                <a:cubicBezTo>
                  <a:pt x="255" y="590"/>
                  <a:pt x="259" y="590"/>
                  <a:pt x="260" y="591"/>
                </a:cubicBezTo>
                <a:cubicBezTo>
                  <a:pt x="260" y="592"/>
                  <a:pt x="256" y="594"/>
                  <a:pt x="256" y="592"/>
                </a:cubicBezTo>
                <a:close/>
                <a:moveTo>
                  <a:pt x="249" y="520"/>
                </a:moveTo>
                <a:cubicBezTo>
                  <a:pt x="249" y="520"/>
                  <a:pt x="249" y="521"/>
                  <a:pt x="249" y="521"/>
                </a:cubicBezTo>
                <a:cubicBezTo>
                  <a:pt x="248" y="522"/>
                  <a:pt x="248" y="519"/>
                  <a:pt x="249" y="520"/>
                </a:cubicBezTo>
                <a:close/>
                <a:moveTo>
                  <a:pt x="249" y="536"/>
                </a:moveTo>
                <a:cubicBezTo>
                  <a:pt x="249" y="538"/>
                  <a:pt x="244" y="540"/>
                  <a:pt x="244" y="536"/>
                </a:cubicBezTo>
                <a:cubicBezTo>
                  <a:pt x="244" y="535"/>
                  <a:pt x="249" y="534"/>
                  <a:pt x="249" y="536"/>
                </a:cubicBezTo>
                <a:close/>
                <a:moveTo>
                  <a:pt x="244" y="450"/>
                </a:moveTo>
                <a:cubicBezTo>
                  <a:pt x="244" y="450"/>
                  <a:pt x="244" y="450"/>
                  <a:pt x="244" y="450"/>
                </a:cubicBezTo>
                <a:cubicBezTo>
                  <a:pt x="243" y="450"/>
                  <a:pt x="244" y="449"/>
                  <a:pt x="244" y="450"/>
                </a:cubicBezTo>
                <a:close/>
                <a:moveTo>
                  <a:pt x="243" y="420"/>
                </a:moveTo>
                <a:cubicBezTo>
                  <a:pt x="243" y="420"/>
                  <a:pt x="243" y="420"/>
                  <a:pt x="243" y="420"/>
                </a:cubicBezTo>
                <a:cubicBezTo>
                  <a:pt x="244" y="420"/>
                  <a:pt x="244" y="420"/>
                  <a:pt x="243" y="420"/>
                </a:cubicBezTo>
                <a:close/>
                <a:moveTo>
                  <a:pt x="241" y="504"/>
                </a:moveTo>
                <a:cubicBezTo>
                  <a:pt x="240" y="502"/>
                  <a:pt x="243" y="504"/>
                  <a:pt x="241" y="504"/>
                </a:cubicBezTo>
                <a:close/>
                <a:moveTo>
                  <a:pt x="235" y="479"/>
                </a:moveTo>
                <a:cubicBezTo>
                  <a:pt x="236" y="477"/>
                  <a:pt x="240" y="471"/>
                  <a:pt x="242" y="470"/>
                </a:cubicBezTo>
                <a:cubicBezTo>
                  <a:pt x="240" y="473"/>
                  <a:pt x="238" y="476"/>
                  <a:pt x="235" y="479"/>
                </a:cubicBezTo>
                <a:close/>
                <a:moveTo>
                  <a:pt x="236" y="507"/>
                </a:moveTo>
                <a:cubicBezTo>
                  <a:pt x="236" y="508"/>
                  <a:pt x="235" y="508"/>
                  <a:pt x="235" y="507"/>
                </a:cubicBezTo>
                <a:cubicBezTo>
                  <a:pt x="235" y="506"/>
                  <a:pt x="236" y="507"/>
                  <a:pt x="236" y="507"/>
                </a:cubicBezTo>
                <a:close/>
                <a:moveTo>
                  <a:pt x="242" y="337"/>
                </a:moveTo>
                <a:cubicBezTo>
                  <a:pt x="240" y="339"/>
                  <a:pt x="238" y="341"/>
                  <a:pt x="235" y="343"/>
                </a:cubicBezTo>
                <a:cubicBezTo>
                  <a:pt x="237" y="341"/>
                  <a:pt x="240" y="338"/>
                  <a:pt x="242" y="337"/>
                </a:cubicBezTo>
                <a:close/>
                <a:moveTo>
                  <a:pt x="235" y="428"/>
                </a:moveTo>
                <a:cubicBezTo>
                  <a:pt x="235" y="427"/>
                  <a:pt x="234" y="429"/>
                  <a:pt x="235" y="428"/>
                </a:cubicBezTo>
                <a:close/>
                <a:moveTo>
                  <a:pt x="236" y="488"/>
                </a:moveTo>
                <a:cubicBezTo>
                  <a:pt x="233" y="491"/>
                  <a:pt x="233" y="494"/>
                  <a:pt x="230" y="496"/>
                </a:cubicBezTo>
                <a:cubicBezTo>
                  <a:pt x="231" y="494"/>
                  <a:pt x="233" y="489"/>
                  <a:pt x="236" y="488"/>
                </a:cubicBezTo>
                <a:close/>
                <a:moveTo>
                  <a:pt x="235" y="529"/>
                </a:moveTo>
                <a:cubicBezTo>
                  <a:pt x="235" y="529"/>
                  <a:pt x="234" y="529"/>
                  <a:pt x="234" y="529"/>
                </a:cubicBezTo>
                <a:cubicBezTo>
                  <a:pt x="234" y="528"/>
                  <a:pt x="235" y="529"/>
                  <a:pt x="235" y="529"/>
                </a:cubicBezTo>
                <a:close/>
                <a:moveTo>
                  <a:pt x="232" y="503"/>
                </a:moveTo>
                <a:cubicBezTo>
                  <a:pt x="232" y="504"/>
                  <a:pt x="231" y="504"/>
                  <a:pt x="231" y="504"/>
                </a:cubicBezTo>
                <a:cubicBezTo>
                  <a:pt x="231" y="503"/>
                  <a:pt x="232" y="502"/>
                  <a:pt x="232" y="503"/>
                </a:cubicBezTo>
                <a:close/>
                <a:moveTo>
                  <a:pt x="233" y="322"/>
                </a:moveTo>
                <a:cubicBezTo>
                  <a:pt x="234" y="320"/>
                  <a:pt x="232" y="323"/>
                  <a:pt x="233" y="322"/>
                </a:cubicBezTo>
                <a:close/>
                <a:moveTo>
                  <a:pt x="233" y="463"/>
                </a:moveTo>
                <a:cubicBezTo>
                  <a:pt x="232" y="465"/>
                  <a:pt x="234" y="462"/>
                  <a:pt x="233" y="463"/>
                </a:cubicBezTo>
                <a:close/>
                <a:moveTo>
                  <a:pt x="232" y="465"/>
                </a:moveTo>
                <a:cubicBezTo>
                  <a:pt x="233" y="467"/>
                  <a:pt x="229" y="469"/>
                  <a:pt x="228" y="466"/>
                </a:cubicBezTo>
                <a:cubicBezTo>
                  <a:pt x="228" y="464"/>
                  <a:pt x="231" y="463"/>
                  <a:pt x="232" y="465"/>
                </a:cubicBezTo>
                <a:close/>
                <a:moveTo>
                  <a:pt x="231" y="364"/>
                </a:moveTo>
                <a:cubicBezTo>
                  <a:pt x="232" y="365"/>
                  <a:pt x="230" y="367"/>
                  <a:pt x="230" y="367"/>
                </a:cubicBezTo>
                <a:cubicBezTo>
                  <a:pt x="226" y="369"/>
                  <a:pt x="229" y="363"/>
                  <a:pt x="231" y="364"/>
                </a:cubicBezTo>
                <a:close/>
                <a:moveTo>
                  <a:pt x="227" y="421"/>
                </a:moveTo>
                <a:cubicBezTo>
                  <a:pt x="228" y="421"/>
                  <a:pt x="227" y="422"/>
                  <a:pt x="227" y="422"/>
                </a:cubicBezTo>
                <a:cubicBezTo>
                  <a:pt x="225" y="423"/>
                  <a:pt x="226" y="420"/>
                  <a:pt x="227" y="421"/>
                </a:cubicBezTo>
                <a:close/>
                <a:moveTo>
                  <a:pt x="227" y="484"/>
                </a:moveTo>
                <a:cubicBezTo>
                  <a:pt x="225" y="484"/>
                  <a:pt x="228" y="482"/>
                  <a:pt x="227" y="483"/>
                </a:cubicBezTo>
                <a:cubicBezTo>
                  <a:pt x="227" y="483"/>
                  <a:pt x="227" y="484"/>
                  <a:pt x="227" y="484"/>
                </a:cubicBezTo>
                <a:close/>
                <a:moveTo>
                  <a:pt x="227" y="436"/>
                </a:moveTo>
                <a:cubicBezTo>
                  <a:pt x="226" y="435"/>
                  <a:pt x="228" y="435"/>
                  <a:pt x="227" y="436"/>
                </a:cubicBezTo>
                <a:close/>
                <a:moveTo>
                  <a:pt x="227" y="526"/>
                </a:moveTo>
                <a:cubicBezTo>
                  <a:pt x="226" y="527"/>
                  <a:pt x="225" y="526"/>
                  <a:pt x="227" y="526"/>
                </a:cubicBezTo>
                <a:close/>
                <a:moveTo>
                  <a:pt x="227" y="527"/>
                </a:moveTo>
                <a:cubicBezTo>
                  <a:pt x="228" y="528"/>
                  <a:pt x="226" y="529"/>
                  <a:pt x="226" y="529"/>
                </a:cubicBezTo>
                <a:cubicBezTo>
                  <a:pt x="225" y="529"/>
                  <a:pt x="227" y="527"/>
                  <a:pt x="227" y="527"/>
                </a:cubicBezTo>
                <a:close/>
                <a:moveTo>
                  <a:pt x="225" y="375"/>
                </a:moveTo>
                <a:cubicBezTo>
                  <a:pt x="227" y="376"/>
                  <a:pt x="225" y="376"/>
                  <a:pt x="225" y="375"/>
                </a:cubicBezTo>
                <a:close/>
                <a:moveTo>
                  <a:pt x="224" y="359"/>
                </a:moveTo>
                <a:cubicBezTo>
                  <a:pt x="224" y="360"/>
                  <a:pt x="223" y="360"/>
                  <a:pt x="223" y="361"/>
                </a:cubicBezTo>
                <a:cubicBezTo>
                  <a:pt x="222" y="360"/>
                  <a:pt x="224" y="360"/>
                  <a:pt x="224" y="359"/>
                </a:cubicBezTo>
                <a:close/>
                <a:moveTo>
                  <a:pt x="222" y="500"/>
                </a:moveTo>
                <a:cubicBezTo>
                  <a:pt x="222" y="499"/>
                  <a:pt x="223" y="499"/>
                  <a:pt x="224" y="499"/>
                </a:cubicBezTo>
                <a:cubicBezTo>
                  <a:pt x="224" y="500"/>
                  <a:pt x="222" y="501"/>
                  <a:pt x="222" y="500"/>
                </a:cubicBezTo>
                <a:close/>
                <a:moveTo>
                  <a:pt x="222" y="564"/>
                </a:moveTo>
                <a:cubicBezTo>
                  <a:pt x="222" y="565"/>
                  <a:pt x="219" y="565"/>
                  <a:pt x="219" y="564"/>
                </a:cubicBezTo>
                <a:cubicBezTo>
                  <a:pt x="219" y="562"/>
                  <a:pt x="222" y="563"/>
                  <a:pt x="222" y="564"/>
                </a:cubicBezTo>
                <a:close/>
                <a:moveTo>
                  <a:pt x="224" y="489"/>
                </a:moveTo>
                <a:cubicBezTo>
                  <a:pt x="224" y="489"/>
                  <a:pt x="223" y="490"/>
                  <a:pt x="223" y="490"/>
                </a:cubicBezTo>
                <a:cubicBezTo>
                  <a:pt x="222" y="489"/>
                  <a:pt x="225" y="488"/>
                  <a:pt x="224" y="489"/>
                </a:cubicBezTo>
                <a:close/>
                <a:moveTo>
                  <a:pt x="224" y="467"/>
                </a:moveTo>
                <a:cubicBezTo>
                  <a:pt x="224" y="470"/>
                  <a:pt x="222" y="469"/>
                  <a:pt x="224" y="467"/>
                </a:cubicBezTo>
                <a:close/>
                <a:moveTo>
                  <a:pt x="223" y="272"/>
                </a:moveTo>
                <a:cubicBezTo>
                  <a:pt x="223" y="273"/>
                  <a:pt x="222" y="274"/>
                  <a:pt x="221" y="275"/>
                </a:cubicBezTo>
                <a:cubicBezTo>
                  <a:pt x="221" y="273"/>
                  <a:pt x="222" y="273"/>
                  <a:pt x="223" y="272"/>
                </a:cubicBezTo>
                <a:close/>
                <a:moveTo>
                  <a:pt x="222" y="308"/>
                </a:moveTo>
                <a:cubicBezTo>
                  <a:pt x="222" y="310"/>
                  <a:pt x="220" y="312"/>
                  <a:pt x="218" y="313"/>
                </a:cubicBezTo>
                <a:cubicBezTo>
                  <a:pt x="220" y="312"/>
                  <a:pt x="220" y="310"/>
                  <a:pt x="222" y="308"/>
                </a:cubicBezTo>
                <a:close/>
                <a:moveTo>
                  <a:pt x="218" y="378"/>
                </a:moveTo>
                <a:cubicBezTo>
                  <a:pt x="218" y="376"/>
                  <a:pt x="220" y="378"/>
                  <a:pt x="218" y="378"/>
                </a:cubicBezTo>
                <a:close/>
                <a:moveTo>
                  <a:pt x="218" y="467"/>
                </a:moveTo>
                <a:cubicBezTo>
                  <a:pt x="218" y="467"/>
                  <a:pt x="217" y="467"/>
                  <a:pt x="217" y="466"/>
                </a:cubicBezTo>
                <a:cubicBezTo>
                  <a:pt x="217" y="466"/>
                  <a:pt x="218" y="466"/>
                  <a:pt x="218" y="467"/>
                </a:cubicBezTo>
                <a:close/>
                <a:moveTo>
                  <a:pt x="217" y="315"/>
                </a:move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lose/>
                <a:moveTo>
                  <a:pt x="218" y="382"/>
                </a:moveTo>
                <a:cubicBezTo>
                  <a:pt x="217" y="382"/>
                  <a:pt x="217" y="382"/>
                  <a:pt x="217" y="382"/>
                </a:cubicBezTo>
                <a:cubicBezTo>
                  <a:pt x="216" y="381"/>
                  <a:pt x="219" y="380"/>
                  <a:pt x="218" y="382"/>
                </a:cubicBezTo>
                <a:close/>
                <a:moveTo>
                  <a:pt x="212" y="322"/>
                </a:moveTo>
                <a:cubicBezTo>
                  <a:pt x="212" y="321"/>
                  <a:pt x="215" y="318"/>
                  <a:pt x="216" y="316"/>
                </a:cubicBezTo>
                <a:cubicBezTo>
                  <a:pt x="216" y="319"/>
                  <a:pt x="210" y="325"/>
                  <a:pt x="212" y="322"/>
                </a:cubicBezTo>
                <a:close/>
                <a:moveTo>
                  <a:pt x="215" y="450"/>
                </a:moveTo>
                <a:cubicBezTo>
                  <a:pt x="215" y="450"/>
                  <a:pt x="215" y="450"/>
                  <a:pt x="215" y="450"/>
                </a:cubicBezTo>
                <a:cubicBezTo>
                  <a:pt x="215" y="450"/>
                  <a:pt x="215" y="450"/>
                  <a:pt x="215" y="450"/>
                </a:cubicBezTo>
                <a:close/>
                <a:moveTo>
                  <a:pt x="214" y="449"/>
                </a:moveTo>
                <a:cubicBezTo>
                  <a:pt x="214" y="449"/>
                  <a:pt x="214" y="448"/>
                  <a:pt x="214" y="448"/>
                </a:cubicBezTo>
                <a:cubicBezTo>
                  <a:pt x="214" y="446"/>
                  <a:pt x="216" y="448"/>
                  <a:pt x="214" y="449"/>
                </a:cubicBezTo>
                <a:close/>
                <a:moveTo>
                  <a:pt x="214" y="524"/>
                </a:moveTo>
                <a:cubicBezTo>
                  <a:pt x="213" y="523"/>
                  <a:pt x="214" y="523"/>
                  <a:pt x="215" y="522"/>
                </a:cubicBezTo>
                <a:cubicBezTo>
                  <a:pt x="215" y="523"/>
                  <a:pt x="214" y="523"/>
                  <a:pt x="214" y="524"/>
                </a:cubicBezTo>
                <a:close/>
                <a:moveTo>
                  <a:pt x="212" y="508"/>
                </a:moveTo>
                <a:cubicBezTo>
                  <a:pt x="210" y="509"/>
                  <a:pt x="214" y="507"/>
                  <a:pt x="212" y="508"/>
                </a:cubicBezTo>
                <a:close/>
                <a:moveTo>
                  <a:pt x="202" y="518"/>
                </a:moveTo>
                <a:cubicBezTo>
                  <a:pt x="210" y="516"/>
                  <a:pt x="209" y="525"/>
                  <a:pt x="203" y="526"/>
                </a:cubicBezTo>
                <a:cubicBezTo>
                  <a:pt x="198" y="527"/>
                  <a:pt x="197" y="520"/>
                  <a:pt x="202" y="518"/>
                </a:cubicBezTo>
                <a:close/>
                <a:moveTo>
                  <a:pt x="201" y="548"/>
                </a:moveTo>
                <a:cubicBezTo>
                  <a:pt x="201" y="548"/>
                  <a:pt x="201" y="548"/>
                  <a:pt x="201" y="548"/>
                </a:cubicBezTo>
                <a:cubicBezTo>
                  <a:pt x="201" y="546"/>
                  <a:pt x="203" y="550"/>
                  <a:pt x="201" y="548"/>
                </a:cubicBezTo>
                <a:close/>
                <a:moveTo>
                  <a:pt x="199" y="549"/>
                </a:moveTo>
                <a:cubicBezTo>
                  <a:pt x="199" y="551"/>
                  <a:pt x="197" y="549"/>
                  <a:pt x="199" y="549"/>
                </a:cubicBezTo>
                <a:close/>
                <a:moveTo>
                  <a:pt x="200" y="494"/>
                </a:moveTo>
                <a:cubicBezTo>
                  <a:pt x="199" y="495"/>
                  <a:pt x="198" y="496"/>
                  <a:pt x="196" y="496"/>
                </a:cubicBezTo>
                <a:cubicBezTo>
                  <a:pt x="197" y="495"/>
                  <a:pt x="199" y="495"/>
                  <a:pt x="200" y="494"/>
                </a:cubicBezTo>
                <a:close/>
                <a:moveTo>
                  <a:pt x="202" y="420"/>
                </a:moveTo>
                <a:cubicBezTo>
                  <a:pt x="201" y="421"/>
                  <a:pt x="201" y="421"/>
                  <a:pt x="200" y="421"/>
                </a:cubicBezTo>
                <a:cubicBezTo>
                  <a:pt x="199" y="420"/>
                  <a:pt x="203" y="418"/>
                  <a:pt x="202" y="420"/>
                </a:cubicBezTo>
                <a:close/>
                <a:moveTo>
                  <a:pt x="203" y="493"/>
                </a:moveTo>
                <a:cubicBezTo>
                  <a:pt x="204" y="493"/>
                  <a:pt x="204" y="493"/>
                  <a:pt x="204" y="493"/>
                </a:cubicBezTo>
                <a:cubicBezTo>
                  <a:pt x="204" y="493"/>
                  <a:pt x="200" y="494"/>
                  <a:pt x="203" y="493"/>
                </a:cubicBezTo>
                <a:close/>
                <a:moveTo>
                  <a:pt x="206" y="456"/>
                </a:moveTo>
                <a:cubicBezTo>
                  <a:pt x="206" y="456"/>
                  <a:pt x="205" y="456"/>
                  <a:pt x="205" y="456"/>
                </a:cubicBezTo>
                <a:cubicBezTo>
                  <a:pt x="204" y="456"/>
                  <a:pt x="206" y="455"/>
                  <a:pt x="206" y="456"/>
                </a:cubicBezTo>
                <a:close/>
                <a:moveTo>
                  <a:pt x="206" y="475"/>
                </a:moveTo>
                <a:cubicBezTo>
                  <a:pt x="206" y="473"/>
                  <a:pt x="210" y="475"/>
                  <a:pt x="210" y="477"/>
                </a:cubicBezTo>
                <a:cubicBezTo>
                  <a:pt x="209" y="479"/>
                  <a:pt x="204" y="479"/>
                  <a:pt x="206" y="475"/>
                </a:cubicBezTo>
                <a:close/>
                <a:moveTo>
                  <a:pt x="208" y="439"/>
                </a:moveTo>
                <a:cubicBezTo>
                  <a:pt x="208" y="440"/>
                  <a:pt x="207" y="440"/>
                  <a:pt x="207" y="440"/>
                </a:cubicBezTo>
                <a:cubicBezTo>
                  <a:pt x="207" y="439"/>
                  <a:pt x="208" y="439"/>
                  <a:pt x="208" y="439"/>
                </a:cubicBezTo>
                <a:close/>
                <a:moveTo>
                  <a:pt x="208" y="405"/>
                </a:moveTo>
                <a:cubicBezTo>
                  <a:pt x="207" y="406"/>
                  <a:pt x="208" y="404"/>
                  <a:pt x="208" y="405"/>
                </a:cubicBezTo>
                <a:close/>
                <a:moveTo>
                  <a:pt x="209" y="467"/>
                </a:moveTo>
                <a:cubicBezTo>
                  <a:pt x="209" y="467"/>
                  <a:pt x="209" y="468"/>
                  <a:pt x="209" y="468"/>
                </a:cubicBezTo>
                <a:cubicBezTo>
                  <a:pt x="208" y="467"/>
                  <a:pt x="210" y="466"/>
                  <a:pt x="209" y="467"/>
                </a:cubicBezTo>
                <a:close/>
                <a:moveTo>
                  <a:pt x="210" y="509"/>
                </a:moveTo>
                <a:cubicBezTo>
                  <a:pt x="208" y="511"/>
                  <a:pt x="211" y="508"/>
                  <a:pt x="210" y="509"/>
                </a:cubicBezTo>
                <a:close/>
                <a:moveTo>
                  <a:pt x="210" y="444"/>
                </a:moveTo>
                <a:cubicBezTo>
                  <a:pt x="207" y="445"/>
                  <a:pt x="209" y="441"/>
                  <a:pt x="210" y="443"/>
                </a:cubicBezTo>
                <a:cubicBezTo>
                  <a:pt x="211" y="443"/>
                  <a:pt x="210" y="443"/>
                  <a:pt x="210" y="444"/>
                </a:cubicBezTo>
                <a:close/>
                <a:moveTo>
                  <a:pt x="210" y="185"/>
                </a:moveTo>
                <a:cubicBezTo>
                  <a:pt x="210" y="185"/>
                  <a:pt x="210" y="185"/>
                  <a:pt x="210" y="185"/>
                </a:cubicBezTo>
                <a:cubicBezTo>
                  <a:pt x="209" y="185"/>
                  <a:pt x="211" y="184"/>
                  <a:pt x="210" y="185"/>
                </a:cubicBezTo>
                <a:close/>
                <a:moveTo>
                  <a:pt x="210" y="203"/>
                </a:moveTo>
                <a:cubicBezTo>
                  <a:pt x="211" y="203"/>
                  <a:pt x="209" y="205"/>
                  <a:pt x="209" y="205"/>
                </a:cubicBezTo>
                <a:cubicBezTo>
                  <a:pt x="209" y="204"/>
                  <a:pt x="209" y="204"/>
                  <a:pt x="210" y="203"/>
                </a:cubicBezTo>
                <a:close/>
                <a:moveTo>
                  <a:pt x="210" y="371"/>
                </a:moveTo>
                <a:cubicBezTo>
                  <a:pt x="209" y="372"/>
                  <a:pt x="209" y="372"/>
                  <a:pt x="208" y="372"/>
                </a:cubicBezTo>
                <a:cubicBezTo>
                  <a:pt x="208" y="372"/>
                  <a:pt x="208" y="371"/>
                  <a:pt x="210" y="371"/>
                </a:cubicBezTo>
                <a:close/>
                <a:moveTo>
                  <a:pt x="208" y="181"/>
                </a:moveTo>
                <a:cubicBezTo>
                  <a:pt x="209" y="181"/>
                  <a:pt x="207" y="184"/>
                  <a:pt x="207" y="184"/>
                </a:cubicBezTo>
                <a:cubicBezTo>
                  <a:pt x="204" y="186"/>
                  <a:pt x="206" y="180"/>
                  <a:pt x="208" y="181"/>
                </a:cubicBezTo>
                <a:close/>
                <a:moveTo>
                  <a:pt x="207" y="374"/>
                </a:moveTo>
                <a:cubicBezTo>
                  <a:pt x="206" y="373"/>
                  <a:pt x="208" y="373"/>
                  <a:pt x="207" y="374"/>
                </a:cubicBezTo>
                <a:close/>
                <a:moveTo>
                  <a:pt x="207" y="387"/>
                </a:moveTo>
                <a:cubicBezTo>
                  <a:pt x="206" y="387"/>
                  <a:pt x="206" y="388"/>
                  <a:pt x="206" y="387"/>
                </a:cubicBezTo>
                <a:cubicBezTo>
                  <a:pt x="205" y="386"/>
                  <a:pt x="209" y="385"/>
                  <a:pt x="207" y="387"/>
                </a:cubicBezTo>
                <a:close/>
                <a:moveTo>
                  <a:pt x="204" y="211"/>
                </a:moveTo>
                <a:cubicBezTo>
                  <a:pt x="204" y="213"/>
                  <a:pt x="202" y="214"/>
                  <a:pt x="201" y="216"/>
                </a:cubicBezTo>
                <a:cubicBezTo>
                  <a:pt x="201" y="214"/>
                  <a:pt x="203" y="213"/>
                  <a:pt x="204" y="211"/>
                </a:cubicBezTo>
                <a:close/>
                <a:moveTo>
                  <a:pt x="202" y="326"/>
                </a:moveTo>
                <a:cubicBezTo>
                  <a:pt x="202" y="327"/>
                  <a:pt x="202" y="328"/>
                  <a:pt x="201" y="328"/>
                </a:cubicBezTo>
                <a:cubicBezTo>
                  <a:pt x="201" y="327"/>
                  <a:pt x="202" y="327"/>
                  <a:pt x="202" y="326"/>
                </a:cubicBezTo>
                <a:close/>
                <a:moveTo>
                  <a:pt x="205" y="387"/>
                </a:moveTo>
                <a:cubicBezTo>
                  <a:pt x="205" y="388"/>
                  <a:pt x="203" y="389"/>
                  <a:pt x="201" y="390"/>
                </a:cubicBezTo>
                <a:cubicBezTo>
                  <a:pt x="202" y="388"/>
                  <a:pt x="204" y="388"/>
                  <a:pt x="205" y="387"/>
                </a:cubicBezTo>
                <a:close/>
                <a:moveTo>
                  <a:pt x="196" y="218"/>
                </a:moveTo>
                <a:cubicBezTo>
                  <a:pt x="198" y="219"/>
                  <a:pt x="196" y="220"/>
                  <a:pt x="196" y="218"/>
                </a:cubicBezTo>
                <a:close/>
                <a:moveTo>
                  <a:pt x="196" y="249"/>
                </a:moveTo>
                <a:cubicBezTo>
                  <a:pt x="195" y="251"/>
                  <a:pt x="197" y="248"/>
                  <a:pt x="196" y="249"/>
                </a:cubicBezTo>
                <a:close/>
                <a:moveTo>
                  <a:pt x="198" y="349"/>
                </a:moveTo>
                <a:cubicBezTo>
                  <a:pt x="198" y="350"/>
                  <a:pt x="196" y="351"/>
                  <a:pt x="196" y="352"/>
                </a:cubicBezTo>
                <a:cubicBezTo>
                  <a:pt x="195" y="351"/>
                  <a:pt x="197" y="350"/>
                  <a:pt x="198" y="349"/>
                </a:cubicBezTo>
                <a:close/>
                <a:moveTo>
                  <a:pt x="196" y="296"/>
                </a:moveTo>
                <a:cubicBezTo>
                  <a:pt x="196" y="296"/>
                  <a:pt x="195" y="298"/>
                  <a:pt x="195" y="298"/>
                </a:cubicBezTo>
                <a:cubicBezTo>
                  <a:pt x="193" y="300"/>
                  <a:pt x="194" y="295"/>
                  <a:pt x="196" y="296"/>
                </a:cubicBezTo>
                <a:close/>
                <a:moveTo>
                  <a:pt x="194" y="353"/>
                </a:moveTo>
                <a:cubicBezTo>
                  <a:pt x="195" y="354"/>
                  <a:pt x="193" y="354"/>
                  <a:pt x="194" y="353"/>
                </a:cubicBezTo>
                <a:close/>
                <a:moveTo>
                  <a:pt x="192" y="213"/>
                </a:moveTo>
                <a:cubicBezTo>
                  <a:pt x="192" y="212"/>
                  <a:pt x="194" y="211"/>
                  <a:pt x="192" y="213"/>
                </a:cubicBezTo>
                <a:close/>
                <a:moveTo>
                  <a:pt x="193" y="252"/>
                </a:moveTo>
                <a:cubicBezTo>
                  <a:pt x="194" y="253"/>
                  <a:pt x="193" y="254"/>
                  <a:pt x="192" y="254"/>
                </a:cubicBezTo>
                <a:cubicBezTo>
                  <a:pt x="192" y="253"/>
                  <a:pt x="193" y="253"/>
                  <a:pt x="193" y="252"/>
                </a:cubicBezTo>
                <a:close/>
                <a:moveTo>
                  <a:pt x="193" y="354"/>
                </a:moveTo>
                <a:cubicBezTo>
                  <a:pt x="193" y="355"/>
                  <a:pt x="193" y="356"/>
                  <a:pt x="192" y="356"/>
                </a:cubicBezTo>
                <a:cubicBezTo>
                  <a:pt x="192" y="355"/>
                  <a:pt x="193" y="355"/>
                  <a:pt x="193" y="354"/>
                </a:cubicBezTo>
                <a:close/>
                <a:moveTo>
                  <a:pt x="192" y="305"/>
                </a:moveTo>
                <a:cubicBezTo>
                  <a:pt x="190" y="307"/>
                  <a:pt x="193" y="304"/>
                  <a:pt x="192" y="305"/>
                </a:cubicBezTo>
                <a:close/>
                <a:moveTo>
                  <a:pt x="188" y="397"/>
                </a:moveTo>
                <a:cubicBezTo>
                  <a:pt x="187" y="398"/>
                  <a:pt x="185" y="400"/>
                  <a:pt x="183" y="401"/>
                </a:cubicBezTo>
                <a:cubicBezTo>
                  <a:pt x="184" y="399"/>
                  <a:pt x="186" y="398"/>
                  <a:pt x="188" y="397"/>
                </a:cubicBezTo>
                <a:close/>
                <a:moveTo>
                  <a:pt x="184" y="384"/>
                </a:moveTo>
                <a:cubicBezTo>
                  <a:pt x="185" y="384"/>
                  <a:pt x="185" y="383"/>
                  <a:pt x="186" y="383"/>
                </a:cubicBezTo>
                <a:cubicBezTo>
                  <a:pt x="185" y="384"/>
                  <a:pt x="185" y="384"/>
                  <a:pt x="184" y="384"/>
                </a:cubicBezTo>
                <a:close/>
                <a:moveTo>
                  <a:pt x="184" y="243"/>
                </a:moveTo>
                <a:cubicBezTo>
                  <a:pt x="185" y="242"/>
                  <a:pt x="183" y="244"/>
                  <a:pt x="184" y="243"/>
                </a:cubicBezTo>
                <a:close/>
                <a:moveTo>
                  <a:pt x="182" y="186"/>
                </a:moveTo>
                <a:cubicBezTo>
                  <a:pt x="182" y="185"/>
                  <a:pt x="181" y="187"/>
                  <a:pt x="182" y="186"/>
                </a:cubicBezTo>
                <a:close/>
                <a:moveTo>
                  <a:pt x="184" y="243"/>
                </a:moveTo>
                <a:cubicBezTo>
                  <a:pt x="185" y="244"/>
                  <a:pt x="183" y="249"/>
                  <a:pt x="182" y="249"/>
                </a:cubicBezTo>
                <a:cubicBezTo>
                  <a:pt x="180" y="249"/>
                  <a:pt x="182" y="243"/>
                  <a:pt x="184" y="243"/>
                </a:cubicBezTo>
                <a:close/>
                <a:moveTo>
                  <a:pt x="177" y="208"/>
                </a:moveTo>
                <a:cubicBezTo>
                  <a:pt x="178" y="209"/>
                  <a:pt x="177" y="209"/>
                  <a:pt x="177" y="210"/>
                </a:cubicBezTo>
                <a:cubicBezTo>
                  <a:pt x="176" y="210"/>
                  <a:pt x="177" y="209"/>
                  <a:pt x="177" y="208"/>
                </a:cubicBezTo>
                <a:close/>
                <a:moveTo>
                  <a:pt x="182" y="322"/>
                </a:moveTo>
                <a:cubicBezTo>
                  <a:pt x="179" y="324"/>
                  <a:pt x="177" y="329"/>
                  <a:pt x="175" y="329"/>
                </a:cubicBezTo>
                <a:cubicBezTo>
                  <a:pt x="175" y="329"/>
                  <a:pt x="179" y="322"/>
                  <a:pt x="182" y="322"/>
                </a:cubicBezTo>
                <a:close/>
                <a:moveTo>
                  <a:pt x="180" y="403"/>
                </a:moveTo>
                <a:cubicBezTo>
                  <a:pt x="179" y="404"/>
                  <a:pt x="178" y="406"/>
                  <a:pt x="176" y="406"/>
                </a:cubicBezTo>
                <a:cubicBezTo>
                  <a:pt x="177" y="405"/>
                  <a:pt x="179" y="404"/>
                  <a:pt x="180" y="403"/>
                </a:cubicBezTo>
                <a:close/>
                <a:moveTo>
                  <a:pt x="178" y="383"/>
                </a:move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2"/>
                  <a:pt x="178" y="382"/>
                </a:cubicBezTo>
                <a:cubicBezTo>
                  <a:pt x="178" y="382"/>
                  <a:pt x="178" y="382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lose/>
                <a:moveTo>
                  <a:pt x="181" y="393"/>
                </a:moveTo>
                <a:cubicBezTo>
                  <a:pt x="181" y="393"/>
                  <a:pt x="180" y="395"/>
                  <a:pt x="180" y="395"/>
                </a:cubicBezTo>
                <a:cubicBezTo>
                  <a:pt x="178" y="397"/>
                  <a:pt x="179" y="392"/>
                  <a:pt x="181" y="393"/>
                </a:cubicBezTo>
                <a:close/>
                <a:moveTo>
                  <a:pt x="179" y="358"/>
                </a:moveTo>
                <a:cubicBezTo>
                  <a:pt x="179" y="358"/>
                  <a:pt x="180" y="359"/>
                  <a:pt x="180" y="359"/>
                </a:cubicBezTo>
                <a:cubicBezTo>
                  <a:pt x="180" y="360"/>
                  <a:pt x="178" y="359"/>
                  <a:pt x="179" y="358"/>
                </a:cubicBezTo>
                <a:close/>
                <a:moveTo>
                  <a:pt x="182" y="418"/>
                </a:moveTo>
                <a:cubicBezTo>
                  <a:pt x="183" y="416"/>
                  <a:pt x="187" y="412"/>
                  <a:pt x="190" y="410"/>
                </a:cubicBezTo>
                <a:cubicBezTo>
                  <a:pt x="190" y="410"/>
                  <a:pt x="190" y="408"/>
                  <a:pt x="191" y="409"/>
                </a:cubicBezTo>
                <a:cubicBezTo>
                  <a:pt x="192" y="410"/>
                  <a:pt x="189" y="414"/>
                  <a:pt x="189" y="414"/>
                </a:cubicBezTo>
                <a:cubicBezTo>
                  <a:pt x="188" y="415"/>
                  <a:pt x="186" y="415"/>
                  <a:pt x="184" y="417"/>
                </a:cubicBezTo>
                <a:cubicBezTo>
                  <a:pt x="180" y="419"/>
                  <a:pt x="178" y="424"/>
                  <a:pt x="174" y="426"/>
                </a:cubicBezTo>
                <a:cubicBezTo>
                  <a:pt x="174" y="422"/>
                  <a:pt x="180" y="421"/>
                  <a:pt x="182" y="418"/>
                </a:cubicBezTo>
                <a:close/>
                <a:moveTo>
                  <a:pt x="193" y="479"/>
                </a:moveTo>
                <a:cubicBezTo>
                  <a:pt x="192" y="481"/>
                  <a:pt x="192" y="479"/>
                  <a:pt x="193" y="479"/>
                </a:cubicBezTo>
                <a:close/>
                <a:moveTo>
                  <a:pt x="193" y="432"/>
                </a:moveTo>
                <a:cubicBezTo>
                  <a:pt x="194" y="432"/>
                  <a:pt x="193" y="433"/>
                  <a:pt x="193" y="432"/>
                </a:cubicBezTo>
                <a:cubicBezTo>
                  <a:pt x="192" y="432"/>
                  <a:pt x="193" y="432"/>
                  <a:pt x="193" y="432"/>
                </a:cubicBezTo>
                <a:close/>
                <a:moveTo>
                  <a:pt x="191" y="460"/>
                </a:moveTo>
                <a:cubicBezTo>
                  <a:pt x="192" y="458"/>
                  <a:pt x="193" y="460"/>
                  <a:pt x="191" y="460"/>
                </a:cubicBezTo>
                <a:close/>
                <a:moveTo>
                  <a:pt x="193" y="489"/>
                </a:moveTo>
                <a:cubicBezTo>
                  <a:pt x="193" y="490"/>
                  <a:pt x="192" y="491"/>
                  <a:pt x="191" y="491"/>
                </a:cubicBezTo>
                <a:cubicBezTo>
                  <a:pt x="189" y="492"/>
                  <a:pt x="191" y="487"/>
                  <a:pt x="193" y="489"/>
                </a:cubicBezTo>
                <a:close/>
                <a:moveTo>
                  <a:pt x="190" y="440"/>
                </a:moveTo>
                <a:cubicBezTo>
                  <a:pt x="189" y="439"/>
                  <a:pt x="191" y="438"/>
                  <a:pt x="191" y="439"/>
                </a:cubicBezTo>
                <a:cubicBezTo>
                  <a:pt x="191" y="439"/>
                  <a:pt x="190" y="440"/>
                  <a:pt x="190" y="440"/>
                </a:cubicBezTo>
                <a:close/>
                <a:moveTo>
                  <a:pt x="189" y="511"/>
                </a:moveTo>
                <a:cubicBezTo>
                  <a:pt x="189" y="511"/>
                  <a:pt x="189" y="512"/>
                  <a:pt x="188" y="511"/>
                </a:cubicBezTo>
                <a:cubicBezTo>
                  <a:pt x="188" y="511"/>
                  <a:pt x="189" y="510"/>
                  <a:pt x="189" y="511"/>
                </a:cubicBezTo>
                <a:close/>
                <a:moveTo>
                  <a:pt x="186" y="470"/>
                </a:moveTo>
                <a:cubicBezTo>
                  <a:pt x="185" y="469"/>
                  <a:pt x="188" y="469"/>
                  <a:pt x="188" y="470"/>
                </a:cubicBezTo>
                <a:cubicBezTo>
                  <a:pt x="189" y="471"/>
                  <a:pt x="186" y="472"/>
                  <a:pt x="186" y="470"/>
                </a:cubicBezTo>
                <a:close/>
                <a:moveTo>
                  <a:pt x="184" y="470"/>
                </a:moveTo>
                <a:cubicBezTo>
                  <a:pt x="185" y="471"/>
                  <a:pt x="184" y="472"/>
                  <a:pt x="183" y="472"/>
                </a:cubicBezTo>
                <a:cubicBezTo>
                  <a:pt x="180" y="474"/>
                  <a:pt x="182" y="469"/>
                  <a:pt x="184" y="470"/>
                </a:cubicBezTo>
                <a:close/>
                <a:moveTo>
                  <a:pt x="183" y="435"/>
                </a:moveTo>
                <a:cubicBezTo>
                  <a:pt x="183" y="434"/>
                  <a:pt x="182" y="436"/>
                  <a:pt x="183" y="435"/>
                </a:cubicBezTo>
                <a:close/>
                <a:moveTo>
                  <a:pt x="180" y="443"/>
                </a:moveTo>
                <a:cubicBezTo>
                  <a:pt x="180" y="443"/>
                  <a:pt x="179" y="443"/>
                  <a:pt x="179" y="443"/>
                </a:cubicBezTo>
                <a:cubicBezTo>
                  <a:pt x="178" y="445"/>
                  <a:pt x="180" y="440"/>
                  <a:pt x="180" y="443"/>
                </a:cubicBezTo>
                <a:close/>
                <a:moveTo>
                  <a:pt x="174" y="445"/>
                </a:moveTo>
                <a:cubicBezTo>
                  <a:pt x="173" y="446"/>
                  <a:pt x="174" y="444"/>
                  <a:pt x="174" y="445"/>
                </a:cubicBezTo>
                <a:close/>
                <a:moveTo>
                  <a:pt x="173" y="182"/>
                </a:moveTo>
                <a:cubicBezTo>
                  <a:pt x="172" y="182"/>
                  <a:pt x="174" y="180"/>
                  <a:pt x="173" y="182"/>
                </a:cubicBezTo>
                <a:close/>
                <a:moveTo>
                  <a:pt x="173" y="438"/>
                </a:moveTo>
                <a:cubicBezTo>
                  <a:pt x="174" y="437"/>
                  <a:pt x="172" y="440"/>
                  <a:pt x="173" y="438"/>
                </a:cubicBezTo>
                <a:close/>
                <a:moveTo>
                  <a:pt x="173" y="477"/>
                </a:moveTo>
                <a:cubicBezTo>
                  <a:pt x="172" y="478"/>
                  <a:pt x="172" y="478"/>
                  <a:pt x="170" y="478"/>
                </a:cubicBezTo>
                <a:cubicBezTo>
                  <a:pt x="171" y="478"/>
                  <a:pt x="171" y="477"/>
                  <a:pt x="173" y="477"/>
                </a:cubicBezTo>
                <a:close/>
                <a:moveTo>
                  <a:pt x="173" y="314"/>
                </a:move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lose/>
                <a:moveTo>
                  <a:pt x="171" y="307"/>
                </a:moveTo>
                <a:cubicBezTo>
                  <a:pt x="171" y="308"/>
                  <a:pt x="171" y="309"/>
                  <a:pt x="169" y="310"/>
                </a:cubicBezTo>
                <a:cubicBezTo>
                  <a:pt x="168" y="310"/>
                  <a:pt x="167" y="310"/>
                  <a:pt x="166" y="309"/>
                </a:cubicBezTo>
                <a:cubicBezTo>
                  <a:pt x="164" y="305"/>
                  <a:pt x="171" y="303"/>
                  <a:pt x="171" y="307"/>
                </a:cubicBezTo>
                <a:close/>
                <a:moveTo>
                  <a:pt x="168" y="501"/>
                </a:moveTo>
                <a:cubicBezTo>
                  <a:pt x="168" y="501"/>
                  <a:pt x="168" y="501"/>
                  <a:pt x="169" y="501"/>
                </a:cubicBezTo>
                <a:cubicBezTo>
                  <a:pt x="169" y="501"/>
                  <a:pt x="168" y="502"/>
                  <a:pt x="168" y="501"/>
                </a:cubicBezTo>
                <a:close/>
                <a:moveTo>
                  <a:pt x="166" y="342"/>
                </a:moveTo>
                <a:cubicBezTo>
                  <a:pt x="166" y="342"/>
                  <a:pt x="166" y="342"/>
                  <a:pt x="166" y="342"/>
                </a:cubicBezTo>
                <a:cubicBezTo>
                  <a:pt x="166" y="342"/>
                  <a:pt x="166" y="343"/>
                  <a:pt x="165" y="343"/>
                </a:cubicBezTo>
                <a:cubicBezTo>
                  <a:pt x="165" y="343"/>
                  <a:pt x="165" y="343"/>
                  <a:pt x="165" y="343"/>
                </a:cubicBezTo>
                <a:cubicBezTo>
                  <a:pt x="165" y="343"/>
                  <a:pt x="166" y="342"/>
                  <a:pt x="166" y="342"/>
                </a:cubicBezTo>
                <a:close/>
                <a:moveTo>
                  <a:pt x="165" y="307"/>
                </a:moveTo>
                <a:cubicBezTo>
                  <a:pt x="163" y="308"/>
                  <a:pt x="167" y="306"/>
                  <a:pt x="165" y="307"/>
                </a:cubicBezTo>
                <a:close/>
                <a:moveTo>
                  <a:pt x="164" y="344"/>
                </a:moveTo>
                <a:cubicBezTo>
                  <a:pt x="163" y="344"/>
                  <a:pt x="166" y="342"/>
                  <a:pt x="164" y="344"/>
                </a:cubicBezTo>
                <a:close/>
                <a:moveTo>
                  <a:pt x="165" y="345"/>
                </a:moveTo>
                <a:cubicBezTo>
                  <a:pt x="164" y="346"/>
                  <a:pt x="164" y="347"/>
                  <a:pt x="162" y="347"/>
                </a:cubicBezTo>
                <a:cubicBezTo>
                  <a:pt x="163" y="347"/>
                  <a:pt x="163" y="346"/>
                  <a:pt x="165" y="345"/>
                </a:cubicBezTo>
                <a:close/>
                <a:moveTo>
                  <a:pt x="161" y="347"/>
                </a:moveTo>
                <a:cubicBezTo>
                  <a:pt x="160" y="348"/>
                  <a:pt x="162" y="346"/>
                  <a:pt x="161" y="347"/>
                </a:cubicBezTo>
                <a:close/>
                <a:moveTo>
                  <a:pt x="160" y="350"/>
                </a:moveTo>
                <a:cubicBezTo>
                  <a:pt x="161" y="348"/>
                  <a:pt x="162" y="349"/>
                  <a:pt x="160" y="350"/>
                </a:cubicBezTo>
                <a:close/>
                <a:moveTo>
                  <a:pt x="168" y="370"/>
                </a:moveTo>
                <a:cubicBezTo>
                  <a:pt x="165" y="373"/>
                  <a:pt x="163" y="376"/>
                  <a:pt x="158" y="378"/>
                </a:cubicBezTo>
                <a:cubicBezTo>
                  <a:pt x="161" y="375"/>
                  <a:pt x="164" y="372"/>
                  <a:pt x="168" y="370"/>
                </a:cubicBezTo>
                <a:close/>
                <a:moveTo>
                  <a:pt x="167" y="392"/>
                </a:moveTo>
                <a:cubicBezTo>
                  <a:pt x="166" y="393"/>
                  <a:pt x="168" y="390"/>
                  <a:pt x="167" y="391"/>
                </a:cubicBezTo>
                <a:cubicBezTo>
                  <a:pt x="167" y="391"/>
                  <a:pt x="167" y="392"/>
                  <a:pt x="167" y="392"/>
                </a:cubicBezTo>
                <a:close/>
                <a:moveTo>
                  <a:pt x="168" y="424"/>
                </a:moveTo>
                <a:cubicBezTo>
                  <a:pt x="168" y="424"/>
                  <a:pt x="167" y="424"/>
                  <a:pt x="167" y="424"/>
                </a:cubicBezTo>
                <a:cubicBezTo>
                  <a:pt x="166" y="423"/>
                  <a:pt x="168" y="423"/>
                  <a:pt x="168" y="424"/>
                </a:cubicBezTo>
                <a:close/>
                <a:moveTo>
                  <a:pt x="161" y="457"/>
                </a:moveTo>
                <a:cubicBezTo>
                  <a:pt x="161" y="458"/>
                  <a:pt x="158" y="461"/>
                  <a:pt x="157" y="460"/>
                </a:cubicBezTo>
                <a:cubicBezTo>
                  <a:pt x="156" y="458"/>
                  <a:pt x="159" y="456"/>
                  <a:pt x="161" y="457"/>
                </a:cubicBezTo>
                <a:close/>
                <a:moveTo>
                  <a:pt x="157" y="477"/>
                </a:move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lose/>
                <a:moveTo>
                  <a:pt x="161" y="502"/>
                </a:moveTo>
                <a:cubicBezTo>
                  <a:pt x="161" y="503"/>
                  <a:pt x="159" y="504"/>
                  <a:pt x="159" y="503"/>
                </a:cubicBezTo>
                <a:cubicBezTo>
                  <a:pt x="159" y="502"/>
                  <a:pt x="160" y="501"/>
                  <a:pt x="161" y="502"/>
                </a:cubicBezTo>
                <a:close/>
                <a:moveTo>
                  <a:pt x="159" y="482"/>
                </a:moveTo>
                <a:cubicBezTo>
                  <a:pt x="158" y="483"/>
                  <a:pt x="160" y="481"/>
                  <a:pt x="159" y="482"/>
                </a:cubicBezTo>
                <a:close/>
                <a:moveTo>
                  <a:pt x="162" y="484"/>
                </a:moveTo>
                <a:cubicBezTo>
                  <a:pt x="163" y="484"/>
                  <a:pt x="162" y="485"/>
                  <a:pt x="161" y="485"/>
                </a:cubicBezTo>
                <a:cubicBezTo>
                  <a:pt x="160" y="486"/>
                  <a:pt x="161" y="483"/>
                  <a:pt x="162" y="484"/>
                </a:cubicBezTo>
                <a:close/>
                <a:moveTo>
                  <a:pt x="161" y="428"/>
                </a:moveTo>
                <a:cubicBezTo>
                  <a:pt x="162" y="429"/>
                  <a:pt x="160" y="432"/>
                  <a:pt x="160" y="432"/>
                </a:cubicBezTo>
                <a:cubicBezTo>
                  <a:pt x="155" y="435"/>
                  <a:pt x="158" y="426"/>
                  <a:pt x="161" y="428"/>
                </a:cubicBezTo>
                <a:close/>
                <a:moveTo>
                  <a:pt x="164" y="506"/>
                </a:moveTo>
                <a:cubicBezTo>
                  <a:pt x="165" y="507"/>
                  <a:pt x="160" y="510"/>
                  <a:pt x="159" y="510"/>
                </a:cubicBezTo>
                <a:cubicBezTo>
                  <a:pt x="154" y="511"/>
                  <a:pt x="163" y="505"/>
                  <a:pt x="164" y="506"/>
                </a:cubicBezTo>
                <a:close/>
                <a:moveTo>
                  <a:pt x="163" y="443"/>
                </a:moveTo>
                <a:cubicBezTo>
                  <a:pt x="163" y="443"/>
                  <a:pt x="163" y="444"/>
                  <a:pt x="162" y="444"/>
                </a:cubicBezTo>
                <a:cubicBezTo>
                  <a:pt x="162" y="443"/>
                  <a:pt x="163" y="443"/>
                  <a:pt x="163" y="443"/>
                </a:cubicBezTo>
                <a:close/>
                <a:moveTo>
                  <a:pt x="159" y="351"/>
                </a:moveTo>
                <a:cubicBezTo>
                  <a:pt x="159" y="351"/>
                  <a:pt x="159" y="350"/>
                  <a:pt x="160" y="350"/>
                </a:cubicBezTo>
                <a:cubicBezTo>
                  <a:pt x="160" y="350"/>
                  <a:pt x="160" y="351"/>
                  <a:pt x="159" y="351"/>
                </a:cubicBezTo>
                <a:close/>
                <a:moveTo>
                  <a:pt x="160" y="259"/>
                </a:moveTo>
                <a:cubicBezTo>
                  <a:pt x="160" y="259"/>
                  <a:pt x="160" y="260"/>
                  <a:pt x="160" y="260"/>
                </a:cubicBezTo>
                <a:cubicBezTo>
                  <a:pt x="159" y="261"/>
                  <a:pt x="158" y="258"/>
                  <a:pt x="160" y="259"/>
                </a:cubicBezTo>
                <a:close/>
                <a:moveTo>
                  <a:pt x="160" y="349"/>
                </a:moveTo>
                <a:cubicBezTo>
                  <a:pt x="159" y="350"/>
                  <a:pt x="159" y="350"/>
                  <a:pt x="158" y="351"/>
                </a:cubicBezTo>
                <a:cubicBezTo>
                  <a:pt x="158" y="350"/>
                  <a:pt x="159" y="349"/>
                  <a:pt x="160" y="349"/>
                </a:cubicBezTo>
                <a:close/>
                <a:moveTo>
                  <a:pt x="159" y="352"/>
                </a:moveTo>
                <a:cubicBezTo>
                  <a:pt x="158" y="352"/>
                  <a:pt x="158" y="353"/>
                  <a:pt x="157" y="353"/>
                </a:cubicBezTo>
                <a:cubicBezTo>
                  <a:pt x="157" y="352"/>
                  <a:pt x="158" y="352"/>
                  <a:pt x="159" y="352"/>
                </a:cubicBezTo>
                <a:close/>
                <a:moveTo>
                  <a:pt x="156" y="354"/>
                </a:moveTo>
                <a:cubicBezTo>
                  <a:pt x="155" y="355"/>
                  <a:pt x="158" y="353"/>
                  <a:pt x="156" y="354"/>
                </a:cubicBezTo>
                <a:close/>
                <a:moveTo>
                  <a:pt x="157" y="415"/>
                </a:moveTo>
                <a:cubicBezTo>
                  <a:pt x="158" y="416"/>
                  <a:pt x="157" y="417"/>
                  <a:pt x="156" y="417"/>
                </a:cubicBezTo>
                <a:cubicBezTo>
                  <a:pt x="156" y="416"/>
                  <a:pt x="157" y="416"/>
                  <a:pt x="157" y="415"/>
                </a:cubicBezTo>
                <a:close/>
                <a:moveTo>
                  <a:pt x="133" y="461"/>
                </a:moveTo>
                <a:cubicBezTo>
                  <a:pt x="137" y="457"/>
                  <a:pt x="142" y="453"/>
                  <a:pt x="148" y="450"/>
                </a:cubicBezTo>
                <a:cubicBezTo>
                  <a:pt x="143" y="454"/>
                  <a:pt x="138" y="457"/>
                  <a:pt x="133" y="461"/>
                </a:cubicBezTo>
                <a:close/>
                <a:moveTo>
                  <a:pt x="138" y="463"/>
                </a:moveTo>
                <a:cubicBezTo>
                  <a:pt x="138" y="464"/>
                  <a:pt x="137" y="464"/>
                  <a:pt x="137" y="463"/>
                </a:cubicBezTo>
                <a:cubicBezTo>
                  <a:pt x="136" y="462"/>
                  <a:pt x="138" y="463"/>
                  <a:pt x="138" y="463"/>
                </a:cubicBezTo>
                <a:close/>
                <a:moveTo>
                  <a:pt x="147" y="446"/>
                </a:moveTo>
                <a:cubicBezTo>
                  <a:pt x="146" y="446"/>
                  <a:pt x="145" y="447"/>
                  <a:pt x="145" y="447"/>
                </a:cubicBezTo>
                <a:cubicBezTo>
                  <a:pt x="144" y="446"/>
                  <a:pt x="152" y="439"/>
                  <a:pt x="153" y="440"/>
                </a:cubicBezTo>
                <a:cubicBezTo>
                  <a:pt x="154" y="440"/>
                  <a:pt x="147" y="446"/>
                  <a:pt x="147" y="446"/>
                </a:cubicBezTo>
                <a:close/>
                <a:moveTo>
                  <a:pt x="148" y="401"/>
                </a:moveTo>
                <a:cubicBezTo>
                  <a:pt x="151" y="399"/>
                  <a:pt x="146" y="402"/>
                  <a:pt x="148" y="401"/>
                </a:cubicBezTo>
                <a:close/>
                <a:moveTo>
                  <a:pt x="150" y="439"/>
                </a:moveTo>
                <a:cubicBezTo>
                  <a:pt x="150" y="440"/>
                  <a:pt x="149" y="440"/>
                  <a:pt x="148" y="440"/>
                </a:cubicBezTo>
                <a:cubicBezTo>
                  <a:pt x="148" y="439"/>
                  <a:pt x="149" y="439"/>
                  <a:pt x="150" y="439"/>
                </a:cubicBezTo>
                <a:close/>
                <a:moveTo>
                  <a:pt x="151" y="379"/>
                </a:moveTo>
                <a:cubicBezTo>
                  <a:pt x="150" y="380"/>
                  <a:pt x="151" y="378"/>
                  <a:pt x="151" y="379"/>
                </a:cubicBezTo>
                <a:close/>
                <a:moveTo>
                  <a:pt x="153" y="447"/>
                </a:moveTo>
                <a:cubicBezTo>
                  <a:pt x="153" y="449"/>
                  <a:pt x="150" y="449"/>
                  <a:pt x="149" y="450"/>
                </a:cubicBezTo>
                <a:cubicBezTo>
                  <a:pt x="149" y="449"/>
                  <a:pt x="152" y="448"/>
                  <a:pt x="153" y="447"/>
                </a:cubicBezTo>
                <a:close/>
                <a:moveTo>
                  <a:pt x="156" y="472"/>
                </a:moveTo>
                <a:cubicBezTo>
                  <a:pt x="155" y="473"/>
                  <a:pt x="152" y="475"/>
                  <a:pt x="151" y="475"/>
                </a:cubicBezTo>
                <a:cubicBezTo>
                  <a:pt x="151" y="475"/>
                  <a:pt x="154" y="471"/>
                  <a:pt x="156" y="472"/>
                </a:cubicBezTo>
                <a:close/>
                <a:moveTo>
                  <a:pt x="156" y="435"/>
                </a:moveTo>
                <a:cubicBezTo>
                  <a:pt x="156" y="435"/>
                  <a:pt x="156" y="435"/>
                  <a:pt x="157" y="435"/>
                </a:cubicBezTo>
                <a:cubicBezTo>
                  <a:pt x="156" y="435"/>
                  <a:pt x="156" y="435"/>
                  <a:pt x="156" y="435"/>
                </a:cubicBezTo>
                <a:cubicBezTo>
                  <a:pt x="156" y="435"/>
                  <a:pt x="156" y="435"/>
                  <a:pt x="156" y="435"/>
                </a:cubicBezTo>
                <a:close/>
                <a:moveTo>
                  <a:pt x="155" y="447"/>
                </a:moveTo>
                <a:cubicBezTo>
                  <a:pt x="155" y="447"/>
                  <a:pt x="154" y="448"/>
                  <a:pt x="154" y="447"/>
                </a:cubicBezTo>
                <a:cubicBezTo>
                  <a:pt x="153" y="446"/>
                  <a:pt x="156" y="445"/>
                  <a:pt x="155" y="447"/>
                </a:cubicBezTo>
                <a:close/>
                <a:moveTo>
                  <a:pt x="155" y="434"/>
                </a:moveTo>
                <a:cubicBezTo>
                  <a:pt x="155" y="434"/>
                  <a:pt x="154" y="435"/>
                  <a:pt x="154" y="435"/>
                </a:cubicBezTo>
                <a:cubicBezTo>
                  <a:pt x="152" y="437"/>
                  <a:pt x="153" y="432"/>
                  <a:pt x="155" y="434"/>
                </a:cubicBezTo>
                <a:close/>
                <a:moveTo>
                  <a:pt x="152" y="391"/>
                </a:moveTo>
                <a:cubicBezTo>
                  <a:pt x="153" y="391"/>
                  <a:pt x="152" y="392"/>
                  <a:pt x="152" y="392"/>
                </a:cubicBezTo>
                <a:cubicBezTo>
                  <a:pt x="151" y="393"/>
                  <a:pt x="151" y="390"/>
                  <a:pt x="152" y="391"/>
                </a:cubicBezTo>
                <a:close/>
                <a:moveTo>
                  <a:pt x="151" y="438"/>
                </a:moveTo>
                <a:cubicBezTo>
                  <a:pt x="152" y="436"/>
                  <a:pt x="154" y="438"/>
                  <a:pt x="151" y="438"/>
                </a:cubicBezTo>
                <a:close/>
                <a:moveTo>
                  <a:pt x="151" y="253"/>
                </a:moveTo>
                <a:cubicBezTo>
                  <a:pt x="151" y="253"/>
                  <a:pt x="151" y="254"/>
                  <a:pt x="150" y="254"/>
                </a:cubicBezTo>
                <a:cubicBezTo>
                  <a:pt x="150" y="253"/>
                  <a:pt x="151" y="252"/>
                  <a:pt x="151" y="253"/>
                </a:cubicBezTo>
                <a:close/>
                <a:moveTo>
                  <a:pt x="150" y="436"/>
                </a:moveTo>
                <a:cubicBezTo>
                  <a:pt x="151" y="436"/>
                  <a:pt x="150" y="437"/>
                  <a:pt x="150" y="437"/>
                </a:cubicBezTo>
                <a:cubicBezTo>
                  <a:pt x="149" y="439"/>
                  <a:pt x="149" y="435"/>
                  <a:pt x="150" y="436"/>
                </a:cubicBezTo>
                <a:close/>
                <a:moveTo>
                  <a:pt x="149" y="322"/>
                </a:moveTo>
                <a:cubicBezTo>
                  <a:pt x="149" y="323"/>
                  <a:pt x="148" y="322"/>
                  <a:pt x="149" y="322"/>
                </a:cubicBezTo>
                <a:close/>
                <a:moveTo>
                  <a:pt x="149" y="365"/>
                </a:moveTo>
                <a:cubicBezTo>
                  <a:pt x="149" y="366"/>
                  <a:pt x="147" y="366"/>
                  <a:pt x="148" y="365"/>
                </a:cubicBezTo>
                <a:cubicBezTo>
                  <a:pt x="148" y="365"/>
                  <a:pt x="149" y="365"/>
                  <a:pt x="149" y="365"/>
                </a:cubicBezTo>
                <a:close/>
                <a:moveTo>
                  <a:pt x="147" y="197"/>
                </a:moveTo>
                <a:cubicBezTo>
                  <a:pt x="146" y="198"/>
                  <a:pt x="146" y="198"/>
                  <a:pt x="145" y="197"/>
                </a:cubicBezTo>
                <a:cubicBezTo>
                  <a:pt x="142" y="194"/>
                  <a:pt x="150" y="194"/>
                  <a:pt x="147" y="197"/>
                </a:cubicBezTo>
                <a:close/>
                <a:moveTo>
                  <a:pt x="145" y="359"/>
                </a:moveTo>
                <a:cubicBezTo>
                  <a:pt x="147" y="359"/>
                  <a:pt x="145" y="362"/>
                  <a:pt x="145" y="362"/>
                </a:cubicBezTo>
                <a:cubicBezTo>
                  <a:pt x="143" y="363"/>
                  <a:pt x="143" y="358"/>
                  <a:pt x="145" y="359"/>
                </a:cubicBezTo>
                <a:close/>
                <a:moveTo>
                  <a:pt x="145" y="402"/>
                </a:moveTo>
                <a:cubicBezTo>
                  <a:pt x="145" y="404"/>
                  <a:pt x="144" y="404"/>
                  <a:pt x="143" y="405"/>
                </a:cubicBezTo>
                <a:cubicBezTo>
                  <a:pt x="143" y="404"/>
                  <a:pt x="144" y="403"/>
                  <a:pt x="145" y="402"/>
                </a:cubicBezTo>
                <a:close/>
                <a:moveTo>
                  <a:pt x="132" y="456"/>
                </a:moveTo>
                <a:cubicBezTo>
                  <a:pt x="134" y="453"/>
                  <a:pt x="139" y="450"/>
                  <a:pt x="143" y="448"/>
                </a:cubicBezTo>
                <a:cubicBezTo>
                  <a:pt x="139" y="451"/>
                  <a:pt x="137" y="455"/>
                  <a:pt x="132" y="456"/>
                </a:cubicBezTo>
                <a:close/>
                <a:moveTo>
                  <a:pt x="131" y="395"/>
                </a:moveTo>
                <a:cubicBezTo>
                  <a:pt x="132" y="394"/>
                  <a:pt x="132" y="393"/>
                  <a:pt x="134" y="393"/>
                </a:cubicBezTo>
                <a:cubicBezTo>
                  <a:pt x="134" y="393"/>
                  <a:pt x="132" y="395"/>
                  <a:pt x="131" y="395"/>
                </a:cubicBezTo>
                <a:close/>
                <a:moveTo>
                  <a:pt x="134" y="448"/>
                </a:moveTo>
                <a:cubicBezTo>
                  <a:pt x="134" y="448"/>
                  <a:pt x="133" y="449"/>
                  <a:pt x="133" y="448"/>
                </a:cubicBezTo>
                <a:cubicBezTo>
                  <a:pt x="132" y="447"/>
                  <a:pt x="135" y="447"/>
                  <a:pt x="134" y="448"/>
                </a:cubicBezTo>
                <a:close/>
                <a:moveTo>
                  <a:pt x="132" y="422"/>
                </a:moveTo>
                <a:cubicBezTo>
                  <a:pt x="131" y="421"/>
                  <a:pt x="131" y="420"/>
                  <a:pt x="132" y="420"/>
                </a:cubicBezTo>
                <a:cubicBezTo>
                  <a:pt x="133" y="420"/>
                  <a:pt x="134" y="421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5" y="424"/>
                  <a:pt x="130" y="426"/>
                  <a:pt x="130" y="423"/>
                </a:cubicBezTo>
                <a:cubicBezTo>
                  <a:pt x="130" y="422"/>
                  <a:pt x="131" y="422"/>
                  <a:pt x="132" y="422"/>
                </a:cubicBezTo>
                <a:close/>
                <a:moveTo>
                  <a:pt x="138" y="416"/>
                </a:moveTo>
                <a:cubicBezTo>
                  <a:pt x="137" y="417"/>
                  <a:pt x="139" y="415"/>
                  <a:pt x="138" y="416"/>
                </a:cubicBezTo>
                <a:close/>
                <a:moveTo>
                  <a:pt x="139" y="433"/>
                </a:moveTo>
                <a:cubicBezTo>
                  <a:pt x="139" y="432"/>
                  <a:pt x="139" y="432"/>
                  <a:pt x="139" y="432"/>
                </a:cubicBezTo>
                <a:cubicBezTo>
                  <a:pt x="139" y="430"/>
                  <a:pt x="141" y="433"/>
                  <a:pt x="139" y="433"/>
                </a:cubicBezTo>
                <a:close/>
                <a:moveTo>
                  <a:pt x="140" y="443"/>
                </a:moveTo>
                <a:cubicBezTo>
                  <a:pt x="140" y="443"/>
                  <a:pt x="141" y="443"/>
                  <a:pt x="141" y="444"/>
                </a:cubicBezTo>
                <a:cubicBezTo>
                  <a:pt x="141" y="444"/>
                  <a:pt x="140" y="444"/>
                  <a:pt x="140" y="443"/>
                </a:cubicBezTo>
                <a:close/>
                <a:moveTo>
                  <a:pt x="142" y="387"/>
                </a:moveTo>
                <a:cubicBezTo>
                  <a:pt x="141" y="387"/>
                  <a:pt x="144" y="386"/>
                  <a:pt x="142" y="387"/>
                </a:cubicBezTo>
                <a:close/>
                <a:moveTo>
                  <a:pt x="142" y="436"/>
                </a:moveTo>
                <a:cubicBezTo>
                  <a:pt x="143" y="436"/>
                  <a:pt x="142" y="439"/>
                  <a:pt x="141" y="437"/>
                </a:cubicBezTo>
                <a:cubicBezTo>
                  <a:pt x="141" y="436"/>
                  <a:pt x="142" y="436"/>
                  <a:pt x="142" y="436"/>
                </a:cubicBezTo>
                <a:close/>
                <a:moveTo>
                  <a:pt x="142" y="387"/>
                </a:moveTo>
                <a:cubicBezTo>
                  <a:pt x="141" y="389"/>
                  <a:pt x="139" y="391"/>
                  <a:pt x="137" y="392"/>
                </a:cubicBezTo>
                <a:cubicBezTo>
                  <a:pt x="137" y="392"/>
                  <a:pt x="139" y="388"/>
                  <a:pt x="142" y="387"/>
                </a:cubicBezTo>
                <a:close/>
                <a:moveTo>
                  <a:pt x="136" y="246"/>
                </a:moveTo>
                <a:cubicBezTo>
                  <a:pt x="135" y="246"/>
                  <a:pt x="137" y="245"/>
                  <a:pt x="136" y="246"/>
                </a:cubicBezTo>
                <a:close/>
                <a:moveTo>
                  <a:pt x="134" y="301"/>
                </a:moveTo>
                <a:cubicBezTo>
                  <a:pt x="134" y="298"/>
                  <a:pt x="136" y="300"/>
                  <a:pt x="134" y="301"/>
                </a:cubicBezTo>
                <a:close/>
                <a:moveTo>
                  <a:pt x="135" y="342"/>
                </a:moveTo>
                <a:cubicBezTo>
                  <a:pt x="135" y="343"/>
                  <a:pt x="134" y="344"/>
                  <a:pt x="134" y="345"/>
                </a:cubicBezTo>
                <a:cubicBezTo>
                  <a:pt x="133" y="344"/>
                  <a:pt x="134" y="342"/>
                  <a:pt x="135" y="342"/>
                </a:cubicBezTo>
                <a:close/>
                <a:moveTo>
                  <a:pt x="129" y="351"/>
                </a:moveTo>
                <a:cubicBezTo>
                  <a:pt x="129" y="350"/>
                  <a:pt x="132" y="348"/>
                  <a:pt x="132" y="346"/>
                </a:cubicBezTo>
                <a:cubicBezTo>
                  <a:pt x="133" y="347"/>
                  <a:pt x="130" y="349"/>
                  <a:pt x="129" y="351"/>
                </a:cubicBezTo>
                <a:close/>
                <a:moveTo>
                  <a:pt x="132" y="280"/>
                </a:moveTo>
                <a:cubicBezTo>
                  <a:pt x="132" y="282"/>
                  <a:pt x="130" y="281"/>
                  <a:pt x="132" y="280"/>
                </a:cubicBezTo>
                <a:close/>
                <a:moveTo>
                  <a:pt x="129" y="305"/>
                </a:moveTo>
                <a:cubicBezTo>
                  <a:pt x="131" y="306"/>
                  <a:pt x="130" y="307"/>
                  <a:pt x="129" y="307"/>
                </a:cubicBezTo>
                <a:cubicBezTo>
                  <a:pt x="127" y="309"/>
                  <a:pt x="128" y="305"/>
                  <a:pt x="129" y="305"/>
                </a:cubicBezTo>
                <a:close/>
                <a:moveTo>
                  <a:pt x="118" y="327"/>
                </a:moveTo>
                <a:cubicBezTo>
                  <a:pt x="118" y="327"/>
                  <a:pt x="117" y="327"/>
                  <a:pt x="117" y="326"/>
                </a:cubicBezTo>
                <a:cubicBezTo>
                  <a:pt x="117" y="326"/>
                  <a:pt x="119" y="326"/>
                  <a:pt x="118" y="327"/>
                </a:cubicBezTo>
                <a:close/>
                <a:moveTo>
                  <a:pt x="118" y="336"/>
                </a:moveTo>
                <a:cubicBezTo>
                  <a:pt x="118" y="336"/>
                  <a:pt x="118" y="337"/>
                  <a:pt x="117" y="336"/>
                </a:cubicBezTo>
                <a:cubicBezTo>
                  <a:pt x="117" y="336"/>
                  <a:pt x="119" y="334"/>
                  <a:pt x="118" y="336"/>
                </a:cubicBezTo>
                <a:close/>
                <a:moveTo>
                  <a:pt x="115" y="336"/>
                </a:moveTo>
                <a:cubicBezTo>
                  <a:pt x="116" y="335"/>
                  <a:pt x="114" y="337"/>
                  <a:pt x="115" y="336"/>
                </a:cubicBezTo>
                <a:close/>
                <a:moveTo>
                  <a:pt x="115" y="386"/>
                </a:moveTo>
                <a:cubicBezTo>
                  <a:pt x="116" y="387"/>
                  <a:pt x="115" y="387"/>
                  <a:pt x="114" y="387"/>
                </a:cubicBezTo>
                <a:cubicBezTo>
                  <a:pt x="114" y="388"/>
                  <a:pt x="115" y="386"/>
                  <a:pt x="115" y="386"/>
                </a:cubicBezTo>
                <a:close/>
                <a:moveTo>
                  <a:pt x="114" y="388"/>
                </a:moveTo>
                <a:cubicBezTo>
                  <a:pt x="114" y="389"/>
                  <a:pt x="113" y="389"/>
                  <a:pt x="113" y="390"/>
                </a:cubicBezTo>
                <a:cubicBezTo>
                  <a:pt x="112" y="390"/>
                  <a:pt x="113" y="388"/>
                  <a:pt x="114" y="388"/>
                </a:cubicBezTo>
                <a:close/>
                <a:moveTo>
                  <a:pt x="111" y="394"/>
                </a:moveTo>
                <a:cubicBezTo>
                  <a:pt x="110" y="393"/>
                  <a:pt x="112" y="392"/>
                  <a:pt x="112" y="391"/>
                </a:cubicBezTo>
                <a:cubicBezTo>
                  <a:pt x="113" y="392"/>
                  <a:pt x="111" y="393"/>
                  <a:pt x="111" y="394"/>
                </a:cubicBezTo>
                <a:close/>
                <a:moveTo>
                  <a:pt x="112" y="243"/>
                </a:moveTo>
                <a:cubicBezTo>
                  <a:pt x="111" y="245"/>
                  <a:pt x="111" y="241"/>
                  <a:pt x="112" y="242"/>
                </a:cubicBezTo>
                <a:cubicBezTo>
                  <a:pt x="113" y="242"/>
                  <a:pt x="112" y="243"/>
                  <a:pt x="112" y="243"/>
                </a:cubicBezTo>
                <a:close/>
                <a:moveTo>
                  <a:pt x="115" y="433"/>
                </a:moveTo>
                <a:cubicBezTo>
                  <a:pt x="111" y="434"/>
                  <a:pt x="116" y="429"/>
                  <a:pt x="116" y="432"/>
                </a:cubicBezTo>
                <a:cubicBezTo>
                  <a:pt x="116" y="432"/>
                  <a:pt x="115" y="433"/>
                  <a:pt x="115" y="433"/>
                </a:cubicBezTo>
                <a:close/>
                <a:moveTo>
                  <a:pt x="116" y="435"/>
                </a:moveTo>
                <a:cubicBezTo>
                  <a:pt x="115" y="436"/>
                  <a:pt x="117" y="434"/>
                  <a:pt x="116" y="435"/>
                </a:cubicBezTo>
                <a:close/>
                <a:moveTo>
                  <a:pt x="113" y="417"/>
                </a:moveTo>
                <a:cubicBezTo>
                  <a:pt x="115" y="413"/>
                  <a:pt x="118" y="409"/>
                  <a:pt x="121" y="406"/>
                </a:cubicBezTo>
                <a:cubicBezTo>
                  <a:pt x="119" y="410"/>
                  <a:pt x="117" y="414"/>
                  <a:pt x="113" y="417"/>
                </a:cubicBezTo>
                <a:close/>
                <a:moveTo>
                  <a:pt x="121" y="276"/>
                </a:moveTo>
                <a:cubicBezTo>
                  <a:pt x="121" y="276"/>
                  <a:pt x="121" y="277"/>
                  <a:pt x="121" y="277"/>
                </a:cubicBezTo>
                <a:cubicBezTo>
                  <a:pt x="120" y="276"/>
                  <a:pt x="122" y="275"/>
                  <a:pt x="121" y="276"/>
                </a:cubicBezTo>
                <a:close/>
                <a:moveTo>
                  <a:pt x="122" y="193"/>
                </a:moveTo>
                <a:cubicBezTo>
                  <a:pt x="123" y="193"/>
                  <a:pt x="123" y="195"/>
                  <a:pt x="122" y="195"/>
                </a:cubicBezTo>
                <a:cubicBezTo>
                  <a:pt x="121" y="197"/>
                  <a:pt x="121" y="192"/>
                  <a:pt x="122" y="193"/>
                </a:cubicBezTo>
                <a:close/>
                <a:moveTo>
                  <a:pt x="122" y="472"/>
                </a:moveTo>
                <a:cubicBezTo>
                  <a:pt x="122" y="473"/>
                  <a:pt x="121" y="474"/>
                  <a:pt x="120" y="475"/>
                </a:cubicBezTo>
                <a:cubicBezTo>
                  <a:pt x="120" y="474"/>
                  <a:pt x="121" y="472"/>
                  <a:pt x="122" y="472"/>
                </a:cubicBezTo>
                <a:close/>
                <a:moveTo>
                  <a:pt x="120" y="461"/>
                </a:moveTo>
                <a:cubicBezTo>
                  <a:pt x="121" y="463"/>
                  <a:pt x="118" y="467"/>
                  <a:pt x="116" y="466"/>
                </a:cubicBezTo>
                <a:cubicBezTo>
                  <a:pt x="115" y="464"/>
                  <a:pt x="119" y="462"/>
                  <a:pt x="120" y="461"/>
                </a:cubicBezTo>
                <a:close/>
                <a:moveTo>
                  <a:pt x="111" y="479"/>
                </a:moveTo>
                <a:cubicBezTo>
                  <a:pt x="110" y="481"/>
                  <a:pt x="109" y="480"/>
                  <a:pt x="111" y="479"/>
                </a:cubicBezTo>
                <a:close/>
                <a:moveTo>
                  <a:pt x="110" y="496"/>
                </a:moveTo>
                <a:cubicBezTo>
                  <a:pt x="111" y="495"/>
                  <a:pt x="109" y="497"/>
                  <a:pt x="110" y="496"/>
                </a:cubicBezTo>
                <a:close/>
                <a:moveTo>
                  <a:pt x="107" y="477"/>
                </a:moveTo>
                <a:cubicBezTo>
                  <a:pt x="107" y="476"/>
                  <a:pt x="106" y="478"/>
                  <a:pt x="107" y="477"/>
                </a:cubicBezTo>
                <a:close/>
                <a:moveTo>
                  <a:pt x="109" y="509"/>
                </a:moveTo>
                <a:cubicBezTo>
                  <a:pt x="108" y="510"/>
                  <a:pt x="107" y="509"/>
                  <a:pt x="106" y="508"/>
                </a:cubicBezTo>
                <a:cubicBezTo>
                  <a:pt x="104" y="505"/>
                  <a:pt x="110" y="501"/>
                  <a:pt x="111" y="503"/>
                </a:cubicBezTo>
                <a:cubicBezTo>
                  <a:pt x="114" y="504"/>
                  <a:pt x="111" y="509"/>
                  <a:pt x="109" y="509"/>
                </a:cubicBezTo>
                <a:close/>
                <a:moveTo>
                  <a:pt x="115" y="501"/>
                </a:moveTo>
                <a:cubicBezTo>
                  <a:pt x="115" y="499"/>
                  <a:pt x="117" y="501"/>
                  <a:pt x="115" y="501"/>
                </a:cubicBezTo>
                <a:close/>
                <a:moveTo>
                  <a:pt x="115" y="498"/>
                </a:moveTo>
                <a:cubicBezTo>
                  <a:pt x="115" y="498"/>
                  <a:pt x="115" y="498"/>
                  <a:pt x="115" y="498"/>
                </a:cubicBezTo>
                <a:cubicBezTo>
                  <a:pt x="115" y="499"/>
                  <a:pt x="115" y="499"/>
                  <a:pt x="115" y="499"/>
                </a:cubicBezTo>
                <a:cubicBezTo>
                  <a:pt x="114" y="500"/>
                  <a:pt x="114" y="500"/>
                  <a:pt x="114" y="501"/>
                </a:cubicBezTo>
                <a:cubicBezTo>
                  <a:pt x="114" y="501"/>
                  <a:pt x="114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1"/>
                  <a:pt x="113" y="501"/>
                </a:cubicBezTo>
                <a:cubicBezTo>
                  <a:pt x="114" y="499"/>
                  <a:pt x="115" y="496"/>
                  <a:pt x="116" y="494"/>
                </a:cubicBezTo>
                <a:cubicBezTo>
                  <a:pt x="116" y="495"/>
                  <a:pt x="116" y="497"/>
                  <a:pt x="115" y="498"/>
                </a:cubicBezTo>
                <a:close/>
                <a:moveTo>
                  <a:pt x="115" y="482"/>
                </a:moveTo>
                <a:cubicBezTo>
                  <a:pt x="116" y="481"/>
                  <a:pt x="118" y="481"/>
                  <a:pt x="120" y="480"/>
                </a:cubicBezTo>
                <a:cubicBezTo>
                  <a:pt x="119" y="482"/>
                  <a:pt x="117" y="482"/>
                  <a:pt x="115" y="482"/>
                </a:cubicBezTo>
                <a:close/>
                <a:moveTo>
                  <a:pt x="121" y="500"/>
                </a:moveTo>
                <a:cubicBezTo>
                  <a:pt x="122" y="501"/>
                  <a:pt x="121" y="503"/>
                  <a:pt x="119" y="503"/>
                </a:cubicBezTo>
                <a:cubicBezTo>
                  <a:pt x="117" y="502"/>
                  <a:pt x="119" y="499"/>
                  <a:pt x="121" y="500"/>
                </a:cubicBezTo>
                <a:cubicBezTo>
                  <a:pt x="119" y="498"/>
                  <a:pt x="121" y="493"/>
                  <a:pt x="124" y="494"/>
                </a:cubicBezTo>
                <a:cubicBezTo>
                  <a:pt x="128" y="495"/>
                  <a:pt x="124" y="503"/>
                  <a:pt x="121" y="500"/>
                </a:cubicBezTo>
                <a:close/>
                <a:moveTo>
                  <a:pt x="123" y="425"/>
                </a:moveTo>
                <a:cubicBezTo>
                  <a:pt x="123" y="425"/>
                  <a:pt x="123" y="424"/>
                  <a:pt x="124" y="424"/>
                </a:cubicBezTo>
                <a:cubicBezTo>
                  <a:pt x="124" y="424"/>
                  <a:pt x="123" y="425"/>
                  <a:pt x="123" y="425"/>
                </a:cubicBezTo>
                <a:close/>
                <a:moveTo>
                  <a:pt x="123" y="474"/>
                </a:moveTo>
                <a:cubicBezTo>
                  <a:pt x="123" y="472"/>
                  <a:pt x="125" y="474"/>
                  <a:pt x="123" y="474"/>
                </a:cubicBezTo>
                <a:close/>
                <a:moveTo>
                  <a:pt x="123" y="471"/>
                </a:moveTo>
                <a:cubicBezTo>
                  <a:pt x="125" y="469"/>
                  <a:pt x="122" y="472"/>
                  <a:pt x="123" y="471"/>
                </a:cubicBezTo>
                <a:close/>
                <a:moveTo>
                  <a:pt x="126" y="472"/>
                </a:moveTo>
                <a:cubicBezTo>
                  <a:pt x="126" y="472"/>
                  <a:pt x="126" y="472"/>
                  <a:pt x="126" y="472"/>
                </a:cubicBezTo>
                <a:cubicBezTo>
                  <a:pt x="125" y="472"/>
                  <a:pt x="125" y="473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lose/>
                <a:moveTo>
                  <a:pt x="127" y="431"/>
                </a:moveTo>
                <a:cubicBezTo>
                  <a:pt x="127" y="431"/>
                  <a:pt x="128" y="431"/>
                  <a:pt x="127" y="432"/>
                </a:cubicBezTo>
                <a:cubicBezTo>
                  <a:pt x="127" y="433"/>
                  <a:pt x="126" y="431"/>
                  <a:pt x="127" y="431"/>
                </a:cubicBezTo>
                <a:close/>
                <a:moveTo>
                  <a:pt x="127" y="501"/>
                </a:moveTo>
                <a:cubicBezTo>
                  <a:pt x="127" y="500"/>
                  <a:pt x="127" y="500"/>
                  <a:pt x="127" y="500"/>
                </a:cubicBezTo>
                <a:cubicBezTo>
                  <a:pt x="127" y="498"/>
                  <a:pt x="129" y="501"/>
                  <a:pt x="127" y="501"/>
                </a:cubicBezTo>
                <a:close/>
                <a:moveTo>
                  <a:pt x="128" y="501"/>
                </a:moveTo>
                <a:cubicBezTo>
                  <a:pt x="127" y="502"/>
                  <a:pt x="128" y="499"/>
                  <a:pt x="129" y="500"/>
                </a:cubicBezTo>
                <a:cubicBezTo>
                  <a:pt x="130" y="501"/>
                  <a:pt x="129" y="501"/>
                  <a:pt x="128" y="501"/>
                </a:cubicBezTo>
                <a:close/>
                <a:moveTo>
                  <a:pt x="128" y="456"/>
                </a:moveTo>
                <a:cubicBezTo>
                  <a:pt x="129" y="455"/>
                  <a:pt x="127" y="457"/>
                  <a:pt x="128" y="456"/>
                </a:cubicBezTo>
                <a:close/>
                <a:moveTo>
                  <a:pt x="125" y="401"/>
                </a:moveTo>
                <a:cubicBezTo>
                  <a:pt x="125" y="401"/>
                  <a:pt x="122" y="406"/>
                  <a:pt x="123" y="403"/>
                </a:cubicBezTo>
                <a:cubicBezTo>
                  <a:pt x="123" y="401"/>
                  <a:pt x="128" y="398"/>
                  <a:pt x="130" y="396"/>
                </a:cubicBezTo>
                <a:cubicBezTo>
                  <a:pt x="129" y="398"/>
                  <a:pt x="127" y="399"/>
                  <a:pt x="125" y="401"/>
                </a:cubicBezTo>
                <a:close/>
                <a:moveTo>
                  <a:pt x="131" y="424"/>
                </a:moveTo>
                <a:cubicBezTo>
                  <a:pt x="131" y="424"/>
                  <a:pt x="131" y="425"/>
                  <a:pt x="130" y="426"/>
                </a:cubicBezTo>
                <a:cubicBezTo>
                  <a:pt x="130" y="426"/>
                  <a:pt x="130" y="424"/>
                  <a:pt x="131" y="424"/>
                </a:cubicBezTo>
                <a:close/>
                <a:moveTo>
                  <a:pt x="131" y="503"/>
                </a:moveTo>
                <a:cubicBezTo>
                  <a:pt x="129" y="502"/>
                  <a:pt x="134" y="500"/>
                  <a:pt x="132" y="503"/>
                </a:cubicBezTo>
                <a:cubicBezTo>
                  <a:pt x="132" y="503"/>
                  <a:pt x="131" y="504"/>
                  <a:pt x="131" y="503"/>
                </a:cubicBezTo>
                <a:close/>
                <a:moveTo>
                  <a:pt x="132" y="505"/>
                </a:moveTo>
                <a:cubicBezTo>
                  <a:pt x="132" y="506"/>
                  <a:pt x="133" y="504"/>
                  <a:pt x="132" y="505"/>
                </a:cubicBezTo>
                <a:close/>
                <a:moveTo>
                  <a:pt x="132" y="478"/>
                </a:moveTo>
                <a:cubicBezTo>
                  <a:pt x="130" y="480"/>
                  <a:pt x="130" y="474"/>
                  <a:pt x="132" y="475"/>
                </a:cubicBezTo>
                <a:cubicBezTo>
                  <a:pt x="134" y="476"/>
                  <a:pt x="133" y="478"/>
                  <a:pt x="132" y="478"/>
                </a:cubicBezTo>
                <a:close/>
                <a:moveTo>
                  <a:pt x="138" y="496"/>
                </a:moveTo>
                <a:cubicBezTo>
                  <a:pt x="136" y="498"/>
                  <a:pt x="135" y="493"/>
                  <a:pt x="137" y="494"/>
                </a:cubicBezTo>
                <a:cubicBezTo>
                  <a:pt x="138" y="494"/>
                  <a:pt x="138" y="496"/>
                  <a:pt x="138" y="496"/>
                </a:cubicBezTo>
                <a:close/>
                <a:moveTo>
                  <a:pt x="140" y="501"/>
                </a:moveTo>
                <a:cubicBezTo>
                  <a:pt x="141" y="500"/>
                  <a:pt x="141" y="502"/>
                  <a:pt x="140" y="501"/>
                </a:cubicBezTo>
                <a:close/>
                <a:moveTo>
                  <a:pt x="139" y="469"/>
                </a:moveTo>
                <a:cubicBezTo>
                  <a:pt x="138" y="471"/>
                  <a:pt x="136" y="474"/>
                  <a:pt x="135" y="475"/>
                </a:cubicBezTo>
                <a:cubicBezTo>
                  <a:pt x="130" y="476"/>
                  <a:pt x="139" y="468"/>
                  <a:pt x="141" y="467"/>
                </a:cubicBezTo>
                <a:cubicBezTo>
                  <a:pt x="138" y="469"/>
                  <a:pt x="141" y="465"/>
                  <a:pt x="142" y="466"/>
                </a:cubicBezTo>
                <a:cubicBezTo>
                  <a:pt x="143" y="467"/>
                  <a:pt x="140" y="469"/>
                  <a:pt x="139" y="469"/>
                </a:cubicBezTo>
                <a:close/>
                <a:moveTo>
                  <a:pt x="143" y="510"/>
                </a:moveTo>
                <a:cubicBezTo>
                  <a:pt x="142" y="510"/>
                  <a:pt x="142" y="511"/>
                  <a:pt x="142" y="511"/>
                </a:cubicBezTo>
                <a:cubicBezTo>
                  <a:pt x="143" y="510"/>
                  <a:pt x="143" y="509"/>
                  <a:pt x="143" y="510"/>
                </a:cubicBezTo>
                <a:close/>
                <a:moveTo>
                  <a:pt x="143" y="484"/>
                </a:moveTo>
                <a:cubicBezTo>
                  <a:pt x="143" y="484"/>
                  <a:pt x="144" y="483"/>
                  <a:pt x="144" y="483"/>
                </a:cubicBezTo>
                <a:cubicBezTo>
                  <a:pt x="144" y="483"/>
                  <a:pt x="144" y="484"/>
                  <a:pt x="143" y="484"/>
                </a:cubicBezTo>
                <a:close/>
                <a:moveTo>
                  <a:pt x="144" y="494"/>
                </a:moveTo>
                <a:cubicBezTo>
                  <a:pt x="144" y="493"/>
                  <a:pt x="147" y="493"/>
                  <a:pt x="147" y="494"/>
                </a:cubicBezTo>
                <a:cubicBezTo>
                  <a:pt x="147" y="495"/>
                  <a:pt x="144" y="497"/>
                  <a:pt x="144" y="494"/>
                </a:cubicBezTo>
                <a:close/>
                <a:moveTo>
                  <a:pt x="145" y="517"/>
                </a:moveTo>
                <a:cubicBezTo>
                  <a:pt x="144" y="515"/>
                  <a:pt x="148" y="516"/>
                  <a:pt x="148" y="517"/>
                </a:cubicBezTo>
                <a:cubicBezTo>
                  <a:pt x="147" y="518"/>
                  <a:pt x="145" y="519"/>
                  <a:pt x="145" y="517"/>
                </a:cubicBezTo>
                <a:close/>
                <a:moveTo>
                  <a:pt x="142" y="481"/>
                </a:moveTo>
                <a:cubicBezTo>
                  <a:pt x="144" y="479"/>
                  <a:pt x="146" y="477"/>
                  <a:pt x="149" y="476"/>
                </a:cubicBezTo>
                <a:cubicBezTo>
                  <a:pt x="147" y="478"/>
                  <a:pt x="145" y="480"/>
                  <a:pt x="142" y="481"/>
                </a:cubicBezTo>
                <a:close/>
                <a:moveTo>
                  <a:pt x="149" y="515"/>
                </a:moveTo>
                <a:cubicBezTo>
                  <a:pt x="149" y="515"/>
                  <a:pt x="147" y="515"/>
                  <a:pt x="148" y="514"/>
                </a:cubicBezTo>
                <a:cubicBezTo>
                  <a:pt x="148" y="514"/>
                  <a:pt x="150" y="515"/>
                  <a:pt x="149" y="515"/>
                </a:cubicBezTo>
                <a:close/>
                <a:moveTo>
                  <a:pt x="150" y="472"/>
                </a:moveTo>
                <a:cubicBezTo>
                  <a:pt x="149" y="472"/>
                  <a:pt x="150" y="470"/>
                  <a:pt x="150" y="470"/>
                </a:cubicBezTo>
                <a:cubicBezTo>
                  <a:pt x="151" y="471"/>
                  <a:pt x="149" y="472"/>
                  <a:pt x="150" y="472"/>
                </a:cubicBezTo>
                <a:close/>
                <a:moveTo>
                  <a:pt x="150" y="468"/>
                </a:moveTo>
                <a:cubicBezTo>
                  <a:pt x="150" y="468"/>
                  <a:pt x="150" y="468"/>
                  <a:pt x="151" y="468"/>
                </a:cubicBezTo>
                <a:cubicBezTo>
                  <a:pt x="151" y="468"/>
                  <a:pt x="151" y="467"/>
                  <a:pt x="151" y="467"/>
                </a:cubicBezTo>
                <a:cubicBezTo>
                  <a:pt x="151" y="467"/>
                  <a:pt x="151" y="467"/>
                  <a:pt x="151" y="467"/>
                </a:cubicBezTo>
                <a:cubicBezTo>
                  <a:pt x="151" y="468"/>
                  <a:pt x="151" y="468"/>
                  <a:pt x="151" y="468"/>
                </a:cubicBezTo>
                <a:cubicBezTo>
                  <a:pt x="150" y="468"/>
                  <a:pt x="150" y="468"/>
                  <a:pt x="150" y="468"/>
                </a:cubicBezTo>
                <a:close/>
                <a:moveTo>
                  <a:pt x="152" y="551"/>
                </a:moveTo>
                <a:cubicBezTo>
                  <a:pt x="151" y="551"/>
                  <a:pt x="151" y="551"/>
                  <a:pt x="151" y="551"/>
                </a:cubicBezTo>
                <a:cubicBezTo>
                  <a:pt x="150" y="550"/>
                  <a:pt x="153" y="549"/>
                  <a:pt x="152" y="551"/>
                </a:cubicBezTo>
                <a:close/>
                <a:moveTo>
                  <a:pt x="152" y="540"/>
                </a:moveTo>
                <a:cubicBezTo>
                  <a:pt x="150" y="541"/>
                  <a:pt x="150" y="536"/>
                  <a:pt x="153" y="537"/>
                </a:cubicBezTo>
                <a:cubicBezTo>
                  <a:pt x="154" y="537"/>
                  <a:pt x="153" y="539"/>
                  <a:pt x="152" y="540"/>
                </a:cubicBezTo>
                <a:close/>
                <a:moveTo>
                  <a:pt x="154" y="484"/>
                </a:moveTo>
                <a:cubicBezTo>
                  <a:pt x="153" y="483"/>
                  <a:pt x="155" y="483"/>
                  <a:pt x="155" y="484"/>
                </a:cubicBezTo>
                <a:cubicBezTo>
                  <a:pt x="155" y="484"/>
                  <a:pt x="154" y="485"/>
                  <a:pt x="154" y="484"/>
                </a:cubicBezTo>
                <a:close/>
                <a:moveTo>
                  <a:pt x="158" y="546"/>
                </a:moveTo>
                <a:cubicBezTo>
                  <a:pt x="158" y="546"/>
                  <a:pt x="158" y="547"/>
                  <a:pt x="158" y="547"/>
                </a:cubicBezTo>
                <a:cubicBezTo>
                  <a:pt x="158" y="547"/>
                  <a:pt x="158" y="547"/>
                  <a:pt x="158" y="547"/>
                </a:cubicBezTo>
                <a:cubicBezTo>
                  <a:pt x="157" y="547"/>
                  <a:pt x="155" y="548"/>
                  <a:pt x="154" y="548"/>
                </a:cubicBezTo>
                <a:cubicBezTo>
                  <a:pt x="155" y="546"/>
                  <a:pt x="158" y="546"/>
                  <a:pt x="160" y="545"/>
                </a:cubicBezTo>
                <a:cubicBezTo>
                  <a:pt x="160" y="545"/>
                  <a:pt x="159" y="546"/>
                  <a:pt x="158" y="546"/>
                </a:cubicBezTo>
                <a:close/>
                <a:moveTo>
                  <a:pt x="155" y="544"/>
                </a:moveTo>
                <a:cubicBezTo>
                  <a:pt x="155" y="544"/>
                  <a:pt x="156" y="543"/>
                  <a:pt x="156" y="544"/>
                </a:cubicBezTo>
                <a:cubicBezTo>
                  <a:pt x="156" y="544"/>
                  <a:pt x="155" y="546"/>
                  <a:pt x="155" y="544"/>
                </a:cubicBezTo>
                <a:close/>
                <a:moveTo>
                  <a:pt x="160" y="521"/>
                </a:moveTo>
                <a:cubicBezTo>
                  <a:pt x="151" y="525"/>
                  <a:pt x="154" y="511"/>
                  <a:pt x="161" y="512"/>
                </a:cubicBezTo>
                <a:cubicBezTo>
                  <a:pt x="165" y="513"/>
                  <a:pt x="162" y="520"/>
                  <a:pt x="160" y="521"/>
                </a:cubicBezTo>
                <a:close/>
                <a:moveTo>
                  <a:pt x="162" y="544"/>
                </a:moveTo>
                <a:cubicBezTo>
                  <a:pt x="162" y="545"/>
                  <a:pt x="161" y="545"/>
                  <a:pt x="161" y="545"/>
                </a:cubicBezTo>
                <a:cubicBezTo>
                  <a:pt x="160" y="544"/>
                  <a:pt x="165" y="543"/>
                  <a:pt x="162" y="544"/>
                </a:cubicBezTo>
                <a:close/>
                <a:moveTo>
                  <a:pt x="168" y="525"/>
                </a:moveTo>
                <a:cubicBezTo>
                  <a:pt x="168" y="525"/>
                  <a:pt x="169" y="525"/>
                  <a:pt x="169" y="525"/>
                </a:cubicBezTo>
                <a:cubicBezTo>
                  <a:pt x="169" y="526"/>
                  <a:pt x="168" y="526"/>
                  <a:pt x="168" y="525"/>
                </a:cubicBezTo>
                <a:close/>
                <a:moveTo>
                  <a:pt x="170" y="537"/>
                </a:moveTo>
                <a:cubicBezTo>
                  <a:pt x="168" y="538"/>
                  <a:pt x="168" y="535"/>
                  <a:pt x="170" y="535"/>
                </a:cubicBezTo>
                <a:cubicBezTo>
                  <a:pt x="171" y="536"/>
                  <a:pt x="170" y="536"/>
                  <a:pt x="170" y="537"/>
                </a:cubicBezTo>
                <a:close/>
                <a:moveTo>
                  <a:pt x="172" y="521"/>
                </a:moveTo>
                <a:cubicBezTo>
                  <a:pt x="170" y="522"/>
                  <a:pt x="165" y="524"/>
                  <a:pt x="161" y="525"/>
                </a:cubicBezTo>
                <a:cubicBezTo>
                  <a:pt x="164" y="523"/>
                  <a:pt x="170" y="520"/>
                  <a:pt x="173" y="519"/>
                </a:cubicBezTo>
                <a:cubicBezTo>
                  <a:pt x="172" y="519"/>
                  <a:pt x="175" y="519"/>
                  <a:pt x="175" y="519"/>
                </a:cubicBezTo>
                <a:cubicBezTo>
                  <a:pt x="175" y="520"/>
                  <a:pt x="173" y="520"/>
                  <a:pt x="172" y="521"/>
                </a:cubicBezTo>
                <a:close/>
                <a:moveTo>
                  <a:pt x="176" y="546"/>
                </a:moveTo>
                <a:cubicBezTo>
                  <a:pt x="175" y="547"/>
                  <a:pt x="175" y="547"/>
                  <a:pt x="175" y="546"/>
                </a:cubicBezTo>
                <a:cubicBezTo>
                  <a:pt x="174" y="545"/>
                  <a:pt x="177" y="545"/>
                  <a:pt x="176" y="546"/>
                </a:cubicBezTo>
                <a:close/>
                <a:moveTo>
                  <a:pt x="174" y="497"/>
                </a:moveTo>
                <a:cubicBezTo>
                  <a:pt x="174" y="496"/>
                  <a:pt x="176" y="497"/>
                  <a:pt x="176" y="497"/>
                </a:cubicBezTo>
                <a:cubicBezTo>
                  <a:pt x="176" y="498"/>
                  <a:pt x="174" y="499"/>
                  <a:pt x="174" y="497"/>
                </a:cubicBezTo>
                <a:close/>
                <a:moveTo>
                  <a:pt x="176" y="431"/>
                </a:moveTo>
                <a:cubicBezTo>
                  <a:pt x="176" y="431"/>
                  <a:pt x="176" y="431"/>
                  <a:pt x="176" y="431"/>
                </a:cubicBezTo>
                <a:cubicBezTo>
                  <a:pt x="175" y="433"/>
                  <a:pt x="176" y="429"/>
                  <a:pt x="176" y="431"/>
                </a:cubicBezTo>
                <a:close/>
                <a:moveTo>
                  <a:pt x="176" y="487"/>
                </a:moveTo>
                <a:cubicBezTo>
                  <a:pt x="176" y="485"/>
                  <a:pt x="181" y="484"/>
                  <a:pt x="181" y="486"/>
                </a:cubicBezTo>
                <a:cubicBezTo>
                  <a:pt x="182" y="489"/>
                  <a:pt x="176" y="491"/>
                  <a:pt x="176" y="487"/>
                </a:cubicBezTo>
                <a:close/>
                <a:moveTo>
                  <a:pt x="180" y="543"/>
                </a:moveTo>
                <a:cubicBezTo>
                  <a:pt x="180" y="543"/>
                  <a:pt x="181" y="542"/>
                  <a:pt x="182" y="543"/>
                </a:cubicBezTo>
                <a:cubicBezTo>
                  <a:pt x="182" y="544"/>
                  <a:pt x="180" y="544"/>
                  <a:pt x="180" y="543"/>
                </a:cubicBezTo>
                <a:close/>
                <a:moveTo>
                  <a:pt x="182" y="538"/>
                </a:moveTo>
                <a:cubicBezTo>
                  <a:pt x="181" y="539"/>
                  <a:pt x="182" y="536"/>
                  <a:pt x="183" y="537"/>
                </a:cubicBezTo>
                <a:cubicBezTo>
                  <a:pt x="183" y="537"/>
                  <a:pt x="183" y="538"/>
                  <a:pt x="182" y="538"/>
                </a:cubicBezTo>
                <a:close/>
                <a:moveTo>
                  <a:pt x="183" y="485"/>
                </a:moveTo>
                <a:cubicBezTo>
                  <a:pt x="183" y="484"/>
                  <a:pt x="181" y="483"/>
                  <a:pt x="181" y="482"/>
                </a:cubicBezTo>
                <a:cubicBezTo>
                  <a:pt x="182" y="480"/>
                  <a:pt x="183" y="482"/>
                  <a:pt x="184" y="481"/>
                </a:cubicBezTo>
                <a:cubicBezTo>
                  <a:pt x="186" y="479"/>
                  <a:pt x="186" y="475"/>
                  <a:pt x="189" y="472"/>
                </a:cubicBezTo>
                <a:cubicBezTo>
                  <a:pt x="188" y="476"/>
                  <a:pt x="185" y="481"/>
                  <a:pt x="183" y="485"/>
                </a:cubicBezTo>
                <a:close/>
                <a:moveTo>
                  <a:pt x="186" y="544"/>
                </a:moveTo>
                <a:cubicBezTo>
                  <a:pt x="184" y="546"/>
                  <a:pt x="184" y="543"/>
                  <a:pt x="186" y="544"/>
                </a:cubicBezTo>
                <a:close/>
                <a:moveTo>
                  <a:pt x="185" y="507"/>
                </a:moveTo>
                <a:cubicBezTo>
                  <a:pt x="183" y="504"/>
                  <a:pt x="190" y="504"/>
                  <a:pt x="187" y="507"/>
                </a:cubicBezTo>
                <a:cubicBezTo>
                  <a:pt x="187" y="507"/>
                  <a:pt x="186" y="507"/>
                  <a:pt x="185" y="507"/>
                </a:cubicBezTo>
                <a:close/>
                <a:moveTo>
                  <a:pt x="189" y="542"/>
                </a:moveTo>
                <a:cubicBezTo>
                  <a:pt x="189" y="542"/>
                  <a:pt x="190" y="541"/>
                  <a:pt x="190" y="541"/>
                </a:cubicBezTo>
                <a:cubicBezTo>
                  <a:pt x="191" y="541"/>
                  <a:pt x="190" y="541"/>
                  <a:pt x="189" y="542"/>
                </a:cubicBezTo>
                <a:close/>
                <a:moveTo>
                  <a:pt x="193" y="537"/>
                </a:moveTo>
                <a:cubicBezTo>
                  <a:pt x="193" y="537"/>
                  <a:pt x="193" y="538"/>
                  <a:pt x="193" y="538"/>
                </a:cubicBezTo>
                <a:cubicBezTo>
                  <a:pt x="191" y="539"/>
                  <a:pt x="193" y="535"/>
                  <a:pt x="193" y="537"/>
                </a:cubicBezTo>
                <a:close/>
                <a:moveTo>
                  <a:pt x="188" y="542"/>
                </a:moveTo>
                <a:cubicBezTo>
                  <a:pt x="188" y="540"/>
                  <a:pt x="191" y="536"/>
                  <a:pt x="193" y="535"/>
                </a:cubicBezTo>
                <a:cubicBezTo>
                  <a:pt x="191" y="537"/>
                  <a:pt x="190" y="540"/>
                  <a:pt x="188" y="542"/>
                </a:cubicBezTo>
                <a:close/>
                <a:moveTo>
                  <a:pt x="190" y="499"/>
                </a:moveTo>
                <a:cubicBezTo>
                  <a:pt x="191" y="498"/>
                  <a:pt x="192" y="497"/>
                  <a:pt x="194" y="497"/>
                </a:cubicBezTo>
                <a:cubicBezTo>
                  <a:pt x="193" y="498"/>
                  <a:pt x="192" y="499"/>
                  <a:pt x="190" y="499"/>
                </a:cubicBezTo>
                <a:close/>
                <a:moveTo>
                  <a:pt x="194" y="533"/>
                </a:moveTo>
                <a:cubicBezTo>
                  <a:pt x="193" y="533"/>
                  <a:pt x="195" y="531"/>
                  <a:pt x="195" y="531"/>
                </a:cubicBezTo>
                <a:cubicBezTo>
                  <a:pt x="196" y="531"/>
                  <a:pt x="194" y="533"/>
                  <a:pt x="194" y="533"/>
                </a:cubicBezTo>
                <a:close/>
                <a:moveTo>
                  <a:pt x="194" y="497"/>
                </a:moveTo>
                <a:cubicBezTo>
                  <a:pt x="194" y="497"/>
                  <a:pt x="194" y="497"/>
                  <a:pt x="194" y="497"/>
                </a:cubicBezTo>
                <a:close/>
                <a:moveTo>
                  <a:pt x="195" y="497"/>
                </a:move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7"/>
                </a:cubicBezTo>
                <a:close/>
                <a:moveTo>
                  <a:pt x="189" y="398"/>
                </a:moveTo>
                <a:cubicBezTo>
                  <a:pt x="192" y="394"/>
                  <a:pt x="196" y="392"/>
                  <a:pt x="201" y="389"/>
                </a:cubicBezTo>
                <a:cubicBezTo>
                  <a:pt x="198" y="392"/>
                  <a:pt x="192" y="395"/>
                  <a:pt x="189" y="398"/>
                </a:cubicBezTo>
                <a:close/>
                <a:moveTo>
                  <a:pt x="196" y="530"/>
                </a:moveTo>
                <a:cubicBezTo>
                  <a:pt x="196" y="531"/>
                  <a:pt x="195" y="529"/>
                  <a:pt x="196" y="530"/>
                </a:cubicBezTo>
                <a:close/>
                <a:moveTo>
                  <a:pt x="198" y="514"/>
                </a:moveTo>
                <a:cubicBezTo>
                  <a:pt x="198" y="514"/>
                  <a:pt x="198" y="515"/>
                  <a:pt x="197" y="515"/>
                </a:cubicBezTo>
                <a:cubicBezTo>
                  <a:pt x="196" y="516"/>
                  <a:pt x="197" y="513"/>
                  <a:pt x="198" y="514"/>
                </a:cubicBezTo>
                <a:close/>
                <a:moveTo>
                  <a:pt x="198" y="558"/>
                </a:moveTo>
                <a:cubicBezTo>
                  <a:pt x="198" y="556"/>
                  <a:pt x="204" y="555"/>
                  <a:pt x="204" y="558"/>
                </a:cubicBezTo>
                <a:cubicBezTo>
                  <a:pt x="205" y="561"/>
                  <a:pt x="197" y="562"/>
                  <a:pt x="198" y="558"/>
                </a:cubicBezTo>
                <a:close/>
                <a:moveTo>
                  <a:pt x="204" y="554"/>
                </a:moveTo>
                <a:cubicBezTo>
                  <a:pt x="205" y="554"/>
                  <a:pt x="206" y="553"/>
                  <a:pt x="207" y="553"/>
                </a:cubicBezTo>
                <a:cubicBezTo>
                  <a:pt x="207" y="554"/>
                  <a:pt x="204" y="555"/>
                  <a:pt x="204" y="554"/>
                </a:cubicBezTo>
                <a:close/>
                <a:moveTo>
                  <a:pt x="203" y="542"/>
                </a:moveTo>
                <a:cubicBezTo>
                  <a:pt x="200" y="539"/>
                  <a:pt x="203" y="534"/>
                  <a:pt x="205" y="533"/>
                </a:cubicBezTo>
                <a:cubicBezTo>
                  <a:pt x="207" y="532"/>
                  <a:pt x="210" y="533"/>
                  <a:pt x="211" y="532"/>
                </a:cubicBezTo>
                <a:cubicBezTo>
                  <a:pt x="215" y="532"/>
                  <a:pt x="213" y="532"/>
                  <a:pt x="215" y="534"/>
                </a:cubicBezTo>
                <a:cubicBezTo>
                  <a:pt x="217" y="537"/>
                  <a:pt x="216" y="541"/>
                  <a:pt x="213" y="540"/>
                </a:cubicBezTo>
                <a:cubicBezTo>
                  <a:pt x="214" y="535"/>
                  <a:pt x="211" y="542"/>
                  <a:pt x="210" y="543"/>
                </a:cubicBezTo>
                <a:cubicBezTo>
                  <a:pt x="209" y="543"/>
                  <a:pt x="204" y="543"/>
                  <a:pt x="203" y="542"/>
                </a:cubicBezTo>
                <a:close/>
                <a:moveTo>
                  <a:pt x="213" y="545"/>
                </a:moveTo>
                <a:cubicBezTo>
                  <a:pt x="213" y="544"/>
                  <a:pt x="216" y="545"/>
                  <a:pt x="215" y="546"/>
                </a:cubicBezTo>
                <a:cubicBezTo>
                  <a:pt x="215" y="546"/>
                  <a:pt x="214" y="546"/>
                  <a:pt x="213" y="545"/>
                </a:cubicBezTo>
                <a:close/>
                <a:moveTo>
                  <a:pt x="215" y="609"/>
                </a:moveTo>
                <a:cubicBezTo>
                  <a:pt x="215" y="609"/>
                  <a:pt x="215" y="609"/>
                  <a:pt x="215" y="609"/>
                </a:cubicBezTo>
                <a:cubicBezTo>
                  <a:pt x="214" y="607"/>
                  <a:pt x="217" y="611"/>
                  <a:pt x="215" y="609"/>
                </a:cubicBezTo>
                <a:close/>
                <a:moveTo>
                  <a:pt x="214" y="557"/>
                </a:moveTo>
                <a:cubicBezTo>
                  <a:pt x="214" y="556"/>
                  <a:pt x="216" y="555"/>
                  <a:pt x="217" y="556"/>
                </a:cubicBezTo>
                <a:cubicBezTo>
                  <a:pt x="217" y="558"/>
                  <a:pt x="214" y="557"/>
                  <a:pt x="214" y="557"/>
                </a:cubicBezTo>
                <a:close/>
                <a:moveTo>
                  <a:pt x="209" y="544"/>
                </a:moveTo>
                <a:cubicBezTo>
                  <a:pt x="210" y="544"/>
                  <a:pt x="217" y="540"/>
                  <a:pt x="217" y="542"/>
                </a:cubicBezTo>
                <a:cubicBezTo>
                  <a:pt x="217" y="543"/>
                  <a:pt x="211" y="545"/>
                  <a:pt x="209" y="544"/>
                </a:cubicBezTo>
                <a:close/>
                <a:moveTo>
                  <a:pt x="216" y="527"/>
                </a:moveTo>
                <a:cubicBezTo>
                  <a:pt x="216" y="526"/>
                  <a:pt x="216" y="526"/>
                  <a:pt x="216" y="526"/>
                </a:cubicBezTo>
                <a:cubicBezTo>
                  <a:pt x="217" y="525"/>
                  <a:pt x="217" y="527"/>
                  <a:pt x="216" y="527"/>
                </a:cubicBezTo>
                <a:close/>
                <a:moveTo>
                  <a:pt x="217" y="615"/>
                </a:moveTo>
                <a:cubicBezTo>
                  <a:pt x="216" y="614"/>
                  <a:pt x="218" y="613"/>
                  <a:pt x="218" y="614"/>
                </a:cubicBezTo>
                <a:cubicBezTo>
                  <a:pt x="218" y="614"/>
                  <a:pt x="217" y="614"/>
                  <a:pt x="217" y="615"/>
                </a:cubicBezTo>
                <a:close/>
                <a:moveTo>
                  <a:pt x="219" y="542"/>
                </a:moveTo>
                <a:cubicBezTo>
                  <a:pt x="216" y="544"/>
                  <a:pt x="217" y="538"/>
                  <a:pt x="219" y="539"/>
                </a:cubicBezTo>
                <a:cubicBezTo>
                  <a:pt x="221" y="540"/>
                  <a:pt x="219" y="542"/>
                  <a:pt x="219" y="542"/>
                </a:cubicBezTo>
                <a:close/>
                <a:moveTo>
                  <a:pt x="219" y="567"/>
                </a:moveTo>
                <a:cubicBezTo>
                  <a:pt x="219" y="566"/>
                  <a:pt x="220" y="566"/>
                  <a:pt x="221" y="566"/>
                </a:cubicBezTo>
                <a:cubicBezTo>
                  <a:pt x="220" y="567"/>
                  <a:pt x="220" y="567"/>
                  <a:pt x="219" y="567"/>
                </a:cubicBezTo>
                <a:close/>
                <a:moveTo>
                  <a:pt x="222" y="589"/>
                </a:moveTo>
                <a:cubicBezTo>
                  <a:pt x="222" y="589"/>
                  <a:pt x="221" y="589"/>
                  <a:pt x="220" y="589"/>
                </a:cubicBezTo>
                <a:cubicBezTo>
                  <a:pt x="220" y="589"/>
                  <a:pt x="222" y="588"/>
                  <a:pt x="222" y="589"/>
                </a:cubicBezTo>
                <a:close/>
                <a:moveTo>
                  <a:pt x="221" y="615"/>
                </a:moveTo>
                <a:cubicBezTo>
                  <a:pt x="221" y="614"/>
                  <a:pt x="222" y="614"/>
                  <a:pt x="223" y="614"/>
                </a:cubicBezTo>
                <a:cubicBezTo>
                  <a:pt x="222" y="615"/>
                  <a:pt x="221" y="614"/>
                  <a:pt x="221" y="615"/>
                </a:cubicBezTo>
                <a:close/>
                <a:moveTo>
                  <a:pt x="223" y="565"/>
                </a:moveTo>
                <a:cubicBezTo>
                  <a:pt x="223" y="565"/>
                  <a:pt x="223" y="565"/>
                  <a:pt x="223" y="566"/>
                </a:cubicBezTo>
                <a:cubicBezTo>
                  <a:pt x="223" y="566"/>
                  <a:pt x="223" y="566"/>
                  <a:pt x="223" y="566"/>
                </a:cubicBezTo>
                <a:cubicBezTo>
                  <a:pt x="223" y="567"/>
                  <a:pt x="223" y="566"/>
                  <a:pt x="223" y="566"/>
                </a:cubicBezTo>
                <a:cubicBezTo>
                  <a:pt x="223" y="565"/>
                  <a:pt x="223" y="565"/>
                  <a:pt x="223" y="565"/>
                </a:cubicBezTo>
                <a:close/>
                <a:moveTo>
                  <a:pt x="223" y="571"/>
                </a:moveTo>
                <a:cubicBezTo>
                  <a:pt x="223" y="569"/>
                  <a:pt x="227" y="570"/>
                  <a:pt x="226" y="571"/>
                </a:cubicBezTo>
                <a:cubicBezTo>
                  <a:pt x="226" y="572"/>
                  <a:pt x="223" y="572"/>
                  <a:pt x="223" y="571"/>
                </a:cubicBezTo>
                <a:close/>
                <a:moveTo>
                  <a:pt x="226" y="582"/>
                </a:moveTo>
                <a:cubicBezTo>
                  <a:pt x="226" y="581"/>
                  <a:pt x="226" y="583"/>
                  <a:pt x="226" y="582"/>
                </a:cubicBezTo>
                <a:close/>
                <a:moveTo>
                  <a:pt x="227" y="608"/>
                </a:moveTo>
                <a:cubicBezTo>
                  <a:pt x="227" y="608"/>
                  <a:pt x="225" y="608"/>
                  <a:pt x="224" y="607"/>
                </a:cubicBezTo>
                <a:cubicBezTo>
                  <a:pt x="224" y="606"/>
                  <a:pt x="228" y="607"/>
                  <a:pt x="227" y="608"/>
                </a:cubicBezTo>
                <a:close/>
                <a:moveTo>
                  <a:pt x="226" y="578"/>
                </a:moveTo>
                <a:cubicBezTo>
                  <a:pt x="226" y="578"/>
                  <a:pt x="227" y="577"/>
                  <a:pt x="227" y="578"/>
                </a:cubicBezTo>
                <a:cubicBezTo>
                  <a:pt x="227" y="578"/>
                  <a:pt x="226" y="578"/>
                  <a:pt x="226" y="578"/>
                </a:cubicBezTo>
                <a:close/>
                <a:moveTo>
                  <a:pt x="236" y="538"/>
                </a:moveTo>
                <a:cubicBezTo>
                  <a:pt x="237" y="537"/>
                  <a:pt x="238" y="536"/>
                  <a:pt x="239" y="537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40" y="538"/>
                  <a:pt x="239" y="539"/>
                  <a:pt x="239" y="539"/>
                </a:cubicBezTo>
                <a:cubicBezTo>
                  <a:pt x="238" y="540"/>
                  <a:pt x="237" y="539"/>
                  <a:pt x="237" y="539"/>
                </a:cubicBezTo>
                <a:cubicBezTo>
                  <a:pt x="236" y="539"/>
                  <a:pt x="236" y="538"/>
                  <a:pt x="235" y="539"/>
                </a:cubicBezTo>
                <a:cubicBezTo>
                  <a:pt x="234" y="539"/>
                  <a:pt x="228" y="544"/>
                  <a:pt x="227" y="543"/>
                </a:cubicBezTo>
                <a:cubicBezTo>
                  <a:pt x="226" y="541"/>
                  <a:pt x="235" y="538"/>
                  <a:pt x="236" y="538"/>
                </a:cubicBezTo>
                <a:close/>
                <a:moveTo>
                  <a:pt x="235" y="592"/>
                </a:moveTo>
                <a:cubicBezTo>
                  <a:pt x="235" y="592"/>
                  <a:pt x="234" y="593"/>
                  <a:pt x="234" y="592"/>
                </a:cubicBezTo>
                <a:cubicBezTo>
                  <a:pt x="233" y="592"/>
                  <a:pt x="235" y="591"/>
                  <a:pt x="235" y="592"/>
                </a:cubicBezTo>
                <a:close/>
                <a:moveTo>
                  <a:pt x="233" y="585"/>
                </a:moveTo>
                <a:cubicBezTo>
                  <a:pt x="233" y="585"/>
                  <a:pt x="234" y="583"/>
                  <a:pt x="235" y="584"/>
                </a:cubicBezTo>
                <a:cubicBezTo>
                  <a:pt x="235" y="585"/>
                  <a:pt x="233" y="586"/>
                  <a:pt x="233" y="585"/>
                </a:cubicBezTo>
                <a:close/>
                <a:moveTo>
                  <a:pt x="228" y="573"/>
                </a:moveTo>
                <a:cubicBezTo>
                  <a:pt x="228" y="571"/>
                  <a:pt x="230" y="572"/>
                  <a:pt x="228" y="573"/>
                </a:cubicBezTo>
                <a:close/>
                <a:moveTo>
                  <a:pt x="229" y="580"/>
                </a:moveTo>
                <a:cubicBezTo>
                  <a:pt x="229" y="581"/>
                  <a:pt x="228" y="581"/>
                  <a:pt x="228" y="581"/>
                </a:cubicBezTo>
                <a:cubicBezTo>
                  <a:pt x="227" y="579"/>
                  <a:pt x="230" y="579"/>
                  <a:pt x="229" y="580"/>
                </a:cubicBezTo>
                <a:close/>
                <a:moveTo>
                  <a:pt x="231" y="599"/>
                </a:moveTo>
                <a:cubicBezTo>
                  <a:pt x="231" y="599"/>
                  <a:pt x="233" y="598"/>
                  <a:pt x="233" y="599"/>
                </a:cubicBezTo>
                <a:cubicBezTo>
                  <a:pt x="233" y="600"/>
                  <a:pt x="231" y="601"/>
                  <a:pt x="231" y="599"/>
                </a:cubicBezTo>
                <a:close/>
                <a:moveTo>
                  <a:pt x="236" y="624"/>
                </a:moveTo>
                <a:cubicBezTo>
                  <a:pt x="236" y="624"/>
                  <a:pt x="237" y="623"/>
                  <a:pt x="237" y="623"/>
                </a:cubicBezTo>
                <a:cubicBezTo>
                  <a:pt x="237" y="623"/>
                  <a:pt x="237" y="624"/>
                  <a:pt x="236" y="624"/>
                </a:cubicBezTo>
                <a:close/>
                <a:moveTo>
                  <a:pt x="232" y="618"/>
                </a:moveTo>
                <a:cubicBezTo>
                  <a:pt x="233" y="616"/>
                  <a:pt x="237" y="616"/>
                  <a:pt x="239" y="615"/>
                </a:cubicBezTo>
                <a:cubicBezTo>
                  <a:pt x="237" y="617"/>
                  <a:pt x="234" y="617"/>
                  <a:pt x="232" y="618"/>
                </a:cubicBezTo>
                <a:close/>
                <a:moveTo>
                  <a:pt x="238" y="665"/>
                </a:moveTo>
                <a:cubicBezTo>
                  <a:pt x="238" y="664"/>
                  <a:pt x="239" y="665"/>
                  <a:pt x="240" y="665"/>
                </a:cubicBezTo>
                <a:cubicBezTo>
                  <a:pt x="240" y="666"/>
                  <a:pt x="239" y="665"/>
                  <a:pt x="238" y="665"/>
                </a:cubicBezTo>
                <a:close/>
                <a:moveTo>
                  <a:pt x="240" y="664"/>
                </a:moveTo>
                <a:cubicBezTo>
                  <a:pt x="240" y="664"/>
                  <a:pt x="239" y="663"/>
                  <a:pt x="239" y="663"/>
                </a:cubicBezTo>
                <a:cubicBezTo>
                  <a:pt x="239" y="662"/>
                  <a:pt x="241" y="663"/>
                  <a:pt x="240" y="664"/>
                </a:cubicBezTo>
                <a:close/>
                <a:moveTo>
                  <a:pt x="251" y="679"/>
                </a:moveTo>
                <a:cubicBezTo>
                  <a:pt x="249" y="681"/>
                  <a:pt x="247" y="678"/>
                  <a:pt x="244" y="678"/>
                </a:cubicBezTo>
                <a:cubicBezTo>
                  <a:pt x="242" y="678"/>
                  <a:pt x="238" y="679"/>
                  <a:pt x="237" y="677"/>
                </a:cubicBezTo>
                <a:cubicBezTo>
                  <a:pt x="237" y="676"/>
                  <a:pt x="243" y="677"/>
                  <a:pt x="243" y="677"/>
                </a:cubicBezTo>
                <a:cubicBezTo>
                  <a:pt x="243" y="676"/>
                  <a:pt x="241" y="672"/>
                  <a:pt x="241" y="672"/>
                </a:cubicBezTo>
                <a:cubicBezTo>
                  <a:pt x="240" y="664"/>
                  <a:pt x="252" y="669"/>
                  <a:pt x="255" y="671"/>
                </a:cubicBezTo>
                <a:cubicBezTo>
                  <a:pt x="259" y="674"/>
                  <a:pt x="250" y="671"/>
                  <a:pt x="253" y="676"/>
                </a:cubicBezTo>
                <a:cubicBezTo>
                  <a:pt x="250" y="674"/>
                  <a:pt x="251" y="679"/>
                  <a:pt x="251" y="679"/>
                </a:cubicBezTo>
                <a:close/>
                <a:moveTo>
                  <a:pt x="254" y="687"/>
                </a:moveTo>
                <a:cubicBezTo>
                  <a:pt x="254" y="686"/>
                  <a:pt x="254" y="685"/>
                  <a:pt x="255" y="686"/>
                </a:cubicBezTo>
                <a:cubicBezTo>
                  <a:pt x="257" y="686"/>
                  <a:pt x="254" y="689"/>
                  <a:pt x="254" y="687"/>
                </a:cubicBezTo>
                <a:close/>
                <a:moveTo>
                  <a:pt x="254" y="690"/>
                </a:moveTo>
                <a:cubicBezTo>
                  <a:pt x="255" y="689"/>
                  <a:pt x="256" y="689"/>
                  <a:pt x="258" y="689"/>
                </a:cubicBezTo>
                <a:cubicBezTo>
                  <a:pt x="257" y="690"/>
                  <a:pt x="255" y="690"/>
                  <a:pt x="254" y="690"/>
                </a:cubicBezTo>
                <a:close/>
                <a:moveTo>
                  <a:pt x="257" y="690"/>
                </a:moveTo>
                <a:cubicBezTo>
                  <a:pt x="257" y="689"/>
                  <a:pt x="258" y="689"/>
                  <a:pt x="258" y="690"/>
                </a:cubicBezTo>
                <a:cubicBezTo>
                  <a:pt x="258" y="689"/>
                  <a:pt x="258" y="691"/>
                  <a:pt x="257" y="690"/>
                </a:cubicBezTo>
                <a:close/>
                <a:moveTo>
                  <a:pt x="259" y="689"/>
                </a:moveTo>
                <a:cubicBezTo>
                  <a:pt x="258" y="689"/>
                  <a:pt x="261" y="689"/>
                  <a:pt x="259" y="689"/>
                </a:cubicBezTo>
                <a:close/>
                <a:moveTo>
                  <a:pt x="260" y="660"/>
                </a:moveTo>
                <a:cubicBezTo>
                  <a:pt x="259" y="660"/>
                  <a:pt x="259" y="659"/>
                  <a:pt x="260" y="660"/>
                </a:cubicBezTo>
                <a:close/>
                <a:moveTo>
                  <a:pt x="261" y="631"/>
                </a:moveTo>
                <a:cubicBezTo>
                  <a:pt x="260" y="631"/>
                  <a:pt x="261" y="630"/>
                  <a:pt x="261" y="630"/>
                </a:cubicBezTo>
                <a:cubicBezTo>
                  <a:pt x="262" y="630"/>
                  <a:pt x="261" y="631"/>
                  <a:pt x="261" y="631"/>
                </a:cubicBezTo>
                <a:close/>
                <a:moveTo>
                  <a:pt x="263" y="682"/>
                </a:moveTo>
                <a:cubicBezTo>
                  <a:pt x="263" y="681"/>
                  <a:pt x="265" y="681"/>
                  <a:pt x="265" y="682"/>
                </a:cubicBezTo>
                <a:cubicBezTo>
                  <a:pt x="266" y="682"/>
                  <a:pt x="263" y="683"/>
                  <a:pt x="263" y="682"/>
                </a:cubicBezTo>
                <a:close/>
                <a:moveTo>
                  <a:pt x="264" y="690"/>
                </a:moveTo>
                <a:cubicBezTo>
                  <a:pt x="263" y="689"/>
                  <a:pt x="265" y="690"/>
                  <a:pt x="265" y="690"/>
                </a:cubicBezTo>
                <a:cubicBezTo>
                  <a:pt x="265" y="691"/>
                  <a:pt x="264" y="691"/>
                  <a:pt x="264" y="690"/>
                </a:cubicBezTo>
                <a:close/>
                <a:moveTo>
                  <a:pt x="265" y="694"/>
                </a:moveTo>
                <a:cubicBezTo>
                  <a:pt x="266" y="694"/>
                  <a:pt x="266" y="694"/>
                  <a:pt x="267" y="694"/>
                </a:cubicBezTo>
                <a:cubicBezTo>
                  <a:pt x="266" y="695"/>
                  <a:pt x="266" y="695"/>
                  <a:pt x="265" y="694"/>
                </a:cubicBezTo>
                <a:close/>
                <a:moveTo>
                  <a:pt x="263" y="667"/>
                </a:moveTo>
                <a:cubicBezTo>
                  <a:pt x="264" y="666"/>
                  <a:pt x="273" y="668"/>
                  <a:pt x="273" y="668"/>
                </a:cubicBezTo>
                <a:cubicBezTo>
                  <a:pt x="272" y="669"/>
                  <a:pt x="265" y="667"/>
                  <a:pt x="263" y="667"/>
                </a:cubicBezTo>
                <a:close/>
                <a:moveTo>
                  <a:pt x="270" y="681"/>
                </a:moveTo>
                <a:cubicBezTo>
                  <a:pt x="269" y="683"/>
                  <a:pt x="268" y="680"/>
                  <a:pt x="270" y="681"/>
                </a:cubicBezTo>
                <a:close/>
                <a:moveTo>
                  <a:pt x="268" y="696"/>
                </a:moveTo>
                <a:cubicBezTo>
                  <a:pt x="268" y="695"/>
                  <a:pt x="269" y="695"/>
                  <a:pt x="269" y="695"/>
                </a:cubicBezTo>
                <a:cubicBezTo>
                  <a:pt x="270" y="695"/>
                  <a:pt x="269" y="696"/>
                  <a:pt x="268" y="696"/>
                </a:cubicBezTo>
                <a:close/>
                <a:moveTo>
                  <a:pt x="269" y="689"/>
                </a:moveTo>
                <a:cubicBezTo>
                  <a:pt x="268" y="688"/>
                  <a:pt x="270" y="688"/>
                  <a:pt x="270" y="688"/>
                </a:cubicBezTo>
                <a:cubicBezTo>
                  <a:pt x="270" y="689"/>
                  <a:pt x="269" y="689"/>
                  <a:pt x="269" y="689"/>
                </a:cubicBezTo>
                <a:close/>
                <a:moveTo>
                  <a:pt x="269" y="673"/>
                </a:moveTo>
                <a:cubicBezTo>
                  <a:pt x="269" y="671"/>
                  <a:pt x="274" y="673"/>
                  <a:pt x="273" y="674"/>
                </a:cubicBezTo>
                <a:cubicBezTo>
                  <a:pt x="273" y="676"/>
                  <a:pt x="268" y="676"/>
                  <a:pt x="269" y="673"/>
                </a:cubicBezTo>
                <a:close/>
                <a:moveTo>
                  <a:pt x="272" y="683"/>
                </a:moveTo>
                <a:cubicBezTo>
                  <a:pt x="271" y="681"/>
                  <a:pt x="276" y="682"/>
                  <a:pt x="276" y="683"/>
                </a:cubicBezTo>
                <a:cubicBezTo>
                  <a:pt x="277" y="685"/>
                  <a:pt x="272" y="686"/>
                  <a:pt x="272" y="683"/>
                </a:cubicBezTo>
                <a:close/>
                <a:moveTo>
                  <a:pt x="275" y="696"/>
                </a:moveTo>
                <a:cubicBezTo>
                  <a:pt x="275" y="696"/>
                  <a:pt x="274" y="696"/>
                  <a:pt x="274" y="696"/>
                </a:cubicBezTo>
                <a:cubicBezTo>
                  <a:pt x="274" y="694"/>
                  <a:pt x="277" y="698"/>
                  <a:pt x="275" y="696"/>
                </a:cubicBezTo>
                <a:close/>
                <a:moveTo>
                  <a:pt x="274" y="701"/>
                </a:moveTo>
                <a:cubicBezTo>
                  <a:pt x="274" y="699"/>
                  <a:pt x="277" y="699"/>
                  <a:pt x="277" y="700"/>
                </a:cubicBezTo>
                <a:cubicBezTo>
                  <a:pt x="278" y="701"/>
                  <a:pt x="274" y="701"/>
                  <a:pt x="274" y="701"/>
                </a:cubicBezTo>
                <a:close/>
                <a:moveTo>
                  <a:pt x="282" y="681"/>
                </a:moveTo>
                <a:cubicBezTo>
                  <a:pt x="284" y="680"/>
                  <a:pt x="289" y="680"/>
                  <a:pt x="291" y="681"/>
                </a:cubicBezTo>
                <a:cubicBezTo>
                  <a:pt x="292" y="682"/>
                  <a:pt x="291" y="684"/>
                  <a:pt x="290" y="683"/>
                </a:cubicBezTo>
                <a:cubicBezTo>
                  <a:pt x="289" y="683"/>
                  <a:pt x="289" y="682"/>
                  <a:pt x="289" y="682"/>
                </a:cubicBezTo>
                <a:cubicBezTo>
                  <a:pt x="288" y="681"/>
                  <a:pt x="287" y="683"/>
                  <a:pt x="287" y="683"/>
                </a:cubicBezTo>
                <a:cubicBezTo>
                  <a:pt x="287" y="684"/>
                  <a:pt x="288" y="684"/>
                  <a:pt x="288" y="685"/>
                </a:cubicBezTo>
                <a:cubicBezTo>
                  <a:pt x="289" y="684"/>
                  <a:pt x="289" y="685"/>
                  <a:pt x="288" y="685"/>
                </a:cubicBezTo>
                <a:cubicBezTo>
                  <a:pt x="287" y="686"/>
                  <a:pt x="286" y="685"/>
                  <a:pt x="286" y="685"/>
                </a:cubicBezTo>
                <a:cubicBezTo>
                  <a:pt x="285" y="685"/>
                  <a:pt x="284" y="686"/>
                  <a:pt x="283" y="685"/>
                </a:cubicBezTo>
                <a:cubicBezTo>
                  <a:pt x="282" y="685"/>
                  <a:pt x="278" y="682"/>
                  <a:pt x="282" y="681"/>
                </a:cubicBezTo>
                <a:close/>
                <a:moveTo>
                  <a:pt x="291" y="693"/>
                </a:moveTo>
                <a:cubicBezTo>
                  <a:pt x="290" y="694"/>
                  <a:pt x="288" y="696"/>
                  <a:pt x="287" y="694"/>
                </a:cubicBezTo>
                <a:cubicBezTo>
                  <a:pt x="285" y="693"/>
                  <a:pt x="290" y="692"/>
                  <a:pt x="291" y="693"/>
                </a:cubicBezTo>
                <a:close/>
                <a:moveTo>
                  <a:pt x="289" y="706"/>
                </a:moveTo>
                <a:cubicBezTo>
                  <a:pt x="290" y="707"/>
                  <a:pt x="288" y="706"/>
                  <a:pt x="289" y="706"/>
                </a:cubicBezTo>
                <a:close/>
                <a:moveTo>
                  <a:pt x="292" y="708"/>
                </a:moveTo>
                <a:cubicBezTo>
                  <a:pt x="291" y="707"/>
                  <a:pt x="292" y="708"/>
                  <a:pt x="293" y="708"/>
                </a:cubicBezTo>
                <a:cubicBezTo>
                  <a:pt x="293" y="708"/>
                  <a:pt x="292" y="708"/>
                  <a:pt x="292" y="708"/>
                </a:cubicBezTo>
                <a:close/>
                <a:moveTo>
                  <a:pt x="304" y="701"/>
                </a:moveTo>
                <a:cubicBezTo>
                  <a:pt x="299" y="701"/>
                  <a:pt x="295" y="701"/>
                  <a:pt x="290" y="702"/>
                </a:cubicBezTo>
                <a:cubicBezTo>
                  <a:pt x="289" y="702"/>
                  <a:pt x="282" y="702"/>
                  <a:pt x="282" y="700"/>
                </a:cubicBezTo>
                <a:cubicBezTo>
                  <a:pt x="281" y="699"/>
                  <a:pt x="290" y="699"/>
                  <a:pt x="292" y="700"/>
                </a:cubicBezTo>
                <a:cubicBezTo>
                  <a:pt x="296" y="700"/>
                  <a:pt x="299" y="700"/>
                  <a:pt x="301" y="699"/>
                </a:cubicBezTo>
                <a:cubicBezTo>
                  <a:pt x="299" y="699"/>
                  <a:pt x="297" y="697"/>
                  <a:pt x="297" y="695"/>
                </a:cubicBezTo>
                <a:cubicBezTo>
                  <a:pt x="299" y="690"/>
                  <a:pt x="306" y="693"/>
                  <a:pt x="309" y="695"/>
                </a:cubicBezTo>
                <a:cubicBezTo>
                  <a:pt x="309" y="695"/>
                  <a:pt x="309" y="696"/>
                  <a:pt x="310" y="696"/>
                </a:cubicBezTo>
                <a:cubicBezTo>
                  <a:pt x="310" y="697"/>
                  <a:pt x="307" y="699"/>
                  <a:pt x="305" y="699"/>
                </a:cubicBezTo>
                <a:cubicBezTo>
                  <a:pt x="306" y="699"/>
                  <a:pt x="307" y="699"/>
                  <a:pt x="309" y="700"/>
                </a:cubicBezTo>
                <a:cubicBezTo>
                  <a:pt x="313" y="700"/>
                  <a:pt x="305" y="701"/>
                  <a:pt x="304" y="701"/>
                </a:cubicBezTo>
                <a:close/>
                <a:moveTo>
                  <a:pt x="308" y="684"/>
                </a:moveTo>
                <a:cubicBezTo>
                  <a:pt x="309" y="683"/>
                  <a:pt x="312" y="683"/>
                  <a:pt x="314" y="683"/>
                </a:cubicBezTo>
                <a:cubicBezTo>
                  <a:pt x="312" y="684"/>
                  <a:pt x="310" y="684"/>
                  <a:pt x="308" y="684"/>
                </a:cubicBezTo>
                <a:close/>
                <a:moveTo>
                  <a:pt x="313" y="612"/>
                </a:moveTo>
                <a:cubicBezTo>
                  <a:pt x="314" y="612"/>
                  <a:pt x="309" y="616"/>
                  <a:pt x="308" y="614"/>
                </a:cubicBezTo>
                <a:cubicBezTo>
                  <a:pt x="307" y="612"/>
                  <a:pt x="313" y="611"/>
                  <a:pt x="313" y="612"/>
                </a:cubicBezTo>
                <a:close/>
                <a:moveTo>
                  <a:pt x="313" y="683"/>
                </a:moveTo>
                <a:cubicBezTo>
                  <a:pt x="312" y="682"/>
                  <a:pt x="314" y="681"/>
                  <a:pt x="314" y="682"/>
                </a:cubicBezTo>
                <a:cubicBezTo>
                  <a:pt x="314" y="682"/>
                  <a:pt x="313" y="683"/>
                  <a:pt x="313" y="683"/>
                </a:cubicBezTo>
                <a:close/>
                <a:moveTo>
                  <a:pt x="313" y="589"/>
                </a:moveTo>
                <a:cubicBezTo>
                  <a:pt x="311" y="590"/>
                  <a:pt x="308" y="592"/>
                  <a:pt x="307" y="592"/>
                </a:cubicBezTo>
                <a:cubicBezTo>
                  <a:pt x="304" y="593"/>
                  <a:pt x="309" y="590"/>
                  <a:pt x="309" y="590"/>
                </a:cubicBezTo>
                <a:cubicBezTo>
                  <a:pt x="310" y="590"/>
                  <a:pt x="312" y="589"/>
                  <a:pt x="313" y="589"/>
                </a:cubicBezTo>
                <a:cubicBezTo>
                  <a:pt x="314" y="589"/>
                  <a:pt x="314" y="589"/>
                  <a:pt x="315" y="589"/>
                </a:cubicBezTo>
                <a:cubicBezTo>
                  <a:pt x="314" y="589"/>
                  <a:pt x="314" y="589"/>
                  <a:pt x="313" y="589"/>
                </a:cubicBezTo>
                <a:close/>
                <a:moveTo>
                  <a:pt x="315" y="519"/>
                </a:moveTo>
                <a:cubicBezTo>
                  <a:pt x="315" y="517"/>
                  <a:pt x="318" y="518"/>
                  <a:pt x="315" y="519"/>
                </a:cubicBezTo>
                <a:close/>
                <a:moveTo>
                  <a:pt x="317" y="683"/>
                </a:moveTo>
                <a:cubicBezTo>
                  <a:pt x="315" y="684"/>
                  <a:pt x="315" y="682"/>
                  <a:pt x="317" y="683"/>
                </a:cubicBezTo>
                <a:close/>
                <a:moveTo>
                  <a:pt x="317" y="683"/>
                </a:moveTo>
                <a:cubicBezTo>
                  <a:pt x="318" y="682"/>
                  <a:pt x="319" y="682"/>
                  <a:pt x="321" y="682"/>
                </a:cubicBezTo>
                <a:cubicBezTo>
                  <a:pt x="321" y="683"/>
                  <a:pt x="318" y="683"/>
                  <a:pt x="317" y="683"/>
                </a:cubicBezTo>
                <a:close/>
                <a:moveTo>
                  <a:pt x="333" y="104"/>
                </a:moveTo>
                <a:cubicBezTo>
                  <a:pt x="333" y="104"/>
                  <a:pt x="336" y="103"/>
                  <a:pt x="334" y="104"/>
                </a:cubicBezTo>
                <a:cubicBezTo>
                  <a:pt x="331" y="106"/>
                  <a:pt x="326" y="107"/>
                  <a:pt x="322" y="108"/>
                </a:cubicBezTo>
                <a:cubicBezTo>
                  <a:pt x="325" y="106"/>
                  <a:pt x="329" y="104"/>
                  <a:pt x="333" y="104"/>
                </a:cubicBezTo>
                <a:close/>
                <a:moveTo>
                  <a:pt x="323" y="170"/>
                </a:moveTo>
                <a:cubicBezTo>
                  <a:pt x="324" y="170"/>
                  <a:pt x="324" y="170"/>
                  <a:pt x="325" y="170"/>
                </a:cubicBezTo>
                <a:cubicBezTo>
                  <a:pt x="325" y="171"/>
                  <a:pt x="324" y="171"/>
                  <a:pt x="323" y="170"/>
                </a:cubicBezTo>
                <a:close/>
                <a:moveTo>
                  <a:pt x="322" y="617"/>
                </a:moveTo>
                <a:cubicBezTo>
                  <a:pt x="323" y="616"/>
                  <a:pt x="324" y="618"/>
                  <a:pt x="322" y="617"/>
                </a:cubicBezTo>
                <a:close/>
                <a:moveTo>
                  <a:pt x="322" y="627"/>
                </a:moveTo>
                <a:cubicBezTo>
                  <a:pt x="323" y="627"/>
                  <a:pt x="327" y="626"/>
                  <a:pt x="327" y="627"/>
                </a:cubicBezTo>
                <a:cubicBezTo>
                  <a:pt x="326" y="626"/>
                  <a:pt x="324" y="628"/>
                  <a:pt x="322" y="627"/>
                </a:cubicBezTo>
                <a:close/>
                <a:moveTo>
                  <a:pt x="327" y="574"/>
                </a:moveTo>
                <a:cubicBezTo>
                  <a:pt x="327" y="572"/>
                  <a:pt x="330" y="573"/>
                  <a:pt x="329" y="574"/>
                </a:cubicBezTo>
                <a:cubicBezTo>
                  <a:pt x="329" y="575"/>
                  <a:pt x="328" y="574"/>
                  <a:pt x="327" y="574"/>
                </a:cubicBezTo>
                <a:close/>
                <a:moveTo>
                  <a:pt x="329" y="627"/>
                </a:moveTo>
                <a:cubicBezTo>
                  <a:pt x="329" y="626"/>
                  <a:pt x="331" y="626"/>
                  <a:pt x="331" y="626"/>
                </a:cubicBezTo>
                <a:cubicBezTo>
                  <a:pt x="331" y="626"/>
                  <a:pt x="330" y="627"/>
                  <a:pt x="329" y="627"/>
                </a:cubicBezTo>
                <a:close/>
                <a:moveTo>
                  <a:pt x="329" y="589"/>
                </a:moveTo>
                <a:cubicBezTo>
                  <a:pt x="328" y="587"/>
                  <a:pt x="332" y="588"/>
                  <a:pt x="332" y="589"/>
                </a:cubicBezTo>
                <a:cubicBezTo>
                  <a:pt x="332" y="590"/>
                  <a:pt x="329" y="590"/>
                  <a:pt x="329" y="589"/>
                </a:cubicBezTo>
                <a:close/>
                <a:moveTo>
                  <a:pt x="328" y="583"/>
                </a:moveTo>
                <a:cubicBezTo>
                  <a:pt x="329" y="579"/>
                  <a:pt x="336" y="581"/>
                  <a:pt x="336" y="583"/>
                </a:cubicBezTo>
                <a:cubicBezTo>
                  <a:pt x="335" y="586"/>
                  <a:pt x="328" y="587"/>
                  <a:pt x="328" y="583"/>
                </a:cubicBezTo>
                <a:close/>
                <a:moveTo>
                  <a:pt x="335" y="131"/>
                </a:moveTo>
                <a:cubicBezTo>
                  <a:pt x="334" y="130"/>
                  <a:pt x="336" y="131"/>
                  <a:pt x="335" y="131"/>
                </a:cubicBezTo>
                <a:close/>
                <a:moveTo>
                  <a:pt x="336" y="659"/>
                </a:moveTo>
                <a:cubicBezTo>
                  <a:pt x="337" y="661"/>
                  <a:pt x="335" y="659"/>
                  <a:pt x="336" y="659"/>
                </a:cubicBezTo>
                <a:close/>
                <a:moveTo>
                  <a:pt x="336" y="131"/>
                </a:moveTo>
                <a:cubicBezTo>
                  <a:pt x="336" y="130"/>
                  <a:pt x="338" y="130"/>
                  <a:pt x="338" y="130"/>
                </a:cubicBezTo>
                <a:cubicBezTo>
                  <a:pt x="338" y="131"/>
                  <a:pt x="337" y="130"/>
                  <a:pt x="336" y="131"/>
                </a:cubicBezTo>
                <a:close/>
                <a:moveTo>
                  <a:pt x="337" y="711"/>
                </a:moveTo>
                <a:cubicBezTo>
                  <a:pt x="336" y="711"/>
                  <a:pt x="337" y="710"/>
                  <a:pt x="337" y="710"/>
                </a:cubicBezTo>
                <a:cubicBezTo>
                  <a:pt x="338" y="711"/>
                  <a:pt x="338" y="712"/>
                  <a:pt x="337" y="711"/>
                </a:cubicBezTo>
                <a:close/>
                <a:moveTo>
                  <a:pt x="337" y="685"/>
                </a:moveTo>
                <a:cubicBezTo>
                  <a:pt x="337" y="684"/>
                  <a:pt x="339" y="684"/>
                  <a:pt x="339" y="685"/>
                </a:cubicBezTo>
                <a:cubicBezTo>
                  <a:pt x="340" y="685"/>
                  <a:pt x="338" y="686"/>
                  <a:pt x="337" y="685"/>
                </a:cubicBezTo>
                <a:close/>
                <a:moveTo>
                  <a:pt x="338" y="705"/>
                </a:moveTo>
                <a:cubicBezTo>
                  <a:pt x="338" y="704"/>
                  <a:pt x="340" y="704"/>
                  <a:pt x="340" y="705"/>
                </a:cubicBezTo>
                <a:cubicBezTo>
                  <a:pt x="340" y="705"/>
                  <a:pt x="339" y="706"/>
                  <a:pt x="338" y="705"/>
                </a:cubicBezTo>
                <a:close/>
                <a:moveTo>
                  <a:pt x="338" y="680"/>
                </a:moveTo>
                <a:cubicBezTo>
                  <a:pt x="338" y="680"/>
                  <a:pt x="341" y="680"/>
                  <a:pt x="341" y="680"/>
                </a:cubicBezTo>
                <a:cubicBezTo>
                  <a:pt x="341" y="681"/>
                  <a:pt x="337" y="682"/>
                  <a:pt x="338" y="680"/>
                </a:cubicBezTo>
                <a:close/>
                <a:moveTo>
                  <a:pt x="342" y="110"/>
                </a:moveTo>
                <a:cubicBezTo>
                  <a:pt x="341" y="111"/>
                  <a:pt x="341" y="109"/>
                  <a:pt x="342" y="110"/>
                </a:cubicBezTo>
                <a:close/>
                <a:moveTo>
                  <a:pt x="328" y="108"/>
                </a:moveTo>
                <a:cubicBezTo>
                  <a:pt x="326" y="108"/>
                  <a:pt x="329" y="107"/>
                  <a:pt x="331" y="106"/>
                </a:cubicBezTo>
                <a:cubicBezTo>
                  <a:pt x="334" y="106"/>
                  <a:pt x="339" y="104"/>
                  <a:pt x="342" y="104"/>
                </a:cubicBezTo>
                <a:cubicBezTo>
                  <a:pt x="343" y="104"/>
                  <a:pt x="344" y="105"/>
                  <a:pt x="344" y="105"/>
                </a:cubicBezTo>
                <a:cubicBezTo>
                  <a:pt x="344" y="105"/>
                  <a:pt x="330" y="108"/>
                  <a:pt x="328" y="108"/>
                </a:cubicBezTo>
                <a:close/>
                <a:moveTo>
                  <a:pt x="345" y="576"/>
                </a:moveTo>
                <a:cubicBezTo>
                  <a:pt x="345" y="576"/>
                  <a:pt x="345" y="576"/>
                  <a:pt x="345" y="576"/>
                </a:cubicBezTo>
                <a:cubicBezTo>
                  <a:pt x="346" y="576"/>
                  <a:pt x="346" y="576"/>
                  <a:pt x="346" y="576"/>
                </a:cubicBezTo>
                <a:cubicBezTo>
                  <a:pt x="346" y="576"/>
                  <a:pt x="345" y="576"/>
                  <a:pt x="345" y="576"/>
                </a:cubicBezTo>
                <a:close/>
                <a:moveTo>
                  <a:pt x="346" y="704"/>
                </a:moveTo>
                <a:cubicBezTo>
                  <a:pt x="346" y="703"/>
                  <a:pt x="347" y="703"/>
                  <a:pt x="347" y="703"/>
                </a:cubicBezTo>
                <a:cubicBezTo>
                  <a:pt x="348" y="704"/>
                  <a:pt x="346" y="704"/>
                  <a:pt x="346" y="704"/>
                </a:cubicBezTo>
                <a:close/>
                <a:moveTo>
                  <a:pt x="344" y="537"/>
                </a:moveTo>
                <a:cubicBezTo>
                  <a:pt x="345" y="535"/>
                  <a:pt x="348" y="535"/>
                  <a:pt x="349" y="534"/>
                </a:cubicBezTo>
                <a:cubicBezTo>
                  <a:pt x="348" y="535"/>
                  <a:pt x="345" y="536"/>
                  <a:pt x="344" y="537"/>
                </a:cubicBezTo>
                <a:close/>
                <a:moveTo>
                  <a:pt x="348" y="89"/>
                </a:moveTo>
                <a:cubicBezTo>
                  <a:pt x="347" y="90"/>
                  <a:pt x="346" y="89"/>
                  <a:pt x="348" y="89"/>
                </a:cubicBezTo>
                <a:close/>
                <a:moveTo>
                  <a:pt x="347" y="71"/>
                </a:moveTo>
                <a:cubicBezTo>
                  <a:pt x="347" y="72"/>
                  <a:pt x="348" y="72"/>
                  <a:pt x="347" y="72"/>
                </a:cubicBezTo>
                <a:cubicBezTo>
                  <a:pt x="347" y="72"/>
                  <a:pt x="347" y="72"/>
                  <a:pt x="347" y="71"/>
                </a:cubicBezTo>
                <a:close/>
                <a:moveTo>
                  <a:pt x="345" y="44"/>
                </a:moveTo>
                <a:cubicBezTo>
                  <a:pt x="346" y="42"/>
                  <a:pt x="350" y="42"/>
                  <a:pt x="350" y="45"/>
                </a:cubicBezTo>
                <a:cubicBezTo>
                  <a:pt x="349" y="47"/>
                  <a:pt x="345" y="46"/>
                  <a:pt x="345" y="44"/>
                </a:cubicBezTo>
                <a:close/>
                <a:moveTo>
                  <a:pt x="350" y="626"/>
                </a:moveTo>
                <a:cubicBezTo>
                  <a:pt x="350" y="627"/>
                  <a:pt x="349" y="625"/>
                  <a:pt x="350" y="626"/>
                </a:cubicBezTo>
                <a:close/>
                <a:moveTo>
                  <a:pt x="350" y="205"/>
                </a:moveTo>
                <a:cubicBezTo>
                  <a:pt x="349" y="205"/>
                  <a:pt x="350" y="203"/>
                  <a:pt x="350" y="204"/>
                </a:cubicBezTo>
                <a:cubicBezTo>
                  <a:pt x="351" y="204"/>
                  <a:pt x="351" y="205"/>
                  <a:pt x="350" y="205"/>
                </a:cubicBezTo>
                <a:close/>
                <a:moveTo>
                  <a:pt x="538" y="122"/>
                </a:moveTo>
                <a:cubicBezTo>
                  <a:pt x="538" y="121"/>
                  <a:pt x="540" y="121"/>
                  <a:pt x="540" y="122"/>
                </a:cubicBezTo>
                <a:cubicBezTo>
                  <a:pt x="542" y="121"/>
                  <a:pt x="543" y="121"/>
                  <a:pt x="543" y="123"/>
                </a:cubicBezTo>
                <a:cubicBezTo>
                  <a:pt x="543" y="124"/>
                  <a:pt x="539" y="125"/>
                  <a:pt x="538" y="124"/>
                </a:cubicBezTo>
                <a:cubicBezTo>
                  <a:pt x="538" y="123"/>
                  <a:pt x="538" y="123"/>
                  <a:pt x="538" y="122"/>
                </a:cubicBezTo>
                <a:cubicBezTo>
                  <a:pt x="538" y="122"/>
                  <a:pt x="538" y="122"/>
                  <a:pt x="538" y="122"/>
                </a:cubicBezTo>
                <a:close/>
                <a:moveTo>
                  <a:pt x="538" y="121"/>
                </a:moveTo>
                <a:cubicBezTo>
                  <a:pt x="538" y="121"/>
                  <a:pt x="536" y="122"/>
                  <a:pt x="536" y="121"/>
                </a:cubicBezTo>
                <a:cubicBezTo>
                  <a:pt x="536" y="121"/>
                  <a:pt x="537" y="121"/>
                  <a:pt x="538" y="121"/>
                </a:cubicBezTo>
                <a:close/>
                <a:moveTo>
                  <a:pt x="531" y="126"/>
                </a:moveTo>
                <a:cubicBezTo>
                  <a:pt x="531" y="126"/>
                  <a:pt x="531" y="127"/>
                  <a:pt x="530" y="127"/>
                </a:cubicBezTo>
                <a:cubicBezTo>
                  <a:pt x="530" y="127"/>
                  <a:pt x="531" y="126"/>
                  <a:pt x="531" y="126"/>
                </a:cubicBezTo>
                <a:close/>
                <a:moveTo>
                  <a:pt x="531" y="154"/>
                </a:moveTo>
                <a:cubicBezTo>
                  <a:pt x="529" y="157"/>
                  <a:pt x="525" y="158"/>
                  <a:pt x="522" y="159"/>
                </a:cubicBezTo>
                <a:cubicBezTo>
                  <a:pt x="524" y="156"/>
                  <a:pt x="528" y="156"/>
                  <a:pt x="531" y="154"/>
                </a:cubicBezTo>
                <a:close/>
                <a:moveTo>
                  <a:pt x="525" y="201"/>
                </a:moveTo>
                <a:cubicBezTo>
                  <a:pt x="524" y="202"/>
                  <a:pt x="523" y="203"/>
                  <a:pt x="521" y="203"/>
                </a:cubicBezTo>
                <a:cubicBezTo>
                  <a:pt x="522" y="202"/>
                  <a:pt x="523" y="201"/>
                  <a:pt x="525" y="201"/>
                </a:cubicBezTo>
                <a:close/>
                <a:moveTo>
                  <a:pt x="521" y="198"/>
                </a:moveTo>
                <a:cubicBezTo>
                  <a:pt x="521" y="198"/>
                  <a:pt x="521" y="197"/>
                  <a:pt x="522" y="197"/>
                </a:cubicBezTo>
                <a:cubicBezTo>
                  <a:pt x="524" y="195"/>
                  <a:pt x="523" y="200"/>
                  <a:pt x="521" y="198"/>
                </a:cubicBezTo>
                <a:close/>
                <a:moveTo>
                  <a:pt x="524" y="195"/>
                </a:moveTo>
                <a:cubicBezTo>
                  <a:pt x="524" y="194"/>
                  <a:pt x="525" y="194"/>
                  <a:pt x="525" y="194"/>
                </a:cubicBezTo>
                <a:cubicBezTo>
                  <a:pt x="526" y="195"/>
                  <a:pt x="524" y="195"/>
                  <a:pt x="524" y="195"/>
                </a:cubicBezTo>
                <a:close/>
                <a:moveTo>
                  <a:pt x="531" y="196"/>
                </a:moveTo>
                <a:cubicBezTo>
                  <a:pt x="530" y="198"/>
                  <a:pt x="527" y="199"/>
                  <a:pt x="525" y="201"/>
                </a:cubicBezTo>
                <a:cubicBezTo>
                  <a:pt x="526" y="199"/>
                  <a:pt x="529" y="197"/>
                  <a:pt x="531" y="196"/>
                </a:cubicBezTo>
                <a:close/>
                <a:moveTo>
                  <a:pt x="529" y="172"/>
                </a:moveTo>
                <a:cubicBezTo>
                  <a:pt x="531" y="170"/>
                  <a:pt x="530" y="174"/>
                  <a:pt x="528" y="173"/>
                </a:cubicBezTo>
                <a:cubicBezTo>
                  <a:pt x="528" y="173"/>
                  <a:pt x="529" y="172"/>
                  <a:pt x="529" y="172"/>
                </a:cubicBezTo>
                <a:close/>
                <a:moveTo>
                  <a:pt x="522" y="181"/>
                </a:moveTo>
                <a:cubicBezTo>
                  <a:pt x="521" y="181"/>
                  <a:pt x="523" y="180"/>
                  <a:pt x="523" y="181"/>
                </a:cubicBezTo>
                <a:cubicBezTo>
                  <a:pt x="524" y="181"/>
                  <a:pt x="522" y="182"/>
                  <a:pt x="522" y="181"/>
                </a:cubicBezTo>
                <a:close/>
                <a:moveTo>
                  <a:pt x="529" y="135"/>
                </a:moveTo>
                <a:cubicBezTo>
                  <a:pt x="528" y="136"/>
                  <a:pt x="526" y="138"/>
                  <a:pt x="524" y="138"/>
                </a:cubicBezTo>
                <a:cubicBezTo>
                  <a:pt x="525" y="138"/>
                  <a:pt x="526" y="138"/>
                  <a:pt x="525" y="139"/>
                </a:cubicBezTo>
                <a:cubicBezTo>
                  <a:pt x="525" y="140"/>
                  <a:pt x="522" y="140"/>
                  <a:pt x="522" y="139"/>
                </a:cubicBezTo>
                <a:cubicBezTo>
                  <a:pt x="522" y="139"/>
                  <a:pt x="523" y="138"/>
                  <a:pt x="524" y="138"/>
                </a:cubicBezTo>
                <a:cubicBezTo>
                  <a:pt x="524" y="138"/>
                  <a:pt x="524" y="138"/>
                  <a:pt x="524" y="138"/>
                </a:cubicBezTo>
                <a:cubicBezTo>
                  <a:pt x="525" y="136"/>
                  <a:pt x="527" y="136"/>
                  <a:pt x="529" y="135"/>
                </a:cubicBezTo>
                <a:close/>
                <a:moveTo>
                  <a:pt x="525" y="117"/>
                </a:moveTo>
                <a:cubicBezTo>
                  <a:pt x="525" y="117"/>
                  <a:pt x="525" y="117"/>
                  <a:pt x="524" y="117"/>
                </a:cubicBezTo>
                <a:cubicBezTo>
                  <a:pt x="524" y="117"/>
                  <a:pt x="524" y="116"/>
                  <a:pt x="525" y="117"/>
                </a:cubicBezTo>
                <a:close/>
                <a:moveTo>
                  <a:pt x="524" y="86"/>
                </a:moveTo>
                <a:cubicBezTo>
                  <a:pt x="523" y="86"/>
                  <a:pt x="522" y="86"/>
                  <a:pt x="521" y="86"/>
                </a:cubicBezTo>
                <a:cubicBezTo>
                  <a:pt x="522" y="85"/>
                  <a:pt x="523" y="85"/>
                  <a:pt x="524" y="86"/>
                </a:cubicBezTo>
                <a:close/>
                <a:moveTo>
                  <a:pt x="521" y="87"/>
                </a:moveTo>
                <a:cubicBezTo>
                  <a:pt x="521" y="87"/>
                  <a:pt x="523" y="88"/>
                  <a:pt x="523" y="88"/>
                </a:cubicBezTo>
                <a:cubicBezTo>
                  <a:pt x="523" y="88"/>
                  <a:pt x="520" y="88"/>
                  <a:pt x="521" y="87"/>
                </a:cubicBezTo>
                <a:close/>
                <a:moveTo>
                  <a:pt x="523" y="92"/>
                </a:moveTo>
                <a:cubicBezTo>
                  <a:pt x="523" y="92"/>
                  <a:pt x="521" y="92"/>
                  <a:pt x="521" y="91"/>
                </a:cubicBezTo>
                <a:cubicBezTo>
                  <a:pt x="522" y="90"/>
                  <a:pt x="523" y="91"/>
                  <a:pt x="523" y="92"/>
                </a:cubicBezTo>
                <a:close/>
                <a:moveTo>
                  <a:pt x="521" y="105"/>
                </a:moveTo>
                <a:cubicBezTo>
                  <a:pt x="521" y="106"/>
                  <a:pt x="520" y="104"/>
                  <a:pt x="521" y="105"/>
                </a:cubicBezTo>
                <a:close/>
                <a:moveTo>
                  <a:pt x="525" y="106"/>
                </a:moveTo>
                <a:cubicBezTo>
                  <a:pt x="527" y="106"/>
                  <a:pt x="528" y="108"/>
                  <a:pt x="526" y="111"/>
                </a:cubicBezTo>
                <a:cubicBezTo>
                  <a:pt x="525" y="112"/>
                  <a:pt x="523" y="112"/>
                  <a:pt x="522" y="112"/>
                </a:cubicBezTo>
                <a:cubicBezTo>
                  <a:pt x="520" y="112"/>
                  <a:pt x="518" y="112"/>
                  <a:pt x="518" y="112"/>
                </a:cubicBezTo>
                <a:cubicBezTo>
                  <a:pt x="518" y="112"/>
                  <a:pt x="519" y="112"/>
                  <a:pt x="519" y="112"/>
                </a:cubicBezTo>
                <a:cubicBezTo>
                  <a:pt x="519" y="112"/>
                  <a:pt x="518" y="112"/>
                  <a:pt x="518" y="112"/>
                </a:cubicBezTo>
                <a:cubicBezTo>
                  <a:pt x="518" y="112"/>
                  <a:pt x="518" y="111"/>
                  <a:pt x="518" y="111"/>
                </a:cubicBezTo>
                <a:cubicBezTo>
                  <a:pt x="517" y="110"/>
                  <a:pt x="522" y="106"/>
                  <a:pt x="525" y="106"/>
                </a:cubicBezTo>
                <a:close/>
                <a:moveTo>
                  <a:pt x="520" y="133"/>
                </a:moveTo>
                <a:cubicBezTo>
                  <a:pt x="522" y="131"/>
                  <a:pt x="522" y="133"/>
                  <a:pt x="520" y="133"/>
                </a:cubicBezTo>
                <a:close/>
                <a:moveTo>
                  <a:pt x="519" y="147"/>
                </a:moveTo>
                <a:cubicBezTo>
                  <a:pt x="519" y="146"/>
                  <a:pt x="521" y="145"/>
                  <a:pt x="521" y="146"/>
                </a:cubicBezTo>
                <a:cubicBezTo>
                  <a:pt x="522" y="147"/>
                  <a:pt x="520" y="147"/>
                  <a:pt x="519" y="147"/>
                </a:cubicBezTo>
                <a:close/>
                <a:moveTo>
                  <a:pt x="513" y="162"/>
                </a:moveTo>
                <a:cubicBezTo>
                  <a:pt x="512" y="161"/>
                  <a:pt x="516" y="159"/>
                  <a:pt x="516" y="161"/>
                </a:cubicBezTo>
                <a:cubicBezTo>
                  <a:pt x="517" y="162"/>
                  <a:pt x="513" y="163"/>
                  <a:pt x="513" y="162"/>
                </a:cubicBezTo>
                <a:close/>
                <a:moveTo>
                  <a:pt x="516" y="163"/>
                </a:moveTo>
                <a:cubicBezTo>
                  <a:pt x="516" y="164"/>
                  <a:pt x="515" y="165"/>
                  <a:pt x="516" y="164"/>
                </a:cubicBezTo>
                <a:cubicBezTo>
                  <a:pt x="516" y="164"/>
                  <a:pt x="516" y="164"/>
                  <a:pt x="516" y="163"/>
                </a:cubicBezTo>
                <a:close/>
                <a:moveTo>
                  <a:pt x="514" y="191"/>
                </a:moveTo>
                <a:cubicBezTo>
                  <a:pt x="515" y="190"/>
                  <a:pt x="516" y="192"/>
                  <a:pt x="514" y="191"/>
                </a:cubicBezTo>
                <a:close/>
                <a:moveTo>
                  <a:pt x="512" y="192"/>
                </a:moveTo>
                <a:cubicBezTo>
                  <a:pt x="512" y="191"/>
                  <a:pt x="514" y="191"/>
                  <a:pt x="514" y="191"/>
                </a:cubicBezTo>
                <a:cubicBezTo>
                  <a:pt x="514" y="192"/>
                  <a:pt x="512" y="192"/>
                  <a:pt x="512" y="192"/>
                </a:cubicBezTo>
                <a:close/>
                <a:moveTo>
                  <a:pt x="514" y="247"/>
                </a:moveTo>
                <a:cubicBezTo>
                  <a:pt x="514" y="248"/>
                  <a:pt x="513" y="245"/>
                  <a:pt x="514" y="247"/>
                </a:cubicBezTo>
                <a:close/>
                <a:moveTo>
                  <a:pt x="504" y="183"/>
                </a:moveTo>
                <a:cubicBezTo>
                  <a:pt x="506" y="182"/>
                  <a:pt x="506" y="181"/>
                  <a:pt x="504" y="181"/>
                </a:cubicBezTo>
                <a:cubicBezTo>
                  <a:pt x="505" y="178"/>
                  <a:pt x="508" y="175"/>
                  <a:pt x="511" y="176"/>
                </a:cubicBezTo>
                <a:cubicBezTo>
                  <a:pt x="517" y="179"/>
                  <a:pt x="509" y="186"/>
                  <a:pt x="504" y="183"/>
                </a:cubicBezTo>
                <a:close/>
                <a:moveTo>
                  <a:pt x="505" y="184"/>
                </a:moveTo>
                <a:cubicBezTo>
                  <a:pt x="505" y="184"/>
                  <a:pt x="505" y="184"/>
                  <a:pt x="505" y="184"/>
                </a:cubicBezTo>
                <a:cubicBezTo>
                  <a:pt x="506" y="186"/>
                  <a:pt x="503" y="183"/>
                  <a:pt x="505" y="184"/>
                </a:cubicBezTo>
                <a:close/>
                <a:moveTo>
                  <a:pt x="494" y="127"/>
                </a:moveTo>
                <a:cubicBezTo>
                  <a:pt x="494" y="127"/>
                  <a:pt x="497" y="125"/>
                  <a:pt x="498" y="127"/>
                </a:cubicBezTo>
                <a:cubicBezTo>
                  <a:pt x="498" y="128"/>
                  <a:pt x="494" y="129"/>
                  <a:pt x="494" y="127"/>
                </a:cubicBezTo>
                <a:close/>
                <a:moveTo>
                  <a:pt x="496" y="219"/>
                </a:moveTo>
                <a:cubicBezTo>
                  <a:pt x="495" y="219"/>
                  <a:pt x="496" y="218"/>
                  <a:pt x="496" y="218"/>
                </a:cubicBezTo>
                <a:cubicBezTo>
                  <a:pt x="497" y="218"/>
                  <a:pt x="496" y="219"/>
                  <a:pt x="496" y="219"/>
                </a:cubicBezTo>
                <a:close/>
                <a:moveTo>
                  <a:pt x="493" y="182"/>
                </a:moveTo>
                <a:cubicBezTo>
                  <a:pt x="493" y="181"/>
                  <a:pt x="495" y="181"/>
                  <a:pt x="495" y="181"/>
                </a:cubicBezTo>
                <a:cubicBezTo>
                  <a:pt x="496" y="182"/>
                  <a:pt x="494" y="183"/>
                  <a:pt x="493" y="182"/>
                </a:cubicBezTo>
                <a:close/>
                <a:moveTo>
                  <a:pt x="494" y="221"/>
                </a:moveTo>
                <a:cubicBezTo>
                  <a:pt x="494" y="221"/>
                  <a:pt x="495" y="220"/>
                  <a:pt x="495" y="220"/>
                </a:cubicBezTo>
                <a:cubicBezTo>
                  <a:pt x="495" y="220"/>
                  <a:pt x="494" y="222"/>
                  <a:pt x="494" y="221"/>
                </a:cubicBezTo>
                <a:close/>
                <a:moveTo>
                  <a:pt x="484" y="206"/>
                </a:moveTo>
                <a:cubicBezTo>
                  <a:pt x="487" y="204"/>
                  <a:pt x="490" y="201"/>
                  <a:pt x="492" y="200"/>
                </a:cubicBezTo>
                <a:cubicBezTo>
                  <a:pt x="492" y="200"/>
                  <a:pt x="494" y="199"/>
                  <a:pt x="493" y="200"/>
                </a:cubicBezTo>
                <a:cubicBezTo>
                  <a:pt x="492" y="203"/>
                  <a:pt x="487" y="205"/>
                  <a:pt x="484" y="206"/>
                </a:cubicBezTo>
                <a:close/>
                <a:moveTo>
                  <a:pt x="491" y="221"/>
                </a:moveTo>
                <a:cubicBezTo>
                  <a:pt x="491" y="220"/>
                  <a:pt x="493" y="220"/>
                  <a:pt x="493" y="221"/>
                </a:cubicBezTo>
                <a:cubicBezTo>
                  <a:pt x="493" y="222"/>
                  <a:pt x="491" y="222"/>
                  <a:pt x="491" y="221"/>
                </a:cubicBezTo>
                <a:close/>
                <a:moveTo>
                  <a:pt x="480" y="95"/>
                </a:moveTo>
                <a:cubicBezTo>
                  <a:pt x="482" y="94"/>
                  <a:pt x="483" y="93"/>
                  <a:pt x="485" y="93"/>
                </a:cubicBezTo>
                <a:cubicBezTo>
                  <a:pt x="483" y="94"/>
                  <a:pt x="482" y="95"/>
                  <a:pt x="480" y="95"/>
                </a:cubicBezTo>
                <a:close/>
                <a:moveTo>
                  <a:pt x="481" y="162"/>
                </a:moveTo>
                <a:cubicBezTo>
                  <a:pt x="481" y="160"/>
                  <a:pt x="484" y="161"/>
                  <a:pt x="481" y="162"/>
                </a:cubicBezTo>
                <a:close/>
                <a:moveTo>
                  <a:pt x="482" y="109"/>
                </a:moveTo>
                <a:cubicBezTo>
                  <a:pt x="481" y="112"/>
                  <a:pt x="478" y="110"/>
                  <a:pt x="482" y="109"/>
                </a:cubicBezTo>
                <a:close/>
                <a:moveTo>
                  <a:pt x="496" y="72"/>
                </a:moveTo>
                <a:cubicBezTo>
                  <a:pt x="496" y="73"/>
                  <a:pt x="495" y="73"/>
                  <a:pt x="494" y="73"/>
                </a:cubicBezTo>
                <a:cubicBezTo>
                  <a:pt x="494" y="73"/>
                  <a:pt x="496" y="71"/>
                  <a:pt x="496" y="72"/>
                </a:cubicBezTo>
                <a:close/>
                <a:moveTo>
                  <a:pt x="494" y="43"/>
                </a:moveTo>
                <a:cubicBezTo>
                  <a:pt x="494" y="43"/>
                  <a:pt x="496" y="43"/>
                  <a:pt x="496" y="43"/>
                </a:cubicBezTo>
                <a:cubicBezTo>
                  <a:pt x="497" y="45"/>
                  <a:pt x="494" y="44"/>
                  <a:pt x="494" y="43"/>
                </a:cubicBezTo>
                <a:close/>
                <a:moveTo>
                  <a:pt x="493" y="64"/>
                </a:moveTo>
                <a:cubicBezTo>
                  <a:pt x="493" y="64"/>
                  <a:pt x="494" y="64"/>
                  <a:pt x="495" y="65"/>
                </a:cubicBezTo>
                <a:cubicBezTo>
                  <a:pt x="495" y="66"/>
                  <a:pt x="493" y="65"/>
                  <a:pt x="493" y="64"/>
                </a:cubicBezTo>
                <a:close/>
                <a:moveTo>
                  <a:pt x="499" y="87"/>
                </a:moveTo>
                <a:cubicBezTo>
                  <a:pt x="498" y="89"/>
                  <a:pt x="488" y="88"/>
                  <a:pt x="488" y="87"/>
                </a:cubicBezTo>
                <a:cubicBezTo>
                  <a:pt x="489" y="86"/>
                  <a:pt x="496" y="88"/>
                  <a:pt x="499" y="87"/>
                </a:cubicBezTo>
                <a:close/>
                <a:moveTo>
                  <a:pt x="493" y="105"/>
                </a:moveTo>
                <a:cubicBezTo>
                  <a:pt x="493" y="105"/>
                  <a:pt x="493" y="105"/>
                  <a:pt x="493" y="105"/>
                </a:cubicBezTo>
                <a:cubicBezTo>
                  <a:pt x="493" y="105"/>
                  <a:pt x="493" y="105"/>
                  <a:pt x="492" y="105"/>
                </a:cubicBezTo>
                <a:cubicBezTo>
                  <a:pt x="489" y="105"/>
                  <a:pt x="493" y="97"/>
                  <a:pt x="497" y="101"/>
                </a:cubicBezTo>
                <a:cubicBezTo>
                  <a:pt x="498" y="102"/>
                  <a:pt x="498" y="102"/>
                  <a:pt x="498" y="103"/>
                </a:cubicBezTo>
                <a:cubicBezTo>
                  <a:pt x="498" y="106"/>
                  <a:pt x="494" y="107"/>
                  <a:pt x="493" y="105"/>
                </a:cubicBezTo>
                <a:close/>
                <a:moveTo>
                  <a:pt x="495" y="108"/>
                </a:moveTo>
                <a:cubicBezTo>
                  <a:pt x="495" y="108"/>
                  <a:pt x="494" y="109"/>
                  <a:pt x="494" y="108"/>
                </a:cubicBezTo>
                <a:cubicBezTo>
                  <a:pt x="493" y="108"/>
                  <a:pt x="495" y="107"/>
                  <a:pt x="495" y="108"/>
                </a:cubicBezTo>
                <a:close/>
                <a:moveTo>
                  <a:pt x="494" y="174"/>
                </a:moveTo>
                <a:cubicBezTo>
                  <a:pt x="494" y="175"/>
                  <a:pt x="492" y="176"/>
                  <a:pt x="492" y="175"/>
                </a:cubicBezTo>
                <a:cubicBezTo>
                  <a:pt x="492" y="174"/>
                  <a:pt x="494" y="173"/>
                  <a:pt x="494" y="174"/>
                </a:cubicBezTo>
                <a:close/>
                <a:moveTo>
                  <a:pt x="495" y="98"/>
                </a:moveTo>
                <a:cubicBezTo>
                  <a:pt x="496" y="99"/>
                  <a:pt x="494" y="98"/>
                  <a:pt x="495" y="98"/>
                </a:cubicBezTo>
                <a:close/>
                <a:moveTo>
                  <a:pt x="499" y="91"/>
                </a:moveTo>
                <a:cubicBezTo>
                  <a:pt x="498" y="92"/>
                  <a:pt x="497" y="91"/>
                  <a:pt x="499" y="91"/>
                </a:cubicBezTo>
                <a:close/>
                <a:moveTo>
                  <a:pt x="491" y="166"/>
                </a:moveTo>
                <a:cubicBezTo>
                  <a:pt x="491" y="167"/>
                  <a:pt x="489" y="169"/>
                  <a:pt x="488" y="169"/>
                </a:cubicBezTo>
                <a:cubicBezTo>
                  <a:pt x="488" y="167"/>
                  <a:pt x="490" y="167"/>
                  <a:pt x="491" y="166"/>
                </a:cubicBezTo>
                <a:close/>
                <a:moveTo>
                  <a:pt x="485" y="144"/>
                </a:moveTo>
                <a:cubicBezTo>
                  <a:pt x="488" y="143"/>
                  <a:pt x="489" y="145"/>
                  <a:pt x="485" y="144"/>
                </a:cubicBezTo>
                <a:close/>
                <a:moveTo>
                  <a:pt x="486" y="93"/>
                </a:moveTo>
                <a:cubicBezTo>
                  <a:pt x="488" y="92"/>
                  <a:pt x="489" y="91"/>
                  <a:pt x="491" y="90"/>
                </a:cubicBezTo>
                <a:cubicBezTo>
                  <a:pt x="490" y="92"/>
                  <a:pt x="488" y="92"/>
                  <a:pt x="486" y="93"/>
                </a:cubicBezTo>
                <a:close/>
                <a:moveTo>
                  <a:pt x="491" y="61"/>
                </a:moveTo>
                <a:cubicBezTo>
                  <a:pt x="491" y="60"/>
                  <a:pt x="492" y="60"/>
                  <a:pt x="493" y="61"/>
                </a:cubicBezTo>
                <a:cubicBezTo>
                  <a:pt x="492" y="61"/>
                  <a:pt x="492" y="61"/>
                  <a:pt x="491" y="61"/>
                </a:cubicBezTo>
                <a:close/>
                <a:moveTo>
                  <a:pt x="490" y="74"/>
                </a:moveTo>
                <a:cubicBezTo>
                  <a:pt x="491" y="73"/>
                  <a:pt x="491" y="75"/>
                  <a:pt x="490" y="74"/>
                </a:cubicBezTo>
                <a:close/>
                <a:moveTo>
                  <a:pt x="489" y="67"/>
                </a:moveTo>
                <a:cubicBezTo>
                  <a:pt x="488" y="66"/>
                  <a:pt x="490" y="66"/>
                  <a:pt x="490" y="66"/>
                </a:cubicBezTo>
                <a:cubicBezTo>
                  <a:pt x="491" y="67"/>
                  <a:pt x="489" y="68"/>
                  <a:pt x="489" y="67"/>
                </a:cubicBezTo>
                <a:close/>
                <a:moveTo>
                  <a:pt x="488" y="60"/>
                </a:moveTo>
                <a:cubicBezTo>
                  <a:pt x="488" y="60"/>
                  <a:pt x="489" y="60"/>
                  <a:pt x="489" y="60"/>
                </a:cubicBezTo>
                <a:cubicBezTo>
                  <a:pt x="489" y="60"/>
                  <a:pt x="489" y="61"/>
                  <a:pt x="488" y="60"/>
                </a:cubicBezTo>
                <a:close/>
                <a:moveTo>
                  <a:pt x="492" y="82"/>
                </a:moveTo>
                <a:cubicBezTo>
                  <a:pt x="492" y="84"/>
                  <a:pt x="487" y="83"/>
                  <a:pt x="487" y="81"/>
                </a:cubicBezTo>
                <a:cubicBezTo>
                  <a:pt x="487" y="79"/>
                  <a:pt x="492" y="79"/>
                  <a:pt x="492" y="82"/>
                </a:cubicBezTo>
                <a:close/>
                <a:moveTo>
                  <a:pt x="483" y="73"/>
                </a:moveTo>
                <a:cubicBezTo>
                  <a:pt x="482" y="71"/>
                  <a:pt x="487" y="70"/>
                  <a:pt x="487" y="72"/>
                </a:cubicBezTo>
                <a:cubicBezTo>
                  <a:pt x="488" y="75"/>
                  <a:pt x="483" y="74"/>
                  <a:pt x="483" y="73"/>
                </a:cubicBezTo>
                <a:close/>
                <a:moveTo>
                  <a:pt x="483" y="60"/>
                </a:moveTo>
                <a:cubicBezTo>
                  <a:pt x="483" y="60"/>
                  <a:pt x="483" y="60"/>
                  <a:pt x="483" y="60"/>
                </a:cubicBezTo>
                <a:cubicBezTo>
                  <a:pt x="484" y="62"/>
                  <a:pt x="481" y="59"/>
                  <a:pt x="483" y="60"/>
                </a:cubicBezTo>
                <a:close/>
                <a:moveTo>
                  <a:pt x="482" y="62"/>
                </a:moveTo>
                <a:cubicBezTo>
                  <a:pt x="483" y="63"/>
                  <a:pt x="481" y="63"/>
                  <a:pt x="481" y="62"/>
                </a:cubicBezTo>
                <a:cubicBezTo>
                  <a:pt x="481" y="62"/>
                  <a:pt x="482" y="62"/>
                  <a:pt x="482" y="62"/>
                </a:cubicBezTo>
                <a:close/>
                <a:moveTo>
                  <a:pt x="487" y="184"/>
                </a:moveTo>
                <a:cubicBezTo>
                  <a:pt x="487" y="185"/>
                  <a:pt x="485" y="186"/>
                  <a:pt x="484" y="186"/>
                </a:cubicBezTo>
                <a:cubicBezTo>
                  <a:pt x="485" y="185"/>
                  <a:pt x="486" y="185"/>
                  <a:pt x="487" y="184"/>
                </a:cubicBezTo>
                <a:close/>
                <a:moveTo>
                  <a:pt x="495" y="174"/>
                </a:moveTo>
                <a:cubicBezTo>
                  <a:pt x="495" y="174"/>
                  <a:pt x="495" y="174"/>
                  <a:pt x="495" y="174"/>
                </a:cubicBezTo>
                <a:cubicBezTo>
                  <a:pt x="495" y="175"/>
                  <a:pt x="494" y="175"/>
                  <a:pt x="495" y="174"/>
                </a:cubicBezTo>
                <a:close/>
                <a:moveTo>
                  <a:pt x="498" y="141"/>
                </a:moveTo>
                <a:cubicBezTo>
                  <a:pt x="499" y="142"/>
                  <a:pt x="497" y="143"/>
                  <a:pt x="497" y="142"/>
                </a:cubicBezTo>
                <a:cubicBezTo>
                  <a:pt x="496" y="141"/>
                  <a:pt x="498" y="141"/>
                  <a:pt x="498" y="141"/>
                </a:cubicBezTo>
                <a:close/>
                <a:moveTo>
                  <a:pt x="497" y="131"/>
                </a:moveTo>
                <a:cubicBezTo>
                  <a:pt x="497" y="131"/>
                  <a:pt x="498" y="131"/>
                  <a:pt x="498" y="131"/>
                </a:cubicBezTo>
                <a:cubicBezTo>
                  <a:pt x="499" y="132"/>
                  <a:pt x="497" y="132"/>
                  <a:pt x="497" y="131"/>
                </a:cubicBezTo>
                <a:close/>
                <a:moveTo>
                  <a:pt x="498" y="128"/>
                </a:moveTo>
                <a:cubicBezTo>
                  <a:pt x="499" y="129"/>
                  <a:pt x="500" y="126"/>
                  <a:pt x="501" y="126"/>
                </a:cubicBezTo>
                <a:cubicBezTo>
                  <a:pt x="508" y="122"/>
                  <a:pt x="510" y="132"/>
                  <a:pt x="502" y="132"/>
                </a:cubicBezTo>
                <a:cubicBezTo>
                  <a:pt x="501" y="132"/>
                  <a:pt x="498" y="131"/>
                  <a:pt x="498" y="128"/>
                </a:cubicBezTo>
                <a:close/>
                <a:moveTo>
                  <a:pt x="502" y="94"/>
                </a:moveTo>
                <a:cubicBezTo>
                  <a:pt x="503" y="93"/>
                  <a:pt x="504" y="95"/>
                  <a:pt x="502" y="94"/>
                </a:cubicBezTo>
                <a:close/>
                <a:moveTo>
                  <a:pt x="505" y="67"/>
                </a:moveTo>
                <a:cubicBezTo>
                  <a:pt x="505" y="67"/>
                  <a:pt x="505" y="68"/>
                  <a:pt x="504" y="68"/>
                </a:cubicBezTo>
                <a:cubicBezTo>
                  <a:pt x="502" y="68"/>
                  <a:pt x="504" y="64"/>
                  <a:pt x="505" y="67"/>
                </a:cubicBezTo>
                <a:close/>
                <a:moveTo>
                  <a:pt x="503" y="121"/>
                </a:moveTo>
                <a:cubicBezTo>
                  <a:pt x="504" y="121"/>
                  <a:pt x="502" y="123"/>
                  <a:pt x="501" y="122"/>
                </a:cubicBezTo>
                <a:cubicBezTo>
                  <a:pt x="502" y="122"/>
                  <a:pt x="502" y="122"/>
                  <a:pt x="503" y="121"/>
                </a:cubicBezTo>
                <a:close/>
                <a:moveTo>
                  <a:pt x="506" y="123"/>
                </a:moveTo>
                <a:cubicBezTo>
                  <a:pt x="507" y="123"/>
                  <a:pt x="505" y="124"/>
                  <a:pt x="505" y="124"/>
                </a:cubicBezTo>
                <a:cubicBezTo>
                  <a:pt x="505" y="123"/>
                  <a:pt x="505" y="122"/>
                  <a:pt x="506" y="123"/>
                </a:cubicBezTo>
                <a:close/>
                <a:moveTo>
                  <a:pt x="506" y="142"/>
                </a:moveTo>
                <a:cubicBezTo>
                  <a:pt x="507" y="142"/>
                  <a:pt x="505" y="143"/>
                  <a:pt x="505" y="142"/>
                </a:cubicBezTo>
                <a:cubicBezTo>
                  <a:pt x="505" y="142"/>
                  <a:pt x="506" y="142"/>
                  <a:pt x="506" y="142"/>
                </a:cubicBezTo>
                <a:close/>
                <a:moveTo>
                  <a:pt x="502" y="137"/>
                </a:moveTo>
                <a:cubicBezTo>
                  <a:pt x="503" y="139"/>
                  <a:pt x="499" y="139"/>
                  <a:pt x="499" y="138"/>
                </a:cubicBezTo>
                <a:cubicBezTo>
                  <a:pt x="499" y="136"/>
                  <a:pt x="502" y="136"/>
                  <a:pt x="502" y="137"/>
                </a:cubicBezTo>
                <a:close/>
                <a:moveTo>
                  <a:pt x="504" y="199"/>
                </a:moveTo>
                <a:cubicBezTo>
                  <a:pt x="504" y="199"/>
                  <a:pt x="503" y="200"/>
                  <a:pt x="503" y="200"/>
                </a:cubicBezTo>
                <a:cubicBezTo>
                  <a:pt x="501" y="200"/>
                  <a:pt x="503" y="197"/>
                  <a:pt x="504" y="199"/>
                </a:cubicBezTo>
                <a:close/>
                <a:moveTo>
                  <a:pt x="512" y="113"/>
                </a:moveTo>
                <a:cubicBezTo>
                  <a:pt x="512" y="114"/>
                  <a:pt x="509" y="116"/>
                  <a:pt x="507" y="114"/>
                </a:cubicBezTo>
                <a:cubicBezTo>
                  <a:pt x="506" y="113"/>
                  <a:pt x="511" y="111"/>
                  <a:pt x="512" y="113"/>
                </a:cubicBezTo>
                <a:close/>
                <a:moveTo>
                  <a:pt x="508" y="101"/>
                </a:moveTo>
                <a:cubicBezTo>
                  <a:pt x="508" y="100"/>
                  <a:pt x="509" y="100"/>
                  <a:pt x="510" y="101"/>
                </a:cubicBezTo>
                <a:cubicBezTo>
                  <a:pt x="511" y="102"/>
                  <a:pt x="508" y="102"/>
                  <a:pt x="508" y="101"/>
                </a:cubicBezTo>
                <a:close/>
                <a:moveTo>
                  <a:pt x="510" y="102"/>
                </a:moveTo>
                <a:cubicBezTo>
                  <a:pt x="511" y="101"/>
                  <a:pt x="512" y="103"/>
                  <a:pt x="510" y="102"/>
                </a:cubicBezTo>
                <a:close/>
                <a:moveTo>
                  <a:pt x="514" y="132"/>
                </a:moveTo>
                <a:cubicBezTo>
                  <a:pt x="514" y="132"/>
                  <a:pt x="514" y="133"/>
                  <a:pt x="514" y="134"/>
                </a:cubicBezTo>
                <a:cubicBezTo>
                  <a:pt x="512" y="137"/>
                  <a:pt x="512" y="131"/>
                  <a:pt x="514" y="132"/>
                </a:cubicBezTo>
                <a:close/>
                <a:moveTo>
                  <a:pt x="515" y="154"/>
                </a:moveTo>
                <a:cubicBezTo>
                  <a:pt x="515" y="154"/>
                  <a:pt x="515" y="153"/>
                  <a:pt x="515" y="153"/>
                </a:cubicBezTo>
                <a:cubicBezTo>
                  <a:pt x="516" y="154"/>
                  <a:pt x="515" y="155"/>
                  <a:pt x="515" y="154"/>
                </a:cubicBezTo>
                <a:close/>
                <a:moveTo>
                  <a:pt x="516" y="153"/>
                </a:moveTo>
                <a:cubicBezTo>
                  <a:pt x="516" y="151"/>
                  <a:pt x="519" y="152"/>
                  <a:pt x="516" y="153"/>
                </a:cubicBezTo>
                <a:close/>
                <a:moveTo>
                  <a:pt x="513" y="148"/>
                </a:moveTo>
                <a:cubicBezTo>
                  <a:pt x="514" y="147"/>
                  <a:pt x="516" y="145"/>
                  <a:pt x="517" y="145"/>
                </a:cubicBezTo>
                <a:cubicBezTo>
                  <a:pt x="520" y="143"/>
                  <a:pt x="516" y="149"/>
                  <a:pt x="513" y="148"/>
                </a:cubicBezTo>
                <a:close/>
                <a:moveTo>
                  <a:pt x="515" y="134"/>
                </a:moveTo>
                <a:cubicBezTo>
                  <a:pt x="514" y="133"/>
                  <a:pt x="515" y="133"/>
                  <a:pt x="515" y="134"/>
                </a:cubicBezTo>
                <a:close/>
                <a:moveTo>
                  <a:pt x="518" y="86"/>
                </a:moveTo>
                <a:cubicBezTo>
                  <a:pt x="517" y="86"/>
                  <a:pt x="519" y="86"/>
                  <a:pt x="519" y="86"/>
                </a:cubicBezTo>
                <a:cubicBezTo>
                  <a:pt x="520" y="86"/>
                  <a:pt x="518" y="87"/>
                  <a:pt x="518" y="86"/>
                </a:cubicBezTo>
                <a:close/>
                <a:moveTo>
                  <a:pt x="518" y="88"/>
                </a:moveTo>
                <a:cubicBezTo>
                  <a:pt x="519" y="87"/>
                  <a:pt x="520" y="88"/>
                  <a:pt x="518" y="88"/>
                </a:cubicBezTo>
                <a:close/>
                <a:moveTo>
                  <a:pt x="519" y="94"/>
                </a:moveTo>
                <a:cubicBezTo>
                  <a:pt x="519" y="96"/>
                  <a:pt x="514" y="96"/>
                  <a:pt x="515" y="93"/>
                </a:cubicBezTo>
                <a:cubicBezTo>
                  <a:pt x="515" y="92"/>
                  <a:pt x="519" y="92"/>
                  <a:pt x="519" y="94"/>
                </a:cubicBezTo>
                <a:close/>
                <a:moveTo>
                  <a:pt x="516" y="113"/>
                </a:moveTo>
                <a:cubicBezTo>
                  <a:pt x="516" y="112"/>
                  <a:pt x="516" y="112"/>
                  <a:pt x="516" y="112"/>
                </a:cubicBezTo>
                <a:cubicBezTo>
                  <a:pt x="518" y="110"/>
                  <a:pt x="517" y="114"/>
                  <a:pt x="516" y="113"/>
                </a:cubicBezTo>
                <a:close/>
                <a:moveTo>
                  <a:pt x="518" y="143"/>
                </a:moveTo>
                <a:cubicBezTo>
                  <a:pt x="518" y="143"/>
                  <a:pt x="516" y="144"/>
                  <a:pt x="516" y="144"/>
                </a:cubicBezTo>
                <a:cubicBezTo>
                  <a:pt x="516" y="143"/>
                  <a:pt x="517" y="142"/>
                  <a:pt x="518" y="143"/>
                </a:cubicBezTo>
                <a:close/>
                <a:moveTo>
                  <a:pt x="515" y="139"/>
                </a:moveTo>
                <a:cubicBezTo>
                  <a:pt x="516" y="140"/>
                  <a:pt x="515" y="140"/>
                  <a:pt x="515" y="140"/>
                </a:cubicBezTo>
                <a:cubicBezTo>
                  <a:pt x="515" y="140"/>
                  <a:pt x="515" y="139"/>
                  <a:pt x="515" y="139"/>
                </a:cubicBezTo>
                <a:close/>
                <a:moveTo>
                  <a:pt x="519" y="150"/>
                </a:moveTo>
                <a:cubicBezTo>
                  <a:pt x="520" y="150"/>
                  <a:pt x="518" y="151"/>
                  <a:pt x="518" y="151"/>
                </a:cubicBezTo>
                <a:cubicBezTo>
                  <a:pt x="517" y="150"/>
                  <a:pt x="519" y="150"/>
                  <a:pt x="519" y="150"/>
                </a:cubicBezTo>
                <a:close/>
                <a:moveTo>
                  <a:pt x="525" y="72"/>
                </a:moveTo>
                <a:cubicBezTo>
                  <a:pt x="525" y="72"/>
                  <a:pt x="525" y="72"/>
                  <a:pt x="524" y="72"/>
                </a:cubicBezTo>
                <a:cubicBezTo>
                  <a:pt x="524" y="72"/>
                  <a:pt x="525" y="71"/>
                  <a:pt x="525" y="72"/>
                </a:cubicBezTo>
                <a:close/>
                <a:moveTo>
                  <a:pt x="509" y="73"/>
                </a:moveTo>
                <a:cubicBezTo>
                  <a:pt x="510" y="72"/>
                  <a:pt x="513" y="74"/>
                  <a:pt x="516" y="74"/>
                </a:cubicBezTo>
                <a:cubicBezTo>
                  <a:pt x="517" y="73"/>
                  <a:pt x="522" y="72"/>
                  <a:pt x="523" y="73"/>
                </a:cubicBezTo>
                <a:cubicBezTo>
                  <a:pt x="523" y="75"/>
                  <a:pt x="517" y="75"/>
                  <a:pt x="517" y="75"/>
                </a:cubicBezTo>
                <a:cubicBezTo>
                  <a:pt x="517" y="76"/>
                  <a:pt x="520" y="79"/>
                  <a:pt x="520" y="79"/>
                </a:cubicBezTo>
                <a:cubicBezTo>
                  <a:pt x="522" y="87"/>
                  <a:pt x="509" y="84"/>
                  <a:pt x="506" y="82"/>
                </a:cubicBezTo>
                <a:cubicBezTo>
                  <a:pt x="501" y="80"/>
                  <a:pt x="510" y="81"/>
                  <a:pt x="507" y="77"/>
                </a:cubicBezTo>
                <a:cubicBezTo>
                  <a:pt x="511" y="79"/>
                  <a:pt x="508" y="74"/>
                  <a:pt x="509" y="73"/>
                </a:cubicBezTo>
                <a:close/>
                <a:moveTo>
                  <a:pt x="509" y="61"/>
                </a:moveTo>
                <a:cubicBezTo>
                  <a:pt x="510" y="61"/>
                  <a:pt x="508" y="62"/>
                  <a:pt x="507" y="61"/>
                </a:cubicBezTo>
                <a:cubicBezTo>
                  <a:pt x="507" y="61"/>
                  <a:pt x="509" y="60"/>
                  <a:pt x="509" y="61"/>
                </a:cubicBezTo>
                <a:close/>
                <a:moveTo>
                  <a:pt x="511" y="36"/>
                </a:moveTo>
                <a:cubicBezTo>
                  <a:pt x="511" y="37"/>
                  <a:pt x="509" y="37"/>
                  <a:pt x="509" y="36"/>
                </a:cubicBezTo>
                <a:cubicBezTo>
                  <a:pt x="509" y="35"/>
                  <a:pt x="510" y="35"/>
                  <a:pt x="511" y="36"/>
                </a:cubicBezTo>
                <a:close/>
                <a:moveTo>
                  <a:pt x="509" y="38"/>
                </a:moveTo>
                <a:cubicBezTo>
                  <a:pt x="509" y="40"/>
                  <a:pt x="506" y="39"/>
                  <a:pt x="506" y="38"/>
                </a:cubicBezTo>
                <a:cubicBezTo>
                  <a:pt x="506" y="37"/>
                  <a:pt x="509" y="36"/>
                  <a:pt x="509" y="38"/>
                </a:cubicBezTo>
                <a:close/>
                <a:moveTo>
                  <a:pt x="509" y="50"/>
                </a:moveTo>
                <a:cubicBezTo>
                  <a:pt x="504" y="53"/>
                  <a:pt x="503" y="50"/>
                  <a:pt x="509" y="50"/>
                </a:cubicBezTo>
                <a:close/>
                <a:moveTo>
                  <a:pt x="506" y="53"/>
                </a:moveTo>
                <a:cubicBezTo>
                  <a:pt x="505" y="54"/>
                  <a:pt x="504" y="53"/>
                  <a:pt x="504" y="53"/>
                </a:cubicBezTo>
                <a:cubicBezTo>
                  <a:pt x="504" y="53"/>
                  <a:pt x="506" y="53"/>
                  <a:pt x="506" y="53"/>
                </a:cubicBezTo>
                <a:close/>
                <a:moveTo>
                  <a:pt x="504" y="64"/>
                </a:moveTo>
                <a:cubicBezTo>
                  <a:pt x="503" y="65"/>
                  <a:pt x="502" y="65"/>
                  <a:pt x="501" y="65"/>
                </a:cubicBezTo>
                <a:cubicBezTo>
                  <a:pt x="501" y="64"/>
                  <a:pt x="503" y="63"/>
                  <a:pt x="504" y="64"/>
                </a:cubicBezTo>
                <a:close/>
                <a:moveTo>
                  <a:pt x="501" y="64"/>
                </a:moveTo>
                <a:cubicBezTo>
                  <a:pt x="501" y="64"/>
                  <a:pt x="500" y="65"/>
                  <a:pt x="500" y="64"/>
                </a:cubicBezTo>
                <a:cubicBezTo>
                  <a:pt x="500" y="64"/>
                  <a:pt x="501" y="63"/>
                  <a:pt x="501" y="64"/>
                </a:cubicBezTo>
                <a:close/>
                <a:moveTo>
                  <a:pt x="501" y="123"/>
                </a:moveTo>
                <a:cubicBezTo>
                  <a:pt x="501" y="123"/>
                  <a:pt x="501" y="123"/>
                  <a:pt x="501" y="123"/>
                </a:cubicBezTo>
                <a:cubicBezTo>
                  <a:pt x="502" y="125"/>
                  <a:pt x="499" y="121"/>
                  <a:pt x="501" y="123"/>
                </a:cubicBezTo>
                <a:close/>
                <a:moveTo>
                  <a:pt x="499" y="65"/>
                </a:moveTo>
                <a:cubicBezTo>
                  <a:pt x="501" y="65"/>
                  <a:pt x="497" y="65"/>
                  <a:pt x="499" y="65"/>
                </a:cubicBezTo>
                <a:close/>
                <a:moveTo>
                  <a:pt x="498" y="38"/>
                </a:moveTo>
                <a:cubicBezTo>
                  <a:pt x="498" y="38"/>
                  <a:pt x="497" y="39"/>
                  <a:pt x="497" y="38"/>
                </a:cubicBezTo>
                <a:cubicBezTo>
                  <a:pt x="497" y="38"/>
                  <a:pt x="497" y="37"/>
                  <a:pt x="498" y="38"/>
                </a:cubicBezTo>
                <a:close/>
                <a:moveTo>
                  <a:pt x="497" y="31"/>
                </a:moveTo>
                <a:cubicBezTo>
                  <a:pt x="497" y="32"/>
                  <a:pt x="495" y="32"/>
                  <a:pt x="495" y="31"/>
                </a:cubicBezTo>
                <a:cubicBezTo>
                  <a:pt x="495" y="31"/>
                  <a:pt x="496" y="31"/>
                  <a:pt x="497" y="31"/>
                </a:cubicBezTo>
                <a:close/>
                <a:moveTo>
                  <a:pt x="496" y="40"/>
                </a:moveTo>
                <a:cubicBezTo>
                  <a:pt x="496" y="41"/>
                  <a:pt x="493" y="42"/>
                  <a:pt x="493" y="41"/>
                </a:cubicBezTo>
                <a:cubicBezTo>
                  <a:pt x="492" y="40"/>
                  <a:pt x="495" y="39"/>
                  <a:pt x="496" y="40"/>
                </a:cubicBezTo>
                <a:close/>
                <a:moveTo>
                  <a:pt x="492" y="44"/>
                </a:moveTo>
                <a:cubicBezTo>
                  <a:pt x="493" y="43"/>
                  <a:pt x="494" y="45"/>
                  <a:pt x="492" y="44"/>
                </a:cubicBezTo>
                <a:close/>
                <a:moveTo>
                  <a:pt x="488" y="29"/>
                </a:moveTo>
                <a:cubicBezTo>
                  <a:pt x="489" y="30"/>
                  <a:pt x="486" y="30"/>
                  <a:pt x="486" y="29"/>
                </a:cubicBezTo>
                <a:cubicBezTo>
                  <a:pt x="486" y="28"/>
                  <a:pt x="488" y="28"/>
                  <a:pt x="488" y="29"/>
                </a:cubicBezTo>
                <a:close/>
                <a:moveTo>
                  <a:pt x="487" y="31"/>
                </a:moveTo>
                <a:cubicBezTo>
                  <a:pt x="487" y="31"/>
                  <a:pt x="488" y="31"/>
                  <a:pt x="488" y="31"/>
                </a:cubicBezTo>
                <a:cubicBezTo>
                  <a:pt x="489" y="32"/>
                  <a:pt x="487" y="32"/>
                  <a:pt x="487" y="31"/>
                </a:cubicBezTo>
                <a:close/>
                <a:moveTo>
                  <a:pt x="488" y="40"/>
                </a:moveTo>
                <a:cubicBezTo>
                  <a:pt x="488" y="41"/>
                  <a:pt x="487" y="41"/>
                  <a:pt x="486" y="41"/>
                </a:cubicBezTo>
                <a:cubicBezTo>
                  <a:pt x="486" y="40"/>
                  <a:pt x="487" y="40"/>
                  <a:pt x="488" y="40"/>
                </a:cubicBezTo>
                <a:close/>
                <a:moveTo>
                  <a:pt x="484" y="41"/>
                </a:moveTo>
                <a:cubicBezTo>
                  <a:pt x="485" y="42"/>
                  <a:pt x="483" y="42"/>
                  <a:pt x="483" y="42"/>
                </a:cubicBezTo>
                <a:cubicBezTo>
                  <a:pt x="483" y="41"/>
                  <a:pt x="484" y="41"/>
                  <a:pt x="484" y="41"/>
                </a:cubicBezTo>
                <a:close/>
                <a:moveTo>
                  <a:pt x="483" y="38"/>
                </a:moveTo>
                <a:cubicBezTo>
                  <a:pt x="482" y="37"/>
                  <a:pt x="484" y="38"/>
                  <a:pt x="483" y="38"/>
                </a:cubicBezTo>
                <a:close/>
                <a:moveTo>
                  <a:pt x="483" y="51"/>
                </a:moveTo>
                <a:cubicBezTo>
                  <a:pt x="485" y="47"/>
                  <a:pt x="492" y="43"/>
                  <a:pt x="496" y="48"/>
                </a:cubicBezTo>
                <a:cubicBezTo>
                  <a:pt x="496" y="49"/>
                  <a:pt x="494" y="53"/>
                  <a:pt x="493" y="53"/>
                </a:cubicBezTo>
                <a:cubicBezTo>
                  <a:pt x="493" y="53"/>
                  <a:pt x="491" y="53"/>
                  <a:pt x="490" y="53"/>
                </a:cubicBezTo>
                <a:cubicBezTo>
                  <a:pt x="490" y="53"/>
                  <a:pt x="490" y="54"/>
                  <a:pt x="489" y="54"/>
                </a:cubicBezTo>
                <a:cubicBezTo>
                  <a:pt x="488" y="54"/>
                  <a:pt x="485" y="54"/>
                  <a:pt x="483" y="54"/>
                </a:cubicBezTo>
                <a:cubicBezTo>
                  <a:pt x="483" y="54"/>
                  <a:pt x="483" y="54"/>
                  <a:pt x="482" y="54"/>
                </a:cubicBezTo>
                <a:cubicBezTo>
                  <a:pt x="482" y="53"/>
                  <a:pt x="483" y="52"/>
                  <a:pt x="483" y="51"/>
                </a:cubicBezTo>
                <a:close/>
                <a:moveTo>
                  <a:pt x="482" y="56"/>
                </a:moveTo>
                <a:cubicBezTo>
                  <a:pt x="483" y="57"/>
                  <a:pt x="480" y="57"/>
                  <a:pt x="480" y="57"/>
                </a:cubicBezTo>
                <a:cubicBezTo>
                  <a:pt x="479" y="55"/>
                  <a:pt x="482" y="55"/>
                  <a:pt x="482" y="56"/>
                </a:cubicBezTo>
                <a:close/>
                <a:moveTo>
                  <a:pt x="479" y="43"/>
                </a:moveTo>
                <a:cubicBezTo>
                  <a:pt x="479" y="45"/>
                  <a:pt x="475" y="45"/>
                  <a:pt x="474" y="44"/>
                </a:cubicBezTo>
                <a:cubicBezTo>
                  <a:pt x="474" y="43"/>
                  <a:pt x="478" y="42"/>
                  <a:pt x="479" y="43"/>
                </a:cubicBezTo>
                <a:close/>
                <a:moveTo>
                  <a:pt x="473" y="28"/>
                </a:moveTo>
                <a:cubicBezTo>
                  <a:pt x="472" y="28"/>
                  <a:pt x="474" y="28"/>
                  <a:pt x="473" y="28"/>
                </a:cubicBezTo>
                <a:close/>
                <a:moveTo>
                  <a:pt x="471" y="33"/>
                </a:moveTo>
                <a:cubicBezTo>
                  <a:pt x="471" y="34"/>
                  <a:pt x="470" y="34"/>
                  <a:pt x="469" y="34"/>
                </a:cubicBezTo>
                <a:cubicBezTo>
                  <a:pt x="469" y="33"/>
                  <a:pt x="471" y="32"/>
                  <a:pt x="471" y="33"/>
                </a:cubicBezTo>
                <a:close/>
                <a:moveTo>
                  <a:pt x="467" y="32"/>
                </a:moveTo>
                <a:cubicBezTo>
                  <a:pt x="469" y="31"/>
                  <a:pt x="470" y="33"/>
                  <a:pt x="467" y="32"/>
                </a:cubicBezTo>
                <a:close/>
                <a:moveTo>
                  <a:pt x="467" y="46"/>
                </a:moveTo>
                <a:cubicBezTo>
                  <a:pt x="468" y="44"/>
                  <a:pt x="469" y="47"/>
                  <a:pt x="467" y="46"/>
                </a:cubicBezTo>
                <a:close/>
                <a:moveTo>
                  <a:pt x="467" y="52"/>
                </a:moveTo>
                <a:cubicBezTo>
                  <a:pt x="466" y="52"/>
                  <a:pt x="468" y="53"/>
                  <a:pt x="467" y="52"/>
                </a:cubicBezTo>
                <a:close/>
                <a:moveTo>
                  <a:pt x="467" y="30"/>
                </a:moveTo>
                <a:cubicBezTo>
                  <a:pt x="467" y="30"/>
                  <a:pt x="468" y="31"/>
                  <a:pt x="467" y="31"/>
                </a:cubicBezTo>
                <a:cubicBezTo>
                  <a:pt x="465" y="31"/>
                  <a:pt x="467" y="28"/>
                  <a:pt x="467" y="30"/>
                </a:cubicBezTo>
                <a:close/>
                <a:moveTo>
                  <a:pt x="468" y="38"/>
                </a:moveTo>
                <a:cubicBezTo>
                  <a:pt x="468" y="39"/>
                  <a:pt x="466" y="40"/>
                  <a:pt x="465" y="39"/>
                </a:cubicBezTo>
                <a:cubicBezTo>
                  <a:pt x="465" y="38"/>
                  <a:pt x="467" y="37"/>
                  <a:pt x="468" y="38"/>
                </a:cubicBezTo>
                <a:close/>
                <a:moveTo>
                  <a:pt x="464" y="49"/>
                </a:moveTo>
                <a:cubicBezTo>
                  <a:pt x="463" y="50"/>
                  <a:pt x="462" y="48"/>
                  <a:pt x="462" y="49"/>
                </a:cubicBezTo>
                <a:cubicBezTo>
                  <a:pt x="460" y="46"/>
                  <a:pt x="468" y="49"/>
                  <a:pt x="464" y="49"/>
                </a:cubicBezTo>
                <a:close/>
                <a:moveTo>
                  <a:pt x="463" y="51"/>
                </a:moveTo>
                <a:cubicBezTo>
                  <a:pt x="463" y="51"/>
                  <a:pt x="464" y="51"/>
                  <a:pt x="464" y="51"/>
                </a:cubicBezTo>
                <a:cubicBezTo>
                  <a:pt x="465" y="52"/>
                  <a:pt x="464" y="51"/>
                  <a:pt x="463" y="51"/>
                </a:cubicBezTo>
                <a:close/>
                <a:moveTo>
                  <a:pt x="447" y="79"/>
                </a:moveTo>
                <a:cubicBezTo>
                  <a:pt x="448" y="79"/>
                  <a:pt x="446" y="80"/>
                  <a:pt x="446" y="80"/>
                </a:cubicBezTo>
                <a:cubicBezTo>
                  <a:pt x="446" y="79"/>
                  <a:pt x="446" y="79"/>
                  <a:pt x="447" y="79"/>
                </a:cubicBezTo>
                <a:close/>
                <a:moveTo>
                  <a:pt x="446" y="189"/>
                </a:moveTo>
                <a:cubicBezTo>
                  <a:pt x="446" y="188"/>
                  <a:pt x="448" y="188"/>
                  <a:pt x="448" y="189"/>
                </a:cubicBezTo>
                <a:cubicBezTo>
                  <a:pt x="448" y="190"/>
                  <a:pt x="446" y="190"/>
                  <a:pt x="446" y="189"/>
                </a:cubicBezTo>
                <a:close/>
                <a:moveTo>
                  <a:pt x="449" y="610"/>
                </a:moveTo>
                <a:cubicBezTo>
                  <a:pt x="448" y="610"/>
                  <a:pt x="447" y="610"/>
                  <a:pt x="446" y="610"/>
                </a:cubicBezTo>
                <a:cubicBezTo>
                  <a:pt x="447" y="609"/>
                  <a:pt x="448" y="609"/>
                  <a:pt x="449" y="610"/>
                </a:cubicBezTo>
                <a:close/>
                <a:moveTo>
                  <a:pt x="447" y="145"/>
                </a:moveTo>
                <a:cubicBezTo>
                  <a:pt x="446" y="146"/>
                  <a:pt x="445" y="145"/>
                  <a:pt x="447" y="145"/>
                </a:cubicBezTo>
                <a:close/>
                <a:moveTo>
                  <a:pt x="447" y="126"/>
                </a:moveTo>
                <a:cubicBezTo>
                  <a:pt x="447" y="126"/>
                  <a:pt x="446" y="127"/>
                  <a:pt x="446" y="127"/>
                </a:cubicBezTo>
                <a:cubicBezTo>
                  <a:pt x="446" y="127"/>
                  <a:pt x="446" y="126"/>
                  <a:pt x="447" y="126"/>
                </a:cubicBezTo>
                <a:close/>
                <a:moveTo>
                  <a:pt x="446" y="180"/>
                </a:moveTo>
                <a:cubicBezTo>
                  <a:pt x="446" y="184"/>
                  <a:pt x="439" y="183"/>
                  <a:pt x="438" y="180"/>
                </a:cubicBezTo>
                <a:cubicBezTo>
                  <a:pt x="438" y="178"/>
                  <a:pt x="446" y="176"/>
                  <a:pt x="446" y="180"/>
                </a:cubicBezTo>
                <a:close/>
                <a:moveTo>
                  <a:pt x="441" y="175"/>
                </a:moveTo>
                <a:cubicBezTo>
                  <a:pt x="441" y="173"/>
                  <a:pt x="444" y="173"/>
                  <a:pt x="444" y="174"/>
                </a:cubicBezTo>
                <a:cubicBezTo>
                  <a:pt x="445" y="176"/>
                  <a:pt x="442" y="176"/>
                  <a:pt x="441" y="175"/>
                </a:cubicBezTo>
                <a:close/>
                <a:moveTo>
                  <a:pt x="446" y="135"/>
                </a:moveTo>
                <a:cubicBezTo>
                  <a:pt x="444" y="136"/>
                  <a:pt x="441" y="137"/>
                  <a:pt x="440" y="136"/>
                </a:cubicBezTo>
                <a:cubicBezTo>
                  <a:pt x="442" y="136"/>
                  <a:pt x="444" y="134"/>
                  <a:pt x="446" y="135"/>
                </a:cubicBezTo>
                <a:close/>
                <a:moveTo>
                  <a:pt x="443" y="79"/>
                </a:moveTo>
                <a:cubicBezTo>
                  <a:pt x="444" y="78"/>
                  <a:pt x="445" y="80"/>
                  <a:pt x="443" y="79"/>
                </a:cubicBezTo>
                <a:close/>
                <a:moveTo>
                  <a:pt x="443" y="79"/>
                </a:moveTo>
                <a:cubicBezTo>
                  <a:pt x="442" y="80"/>
                  <a:pt x="440" y="81"/>
                  <a:pt x="439" y="81"/>
                </a:cubicBezTo>
                <a:cubicBezTo>
                  <a:pt x="439" y="79"/>
                  <a:pt x="441" y="80"/>
                  <a:pt x="443" y="79"/>
                </a:cubicBezTo>
                <a:close/>
                <a:moveTo>
                  <a:pt x="438" y="137"/>
                </a:moveTo>
                <a:cubicBezTo>
                  <a:pt x="439" y="137"/>
                  <a:pt x="437" y="138"/>
                  <a:pt x="437" y="138"/>
                </a:cubicBezTo>
                <a:cubicBezTo>
                  <a:pt x="437" y="138"/>
                  <a:pt x="438" y="137"/>
                  <a:pt x="438" y="137"/>
                </a:cubicBezTo>
                <a:close/>
                <a:moveTo>
                  <a:pt x="437" y="228"/>
                </a:moveTo>
                <a:cubicBezTo>
                  <a:pt x="436" y="229"/>
                  <a:pt x="433" y="230"/>
                  <a:pt x="432" y="232"/>
                </a:cubicBezTo>
                <a:cubicBezTo>
                  <a:pt x="433" y="230"/>
                  <a:pt x="435" y="229"/>
                  <a:pt x="437" y="228"/>
                </a:cubicBezTo>
                <a:close/>
                <a:moveTo>
                  <a:pt x="431" y="647"/>
                </a:moveTo>
                <a:cubicBezTo>
                  <a:pt x="432" y="648"/>
                  <a:pt x="430" y="646"/>
                  <a:pt x="431" y="647"/>
                </a:cubicBezTo>
                <a:close/>
                <a:moveTo>
                  <a:pt x="430" y="190"/>
                </a:move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lose/>
                <a:moveTo>
                  <a:pt x="430" y="233"/>
                </a:moveTo>
                <a:cubicBezTo>
                  <a:pt x="428" y="236"/>
                  <a:pt x="427" y="233"/>
                  <a:pt x="430" y="233"/>
                </a:cubicBezTo>
                <a:close/>
                <a:moveTo>
                  <a:pt x="430" y="647"/>
                </a:moveTo>
                <a:cubicBezTo>
                  <a:pt x="430" y="648"/>
                  <a:pt x="428" y="648"/>
                  <a:pt x="428" y="648"/>
                </a:cubicBezTo>
                <a:cubicBezTo>
                  <a:pt x="428" y="647"/>
                  <a:pt x="429" y="647"/>
                  <a:pt x="430" y="647"/>
                </a:cubicBezTo>
                <a:close/>
                <a:moveTo>
                  <a:pt x="427" y="105"/>
                </a:moveTo>
                <a:cubicBezTo>
                  <a:pt x="426" y="104"/>
                  <a:pt x="428" y="106"/>
                  <a:pt x="427" y="105"/>
                </a:cubicBezTo>
                <a:close/>
                <a:moveTo>
                  <a:pt x="426" y="572"/>
                </a:moveTo>
                <a:cubicBezTo>
                  <a:pt x="427" y="571"/>
                  <a:pt x="427" y="574"/>
                  <a:pt x="426" y="573"/>
                </a:cubicBezTo>
                <a:cubicBezTo>
                  <a:pt x="426" y="573"/>
                  <a:pt x="426" y="572"/>
                  <a:pt x="426" y="572"/>
                </a:cubicBezTo>
                <a:close/>
                <a:moveTo>
                  <a:pt x="424" y="210"/>
                </a:moveTo>
                <a:cubicBezTo>
                  <a:pt x="425" y="209"/>
                  <a:pt x="426" y="211"/>
                  <a:pt x="424" y="210"/>
                </a:cubicBezTo>
                <a:close/>
                <a:moveTo>
                  <a:pt x="422" y="80"/>
                </a:moveTo>
                <a:cubicBezTo>
                  <a:pt x="423" y="81"/>
                  <a:pt x="421" y="81"/>
                  <a:pt x="420" y="81"/>
                </a:cubicBezTo>
                <a:cubicBezTo>
                  <a:pt x="420" y="80"/>
                  <a:pt x="422" y="80"/>
                  <a:pt x="422" y="80"/>
                </a:cubicBezTo>
                <a:close/>
                <a:moveTo>
                  <a:pt x="423" y="85"/>
                </a:moveTo>
                <a:cubicBezTo>
                  <a:pt x="423" y="85"/>
                  <a:pt x="420" y="86"/>
                  <a:pt x="420" y="85"/>
                </a:cubicBezTo>
                <a:cubicBezTo>
                  <a:pt x="419" y="85"/>
                  <a:pt x="424" y="83"/>
                  <a:pt x="423" y="85"/>
                </a:cubicBezTo>
                <a:close/>
                <a:moveTo>
                  <a:pt x="421" y="667"/>
                </a:moveTo>
                <a:cubicBezTo>
                  <a:pt x="423" y="666"/>
                  <a:pt x="422" y="668"/>
                  <a:pt x="421" y="667"/>
                </a:cubicBezTo>
                <a:close/>
                <a:moveTo>
                  <a:pt x="419" y="54"/>
                </a:moveTo>
                <a:cubicBezTo>
                  <a:pt x="420" y="54"/>
                  <a:pt x="419" y="55"/>
                  <a:pt x="419" y="55"/>
                </a:cubicBezTo>
                <a:cubicBezTo>
                  <a:pt x="418" y="55"/>
                  <a:pt x="418" y="54"/>
                  <a:pt x="419" y="54"/>
                </a:cubicBezTo>
                <a:close/>
                <a:moveTo>
                  <a:pt x="419" y="61"/>
                </a:moveTo>
                <a:cubicBezTo>
                  <a:pt x="419" y="61"/>
                  <a:pt x="417" y="61"/>
                  <a:pt x="417" y="60"/>
                </a:cubicBezTo>
                <a:cubicBezTo>
                  <a:pt x="417" y="60"/>
                  <a:pt x="418" y="60"/>
                  <a:pt x="419" y="61"/>
                </a:cubicBezTo>
                <a:close/>
                <a:moveTo>
                  <a:pt x="411" y="63"/>
                </a:moveTo>
                <a:cubicBezTo>
                  <a:pt x="411" y="63"/>
                  <a:pt x="410" y="64"/>
                  <a:pt x="410" y="63"/>
                </a:cubicBezTo>
                <a:cubicBezTo>
                  <a:pt x="409" y="63"/>
                  <a:pt x="411" y="62"/>
                  <a:pt x="411" y="63"/>
                </a:cubicBezTo>
                <a:close/>
                <a:moveTo>
                  <a:pt x="408" y="93"/>
                </a:moveTo>
                <a:cubicBezTo>
                  <a:pt x="408" y="94"/>
                  <a:pt x="407" y="94"/>
                  <a:pt x="407" y="94"/>
                </a:cubicBezTo>
                <a:cubicBezTo>
                  <a:pt x="406" y="93"/>
                  <a:pt x="408" y="93"/>
                  <a:pt x="408" y="93"/>
                </a:cubicBezTo>
                <a:close/>
                <a:moveTo>
                  <a:pt x="406" y="125"/>
                </a:moveTo>
                <a:cubicBezTo>
                  <a:pt x="406" y="126"/>
                  <a:pt x="404" y="125"/>
                  <a:pt x="406" y="125"/>
                </a:cubicBezTo>
                <a:close/>
                <a:moveTo>
                  <a:pt x="405" y="97"/>
                </a:moveTo>
                <a:cubicBezTo>
                  <a:pt x="404" y="97"/>
                  <a:pt x="404" y="97"/>
                  <a:pt x="404" y="96"/>
                </a:cubicBezTo>
                <a:cubicBezTo>
                  <a:pt x="403" y="95"/>
                  <a:pt x="406" y="97"/>
                  <a:pt x="405" y="97"/>
                </a:cubicBezTo>
                <a:close/>
                <a:moveTo>
                  <a:pt x="408" y="154"/>
                </a:moveTo>
                <a:cubicBezTo>
                  <a:pt x="406" y="156"/>
                  <a:pt x="402" y="158"/>
                  <a:pt x="399" y="158"/>
                </a:cubicBezTo>
                <a:cubicBezTo>
                  <a:pt x="402" y="157"/>
                  <a:pt x="405" y="156"/>
                  <a:pt x="408" y="154"/>
                </a:cubicBezTo>
                <a:close/>
                <a:moveTo>
                  <a:pt x="399" y="122"/>
                </a:moveTo>
                <a:cubicBezTo>
                  <a:pt x="399" y="122"/>
                  <a:pt x="400" y="121"/>
                  <a:pt x="400" y="122"/>
                </a:cubicBezTo>
                <a:cubicBezTo>
                  <a:pt x="400" y="122"/>
                  <a:pt x="400" y="123"/>
                  <a:pt x="399" y="122"/>
                </a:cubicBezTo>
                <a:close/>
                <a:moveTo>
                  <a:pt x="401" y="71"/>
                </a:moveTo>
                <a:cubicBezTo>
                  <a:pt x="402" y="72"/>
                  <a:pt x="400" y="73"/>
                  <a:pt x="399" y="72"/>
                </a:cubicBezTo>
                <a:cubicBezTo>
                  <a:pt x="399" y="71"/>
                  <a:pt x="401" y="70"/>
                  <a:pt x="401" y="71"/>
                </a:cubicBezTo>
                <a:close/>
                <a:moveTo>
                  <a:pt x="399" y="97"/>
                </a:moveTo>
                <a:cubicBezTo>
                  <a:pt x="399" y="97"/>
                  <a:pt x="398" y="98"/>
                  <a:pt x="397" y="97"/>
                </a:cubicBezTo>
                <a:cubicBezTo>
                  <a:pt x="398" y="97"/>
                  <a:pt x="398" y="97"/>
                  <a:pt x="399" y="97"/>
                </a:cubicBezTo>
                <a:close/>
                <a:moveTo>
                  <a:pt x="398" y="160"/>
                </a:moveTo>
                <a:cubicBezTo>
                  <a:pt x="398" y="160"/>
                  <a:pt x="398" y="159"/>
                  <a:pt x="399" y="159"/>
                </a:cubicBezTo>
                <a:cubicBezTo>
                  <a:pt x="399" y="159"/>
                  <a:pt x="398" y="160"/>
                  <a:pt x="398" y="160"/>
                </a:cubicBezTo>
                <a:close/>
                <a:moveTo>
                  <a:pt x="398" y="169"/>
                </a:moveTo>
                <a:cubicBezTo>
                  <a:pt x="399" y="170"/>
                  <a:pt x="397" y="171"/>
                  <a:pt x="397" y="170"/>
                </a:cubicBezTo>
                <a:cubicBezTo>
                  <a:pt x="397" y="169"/>
                  <a:pt x="398" y="169"/>
                  <a:pt x="398" y="169"/>
                </a:cubicBezTo>
                <a:close/>
                <a:moveTo>
                  <a:pt x="397" y="159"/>
                </a:moveTo>
                <a:cubicBezTo>
                  <a:pt x="397" y="160"/>
                  <a:pt x="395" y="162"/>
                  <a:pt x="395" y="161"/>
                </a:cubicBezTo>
                <a:cubicBezTo>
                  <a:pt x="395" y="160"/>
                  <a:pt x="397" y="160"/>
                  <a:pt x="397" y="159"/>
                </a:cubicBezTo>
                <a:close/>
                <a:moveTo>
                  <a:pt x="395" y="78"/>
                </a:moveTo>
                <a:cubicBezTo>
                  <a:pt x="395" y="78"/>
                  <a:pt x="394" y="78"/>
                  <a:pt x="394" y="78"/>
                </a:cubicBezTo>
                <a:cubicBezTo>
                  <a:pt x="393" y="78"/>
                  <a:pt x="395" y="78"/>
                  <a:pt x="395" y="78"/>
                </a:cubicBezTo>
                <a:close/>
                <a:moveTo>
                  <a:pt x="392" y="104"/>
                </a:moveTo>
                <a:cubicBezTo>
                  <a:pt x="393" y="106"/>
                  <a:pt x="390" y="105"/>
                  <a:pt x="390" y="104"/>
                </a:cubicBezTo>
                <a:cubicBezTo>
                  <a:pt x="390" y="102"/>
                  <a:pt x="392" y="103"/>
                  <a:pt x="392" y="104"/>
                </a:cubicBezTo>
                <a:close/>
                <a:moveTo>
                  <a:pt x="388" y="79"/>
                </a:moveTo>
                <a:cubicBezTo>
                  <a:pt x="387" y="80"/>
                  <a:pt x="386" y="79"/>
                  <a:pt x="385" y="80"/>
                </a:cubicBezTo>
                <a:cubicBezTo>
                  <a:pt x="385" y="79"/>
                  <a:pt x="387" y="79"/>
                  <a:pt x="388" y="79"/>
                </a:cubicBezTo>
                <a:close/>
                <a:moveTo>
                  <a:pt x="385" y="112"/>
                </a:moveTo>
                <a:cubicBezTo>
                  <a:pt x="385" y="112"/>
                  <a:pt x="387" y="111"/>
                  <a:pt x="387" y="112"/>
                </a:cubicBezTo>
                <a:cubicBezTo>
                  <a:pt x="388" y="114"/>
                  <a:pt x="384" y="114"/>
                  <a:pt x="385" y="112"/>
                </a:cubicBezTo>
                <a:close/>
                <a:moveTo>
                  <a:pt x="382" y="113"/>
                </a:moveTo>
                <a:cubicBezTo>
                  <a:pt x="384" y="111"/>
                  <a:pt x="385" y="114"/>
                  <a:pt x="382" y="113"/>
                </a:cubicBezTo>
                <a:close/>
                <a:moveTo>
                  <a:pt x="379" y="110"/>
                </a:moveTo>
                <a:cubicBezTo>
                  <a:pt x="380" y="111"/>
                  <a:pt x="376" y="111"/>
                  <a:pt x="376" y="110"/>
                </a:cubicBezTo>
                <a:cubicBezTo>
                  <a:pt x="375" y="109"/>
                  <a:pt x="378" y="108"/>
                  <a:pt x="379" y="110"/>
                </a:cubicBezTo>
                <a:close/>
                <a:moveTo>
                  <a:pt x="379" y="80"/>
                </a:moveTo>
                <a:cubicBezTo>
                  <a:pt x="379" y="80"/>
                  <a:pt x="377" y="81"/>
                  <a:pt x="377" y="81"/>
                </a:cubicBezTo>
                <a:cubicBezTo>
                  <a:pt x="377" y="80"/>
                  <a:pt x="378" y="80"/>
                  <a:pt x="379" y="80"/>
                </a:cubicBezTo>
                <a:close/>
                <a:moveTo>
                  <a:pt x="376" y="81"/>
                </a:moveTo>
                <a:cubicBezTo>
                  <a:pt x="375" y="81"/>
                  <a:pt x="374" y="81"/>
                  <a:pt x="374" y="81"/>
                </a:cubicBezTo>
                <a:cubicBezTo>
                  <a:pt x="373" y="81"/>
                  <a:pt x="375" y="81"/>
                  <a:pt x="376" y="81"/>
                </a:cubicBezTo>
                <a:close/>
                <a:moveTo>
                  <a:pt x="372" y="76"/>
                </a:moveTo>
                <a:cubicBezTo>
                  <a:pt x="372" y="76"/>
                  <a:pt x="372" y="76"/>
                  <a:pt x="372" y="76"/>
                </a:cubicBezTo>
                <a:cubicBezTo>
                  <a:pt x="372" y="76"/>
                  <a:pt x="371" y="76"/>
                  <a:pt x="371" y="76"/>
                </a:cubicBezTo>
                <a:cubicBezTo>
                  <a:pt x="371" y="76"/>
                  <a:pt x="371" y="76"/>
                  <a:pt x="372" y="76"/>
                </a:cubicBezTo>
                <a:close/>
                <a:moveTo>
                  <a:pt x="363" y="95"/>
                </a:moveTo>
                <a:cubicBezTo>
                  <a:pt x="362" y="96"/>
                  <a:pt x="361" y="94"/>
                  <a:pt x="363" y="95"/>
                </a:cubicBezTo>
                <a:close/>
                <a:moveTo>
                  <a:pt x="362" y="110"/>
                </a:moveTo>
                <a:cubicBezTo>
                  <a:pt x="362" y="112"/>
                  <a:pt x="358" y="112"/>
                  <a:pt x="357" y="111"/>
                </a:cubicBezTo>
                <a:cubicBezTo>
                  <a:pt x="357" y="111"/>
                  <a:pt x="357" y="111"/>
                  <a:pt x="356" y="110"/>
                </a:cubicBezTo>
                <a:cubicBezTo>
                  <a:pt x="357" y="111"/>
                  <a:pt x="355" y="112"/>
                  <a:pt x="355" y="111"/>
                </a:cubicBezTo>
                <a:cubicBezTo>
                  <a:pt x="354" y="110"/>
                  <a:pt x="363" y="106"/>
                  <a:pt x="362" y="110"/>
                </a:cubicBezTo>
                <a:close/>
                <a:moveTo>
                  <a:pt x="357" y="127"/>
                </a:moveTo>
                <a:cubicBezTo>
                  <a:pt x="362" y="124"/>
                  <a:pt x="368" y="124"/>
                  <a:pt x="374" y="121"/>
                </a:cubicBezTo>
                <a:cubicBezTo>
                  <a:pt x="379" y="119"/>
                  <a:pt x="384" y="116"/>
                  <a:pt x="389" y="116"/>
                </a:cubicBezTo>
                <a:cubicBezTo>
                  <a:pt x="389" y="116"/>
                  <a:pt x="390" y="117"/>
                  <a:pt x="390" y="117"/>
                </a:cubicBezTo>
                <a:cubicBezTo>
                  <a:pt x="390" y="118"/>
                  <a:pt x="381" y="121"/>
                  <a:pt x="378" y="122"/>
                </a:cubicBezTo>
                <a:cubicBezTo>
                  <a:pt x="373" y="123"/>
                  <a:pt x="369" y="124"/>
                  <a:pt x="364" y="125"/>
                </a:cubicBezTo>
                <a:cubicBezTo>
                  <a:pt x="363" y="126"/>
                  <a:pt x="357" y="129"/>
                  <a:pt x="355" y="129"/>
                </a:cubicBezTo>
                <a:cubicBezTo>
                  <a:pt x="352" y="129"/>
                  <a:pt x="356" y="127"/>
                  <a:pt x="357" y="127"/>
                </a:cubicBezTo>
                <a:close/>
                <a:moveTo>
                  <a:pt x="357" y="587"/>
                </a:moveTo>
                <a:cubicBezTo>
                  <a:pt x="365" y="583"/>
                  <a:pt x="375" y="580"/>
                  <a:pt x="384" y="576"/>
                </a:cubicBezTo>
                <a:cubicBezTo>
                  <a:pt x="385" y="576"/>
                  <a:pt x="387" y="575"/>
                  <a:pt x="387" y="576"/>
                </a:cubicBezTo>
                <a:cubicBezTo>
                  <a:pt x="388" y="577"/>
                  <a:pt x="384" y="578"/>
                  <a:pt x="386" y="577"/>
                </a:cubicBezTo>
                <a:cubicBezTo>
                  <a:pt x="377" y="581"/>
                  <a:pt x="366" y="585"/>
                  <a:pt x="357" y="587"/>
                </a:cubicBezTo>
                <a:close/>
                <a:moveTo>
                  <a:pt x="376" y="609"/>
                </a:moveTo>
                <a:cubicBezTo>
                  <a:pt x="376" y="610"/>
                  <a:pt x="374" y="610"/>
                  <a:pt x="374" y="610"/>
                </a:cubicBezTo>
                <a:cubicBezTo>
                  <a:pt x="373" y="609"/>
                  <a:pt x="376" y="608"/>
                  <a:pt x="376" y="609"/>
                </a:cubicBezTo>
                <a:close/>
                <a:moveTo>
                  <a:pt x="374" y="600"/>
                </a:moveTo>
                <a:cubicBezTo>
                  <a:pt x="373" y="599"/>
                  <a:pt x="375" y="599"/>
                  <a:pt x="375" y="600"/>
                </a:cubicBezTo>
                <a:cubicBezTo>
                  <a:pt x="375" y="601"/>
                  <a:pt x="374" y="600"/>
                  <a:pt x="374" y="600"/>
                </a:cubicBezTo>
                <a:close/>
                <a:moveTo>
                  <a:pt x="372" y="610"/>
                </a:moveTo>
                <a:cubicBezTo>
                  <a:pt x="371" y="610"/>
                  <a:pt x="373" y="609"/>
                  <a:pt x="373" y="610"/>
                </a:cubicBezTo>
                <a:cubicBezTo>
                  <a:pt x="373" y="610"/>
                  <a:pt x="373" y="611"/>
                  <a:pt x="372" y="610"/>
                </a:cubicBezTo>
                <a:close/>
                <a:moveTo>
                  <a:pt x="364" y="137"/>
                </a:moveTo>
                <a:cubicBezTo>
                  <a:pt x="364" y="138"/>
                  <a:pt x="364" y="137"/>
                  <a:pt x="363" y="138"/>
                </a:cubicBezTo>
                <a:cubicBezTo>
                  <a:pt x="363" y="137"/>
                  <a:pt x="364" y="137"/>
                  <a:pt x="364" y="137"/>
                </a:cubicBezTo>
                <a:close/>
                <a:moveTo>
                  <a:pt x="376" y="167"/>
                </a:moveTo>
                <a:cubicBezTo>
                  <a:pt x="377" y="168"/>
                  <a:pt x="373" y="170"/>
                  <a:pt x="371" y="170"/>
                </a:cubicBezTo>
                <a:cubicBezTo>
                  <a:pt x="371" y="170"/>
                  <a:pt x="368" y="169"/>
                  <a:pt x="367" y="169"/>
                </a:cubicBezTo>
                <a:cubicBezTo>
                  <a:pt x="367" y="168"/>
                  <a:pt x="371" y="165"/>
                  <a:pt x="373" y="168"/>
                </a:cubicBezTo>
                <a:cubicBezTo>
                  <a:pt x="373" y="168"/>
                  <a:pt x="373" y="169"/>
                  <a:pt x="373" y="169"/>
                </a:cubicBezTo>
                <a:cubicBezTo>
                  <a:pt x="374" y="169"/>
                  <a:pt x="375" y="168"/>
                  <a:pt x="376" y="167"/>
                </a:cubicBezTo>
                <a:close/>
                <a:moveTo>
                  <a:pt x="369" y="576"/>
                </a:moveTo>
                <a:cubicBezTo>
                  <a:pt x="369" y="574"/>
                  <a:pt x="371" y="574"/>
                  <a:pt x="369" y="576"/>
                </a:cubicBezTo>
                <a:close/>
                <a:moveTo>
                  <a:pt x="368" y="211"/>
                </a:moveTo>
                <a:cubicBezTo>
                  <a:pt x="367" y="211"/>
                  <a:pt x="368" y="209"/>
                  <a:pt x="369" y="210"/>
                </a:cubicBezTo>
                <a:cubicBezTo>
                  <a:pt x="369" y="210"/>
                  <a:pt x="368" y="211"/>
                  <a:pt x="368" y="211"/>
                </a:cubicBezTo>
                <a:close/>
                <a:moveTo>
                  <a:pt x="368" y="576"/>
                </a:moveTo>
                <a:cubicBezTo>
                  <a:pt x="370" y="575"/>
                  <a:pt x="366" y="578"/>
                  <a:pt x="368" y="576"/>
                </a:cubicBezTo>
                <a:close/>
                <a:moveTo>
                  <a:pt x="379" y="184"/>
                </a:moveTo>
                <a:cubicBezTo>
                  <a:pt x="379" y="183"/>
                  <a:pt x="380" y="182"/>
                  <a:pt x="380" y="183"/>
                </a:cubicBezTo>
                <a:cubicBezTo>
                  <a:pt x="380" y="184"/>
                  <a:pt x="379" y="184"/>
                  <a:pt x="379" y="184"/>
                </a:cubicBezTo>
                <a:close/>
                <a:moveTo>
                  <a:pt x="356" y="609"/>
                </a:moveTo>
                <a:cubicBezTo>
                  <a:pt x="355" y="611"/>
                  <a:pt x="353" y="609"/>
                  <a:pt x="356" y="609"/>
                </a:cubicBezTo>
                <a:close/>
                <a:moveTo>
                  <a:pt x="354" y="556"/>
                </a:moveTo>
                <a:cubicBezTo>
                  <a:pt x="353" y="557"/>
                  <a:pt x="352" y="555"/>
                  <a:pt x="354" y="556"/>
                </a:cubicBezTo>
                <a:close/>
                <a:moveTo>
                  <a:pt x="352" y="532"/>
                </a:moveTo>
                <a:cubicBezTo>
                  <a:pt x="354" y="530"/>
                  <a:pt x="354" y="533"/>
                  <a:pt x="352" y="532"/>
                </a:cubicBezTo>
                <a:close/>
                <a:moveTo>
                  <a:pt x="354" y="674"/>
                </a:moveTo>
                <a:cubicBezTo>
                  <a:pt x="354" y="673"/>
                  <a:pt x="355" y="673"/>
                  <a:pt x="355" y="673"/>
                </a:cubicBezTo>
                <a:cubicBezTo>
                  <a:pt x="355" y="674"/>
                  <a:pt x="354" y="674"/>
                  <a:pt x="354" y="674"/>
                </a:cubicBezTo>
                <a:close/>
                <a:moveTo>
                  <a:pt x="357" y="697"/>
                </a:moveTo>
                <a:cubicBezTo>
                  <a:pt x="357" y="696"/>
                  <a:pt x="359" y="695"/>
                  <a:pt x="359" y="696"/>
                </a:cubicBezTo>
                <a:cubicBezTo>
                  <a:pt x="359" y="697"/>
                  <a:pt x="357" y="698"/>
                  <a:pt x="357" y="697"/>
                </a:cubicBezTo>
                <a:close/>
                <a:moveTo>
                  <a:pt x="357" y="671"/>
                </a:moveTo>
                <a:cubicBezTo>
                  <a:pt x="358" y="671"/>
                  <a:pt x="358" y="671"/>
                  <a:pt x="358" y="672"/>
                </a:cubicBezTo>
                <a:cubicBezTo>
                  <a:pt x="358" y="673"/>
                  <a:pt x="356" y="671"/>
                  <a:pt x="357" y="671"/>
                </a:cubicBezTo>
                <a:close/>
                <a:moveTo>
                  <a:pt x="360" y="643"/>
                </a:moveTo>
                <a:cubicBezTo>
                  <a:pt x="360" y="642"/>
                  <a:pt x="362" y="643"/>
                  <a:pt x="360" y="643"/>
                </a:cubicBezTo>
                <a:close/>
                <a:moveTo>
                  <a:pt x="360" y="630"/>
                </a:moveTo>
                <a:cubicBezTo>
                  <a:pt x="358" y="633"/>
                  <a:pt x="350" y="631"/>
                  <a:pt x="351" y="627"/>
                </a:cubicBezTo>
                <a:cubicBezTo>
                  <a:pt x="352" y="621"/>
                  <a:pt x="365" y="624"/>
                  <a:pt x="360" y="630"/>
                </a:cubicBezTo>
                <a:close/>
                <a:moveTo>
                  <a:pt x="371" y="611"/>
                </a:moveTo>
                <a:cubicBezTo>
                  <a:pt x="368" y="612"/>
                  <a:pt x="365" y="612"/>
                  <a:pt x="362" y="613"/>
                </a:cubicBezTo>
                <a:cubicBezTo>
                  <a:pt x="364" y="612"/>
                  <a:pt x="368" y="611"/>
                  <a:pt x="371" y="611"/>
                </a:cubicBezTo>
                <a:close/>
                <a:moveTo>
                  <a:pt x="363" y="671"/>
                </a:moveTo>
                <a:cubicBezTo>
                  <a:pt x="363" y="671"/>
                  <a:pt x="364" y="671"/>
                  <a:pt x="365" y="671"/>
                </a:cubicBezTo>
                <a:cubicBezTo>
                  <a:pt x="364" y="672"/>
                  <a:pt x="363" y="672"/>
                  <a:pt x="363" y="671"/>
                </a:cubicBezTo>
                <a:close/>
                <a:moveTo>
                  <a:pt x="364" y="691"/>
                </a:moveTo>
                <a:cubicBezTo>
                  <a:pt x="364" y="690"/>
                  <a:pt x="365" y="691"/>
                  <a:pt x="365" y="691"/>
                </a:cubicBezTo>
                <a:cubicBezTo>
                  <a:pt x="366" y="691"/>
                  <a:pt x="364" y="691"/>
                  <a:pt x="364" y="691"/>
                </a:cubicBezTo>
                <a:close/>
                <a:moveTo>
                  <a:pt x="365" y="647"/>
                </a:moveTo>
                <a:cubicBezTo>
                  <a:pt x="365" y="646"/>
                  <a:pt x="366" y="646"/>
                  <a:pt x="366" y="646"/>
                </a:cubicBezTo>
                <a:cubicBezTo>
                  <a:pt x="367" y="647"/>
                  <a:pt x="365" y="647"/>
                  <a:pt x="365" y="647"/>
                </a:cubicBezTo>
                <a:close/>
                <a:moveTo>
                  <a:pt x="370" y="666"/>
                </a:moveTo>
                <a:cubicBezTo>
                  <a:pt x="370" y="664"/>
                  <a:pt x="373" y="665"/>
                  <a:pt x="372" y="666"/>
                </a:cubicBezTo>
                <a:cubicBezTo>
                  <a:pt x="372" y="667"/>
                  <a:pt x="370" y="667"/>
                  <a:pt x="370" y="666"/>
                </a:cubicBezTo>
                <a:close/>
                <a:moveTo>
                  <a:pt x="371" y="691"/>
                </a:moveTo>
                <a:cubicBezTo>
                  <a:pt x="372" y="690"/>
                  <a:pt x="373" y="691"/>
                  <a:pt x="374" y="691"/>
                </a:cubicBezTo>
                <a:cubicBezTo>
                  <a:pt x="374" y="692"/>
                  <a:pt x="372" y="691"/>
                  <a:pt x="371" y="691"/>
                </a:cubicBezTo>
                <a:close/>
                <a:moveTo>
                  <a:pt x="379" y="659"/>
                </a:moveTo>
                <a:cubicBezTo>
                  <a:pt x="379" y="658"/>
                  <a:pt x="377" y="660"/>
                  <a:pt x="377" y="658"/>
                </a:cubicBezTo>
                <a:cubicBezTo>
                  <a:pt x="376" y="657"/>
                  <a:pt x="380" y="657"/>
                  <a:pt x="379" y="659"/>
                </a:cubicBezTo>
                <a:close/>
                <a:moveTo>
                  <a:pt x="381" y="691"/>
                </a:moveTo>
                <a:cubicBezTo>
                  <a:pt x="380" y="691"/>
                  <a:pt x="382" y="690"/>
                  <a:pt x="383" y="691"/>
                </a:cubicBezTo>
                <a:cubicBezTo>
                  <a:pt x="382" y="691"/>
                  <a:pt x="381" y="691"/>
                  <a:pt x="381" y="691"/>
                </a:cubicBezTo>
                <a:close/>
                <a:moveTo>
                  <a:pt x="382" y="658"/>
                </a:moveTo>
                <a:cubicBezTo>
                  <a:pt x="380" y="659"/>
                  <a:pt x="379" y="657"/>
                  <a:pt x="382" y="658"/>
                </a:cubicBezTo>
                <a:close/>
                <a:moveTo>
                  <a:pt x="383" y="691"/>
                </a:moveTo>
                <a:cubicBezTo>
                  <a:pt x="384" y="691"/>
                  <a:pt x="385" y="691"/>
                  <a:pt x="386" y="691"/>
                </a:cubicBezTo>
                <a:cubicBezTo>
                  <a:pt x="386" y="691"/>
                  <a:pt x="384" y="691"/>
                  <a:pt x="383" y="691"/>
                </a:cubicBezTo>
                <a:close/>
                <a:moveTo>
                  <a:pt x="387" y="696"/>
                </a:move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lose/>
                <a:moveTo>
                  <a:pt x="384" y="662"/>
                </a:moveTo>
                <a:cubicBezTo>
                  <a:pt x="384" y="660"/>
                  <a:pt x="388" y="661"/>
                  <a:pt x="388" y="662"/>
                </a:cubicBezTo>
                <a:cubicBezTo>
                  <a:pt x="388" y="663"/>
                  <a:pt x="385" y="664"/>
                  <a:pt x="384" y="662"/>
                </a:cubicBezTo>
                <a:close/>
                <a:moveTo>
                  <a:pt x="398" y="679"/>
                </a:moveTo>
                <a:cubicBezTo>
                  <a:pt x="400" y="678"/>
                  <a:pt x="400" y="680"/>
                  <a:pt x="398" y="679"/>
                </a:cubicBezTo>
                <a:close/>
                <a:moveTo>
                  <a:pt x="401" y="664"/>
                </a:moveTo>
                <a:cubicBezTo>
                  <a:pt x="402" y="662"/>
                  <a:pt x="405" y="663"/>
                  <a:pt x="406" y="663"/>
                </a:cubicBezTo>
                <a:cubicBezTo>
                  <a:pt x="406" y="663"/>
                  <a:pt x="407" y="664"/>
                  <a:pt x="407" y="664"/>
                </a:cubicBezTo>
                <a:cubicBezTo>
                  <a:pt x="406" y="664"/>
                  <a:pt x="408" y="663"/>
                  <a:pt x="409" y="664"/>
                </a:cubicBezTo>
                <a:cubicBezTo>
                  <a:pt x="409" y="665"/>
                  <a:pt x="400" y="667"/>
                  <a:pt x="401" y="664"/>
                </a:cubicBezTo>
                <a:close/>
                <a:moveTo>
                  <a:pt x="411" y="704"/>
                </a:moveTo>
                <a:cubicBezTo>
                  <a:pt x="410" y="704"/>
                  <a:pt x="411" y="704"/>
                  <a:pt x="411" y="704"/>
                </a:cubicBezTo>
                <a:cubicBezTo>
                  <a:pt x="411" y="704"/>
                  <a:pt x="411" y="704"/>
                  <a:pt x="411" y="704"/>
                </a:cubicBezTo>
                <a:close/>
                <a:moveTo>
                  <a:pt x="409" y="648"/>
                </a:moveTo>
                <a:cubicBezTo>
                  <a:pt x="403" y="650"/>
                  <a:pt x="397" y="649"/>
                  <a:pt x="391" y="651"/>
                </a:cubicBezTo>
                <a:cubicBezTo>
                  <a:pt x="386" y="652"/>
                  <a:pt x="381" y="655"/>
                  <a:pt x="376" y="654"/>
                </a:cubicBezTo>
                <a:cubicBezTo>
                  <a:pt x="375" y="654"/>
                  <a:pt x="375" y="653"/>
                  <a:pt x="375" y="653"/>
                </a:cubicBezTo>
                <a:cubicBezTo>
                  <a:pt x="374" y="652"/>
                  <a:pt x="384" y="650"/>
                  <a:pt x="387" y="650"/>
                </a:cubicBezTo>
                <a:cubicBezTo>
                  <a:pt x="393" y="649"/>
                  <a:pt x="396" y="649"/>
                  <a:pt x="401" y="648"/>
                </a:cubicBezTo>
                <a:cubicBezTo>
                  <a:pt x="403" y="648"/>
                  <a:pt x="408" y="646"/>
                  <a:pt x="410" y="646"/>
                </a:cubicBezTo>
                <a:cubicBezTo>
                  <a:pt x="413" y="647"/>
                  <a:pt x="409" y="648"/>
                  <a:pt x="409" y="648"/>
                </a:cubicBezTo>
                <a:close/>
                <a:moveTo>
                  <a:pt x="394" y="589"/>
                </a:moveTo>
                <a:cubicBezTo>
                  <a:pt x="394" y="588"/>
                  <a:pt x="395" y="588"/>
                  <a:pt x="395" y="589"/>
                </a:cubicBezTo>
                <a:cubicBezTo>
                  <a:pt x="395" y="589"/>
                  <a:pt x="394" y="590"/>
                  <a:pt x="394" y="589"/>
                </a:cubicBezTo>
                <a:close/>
                <a:moveTo>
                  <a:pt x="398" y="605"/>
                </a:moveTo>
                <a:cubicBezTo>
                  <a:pt x="398" y="605"/>
                  <a:pt x="399" y="604"/>
                  <a:pt x="399" y="604"/>
                </a:cubicBezTo>
                <a:cubicBezTo>
                  <a:pt x="398" y="604"/>
                  <a:pt x="396" y="605"/>
                  <a:pt x="395" y="605"/>
                </a:cubicBezTo>
                <a:cubicBezTo>
                  <a:pt x="395" y="605"/>
                  <a:pt x="399" y="603"/>
                  <a:pt x="400" y="603"/>
                </a:cubicBezTo>
                <a:cubicBezTo>
                  <a:pt x="401" y="603"/>
                  <a:pt x="404" y="605"/>
                  <a:pt x="404" y="605"/>
                </a:cubicBezTo>
                <a:cubicBezTo>
                  <a:pt x="404" y="606"/>
                  <a:pt x="400" y="608"/>
                  <a:pt x="398" y="605"/>
                </a:cubicBezTo>
                <a:close/>
                <a:moveTo>
                  <a:pt x="403" y="636"/>
                </a:moveTo>
                <a:cubicBezTo>
                  <a:pt x="403" y="636"/>
                  <a:pt x="404" y="637"/>
                  <a:pt x="404" y="636"/>
                </a:cubicBezTo>
                <a:cubicBezTo>
                  <a:pt x="404" y="637"/>
                  <a:pt x="403" y="637"/>
                  <a:pt x="403" y="636"/>
                </a:cubicBezTo>
                <a:close/>
                <a:moveTo>
                  <a:pt x="406" y="193"/>
                </a:moveTo>
                <a:cubicBezTo>
                  <a:pt x="406" y="195"/>
                  <a:pt x="404" y="195"/>
                  <a:pt x="406" y="193"/>
                </a:cubicBezTo>
                <a:close/>
                <a:moveTo>
                  <a:pt x="407" y="192"/>
                </a:moveTo>
                <a:cubicBezTo>
                  <a:pt x="406" y="194"/>
                  <a:pt x="409" y="190"/>
                  <a:pt x="407" y="192"/>
                </a:cubicBezTo>
                <a:close/>
                <a:moveTo>
                  <a:pt x="410" y="563"/>
                </a:moveTo>
                <a:cubicBezTo>
                  <a:pt x="410" y="564"/>
                  <a:pt x="410" y="565"/>
                  <a:pt x="409" y="564"/>
                </a:cubicBezTo>
                <a:cubicBezTo>
                  <a:pt x="408" y="564"/>
                  <a:pt x="409" y="563"/>
                  <a:pt x="410" y="563"/>
                </a:cubicBezTo>
                <a:close/>
                <a:moveTo>
                  <a:pt x="412" y="687"/>
                </a:moveTo>
                <a:cubicBezTo>
                  <a:pt x="414" y="686"/>
                  <a:pt x="414" y="687"/>
                  <a:pt x="412" y="687"/>
                </a:cubicBezTo>
                <a:close/>
                <a:moveTo>
                  <a:pt x="391" y="194"/>
                </a:moveTo>
                <a:cubicBezTo>
                  <a:pt x="391" y="194"/>
                  <a:pt x="389" y="196"/>
                  <a:pt x="388" y="195"/>
                </a:cubicBezTo>
                <a:cubicBezTo>
                  <a:pt x="388" y="194"/>
                  <a:pt x="391" y="193"/>
                  <a:pt x="390" y="194"/>
                </a:cubicBezTo>
                <a:cubicBezTo>
                  <a:pt x="398" y="189"/>
                  <a:pt x="408" y="183"/>
                  <a:pt x="417" y="179"/>
                </a:cubicBezTo>
                <a:cubicBezTo>
                  <a:pt x="409" y="185"/>
                  <a:pt x="400" y="189"/>
                  <a:pt x="391" y="194"/>
                </a:cubicBezTo>
                <a:close/>
                <a:moveTo>
                  <a:pt x="414" y="158"/>
                </a:moveTo>
                <a:cubicBezTo>
                  <a:pt x="415" y="156"/>
                  <a:pt x="417" y="157"/>
                  <a:pt x="414" y="158"/>
                </a:cubicBezTo>
                <a:close/>
                <a:moveTo>
                  <a:pt x="407" y="137"/>
                </a:moveTo>
                <a:cubicBezTo>
                  <a:pt x="409" y="134"/>
                  <a:pt x="417" y="135"/>
                  <a:pt x="417" y="139"/>
                </a:cubicBezTo>
                <a:cubicBezTo>
                  <a:pt x="417" y="145"/>
                  <a:pt x="403" y="144"/>
                  <a:pt x="407" y="137"/>
                </a:cubicBezTo>
                <a:close/>
                <a:moveTo>
                  <a:pt x="418" y="140"/>
                </a:moveTo>
                <a:cubicBezTo>
                  <a:pt x="418" y="139"/>
                  <a:pt x="419" y="142"/>
                  <a:pt x="418" y="140"/>
                </a:cubicBezTo>
                <a:close/>
                <a:moveTo>
                  <a:pt x="420" y="672"/>
                </a:moveTo>
                <a:cubicBezTo>
                  <a:pt x="419" y="672"/>
                  <a:pt x="418" y="672"/>
                  <a:pt x="418" y="672"/>
                </a:cubicBezTo>
                <a:cubicBezTo>
                  <a:pt x="418" y="671"/>
                  <a:pt x="432" y="670"/>
                  <a:pt x="435" y="670"/>
                </a:cubicBezTo>
                <a:cubicBezTo>
                  <a:pt x="437" y="671"/>
                  <a:pt x="433" y="672"/>
                  <a:pt x="432" y="672"/>
                </a:cubicBezTo>
                <a:cubicBezTo>
                  <a:pt x="428" y="672"/>
                  <a:pt x="423" y="673"/>
                  <a:pt x="420" y="672"/>
                </a:cubicBezTo>
                <a:close/>
                <a:moveTo>
                  <a:pt x="425" y="681"/>
                </a:moveTo>
                <a:cubicBezTo>
                  <a:pt x="425" y="681"/>
                  <a:pt x="425" y="680"/>
                  <a:pt x="425" y="680"/>
                </a:cubicBezTo>
                <a:cubicBezTo>
                  <a:pt x="425" y="680"/>
                  <a:pt x="425" y="680"/>
                  <a:pt x="425" y="681"/>
                </a:cubicBezTo>
                <a:cubicBezTo>
                  <a:pt x="425" y="681"/>
                  <a:pt x="425" y="681"/>
                  <a:pt x="425" y="681"/>
                </a:cubicBezTo>
                <a:cubicBezTo>
                  <a:pt x="426" y="681"/>
                  <a:pt x="426" y="681"/>
                  <a:pt x="425" y="681"/>
                </a:cubicBezTo>
                <a:close/>
                <a:moveTo>
                  <a:pt x="429" y="674"/>
                </a:moveTo>
                <a:cubicBezTo>
                  <a:pt x="429" y="674"/>
                  <a:pt x="426" y="674"/>
                  <a:pt x="428" y="673"/>
                </a:cubicBezTo>
                <a:cubicBezTo>
                  <a:pt x="431" y="672"/>
                  <a:pt x="437" y="672"/>
                  <a:pt x="441" y="672"/>
                </a:cubicBezTo>
                <a:cubicBezTo>
                  <a:pt x="438" y="673"/>
                  <a:pt x="433" y="674"/>
                  <a:pt x="429" y="674"/>
                </a:cubicBezTo>
                <a:close/>
                <a:moveTo>
                  <a:pt x="442" y="672"/>
                </a:moveTo>
                <a:cubicBezTo>
                  <a:pt x="444" y="671"/>
                  <a:pt x="448" y="669"/>
                  <a:pt x="452" y="670"/>
                </a:cubicBezTo>
                <a:cubicBezTo>
                  <a:pt x="449" y="671"/>
                  <a:pt x="445" y="671"/>
                  <a:pt x="442" y="672"/>
                </a:cubicBezTo>
                <a:close/>
                <a:moveTo>
                  <a:pt x="449" y="142"/>
                </a:moveTo>
                <a:cubicBezTo>
                  <a:pt x="450" y="141"/>
                  <a:pt x="450" y="141"/>
                  <a:pt x="451" y="142"/>
                </a:cubicBezTo>
                <a:cubicBezTo>
                  <a:pt x="451" y="142"/>
                  <a:pt x="450" y="142"/>
                  <a:pt x="449" y="142"/>
                </a:cubicBezTo>
                <a:close/>
                <a:moveTo>
                  <a:pt x="451" y="148"/>
                </a:moveTo>
                <a:cubicBezTo>
                  <a:pt x="452" y="149"/>
                  <a:pt x="450" y="147"/>
                  <a:pt x="451" y="148"/>
                </a:cubicBezTo>
                <a:close/>
                <a:moveTo>
                  <a:pt x="446" y="79"/>
                </a:moveTo>
                <a:cubicBezTo>
                  <a:pt x="448" y="77"/>
                  <a:pt x="450" y="78"/>
                  <a:pt x="452" y="77"/>
                </a:cubicBezTo>
                <a:cubicBezTo>
                  <a:pt x="451" y="78"/>
                  <a:pt x="448" y="79"/>
                  <a:pt x="446" y="79"/>
                </a:cubicBezTo>
                <a:close/>
                <a:moveTo>
                  <a:pt x="454" y="644"/>
                </a:moveTo>
                <a:cubicBezTo>
                  <a:pt x="454" y="644"/>
                  <a:pt x="454" y="644"/>
                  <a:pt x="454" y="644"/>
                </a:cubicBezTo>
                <a:cubicBezTo>
                  <a:pt x="455" y="642"/>
                  <a:pt x="455" y="647"/>
                  <a:pt x="454" y="644"/>
                </a:cubicBezTo>
                <a:close/>
                <a:moveTo>
                  <a:pt x="449" y="66"/>
                </a:moveTo>
                <a:cubicBezTo>
                  <a:pt x="449" y="66"/>
                  <a:pt x="448" y="65"/>
                  <a:pt x="448" y="65"/>
                </a:cubicBezTo>
                <a:cubicBezTo>
                  <a:pt x="448" y="64"/>
                  <a:pt x="451" y="62"/>
                  <a:pt x="453" y="61"/>
                </a:cubicBezTo>
                <a:cubicBezTo>
                  <a:pt x="451" y="61"/>
                  <a:pt x="450" y="62"/>
                  <a:pt x="448" y="62"/>
                </a:cubicBezTo>
                <a:cubicBezTo>
                  <a:pt x="444" y="62"/>
                  <a:pt x="452" y="60"/>
                  <a:pt x="453" y="60"/>
                </a:cubicBezTo>
                <a:cubicBezTo>
                  <a:pt x="458" y="59"/>
                  <a:pt x="462" y="58"/>
                  <a:pt x="466" y="57"/>
                </a:cubicBezTo>
                <a:cubicBezTo>
                  <a:pt x="468" y="57"/>
                  <a:pt x="475" y="56"/>
                  <a:pt x="475" y="57"/>
                </a:cubicBezTo>
                <a:cubicBezTo>
                  <a:pt x="476" y="58"/>
                  <a:pt x="468" y="59"/>
                  <a:pt x="465" y="59"/>
                </a:cubicBezTo>
                <a:cubicBezTo>
                  <a:pt x="461" y="60"/>
                  <a:pt x="459" y="60"/>
                  <a:pt x="456" y="61"/>
                </a:cubicBezTo>
                <a:cubicBezTo>
                  <a:pt x="458" y="61"/>
                  <a:pt x="461" y="62"/>
                  <a:pt x="460" y="64"/>
                </a:cubicBezTo>
                <a:cubicBezTo>
                  <a:pt x="460" y="69"/>
                  <a:pt x="453" y="68"/>
                  <a:pt x="449" y="66"/>
                </a:cubicBezTo>
                <a:close/>
                <a:moveTo>
                  <a:pt x="467" y="66"/>
                </a:moveTo>
                <a:cubicBezTo>
                  <a:pt x="468" y="65"/>
                  <a:pt x="470" y="62"/>
                  <a:pt x="471" y="63"/>
                </a:cubicBezTo>
                <a:cubicBezTo>
                  <a:pt x="473" y="65"/>
                  <a:pt x="469" y="66"/>
                  <a:pt x="467" y="66"/>
                </a:cubicBezTo>
                <a:close/>
                <a:moveTo>
                  <a:pt x="459" y="100"/>
                </a:moveTo>
                <a:cubicBezTo>
                  <a:pt x="458" y="100"/>
                  <a:pt x="458" y="99"/>
                  <a:pt x="459" y="98"/>
                </a:cubicBezTo>
                <a:cubicBezTo>
                  <a:pt x="461" y="96"/>
                  <a:pt x="462" y="100"/>
                  <a:pt x="459" y="100"/>
                </a:cubicBezTo>
                <a:close/>
                <a:moveTo>
                  <a:pt x="456" y="149"/>
                </a:moveTo>
                <a:cubicBezTo>
                  <a:pt x="456" y="149"/>
                  <a:pt x="460" y="145"/>
                  <a:pt x="461" y="146"/>
                </a:cubicBezTo>
                <a:cubicBezTo>
                  <a:pt x="463" y="148"/>
                  <a:pt x="457" y="150"/>
                  <a:pt x="456" y="149"/>
                </a:cubicBezTo>
                <a:close/>
                <a:moveTo>
                  <a:pt x="462" y="681"/>
                </a:moveTo>
                <a:cubicBezTo>
                  <a:pt x="464" y="680"/>
                  <a:pt x="464" y="682"/>
                  <a:pt x="462" y="681"/>
                </a:cubicBezTo>
                <a:close/>
                <a:moveTo>
                  <a:pt x="464" y="170"/>
                </a:moveTo>
                <a:cubicBezTo>
                  <a:pt x="463" y="171"/>
                  <a:pt x="461" y="171"/>
                  <a:pt x="460" y="171"/>
                </a:cubicBezTo>
                <a:cubicBezTo>
                  <a:pt x="459" y="172"/>
                  <a:pt x="459" y="172"/>
                  <a:pt x="458" y="172"/>
                </a:cubicBezTo>
                <a:cubicBezTo>
                  <a:pt x="459" y="172"/>
                  <a:pt x="459" y="172"/>
                  <a:pt x="460" y="171"/>
                </a:cubicBezTo>
                <a:cubicBezTo>
                  <a:pt x="462" y="170"/>
                  <a:pt x="464" y="168"/>
                  <a:pt x="465" y="168"/>
                </a:cubicBezTo>
                <a:cubicBezTo>
                  <a:pt x="468" y="167"/>
                  <a:pt x="464" y="170"/>
                  <a:pt x="464" y="170"/>
                </a:cubicBezTo>
                <a:close/>
                <a:moveTo>
                  <a:pt x="466" y="68"/>
                </a:moveTo>
                <a:cubicBezTo>
                  <a:pt x="466" y="68"/>
                  <a:pt x="466" y="68"/>
                  <a:pt x="466" y="68"/>
                </a:cubicBezTo>
                <a:cubicBezTo>
                  <a:pt x="467" y="70"/>
                  <a:pt x="464" y="67"/>
                  <a:pt x="466" y="68"/>
                </a:cubicBezTo>
                <a:close/>
                <a:moveTo>
                  <a:pt x="468" y="241"/>
                </a:moveTo>
                <a:cubicBezTo>
                  <a:pt x="468" y="243"/>
                  <a:pt x="465" y="242"/>
                  <a:pt x="468" y="241"/>
                </a:cubicBezTo>
                <a:close/>
                <a:moveTo>
                  <a:pt x="470" y="75"/>
                </a:moveTo>
                <a:cubicBezTo>
                  <a:pt x="470" y="75"/>
                  <a:pt x="470" y="76"/>
                  <a:pt x="470" y="77"/>
                </a:cubicBezTo>
                <a:cubicBezTo>
                  <a:pt x="471" y="77"/>
                  <a:pt x="472" y="75"/>
                  <a:pt x="472" y="75"/>
                </a:cubicBezTo>
                <a:cubicBezTo>
                  <a:pt x="472" y="74"/>
                  <a:pt x="471" y="74"/>
                  <a:pt x="471" y="73"/>
                </a:cubicBezTo>
                <a:cubicBezTo>
                  <a:pt x="471" y="74"/>
                  <a:pt x="470" y="73"/>
                  <a:pt x="471" y="73"/>
                </a:cubicBezTo>
                <a:cubicBezTo>
                  <a:pt x="472" y="72"/>
                  <a:pt x="473" y="73"/>
                  <a:pt x="473" y="73"/>
                </a:cubicBezTo>
                <a:cubicBezTo>
                  <a:pt x="474" y="72"/>
                  <a:pt x="475" y="72"/>
                  <a:pt x="476" y="72"/>
                </a:cubicBezTo>
                <a:cubicBezTo>
                  <a:pt x="477" y="72"/>
                  <a:pt x="481" y="75"/>
                  <a:pt x="478" y="76"/>
                </a:cubicBezTo>
                <a:cubicBezTo>
                  <a:pt x="476" y="77"/>
                  <a:pt x="471" y="78"/>
                  <a:pt x="469" y="77"/>
                </a:cubicBezTo>
                <a:cubicBezTo>
                  <a:pt x="468" y="77"/>
                  <a:pt x="468" y="74"/>
                  <a:pt x="470" y="75"/>
                </a:cubicBezTo>
                <a:close/>
                <a:moveTo>
                  <a:pt x="478" y="117"/>
                </a:moveTo>
                <a:cubicBezTo>
                  <a:pt x="479" y="118"/>
                  <a:pt x="477" y="118"/>
                  <a:pt x="476" y="118"/>
                </a:cubicBezTo>
                <a:cubicBezTo>
                  <a:pt x="476" y="117"/>
                  <a:pt x="478" y="117"/>
                  <a:pt x="478" y="117"/>
                </a:cubicBezTo>
                <a:close/>
                <a:moveTo>
                  <a:pt x="478" y="100"/>
                </a:move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lose/>
                <a:moveTo>
                  <a:pt x="478" y="100"/>
                </a:moveTo>
                <a:cubicBezTo>
                  <a:pt x="479" y="100"/>
                  <a:pt x="478" y="100"/>
                  <a:pt x="478" y="100"/>
                </a:cubicBezTo>
                <a:close/>
                <a:moveTo>
                  <a:pt x="476" y="97"/>
                </a:moveTo>
                <a:cubicBezTo>
                  <a:pt x="475" y="96"/>
                  <a:pt x="478" y="96"/>
                  <a:pt x="478" y="96"/>
                </a:cubicBezTo>
                <a:cubicBezTo>
                  <a:pt x="479" y="96"/>
                  <a:pt x="476" y="97"/>
                  <a:pt x="476" y="97"/>
                </a:cubicBezTo>
                <a:close/>
                <a:moveTo>
                  <a:pt x="474" y="91"/>
                </a:moveTo>
                <a:cubicBezTo>
                  <a:pt x="474" y="90"/>
                  <a:pt x="475" y="90"/>
                  <a:pt x="476" y="90"/>
                </a:cubicBezTo>
                <a:cubicBezTo>
                  <a:pt x="477" y="92"/>
                  <a:pt x="474" y="92"/>
                  <a:pt x="474" y="91"/>
                </a:cubicBezTo>
                <a:close/>
                <a:moveTo>
                  <a:pt x="477" y="107"/>
                </a:moveTo>
                <a:cubicBezTo>
                  <a:pt x="477" y="109"/>
                  <a:pt x="474" y="111"/>
                  <a:pt x="473" y="109"/>
                </a:cubicBezTo>
                <a:cubicBezTo>
                  <a:pt x="469" y="106"/>
                  <a:pt x="477" y="104"/>
                  <a:pt x="477" y="107"/>
                </a:cubicBezTo>
                <a:close/>
                <a:moveTo>
                  <a:pt x="472" y="112"/>
                </a:moveTo>
                <a:cubicBezTo>
                  <a:pt x="475" y="114"/>
                  <a:pt x="468" y="116"/>
                  <a:pt x="470" y="113"/>
                </a:cubicBezTo>
                <a:cubicBezTo>
                  <a:pt x="471" y="112"/>
                  <a:pt x="472" y="112"/>
                  <a:pt x="472" y="112"/>
                </a:cubicBezTo>
                <a:close/>
                <a:moveTo>
                  <a:pt x="475" y="122"/>
                </a:moveTo>
                <a:cubicBezTo>
                  <a:pt x="474" y="122"/>
                  <a:pt x="473" y="123"/>
                  <a:pt x="472" y="123"/>
                </a:cubicBezTo>
                <a:cubicBezTo>
                  <a:pt x="472" y="123"/>
                  <a:pt x="473" y="121"/>
                  <a:pt x="475" y="122"/>
                </a:cubicBezTo>
                <a:close/>
                <a:moveTo>
                  <a:pt x="474" y="123"/>
                </a:moveTo>
                <a:cubicBezTo>
                  <a:pt x="474" y="123"/>
                  <a:pt x="475" y="123"/>
                  <a:pt x="475" y="124"/>
                </a:cubicBezTo>
                <a:cubicBezTo>
                  <a:pt x="475" y="124"/>
                  <a:pt x="474" y="124"/>
                  <a:pt x="474" y="123"/>
                </a:cubicBezTo>
                <a:close/>
                <a:moveTo>
                  <a:pt x="477" y="158"/>
                </a:moveTo>
                <a:cubicBezTo>
                  <a:pt x="477" y="158"/>
                  <a:pt x="476" y="159"/>
                  <a:pt x="475" y="159"/>
                </a:cubicBezTo>
                <a:cubicBezTo>
                  <a:pt x="475" y="159"/>
                  <a:pt x="476" y="158"/>
                  <a:pt x="477" y="158"/>
                </a:cubicBezTo>
                <a:close/>
                <a:moveTo>
                  <a:pt x="476" y="121"/>
                </a:moveTo>
                <a:cubicBezTo>
                  <a:pt x="477" y="121"/>
                  <a:pt x="478" y="119"/>
                  <a:pt x="479" y="120"/>
                </a:cubicBezTo>
                <a:cubicBezTo>
                  <a:pt x="478" y="121"/>
                  <a:pt x="477" y="121"/>
                  <a:pt x="476" y="121"/>
                </a:cubicBezTo>
                <a:close/>
                <a:moveTo>
                  <a:pt x="472" y="165"/>
                </a:moveTo>
                <a:cubicBezTo>
                  <a:pt x="472" y="166"/>
                  <a:pt x="470" y="167"/>
                  <a:pt x="469" y="168"/>
                </a:cubicBezTo>
                <a:cubicBezTo>
                  <a:pt x="469" y="166"/>
                  <a:pt x="471" y="166"/>
                  <a:pt x="472" y="165"/>
                </a:cubicBezTo>
                <a:close/>
                <a:moveTo>
                  <a:pt x="471" y="178"/>
                </a:moveTo>
                <a:cubicBezTo>
                  <a:pt x="471" y="175"/>
                  <a:pt x="476" y="174"/>
                  <a:pt x="477" y="177"/>
                </a:cubicBezTo>
                <a:cubicBezTo>
                  <a:pt x="477" y="181"/>
                  <a:pt x="471" y="180"/>
                  <a:pt x="471" y="178"/>
                </a:cubicBezTo>
                <a:close/>
                <a:moveTo>
                  <a:pt x="472" y="233"/>
                </a:moveTo>
                <a:cubicBezTo>
                  <a:pt x="472" y="232"/>
                  <a:pt x="475" y="230"/>
                  <a:pt x="475" y="232"/>
                </a:cubicBezTo>
                <a:cubicBezTo>
                  <a:pt x="476" y="234"/>
                  <a:pt x="473" y="234"/>
                  <a:pt x="472" y="233"/>
                </a:cubicBezTo>
                <a:close/>
                <a:moveTo>
                  <a:pt x="475" y="180"/>
                </a:moveTo>
                <a:cubicBezTo>
                  <a:pt x="475" y="180"/>
                  <a:pt x="476" y="179"/>
                  <a:pt x="477" y="180"/>
                </a:cubicBezTo>
                <a:cubicBezTo>
                  <a:pt x="478" y="181"/>
                  <a:pt x="475" y="181"/>
                  <a:pt x="475" y="180"/>
                </a:cubicBezTo>
                <a:close/>
                <a:moveTo>
                  <a:pt x="482" y="155"/>
                </a:moveTo>
                <a:cubicBezTo>
                  <a:pt x="482" y="156"/>
                  <a:pt x="480" y="157"/>
                  <a:pt x="479" y="157"/>
                </a:cubicBezTo>
                <a:cubicBezTo>
                  <a:pt x="479" y="156"/>
                  <a:pt x="481" y="156"/>
                  <a:pt x="482" y="155"/>
                </a:cubicBezTo>
                <a:close/>
                <a:moveTo>
                  <a:pt x="479" y="164"/>
                </a:moveTo>
                <a:cubicBezTo>
                  <a:pt x="479" y="162"/>
                  <a:pt x="481" y="163"/>
                  <a:pt x="479" y="164"/>
                </a:cubicBezTo>
                <a:close/>
                <a:moveTo>
                  <a:pt x="479" y="175"/>
                </a:moveTo>
                <a:cubicBezTo>
                  <a:pt x="478" y="174"/>
                  <a:pt x="480" y="173"/>
                  <a:pt x="480" y="174"/>
                </a:cubicBezTo>
                <a:cubicBezTo>
                  <a:pt x="480" y="175"/>
                  <a:pt x="480" y="175"/>
                  <a:pt x="479" y="175"/>
                </a:cubicBezTo>
                <a:close/>
                <a:moveTo>
                  <a:pt x="480" y="164"/>
                </a:moveTo>
                <a:cubicBezTo>
                  <a:pt x="480" y="163"/>
                  <a:pt x="484" y="161"/>
                  <a:pt x="484" y="164"/>
                </a:cubicBezTo>
                <a:cubicBezTo>
                  <a:pt x="484" y="166"/>
                  <a:pt x="480" y="166"/>
                  <a:pt x="480" y="164"/>
                </a:cubicBezTo>
                <a:close/>
                <a:moveTo>
                  <a:pt x="482" y="188"/>
                </a:moveTo>
                <a:cubicBezTo>
                  <a:pt x="482" y="187"/>
                  <a:pt x="483" y="187"/>
                  <a:pt x="484" y="187"/>
                </a:cubicBezTo>
                <a:cubicBezTo>
                  <a:pt x="484" y="187"/>
                  <a:pt x="482" y="189"/>
                  <a:pt x="482" y="188"/>
                </a:cubicBezTo>
                <a:close/>
                <a:moveTo>
                  <a:pt x="487" y="253"/>
                </a:moveTo>
                <a:cubicBezTo>
                  <a:pt x="487" y="255"/>
                  <a:pt x="485" y="254"/>
                  <a:pt x="487" y="253"/>
                </a:cubicBezTo>
                <a:close/>
                <a:moveTo>
                  <a:pt x="484" y="228"/>
                </a:moveTo>
                <a:cubicBezTo>
                  <a:pt x="482" y="226"/>
                  <a:pt x="488" y="223"/>
                  <a:pt x="488" y="227"/>
                </a:cubicBezTo>
                <a:cubicBezTo>
                  <a:pt x="488" y="228"/>
                  <a:pt x="485" y="230"/>
                  <a:pt x="484" y="228"/>
                </a:cubicBezTo>
                <a:close/>
                <a:moveTo>
                  <a:pt x="486" y="208"/>
                </a:moveTo>
                <a:cubicBezTo>
                  <a:pt x="486" y="207"/>
                  <a:pt x="488" y="206"/>
                  <a:pt x="488" y="207"/>
                </a:cubicBezTo>
                <a:cubicBezTo>
                  <a:pt x="488" y="208"/>
                  <a:pt x="487" y="209"/>
                  <a:pt x="486" y="208"/>
                </a:cubicBezTo>
                <a:close/>
                <a:moveTo>
                  <a:pt x="490" y="250"/>
                </a:moveTo>
                <a:cubicBezTo>
                  <a:pt x="490" y="248"/>
                  <a:pt x="492" y="246"/>
                  <a:pt x="493" y="245"/>
                </a:cubicBezTo>
                <a:cubicBezTo>
                  <a:pt x="493" y="246"/>
                  <a:pt x="491" y="248"/>
                  <a:pt x="490" y="250"/>
                </a:cubicBezTo>
                <a:close/>
                <a:moveTo>
                  <a:pt x="494" y="245"/>
                </a:moveTo>
                <a:cubicBezTo>
                  <a:pt x="494" y="244"/>
                  <a:pt x="495" y="243"/>
                  <a:pt x="495" y="243"/>
                </a:cubicBezTo>
                <a:cubicBezTo>
                  <a:pt x="496" y="243"/>
                  <a:pt x="494" y="245"/>
                  <a:pt x="494" y="245"/>
                </a:cubicBezTo>
                <a:close/>
                <a:moveTo>
                  <a:pt x="499" y="230"/>
                </a:moveTo>
                <a:cubicBezTo>
                  <a:pt x="499" y="229"/>
                  <a:pt x="501" y="229"/>
                  <a:pt x="501" y="229"/>
                </a:cubicBezTo>
                <a:cubicBezTo>
                  <a:pt x="502" y="229"/>
                  <a:pt x="500" y="230"/>
                  <a:pt x="499" y="230"/>
                </a:cubicBezTo>
                <a:close/>
                <a:moveTo>
                  <a:pt x="496" y="230"/>
                </a:moveTo>
                <a:cubicBezTo>
                  <a:pt x="496" y="230"/>
                  <a:pt x="491" y="233"/>
                  <a:pt x="492" y="231"/>
                </a:cubicBezTo>
                <a:cubicBezTo>
                  <a:pt x="492" y="230"/>
                  <a:pt x="497" y="229"/>
                  <a:pt x="497" y="229"/>
                </a:cubicBezTo>
                <a:cubicBezTo>
                  <a:pt x="500" y="228"/>
                  <a:pt x="503" y="225"/>
                  <a:pt x="506" y="225"/>
                </a:cubicBezTo>
                <a:cubicBezTo>
                  <a:pt x="505" y="228"/>
                  <a:pt x="498" y="229"/>
                  <a:pt x="496" y="230"/>
                </a:cubicBezTo>
                <a:close/>
                <a:moveTo>
                  <a:pt x="505" y="195"/>
                </a:moveTo>
                <a:cubicBezTo>
                  <a:pt x="505" y="194"/>
                  <a:pt x="507" y="192"/>
                  <a:pt x="508" y="193"/>
                </a:cubicBezTo>
                <a:cubicBezTo>
                  <a:pt x="508" y="194"/>
                  <a:pt x="506" y="196"/>
                  <a:pt x="505" y="195"/>
                </a:cubicBezTo>
                <a:close/>
                <a:moveTo>
                  <a:pt x="507" y="222"/>
                </a:moveTo>
                <a:cubicBezTo>
                  <a:pt x="507" y="222"/>
                  <a:pt x="508" y="222"/>
                  <a:pt x="508" y="222"/>
                </a:cubicBezTo>
                <a:cubicBezTo>
                  <a:pt x="510" y="223"/>
                  <a:pt x="504" y="225"/>
                  <a:pt x="507" y="222"/>
                </a:cubicBezTo>
                <a:close/>
                <a:moveTo>
                  <a:pt x="506" y="190"/>
                </a:moveTo>
                <a:cubicBezTo>
                  <a:pt x="506" y="189"/>
                  <a:pt x="507" y="188"/>
                  <a:pt x="509" y="188"/>
                </a:cubicBezTo>
                <a:cubicBezTo>
                  <a:pt x="508" y="189"/>
                  <a:pt x="507" y="190"/>
                  <a:pt x="506" y="190"/>
                </a:cubicBezTo>
                <a:close/>
                <a:moveTo>
                  <a:pt x="516" y="247"/>
                </a:moveTo>
                <a:cubicBezTo>
                  <a:pt x="514" y="248"/>
                  <a:pt x="511" y="250"/>
                  <a:pt x="509" y="250"/>
                </a:cubicBezTo>
                <a:cubicBezTo>
                  <a:pt x="510" y="249"/>
                  <a:pt x="514" y="248"/>
                  <a:pt x="516" y="247"/>
                </a:cubicBezTo>
                <a:close/>
                <a:moveTo>
                  <a:pt x="512" y="258"/>
                </a:moveTo>
                <a:cubicBezTo>
                  <a:pt x="512" y="255"/>
                  <a:pt x="516" y="256"/>
                  <a:pt x="516" y="257"/>
                </a:cubicBezTo>
                <a:cubicBezTo>
                  <a:pt x="517" y="258"/>
                  <a:pt x="512" y="260"/>
                  <a:pt x="512" y="258"/>
                </a:cubicBezTo>
                <a:close/>
                <a:moveTo>
                  <a:pt x="517" y="268"/>
                </a:moveTo>
                <a:cubicBezTo>
                  <a:pt x="516" y="269"/>
                  <a:pt x="517" y="268"/>
                  <a:pt x="517" y="268"/>
                </a:cubicBezTo>
                <a:cubicBezTo>
                  <a:pt x="517" y="268"/>
                  <a:pt x="517" y="268"/>
                  <a:pt x="517" y="268"/>
                </a:cubicBezTo>
                <a:close/>
                <a:moveTo>
                  <a:pt x="517" y="247"/>
                </a:moveTo>
                <a:cubicBezTo>
                  <a:pt x="517" y="247"/>
                  <a:pt x="517" y="247"/>
                  <a:pt x="517" y="247"/>
                </a:cubicBezTo>
                <a:cubicBezTo>
                  <a:pt x="518" y="247"/>
                  <a:pt x="517" y="247"/>
                  <a:pt x="517" y="247"/>
                </a:cubicBezTo>
                <a:close/>
                <a:moveTo>
                  <a:pt x="518" y="154"/>
                </a:moveTo>
                <a:cubicBezTo>
                  <a:pt x="517" y="151"/>
                  <a:pt x="524" y="153"/>
                  <a:pt x="524" y="154"/>
                </a:cubicBezTo>
                <a:cubicBezTo>
                  <a:pt x="524" y="154"/>
                  <a:pt x="523" y="155"/>
                  <a:pt x="523" y="155"/>
                </a:cubicBezTo>
                <a:cubicBezTo>
                  <a:pt x="523" y="156"/>
                  <a:pt x="522" y="158"/>
                  <a:pt x="521" y="156"/>
                </a:cubicBezTo>
                <a:cubicBezTo>
                  <a:pt x="521" y="156"/>
                  <a:pt x="521" y="155"/>
                  <a:pt x="521" y="155"/>
                </a:cubicBezTo>
                <a:cubicBezTo>
                  <a:pt x="520" y="155"/>
                  <a:pt x="518" y="155"/>
                  <a:pt x="518" y="154"/>
                </a:cubicBezTo>
                <a:close/>
                <a:moveTo>
                  <a:pt x="518" y="188"/>
                </a:moveTo>
                <a:cubicBezTo>
                  <a:pt x="518" y="186"/>
                  <a:pt x="524" y="185"/>
                  <a:pt x="524" y="188"/>
                </a:cubicBezTo>
                <a:cubicBezTo>
                  <a:pt x="524" y="190"/>
                  <a:pt x="519" y="190"/>
                  <a:pt x="518" y="188"/>
                </a:cubicBezTo>
                <a:close/>
                <a:moveTo>
                  <a:pt x="522" y="286"/>
                </a:moveTo>
                <a:cubicBezTo>
                  <a:pt x="522" y="285"/>
                  <a:pt x="522" y="285"/>
                  <a:pt x="522" y="285"/>
                </a:cubicBezTo>
                <a:cubicBezTo>
                  <a:pt x="523" y="285"/>
                  <a:pt x="522" y="286"/>
                  <a:pt x="522" y="286"/>
                </a:cubicBezTo>
                <a:close/>
                <a:moveTo>
                  <a:pt x="521" y="231"/>
                </a:moveTo>
                <a:cubicBezTo>
                  <a:pt x="518" y="232"/>
                  <a:pt x="522" y="229"/>
                  <a:pt x="523" y="228"/>
                </a:cubicBezTo>
                <a:cubicBezTo>
                  <a:pt x="524" y="226"/>
                  <a:pt x="526" y="223"/>
                  <a:pt x="528" y="220"/>
                </a:cubicBezTo>
                <a:cubicBezTo>
                  <a:pt x="528" y="221"/>
                  <a:pt x="527" y="221"/>
                  <a:pt x="527" y="220"/>
                </a:cubicBezTo>
                <a:cubicBezTo>
                  <a:pt x="527" y="220"/>
                  <a:pt x="528" y="220"/>
                  <a:pt x="528" y="220"/>
                </a:cubicBezTo>
                <a:cubicBezTo>
                  <a:pt x="528" y="220"/>
                  <a:pt x="528" y="220"/>
                  <a:pt x="528" y="220"/>
                </a:cubicBezTo>
                <a:cubicBezTo>
                  <a:pt x="529" y="219"/>
                  <a:pt x="529" y="218"/>
                  <a:pt x="530" y="218"/>
                </a:cubicBezTo>
                <a:cubicBezTo>
                  <a:pt x="530" y="218"/>
                  <a:pt x="531" y="218"/>
                  <a:pt x="531" y="218"/>
                </a:cubicBezTo>
                <a:cubicBezTo>
                  <a:pt x="531" y="218"/>
                  <a:pt x="529" y="220"/>
                  <a:pt x="528" y="222"/>
                </a:cubicBezTo>
                <a:cubicBezTo>
                  <a:pt x="527" y="223"/>
                  <a:pt x="523" y="230"/>
                  <a:pt x="521" y="231"/>
                </a:cubicBezTo>
                <a:close/>
                <a:moveTo>
                  <a:pt x="530" y="232"/>
                </a:moveTo>
                <a:cubicBezTo>
                  <a:pt x="530" y="232"/>
                  <a:pt x="530" y="232"/>
                  <a:pt x="531" y="232"/>
                </a:cubicBezTo>
                <a:cubicBezTo>
                  <a:pt x="531" y="232"/>
                  <a:pt x="530" y="233"/>
                  <a:pt x="530" y="232"/>
                </a:cubicBezTo>
                <a:close/>
                <a:moveTo>
                  <a:pt x="530" y="268"/>
                </a:move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lose/>
                <a:moveTo>
                  <a:pt x="530" y="256"/>
                </a:moveTo>
                <a:cubicBezTo>
                  <a:pt x="530" y="256"/>
                  <a:pt x="531" y="255"/>
                  <a:pt x="531" y="256"/>
                </a:cubicBezTo>
                <a:cubicBezTo>
                  <a:pt x="532" y="258"/>
                  <a:pt x="529" y="258"/>
                  <a:pt x="530" y="256"/>
                </a:cubicBezTo>
                <a:close/>
                <a:moveTo>
                  <a:pt x="533" y="312"/>
                </a:moveTo>
                <a:cubicBezTo>
                  <a:pt x="533" y="311"/>
                  <a:pt x="533" y="310"/>
                  <a:pt x="534" y="310"/>
                </a:cubicBezTo>
                <a:cubicBezTo>
                  <a:pt x="536" y="308"/>
                  <a:pt x="535" y="313"/>
                  <a:pt x="533" y="312"/>
                </a:cubicBezTo>
                <a:close/>
                <a:moveTo>
                  <a:pt x="533" y="230"/>
                </a:moveTo>
                <a:cubicBezTo>
                  <a:pt x="534" y="229"/>
                  <a:pt x="535" y="232"/>
                  <a:pt x="533" y="231"/>
                </a:cubicBezTo>
                <a:cubicBezTo>
                  <a:pt x="533" y="231"/>
                  <a:pt x="533" y="230"/>
                  <a:pt x="533" y="230"/>
                </a:cubicBezTo>
                <a:close/>
                <a:moveTo>
                  <a:pt x="531" y="215"/>
                </a:moveTo>
                <a:cubicBezTo>
                  <a:pt x="530" y="213"/>
                  <a:pt x="535" y="211"/>
                  <a:pt x="535" y="214"/>
                </a:cubicBezTo>
                <a:cubicBezTo>
                  <a:pt x="535" y="215"/>
                  <a:pt x="531" y="217"/>
                  <a:pt x="531" y="215"/>
                </a:cubicBezTo>
                <a:close/>
                <a:moveTo>
                  <a:pt x="530" y="135"/>
                </a:moveTo>
                <a:cubicBezTo>
                  <a:pt x="532" y="134"/>
                  <a:pt x="534" y="133"/>
                  <a:pt x="536" y="131"/>
                </a:cubicBezTo>
                <a:cubicBezTo>
                  <a:pt x="535" y="134"/>
                  <a:pt x="532" y="134"/>
                  <a:pt x="530" y="135"/>
                </a:cubicBezTo>
                <a:close/>
                <a:moveTo>
                  <a:pt x="598" y="198"/>
                </a:moveTo>
                <a:cubicBezTo>
                  <a:pt x="598" y="198"/>
                  <a:pt x="597" y="199"/>
                  <a:pt x="597" y="199"/>
                </a:cubicBezTo>
                <a:cubicBezTo>
                  <a:pt x="596" y="198"/>
                  <a:pt x="598" y="198"/>
                  <a:pt x="598" y="198"/>
                </a:cubicBezTo>
                <a:close/>
                <a:moveTo>
                  <a:pt x="596" y="204"/>
                </a:moveTo>
                <a:cubicBezTo>
                  <a:pt x="598" y="202"/>
                  <a:pt x="597" y="205"/>
                  <a:pt x="596" y="205"/>
                </a:cubicBezTo>
                <a:cubicBezTo>
                  <a:pt x="596" y="204"/>
                  <a:pt x="596" y="204"/>
                  <a:pt x="596" y="204"/>
                </a:cubicBezTo>
                <a:close/>
                <a:moveTo>
                  <a:pt x="596" y="235"/>
                </a:moveTo>
                <a:cubicBezTo>
                  <a:pt x="597" y="235"/>
                  <a:pt x="598" y="234"/>
                  <a:pt x="598" y="235"/>
                </a:cubicBezTo>
                <a:cubicBezTo>
                  <a:pt x="601" y="237"/>
                  <a:pt x="594" y="238"/>
                  <a:pt x="596" y="235"/>
                </a:cubicBezTo>
                <a:close/>
                <a:moveTo>
                  <a:pt x="599" y="282"/>
                </a:moveTo>
                <a:cubicBezTo>
                  <a:pt x="598" y="284"/>
                  <a:pt x="597" y="283"/>
                  <a:pt x="599" y="282"/>
                </a:cubicBezTo>
                <a:close/>
                <a:moveTo>
                  <a:pt x="594" y="323"/>
                </a:moveTo>
                <a:cubicBezTo>
                  <a:pt x="594" y="322"/>
                  <a:pt x="595" y="322"/>
                  <a:pt x="595" y="322"/>
                </a:cubicBezTo>
                <a:cubicBezTo>
                  <a:pt x="597" y="323"/>
                  <a:pt x="593" y="325"/>
                  <a:pt x="594" y="323"/>
                </a:cubicBezTo>
                <a:close/>
                <a:moveTo>
                  <a:pt x="596" y="370"/>
                </a:moveTo>
                <a:cubicBezTo>
                  <a:pt x="597" y="370"/>
                  <a:pt x="594" y="371"/>
                  <a:pt x="596" y="370"/>
                </a:cubicBezTo>
                <a:close/>
                <a:moveTo>
                  <a:pt x="594" y="263"/>
                </a:moveTo>
                <a:cubicBezTo>
                  <a:pt x="595" y="262"/>
                  <a:pt x="596" y="264"/>
                  <a:pt x="594" y="263"/>
                </a:cubicBezTo>
                <a:close/>
                <a:moveTo>
                  <a:pt x="594" y="231"/>
                </a:moveTo>
                <a:cubicBezTo>
                  <a:pt x="595" y="231"/>
                  <a:pt x="594" y="232"/>
                  <a:pt x="594" y="231"/>
                </a:cubicBezTo>
                <a:cubicBezTo>
                  <a:pt x="594" y="231"/>
                  <a:pt x="594" y="231"/>
                  <a:pt x="594" y="231"/>
                </a:cubicBezTo>
                <a:close/>
                <a:moveTo>
                  <a:pt x="592" y="198"/>
                </a:moveTo>
                <a:cubicBezTo>
                  <a:pt x="594" y="196"/>
                  <a:pt x="594" y="199"/>
                  <a:pt x="592" y="198"/>
                </a:cubicBezTo>
                <a:close/>
                <a:moveTo>
                  <a:pt x="594" y="244"/>
                </a:moveTo>
                <a:cubicBezTo>
                  <a:pt x="594" y="245"/>
                  <a:pt x="593" y="245"/>
                  <a:pt x="591" y="246"/>
                </a:cubicBezTo>
                <a:cubicBezTo>
                  <a:pt x="592" y="245"/>
                  <a:pt x="593" y="244"/>
                  <a:pt x="594" y="244"/>
                </a:cubicBezTo>
                <a:close/>
                <a:moveTo>
                  <a:pt x="589" y="200"/>
                </a:moveTo>
                <a:cubicBezTo>
                  <a:pt x="590" y="201"/>
                  <a:pt x="588" y="202"/>
                  <a:pt x="588" y="202"/>
                </a:cubicBezTo>
                <a:cubicBezTo>
                  <a:pt x="588" y="201"/>
                  <a:pt x="589" y="201"/>
                  <a:pt x="589" y="200"/>
                </a:cubicBezTo>
                <a:close/>
                <a:moveTo>
                  <a:pt x="591" y="200"/>
                </a:moveTo>
                <a:cubicBezTo>
                  <a:pt x="590" y="203"/>
                  <a:pt x="589" y="206"/>
                  <a:pt x="586" y="208"/>
                </a:cubicBezTo>
                <a:cubicBezTo>
                  <a:pt x="588" y="206"/>
                  <a:pt x="589" y="203"/>
                  <a:pt x="591" y="200"/>
                </a:cubicBezTo>
                <a:close/>
                <a:moveTo>
                  <a:pt x="590" y="339"/>
                </a:moveTo>
                <a:cubicBezTo>
                  <a:pt x="591" y="338"/>
                  <a:pt x="590" y="340"/>
                  <a:pt x="590" y="339"/>
                </a:cubicBezTo>
                <a:close/>
                <a:moveTo>
                  <a:pt x="590" y="246"/>
                </a:moveTo>
                <a:cubicBezTo>
                  <a:pt x="591" y="246"/>
                  <a:pt x="591" y="246"/>
                  <a:pt x="590" y="246"/>
                </a:cubicBezTo>
                <a:close/>
                <a:moveTo>
                  <a:pt x="590" y="246"/>
                </a:moveTo>
                <a:cubicBezTo>
                  <a:pt x="590" y="246"/>
                  <a:pt x="590" y="247"/>
                  <a:pt x="590" y="247"/>
                </a:cubicBezTo>
                <a:cubicBezTo>
                  <a:pt x="590" y="247"/>
                  <a:pt x="590" y="247"/>
                  <a:pt x="590" y="247"/>
                </a:cubicBezTo>
                <a:cubicBezTo>
                  <a:pt x="590" y="247"/>
                  <a:pt x="590" y="247"/>
                  <a:pt x="590" y="246"/>
                </a:cubicBezTo>
                <a:close/>
                <a:moveTo>
                  <a:pt x="587" y="206"/>
                </a:moveTo>
                <a:cubicBezTo>
                  <a:pt x="587" y="206"/>
                  <a:pt x="586" y="205"/>
                  <a:pt x="586" y="205"/>
                </a:cubicBezTo>
                <a:cubicBezTo>
                  <a:pt x="587" y="204"/>
                  <a:pt x="587" y="208"/>
                  <a:pt x="587" y="206"/>
                </a:cubicBezTo>
                <a:close/>
                <a:moveTo>
                  <a:pt x="586" y="210"/>
                </a:moveTo>
                <a:cubicBezTo>
                  <a:pt x="587" y="211"/>
                  <a:pt x="585" y="212"/>
                  <a:pt x="585" y="213"/>
                </a:cubicBezTo>
                <a:cubicBezTo>
                  <a:pt x="584" y="212"/>
                  <a:pt x="586" y="210"/>
                  <a:pt x="586" y="210"/>
                </a:cubicBezTo>
                <a:close/>
                <a:moveTo>
                  <a:pt x="585" y="229"/>
                </a:moveTo>
                <a:cubicBezTo>
                  <a:pt x="586" y="228"/>
                  <a:pt x="585" y="230"/>
                  <a:pt x="584" y="230"/>
                </a:cubicBezTo>
                <a:cubicBezTo>
                  <a:pt x="584" y="230"/>
                  <a:pt x="585" y="229"/>
                  <a:pt x="585" y="229"/>
                </a:cubicBezTo>
                <a:close/>
                <a:moveTo>
                  <a:pt x="584" y="214"/>
                </a:moveTo>
                <a:cubicBezTo>
                  <a:pt x="584" y="212"/>
                  <a:pt x="585" y="214"/>
                  <a:pt x="584" y="214"/>
                </a:cubicBezTo>
                <a:close/>
                <a:moveTo>
                  <a:pt x="583" y="250"/>
                </a:moveTo>
                <a:cubicBezTo>
                  <a:pt x="583" y="250"/>
                  <a:pt x="583" y="251"/>
                  <a:pt x="582" y="251"/>
                </a:cubicBezTo>
                <a:cubicBezTo>
                  <a:pt x="582" y="251"/>
                  <a:pt x="581" y="251"/>
                  <a:pt x="581" y="251"/>
                </a:cubicBezTo>
                <a:cubicBezTo>
                  <a:pt x="582" y="251"/>
                  <a:pt x="583" y="251"/>
                  <a:pt x="583" y="250"/>
                </a:cubicBezTo>
                <a:close/>
                <a:moveTo>
                  <a:pt x="579" y="195"/>
                </a:moveTo>
                <a:cubicBezTo>
                  <a:pt x="578" y="194"/>
                  <a:pt x="581" y="195"/>
                  <a:pt x="579" y="195"/>
                </a:cubicBezTo>
                <a:close/>
                <a:moveTo>
                  <a:pt x="578" y="186"/>
                </a:moveTo>
                <a:cubicBezTo>
                  <a:pt x="578" y="188"/>
                  <a:pt x="573" y="190"/>
                  <a:pt x="572" y="187"/>
                </a:cubicBezTo>
                <a:cubicBezTo>
                  <a:pt x="571" y="184"/>
                  <a:pt x="579" y="182"/>
                  <a:pt x="578" y="186"/>
                </a:cubicBezTo>
                <a:close/>
                <a:moveTo>
                  <a:pt x="576" y="196"/>
                </a:moveTo>
                <a:cubicBezTo>
                  <a:pt x="576" y="196"/>
                  <a:pt x="576" y="196"/>
                  <a:pt x="576" y="196"/>
                </a:cubicBezTo>
                <a:cubicBezTo>
                  <a:pt x="577" y="198"/>
                  <a:pt x="574" y="195"/>
                  <a:pt x="576" y="196"/>
                </a:cubicBezTo>
                <a:close/>
                <a:moveTo>
                  <a:pt x="573" y="191"/>
                </a:moveTo>
                <a:cubicBezTo>
                  <a:pt x="572" y="191"/>
                  <a:pt x="571" y="192"/>
                  <a:pt x="570" y="192"/>
                </a:cubicBezTo>
                <a:cubicBezTo>
                  <a:pt x="570" y="191"/>
                  <a:pt x="573" y="190"/>
                  <a:pt x="573" y="191"/>
                </a:cubicBezTo>
                <a:close/>
                <a:moveTo>
                  <a:pt x="565" y="201"/>
                </a:moveTo>
                <a:cubicBezTo>
                  <a:pt x="565" y="202"/>
                  <a:pt x="563" y="202"/>
                  <a:pt x="563" y="201"/>
                </a:cubicBezTo>
                <a:cubicBezTo>
                  <a:pt x="563" y="200"/>
                  <a:pt x="564" y="200"/>
                  <a:pt x="565" y="201"/>
                </a:cubicBezTo>
                <a:close/>
                <a:moveTo>
                  <a:pt x="569" y="202"/>
                </a:moveTo>
                <a:cubicBezTo>
                  <a:pt x="568" y="201"/>
                  <a:pt x="562" y="207"/>
                  <a:pt x="562" y="205"/>
                </a:cubicBezTo>
                <a:cubicBezTo>
                  <a:pt x="562" y="204"/>
                  <a:pt x="567" y="200"/>
                  <a:pt x="569" y="202"/>
                </a:cubicBezTo>
                <a:close/>
                <a:moveTo>
                  <a:pt x="563" y="247"/>
                </a:moveTo>
                <a:cubicBezTo>
                  <a:pt x="563" y="247"/>
                  <a:pt x="561" y="248"/>
                  <a:pt x="561" y="248"/>
                </a:cubicBezTo>
                <a:cubicBezTo>
                  <a:pt x="560" y="247"/>
                  <a:pt x="562" y="245"/>
                  <a:pt x="563" y="247"/>
                </a:cubicBezTo>
                <a:close/>
                <a:moveTo>
                  <a:pt x="562" y="189"/>
                </a:moveTo>
                <a:cubicBezTo>
                  <a:pt x="563" y="190"/>
                  <a:pt x="560" y="191"/>
                  <a:pt x="560" y="190"/>
                </a:cubicBezTo>
                <a:cubicBezTo>
                  <a:pt x="560" y="189"/>
                  <a:pt x="562" y="189"/>
                  <a:pt x="562" y="189"/>
                </a:cubicBezTo>
                <a:close/>
                <a:moveTo>
                  <a:pt x="560" y="205"/>
                </a:moveTo>
                <a:cubicBezTo>
                  <a:pt x="563" y="203"/>
                  <a:pt x="562" y="209"/>
                  <a:pt x="560" y="207"/>
                </a:cubicBezTo>
                <a:cubicBezTo>
                  <a:pt x="558" y="207"/>
                  <a:pt x="560" y="205"/>
                  <a:pt x="560" y="205"/>
                </a:cubicBezTo>
                <a:close/>
                <a:moveTo>
                  <a:pt x="560" y="264"/>
                </a:moveTo>
                <a:cubicBezTo>
                  <a:pt x="562" y="263"/>
                  <a:pt x="559" y="266"/>
                  <a:pt x="560" y="264"/>
                </a:cubicBezTo>
                <a:cubicBezTo>
                  <a:pt x="560" y="264"/>
                  <a:pt x="560" y="264"/>
                  <a:pt x="560" y="264"/>
                </a:cubicBezTo>
                <a:close/>
                <a:moveTo>
                  <a:pt x="556" y="180"/>
                </a:moveTo>
                <a:cubicBezTo>
                  <a:pt x="557" y="181"/>
                  <a:pt x="555" y="182"/>
                  <a:pt x="555" y="181"/>
                </a:cubicBezTo>
                <a:cubicBezTo>
                  <a:pt x="555" y="181"/>
                  <a:pt x="556" y="181"/>
                  <a:pt x="556" y="180"/>
                </a:cubicBezTo>
                <a:close/>
                <a:moveTo>
                  <a:pt x="554" y="138"/>
                </a:moveTo>
                <a:cubicBezTo>
                  <a:pt x="554" y="138"/>
                  <a:pt x="555" y="138"/>
                  <a:pt x="555" y="138"/>
                </a:cubicBezTo>
                <a:cubicBezTo>
                  <a:pt x="555" y="140"/>
                  <a:pt x="552" y="136"/>
                  <a:pt x="554" y="138"/>
                </a:cubicBezTo>
                <a:close/>
                <a:moveTo>
                  <a:pt x="555" y="219"/>
                </a:moveTo>
                <a:cubicBezTo>
                  <a:pt x="555" y="219"/>
                  <a:pt x="554" y="221"/>
                  <a:pt x="553" y="221"/>
                </a:cubicBezTo>
                <a:cubicBezTo>
                  <a:pt x="553" y="220"/>
                  <a:pt x="554" y="218"/>
                  <a:pt x="555" y="219"/>
                </a:cubicBezTo>
                <a:close/>
                <a:moveTo>
                  <a:pt x="553" y="245"/>
                </a:moveTo>
                <a:cubicBezTo>
                  <a:pt x="554" y="245"/>
                  <a:pt x="552" y="246"/>
                  <a:pt x="552" y="245"/>
                </a:cubicBezTo>
                <a:cubicBezTo>
                  <a:pt x="552" y="244"/>
                  <a:pt x="553" y="244"/>
                  <a:pt x="553" y="245"/>
                </a:cubicBezTo>
                <a:close/>
                <a:moveTo>
                  <a:pt x="552" y="182"/>
                </a:move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lose/>
                <a:moveTo>
                  <a:pt x="552" y="133"/>
                </a:moveTo>
                <a:cubicBezTo>
                  <a:pt x="552" y="133"/>
                  <a:pt x="551" y="135"/>
                  <a:pt x="551" y="134"/>
                </a:cubicBezTo>
                <a:cubicBezTo>
                  <a:pt x="550" y="133"/>
                  <a:pt x="552" y="133"/>
                  <a:pt x="552" y="133"/>
                </a:cubicBezTo>
                <a:close/>
                <a:moveTo>
                  <a:pt x="552" y="158"/>
                </a:moveTo>
                <a:cubicBezTo>
                  <a:pt x="552" y="159"/>
                  <a:pt x="550" y="160"/>
                  <a:pt x="550" y="159"/>
                </a:cubicBezTo>
                <a:cubicBezTo>
                  <a:pt x="550" y="158"/>
                  <a:pt x="551" y="158"/>
                  <a:pt x="552" y="158"/>
                </a:cubicBezTo>
                <a:close/>
                <a:moveTo>
                  <a:pt x="552" y="177"/>
                </a:moveTo>
                <a:cubicBezTo>
                  <a:pt x="552" y="179"/>
                  <a:pt x="548" y="179"/>
                  <a:pt x="548" y="177"/>
                </a:cubicBezTo>
                <a:cubicBezTo>
                  <a:pt x="548" y="176"/>
                  <a:pt x="551" y="175"/>
                  <a:pt x="552" y="177"/>
                </a:cubicBezTo>
                <a:close/>
                <a:moveTo>
                  <a:pt x="547" y="170"/>
                </a:moveTo>
                <a:cubicBezTo>
                  <a:pt x="548" y="170"/>
                  <a:pt x="547" y="171"/>
                  <a:pt x="546" y="171"/>
                </a:cubicBezTo>
                <a:cubicBezTo>
                  <a:pt x="546" y="170"/>
                  <a:pt x="547" y="170"/>
                  <a:pt x="547" y="170"/>
                </a:cubicBezTo>
                <a:close/>
                <a:moveTo>
                  <a:pt x="547" y="166"/>
                </a:moveTo>
                <a:cubicBezTo>
                  <a:pt x="548" y="167"/>
                  <a:pt x="547" y="165"/>
                  <a:pt x="547" y="166"/>
                </a:cubicBezTo>
                <a:close/>
                <a:moveTo>
                  <a:pt x="548" y="133"/>
                </a:moveTo>
                <a:cubicBezTo>
                  <a:pt x="548" y="134"/>
                  <a:pt x="547" y="134"/>
                  <a:pt x="546" y="134"/>
                </a:cubicBezTo>
                <a:cubicBezTo>
                  <a:pt x="546" y="133"/>
                  <a:pt x="547" y="134"/>
                  <a:pt x="548" y="133"/>
                </a:cubicBezTo>
                <a:close/>
                <a:moveTo>
                  <a:pt x="547" y="176"/>
                </a:moveTo>
                <a:cubicBezTo>
                  <a:pt x="547" y="177"/>
                  <a:pt x="545" y="176"/>
                  <a:pt x="547" y="176"/>
                </a:cubicBezTo>
                <a:close/>
                <a:moveTo>
                  <a:pt x="546" y="168"/>
                </a:moveTo>
                <a:cubicBezTo>
                  <a:pt x="546" y="169"/>
                  <a:pt x="544" y="170"/>
                  <a:pt x="544" y="168"/>
                </a:cubicBezTo>
                <a:cubicBezTo>
                  <a:pt x="545" y="168"/>
                  <a:pt x="545" y="168"/>
                  <a:pt x="546" y="168"/>
                </a:cubicBezTo>
                <a:close/>
                <a:moveTo>
                  <a:pt x="545" y="141"/>
                </a:moveTo>
                <a:cubicBezTo>
                  <a:pt x="546" y="143"/>
                  <a:pt x="542" y="142"/>
                  <a:pt x="542" y="141"/>
                </a:cubicBezTo>
                <a:cubicBezTo>
                  <a:pt x="543" y="140"/>
                  <a:pt x="545" y="140"/>
                  <a:pt x="545" y="141"/>
                </a:cubicBezTo>
                <a:close/>
                <a:moveTo>
                  <a:pt x="540" y="150"/>
                </a:moveTo>
                <a:cubicBezTo>
                  <a:pt x="540" y="150"/>
                  <a:pt x="538" y="151"/>
                  <a:pt x="537" y="150"/>
                </a:cubicBezTo>
                <a:cubicBezTo>
                  <a:pt x="537" y="149"/>
                  <a:pt x="539" y="148"/>
                  <a:pt x="540" y="150"/>
                </a:cubicBezTo>
                <a:close/>
                <a:moveTo>
                  <a:pt x="537" y="158"/>
                </a:moveTo>
                <a:cubicBezTo>
                  <a:pt x="537" y="158"/>
                  <a:pt x="538" y="157"/>
                  <a:pt x="538" y="157"/>
                </a:cubicBezTo>
                <a:cubicBezTo>
                  <a:pt x="539" y="157"/>
                  <a:pt x="537" y="159"/>
                  <a:pt x="537" y="158"/>
                </a:cubicBezTo>
                <a:close/>
                <a:moveTo>
                  <a:pt x="538" y="165"/>
                </a:moveTo>
                <a:cubicBezTo>
                  <a:pt x="538" y="165"/>
                  <a:pt x="540" y="163"/>
                  <a:pt x="540" y="165"/>
                </a:cubicBezTo>
                <a:cubicBezTo>
                  <a:pt x="540" y="164"/>
                  <a:pt x="539" y="166"/>
                  <a:pt x="538" y="165"/>
                </a:cubicBezTo>
                <a:close/>
                <a:moveTo>
                  <a:pt x="540" y="214"/>
                </a:moveTo>
                <a:cubicBezTo>
                  <a:pt x="541" y="215"/>
                  <a:pt x="540" y="215"/>
                  <a:pt x="540" y="215"/>
                </a:cubicBezTo>
                <a:cubicBezTo>
                  <a:pt x="539" y="214"/>
                  <a:pt x="540" y="214"/>
                  <a:pt x="540" y="214"/>
                </a:cubicBezTo>
                <a:close/>
                <a:moveTo>
                  <a:pt x="541" y="291"/>
                </a:moveTo>
                <a:cubicBezTo>
                  <a:pt x="540" y="291"/>
                  <a:pt x="539" y="291"/>
                  <a:pt x="540" y="290"/>
                </a:cubicBezTo>
                <a:cubicBezTo>
                  <a:pt x="540" y="289"/>
                  <a:pt x="541" y="290"/>
                  <a:pt x="541" y="291"/>
                </a:cubicBezTo>
                <a:close/>
                <a:moveTo>
                  <a:pt x="541" y="212"/>
                </a:moveTo>
                <a:cubicBezTo>
                  <a:pt x="541" y="212"/>
                  <a:pt x="541" y="212"/>
                  <a:pt x="541" y="212"/>
                </a:cubicBezTo>
                <a:cubicBezTo>
                  <a:pt x="541" y="212"/>
                  <a:pt x="541" y="212"/>
                  <a:pt x="541" y="212"/>
                </a:cubicBezTo>
                <a:cubicBezTo>
                  <a:pt x="540" y="212"/>
                  <a:pt x="540" y="211"/>
                  <a:pt x="541" y="210"/>
                </a:cubicBezTo>
                <a:cubicBezTo>
                  <a:pt x="542" y="209"/>
                  <a:pt x="542" y="210"/>
                  <a:pt x="542" y="211"/>
                </a:cubicBezTo>
                <a:cubicBezTo>
                  <a:pt x="543" y="211"/>
                  <a:pt x="544" y="211"/>
                  <a:pt x="544" y="210"/>
                </a:cubicBezTo>
                <a:cubicBezTo>
                  <a:pt x="545" y="210"/>
                  <a:pt x="550" y="204"/>
                  <a:pt x="551" y="205"/>
                </a:cubicBezTo>
                <a:cubicBezTo>
                  <a:pt x="553" y="207"/>
                  <a:pt x="544" y="211"/>
                  <a:pt x="543" y="212"/>
                </a:cubicBezTo>
                <a:cubicBezTo>
                  <a:pt x="542" y="212"/>
                  <a:pt x="542" y="214"/>
                  <a:pt x="541" y="212"/>
                </a:cubicBezTo>
                <a:close/>
                <a:moveTo>
                  <a:pt x="549" y="242"/>
                </a:moveTo>
                <a:cubicBezTo>
                  <a:pt x="549" y="242"/>
                  <a:pt x="547" y="242"/>
                  <a:pt x="547" y="241"/>
                </a:cubicBezTo>
                <a:cubicBezTo>
                  <a:pt x="547" y="241"/>
                  <a:pt x="549" y="240"/>
                  <a:pt x="549" y="242"/>
                </a:cubicBezTo>
                <a:close/>
                <a:moveTo>
                  <a:pt x="543" y="245"/>
                </a:moveTo>
                <a:cubicBezTo>
                  <a:pt x="544" y="247"/>
                  <a:pt x="541" y="246"/>
                  <a:pt x="543" y="245"/>
                </a:cubicBezTo>
                <a:close/>
                <a:moveTo>
                  <a:pt x="547" y="220"/>
                </a:moveTo>
                <a:cubicBezTo>
                  <a:pt x="546" y="220"/>
                  <a:pt x="546" y="220"/>
                  <a:pt x="546" y="220"/>
                </a:cubicBezTo>
                <a:cubicBezTo>
                  <a:pt x="545" y="220"/>
                  <a:pt x="547" y="219"/>
                  <a:pt x="547" y="220"/>
                </a:cubicBezTo>
                <a:close/>
                <a:moveTo>
                  <a:pt x="546" y="265"/>
                </a:moveTo>
                <a:cubicBezTo>
                  <a:pt x="546" y="265"/>
                  <a:pt x="547" y="264"/>
                  <a:pt x="547" y="264"/>
                </a:cubicBezTo>
                <a:cubicBezTo>
                  <a:pt x="547" y="265"/>
                  <a:pt x="546" y="266"/>
                  <a:pt x="546" y="265"/>
                </a:cubicBezTo>
                <a:close/>
                <a:moveTo>
                  <a:pt x="548" y="300"/>
                </a:moveTo>
                <a:cubicBezTo>
                  <a:pt x="548" y="299"/>
                  <a:pt x="548" y="299"/>
                  <a:pt x="548" y="299"/>
                </a:cubicBezTo>
                <a:cubicBezTo>
                  <a:pt x="549" y="299"/>
                  <a:pt x="548" y="301"/>
                  <a:pt x="548" y="300"/>
                </a:cubicBezTo>
                <a:close/>
                <a:moveTo>
                  <a:pt x="547" y="280"/>
                </a:moveTo>
                <a:cubicBezTo>
                  <a:pt x="549" y="276"/>
                  <a:pt x="551" y="272"/>
                  <a:pt x="552" y="269"/>
                </a:cubicBezTo>
                <a:cubicBezTo>
                  <a:pt x="552" y="271"/>
                  <a:pt x="549" y="278"/>
                  <a:pt x="547" y="280"/>
                </a:cubicBezTo>
                <a:close/>
                <a:moveTo>
                  <a:pt x="553" y="329"/>
                </a:moveTo>
                <a:cubicBezTo>
                  <a:pt x="553" y="329"/>
                  <a:pt x="553" y="329"/>
                  <a:pt x="553" y="329"/>
                </a:cubicBezTo>
                <a:cubicBezTo>
                  <a:pt x="553" y="329"/>
                  <a:pt x="553" y="329"/>
                  <a:pt x="553" y="329"/>
                </a:cubicBezTo>
                <a:close/>
                <a:moveTo>
                  <a:pt x="551" y="261"/>
                </a:moveTo>
                <a:cubicBezTo>
                  <a:pt x="553" y="257"/>
                  <a:pt x="553" y="254"/>
                  <a:pt x="555" y="252"/>
                </a:cubicBezTo>
                <a:cubicBezTo>
                  <a:pt x="554" y="254"/>
                  <a:pt x="553" y="259"/>
                  <a:pt x="551" y="261"/>
                </a:cubicBezTo>
                <a:close/>
                <a:moveTo>
                  <a:pt x="554" y="222"/>
                </a:moveTo>
                <a:cubicBezTo>
                  <a:pt x="555" y="221"/>
                  <a:pt x="556" y="222"/>
                  <a:pt x="554" y="222"/>
                </a:cubicBezTo>
                <a:close/>
                <a:moveTo>
                  <a:pt x="554" y="184"/>
                </a:moveTo>
                <a:cubicBezTo>
                  <a:pt x="554" y="183"/>
                  <a:pt x="556" y="182"/>
                  <a:pt x="556" y="183"/>
                </a:cubicBezTo>
                <a:cubicBezTo>
                  <a:pt x="556" y="185"/>
                  <a:pt x="554" y="185"/>
                  <a:pt x="554" y="184"/>
                </a:cubicBezTo>
                <a:close/>
                <a:moveTo>
                  <a:pt x="557" y="285"/>
                </a:moveTo>
                <a:cubicBezTo>
                  <a:pt x="557" y="283"/>
                  <a:pt x="556" y="286"/>
                  <a:pt x="557" y="285"/>
                </a:cubicBezTo>
                <a:close/>
                <a:moveTo>
                  <a:pt x="560" y="320"/>
                </a:moveTo>
                <a:cubicBezTo>
                  <a:pt x="560" y="321"/>
                  <a:pt x="561" y="319"/>
                  <a:pt x="560" y="320"/>
                </a:cubicBezTo>
                <a:close/>
                <a:moveTo>
                  <a:pt x="557" y="283"/>
                </a:moveTo>
                <a:cubicBezTo>
                  <a:pt x="556" y="281"/>
                  <a:pt x="561" y="279"/>
                  <a:pt x="561" y="281"/>
                </a:cubicBezTo>
                <a:cubicBezTo>
                  <a:pt x="562" y="283"/>
                  <a:pt x="558" y="284"/>
                  <a:pt x="557" y="283"/>
                </a:cubicBezTo>
                <a:close/>
                <a:moveTo>
                  <a:pt x="562" y="258"/>
                </a:moveTo>
                <a:cubicBezTo>
                  <a:pt x="562" y="258"/>
                  <a:pt x="563" y="257"/>
                  <a:pt x="563" y="257"/>
                </a:cubicBezTo>
                <a:cubicBezTo>
                  <a:pt x="564" y="258"/>
                  <a:pt x="561" y="259"/>
                  <a:pt x="562" y="258"/>
                </a:cubicBezTo>
                <a:close/>
                <a:moveTo>
                  <a:pt x="565" y="221"/>
                </a:moveTo>
                <a:cubicBezTo>
                  <a:pt x="564" y="221"/>
                  <a:pt x="564" y="219"/>
                  <a:pt x="565" y="220"/>
                </a:cubicBezTo>
                <a:cubicBezTo>
                  <a:pt x="565" y="220"/>
                  <a:pt x="565" y="221"/>
                  <a:pt x="565" y="221"/>
                </a:cubicBezTo>
                <a:close/>
                <a:moveTo>
                  <a:pt x="566" y="206"/>
                </a:moveTo>
                <a:cubicBezTo>
                  <a:pt x="565" y="211"/>
                  <a:pt x="567" y="204"/>
                  <a:pt x="568" y="203"/>
                </a:cubicBezTo>
                <a:cubicBezTo>
                  <a:pt x="569" y="202"/>
                  <a:pt x="574" y="202"/>
                  <a:pt x="576" y="203"/>
                </a:cubicBezTo>
                <a:cubicBezTo>
                  <a:pt x="579" y="205"/>
                  <a:pt x="577" y="210"/>
                  <a:pt x="574" y="212"/>
                </a:cubicBezTo>
                <a:cubicBezTo>
                  <a:pt x="573" y="213"/>
                  <a:pt x="570" y="213"/>
                  <a:pt x="569" y="213"/>
                </a:cubicBezTo>
                <a:cubicBezTo>
                  <a:pt x="566" y="214"/>
                  <a:pt x="567" y="214"/>
                  <a:pt x="565" y="212"/>
                </a:cubicBezTo>
                <a:cubicBezTo>
                  <a:pt x="562" y="210"/>
                  <a:pt x="562" y="205"/>
                  <a:pt x="566" y="206"/>
                </a:cubicBezTo>
                <a:close/>
                <a:moveTo>
                  <a:pt x="573" y="236"/>
                </a:moveTo>
                <a:cubicBezTo>
                  <a:pt x="575" y="234"/>
                  <a:pt x="572" y="237"/>
                  <a:pt x="573" y="236"/>
                </a:cubicBezTo>
                <a:close/>
                <a:moveTo>
                  <a:pt x="571" y="238"/>
                </a:moveTo>
                <a:cubicBezTo>
                  <a:pt x="573" y="236"/>
                  <a:pt x="569" y="239"/>
                  <a:pt x="571" y="238"/>
                </a:cubicBezTo>
                <a:close/>
                <a:moveTo>
                  <a:pt x="569" y="326"/>
                </a:moveTo>
                <a:cubicBezTo>
                  <a:pt x="568" y="326"/>
                  <a:pt x="569" y="325"/>
                  <a:pt x="569" y="325"/>
                </a:cubicBezTo>
                <a:cubicBezTo>
                  <a:pt x="570" y="324"/>
                  <a:pt x="570" y="327"/>
                  <a:pt x="569" y="326"/>
                </a:cubicBezTo>
                <a:close/>
                <a:moveTo>
                  <a:pt x="567" y="224"/>
                </a:moveTo>
                <a:cubicBezTo>
                  <a:pt x="566" y="223"/>
                  <a:pt x="567" y="222"/>
                  <a:pt x="567" y="222"/>
                </a:cubicBezTo>
                <a:cubicBezTo>
                  <a:pt x="568" y="222"/>
                  <a:pt x="567" y="223"/>
                  <a:pt x="567" y="224"/>
                </a:cubicBezTo>
                <a:close/>
                <a:moveTo>
                  <a:pt x="567" y="311"/>
                </a:moveTo>
                <a:cubicBezTo>
                  <a:pt x="568" y="312"/>
                  <a:pt x="566" y="312"/>
                  <a:pt x="567" y="311"/>
                </a:cubicBezTo>
                <a:close/>
                <a:moveTo>
                  <a:pt x="565" y="280"/>
                </a:moveTo>
                <a:cubicBezTo>
                  <a:pt x="565" y="277"/>
                  <a:pt x="567" y="277"/>
                  <a:pt x="565" y="280"/>
                </a:cubicBezTo>
                <a:close/>
                <a:moveTo>
                  <a:pt x="566" y="411"/>
                </a:moveTo>
                <a:cubicBezTo>
                  <a:pt x="568" y="409"/>
                  <a:pt x="569" y="406"/>
                  <a:pt x="572" y="405"/>
                </a:cubicBezTo>
                <a:cubicBezTo>
                  <a:pt x="570" y="407"/>
                  <a:pt x="568" y="410"/>
                  <a:pt x="566" y="411"/>
                </a:cubicBezTo>
                <a:close/>
                <a:moveTo>
                  <a:pt x="571" y="279"/>
                </a:moveTo>
                <a:cubicBezTo>
                  <a:pt x="571" y="279"/>
                  <a:pt x="573" y="279"/>
                  <a:pt x="572" y="279"/>
                </a:cubicBezTo>
                <a:cubicBezTo>
                  <a:pt x="572" y="280"/>
                  <a:pt x="571" y="280"/>
                  <a:pt x="571" y="279"/>
                </a:cubicBezTo>
                <a:close/>
                <a:moveTo>
                  <a:pt x="573" y="383"/>
                </a:moveTo>
                <a:cubicBezTo>
                  <a:pt x="571" y="382"/>
                  <a:pt x="573" y="380"/>
                  <a:pt x="574" y="379"/>
                </a:cubicBezTo>
                <a:cubicBezTo>
                  <a:pt x="577" y="377"/>
                  <a:pt x="575" y="384"/>
                  <a:pt x="573" y="383"/>
                </a:cubicBezTo>
                <a:close/>
                <a:moveTo>
                  <a:pt x="578" y="218"/>
                </a:moveTo>
                <a:cubicBezTo>
                  <a:pt x="583" y="216"/>
                  <a:pt x="584" y="224"/>
                  <a:pt x="580" y="226"/>
                </a:cubicBezTo>
                <a:cubicBezTo>
                  <a:pt x="573" y="230"/>
                  <a:pt x="572" y="220"/>
                  <a:pt x="578" y="218"/>
                </a:cubicBezTo>
                <a:close/>
                <a:moveTo>
                  <a:pt x="577" y="295"/>
                </a:moveTo>
                <a:cubicBezTo>
                  <a:pt x="577" y="295"/>
                  <a:pt x="577" y="295"/>
                  <a:pt x="577" y="296"/>
                </a:cubicBezTo>
                <a:cubicBezTo>
                  <a:pt x="576" y="296"/>
                  <a:pt x="577" y="295"/>
                  <a:pt x="577" y="295"/>
                </a:cubicBezTo>
                <a:close/>
                <a:moveTo>
                  <a:pt x="577" y="425"/>
                </a:moveTo>
                <a:cubicBezTo>
                  <a:pt x="576" y="426"/>
                  <a:pt x="578" y="423"/>
                  <a:pt x="577" y="425"/>
                </a:cubicBezTo>
                <a:close/>
                <a:moveTo>
                  <a:pt x="577" y="371"/>
                </a:moveTo>
                <a:cubicBezTo>
                  <a:pt x="576" y="370"/>
                  <a:pt x="578" y="370"/>
                  <a:pt x="577" y="371"/>
                </a:cubicBezTo>
                <a:close/>
                <a:moveTo>
                  <a:pt x="577" y="297"/>
                </a:moveTo>
                <a:cubicBezTo>
                  <a:pt x="578" y="296"/>
                  <a:pt x="578" y="297"/>
                  <a:pt x="578" y="297"/>
                </a:cubicBezTo>
                <a:cubicBezTo>
                  <a:pt x="579" y="299"/>
                  <a:pt x="576" y="297"/>
                  <a:pt x="577" y="297"/>
                </a:cubicBezTo>
                <a:close/>
                <a:moveTo>
                  <a:pt x="580" y="277"/>
                </a:moveTo>
                <a:cubicBezTo>
                  <a:pt x="580" y="277"/>
                  <a:pt x="580" y="277"/>
                  <a:pt x="580" y="277"/>
                </a:cubicBezTo>
                <a:cubicBezTo>
                  <a:pt x="581" y="277"/>
                  <a:pt x="579" y="278"/>
                  <a:pt x="580" y="277"/>
                </a:cubicBezTo>
                <a:close/>
                <a:moveTo>
                  <a:pt x="580" y="387"/>
                </a:moveTo>
                <a:cubicBezTo>
                  <a:pt x="580" y="386"/>
                  <a:pt x="582" y="385"/>
                  <a:pt x="582" y="384"/>
                </a:cubicBezTo>
                <a:cubicBezTo>
                  <a:pt x="583" y="385"/>
                  <a:pt x="581" y="386"/>
                  <a:pt x="580" y="387"/>
                </a:cubicBezTo>
                <a:close/>
                <a:moveTo>
                  <a:pt x="578" y="268"/>
                </a:moveTo>
                <a:cubicBezTo>
                  <a:pt x="578" y="266"/>
                  <a:pt x="584" y="266"/>
                  <a:pt x="582" y="269"/>
                </a:cubicBezTo>
                <a:cubicBezTo>
                  <a:pt x="582" y="271"/>
                  <a:pt x="578" y="270"/>
                  <a:pt x="578" y="268"/>
                </a:cubicBezTo>
                <a:close/>
                <a:moveTo>
                  <a:pt x="582" y="302"/>
                </a:moveTo>
                <a:cubicBezTo>
                  <a:pt x="582" y="302"/>
                  <a:pt x="582" y="301"/>
                  <a:pt x="583" y="301"/>
                </a:cubicBezTo>
                <a:cubicBezTo>
                  <a:pt x="585" y="299"/>
                  <a:pt x="584" y="304"/>
                  <a:pt x="582" y="302"/>
                </a:cubicBezTo>
                <a:close/>
                <a:moveTo>
                  <a:pt x="584" y="367"/>
                </a:moveTo>
                <a:cubicBezTo>
                  <a:pt x="584" y="369"/>
                  <a:pt x="582" y="368"/>
                  <a:pt x="584" y="367"/>
                </a:cubicBezTo>
                <a:close/>
                <a:moveTo>
                  <a:pt x="584" y="364"/>
                </a:moveTo>
                <a:cubicBezTo>
                  <a:pt x="584" y="363"/>
                  <a:pt x="584" y="363"/>
                  <a:pt x="585" y="363"/>
                </a:cubicBezTo>
                <a:cubicBezTo>
                  <a:pt x="586" y="363"/>
                  <a:pt x="583" y="365"/>
                  <a:pt x="584" y="364"/>
                </a:cubicBezTo>
                <a:close/>
                <a:moveTo>
                  <a:pt x="585" y="305"/>
                </a:moveTo>
                <a:cubicBezTo>
                  <a:pt x="585" y="305"/>
                  <a:pt x="586" y="304"/>
                  <a:pt x="586" y="305"/>
                </a:cubicBezTo>
                <a:cubicBezTo>
                  <a:pt x="587" y="305"/>
                  <a:pt x="585" y="306"/>
                  <a:pt x="585" y="305"/>
                </a:cubicBezTo>
                <a:close/>
                <a:moveTo>
                  <a:pt x="585" y="289"/>
                </a:moveTo>
                <a:cubicBezTo>
                  <a:pt x="585" y="288"/>
                  <a:pt x="586" y="288"/>
                  <a:pt x="586" y="288"/>
                </a:cubicBezTo>
                <a:cubicBezTo>
                  <a:pt x="586" y="288"/>
                  <a:pt x="585" y="289"/>
                  <a:pt x="585" y="289"/>
                </a:cubicBezTo>
                <a:close/>
                <a:moveTo>
                  <a:pt x="585" y="250"/>
                </a:moveTo>
                <a:cubicBezTo>
                  <a:pt x="586" y="249"/>
                  <a:pt x="587" y="248"/>
                  <a:pt x="589" y="247"/>
                </a:cubicBezTo>
                <a:cubicBezTo>
                  <a:pt x="588" y="248"/>
                  <a:pt x="586" y="249"/>
                  <a:pt x="585" y="250"/>
                </a:cubicBezTo>
                <a:close/>
                <a:moveTo>
                  <a:pt x="590" y="437"/>
                </a:moveTo>
                <a:cubicBezTo>
                  <a:pt x="589" y="435"/>
                  <a:pt x="591" y="433"/>
                  <a:pt x="593" y="431"/>
                </a:cubicBezTo>
                <a:cubicBezTo>
                  <a:pt x="592" y="433"/>
                  <a:pt x="591" y="435"/>
                  <a:pt x="590" y="437"/>
                </a:cubicBezTo>
                <a:close/>
                <a:moveTo>
                  <a:pt x="594" y="251"/>
                </a:moveTo>
                <a:cubicBezTo>
                  <a:pt x="596" y="250"/>
                  <a:pt x="595" y="255"/>
                  <a:pt x="593" y="253"/>
                </a:cubicBezTo>
                <a:cubicBezTo>
                  <a:pt x="593" y="253"/>
                  <a:pt x="593" y="252"/>
                  <a:pt x="594" y="251"/>
                </a:cubicBezTo>
                <a:close/>
                <a:moveTo>
                  <a:pt x="594" y="357"/>
                </a:moveTo>
                <a:cubicBezTo>
                  <a:pt x="594" y="357"/>
                  <a:pt x="594" y="356"/>
                  <a:pt x="595" y="356"/>
                </a:cubicBezTo>
                <a:cubicBezTo>
                  <a:pt x="596" y="357"/>
                  <a:pt x="592" y="359"/>
                  <a:pt x="594" y="357"/>
                </a:cubicBezTo>
                <a:close/>
                <a:moveTo>
                  <a:pt x="595" y="371"/>
                </a:moveTo>
                <a:cubicBezTo>
                  <a:pt x="595" y="372"/>
                  <a:pt x="594" y="373"/>
                  <a:pt x="593" y="373"/>
                </a:cubicBezTo>
                <a:cubicBezTo>
                  <a:pt x="593" y="372"/>
                  <a:pt x="594" y="371"/>
                  <a:pt x="595" y="371"/>
                </a:cubicBezTo>
                <a:close/>
                <a:moveTo>
                  <a:pt x="593" y="429"/>
                </a:move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lose/>
                <a:moveTo>
                  <a:pt x="594" y="472"/>
                </a:moveTo>
                <a:cubicBezTo>
                  <a:pt x="594" y="472"/>
                  <a:pt x="595" y="470"/>
                  <a:pt x="595" y="470"/>
                </a:cubicBezTo>
                <a:cubicBezTo>
                  <a:pt x="596" y="471"/>
                  <a:pt x="594" y="472"/>
                  <a:pt x="594" y="472"/>
                </a:cubicBezTo>
                <a:close/>
                <a:moveTo>
                  <a:pt x="598" y="422"/>
                </a:moveTo>
                <a:cubicBezTo>
                  <a:pt x="598" y="423"/>
                  <a:pt x="596" y="426"/>
                  <a:pt x="594" y="428"/>
                </a:cubicBezTo>
                <a:cubicBezTo>
                  <a:pt x="594" y="425"/>
                  <a:pt x="599" y="418"/>
                  <a:pt x="598" y="422"/>
                </a:cubicBezTo>
                <a:close/>
                <a:moveTo>
                  <a:pt x="595" y="356"/>
                </a:moveTo>
                <a:cubicBezTo>
                  <a:pt x="596" y="355"/>
                  <a:pt x="597" y="354"/>
                  <a:pt x="599" y="353"/>
                </a:cubicBezTo>
                <a:cubicBezTo>
                  <a:pt x="598" y="355"/>
                  <a:pt x="597" y="355"/>
                  <a:pt x="595" y="356"/>
                </a:cubicBezTo>
                <a:close/>
                <a:moveTo>
                  <a:pt x="686" y="310"/>
                </a:moveTo>
                <a:cubicBezTo>
                  <a:pt x="686" y="309"/>
                  <a:pt x="686" y="312"/>
                  <a:pt x="686" y="310"/>
                </a:cubicBezTo>
                <a:close/>
                <a:moveTo>
                  <a:pt x="679" y="298"/>
                </a:moveTo>
                <a:cubicBezTo>
                  <a:pt x="682" y="297"/>
                  <a:pt x="678" y="302"/>
                  <a:pt x="678" y="299"/>
                </a:cubicBezTo>
                <a:cubicBezTo>
                  <a:pt x="678" y="299"/>
                  <a:pt x="678" y="298"/>
                  <a:pt x="679" y="298"/>
                </a:cubicBezTo>
                <a:close/>
                <a:moveTo>
                  <a:pt x="676" y="297"/>
                </a:moveTo>
                <a:cubicBezTo>
                  <a:pt x="677" y="295"/>
                  <a:pt x="676" y="298"/>
                  <a:pt x="676" y="297"/>
                </a:cubicBezTo>
                <a:close/>
                <a:moveTo>
                  <a:pt x="671" y="307"/>
                </a:moveTo>
                <a:cubicBezTo>
                  <a:pt x="671" y="307"/>
                  <a:pt x="672" y="308"/>
                  <a:pt x="671" y="308"/>
                </a:cubicBezTo>
                <a:cubicBezTo>
                  <a:pt x="670" y="309"/>
                  <a:pt x="671" y="307"/>
                  <a:pt x="671" y="307"/>
                </a:cubicBezTo>
                <a:close/>
                <a:moveTo>
                  <a:pt x="672" y="331"/>
                </a:moveTo>
                <a:cubicBezTo>
                  <a:pt x="672" y="331"/>
                  <a:pt x="675" y="326"/>
                  <a:pt x="675" y="328"/>
                </a:cubicBezTo>
                <a:cubicBezTo>
                  <a:pt x="675" y="331"/>
                  <a:pt x="670" y="334"/>
                  <a:pt x="668" y="337"/>
                </a:cubicBezTo>
                <a:cubicBezTo>
                  <a:pt x="669" y="335"/>
                  <a:pt x="671" y="333"/>
                  <a:pt x="672" y="331"/>
                </a:cubicBezTo>
                <a:close/>
                <a:moveTo>
                  <a:pt x="669" y="271"/>
                </a:moveTo>
                <a:cubicBezTo>
                  <a:pt x="668" y="270"/>
                  <a:pt x="671" y="264"/>
                  <a:pt x="672" y="266"/>
                </a:cubicBezTo>
                <a:cubicBezTo>
                  <a:pt x="674" y="267"/>
                  <a:pt x="670" y="270"/>
                  <a:pt x="669" y="271"/>
                </a:cubicBezTo>
                <a:close/>
                <a:moveTo>
                  <a:pt x="674" y="235"/>
                </a:moveTo>
                <a:cubicBezTo>
                  <a:pt x="673" y="236"/>
                  <a:pt x="675" y="233"/>
                  <a:pt x="674" y="235"/>
                </a:cubicBezTo>
                <a:close/>
                <a:moveTo>
                  <a:pt x="676" y="252"/>
                </a:moveTo>
                <a:cubicBezTo>
                  <a:pt x="676" y="250"/>
                  <a:pt x="677" y="251"/>
                  <a:pt x="676" y="252"/>
                </a:cubicBezTo>
                <a:close/>
                <a:moveTo>
                  <a:pt x="673" y="222"/>
                </a:moveTo>
                <a:cubicBezTo>
                  <a:pt x="674" y="221"/>
                  <a:pt x="676" y="222"/>
                  <a:pt x="676" y="222"/>
                </a:cubicBezTo>
                <a:cubicBezTo>
                  <a:pt x="678" y="225"/>
                  <a:pt x="674" y="230"/>
                  <a:pt x="672" y="229"/>
                </a:cubicBezTo>
                <a:cubicBezTo>
                  <a:pt x="669" y="227"/>
                  <a:pt x="671" y="223"/>
                  <a:pt x="673" y="222"/>
                </a:cubicBezTo>
                <a:close/>
                <a:moveTo>
                  <a:pt x="669" y="233"/>
                </a:moveTo>
                <a:cubicBezTo>
                  <a:pt x="669" y="232"/>
                  <a:pt x="670" y="231"/>
                  <a:pt x="670" y="230"/>
                </a:cubicBezTo>
                <a:cubicBezTo>
                  <a:pt x="669" y="230"/>
                  <a:pt x="669" y="230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1" y="229"/>
                </a:cubicBezTo>
                <a:cubicBezTo>
                  <a:pt x="670" y="230"/>
                  <a:pt x="670" y="230"/>
                  <a:pt x="670" y="230"/>
                </a:cubicBezTo>
                <a:cubicBezTo>
                  <a:pt x="670" y="233"/>
                  <a:pt x="669" y="236"/>
                  <a:pt x="668" y="238"/>
                </a:cubicBezTo>
                <a:cubicBezTo>
                  <a:pt x="668" y="237"/>
                  <a:pt x="668" y="235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lose/>
                <a:moveTo>
                  <a:pt x="668" y="231"/>
                </a:moveTo>
                <a:cubicBezTo>
                  <a:pt x="668" y="233"/>
                  <a:pt x="666" y="231"/>
                  <a:pt x="668" y="231"/>
                </a:cubicBezTo>
                <a:close/>
                <a:moveTo>
                  <a:pt x="671" y="249"/>
                </a:moveTo>
                <a:cubicBezTo>
                  <a:pt x="670" y="250"/>
                  <a:pt x="668" y="251"/>
                  <a:pt x="666" y="252"/>
                </a:cubicBezTo>
                <a:cubicBezTo>
                  <a:pt x="667" y="250"/>
                  <a:pt x="669" y="250"/>
                  <a:pt x="671" y="249"/>
                </a:cubicBezTo>
                <a:close/>
                <a:moveTo>
                  <a:pt x="667" y="257"/>
                </a:moveTo>
                <a:cubicBezTo>
                  <a:pt x="667" y="258"/>
                  <a:pt x="666" y="260"/>
                  <a:pt x="665" y="261"/>
                </a:cubicBezTo>
                <a:cubicBezTo>
                  <a:pt x="665" y="259"/>
                  <a:pt x="667" y="259"/>
                  <a:pt x="667" y="257"/>
                </a:cubicBezTo>
                <a:close/>
                <a:moveTo>
                  <a:pt x="666" y="302"/>
                </a:moveTo>
                <a:cubicBezTo>
                  <a:pt x="666" y="302"/>
                  <a:pt x="666" y="302"/>
                  <a:pt x="666" y="301"/>
                </a:cubicBezTo>
                <a:cubicBezTo>
                  <a:pt x="666" y="300"/>
                  <a:pt x="667" y="302"/>
                  <a:pt x="666" y="302"/>
                </a:cubicBezTo>
                <a:close/>
                <a:moveTo>
                  <a:pt x="657" y="233"/>
                </a:moveTo>
                <a:cubicBezTo>
                  <a:pt x="657" y="233"/>
                  <a:pt x="657" y="233"/>
                  <a:pt x="657" y="233"/>
                </a:cubicBezTo>
                <a:cubicBezTo>
                  <a:pt x="657" y="235"/>
                  <a:pt x="655" y="233"/>
                  <a:pt x="657" y="233"/>
                </a:cubicBezTo>
                <a:close/>
                <a:moveTo>
                  <a:pt x="655" y="232"/>
                </a:moveTo>
                <a:cubicBezTo>
                  <a:pt x="656" y="232"/>
                  <a:pt x="656" y="234"/>
                  <a:pt x="655" y="234"/>
                </a:cubicBezTo>
                <a:cubicBezTo>
                  <a:pt x="654" y="233"/>
                  <a:pt x="655" y="232"/>
                  <a:pt x="655" y="232"/>
                </a:cubicBezTo>
                <a:close/>
                <a:moveTo>
                  <a:pt x="655" y="256"/>
                </a:moveTo>
                <a:cubicBezTo>
                  <a:pt x="657" y="254"/>
                  <a:pt x="657" y="259"/>
                  <a:pt x="655" y="259"/>
                </a:cubicBezTo>
                <a:cubicBezTo>
                  <a:pt x="654" y="258"/>
                  <a:pt x="654" y="256"/>
                  <a:pt x="655" y="256"/>
                </a:cubicBezTo>
                <a:close/>
                <a:moveTo>
                  <a:pt x="651" y="231"/>
                </a:moveTo>
                <a:cubicBezTo>
                  <a:pt x="651" y="231"/>
                  <a:pt x="652" y="230"/>
                  <a:pt x="653" y="231"/>
                </a:cubicBezTo>
                <a:cubicBezTo>
                  <a:pt x="654" y="232"/>
                  <a:pt x="650" y="234"/>
                  <a:pt x="651" y="231"/>
                </a:cubicBezTo>
                <a:close/>
                <a:moveTo>
                  <a:pt x="651" y="229"/>
                </a:moveTo>
                <a:cubicBezTo>
                  <a:pt x="651" y="228"/>
                  <a:pt x="650" y="231"/>
                  <a:pt x="651" y="229"/>
                </a:cubicBezTo>
                <a:close/>
                <a:moveTo>
                  <a:pt x="647" y="239"/>
                </a:moveTo>
                <a:cubicBezTo>
                  <a:pt x="648" y="237"/>
                  <a:pt x="650" y="241"/>
                  <a:pt x="647" y="241"/>
                </a:cubicBezTo>
                <a:cubicBezTo>
                  <a:pt x="647" y="240"/>
                  <a:pt x="646" y="239"/>
                  <a:pt x="647" y="239"/>
                </a:cubicBezTo>
                <a:close/>
                <a:moveTo>
                  <a:pt x="649" y="265"/>
                </a:moveTo>
                <a:cubicBezTo>
                  <a:pt x="650" y="264"/>
                  <a:pt x="651" y="260"/>
                  <a:pt x="653" y="260"/>
                </a:cubicBezTo>
                <a:cubicBezTo>
                  <a:pt x="657" y="258"/>
                  <a:pt x="649" y="267"/>
                  <a:pt x="648" y="268"/>
                </a:cubicBezTo>
                <a:cubicBezTo>
                  <a:pt x="650" y="266"/>
                  <a:pt x="648" y="270"/>
                  <a:pt x="647" y="269"/>
                </a:cubicBezTo>
                <a:cubicBezTo>
                  <a:pt x="646" y="269"/>
                  <a:pt x="648" y="266"/>
                  <a:pt x="649" y="265"/>
                </a:cubicBezTo>
                <a:close/>
                <a:moveTo>
                  <a:pt x="652" y="271"/>
                </a:moveTo>
                <a:cubicBezTo>
                  <a:pt x="653" y="272"/>
                  <a:pt x="651" y="272"/>
                  <a:pt x="651" y="272"/>
                </a:cubicBezTo>
                <a:cubicBezTo>
                  <a:pt x="651" y="271"/>
                  <a:pt x="652" y="270"/>
                  <a:pt x="652" y="271"/>
                </a:cubicBezTo>
                <a:close/>
                <a:moveTo>
                  <a:pt x="657" y="273"/>
                </a:moveTo>
                <a:cubicBezTo>
                  <a:pt x="653" y="278"/>
                  <a:pt x="649" y="282"/>
                  <a:pt x="643" y="286"/>
                </a:cubicBezTo>
                <a:cubicBezTo>
                  <a:pt x="648" y="281"/>
                  <a:pt x="652" y="277"/>
                  <a:pt x="657" y="273"/>
                </a:cubicBezTo>
                <a:close/>
                <a:moveTo>
                  <a:pt x="645" y="387"/>
                </a:moveTo>
                <a:cubicBezTo>
                  <a:pt x="645" y="389"/>
                  <a:pt x="643" y="388"/>
                  <a:pt x="645" y="387"/>
                </a:cubicBezTo>
                <a:close/>
                <a:moveTo>
                  <a:pt x="645" y="390"/>
                </a:moveTo>
                <a:cubicBezTo>
                  <a:pt x="645" y="388"/>
                  <a:pt x="644" y="391"/>
                  <a:pt x="645" y="390"/>
                </a:cubicBezTo>
                <a:close/>
                <a:moveTo>
                  <a:pt x="641" y="392"/>
                </a:moveTo>
                <a:cubicBezTo>
                  <a:pt x="642" y="391"/>
                  <a:pt x="642" y="390"/>
                  <a:pt x="643" y="389"/>
                </a:cubicBezTo>
                <a:cubicBezTo>
                  <a:pt x="643" y="390"/>
                  <a:pt x="643" y="391"/>
                  <a:pt x="641" y="392"/>
                </a:cubicBezTo>
                <a:close/>
                <a:moveTo>
                  <a:pt x="642" y="393"/>
                </a:moveTo>
                <a:cubicBezTo>
                  <a:pt x="643" y="393"/>
                  <a:pt x="640" y="395"/>
                  <a:pt x="642" y="393"/>
                </a:cubicBezTo>
                <a:close/>
                <a:moveTo>
                  <a:pt x="643" y="300"/>
                </a:moveTo>
                <a:cubicBezTo>
                  <a:pt x="642" y="300"/>
                  <a:pt x="643" y="299"/>
                  <a:pt x="643" y="299"/>
                </a:cubicBezTo>
                <a:cubicBezTo>
                  <a:pt x="644" y="297"/>
                  <a:pt x="644" y="301"/>
                  <a:pt x="643" y="300"/>
                </a:cubicBezTo>
                <a:close/>
                <a:moveTo>
                  <a:pt x="642" y="297"/>
                </a:moveTo>
                <a:cubicBezTo>
                  <a:pt x="642" y="296"/>
                  <a:pt x="643" y="296"/>
                  <a:pt x="644" y="295"/>
                </a:cubicBezTo>
                <a:cubicBezTo>
                  <a:pt x="644" y="296"/>
                  <a:pt x="643" y="297"/>
                  <a:pt x="642" y="297"/>
                </a:cubicBezTo>
                <a:close/>
                <a:moveTo>
                  <a:pt x="639" y="297"/>
                </a:moveTo>
                <a:cubicBezTo>
                  <a:pt x="638" y="296"/>
                  <a:pt x="644" y="290"/>
                  <a:pt x="645" y="290"/>
                </a:cubicBezTo>
                <a:cubicBezTo>
                  <a:pt x="645" y="289"/>
                  <a:pt x="646" y="289"/>
                  <a:pt x="647" y="289"/>
                </a:cubicBezTo>
                <a:cubicBezTo>
                  <a:pt x="647" y="289"/>
                  <a:pt x="640" y="298"/>
                  <a:pt x="639" y="297"/>
                </a:cubicBezTo>
                <a:close/>
                <a:moveTo>
                  <a:pt x="642" y="298"/>
                </a:moveTo>
                <a:cubicBezTo>
                  <a:pt x="641" y="300"/>
                  <a:pt x="639" y="299"/>
                  <a:pt x="642" y="298"/>
                </a:cubicBezTo>
                <a:close/>
                <a:moveTo>
                  <a:pt x="639" y="303"/>
                </a:moveTo>
                <a:cubicBezTo>
                  <a:pt x="639" y="303"/>
                  <a:pt x="639" y="302"/>
                  <a:pt x="639" y="302"/>
                </a:cubicBezTo>
                <a:cubicBezTo>
                  <a:pt x="641" y="300"/>
                  <a:pt x="640" y="304"/>
                  <a:pt x="639" y="303"/>
                </a:cubicBezTo>
                <a:close/>
                <a:moveTo>
                  <a:pt x="640" y="320"/>
                </a:moveTo>
                <a:cubicBezTo>
                  <a:pt x="640" y="320"/>
                  <a:pt x="639" y="321"/>
                  <a:pt x="639" y="321"/>
                </a:cubicBezTo>
                <a:cubicBezTo>
                  <a:pt x="638" y="321"/>
                  <a:pt x="639" y="320"/>
                  <a:pt x="640" y="320"/>
                </a:cubicBezTo>
                <a:close/>
                <a:moveTo>
                  <a:pt x="638" y="266"/>
                </a:moveTo>
                <a:cubicBezTo>
                  <a:pt x="637" y="266"/>
                  <a:pt x="639" y="265"/>
                  <a:pt x="638" y="264"/>
                </a:cubicBezTo>
                <a:cubicBezTo>
                  <a:pt x="639" y="264"/>
                  <a:pt x="638" y="266"/>
                  <a:pt x="638" y="266"/>
                </a:cubicBezTo>
                <a:close/>
                <a:moveTo>
                  <a:pt x="638" y="268"/>
                </a:moveTo>
                <a:cubicBezTo>
                  <a:pt x="638" y="268"/>
                  <a:pt x="638" y="269"/>
                  <a:pt x="638" y="269"/>
                </a:cubicBezTo>
                <a:cubicBezTo>
                  <a:pt x="638" y="269"/>
                  <a:pt x="638" y="269"/>
                  <a:pt x="638" y="269"/>
                </a:cubicBezTo>
                <a:cubicBezTo>
                  <a:pt x="638" y="269"/>
                  <a:pt x="638" y="269"/>
                  <a:pt x="638" y="268"/>
                </a:cubicBezTo>
                <a:close/>
                <a:moveTo>
                  <a:pt x="642" y="286"/>
                </a:moveTo>
                <a:cubicBezTo>
                  <a:pt x="642" y="287"/>
                  <a:pt x="639" y="289"/>
                  <a:pt x="638" y="290"/>
                </a:cubicBezTo>
                <a:cubicBezTo>
                  <a:pt x="638" y="288"/>
                  <a:pt x="641" y="288"/>
                  <a:pt x="642" y="286"/>
                </a:cubicBezTo>
                <a:close/>
                <a:moveTo>
                  <a:pt x="644" y="234"/>
                </a:moveTo>
                <a:cubicBezTo>
                  <a:pt x="643" y="235"/>
                  <a:pt x="643" y="234"/>
                  <a:pt x="644" y="234"/>
                </a:cubicBezTo>
                <a:close/>
                <a:moveTo>
                  <a:pt x="643" y="251"/>
                </a:moveTo>
                <a:cubicBezTo>
                  <a:pt x="643" y="252"/>
                  <a:pt x="642" y="253"/>
                  <a:pt x="642" y="253"/>
                </a:cubicBezTo>
                <a:cubicBezTo>
                  <a:pt x="642" y="253"/>
                  <a:pt x="642" y="251"/>
                  <a:pt x="643" y="251"/>
                </a:cubicBezTo>
                <a:close/>
                <a:moveTo>
                  <a:pt x="645" y="254"/>
                </a:moveTo>
                <a:cubicBezTo>
                  <a:pt x="643" y="257"/>
                  <a:pt x="641" y="258"/>
                  <a:pt x="638" y="260"/>
                </a:cubicBezTo>
                <a:cubicBezTo>
                  <a:pt x="640" y="258"/>
                  <a:pt x="642" y="256"/>
                  <a:pt x="645" y="254"/>
                </a:cubicBezTo>
                <a:close/>
                <a:moveTo>
                  <a:pt x="640" y="225"/>
                </a:moveTo>
                <a:cubicBezTo>
                  <a:pt x="640" y="225"/>
                  <a:pt x="640" y="225"/>
                  <a:pt x="640" y="225"/>
                </a:cubicBezTo>
                <a:cubicBezTo>
                  <a:pt x="640" y="225"/>
                  <a:pt x="640" y="225"/>
                  <a:pt x="640" y="226"/>
                </a:cubicBezTo>
                <a:cubicBezTo>
                  <a:pt x="640" y="226"/>
                  <a:pt x="640" y="226"/>
                  <a:pt x="640" y="225"/>
                </a:cubicBezTo>
                <a:close/>
                <a:moveTo>
                  <a:pt x="640" y="241"/>
                </a:moveTo>
                <a:cubicBezTo>
                  <a:pt x="641" y="243"/>
                  <a:pt x="638" y="244"/>
                  <a:pt x="638" y="242"/>
                </a:cubicBezTo>
                <a:cubicBezTo>
                  <a:pt x="637" y="241"/>
                  <a:pt x="640" y="239"/>
                  <a:pt x="640" y="241"/>
                </a:cubicBezTo>
                <a:close/>
                <a:moveTo>
                  <a:pt x="638" y="290"/>
                </a:moveTo>
                <a:cubicBezTo>
                  <a:pt x="639" y="291"/>
                  <a:pt x="635" y="292"/>
                  <a:pt x="636" y="290"/>
                </a:cubicBezTo>
                <a:cubicBezTo>
                  <a:pt x="637" y="289"/>
                  <a:pt x="637" y="289"/>
                  <a:pt x="638" y="290"/>
                </a:cubicBezTo>
                <a:close/>
                <a:moveTo>
                  <a:pt x="637" y="302"/>
                </a:move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lose/>
                <a:moveTo>
                  <a:pt x="632" y="265"/>
                </a:moveTo>
                <a:cubicBezTo>
                  <a:pt x="633" y="264"/>
                  <a:pt x="635" y="262"/>
                  <a:pt x="636" y="262"/>
                </a:cubicBezTo>
                <a:cubicBezTo>
                  <a:pt x="636" y="262"/>
                  <a:pt x="634" y="265"/>
                  <a:pt x="632" y="265"/>
                </a:cubicBezTo>
                <a:close/>
                <a:moveTo>
                  <a:pt x="637" y="219"/>
                </a:moveTo>
                <a:cubicBezTo>
                  <a:pt x="637" y="221"/>
                  <a:pt x="634" y="221"/>
                  <a:pt x="634" y="219"/>
                </a:cubicBezTo>
                <a:cubicBezTo>
                  <a:pt x="634" y="218"/>
                  <a:pt x="636" y="217"/>
                  <a:pt x="637" y="219"/>
                </a:cubicBezTo>
                <a:close/>
                <a:moveTo>
                  <a:pt x="633" y="221"/>
                </a:moveTo>
                <a:cubicBezTo>
                  <a:pt x="633" y="221"/>
                  <a:pt x="635" y="221"/>
                  <a:pt x="634" y="222"/>
                </a:cubicBezTo>
                <a:cubicBezTo>
                  <a:pt x="634" y="222"/>
                  <a:pt x="632" y="222"/>
                  <a:pt x="633" y="221"/>
                </a:cubicBezTo>
                <a:close/>
                <a:moveTo>
                  <a:pt x="633" y="253"/>
                </a:moveTo>
                <a:cubicBezTo>
                  <a:pt x="633" y="254"/>
                  <a:pt x="632" y="254"/>
                  <a:pt x="631" y="254"/>
                </a:cubicBezTo>
                <a:cubicBezTo>
                  <a:pt x="631" y="253"/>
                  <a:pt x="632" y="252"/>
                  <a:pt x="633" y="253"/>
                </a:cubicBezTo>
                <a:close/>
                <a:moveTo>
                  <a:pt x="630" y="260"/>
                </a:moveTo>
                <a:cubicBezTo>
                  <a:pt x="630" y="260"/>
                  <a:pt x="630" y="260"/>
                  <a:pt x="630" y="261"/>
                </a:cubicBezTo>
                <a:cubicBezTo>
                  <a:pt x="630" y="261"/>
                  <a:pt x="630" y="261"/>
                  <a:pt x="630" y="261"/>
                </a:cubicBezTo>
                <a:cubicBezTo>
                  <a:pt x="630" y="261"/>
                  <a:pt x="630" y="260"/>
                  <a:pt x="630" y="260"/>
                </a:cubicBezTo>
                <a:close/>
                <a:moveTo>
                  <a:pt x="632" y="277"/>
                </a:moveTo>
                <a:cubicBezTo>
                  <a:pt x="634" y="279"/>
                  <a:pt x="631" y="281"/>
                  <a:pt x="629" y="281"/>
                </a:cubicBezTo>
                <a:cubicBezTo>
                  <a:pt x="629" y="280"/>
                  <a:pt x="631" y="277"/>
                  <a:pt x="632" y="277"/>
                </a:cubicBezTo>
                <a:close/>
                <a:moveTo>
                  <a:pt x="632" y="347"/>
                </a:moveTo>
                <a:cubicBezTo>
                  <a:pt x="632" y="347"/>
                  <a:pt x="632" y="346"/>
                  <a:pt x="632" y="346"/>
                </a:cubicBezTo>
                <a:cubicBezTo>
                  <a:pt x="633" y="344"/>
                  <a:pt x="632" y="348"/>
                  <a:pt x="632" y="347"/>
                </a:cubicBezTo>
                <a:close/>
                <a:moveTo>
                  <a:pt x="630" y="294"/>
                </a:moveTo>
                <a:cubicBezTo>
                  <a:pt x="630" y="295"/>
                  <a:pt x="629" y="295"/>
                  <a:pt x="629" y="295"/>
                </a:cubicBezTo>
                <a:cubicBezTo>
                  <a:pt x="629" y="295"/>
                  <a:pt x="629" y="294"/>
                  <a:pt x="630" y="294"/>
                </a:cubicBezTo>
                <a:close/>
                <a:moveTo>
                  <a:pt x="627" y="314"/>
                </a:moveTo>
                <a:cubicBezTo>
                  <a:pt x="627" y="314"/>
                  <a:pt x="628" y="314"/>
                  <a:pt x="628" y="314"/>
                </a:cubicBezTo>
                <a:cubicBezTo>
                  <a:pt x="629" y="315"/>
                  <a:pt x="627" y="315"/>
                  <a:pt x="627" y="314"/>
                </a:cubicBezTo>
                <a:close/>
                <a:moveTo>
                  <a:pt x="628" y="256"/>
                </a:moveTo>
                <a:cubicBezTo>
                  <a:pt x="628" y="254"/>
                  <a:pt x="627" y="257"/>
                  <a:pt x="628" y="256"/>
                </a:cubicBezTo>
                <a:close/>
                <a:moveTo>
                  <a:pt x="626" y="201"/>
                </a:moveTo>
                <a:cubicBezTo>
                  <a:pt x="624" y="200"/>
                  <a:pt x="625" y="198"/>
                  <a:pt x="626" y="198"/>
                </a:cubicBezTo>
                <a:cubicBezTo>
                  <a:pt x="629" y="196"/>
                  <a:pt x="628" y="201"/>
                  <a:pt x="626" y="201"/>
                </a:cubicBezTo>
                <a:close/>
                <a:moveTo>
                  <a:pt x="625" y="187"/>
                </a:moveTo>
                <a:cubicBezTo>
                  <a:pt x="625" y="186"/>
                  <a:pt x="626" y="186"/>
                  <a:pt x="626" y="186"/>
                </a:cubicBezTo>
                <a:cubicBezTo>
                  <a:pt x="627" y="187"/>
                  <a:pt x="624" y="188"/>
                  <a:pt x="625" y="187"/>
                </a:cubicBezTo>
                <a:close/>
                <a:moveTo>
                  <a:pt x="622" y="226"/>
                </a:moveTo>
                <a:cubicBezTo>
                  <a:pt x="617" y="226"/>
                  <a:pt x="619" y="218"/>
                  <a:pt x="621" y="217"/>
                </a:cubicBezTo>
                <a:cubicBezTo>
                  <a:pt x="629" y="212"/>
                  <a:pt x="628" y="227"/>
                  <a:pt x="622" y="226"/>
                </a:cubicBezTo>
                <a:close/>
                <a:moveTo>
                  <a:pt x="619" y="233"/>
                </a:moveTo>
                <a:cubicBezTo>
                  <a:pt x="618" y="232"/>
                  <a:pt x="623" y="228"/>
                  <a:pt x="624" y="228"/>
                </a:cubicBezTo>
                <a:cubicBezTo>
                  <a:pt x="628" y="226"/>
                  <a:pt x="620" y="234"/>
                  <a:pt x="619" y="233"/>
                </a:cubicBezTo>
                <a:close/>
                <a:moveTo>
                  <a:pt x="625" y="235"/>
                </a:moveTo>
                <a:cubicBezTo>
                  <a:pt x="625" y="236"/>
                  <a:pt x="623" y="237"/>
                  <a:pt x="623" y="236"/>
                </a:cubicBezTo>
                <a:cubicBezTo>
                  <a:pt x="622" y="235"/>
                  <a:pt x="624" y="234"/>
                  <a:pt x="625" y="235"/>
                </a:cubicBezTo>
                <a:close/>
                <a:moveTo>
                  <a:pt x="622" y="357"/>
                </a:move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lose/>
                <a:moveTo>
                  <a:pt x="608" y="328"/>
                </a:moveTo>
                <a:cubicBezTo>
                  <a:pt x="608" y="327"/>
                  <a:pt x="611" y="326"/>
                  <a:pt x="612" y="324"/>
                </a:cubicBezTo>
                <a:cubicBezTo>
                  <a:pt x="615" y="321"/>
                  <a:pt x="617" y="315"/>
                  <a:pt x="621" y="313"/>
                </a:cubicBezTo>
                <a:cubicBezTo>
                  <a:pt x="621" y="317"/>
                  <a:pt x="615" y="319"/>
                  <a:pt x="614" y="322"/>
                </a:cubicBezTo>
                <a:cubicBezTo>
                  <a:pt x="613" y="324"/>
                  <a:pt x="610" y="329"/>
                  <a:pt x="607" y="331"/>
                </a:cubicBezTo>
                <a:cubicBezTo>
                  <a:pt x="607" y="331"/>
                  <a:pt x="607" y="333"/>
                  <a:pt x="606" y="332"/>
                </a:cubicBezTo>
                <a:cubicBezTo>
                  <a:pt x="605" y="331"/>
                  <a:pt x="608" y="328"/>
                  <a:pt x="608" y="328"/>
                </a:cubicBezTo>
                <a:close/>
                <a:moveTo>
                  <a:pt x="605" y="271"/>
                </a:moveTo>
                <a:cubicBezTo>
                  <a:pt x="604" y="270"/>
                  <a:pt x="605" y="269"/>
                  <a:pt x="605" y="269"/>
                </a:cubicBezTo>
                <a:cubicBezTo>
                  <a:pt x="608" y="267"/>
                  <a:pt x="606" y="272"/>
                  <a:pt x="605" y="271"/>
                </a:cubicBezTo>
                <a:close/>
                <a:moveTo>
                  <a:pt x="609" y="243"/>
                </a:moveTo>
                <a:cubicBezTo>
                  <a:pt x="608" y="242"/>
                  <a:pt x="610" y="241"/>
                  <a:pt x="611" y="243"/>
                </a:cubicBezTo>
                <a:cubicBezTo>
                  <a:pt x="611" y="244"/>
                  <a:pt x="609" y="244"/>
                  <a:pt x="609" y="243"/>
                </a:cubicBezTo>
                <a:close/>
                <a:moveTo>
                  <a:pt x="611" y="305"/>
                </a:moveTo>
                <a:cubicBezTo>
                  <a:pt x="610" y="306"/>
                  <a:pt x="611" y="304"/>
                  <a:pt x="611" y="305"/>
                </a:cubicBezTo>
                <a:close/>
                <a:moveTo>
                  <a:pt x="613" y="298"/>
                </a:moveTo>
                <a:cubicBezTo>
                  <a:pt x="613" y="298"/>
                  <a:pt x="613" y="298"/>
                  <a:pt x="613" y="298"/>
                </a:cubicBezTo>
                <a:cubicBezTo>
                  <a:pt x="614" y="295"/>
                  <a:pt x="613" y="300"/>
                  <a:pt x="613" y="298"/>
                </a:cubicBezTo>
                <a:close/>
                <a:moveTo>
                  <a:pt x="617" y="261"/>
                </a:moveTo>
                <a:cubicBezTo>
                  <a:pt x="617" y="262"/>
                  <a:pt x="616" y="262"/>
                  <a:pt x="615" y="263"/>
                </a:cubicBezTo>
                <a:cubicBezTo>
                  <a:pt x="615" y="262"/>
                  <a:pt x="616" y="261"/>
                  <a:pt x="617" y="261"/>
                </a:cubicBezTo>
                <a:close/>
                <a:moveTo>
                  <a:pt x="616" y="238"/>
                </a:moveTo>
                <a:cubicBezTo>
                  <a:pt x="616" y="238"/>
                  <a:pt x="616" y="239"/>
                  <a:pt x="615" y="239"/>
                </a:cubicBezTo>
                <a:cubicBezTo>
                  <a:pt x="615" y="238"/>
                  <a:pt x="615" y="238"/>
                  <a:pt x="616" y="238"/>
                </a:cubicBezTo>
                <a:close/>
                <a:moveTo>
                  <a:pt x="618" y="309"/>
                </a:moveTo>
                <a:cubicBezTo>
                  <a:pt x="618" y="309"/>
                  <a:pt x="618" y="308"/>
                  <a:pt x="618" y="308"/>
                </a:cubicBezTo>
                <a:cubicBezTo>
                  <a:pt x="619" y="306"/>
                  <a:pt x="618" y="311"/>
                  <a:pt x="618" y="309"/>
                </a:cubicBezTo>
                <a:close/>
                <a:moveTo>
                  <a:pt x="618" y="295"/>
                </a:moveTo>
                <a:cubicBezTo>
                  <a:pt x="619" y="293"/>
                  <a:pt x="618" y="296"/>
                  <a:pt x="618" y="295"/>
                </a:cubicBezTo>
                <a:close/>
                <a:moveTo>
                  <a:pt x="620" y="301"/>
                </a:moveTo>
                <a:cubicBezTo>
                  <a:pt x="619" y="302"/>
                  <a:pt x="621" y="300"/>
                  <a:pt x="620" y="301"/>
                </a:cubicBezTo>
                <a:close/>
                <a:moveTo>
                  <a:pt x="621" y="333"/>
                </a:moveTo>
                <a:cubicBezTo>
                  <a:pt x="620" y="335"/>
                  <a:pt x="619" y="336"/>
                  <a:pt x="618" y="337"/>
                </a:cubicBezTo>
                <a:cubicBezTo>
                  <a:pt x="619" y="336"/>
                  <a:pt x="620" y="334"/>
                  <a:pt x="621" y="333"/>
                </a:cubicBezTo>
                <a:close/>
                <a:moveTo>
                  <a:pt x="622" y="194"/>
                </a:moveTo>
                <a:cubicBezTo>
                  <a:pt x="621" y="194"/>
                  <a:pt x="622" y="192"/>
                  <a:pt x="623" y="193"/>
                </a:cubicBezTo>
                <a:cubicBezTo>
                  <a:pt x="623" y="194"/>
                  <a:pt x="622" y="195"/>
                  <a:pt x="622" y="194"/>
                </a:cubicBezTo>
                <a:close/>
                <a:moveTo>
                  <a:pt x="619" y="192"/>
                </a:moveTo>
                <a:cubicBezTo>
                  <a:pt x="619" y="192"/>
                  <a:pt x="619" y="192"/>
                  <a:pt x="620" y="191"/>
                </a:cubicBezTo>
                <a:cubicBezTo>
                  <a:pt x="620" y="192"/>
                  <a:pt x="620" y="192"/>
                  <a:pt x="620" y="192"/>
                </a:cubicBezTo>
                <a:cubicBezTo>
                  <a:pt x="621" y="191"/>
                  <a:pt x="622" y="190"/>
                  <a:pt x="623" y="190"/>
                </a:cubicBezTo>
                <a:cubicBezTo>
                  <a:pt x="622" y="192"/>
                  <a:pt x="620" y="193"/>
                  <a:pt x="617" y="194"/>
                </a:cubicBezTo>
                <a:cubicBezTo>
                  <a:pt x="618" y="193"/>
                  <a:pt x="618" y="193"/>
                  <a:pt x="619" y="192"/>
                </a:cubicBezTo>
                <a:close/>
                <a:moveTo>
                  <a:pt x="615" y="194"/>
                </a:moveTo>
                <a:cubicBezTo>
                  <a:pt x="616" y="194"/>
                  <a:pt x="617" y="193"/>
                  <a:pt x="617" y="194"/>
                </a:cubicBezTo>
                <a:cubicBezTo>
                  <a:pt x="618" y="195"/>
                  <a:pt x="613" y="196"/>
                  <a:pt x="615" y="194"/>
                </a:cubicBezTo>
                <a:close/>
                <a:moveTo>
                  <a:pt x="612" y="214"/>
                </a:moveTo>
                <a:cubicBezTo>
                  <a:pt x="613" y="215"/>
                  <a:pt x="612" y="215"/>
                  <a:pt x="611" y="214"/>
                </a:cubicBezTo>
                <a:cubicBezTo>
                  <a:pt x="611" y="214"/>
                  <a:pt x="612" y="213"/>
                  <a:pt x="612" y="214"/>
                </a:cubicBezTo>
                <a:close/>
                <a:moveTo>
                  <a:pt x="609" y="203"/>
                </a:moveTo>
                <a:cubicBezTo>
                  <a:pt x="611" y="201"/>
                  <a:pt x="611" y="205"/>
                  <a:pt x="609" y="205"/>
                </a:cubicBezTo>
                <a:cubicBezTo>
                  <a:pt x="609" y="204"/>
                  <a:pt x="609" y="204"/>
                  <a:pt x="609" y="203"/>
                </a:cubicBezTo>
                <a:close/>
                <a:moveTo>
                  <a:pt x="609" y="219"/>
                </a:moveTo>
                <a:cubicBezTo>
                  <a:pt x="612" y="218"/>
                  <a:pt x="616" y="215"/>
                  <a:pt x="620" y="214"/>
                </a:cubicBezTo>
                <a:cubicBezTo>
                  <a:pt x="617" y="216"/>
                  <a:pt x="611" y="220"/>
                  <a:pt x="608" y="221"/>
                </a:cubicBezTo>
                <a:cubicBezTo>
                  <a:pt x="609" y="221"/>
                  <a:pt x="607" y="222"/>
                  <a:pt x="607" y="221"/>
                </a:cubicBezTo>
                <a:cubicBezTo>
                  <a:pt x="606" y="220"/>
                  <a:pt x="609" y="220"/>
                  <a:pt x="609" y="219"/>
                </a:cubicBezTo>
                <a:close/>
                <a:moveTo>
                  <a:pt x="610" y="253"/>
                </a:moveTo>
                <a:cubicBezTo>
                  <a:pt x="610" y="255"/>
                  <a:pt x="605" y="256"/>
                  <a:pt x="605" y="255"/>
                </a:cubicBezTo>
                <a:cubicBezTo>
                  <a:pt x="604" y="252"/>
                  <a:pt x="610" y="249"/>
                  <a:pt x="610" y="253"/>
                </a:cubicBezTo>
                <a:close/>
                <a:moveTo>
                  <a:pt x="602" y="194"/>
                </a:moveTo>
                <a:cubicBezTo>
                  <a:pt x="602" y="194"/>
                  <a:pt x="603" y="194"/>
                  <a:pt x="603" y="194"/>
                </a:cubicBezTo>
                <a:cubicBezTo>
                  <a:pt x="604" y="196"/>
                  <a:pt x="601" y="196"/>
                  <a:pt x="602" y="194"/>
                </a:cubicBezTo>
                <a:close/>
                <a:moveTo>
                  <a:pt x="604" y="256"/>
                </a:moveTo>
                <a:cubicBezTo>
                  <a:pt x="604" y="257"/>
                  <a:pt x="606" y="258"/>
                  <a:pt x="606" y="259"/>
                </a:cubicBezTo>
                <a:cubicBezTo>
                  <a:pt x="605" y="261"/>
                  <a:pt x="604" y="259"/>
                  <a:pt x="603" y="260"/>
                </a:cubicBezTo>
                <a:cubicBezTo>
                  <a:pt x="601" y="262"/>
                  <a:pt x="602" y="267"/>
                  <a:pt x="600" y="270"/>
                </a:cubicBezTo>
                <a:cubicBezTo>
                  <a:pt x="600" y="265"/>
                  <a:pt x="602" y="261"/>
                  <a:pt x="604" y="256"/>
                </a:cubicBezTo>
                <a:close/>
                <a:moveTo>
                  <a:pt x="600" y="272"/>
                </a:moveTo>
                <a:cubicBezTo>
                  <a:pt x="600" y="271"/>
                  <a:pt x="602" y="269"/>
                  <a:pt x="603" y="271"/>
                </a:cubicBezTo>
                <a:cubicBezTo>
                  <a:pt x="603" y="273"/>
                  <a:pt x="601" y="273"/>
                  <a:pt x="600" y="272"/>
                </a:cubicBezTo>
                <a:close/>
                <a:moveTo>
                  <a:pt x="601" y="310"/>
                </a:moveTo>
                <a:cubicBezTo>
                  <a:pt x="600" y="310"/>
                  <a:pt x="601" y="310"/>
                  <a:pt x="601" y="310"/>
                </a:cubicBezTo>
                <a:cubicBezTo>
                  <a:pt x="602" y="310"/>
                  <a:pt x="601" y="310"/>
                  <a:pt x="601" y="310"/>
                </a:cubicBezTo>
                <a:close/>
                <a:moveTo>
                  <a:pt x="602" y="303"/>
                </a:moveTo>
                <a:cubicBezTo>
                  <a:pt x="602" y="302"/>
                  <a:pt x="603" y="302"/>
                  <a:pt x="603" y="302"/>
                </a:cubicBezTo>
                <a:cubicBezTo>
                  <a:pt x="604" y="302"/>
                  <a:pt x="602" y="304"/>
                  <a:pt x="602" y="303"/>
                </a:cubicBezTo>
                <a:close/>
                <a:moveTo>
                  <a:pt x="607" y="416"/>
                </a:moveTo>
                <a:cubicBezTo>
                  <a:pt x="607" y="415"/>
                  <a:pt x="607" y="415"/>
                  <a:pt x="608" y="414"/>
                </a:cubicBezTo>
                <a:cubicBezTo>
                  <a:pt x="607" y="415"/>
                  <a:pt x="607" y="416"/>
                  <a:pt x="607" y="416"/>
                </a:cubicBezTo>
                <a:close/>
                <a:moveTo>
                  <a:pt x="608" y="393"/>
                </a:moveTo>
                <a:cubicBezTo>
                  <a:pt x="608" y="392"/>
                  <a:pt x="609" y="391"/>
                  <a:pt x="610" y="390"/>
                </a:cubicBezTo>
                <a:cubicBezTo>
                  <a:pt x="610" y="390"/>
                  <a:pt x="609" y="392"/>
                  <a:pt x="608" y="393"/>
                </a:cubicBezTo>
                <a:close/>
                <a:moveTo>
                  <a:pt x="600" y="353"/>
                </a:moveTo>
                <a:cubicBezTo>
                  <a:pt x="601" y="350"/>
                  <a:pt x="607" y="346"/>
                  <a:pt x="610" y="343"/>
                </a:cubicBezTo>
                <a:cubicBezTo>
                  <a:pt x="608" y="347"/>
                  <a:pt x="603" y="350"/>
                  <a:pt x="600" y="353"/>
                </a:cubicBezTo>
                <a:close/>
                <a:moveTo>
                  <a:pt x="611" y="388"/>
                </a:moveTo>
                <a:cubicBezTo>
                  <a:pt x="610" y="388"/>
                  <a:pt x="612" y="387"/>
                  <a:pt x="611" y="388"/>
                </a:cubicBezTo>
                <a:close/>
                <a:moveTo>
                  <a:pt x="612" y="387"/>
                </a:moveTo>
                <a:cubicBezTo>
                  <a:pt x="612" y="386"/>
                  <a:pt x="612" y="386"/>
                  <a:pt x="613" y="385"/>
                </a:cubicBezTo>
                <a:cubicBezTo>
                  <a:pt x="613" y="386"/>
                  <a:pt x="612" y="387"/>
                  <a:pt x="612" y="387"/>
                </a:cubicBezTo>
                <a:close/>
                <a:moveTo>
                  <a:pt x="611" y="344"/>
                </a:moveTo>
                <a:cubicBezTo>
                  <a:pt x="612" y="342"/>
                  <a:pt x="613" y="341"/>
                  <a:pt x="616" y="339"/>
                </a:cubicBezTo>
                <a:cubicBezTo>
                  <a:pt x="614" y="341"/>
                  <a:pt x="613" y="343"/>
                  <a:pt x="611" y="344"/>
                </a:cubicBezTo>
                <a:close/>
                <a:moveTo>
                  <a:pt x="615" y="357"/>
                </a:moveTo>
                <a:cubicBezTo>
                  <a:pt x="615" y="357"/>
                  <a:pt x="616" y="356"/>
                  <a:pt x="617" y="356"/>
                </a:cubicBezTo>
                <a:cubicBezTo>
                  <a:pt x="616" y="357"/>
                  <a:pt x="615" y="357"/>
                  <a:pt x="615" y="357"/>
                </a:cubicBezTo>
                <a:close/>
                <a:moveTo>
                  <a:pt x="617" y="539"/>
                </a:moveTo>
                <a:cubicBezTo>
                  <a:pt x="616" y="539"/>
                  <a:pt x="617" y="537"/>
                  <a:pt x="618" y="537"/>
                </a:cubicBezTo>
                <a:cubicBezTo>
                  <a:pt x="618" y="538"/>
                  <a:pt x="617" y="539"/>
                  <a:pt x="617" y="539"/>
                </a:cubicBezTo>
                <a:close/>
                <a:moveTo>
                  <a:pt x="618" y="445"/>
                </a:moveTo>
                <a:cubicBezTo>
                  <a:pt x="617" y="445"/>
                  <a:pt x="618" y="443"/>
                  <a:pt x="618" y="443"/>
                </a:cubicBezTo>
                <a:cubicBezTo>
                  <a:pt x="620" y="441"/>
                  <a:pt x="619" y="446"/>
                  <a:pt x="618" y="445"/>
                </a:cubicBezTo>
                <a:close/>
                <a:moveTo>
                  <a:pt x="619" y="557"/>
                </a:moveTo>
                <a:cubicBezTo>
                  <a:pt x="619" y="557"/>
                  <a:pt x="619" y="556"/>
                  <a:pt x="619" y="557"/>
                </a:cubicBezTo>
                <a:cubicBezTo>
                  <a:pt x="620" y="557"/>
                  <a:pt x="619" y="558"/>
                  <a:pt x="619" y="557"/>
                </a:cubicBezTo>
                <a:close/>
                <a:moveTo>
                  <a:pt x="619" y="347"/>
                </a:moveTo>
                <a:cubicBezTo>
                  <a:pt x="618" y="347"/>
                  <a:pt x="619" y="345"/>
                  <a:pt x="619" y="345"/>
                </a:cubicBezTo>
                <a:cubicBezTo>
                  <a:pt x="621" y="342"/>
                  <a:pt x="620" y="348"/>
                  <a:pt x="619" y="347"/>
                </a:cubicBezTo>
                <a:close/>
                <a:moveTo>
                  <a:pt x="620" y="435"/>
                </a:moveTo>
                <a:cubicBezTo>
                  <a:pt x="621" y="434"/>
                  <a:pt x="619" y="437"/>
                  <a:pt x="620" y="435"/>
                </a:cubicBezTo>
                <a:close/>
                <a:moveTo>
                  <a:pt x="623" y="526"/>
                </a:moveTo>
                <a:cubicBezTo>
                  <a:pt x="624" y="527"/>
                  <a:pt x="622" y="529"/>
                  <a:pt x="621" y="530"/>
                </a:cubicBezTo>
                <a:cubicBezTo>
                  <a:pt x="621" y="529"/>
                  <a:pt x="623" y="527"/>
                  <a:pt x="623" y="526"/>
                </a:cubicBezTo>
                <a:close/>
                <a:moveTo>
                  <a:pt x="622" y="561"/>
                </a:moveTo>
                <a:cubicBezTo>
                  <a:pt x="621" y="560"/>
                  <a:pt x="622" y="558"/>
                  <a:pt x="622" y="558"/>
                </a:cubicBezTo>
                <a:cubicBezTo>
                  <a:pt x="625" y="555"/>
                  <a:pt x="624" y="562"/>
                  <a:pt x="622" y="561"/>
                </a:cubicBezTo>
                <a:close/>
                <a:moveTo>
                  <a:pt x="624" y="492"/>
                </a:moveTo>
                <a:cubicBezTo>
                  <a:pt x="624" y="490"/>
                  <a:pt x="623" y="493"/>
                  <a:pt x="624" y="492"/>
                </a:cubicBezTo>
                <a:close/>
                <a:moveTo>
                  <a:pt x="625" y="381"/>
                </a:moveTo>
                <a:cubicBezTo>
                  <a:pt x="625" y="381"/>
                  <a:pt x="624" y="381"/>
                  <a:pt x="624" y="381"/>
                </a:cubicBezTo>
                <a:cubicBezTo>
                  <a:pt x="625" y="379"/>
                  <a:pt x="626" y="381"/>
                  <a:pt x="625" y="381"/>
                </a:cubicBezTo>
                <a:close/>
                <a:moveTo>
                  <a:pt x="624" y="254"/>
                </a:moveTo>
                <a:cubicBezTo>
                  <a:pt x="624" y="254"/>
                  <a:pt x="625" y="253"/>
                  <a:pt x="625" y="253"/>
                </a:cubicBezTo>
                <a:cubicBezTo>
                  <a:pt x="626" y="252"/>
                  <a:pt x="625" y="255"/>
                  <a:pt x="624" y="254"/>
                </a:cubicBezTo>
                <a:close/>
                <a:moveTo>
                  <a:pt x="626" y="488"/>
                </a:moveTo>
                <a:cubicBezTo>
                  <a:pt x="626" y="488"/>
                  <a:pt x="627" y="486"/>
                  <a:pt x="627" y="486"/>
                </a:cubicBezTo>
                <a:cubicBezTo>
                  <a:pt x="627" y="487"/>
                  <a:pt x="626" y="487"/>
                  <a:pt x="626" y="488"/>
                </a:cubicBezTo>
                <a:close/>
                <a:moveTo>
                  <a:pt x="628" y="522"/>
                </a:moveTo>
                <a:cubicBezTo>
                  <a:pt x="626" y="521"/>
                  <a:pt x="628" y="521"/>
                  <a:pt x="628" y="522"/>
                </a:cubicBezTo>
                <a:close/>
                <a:moveTo>
                  <a:pt x="633" y="526"/>
                </a:moveTo>
                <a:cubicBezTo>
                  <a:pt x="634" y="528"/>
                  <a:pt x="631" y="529"/>
                  <a:pt x="633" y="526"/>
                </a:cubicBezTo>
                <a:close/>
                <a:moveTo>
                  <a:pt x="628" y="417"/>
                </a:moveTo>
                <a:cubicBezTo>
                  <a:pt x="630" y="415"/>
                  <a:pt x="631" y="410"/>
                  <a:pt x="634" y="409"/>
                </a:cubicBezTo>
                <a:cubicBezTo>
                  <a:pt x="633" y="409"/>
                  <a:pt x="631" y="417"/>
                  <a:pt x="628" y="417"/>
                </a:cubicBezTo>
                <a:close/>
                <a:moveTo>
                  <a:pt x="633" y="310"/>
                </a:moveTo>
                <a:cubicBezTo>
                  <a:pt x="632" y="309"/>
                  <a:pt x="634" y="305"/>
                  <a:pt x="634" y="305"/>
                </a:cubicBezTo>
                <a:cubicBezTo>
                  <a:pt x="638" y="302"/>
                  <a:pt x="636" y="311"/>
                  <a:pt x="633" y="310"/>
                </a:cubicBezTo>
                <a:close/>
                <a:moveTo>
                  <a:pt x="637" y="496"/>
                </a:moveTo>
                <a:cubicBezTo>
                  <a:pt x="636" y="497"/>
                  <a:pt x="637" y="495"/>
                  <a:pt x="637" y="496"/>
                </a:cubicBezTo>
                <a:close/>
                <a:moveTo>
                  <a:pt x="637" y="495"/>
                </a:moveTo>
                <a:cubicBezTo>
                  <a:pt x="635" y="495"/>
                  <a:pt x="637" y="490"/>
                  <a:pt x="638" y="490"/>
                </a:cubicBezTo>
                <a:cubicBezTo>
                  <a:pt x="640" y="489"/>
                  <a:pt x="639" y="496"/>
                  <a:pt x="637" y="495"/>
                </a:cubicBezTo>
                <a:close/>
                <a:moveTo>
                  <a:pt x="638" y="424"/>
                </a:move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lose/>
                <a:moveTo>
                  <a:pt x="634" y="368"/>
                </a:moveTo>
                <a:cubicBezTo>
                  <a:pt x="637" y="365"/>
                  <a:pt x="639" y="361"/>
                  <a:pt x="643" y="358"/>
                </a:cubicBezTo>
                <a:cubicBezTo>
                  <a:pt x="641" y="362"/>
                  <a:pt x="638" y="365"/>
                  <a:pt x="634" y="368"/>
                </a:cubicBezTo>
                <a:close/>
                <a:moveTo>
                  <a:pt x="641" y="395"/>
                </a:moveTo>
                <a:cubicBezTo>
                  <a:pt x="641" y="395"/>
                  <a:pt x="641" y="395"/>
                  <a:pt x="641" y="395"/>
                </a:cubicBezTo>
                <a:cubicBezTo>
                  <a:pt x="641" y="395"/>
                  <a:pt x="641" y="394"/>
                  <a:pt x="641" y="395"/>
                </a:cubicBezTo>
                <a:close/>
                <a:moveTo>
                  <a:pt x="640" y="430"/>
                </a:moveTo>
                <a:cubicBezTo>
                  <a:pt x="640" y="430"/>
                  <a:pt x="640" y="428"/>
                  <a:pt x="642" y="428"/>
                </a:cubicBezTo>
                <a:cubicBezTo>
                  <a:pt x="643" y="427"/>
                  <a:pt x="644" y="427"/>
                  <a:pt x="645" y="428"/>
                </a:cubicBezTo>
                <a:cubicBezTo>
                  <a:pt x="648" y="432"/>
                  <a:pt x="641" y="434"/>
                  <a:pt x="640" y="430"/>
                </a:cubicBezTo>
                <a:close/>
                <a:moveTo>
                  <a:pt x="645" y="387"/>
                </a:moveTo>
                <a:cubicBezTo>
                  <a:pt x="645" y="386"/>
                  <a:pt x="645" y="385"/>
                  <a:pt x="646" y="385"/>
                </a:cubicBezTo>
                <a:cubicBezTo>
                  <a:pt x="646" y="386"/>
                  <a:pt x="646" y="386"/>
                  <a:pt x="645" y="387"/>
                </a:cubicBezTo>
                <a:close/>
                <a:moveTo>
                  <a:pt x="647" y="552"/>
                </a:moveTo>
                <a:cubicBezTo>
                  <a:pt x="646" y="553"/>
                  <a:pt x="648" y="551"/>
                  <a:pt x="647" y="552"/>
                </a:cubicBezTo>
                <a:close/>
                <a:moveTo>
                  <a:pt x="647" y="429"/>
                </a:moveTo>
                <a:cubicBezTo>
                  <a:pt x="648" y="428"/>
                  <a:pt x="645" y="431"/>
                  <a:pt x="647" y="429"/>
                </a:cubicBezTo>
                <a:close/>
                <a:moveTo>
                  <a:pt x="646" y="388"/>
                </a:moveTo>
                <a:cubicBezTo>
                  <a:pt x="646" y="387"/>
                  <a:pt x="647" y="386"/>
                  <a:pt x="647" y="385"/>
                </a:cubicBezTo>
                <a:cubicBezTo>
                  <a:pt x="647" y="386"/>
                  <a:pt x="647" y="387"/>
                  <a:pt x="646" y="388"/>
                </a:cubicBezTo>
                <a:close/>
                <a:moveTo>
                  <a:pt x="646" y="385"/>
                </a:moveTo>
                <a:cubicBezTo>
                  <a:pt x="647" y="384"/>
                  <a:pt x="647" y="383"/>
                  <a:pt x="648" y="383"/>
                </a:cubicBezTo>
                <a:cubicBezTo>
                  <a:pt x="648" y="384"/>
                  <a:pt x="647" y="384"/>
                  <a:pt x="646" y="385"/>
                </a:cubicBezTo>
                <a:close/>
                <a:moveTo>
                  <a:pt x="647" y="345"/>
                </a:moveTo>
                <a:cubicBezTo>
                  <a:pt x="646" y="345"/>
                  <a:pt x="647" y="344"/>
                  <a:pt x="647" y="344"/>
                </a:cubicBezTo>
                <a:cubicBezTo>
                  <a:pt x="648" y="342"/>
                  <a:pt x="648" y="345"/>
                  <a:pt x="647" y="345"/>
                </a:cubicBezTo>
                <a:close/>
                <a:moveTo>
                  <a:pt x="648" y="529"/>
                </a:moveTo>
                <a:cubicBezTo>
                  <a:pt x="647" y="529"/>
                  <a:pt x="648" y="528"/>
                  <a:pt x="648" y="528"/>
                </a:cubicBezTo>
                <a:cubicBezTo>
                  <a:pt x="649" y="528"/>
                  <a:pt x="648" y="529"/>
                  <a:pt x="648" y="529"/>
                </a:cubicBezTo>
                <a:close/>
                <a:moveTo>
                  <a:pt x="648" y="382"/>
                </a:moveTo>
                <a:cubicBezTo>
                  <a:pt x="649" y="381"/>
                  <a:pt x="647" y="383"/>
                  <a:pt x="648" y="382"/>
                </a:cubicBezTo>
                <a:close/>
                <a:moveTo>
                  <a:pt x="650" y="335"/>
                </a:moveTo>
                <a:cubicBezTo>
                  <a:pt x="647" y="337"/>
                  <a:pt x="652" y="333"/>
                  <a:pt x="650" y="335"/>
                </a:cubicBezTo>
                <a:close/>
                <a:moveTo>
                  <a:pt x="651" y="357"/>
                </a:moveTo>
                <a:cubicBezTo>
                  <a:pt x="651" y="355"/>
                  <a:pt x="650" y="358"/>
                  <a:pt x="651" y="357"/>
                </a:cubicBezTo>
                <a:close/>
                <a:moveTo>
                  <a:pt x="651" y="299"/>
                </a:moveTo>
                <a:cubicBezTo>
                  <a:pt x="649" y="299"/>
                  <a:pt x="651" y="296"/>
                  <a:pt x="652" y="298"/>
                </a:cubicBezTo>
                <a:cubicBezTo>
                  <a:pt x="652" y="298"/>
                  <a:pt x="651" y="299"/>
                  <a:pt x="651" y="299"/>
                </a:cubicBezTo>
                <a:close/>
                <a:moveTo>
                  <a:pt x="651" y="291"/>
                </a:moveTo>
                <a:cubicBezTo>
                  <a:pt x="651" y="291"/>
                  <a:pt x="652" y="291"/>
                  <a:pt x="652" y="291"/>
                </a:cubicBezTo>
                <a:cubicBezTo>
                  <a:pt x="652" y="292"/>
                  <a:pt x="651" y="291"/>
                  <a:pt x="651" y="291"/>
                </a:cubicBezTo>
                <a:close/>
                <a:moveTo>
                  <a:pt x="652" y="333"/>
                </a:moveTo>
                <a:cubicBezTo>
                  <a:pt x="652" y="331"/>
                  <a:pt x="654" y="331"/>
                  <a:pt x="654" y="330"/>
                </a:cubicBezTo>
                <a:cubicBezTo>
                  <a:pt x="654" y="331"/>
                  <a:pt x="653" y="332"/>
                  <a:pt x="652" y="333"/>
                </a:cubicBezTo>
                <a:close/>
                <a:moveTo>
                  <a:pt x="654" y="302"/>
                </a:moveTo>
                <a:cubicBezTo>
                  <a:pt x="655" y="302"/>
                  <a:pt x="654" y="302"/>
                  <a:pt x="654" y="302"/>
                </a:cubicBezTo>
                <a:cubicBezTo>
                  <a:pt x="655" y="304"/>
                  <a:pt x="652" y="302"/>
                  <a:pt x="654" y="302"/>
                </a:cubicBezTo>
                <a:close/>
                <a:moveTo>
                  <a:pt x="654" y="370"/>
                </a:moveTo>
                <a:cubicBezTo>
                  <a:pt x="654" y="369"/>
                  <a:pt x="656" y="369"/>
                  <a:pt x="655" y="370"/>
                </a:cubicBezTo>
                <a:cubicBezTo>
                  <a:pt x="655" y="370"/>
                  <a:pt x="654" y="370"/>
                  <a:pt x="654" y="370"/>
                </a:cubicBezTo>
                <a:close/>
                <a:moveTo>
                  <a:pt x="648" y="287"/>
                </a:moveTo>
                <a:cubicBezTo>
                  <a:pt x="651" y="284"/>
                  <a:pt x="653" y="280"/>
                  <a:pt x="658" y="277"/>
                </a:cubicBezTo>
                <a:cubicBezTo>
                  <a:pt x="657" y="281"/>
                  <a:pt x="652" y="285"/>
                  <a:pt x="648" y="287"/>
                </a:cubicBezTo>
                <a:close/>
                <a:moveTo>
                  <a:pt x="657" y="286"/>
                </a:moveTo>
                <a:cubicBezTo>
                  <a:pt x="657" y="285"/>
                  <a:pt x="658" y="285"/>
                  <a:pt x="658" y="285"/>
                </a:cubicBezTo>
                <a:cubicBezTo>
                  <a:pt x="659" y="286"/>
                  <a:pt x="656" y="287"/>
                  <a:pt x="657" y="286"/>
                </a:cubicBezTo>
                <a:close/>
                <a:moveTo>
                  <a:pt x="658" y="318"/>
                </a:moveTo>
                <a:cubicBezTo>
                  <a:pt x="659" y="317"/>
                  <a:pt x="657" y="319"/>
                  <a:pt x="658" y="318"/>
                </a:cubicBezTo>
                <a:close/>
                <a:moveTo>
                  <a:pt x="658" y="348"/>
                </a:moveTo>
                <a:cubicBezTo>
                  <a:pt x="659" y="347"/>
                  <a:pt x="656" y="349"/>
                  <a:pt x="658" y="348"/>
                </a:cubicBezTo>
                <a:close/>
                <a:moveTo>
                  <a:pt x="658" y="477"/>
                </a:moveTo>
                <a:cubicBezTo>
                  <a:pt x="658" y="476"/>
                  <a:pt x="658" y="476"/>
                  <a:pt x="658" y="476"/>
                </a:cubicBezTo>
                <a:cubicBezTo>
                  <a:pt x="659" y="474"/>
                  <a:pt x="660" y="477"/>
                  <a:pt x="658" y="477"/>
                </a:cubicBezTo>
                <a:close/>
                <a:moveTo>
                  <a:pt x="658" y="376"/>
                </a:moveTo>
                <a:cubicBezTo>
                  <a:pt x="657" y="375"/>
                  <a:pt x="658" y="373"/>
                  <a:pt x="658" y="373"/>
                </a:cubicBezTo>
                <a:cubicBezTo>
                  <a:pt x="661" y="371"/>
                  <a:pt x="661" y="376"/>
                  <a:pt x="658" y="376"/>
                </a:cubicBezTo>
                <a:close/>
                <a:moveTo>
                  <a:pt x="660" y="413"/>
                </a:moveTo>
                <a:cubicBezTo>
                  <a:pt x="660" y="412"/>
                  <a:pt x="661" y="412"/>
                  <a:pt x="660" y="413"/>
                </a:cubicBezTo>
                <a:close/>
                <a:moveTo>
                  <a:pt x="658" y="347"/>
                </a:moveTo>
                <a:cubicBezTo>
                  <a:pt x="659" y="345"/>
                  <a:pt x="660" y="343"/>
                  <a:pt x="662" y="342"/>
                </a:cubicBezTo>
                <a:cubicBezTo>
                  <a:pt x="662" y="342"/>
                  <a:pt x="660" y="346"/>
                  <a:pt x="658" y="347"/>
                </a:cubicBezTo>
                <a:close/>
                <a:moveTo>
                  <a:pt x="663" y="312"/>
                </a:moveTo>
                <a:cubicBezTo>
                  <a:pt x="663" y="312"/>
                  <a:pt x="664" y="313"/>
                  <a:pt x="663" y="313"/>
                </a:cubicBezTo>
                <a:cubicBezTo>
                  <a:pt x="662" y="314"/>
                  <a:pt x="661" y="312"/>
                  <a:pt x="662" y="312"/>
                </a:cubicBezTo>
                <a:cubicBezTo>
                  <a:pt x="662" y="312"/>
                  <a:pt x="662" y="312"/>
                  <a:pt x="662" y="312"/>
                </a:cubicBezTo>
                <a:cubicBezTo>
                  <a:pt x="662" y="311"/>
                  <a:pt x="662" y="311"/>
                  <a:pt x="661" y="311"/>
                </a:cubicBezTo>
                <a:cubicBezTo>
                  <a:pt x="660" y="310"/>
                  <a:pt x="664" y="308"/>
                  <a:pt x="664" y="310"/>
                </a:cubicBezTo>
                <a:cubicBezTo>
                  <a:pt x="664" y="311"/>
                  <a:pt x="664" y="311"/>
                  <a:pt x="663" y="312"/>
                </a:cubicBezTo>
                <a:close/>
                <a:moveTo>
                  <a:pt x="662" y="277"/>
                </a:moveTo>
                <a:cubicBezTo>
                  <a:pt x="661" y="279"/>
                  <a:pt x="662" y="276"/>
                  <a:pt x="662" y="277"/>
                </a:cubicBezTo>
                <a:close/>
                <a:moveTo>
                  <a:pt x="662" y="261"/>
                </a:moveTo>
                <a:cubicBezTo>
                  <a:pt x="662" y="261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ubicBezTo>
                  <a:pt x="662" y="260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lose/>
                <a:moveTo>
                  <a:pt x="664" y="309"/>
                </a:moveTo>
                <a:cubicBezTo>
                  <a:pt x="663" y="309"/>
                  <a:pt x="663" y="308"/>
                  <a:pt x="664" y="308"/>
                </a:cubicBezTo>
                <a:cubicBezTo>
                  <a:pt x="664" y="307"/>
                  <a:pt x="665" y="309"/>
                  <a:pt x="664" y="309"/>
                </a:cubicBezTo>
                <a:close/>
                <a:moveTo>
                  <a:pt x="664" y="258"/>
                </a:moveTo>
                <a:cubicBezTo>
                  <a:pt x="664" y="260"/>
                  <a:pt x="662" y="259"/>
                  <a:pt x="664" y="258"/>
                </a:cubicBezTo>
                <a:close/>
                <a:moveTo>
                  <a:pt x="665" y="262"/>
                </a:moveTo>
                <a:cubicBezTo>
                  <a:pt x="663" y="263"/>
                  <a:pt x="666" y="260"/>
                  <a:pt x="665" y="262"/>
                </a:cubicBezTo>
                <a:close/>
                <a:moveTo>
                  <a:pt x="663" y="233"/>
                </a:moveTo>
                <a:cubicBezTo>
                  <a:pt x="665" y="234"/>
                  <a:pt x="663" y="240"/>
                  <a:pt x="660" y="239"/>
                </a:cubicBezTo>
                <a:cubicBezTo>
                  <a:pt x="657" y="239"/>
                  <a:pt x="659" y="230"/>
                  <a:pt x="663" y="233"/>
                </a:cubicBezTo>
                <a:cubicBezTo>
                  <a:pt x="662" y="232"/>
                  <a:pt x="662" y="229"/>
                  <a:pt x="664" y="230"/>
                </a:cubicBezTo>
                <a:cubicBezTo>
                  <a:pt x="666" y="230"/>
                  <a:pt x="665" y="234"/>
                  <a:pt x="663" y="233"/>
                </a:cubicBezTo>
                <a:close/>
                <a:moveTo>
                  <a:pt x="665" y="341"/>
                </a:moveTo>
                <a:cubicBezTo>
                  <a:pt x="665" y="340"/>
                  <a:pt x="667" y="338"/>
                  <a:pt x="668" y="337"/>
                </a:cubicBezTo>
                <a:cubicBezTo>
                  <a:pt x="667" y="339"/>
                  <a:pt x="667" y="340"/>
                  <a:pt x="665" y="341"/>
                </a:cubicBezTo>
                <a:close/>
                <a:moveTo>
                  <a:pt x="668" y="481"/>
                </a:moveTo>
                <a:cubicBezTo>
                  <a:pt x="668" y="481"/>
                  <a:pt x="668" y="480"/>
                  <a:pt x="668" y="481"/>
                </a:cubicBezTo>
                <a:cubicBezTo>
                  <a:pt x="669" y="481"/>
                  <a:pt x="668" y="482"/>
                  <a:pt x="668" y="481"/>
                </a:cubicBezTo>
                <a:close/>
                <a:moveTo>
                  <a:pt x="671" y="391"/>
                </a:moveTo>
                <a:cubicBezTo>
                  <a:pt x="671" y="390"/>
                  <a:pt x="672" y="389"/>
                  <a:pt x="672" y="388"/>
                </a:cubicBezTo>
                <a:cubicBezTo>
                  <a:pt x="673" y="389"/>
                  <a:pt x="672" y="391"/>
                  <a:pt x="671" y="391"/>
                </a:cubicBezTo>
                <a:close/>
                <a:moveTo>
                  <a:pt x="673" y="387"/>
                </a:moveTo>
                <a:cubicBezTo>
                  <a:pt x="673" y="385"/>
                  <a:pt x="675" y="383"/>
                  <a:pt x="675" y="381"/>
                </a:cubicBezTo>
                <a:cubicBezTo>
                  <a:pt x="676" y="383"/>
                  <a:pt x="674" y="385"/>
                  <a:pt x="673" y="387"/>
                </a:cubicBezTo>
                <a:close/>
                <a:moveTo>
                  <a:pt x="683" y="314"/>
                </a:moveTo>
                <a:cubicBezTo>
                  <a:pt x="681" y="318"/>
                  <a:pt x="678" y="322"/>
                  <a:pt x="676" y="326"/>
                </a:cubicBezTo>
                <a:cubicBezTo>
                  <a:pt x="678" y="322"/>
                  <a:pt x="679" y="317"/>
                  <a:pt x="683" y="314"/>
                </a:cubicBezTo>
                <a:close/>
                <a:moveTo>
                  <a:pt x="678" y="432"/>
                </a:moveTo>
                <a:cubicBezTo>
                  <a:pt x="678" y="434"/>
                  <a:pt x="676" y="433"/>
                  <a:pt x="678" y="432"/>
                </a:cubicBezTo>
                <a:close/>
                <a:moveTo>
                  <a:pt x="682" y="426"/>
                </a:moveTo>
                <a:cubicBezTo>
                  <a:pt x="681" y="426"/>
                  <a:pt x="681" y="425"/>
                  <a:pt x="682" y="424"/>
                </a:cubicBezTo>
                <a:cubicBezTo>
                  <a:pt x="683" y="423"/>
                  <a:pt x="684" y="427"/>
                  <a:pt x="682" y="426"/>
                </a:cubicBezTo>
                <a:close/>
                <a:moveTo>
                  <a:pt x="683" y="451"/>
                </a:moveTo>
                <a:cubicBezTo>
                  <a:pt x="683" y="450"/>
                  <a:pt x="685" y="451"/>
                  <a:pt x="683" y="451"/>
                </a:cubicBezTo>
                <a:close/>
                <a:moveTo>
                  <a:pt x="683" y="486"/>
                </a:moveTo>
                <a:cubicBezTo>
                  <a:pt x="684" y="486"/>
                  <a:pt x="682" y="487"/>
                  <a:pt x="683" y="486"/>
                </a:cubicBezTo>
                <a:close/>
                <a:moveTo>
                  <a:pt x="685" y="289"/>
                </a:moveTo>
                <a:cubicBezTo>
                  <a:pt x="686" y="289"/>
                  <a:pt x="684" y="290"/>
                  <a:pt x="684" y="290"/>
                </a:cubicBezTo>
                <a:cubicBezTo>
                  <a:pt x="684" y="290"/>
                  <a:pt x="685" y="290"/>
                  <a:pt x="685" y="289"/>
                </a:cubicBezTo>
                <a:close/>
                <a:moveTo>
                  <a:pt x="685" y="345"/>
                </a:moveTo>
                <a:cubicBezTo>
                  <a:pt x="684" y="344"/>
                  <a:pt x="685" y="344"/>
                  <a:pt x="685" y="343"/>
                </a:cubicBezTo>
                <a:cubicBezTo>
                  <a:pt x="686" y="343"/>
                  <a:pt x="685" y="345"/>
                  <a:pt x="685" y="345"/>
                </a:cubicBezTo>
                <a:close/>
                <a:moveTo>
                  <a:pt x="686" y="342"/>
                </a:moveTo>
                <a:cubicBezTo>
                  <a:pt x="685" y="341"/>
                  <a:pt x="686" y="341"/>
                  <a:pt x="686" y="340"/>
                </a:cubicBezTo>
                <a:cubicBezTo>
                  <a:pt x="687" y="340"/>
                  <a:pt x="686" y="342"/>
                  <a:pt x="686" y="342"/>
                </a:cubicBezTo>
                <a:close/>
                <a:moveTo>
                  <a:pt x="687" y="340"/>
                </a:moveTo>
                <a:cubicBezTo>
                  <a:pt x="686" y="339"/>
                  <a:pt x="687" y="337"/>
                  <a:pt x="688" y="336"/>
                </a:cubicBezTo>
                <a:cubicBezTo>
                  <a:pt x="688" y="337"/>
                  <a:pt x="687" y="339"/>
                  <a:pt x="687" y="340"/>
                </a:cubicBezTo>
                <a:close/>
                <a:moveTo>
                  <a:pt x="688" y="329"/>
                </a:moveTo>
                <a:cubicBezTo>
                  <a:pt x="688" y="329"/>
                  <a:pt x="688" y="329"/>
                  <a:pt x="688" y="329"/>
                </a:cubicBezTo>
                <a:cubicBezTo>
                  <a:pt x="688" y="329"/>
                  <a:pt x="687" y="330"/>
                  <a:pt x="688" y="329"/>
                </a:cubicBezTo>
                <a:close/>
                <a:moveTo>
                  <a:pt x="688" y="284"/>
                </a:moveTo>
                <a:cubicBezTo>
                  <a:pt x="689" y="283"/>
                  <a:pt x="686" y="286"/>
                  <a:pt x="688" y="284"/>
                </a:cubicBezTo>
                <a:close/>
                <a:moveTo>
                  <a:pt x="693" y="290"/>
                </a:moveTo>
                <a:cubicBezTo>
                  <a:pt x="697" y="288"/>
                  <a:pt x="695" y="297"/>
                  <a:pt x="692" y="296"/>
                </a:cubicBezTo>
                <a:cubicBezTo>
                  <a:pt x="690" y="295"/>
                  <a:pt x="692" y="291"/>
                  <a:pt x="693" y="290"/>
                </a:cubicBezTo>
                <a:close/>
                <a:moveTo>
                  <a:pt x="691" y="285"/>
                </a:moveTo>
                <a:cubicBezTo>
                  <a:pt x="691" y="286"/>
                  <a:pt x="692" y="284"/>
                  <a:pt x="691" y="285"/>
                </a:cubicBezTo>
                <a:close/>
                <a:moveTo>
                  <a:pt x="689" y="285"/>
                </a:moveTo>
                <a:cubicBezTo>
                  <a:pt x="690" y="285"/>
                  <a:pt x="690" y="284"/>
                  <a:pt x="691" y="284"/>
                </a:cubicBezTo>
                <a:cubicBezTo>
                  <a:pt x="693" y="285"/>
                  <a:pt x="688" y="288"/>
                  <a:pt x="689" y="285"/>
                </a:cubicBezTo>
                <a:close/>
                <a:moveTo>
                  <a:pt x="689" y="316"/>
                </a:moveTo>
                <a:cubicBezTo>
                  <a:pt x="690" y="317"/>
                  <a:pt x="688" y="316"/>
                  <a:pt x="689" y="316"/>
                </a:cubicBezTo>
                <a:close/>
                <a:moveTo>
                  <a:pt x="689" y="395"/>
                </a:moveTo>
                <a:cubicBezTo>
                  <a:pt x="689" y="395"/>
                  <a:pt x="689" y="394"/>
                  <a:pt x="689" y="394"/>
                </a:cubicBezTo>
                <a:cubicBezTo>
                  <a:pt x="690" y="394"/>
                  <a:pt x="688" y="397"/>
                  <a:pt x="689" y="395"/>
                </a:cubicBezTo>
                <a:close/>
                <a:moveTo>
                  <a:pt x="690" y="404"/>
                </a:moveTo>
                <a:cubicBezTo>
                  <a:pt x="690" y="403"/>
                  <a:pt x="691" y="404"/>
                  <a:pt x="691" y="404"/>
                </a:cubicBezTo>
                <a:cubicBezTo>
                  <a:pt x="691" y="405"/>
                  <a:pt x="689" y="405"/>
                  <a:pt x="690" y="404"/>
                </a:cubicBezTo>
                <a:close/>
                <a:moveTo>
                  <a:pt x="691" y="343"/>
                </a:moveTo>
                <a:cubicBezTo>
                  <a:pt x="691" y="342"/>
                  <a:pt x="691" y="341"/>
                  <a:pt x="691" y="341"/>
                </a:cubicBezTo>
                <a:cubicBezTo>
                  <a:pt x="692" y="340"/>
                  <a:pt x="692" y="343"/>
                  <a:pt x="691" y="343"/>
                </a:cubicBezTo>
                <a:close/>
                <a:moveTo>
                  <a:pt x="692" y="394"/>
                </a:moveTo>
                <a:cubicBezTo>
                  <a:pt x="691" y="395"/>
                  <a:pt x="693" y="393"/>
                  <a:pt x="692" y="394"/>
                </a:cubicBezTo>
                <a:close/>
                <a:moveTo>
                  <a:pt x="692" y="300"/>
                </a:moveTo>
                <a:cubicBezTo>
                  <a:pt x="690" y="300"/>
                  <a:pt x="691" y="299"/>
                  <a:pt x="692" y="298"/>
                </a:cubicBezTo>
                <a:cubicBezTo>
                  <a:pt x="693" y="297"/>
                  <a:pt x="693" y="300"/>
                  <a:pt x="692" y="300"/>
                </a:cubicBezTo>
                <a:close/>
                <a:moveTo>
                  <a:pt x="694" y="330"/>
                </a:moveTo>
                <a:cubicBezTo>
                  <a:pt x="695" y="329"/>
                  <a:pt x="695" y="332"/>
                  <a:pt x="694" y="331"/>
                </a:cubicBezTo>
                <a:cubicBezTo>
                  <a:pt x="693" y="331"/>
                  <a:pt x="694" y="330"/>
                  <a:pt x="694" y="330"/>
                </a:cubicBezTo>
                <a:close/>
                <a:moveTo>
                  <a:pt x="694" y="454"/>
                </a:moveTo>
                <a:cubicBezTo>
                  <a:pt x="694" y="454"/>
                  <a:pt x="694" y="454"/>
                  <a:pt x="695" y="454"/>
                </a:cubicBezTo>
                <a:cubicBezTo>
                  <a:pt x="696" y="454"/>
                  <a:pt x="693" y="455"/>
                  <a:pt x="694" y="454"/>
                </a:cubicBezTo>
                <a:close/>
                <a:moveTo>
                  <a:pt x="696" y="312"/>
                </a:moveTo>
                <a:cubicBezTo>
                  <a:pt x="694" y="313"/>
                  <a:pt x="694" y="308"/>
                  <a:pt x="695" y="307"/>
                </a:cubicBezTo>
                <a:cubicBezTo>
                  <a:pt x="700" y="304"/>
                  <a:pt x="697" y="312"/>
                  <a:pt x="696" y="312"/>
                </a:cubicBezTo>
                <a:close/>
                <a:moveTo>
                  <a:pt x="699" y="327"/>
                </a:moveTo>
                <a:cubicBezTo>
                  <a:pt x="699" y="327"/>
                  <a:pt x="700" y="326"/>
                  <a:pt x="700" y="326"/>
                </a:cubicBezTo>
                <a:cubicBezTo>
                  <a:pt x="702" y="327"/>
                  <a:pt x="698" y="329"/>
                  <a:pt x="699" y="327"/>
                </a:cubicBezTo>
                <a:close/>
                <a:moveTo>
                  <a:pt x="702" y="431"/>
                </a:moveTo>
                <a:cubicBezTo>
                  <a:pt x="702" y="430"/>
                  <a:pt x="704" y="429"/>
                  <a:pt x="704" y="428"/>
                </a:cubicBezTo>
                <a:cubicBezTo>
                  <a:pt x="704" y="429"/>
                  <a:pt x="704" y="431"/>
                  <a:pt x="702" y="431"/>
                </a:cubicBezTo>
                <a:close/>
                <a:moveTo>
                  <a:pt x="704" y="427"/>
                </a:moveTo>
                <a:cubicBezTo>
                  <a:pt x="705" y="425"/>
                  <a:pt x="705" y="423"/>
                  <a:pt x="706" y="421"/>
                </a:cubicBezTo>
                <a:cubicBezTo>
                  <a:pt x="707" y="422"/>
                  <a:pt x="705" y="426"/>
                  <a:pt x="704" y="427"/>
                </a:cubicBezTo>
                <a:close/>
                <a:moveTo>
                  <a:pt x="706" y="392"/>
                </a:moveTo>
                <a:cubicBezTo>
                  <a:pt x="706" y="393"/>
                  <a:pt x="706" y="393"/>
                  <a:pt x="706" y="392"/>
                </a:cubicBezTo>
                <a:close/>
                <a:moveTo>
                  <a:pt x="709" y="396"/>
                </a:moveTo>
                <a:cubicBezTo>
                  <a:pt x="710" y="397"/>
                  <a:pt x="708" y="397"/>
                  <a:pt x="709" y="396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r>
              <a:rPr lang="en-ID" b="1" dirty="0">
                <a:solidFill>
                  <a:schemeClr val="bg1"/>
                </a:solidFill>
              </a:rPr>
              <a:t>LOREM IPSUM</a:t>
            </a:r>
          </a:p>
        </p:txBody>
      </p:sp>
      <p:sp>
        <p:nvSpPr>
          <p:cNvPr id="52" name="Freeform 97">
            <a:extLst>
              <a:ext uri="{FF2B5EF4-FFF2-40B4-BE49-F238E27FC236}">
                <a16:creationId xmlns="" xmlns:a16="http://schemas.microsoft.com/office/drawing/2014/main" id="{E410AC72-86A9-4BE3-B2FF-3EBCEE314F30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3571033" y="4048884"/>
            <a:ext cx="2119312" cy="2119312"/>
          </a:xfrm>
          <a:custGeom>
            <a:avLst/>
            <a:gdLst>
              <a:gd name="T0" fmla="*/ 677 w 714"/>
              <a:gd name="T1" fmla="*/ 212 h 715"/>
              <a:gd name="T2" fmla="*/ 626 w 714"/>
              <a:gd name="T3" fmla="*/ 179 h 715"/>
              <a:gd name="T4" fmla="*/ 573 w 714"/>
              <a:gd name="T5" fmla="*/ 139 h 715"/>
              <a:gd name="T6" fmla="*/ 553 w 714"/>
              <a:gd name="T7" fmla="*/ 94 h 715"/>
              <a:gd name="T8" fmla="*/ 516 w 714"/>
              <a:gd name="T9" fmla="*/ 53 h 715"/>
              <a:gd name="T10" fmla="*/ 421 w 714"/>
              <a:gd name="T11" fmla="*/ 60 h 715"/>
              <a:gd name="T12" fmla="*/ 429 w 714"/>
              <a:gd name="T13" fmla="*/ 26 h 715"/>
              <a:gd name="T14" fmla="*/ 22 w 714"/>
              <a:gd name="T15" fmla="*/ 436 h 715"/>
              <a:gd name="T16" fmla="*/ 39 w 714"/>
              <a:gd name="T17" fmla="*/ 451 h 715"/>
              <a:gd name="T18" fmla="*/ 60 w 714"/>
              <a:gd name="T19" fmla="*/ 465 h 715"/>
              <a:gd name="T20" fmla="*/ 108 w 714"/>
              <a:gd name="T21" fmla="*/ 446 h 715"/>
              <a:gd name="T22" fmla="*/ 102 w 714"/>
              <a:gd name="T23" fmla="*/ 508 h 715"/>
              <a:gd name="T24" fmla="*/ 146 w 714"/>
              <a:gd name="T25" fmla="*/ 552 h 715"/>
              <a:gd name="T26" fmla="*/ 190 w 714"/>
              <a:gd name="T27" fmla="*/ 596 h 715"/>
              <a:gd name="T28" fmla="*/ 214 w 714"/>
              <a:gd name="T29" fmla="*/ 647 h 715"/>
              <a:gd name="T30" fmla="*/ 296 w 714"/>
              <a:gd name="T31" fmla="*/ 709 h 715"/>
              <a:gd name="T32" fmla="*/ 684 w 714"/>
              <a:gd name="T33" fmla="*/ 227 h 715"/>
              <a:gd name="T34" fmla="*/ 434 w 714"/>
              <a:gd name="T35" fmla="*/ 24 h 715"/>
              <a:gd name="T36" fmla="*/ 9 w 714"/>
              <a:gd name="T37" fmla="*/ 371 h 715"/>
              <a:gd name="T38" fmla="*/ 37 w 714"/>
              <a:gd name="T39" fmla="*/ 344 h 715"/>
              <a:gd name="T40" fmla="*/ 45 w 714"/>
              <a:gd name="T41" fmla="*/ 192 h 715"/>
              <a:gd name="T42" fmla="*/ 64 w 714"/>
              <a:gd name="T43" fmla="*/ 419 h 715"/>
              <a:gd name="T44" fmla="*/ 84 w 714"/>
              <a:gd name="T45" fmla="*/ 332 h 715"/>
              <a:gd name="T46" fmla="*/ 87 w 714"/>
              <a:gd name="T47" fmla="*/ 502 h 715"/>
              <a:gd name="T48" fmla="*/ 234 w 714"/>
              <a:gd name="T49" fmla="*/ 679 h 715"/>
              <a:gd name="T50" fmla="*/ 287 w 714"/>
              <a:gd name="T51" fmla="*/ 641 h 715"/>
              <a:gd name="T52" fmla="*/ 303 w 714"/>
              <a:gd name="T53" fmla="*/ 67 h 715"/>
              <a:gd name="T54" fmla="*/ 270 w 714"/>
              <a:gd name="T55" fmla="*/ 571 h 715"/>
              <a:gd name="T56" fmla="*/ 246 w 714"/>
              <a:gd name="T57" fmla="*/ 640 h 715"/>
              <a:gd name="T58" fmla="*/ 249 w 714"/>
              <a:gd name="T59" fmla="*/ 640 h 715"/>
              <a:gd name="T60" fmla="*/ 227 w 714"/>
              <a:gd name="T61" fmla="*/ 527 h 715"/>
              <a:gd name="T62" fmla="*/ 209 w 714"/>
              <a:gd name="T63" fmla="*/ 468 h 715"/>
              <a:gd name="T64" fmla="*/ 178 w 714"/>
              <a:gd name="T65" fmla="*/ 383 h 715"/>
              <a:gd name="T66" fmla="*/ 165 w 714"/>
              <a:gd name="T67" fmla="*/ 345 h 715"/>
              <a:gd name="T68" fmla="*/ 156 w 714"/>
              <a:gd name="T69" fmla="*/ 435 h 715"/>
              <a:gd name="T70" fmla="*/ 132 w 714"/>
              <a:gd name="T71" fmla="*/ 280 h 715"/>
              <a:gd name="T72" fmla="*/ 123 w 714"/>
              <a:gd name="T73" fmla="*/ 474 h 715"/>
              <a:gd name="T74" fmla="*/ 154 w 714"/>
              <a:gd name="T75" fmla="*/ 484 h 715"/>
              <a:gd name="T76" fmla="*/ 189 w 714"/>
              <a:gd name="T77" fmla="*/ 398 h 715"/>
              <a:gd name="T78" fmla="*/ 235 w 714"/>
              <a:gd name="T79" fmla="*/ 592 h 715"/>
              <a:gd name="T80" fmla="*/ 277 w 714"/>
              <a:gd name="T81" fmla="*/ 700 h 715"/>
              <a:gd name="T82" fmla="*/ 335 w 714"/>
              <a:gd name="T83" fmla="*/ 131 h 715"/>
              <a:gd name="T84" fmla="*/ 522 w 714"/>
              <a:gd name="T85" fmla="*/ 181 h 715"/>
              <a:gd name="T86" fmla="*/ 480 w 714"/>
              <a:gd name="T87" fmla="*/ 95 h 715"/>
              <a:gd name="T88" fmla="*/ 502 w 714"/>
              <a:gd name="T89" fmla="*/ 132 h 715"/>
              <a:gd name="T90" fmla="*/ 509 w 714"/>
              <a:gd name="T91" fmla="*/ 36 h 715"/>
              <a:gd name="T92" fmla="*/ 462 w 714"/>
              <a:gd name="T93" fmla="*/ 49 h 715"/>
              <a:gd name="T94" fmla="*/ 406 w 714"/>
              <a:gd name="T95" fmla="*/ 125 h 715"/>
              <a:gd name="T96" fmla="*/ 372 w 714"/>
              <a:gd name="T97" fmla="*/ 610 h 715"/>
              <a:gd name="T98" fmla="*/ 398 w 714"/>
              <a:gd name="T99" fmla="*/ 679 h 715"/>
              <a:gd name="T100" fmla="*/ 454 w 714"/>
              <a:gd name="T101" fmla="*/ 644 h 715"/>
              <a:gd name="T102" fmla="*/ 469 w 714"/>
              <a:gd name="T103" fmla="*/ 168 h 715"/>
              <a:gd name="T104" fmla="*/ 522 w 714"/>
              <a:gd name="T105" fmla="*/ 285 h 715"/>
              <a:gd name="T106" fmla="*/ 585 w 714"/>
              <a:gd name="T107" fmla="*/ 213 h 715"/>
              <a:gd name="T108" fmla="*/ 544 w 714"/>
              <a:gd name="T109" fmla="*/ 168 h 715"/>
              <a:gd name="T110" fmla="*/ 573 w 714"/>
              <a:gd name="T111" fmla="*/ 236 h 715"/>
              <a:gd name="T112" fmla="*/ 595 w 714"/>
              <a:gd name="T113" fmla="*/ 470 h 715"/>
              <a:gd name="T114" fmla="*/ 651 w 714"/>
              <a:gd name="T115" fmla="*/ 272 h 715"/>
              <a:gd name="T116" fmla="*/ 630 w 714"/>
              <a:gd name="T117" fmla="*/ 261 h 715"/>
              <a:gd name="T118" fmla="*/ 615 w 714"/>
              <a:gd name="T119" fmla="*/ 194 h 715"/>
              <a:gd name="T120" fmla="*/ 625 w 714"/>
              <a:gd name="T121" fmla="*/ 381 h 715"/>
              <a:gd name="T122" fmla="*/ 658 w 714"/>
              <a:gd name="T123" fmla="*/ 277 h 715"/>
              <a:gd name="T124" fmla="*/ 686 w 714"/>
              <a:gd name="T125" fmla="*/ 342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14" h="715">
                <a:moveTo>
                  <a:pt x="710" y="304"/>
                </a:moveTo>
                <a:cubicBezTo>
                  <a:pt x="710" y="305"/>
                  <a:pt x="710" y="305"/>
                  <a:pt x="709" y="305"/>
                </a:cubicBezTo>
                <a:cubicBezTo>
                  <a:pt x="709" y="304"/>
                  <a:pt x="710" y="303"/>
                  <a:pt x="710" y="303"/>
                </a:cubicBezTo>
                <a:cubicBezTo>
                  <a:pt x="710" y="303"/>
                  <a:pt x="710" y="303"/>
                  <a:pt x="710" y="303"/>
                </a:cubicBezTo>
                <a:cubicBezTo>
                  <a:pt x="709" y="297"/>
                  <a:pt x="708" y="292"/>
                  <a:pt x="707" y="286"/>
                </a:cubicBezTo>
                <a:cubicBezTo>
                  <a:pt x="707" y="287"/>
                  <a:pt x="707" y="288"/>
                  <a:pt x="706" y="290"/>
                </a:cubicBezTo>
                <a:cubicBezTo>
                  <a:pt x="706" y="289"/>
                  <a:pt x="707" y="289"/>
                  <a:pt x="707" y="289"/>
                </a:cubicBezTo>
                <a:cubicBezTo>
                  <a:pt x="707" y="290"/>
                  <a:pt x="706" y="290"/>
                  <a:pt x="706" y="290"/>
                </a:cubicBezTo>
                <a:cubicBezTo>
                  <a:pt x="706" y="292"/>
                  <a:pt x="706" y="294"/>
                  <a:pt x="705" y="295"/>
                </a:cubicBezTo>
                <a:cubicBezTo>
                  <a:pt x="703" y="298"/>
                  <a:pt x="703" y="301"/>
                  <a:pt x="703" y="301"/>
                </a:cubicBezTo>
                <a:cubicBezTo>
                  <a:pt x="702" y="302"/>
                  <a:pt x="700" y="300"/>
                  <a:pt x="699" y="300"/>
                </a:cubicBezTo>
                <a:cubicBezTo>
                  <a:pt x="697" y="301"/>
                  <a:pt x="697" y="303"/>
                  <a:pt x="696" y="300"/>
                </a:cubicBezTo>
                <a:cubicBezTo>
                  <a:pt x="696" y="299"/>
                  <a:pt x="696" y="301"/>
                  <a:pt x="695" y="298"/>
                </a:cubicBezTo>
                <a:cubicBezTo>
                  <a:pt x="695" y="297"/>
                  <a:pt x="697" y="291"/>
                  <a:pt x="700" y="292"/>
                </a:cubicBezTo>
                <a:cubicBezTo>
                  <a:pt x="701" y="293"/>
                  <a:pt x="702" y="295"/>
                  <a:pt x="703" y="292"/>
                </a:cubicBezTo>
                <a:cubicBezTo>
                  <a:pt x="703" y="291"/>
                  <a:pt x="703" y="290"/>
                  <a:pt x="703" y="289"/>
                </a:cubicBezTo>
                <a:cubicBezTo>
                  <a:pt x="703" y="287"/>
                  <a:pt x="705" y="284"/>
                  <a:pt x="706" y="282"/>
                </a:cubicBezTo>
                <a:cubicBezTo>
                  <a:pt x="705" y="276"/>
                  <a:pt x="704" y="270"/>
                  <a:pt x="702" y="264"/>
                </a:cubicBezTo>
                <a:cubicBezTo>
                  <a:pt x="701" y="268"/>
                  <a:pt x="695" y="273"/>
                  <a:pt x="691" y="270"/>
                </a:cubicBezTo>
                <a:cubicBezTo>
                  <a:pt x="691" y="271"/>
                  <a:pt x="691" y="270"/>
                  <a:pt x="690" y="270"/>
                </a:cubicBezTo>
                <a:cubicBezTo>
                  <a:pt x="690" y="270"/>
                  <a:pt x="690" y="270"/>
                  <a:pt x="690" y="270"/>
                </a:cubicBezTo>
                <a:cubicBezTo>
                  <a:pt x="690" y="271"/>
                  <a:pt x="690" y="270"/>
                  <a:pt x="690" y="270"/>
                </a:cubicBezTo>
                <a:cubicBezTo>
                  <a:pt x="690" y="270"/>
                  <a:pt x="690" y="270"/>
                  <a:pt x="690" y="269"/>
                </a:cubicBezTo>
                <a:cubicBezTo>
                  <a:pt x="689" y="270"/>
                  <a:pt x="688" y="271"/>
                  <a:pt x="688" y="271"/>
                </a:cubicBezTo>
                <a:cubicBezTo>
                  <a:pt x="686" y="270"/>
                  <a:pt x="686" y="273"/>
                  <a:pt x="685" y="274"/>
                </a:cubicBezTo>
                <a:cubicBezTo>
                  <a:pt x="684" y="274"/>
                  <a:pt x="682" y="273"/>
                  <a:pt x="682" y="275"/>
                </a:cubicBezTo>
                <a:cubicBezTo>
                  <a:pt x="681" y="270"/>
                  <a:pt x="674" y="279"/>
                  <a:pt x="674" y="281"/>
                </a:cubicBezTo>
                <a:cubicBezTo>
                  <a:pt x="675" y="280"/>
                  <a:pt x="681" y="280"/>
                  <a:pt x="680" y="280"/>
                </a:cubicBezTo>
                <a:cubicBezTo>
                  <a:pt x="680" y="280"/>
                  <a:pt x="681" y="280"/>
                  <a:pt x="681" y="280"/>
                </a:cubicBezTo>
                <a:cubicBezTo>
                  <a:pt x="681" y="280"/>
                  <a:pt x="681" y="280"/>
                  <a:pt x="681" y="280"/>
                </a:cubicBezTo>
                <a:cubicBezTo>
                  <a:pt x="681" y="279"/>
                  <a:pt x="682" y="278"/>
                  <a:pt x="682" y="279"/>
                </a:cubicBezTo>
                <a:cubicBezTo>
                  <a:pt x="684" y="280"/>
                  <a:pt x="681" y="280"/>
                  <a:pt x="681" y="281"/>
                </a:cubicBezTo>
                <a:cubicBezTo>
                  <a:pt x="681" y="282"/>
                  <a:pt x="681" y="282"/>
                  <a:pt x="681" y="282"/>
                </a:cubicBezTo>
                <a:cubicBezTo>
                  <a:pt x="682" y="282"/>
                  <a:pt x="683" y="282"/>
                  <a:pt x="683" y="284"/>
                </a:cubicBezTo>
                <a:cubicBezTo>
                  <a:pt x="683" y="284"/>
                  <a:pt x="683" y="284"/>
                  <a:pt x="683" y="284"/>
                </a:cubicBezTo>
                <a:cubicBezTo>
                  <a:pt x="683" y="284"/>
                  <a:pt x="684" y="285"/>
                  <a:pt x="684" y="286"/>
                </a:cubicBezTo>
                <a:cubicBezTo>
                  <a:pt x="684" y="286"/>
                  <a:pt x="681" y="289"/>
                  <a:pt x="681" y="290"/>
                </a:cubicBezTo>
                <a:cubicBezTo>
                  <a:pt x="680" y="290"/>
                  <a:pt x="679" y="295"/>
                  <a:pt x="678" y="295"/>
                </a:cubicBezTo>
                <a:cubicBezTo>
                  <a:pt x="676" y="295"/>
                  <a:pt x="679" y="293"/>
                  <a:pt x="677" y="292"/>
                </a:cubicBezTo>
                <a:cubicBezTo>
                  <a:pt x="677" y="291"/>
                  <a:pt x="675" y="293"/>
                  <a:pt x="674" y="293"/>
                </a:cubicBezTo>
                <a:cubicBezTo>
                  <a:pt x="673" y="292"/>
                  <a:pt x="674" y="291"/>
                  <a:pt x="673" y="290"/>
                </a:cubicBezTo>
                <a:cubicBezTo>
                  <a:pt x="673" y="290"/>
                  <a:pt x="671" y="292"/>
                  <a:pt x="670" y="290"/>
                </a:cubicBezTo>
                <a:cubicBezTo>
                  <a:pt x="669" y="288"/>
                  <a:pt x="672" y="289"/>
                  <a:pt x="672" y="288"/>
                </a:cubicBezTo>
                <a:cubicBezTo>
                  <a:pt x="672" y="287"/>
                  <a:pt x="671" y="287"/>
                  <a:pt x="671" y="287"/>
                </a:cubicBezTo>
                <a:cubicBezTo>
                  <a:pt x="671" y="286"/>
                  <a:pt x="672" y="285"/>
                  <a:pt x="672" y="283"/>
                </a:cubicBezTo>
                <a:cubicBezTo>
                  <a:pt x="672" y="283"/>
                  <a:pt x="672" y="282"/>
                  <a:pt x="672" y="282"/>
                </a:cubicBezTo>
                <a:cubicBezTo>
                  <a:pt x="673" y="279"/>
                  <a:pt x="678" y="276"/>
                  <a:pt x="677" y="271"/>
                </a:cubicBezTo>
                <a:cubicBezTo>
                  <a:pt x="676" y="270"/>
                  <a:pt x="675" y="271"/>
                  <a:pt x="674" y="272"/>
                </a:cubicBezTo>
                <a:cubicBezTo>
                  <a:pt x="675" y="269"/>
                  <a:pt x="676" y="260"/>
                  <a:pt x="681" y="259"/>
                </a:cubicBezTo>
                <a:cubicBezTo>
                  <a:pt x="681" y="259"/>
                  <a:pt x="684" y="259"/>
                  <a:pt x="685" y="259"/>
                </a:cubicBezTo>
                <a:cubicBezTo>
                  <a:pt x="685" y="259"/>
                  <a:pt x="686" y="260"/>
                  <a:pt x="687" y="261"/>
                </a:cubicBezTo>
                <a:cubicBezTo>
                  <a:pt x="687" y="261"/>
                  <a:pt x="687" y="261"/>
                  <a:pt x="688" y="261"/>
                </a:cubicBezTo>
                <a:cubicBezTo>
                  <a:pt x="688" y="261"/>
                  <a:pt x="688" y="261"/>
                  <a:pt x="688" y="261"/>
                </a:cubicBezTo>
                <a:cubicBezTo>
                  <a:pt x="688" y="262"/>
                  <a:pt x="688" y="262"/>
                  <a:pt x="689" y="262"/>
                </a:cubicBezTo>
                <a:cubicBezTo>
                  <a:pt x="690" y="261"/>
                  <a:pt x="691" y="259"/>
                  <a:pt x="692" y="258"/>
                </a:cubicBezTo>
                <a:cubicBezTo>
                  <a:pt x="691" y="257"/>
                  <a:pt x="690" y="258"/>
                  <a:pt x="689" y="259"/>
                </a:cubicBezTo>
                <a:cubicBezTo>
                  <a:pt x="689" y="258"/>
                  <a:pt x="689" y="258"/>
                  <a:pt x="689" y="258"/>
                </a:cubicBezTo>
                <a:cubicBezTo>
                  <a:pt x="688" y="258"/>
                  <a:pt x="687" y="258"/>
                  <a:pt x="687" y="257"/>
                </a:cubicBezTo>
                <a:cubicBezTo>
                  <a:pt x="686" y="256"/>
                  <a:pt x="688" y="256"/>
                  <a:pt x="688" y="256"/>
                </a:cubicBezTo>
                <a:cubicBezTo>
                  <a:pt x="689" y="254"/>
                  <a:pt x="687" y="255"/>
                  <a:pt x="688" y="253"/>
                </a:cubicBezTo>
                <a:cubicBezTo>
                  <a:pt x="689" y="252"/>
                  <a:pt x="692" y="252"/>
                  <a:pt x="692" y="251"/>
                </a:cubicBezTo>
                <a:cubicBezTo>
                  <a:pt x="692" y="251"/>
                  <a:pt x="692" y="250"/>
                  <a:pt x="692" y="250"/>
                </a:cubicBezTo>
                <a:cubicBezTo>
                  <a:pt x="692" y="250"/>
                  <a:pt x="691" y="249"/>
                  <a:pt x="691" y="249"/>
                </a:cubicBezTo>
                <a:cubicBezTo>
                  <a:pt x="691" y="249"/>
                  <a:pt x="692" y="247"/>
                  <a:pt x="691" y="246"/>
                </a:cubicBezTo>
                <a:cubicBezTo>
                  <a:pt x="690" y="245"/>
                  <a:pt x="690" y="246"/>
                  <a:pt x="690" y="246"/>
                </a:cubicBezTo>
                <a:cubicBezTo>
                  <a:pt x="689" y="246"/>
                  <a:pt x="688" y="242"/>
                  <a:pt x="688" y="242"/>
                </a:cubicBezTo>
                <a:cubicBezTo>
                  <a:pt x="689" y="240"/>
                  <a:pt x="691" y="242"/>
                  <a:pt x="693" y="241"/>
                </a:cubicBezTo>
                <a:cubicBezTo>
                  <a:pt x="692" y="241"/>
                  <a:pt x="693" y="239"/>
                  <a:pt x="694" y="239"/>
                </a:cubicBezTo>
                <a:cubicBezTo>
                  <a:pt x="693" y="235"/>
                  <a:pt x="691" y="231"/>
                  <a:pt x="690" y="227"/>
                </a:cubicBezTo>
                <a:cubicBezTo>
                  <a:pt x="690" y="227"/>
                  <a:pt x="689" y="227"/>
                  <a:pt x="689" y="227"/>
                </a:cubicBezTo>
                <a:cubicBezTo>
                  <a:pt x="688" y="227"/>
                  <a:pt x="689" y="225"/>
                  <a:pt x="688" y="224"/>
                </a:cubicBezTo>
                <a:cubicBezTo>
                  <a:pt x="688" y="223"/>
                  <a:pt x="688" y="223"/>
                  <a:pt x="688" y="223"/>
                </a:cubicBezTo>
                <a:cubicBezTo>
                  <a:pt x="688" y="222"/>
                  <a:pt x="688" y="222"/>
                  <a:pt x="688" y="221"/>
                </a:cubicBezTo>
                <a:cubicBezTo>
                  <a:pt x="685" y="222"/>
                  <a:pt x="682" y="222"/>
                  <a:pt x="681" y="222"/>
                </a:cubicBezTo>
                <a:cubicBezTo>
                  <a:pt x="679" y="222"/>
                  <a:pt x="680" y="219"/>
                  <a:pt x="678" y="220"/>
                </a:cubicBezTo>
                <a:cubicBezTo>
                  <a:pt x="680" y="218"/>
                  <a:pt x="676" y="218"/>
                  <a:pt x="676" y="216"/>
                </a:cubicBezTo>
                <a:cubicBezTo>
                  <a:pt x="675" y="215"/>
                  <a:pt x="677" y="215"/>
                  <a:pt x="677" y="215"/>
                </a:cubicBezTo>
                <a:cubicBezTo>
                  <a:pt x="678" y="214"/>
                  <a:pt x="676" y="213"/>
                  <a:pt x="677" y="212"/>
                </a:cubicBezTo>
                <a:cubicBezTo>
                  <a:pt x="677" y="212"/>
                  <a:pt x="677" y="212"/>
                  <a:pt x="677" y="212"/>
                </a:cubicBezTo>
                <a:cubicBezTo>
                  <a:pt x="676" y="212"/>
                  <a:pt x="675" y="210"/>
                  <a:pt x="675" y="209"/>
                </a:cubicBezTo>
                <a:cubicBezTo>
                  <a:pt x="674" y="209"/>
                  <a:pt x="674" y="209"/>
                  <a:pt x="673" y="209"/>
                </a:cubicBezTo>
                <a:cubicBezTo>
                  <a:pt x="674" y="210"/>
                  <a:pt x="674" y="210"/>
                  <a:pt x="674" y="211"/>
                </a:cubicBezTo>
                <a:cubicBezTo>
                  <a:pt x="674" y="212"/>
                  <a:pt x="674" y="212"/>
                  <a:pt x="673" y="213"/>
                </a:cubicBezTo>
                <a:cubicBezTo>
                  <a:pt x="673" y="214"/>
                  <a:pt x="673" y="214"/>
                  <a:pt x="673" y="215"/>
                </a:cubicBezTo>
                <a:cubicBezTo>
                  <a:pt x="673" y="215"/>
                  <a:pt x="673" y="215"/>
                  <a:pt x="673" y="215"/>
                </a:cubicBezTo>
                <a:cubicBezTo>
                  <a:pt x="673" y="215"/>
                  <a:pt x="672" y="216"/>
                  <a:pt x="672" y="216"/>
                </a:cubicBezTo>
                <a:cubicBezTo>
                  <a:pt x="671" y="217"/>
                  <a:pt x="669" y="218"/>
                  <a:pt x="669" y="220"/>
                </a:cubicBezTo>
                <a:cubicBezTo>
                  <a:pt x="670" y="217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7" y="219"/>
                </a:cubicBezTo>
                <a:cubicBezTo>
                  <a:pt x="668" y="220"/>
                  <a:pt x="668" y="224"/>
                  <a:pt x="667" y="225"/>
                </a:cubicBezTo>
                <a:cubicBezTo>
                  <a:pt x="667" y="225"/>
                  <a:pt x="667" y="224"/>
                  <a:pt x="666" y="224"/>
                </a:cubicBezTo>
                <a:cubicBezTo>
                  <a:pt x="665" y="225"/>
                  <a:pt x="663" y="228"/>
                  <a:pt x="660" y="228"/>
                </a:cubicBezTo>
                <a:cubicBezTo>
                  <a:pt x="661" y="226"/>
                  <a:pt x="663" y="226"/>
                  <a:pt x="663" y="225"/>
                </a:cubicBezTo>
                <a:cubicBezTo>
                  <a:pt x="663" y="224"/>
                  <a:pt x="662" y="225"/>
                  <a:pt x="661" y="224"/>
                </a:cubicBezTo>
                <a:cubicBezTo>
                  <a:pt x="660" y="223"/>
                  <a:pt x="662" y="219"/>
                  <a:pt x="665" y="218"/>
                </a:cubicBezTo>
                <a:cubicBezTo>
                  <a:pt x="665" y="217"/>
                  <a:pt x="665" y="216"/>
                  <a:pt x="665" y="216"/>
                </a:cubicBezTo>
                <a:cubicBezTo>
                  <a:pt x="665" y="215"/>
                  <a:pt x="664" y="215"/>
                  <a:pt x="664" y="215"/>
                </a:cubicBezTo>
                <a:cubicBezTo>
                  <a:pt x="663" y="217"/>
                  <a:pt x="661" y="218"/>
                  <a:pt x="660" y="220"/>
                </a:cubicBezTo>
                <a:cubicBezTo>
                  <a:pt x="660" y="221"/>
                  <a:pt x="661" y="222"/>
                  <a:pt x="660" y="223"/>
                </a:cubicBezTo>
                <a:cubicBezTo>
                  <a:pt x="660" y="223"/>
                  <a:pt x="659" y="224"/>
                  <a:pt x="659" y="225"/>
                </a:cubicBezTo>
                <a:cubicBezTo>
                  <a:pt x="659" y="226"/>
                  <a:pt x="661" y="225"/>
                  <a:pt x="660" y="226"/>
                </a:cubicBezTo>
                <a:cubicBezTo>
                  <a:pt x="660" y="227"/>
                  <a:pt x="659" y="228"/>
                  <a:pt x="659" y="227"/>
                </a:cubicBezTo>
                <a:cubicBezTo>
                  <a:pt x="658" y="227"/>
                  <a:pt x="658" y="225"/>
                  <a:pt x="657" y="224"/>
                </a:cubicBezTo>
                <a:cubicBezTo>
                  <a:pt x="657" y="223"/>
                  <a:pt x="656" y="224"/>
                  <a:pt x="655" y="223"/>
                </a:cubicBezTo>
                <a:cubicBezTo>
                  <a:pt x="653" y="223"/>
                  <a:pt x="653" y="221"/>
                  <a:pt x="650" y="224"/>
                </a:cubicBezTo>
                <a:cubicBezTo>
                  <a:pt x="653" y="220"/>
                  <a:pt x="649" y="222"/>
                  <a:pt x="648" y="221"/>
                </a:cubicBezTo>
                <a:cubicBezTo>
                  <a:pt x="648" y="222"/>
                  <a:pt x="647" y="215"/>
                  <a:pt x="647" y="215"/>
                </a:cubicBezTo>
                <a:cubicBezTo>
                  <a:pt x="647" y="214"/>
                  <a:pt x="648" y="211"/>
                  <a:pt x="648" y="209"/>
                </a:cubicBezTo>
                <a:cubicBezTo>
                  <a:pt x="648" y="210"/>
                  <a:pt x="648" y="210"/>
                  <a:pt x="647" y="210"/>
                </a:cubicBezTo>
                <a:cubicBezTo>
                  <a:pt x="647" y="210"/>
                  <a:pt x="647" y="209"/>
                  <a:pt x="648" y="208"/>
                </a:cubicBezTo>
                <a:cubicBezTo>
                  <a:pt x="648" y="208"/>
                  <a:pt x="648" y="208"/>
                  <a:pt x="648" y="208"/>
                </a:cubicBezTo>
                <a:cubicBezTo>
                  <a:pt x="647" y="208"/>
                  <a:pt x="647" y="209"/>
                  <a:pt x="647" y="209"/>
                </a:cubicBezTo>
                <a:cubicBezTo>
                  <a:pt x="647" y="209"/>
                  <a:pt x="647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4" y="211"/>
                  <a:pt x="639" y="212"/>
                  <a:pt x="635" y="212"/>
                </a:cubicBezTo>
                <a:cubicBezTo>
                  <a:pt x="635" y="213"/>
                  <a:pt x="635" y="214"/>
                  <a:pt x="635" y="214"/>
                </a:cubicBezTo>
                <a:cubicBezTo>
                  <a:pt x="634" y="214"/>
                  <a:pt x="634" y="213"/>
                  <a:pt x="634" y="212"/>
                </a:cubicBezTo>
                <a:cubicBezTo>
                  <a:pt x="633" y="212"/>
                  <a:pt x="633" y="212"/>
                  <a:pt x="633" y="212"/>
                </a:cubicBezTo>
                <a:cubicBezTo>
                  <a:pt x="633" y="211"/>
                  <a:pt x="633" y="210"/>
                  <a:pt x="635" y="210"/>
                </a:cubicBezTo>
                <a:cubicBezTo>
                  <a:pt x="634" y="210"/>
                  <a:pt x="634" y="209"/>
                  <a:pt x="634" y="209"/>
                </a:cubicBezTo>
                <a:cubicBezTo>
                  <a:pt x="633" y="208"/>
                  <a:pt x="634" y="207"/>
                  <a:pt x="635" y="206"/>
                </a:cubicBezTo>
                <a:cubicBezTo>
                  <a:pt x="634" y="205"/>
                  <a:pt x="634" y="204"/>
                  <a:pt x="635" y="203"/>
                </a:cubicBezTo>
                <a:cubicBezTo>
                  <a:pt x="636" y="203"/>
                  <a:pt x="636" y="203"/>
                  <a:pt x="637" y="203"/>
                </a:cubicBezTo>
                <a:cubicBezTo>
                  <a:pt x="637" y="202"/>
                  <a:pt x="636" y="202"/>
                  <a:pt x="635" y="203"/>
                </a:cubicBezTo>
                <a:cubicBezTo>
                  <a:pt x="634" y="203"/>
                  <a:pt x="632" y="206"/>
                  <a:pt x="632" y="206"/>
                </a:cubicBezTo>
                <a:cubicBezTo>
                  <a:pt x="632" y="207"/>
                  <a:pt x="632" y="207"/>
                  <a:pt x="633" y="207"/>
                </a:cubicBezTo>
                <a:cubicBezTo>
                  <a:pt x="629" y="209"/>
                  <a:pt x="629" y="201"/>
                  <a:pt x="631" y="201"/>
                </a:cubicBezTo>
                <a:cubicBezTo>
                  <a:pt x="631" y="201"/>
                  <a:pt x="632" y="203"/>
                  <a:pt x="632" y="203"/>
                </a:cubicBezTo>
                <a:cubicBezTo>
                  <a:pt x="633" y="203"/>
                  <a:pt x="636" y="199"/>
                  <a:pt x="638" y="198"/>
                </a:cubicBezTo>
                <a:cubicBezTo>
                  <a:pt x="638" y="198"/>
                  <a:pt x="638" y="197"/>
                  <a:pt x="639" y="197"/>
                </a:cubicBezTo>
                <a:cubicBezTo>
                  <a:pt x="639" y="196"/>
                  <a:pt x="637" y="195"/>
                  <a:pt x="637" y="194"/>
                </a:cubicBezTo>
                <a:cubicBezTo>
                  <a:pt x="637" y="193"/>
                  <a:pt x="639" y="193"/>
                  <a:pt x="639" y="193"/>
                </a:cubicBezTo>
                <a:cubicBezTo>
                  <a:pt x="639" y="192"/>
                  <a:pt x="640" y="189"/>
                  <a:pt x="639" y="189"/>
                </a:cubicBezTo>
                <a:cubicBezTo>
                  <a:pt x="639" y="188"/>
                  <a:pt x="637" y="189"/>
                  <a:pt x="638" y="190"/>
                </a:cubicBezTo>
                <a:cubicBezTo>
                  <a:pt x="638" y="190"/>
                  <a:pt x="636" y="188"/>
                  <a:pt x="637" y="187"/>
                </a:cubicBezTo>
                <a:cubicBezTo>
                  <a:pt x="637" y="187"/>
                  <a:pt x="637" y="187"/>
                  <a:pt x="637" y="187"/>
                </a:cubicBezTo>
                <a:cubicBezTo>
                  <a:pt x="637" y="186"/>
                  <a:pt x="637" y="186"/>
                  <a:pt x="636" y="186"/>
                </a:cubicBezTo>
                <a:cubicBezTo>
                  <a:pt x="636" y="187"/>
                  <a:pt x="636" y="188"/>
                  <a:pt x="636" y="188"/>
                </a:cubicBezTo>
                <a:cubicBezTo>
                  <a:pt x="636" y="188"/>
                  <a:pt x="636" y="188"/>
                  <a:pt x="637" y="188"/>
                </a:cubicBezTo>
                <a:cubicBezTo>
                  <a:pt x="637" y="189"/>
                  <a:pt x="637" y="189"/>
                  <a:pt x="636" y="189"/>
                </a:cubicBezTo>
                <a:cubicBezTo>
                  <a:pt x="637" y="190"/>
                  <a:pt x="636" y="191"/>
                  <a:pt x="635" y="190"/>
                </a:cubicBezTo>
                <a:cubicBezTo>
                  <a:pt x="635" y="190"/>
                  <a:pt x="635" y="190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4" y="190"/>
                  <a:pt x="633" y="190"/>
                  <a:pt x="632" y="189"/>
                </a:cubicBezTo>
                <a:cubicBezTo>
                  <a:pt x="631" y="188"/>
                  <a:pt x="631" y="186"/>
                  <a:pt x="632" y="185"/>
                </a:cubicBezTo>
                <a:cubicBezTo>
                  <a:pt x="632" y="185"/>
                  <a:pt x="632" y="185"/>
                  <a:pt x="631" y="185"/>
                </a:cubicBezTo>
                <a:cubicBezTo>
                  <a:pt x="630" y="186"/>
                  <a:pt x="632" y="185"/>
                  <a:pt x="631" y="184"/>
                </a:cubicBezTo>
                <a:cubicBezTo>
                  <a:pt x="630" y="184"/>
                  <a:pt x="630" y="185"/>
                  <a:pt x="630" y="185"/>
                </a:cubicBezTo>
                <a:cubicBezTo>
                  <a:pt x="629" y="185"/>
                  <a:pt x="630" y="185"/>
                  <a:pt x="630" y="185"/>
                </a:cubicBezTo>
                <a:cubicBezTo>
                  <a:pt x="629" y="185"/>
                  <a:pt x="629" y="186"/>
                  <a:pt x="628" y="185"/>
                </a:cubicBezTo>
                <a:cubicBezTo>
                  <a:pt x="625" y="185"/>
                  <a:pt x="628" y="181"/>
                  <a:pt x="626" y="179"/>
                </a:cubicBezTo>
                <a:cubicBezTo>
                  <a:pt x="625" y="180"/>
                  <a:pt x="624" y="180"/>
                  <a:pt x="624" y="180"/>
                </a:cubicBezTo>
                <a:cubicBezTo>
                  <a:pt x="623" y="181"/>
                  <a:pt x="623" y="182"/>
                  <a:pt x="623" y="183"/>
                </a:cubicBezTo>
                <a:cubicBezTo>
                  <a:pt x="624" y="184"/>
                  <a:pt x="625" y="185"/>
                  <a:pt x="624" y="186"/>
                </a:cubicBezTo>
                <a:cubicBezTo>
                  <a:pt x="624" y="191"/>
                  <a:pt x="618" y="190"/>
                  <a:pt x="617" y="188"/>
                </a:cubicBezTo>
                <a:cubicBezTo>
                  <a:pt x="616" y="188"/>
                  <a:pt x="615" y="188"/>
                  <a:pt x="615" y="189"/>
                </a:cubicBezTo>
                <a:cubicBezTo>
                  <a:pt x="615" y="189"/>
                  <a:pt x="616" y="188"/>
                  <a:pt x="615" y="188"/>
                </a:cubicBezTo>
                <a:cubicBezTo>
                  <a:pt x="614" y="189"/>
                  <a:pt x="612" y="190"/>
                  <a:pt x="610" y="190"/>
                </a:cubicBezTo>
                <a:cubicBezTo>
                  <a:pt x="609" y="191"/>
                  <a:pt x="607" y="191"/>
                  <a:pt x="607" y="191"/>
                </a:cubicBezTo>
                <a:cubicBezTo>
                  <a:pt x="607" y="190"/>
                  <a:pt x="608" y="190"/>
                  <a:pt x="609" y="189"/>
                </a:cubicBezTo>
                <a:cubicBezTo>
                  <a:pt x="609" y="189"/>
                  <a:pt x="608" y="189"/>
                  <a:pt x="608" y="189"/>
                </a:cubicBezTo>
                <a:cubicBezTo>
                  <a:pt x="608" y="188"/>
                  <a:pt x="607" y="187"/>
                  <a:pt x="607" y="186"/>
                </a:cubicBezTo>
                <a:cubicBezTo>
                  <a:pt x="606" y="186"/>
                  <a:pt x="604" y="186"/>
                  <a:pt x="605" y="183"/>
                </a:cubicBezTo>
                <a:cubicBezTo>
                  <a:pt x="606" y="181"/>
                  <a:pt x="605" y="180"/>
                  <a:pt x="605" y="179"/>
                </a:cubicBezTo>
                <a:cubicBezTo>
                  <a:pt x="605" y="179"/>
                  <a:pt x="606" y="178"/>
                  <a:pt x="605" y="177"/>
                </a:cubicBezTo>
                <a:cubicBezTo>
                  <a:pt x="604" y="179"/>
                  <a:pt x="603" y="181"/>
                  <a:pt x="601" y="183"/>
                </a:cubicBezTo>
                <a:cubicBezTo>
                  <a:pt x="604" y="184"/>
                  <a:pt x="606" y="186"/>
                  <a:pt x="602" y="189"/>
                </a:cubicBezTo>
                <a:cubicBezTo>
                  <a:pt x="602" y="189"/>
                  <a:pt x="601" y="189"/>
                  <a:pt x="600" y="190"/>
                </a:cubicBezTo>
                <a:cubicBezTo>
                  <a:pt x="602" y="190"/>
                  <a:pt x="602" y="194"/>
                  <a:pt x="599" y="193"/>
                </a:cubicBezTo>
                <a:cubicBezTo>
                  <a:pt x="598" y="192"/>
                  <a:pt x="599" y="191"/>
                  <a:pt x="599" y="191"/>
                </a:cubicBezTo>
                <a:cubicBezTo>
                  <a:pt x="600" y="190"/>
                  <a:pt x="600" y="190"/>
                  <a:pt x="600" y="190"/>
                </a:cubicBezTo>
                <a:cubicBezTo>
                  <a:pt x="598" y="190"/>
                  <a:pt x="596" y="191"/>
                  <a:pt x="595" y="192"/>
                </a:cubicBezTo>
                <a:cubicBezTo>
                  <a:pt x="593" y="194"/>
                  <a:pt x="594" y="195"/>
                  <a:pt x="592" y="194"/>
                </a:cubicBezTo>
                <a:cubicBezTo>
                  <a:pt x="592" y="193"/>
                  <a:pt x="591" y="192"/>
                  <a:pt x="590" y="193"/>
                </a:cubicBezTo>
                <a:cubicBezTo>
                  <a:pt x="590" y="193"/>
                  <a:pt x="587" y="198"/>
                  <a:pt x="587" y="195"/>
                </a:cubicBezTo>
                <a:cubicBezTo>
                  <a:pt x="587" y="194"/>
                  <a:pt x="588" y="194"/>
                  <a:pt x="588" y="194"/>
                </a:cubicBezTo>
                <a:cubicBezTo>
                  <a:pt x="587" y="193"/>
                  <a:pt x="584" y="194"/>
                  <a:pt x="583" y="193"/>
                </a:cubicBezTo>
                <a:cubicBezTo>
                  <a:pt x="583" y="192"/>
                  <a:pt x="587" y="190"/>
                  <a:pt x="584" y="189"/>
                </a:cubicBezTo>
                <a:cubicBezTo>
                  <a:pt x="583" y="188"/>
                  <a:pt x="583" y="188"/>
                  <a:pt x="583" y="188"/>
                </a:cubicBezTo>
                <a:cubicBezTo>
                  <a:pt x="583" y="188"/>
                  <a:pt x="583" y="188"/>
                  <a:pt x="583" y="187"/>
                </a:cubicBezTo>
                <a:cubicBezTo>
                  <a:pt x="584" y="186"/>
                  <a:pt x="584" y="185"/>
                  <a:pt x="583" y="185"/>
                </a:cubicBezTo>
                <a:cubicBezTo>
                  <a:pt x="582" y="186"/>
                  <a:pt x="581" y="186"/>
                  <a:pt x="580" y="185"/>
                </a:cubicBezTo>
                <a:cubicBezTo>
                  <a:pt x="580" y="184"/>
                  <a:pt x="581" y="184"/>
                  <a:pt x="581" y="183"/>
                </a:cubicBezTo>
                <a:cubicBezTo>
                  <a:pt x="582" y="183"/>
                  <a:pt x="582" y="183"/>
                  <a:pt x="582" y="183"/>
                </a:cubicBezTo>
                <a:cubicBezTo>
                  <a:pt x="581" y="182"/>
                  <a:pt x="580" y="182"/>
                  <a:pt x="579" y="182"/>
                </a:cubicBezTo>
                <a:cubicBezTo>
                  <a:pt x="578" y="181"/>
                  <a:pt x="580" y="179"/>
                  <a:pt x="580" y="178"/>
                </a:cubicBezTo>
                <a:cubicBezTo>
                  <a:pt x="578" y="176"/>
                  <a:pt x="577" y="179"/>
                  <a:pt x="574" y="179"/>
                </a:cubicBezTo>
                <a:cubicBezTo>
                  <a:pt x="574" y="179"/>
                  <a:pt x="572" y="177"/>
                  <a:pt x="570" y="179"/>
                </a:cubicBezTo>
                <a:cubicBezTo>
                  <a:pt x="569" y="180"/>
                  <a:pt x="571" y="182"/>
                  <a:pt x="568" y="184"/>
                </a:cubicBezTo>
                <a:cubicBezTo>
                  <a:pt x="567" y="184"/>
                  <a:pt x="562" y="186"/>
                  <a:pt x="562" y="185"/>
                </a:cubicBezTo>
                <a:cubicBezTo>
                  <a:pt x="561" y="184"/>
                  <a:pt x="563" y="184"/>
                  <a:pt x="563" y="184"/>
                </a:cubicBezTo>
                <a:cubicBezTo>
                  <a:pt x="564" y="182"/>
                  <a:pt x="562" y="180"/>
                  <a:pt x="562" y="181"/>
                </a:cubicBezTo>
                <a:cubicBezTo>
                  <a:pt x="563" y="179"/>
                  <a:pt x="565" y="179"/>
                  <a:pt x="565" y="178"/>
                </a:cubicBezTo>
                <a:cubicBezTo>
                  <a:pt x="565" y="178"/>
                  <a:pt x="565" y="178"/>
                  <a:pt x="564" y="178"/>
                </a:cubicBezTo>
                <a:cubicBezTo>
                  <a:pt x="564" y="177"/>
                  <a:pt x="565" y="177"/>
                  <a:pt x="565" y="177"/>
                </a:cubicBezTo>
                <a:cubicBezTo>
                  <a:pt x="565" y="176"/>
                  <a:pt x="564" y="174"/>
                  <a:pt x="565" y="173"/>
                </a:cubicBezTo>
                <a:cubicBezTo>
                  <a:pt x="565" y="173"/>
                  <a:pt x="565" y="173"/>
                  <a:pt x="565" y="173"/>
                </a:cubicBezTo>
                <a:cubicBezTo>
                  <a:pt x="565" y="173"/>
                  <a:pt x="565" y="172"/>
                  <a:pt x="565" y="172"/>
                </a:cubicBezTo>
                <a:cubicBezTo>
                  <a:pt x="564" y="172"/>
                  <a:pt x="564" y="171"/>
                  <a:pt x="566" y="170"/>
                </a:cubicBezTo>
                <a:cubicBezTo>
                  <a:pt x="566" y="170"/>
                  <a:pt x="566" y="170"/>
                  <a:pt x="566" y="170"/>
                </a:cubicBezTo>
                <a:cubicBezTo>
                  <a:pt x="566" y="170"/>
                  <a:pt x="565" y="170"/>
                  <a:pt x="565" y="170"/>
                </a:cubicBezTo>
                <a:cubicBezTo>
                  <a:pt x="564" y="170"/>
                  <a:pt x="563" y="170"/>
                  <a:pt x="563" y="169"/>
                </a:cubicBezTo>
                <a:cubicBezTo>
                  <a:pt x="562" y="169"/>
                  <a:pt x="562" y="169"/>
                  <a:pt x="562" y="169"/>
                </a:cubicBezTo>
                <a:cubicBezTo>
                  <a:pt x="562" y="169"/>
                  <a:pt x="562" y="168"/>
                  <a:pt x="563" y="167"/>
                </a:cubicBezTo>
                <a:cubicBezTo>
                  <a:pt x="563" y="167"/>
                  <a:pt x="563" y="166"/>
                  <a:pt x="562" y="166"/>
                </a:cubicBezTo>
                <a:cubicBezTo>
                  <a:pt x="563" y="165"/>
                  <a:pt x="566" y="165"/>
                  <a:pt x="568" y="164"/>
                </a:cubicBezTo>
                <a:cubicBezTo>
                  <a:pt x="567" y="165"/>
                  <a:pt x="568" y="167"/>
                  <a:pt x="569" y="165"/>
                </a:cubicBezTo>
                <a:cubicBezTo>
                  <a:pt x="571" y="164"/>
                  <a:pt x="569" y="164"/>
                  <a:pt x="569" y="164"/>
                </a:cubicBezTo>
                <a:cubicBezTo>
                  <a:pt x="569" y="164"/>
                  <a:pt x="570" y="163"/>
                  <a:pt x="569" y="162"/>
                </a:cubicBezTo>
                <a:cubicBezTo>
                  <a:pt x="569" y="162"/>
                  <a:pt x="569" y="162"/>
                  <a:pt x="569" y="162"/>
                </a:cubicBezTo>
                <a:cubicBezTo>
                  <a:pt x="567" y="163"/>
                  <a:pt x="565" y="164"/>
                  <a:pt x="563" y="163"/>
                </a:cubicBezTo>
                <a:cubicBezTo>
                  <a:pt x="563" y="163"/>
                  <a:pt x="563" y="163"/>
                  <a:pt x="563" y="164"/>
                </a:cubicBezTo>
                <a:cubicBezTo>
                  <a:pt x="563" y="164"/>
                  <a:pt x="564" y="164"/>
                  <a:pt x="564" y="164"/>
                </a:cubicBezTo>
                <a:cubicBezTo>
                  <a:pt x="563" y="165"/>
                  <a:pt x="563" y="164"/>
                  <a:pt x="563" y="163"/>
                </a:cubicBezTo>
                <a:cubicBezTo>
                  <a:pt x="562" y="163"/>
                  <a:pt x="562" y="162"/>
                  <a:pt x="562" y="161"/>
                </a:cubicBezTo>
                <a:cubicBezTo>
                  <a:pt x="562" y="160"/>
                  <a:pt x="564" y="158"/>
                  <a:pt x="567" y="158"/>
                </a:cubicBezTo>
                <a:cubicBezTo>
                  <a:pt x="566" y="157"/>
                  <a:pt x="565" y="156"/>
                  <a:pt x="566" y="155"/>
                </a:cubicBezTo>
                <a:cubicBezTo>
                  <a:pt x="566" y="153"/>
                  <a:pt x="570" y="153"/>
                  <a:pt x="569" y="152"/>
                </a:cubicBezTo>
                <a:cubicBezTo>
                  <a:pt x="570" y="152"/>
                  <a:pt x="572" y="151"/>
                  <a:pt x="574" y="151"/>
                </a:cubicBezTo>
                <a:cubicBezTo>
                  <a:pt x="576" y="153"/>
                  <a:pt x="575" y="153"/>
                  <a:pt x="579" y="152"/>
                </a:cubicBezTo>
                <a:cubicBezTo>
                  <a:pt x="579" y="152"/>
                  <a:pt x="580" y="151"/>
                  <a:pt x="581" y="151"/>
                </a:cubicBezTo>
                <a:cubicBezTo>
                  <a:pt x="584" y="150"/>
                  <a:pt x="583" y="150"/>
                  <a:pt x="582" y="148"/>
                </a:cubicBezTo>
                <a:cubicBezTo>
                  <a:pt x="584" y="150"/>
                  <a:pt x="583" y="148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0" y="147"/>
                  <a:pt x="580" y="147"/>
                </a:cubicBezTo>
                <a:cubicBezTo>
                  <a:pt x="580" y="147"/>
                  <a:pt x="579" y="149"/>
                  <a:pt x="578" y="148"/>
                </a:cubicBezTo>
                <a:cubicBezTo>
                  <a:pt x="577" y="147"/>
                  <a:pt x="581" y="144"/>
                  <a:pt x="577" y="144"/>
                </a:cubicBezTo>
                <a:cubicBezTo>
                  <a:pt x="583" y="142"/>
                  <a:pt x="575" y="140"/>
                  <a:pt x="573" y="139"/>
                </a:cubicBezTo>
                <a:cubicBezTo>
                  <a:pt x="572" y="138"/>
                  <a:pt x="571" y="137"/>
                  <a:pt x="570" y="135"/>
                </a:cubicBezTo>
                <a:cubicBezTo>
                  <a:pt x="570" y="135"/>
                  <a:pt x="569" y="134"/>
                  <a:pt x="569" y="134"/>
                </a:cubicBezTo>
                <a:cubicBezTo>
                  <a:pt x="569" y="134"/>
                  <a:pt x="569" y="134"/>
                  <a:pt x="569" y="133"/>
                </a:cubicBezTo>
                <a:cubicBezTo>
                  <a:pt x="569" y="133"/>
                  <a:pt x="568" y="132"/>
                  <a:pt x="568" y="132"/>
                </a:cubicBezTo>
                <a:cubicBezTo>
                  <a:pt x="567" y="132"/>
                  <a:pt x="567" y="132"/>
                  <a:pt x="567" y="132"/>
                </a:cubicBezTo>
                <a:cubicBezTo>
                  <a:pt x="567" y="132"/>
                  <a:pt x="566" y="133"/>
                  <a:pt x="566" y="133"/>
                </a:cubicBezTo>
                <a:cubicBezTo>
                  <a:pt x="566" y="134"/>
                  <a:pt x="564" y="135"/>
                  <a:pt x="563" y="135"/>
                </a:cubicBezTo>
                <a:cubicBezTo>
                  <a:pt x="562" y="135"/>
                  <a:pt x="561" y="134"/>
                  <a:pt x="561" y="133"/>
                </a:cubicBezTo>
                <a:cubicBezTo>
                  <a:pt x="560" y="134"/>
                  <a:pt x="559" y="134"/>
                  <a:pt x="558" y="134"/>
                </a:cubicBezTo>
                <a:cubicBezTo>
                  <a:pt x="557" y="134"/>
                  <a:pt x="559" y="133"/>
                  <a:pt x="560" y="133"/>
                </a:cubicBezTo>
                <a:cubicBezTo>
                  <a:pt x="560" y="132"/>
                  <a:pt x="560" y="131"/>
                  <a:pt x="561" y="131"/>
                </a:cubicBezTo>
                <a:cubicBezTo>
                  <a:pt x="560" y="131"/>
                  <a:pt x="558" y="131"/>
                  <a:pt x="557" y="131"/>
                </a:cubicBezTo>
                <a:cubicBezTo>
                  <a:pt x="557" y="131"/>
                  <a:pt x="557" y="131"/>
                  <a:pt x="557" y="131"/>
                </a:cubicBezTo>
                <a:cubicBezTo>
                  <a:pt x="558" y="131"/>
                  <a:pt x="559" y="131"/>
                  <a:pt x="559" y="132"/>
                </a:cubicBezTo>
                <a:cubicBezTo>
                  <a:pt x="558" y="132"/>
                  <a:pt x="557" y="132"/>
                  <a:pt x="556" y="132"/>
                </a:cubicBezTo>
                <a:cubicBezTo>
                  <a:pt x="555" y="132"/>
                  <a:pt x="555" y="132"/>
                  <a:pt x="555" y="133"/>
                </a:cubicBezTo>
                <a:cubicBezTo>
                  <a:pt x="556" y="133"/>
                  <a:pt x="555" y="135"/>
                  <a:pt x="554" y="134"/>
                </a:cubicBezTo>
                <a:cubicBezTo>
                  <a:pt x="553" y="135"/>
                  <a:pt x="552" y="135"/>
                  <a:pt x="552" y="135"/>
                </a:cubicBezTo>
                <a:cubicBezTo>
                  <a:pt x="552" y="134"/>
                  <a:pt x="552" y="134"/>
                  <a:pt x="553" y="133"/>
                </a:cubicBezTo>
                <a:cubicBezTo>
                  <a:pt x="552" y="133"/>
                  <a:pt x="551" y="131"/>
                  <a:pt x="553" y="132"/>
                </a:cubicBezTo>
                <a:cubicBezTo>
                  <a:pt x="553" y="132"/>
                  <a:pt x="553" y="132"/>
                  <a:pt x="553" y="132"/>
                </a:cubicBezTo>
                <a:cubicBezTo>
                  <a:pt x="553" y="133"/>
                  <a:pt x="553" y="133"/>
                  <a:pt x="553" y="133"/>
                </a:cubicBezTo>
                <a:cubicBezTo>
                  <a:pt x="554" y="133"/>
                  <a:pt x="554" y="132"/>
                  <a:pt x="554" y="132"/>
                </a:cubicBezTo>
                <a:cubicBezTo>
                  <a:pt x="553" y="132"/>
                  <a:pt x="552" y="131"/>
                  <a:pt x="552" y="131"/>
                </a:cubicBezTo>
                <a:cubicBezTo>
                  <a:pt x="552" y="131"/>
                  <a:pt x="553" y="131"/>
                  <a:pt x="555" y="131"/>
                </a:cubicBezTo>
                <a:cubicBezTo>
                  <a:pt x="554" y="130"/>
                  <a:pt x="554" y="130"/>
                  <a:pt x="554" y="130"/>
                </a:cubicBezTo>
                <a:cubicBezTo>
                  <a:pt x="553" y="130"/>
                  <a:pt x="552" y="131"/>
                  <a:pt x="552" y="131"/>
                </a:cubicBezTo>
                <a:cubicBezTo>
                  <a:pt x="551" y="130"/>
                  <a:pt x="550" y="127"/>
                  <a:pt x="548" y="129"/>
                </a:cubicBezTo>
                <a:cubicBezTo>
                  <a:pt x="548" y="130"/>
                  <a:pt x="549" y="131"/>
                  <a:pt x="549" y="130"/>
                </a:cubicBezTo>
                <a:cubicBezTo>
                  <a:pt x="549" y="131"/>
                  <a:pt x="549" y="131"/>
                  <a:pt x="549" y="131"/>
                </a:cubicBezTo>
                <a:cubicBezTo>
                  <a:pt x="549" y="131"/>
                  <a:pt x="549" y="131"/>
                  <a:pt x="550" y="131"/>
                </a:cubicBezTo>
                <a:cubicBezTo>
                  <a:pt x="551" y="131"/>
                  <a:pt x="549" y="133"/>
                  <a:pt x="549" y="132"/>
                </a:cubicBezTo>
                <a:cubicBezTo>
                  <a:pt x="549" y="132"/>
                  <a:pt x="549" y="132"/>
                  <a:pt x="549" y="132"/>
                </a:cubicBezTo>
                <a:cubicBezTo>
                  <a:pt x="548" y="133"/>
                  <a:pt x="544" y="131"/>
                  <a:pt x="543" y="131"/>
                </a:cubicBezTo>
                <a:cubicBezTo>
                  <a:pt x="545" y="130"/>
                  <a:pt x="543" y="130"/>
                  <a:pt x="542" y="129"/>
                </a:cubicBezTo>
                <a:cubicBezTo>
                  <a:pt x="540" y="130"/>
                  <a:pt x="539" y="131"/>
                  <a:pt x="537" y="132"/>
                </a:cubicBezTo>
                <a:cubicBezTo>
                  <a:pt x="538" y="130"/>
                  <a:pt x="540" y="129"/>
                  <a:pt x="542" y="129"/>
                </a:cubicBezTo>
                <a:cubicBezTo>
                  <a:pt x="541" y="128"/>
                  <a:pt x="541" y="127"/>
                  <a:pt x="541" y="127"/>
                </a:cubicBezTo>
                <a:cubicBezTo>
                  <a:pt x="542" y="125"/>
                  <a:pt x="546" y="126"/>
                  <a:pt x="546" y="124"/>
                </a:cubicBezTo>
                <a:cubicBezTo>
                  <a:pt x="547" y="123"/>
                  <a:pt x="545" y="124"/>
                  <a:pt x="545" y="124"/>
                </a:cubicBezTo>
                <a:cubicBezTo>
                  <a:pt x="546" y="122"/>
                  <a:pt x="547" y="121"/>
                  <a:pt x="545" y="120"/>
                </a:cubicBezTo>
                <a:cubicBezTo>
                  <a:pt x="545" y="120"/>
                  <a:pt x="540" y="120"/>
                  <a:pt x="538" y="120"/>
                </a:cubicBezTo>
                <a:cubicBezTo>
                  <a:pt x="536" y="120"/>
                  <a:pt x="534" y="121"/>
                  <a:pt x="531" y="119"/>
                </a:cubicBezTo>
                <a:cubicBezTo>
                  <a:pt x="534" y="119"/>
                  <a:pt x="535" y="117"/>
                  <a:pt x="537" y="117"/>
                </a:cubicBezTo>
                <a:cubicBezTo>
                  <a:pt x="537" y="117"/>
                  <a:pt x="537" y="116"/>
                  <a:pt x="537" y="116"/>
                </a:cubicBezTo>
                <a:cubicBezTo>
                  <a:pt x="537" y="116"/>
                  <a:pt x="537" y="117"/>
                  <a:pt x="537" y="117"/>
                </a:cubicBezTo>
                <a:cubicBezTo>
                  <a:pt x="538" y="116"/>
                  <a:pt x="538" y="116"/>
                  <a:pt x="539" y="116"/>
                </a:cubicBezTo>
                <a:cubicBezTo>
                  <a:pt x="542" y="115"/>
                  <a:pt x="545" y="118"/>
                  <a:pt x="548" y="117"/>
                </a:cubicBezTo>
                <a:cubicBezTo>
                  <a:pt x="548" y="117"/>
                  <a:pt x="551" y="114"/>
                  <a:pt x="552" y="114"/>
                </a:cubicBezTo>
                <a:cubicBezTo>
                  <a:pt x="553" y="114"/>
                  <a:pt x="554" y="115"/>
                  <a:pt x="554" y="114"/>
                </a:cubicBezTo>
                <a:cubicBezTo>
                  <a:pt x="553" y="114"/>
                  <a:pt x="553" y="113"/>
                  <a:pt x="553" y="113"/>
                </a:cubicBezTo>
                <a:cubicBezTo>
                  <a:pt x="553" y="113"/>
                  <a:pt x="552" y="113"/>
                  <a:pt x="552" y="113"/>
                </a:cubicBezTo>
                <a:cubicBezTo>
                  <a:pt x="552" y="114"/>
                  <a:pt x="551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8" y="114"/>
                  <a:pt x="547" y="114"/>
                  <a:pt x="547" y="114"/>
                </a:cubicBezTo>
                <a:cubicBezTo>
                  <a:pt x="547" y="114"/>
                  <a:pt x="547" y="113"/>
                  <a:pt x="547" y="113"/>
                </a:cubicBezTo>
                <a:cubicBezTo>
                  <a:pt x="547" y="112"/>
                  <a:pt x="548" y="111"/>
                  <a:pt x="549" y="110"/>
                </a:cubicBezTo>
                <a:cubicBezTo>
                  <a:pt x="550" y="110"/>
                  <a:pt x="552" y="111"/>
                  <a:pt x="552" y="112"/>
                </a:cubicBezTo>
                <a:cubicBezTo>
                  <a:pt x="552" y="112"/>
                  <a:pt x="552" y="112"/>
                  <a:pt x="553" y="112"/>
                </a:cubicBezTo>
                <a:cubicBezTo>
                  <a:pt x="552" y="111"/>
                  <a:pt x="554" y="110"/>
                  <a:pt x="555" y="111"/>
                </a:cubicBezTo>
                <a:cubicBezTo>
                  <a:pt x="555" y="110"/>
                  <a:pt x="555" y="110"/>
                  <a:pt x="554" y="109"/>
                </a:cubicBezTo>
                <a:cubicBezTo>
                  <a:pt x="554" y="110"/>
                  <a:pt x="554" y="110"/>
                  <a:pt x="554" y="110"/>
                </a:cubicBezTo>
                <a:cubicBezTo>
                  <a:pt x="554" y="110"/>
                  <a:pt x="554" y="109"/>
                  <a:pt x="554" y="109"/>
                </a:cubicBezTo>
                <a:cubicBezTo>
                  <a:pt x="553" y="108"/>
                  <a:pt x="550" y="108"/>
                  <a:pt x="549" y="107"/>
                </a:cubicBezTo>
                <a:cubicBezTo>
                  <a:pt x="550" y="106"/>
                  <a:pt x="551" y="106"/>
                  <a:pt x="550" y="105"/>
                </a:cubicBezTo>
                <a:cubicBezTo>
                  <a:pt x="549" y="106"/>
                  <a:pt x="546" y="106"/>
                  <a:pt x="548" y="104"/>
                </a:cubicBezTo>
                <a:cubicBezTo>
                  <a:pt x="548" y="104"/>
                  <a:pt x="548" y="104"/>
                  <a:pt x="548" y="104"/>
                </a:cubicBezTo>
                <a:cubicBezTo>
                  <a:pt x="548" y="104"/>
                  <a:pt x="547" y="103"/>
                  <a:pt x="547" y="103"/>
                </a:cubicBezTo>
                <a:cubicBezTo>
                  <a:pt x="545" y="104"/>
                  <a:pt x="543" y="105"/>
                  <a:pt x="541" y="106"/>
                </a:cubicBezTo>
                <a:cubicBezTo>
                  <a:pt x="537" y="107"/>
                  <a:pt x="541" y="104"/>
                  <a:pt x="543" y="103"/>
                </a:cubicBezTo>
                <a:cubicBezTo>
                  <a:pt x="544" y="103"/>
                  <a:pt x="546" y="102"/>
                  <a:pt x="548" y="101"/>
                </a:cubicBezTo>
                <a:cubicBezTo>
                  <a:pt x="548" y="101"/>
                  <a:pt x="548" y="101"/>
                  <a:pt x="548" y="100"/>
                </a:cubicBezTo>
                <a:cubicBezTo>
                  <a:pt x="549" y="100"/>
                  <a:pt x="549" y="100"/>
                  <a:pt x="550" y="100"/>
                </a:cubicBezTo>
                <a:cubicBezTo>
                  <a:pt x="552" y="99"/>
                  <a:pt x="553" y="99"/>
                  <a:pt x="554" y="98"/>
                </a:cubicBezTo>
                <a:cubicBezTo>
                  <a:pt x="555" y="97"/>
                  <a:pt x="555" y="95"/>
                  <a:pt x="555" y="94"/>
                </a:cubicBezTo>
                <a:cubicBezTo>
                  <a:pt x="554" y="95"/>
                  <a:pt x="554" y="94"/>
                  <a:pt x="553" y="94"/>
                </a:cubicBezTo>
                <a:cubicBezTo>
                  <a:pt x="553" y="94"/>
                  <a:pt x="553" y="94"/>
                  <a:pt x="553" y="94"/>
                </a:cubicBezTo>
                <a:cubicBezTo>
                  <a:pt x="553" y="94"/>
                  <a:pt x="553" y="94"/>
                  <a:pt x="552" y="94"/>
                </a:cubicBezTo>
                <a:cubicBezTo>
                  <a:pt x="552" y="94"/>
                  <a:pt x="550" y="93"/>
                  <a:pt x="550" y="93"/>
                </a:cubicBezTo>
                <a:cubicBezTo>
                  <a:pt x="550" y="93"/>
                  <a:pt x="550" y="93"/>
                  <a:pt x="550" y="92"/>
                </a:cubicBezTo>
                <a:cubicBezTo>
                  <a:pt x="549" y="91"/>
                  <a:pt x="551" y="90"/>
                  <a:pt x="552" y="90"/>
                </a:cubicBezTo>
                <a:cubicBezTo>
                  <a:pt x="552" y="89"/>
                  <a:pt x="552" y="89"/>
                  <a:pt x="553" y="88"/>
                </a:cubicBezTo>
                <a:cubicBezTo>
                  <a:pt x="553" y="88"/>
                  <a:pt x="553" y="88"/>
                  <a:pt x="553" y="88"/>
                </a:cubicBezTo>
                <a:cubicBezTo>
                  <a:pt x="552" y="87"/>
                  <a:pt x="550" y="87"/>
                  <a:pt x="549" y="87"/>
                </a:cubicBezTo>
                <a:cubicBezTo>
                  <a:pt x="548" y="87"/>
                  <a:pt x="546" y="87"/>
                  <a:pt x="546" y="86"/>
                </a:cubicBezTo>
                <a:cubicBezTo>
                  <a:pt x="545" y="86"/>
                  <a:pt x="544" y="85"/>
                  <a:pt x="544" y="84"/>
                </a:cubicBezTo>
                <a:cubicBezTo>
                  <a:pt x="543" y="85"/>
                  <a:pt x="542" y="85"/>
                  <a:pt x="542" y="84"/>
                </a:cubicBezTo>
                <a:cubicBezTo>
                  <a:pt x="541" y="84"/>
                  <a:pt x="540" y="82"/>
                  <a:pt x="542" y="81"/>
                </a:cubicBezTo>
                <a:cubicBezTo>
                  <a:pt x="542" y="81"/>
                  <a:pt x="542" y="81"/>
                  <a:pt x="542" y="81"/>
                </a:cubicBezTo>
                <a:cubicBezTo>
                  <a:pt x="541" y="80"/>
                  <a:pt x="542" y="80"/>
                  <a:pt x="542" y="79"/>
                </a:cubicBezTo>
                <a:cubicBezTo>
                  <a:pt x="541" y="80"/>
                  <a:pt x="540" y="80"/>
                  <a:pt x="539" y="80"/>
                </a:cubicBezTo>
                <a:cubicBezTo>
                  <a:pt x="539" y="80"/>
                  <a:pt x="538" y="81"/>
                  <a:pt x="539" y="82"/>
                </a:cubicBezTo>
                <a:cubicBezTo>
                  <a:pt x="538" y="82"/>
                  <a:pt x="536" y="83"/>
                  <a:pt x="535" y="84"/>
                </a:cubicBezTo>
                <a:cubicBezTo>
                  <a:pt x="534" y="85"/>
                  <a:pt x="533" y="85"/>
                  <a:pt x="532" y="86"/>
                </a:cubicBezTo>
                <a:cubicBezTo>
                  <a:pt x="532" y="86"/>
                  <a:pt x="532" y="87"/>
                  <a:pt x="532" y="87"/>
                </a:cubicBezTo>
                <a:cubicBezTo>
                  <a:pt x="531" y="87"/>
                  <a:pt x="530" y="86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8" y="87"/>
                </a:cubicBezTo>
                <a:cubicBezTo>
                  <a:pt x="527" y="87"/>
                  <a:pt x="527" y="88"/>
                  <a:pt x="526" y="88"/>
                </a:cubicBezTo>
                <a:cubicBezTo>
                  <a:pt x="526" y="88"/>
                  <a:pt x="526" y="87"/>
                  <a:pt x="526" y="87"/>
                </a:cubicBezTo>
                <a:cubicBezTo>
                  <a:pt x="525" y="85"/>
                  <a:pt x="521" y="83"/>
                  <a:pt x="520" y="81"/>
                </a:cubicBezTo>
                <a:cubicBezTo>
                  <a:pt x="520" y="79"/>
                  <a:pt x="524" y="78"/>
                  <a:pt x="525" y="76"/>
                </a:cubicBezTo>
                <a:cubicBezTo>
                  <a:pt x="526" y="76"/>
                  <a:pt x="524" y="74"/>
                  <a:pt x="525" y="74"/>
                </a:cubicBezTo>
                <a:cubicBezTo>
                  <a:pt x="526" y="73"/>
                  <a:pt x="526" y="75"/>
                  <a:pt x="527" y="75"/>
                </a:cubicBezTo>
                <a:cubicBezTo>
                  <a:pt x="528" y="76"/>
                  <a:pt x="533" y="76"/>
                  <a:pt x="535" y="76"/>
                </a:cubicBezTo>
                <a:cubicBezTo>
                  <a:pt x="536" y="76"/>
                  <a:pt x="537" y="76"/>
                  <a:pt x="538" y="77"/>
                </a:cubicBezTo>
                <a:cubicBezTo>
                  <a:pt x="539" y="75"/>
                  <a:pt x="543" y="75"/>
                  <a:pt x="543" y="74"/>
                </a:cubicBezTo>
                <a:cubicBezTo>
                  <a:pt x="544" y="74"/>
                  <a:pt x="542" y="74"/>
                  <a:pt x="542" y="73"/>
                </a:cubicBezTo>
                <a:cubicBezTo>
                  <a:pt x="543" y="73"/>
                  <a:pt x="544" y="73"/>
                  <a:pt x="545" y="74"/>
                </a:cubicBezTo>
                <a:cubicBezTo>
                  <a:pt x="547" y="73"/>
                  <a:pt x="550" y="72"/>
                  <a:pt x="553" y="72"/>
                </a:cubicBezTo>
                <a:cubicBezTo>
                  <a:pt x="552" y="71"/>
                  <a:pt x="552" y="70"/>
                  <a:pt x="551" y="70"/>
                </a:cubicBezTo>
                <a:cubicBezTo>
                  <a:pt x="551" y="70"/>
                  <a:pt x="550" y="71"/>
                  <a:pt x="550" y="71"/>
                </a:cubicBezTo>
                <a:cubicBezTo>
                  <a:pt x="550" y="71"/>
                  <a:pt x="547" y="70"/>
                  <a:pt x="545" y="69"/>
                </a:cubicBezTo>
                <a:cubicBezTo>
                  <a:pt x="544" y="69"/>
                  <a:pt x="543" y="69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2" y="67"/>
                  <a:pt x="543" y="66"/>
                  <a:pt x="542" y="66"/>
                </a:cubicBezTo>
                <a:cubicBezTo>
                  <a:pt x="540" y="64"/>
                  <a:pt x="537" y="66"/>
                  <a:pt x="535" y="66"/>
                </a:cubicBezTo>
                <a:cubicBezTo>
                  <a:pt x="535" y="66"/>
                  <a:pt x="534" y="65"/>
                  <a:pt x="534" y="65"/>
                </a:cubicBezTo>
                <a:cubicBezTo>
                  <a:pt x="534" y="65"/>
                  <a:pt x="534" y="65"/>
                  <a:pt x="534" y="65"/>
                </a:cubicBezTo>
                <a:cubicBezTo>
                  <a:pt x="534" y="67"/>
                  <a:pt x="529" y="69"/>
                  <a:pt x="528" y="68"/>
                </a:cubicBezTo>
                <a:cubicBezTo>
                  <a:pt x="527" y="66"/>
                  <a:pt x="528" y="64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2"/>
                  <a:pt x="529" y="62"/>
                </a:cubicBezTo>
                <a:cubicBezTo>
                  <a:pt x="529" y="62"/>
                  <a:pt x="529" y="62"/>
                  <a:pt x="529" y="62"/>
                </a:cubicBezTo>
                <a:cubicBezTo>
                  <a:pt x="528" y="62"/>
                  <a:pt x="527" y="63"/>
                  <a:pt x="526" y="63"/>
                </a:cubicBezTo>
                <a:cubicBezTo>
                  <a:pt x="526" y="63"/>
                  <a:pt x="526" y="63"/>
                  <a:pt x="526" y="63"/>
                </a:cubicBezTo>
                <a:cubicBezTo>
                  <a:pt x="526" y="64"/>
                  <a:pt x="526" y="64"/>
                  <a:pt x="526" y="65"/>
                </a:cubicBezTo>
                <a:cubicBezTo>
                  <a:pt x="525" y="66"/>
                  <a:pt x="522" y="66"/>
                  <a:pt x="520" y="68"/>
                </a:cubicBezTo>
                <a:cubicBezTo>
                  <a:pt x="519" y="69"/>
                  <a:pt x="517" y="72"/>
                  <a:pt x="515" y="72"/>
                </a:cubicBezTo>
                <a:cubicBezTo>
                  <a:pt x="514" y="71"/>
                  <a:pt x="514" y="70"/>
                  <a:pt x="513" y="70"/>
                </a:cubicBezTo>
                <a:cubicBezTo>
                  <a:pt x="513" y="69"/>
                  <a:pt x="513" y="70"/>
                  <a:pt x="512" y="70"/>
                </a:cubicBezTo>
                <a:cubicBezTo>
                  <a:pt x="511" y="71"/>
                  <a:pt x="510" y="70"/>
                  <a:pt x="510" y="69"/>
                </a:cubicBezTo>
                <a:cubicBezTo>
                  <a:pt x="509" y="69"/>
                  <a:pt x="508" y="69"/>
                  <a:pt x="508" y="68"/>
                </a:cubicBezTo>
                <a:cubicBezTo>
                  <a:pt x="508" y="68"/>
                  <a:pt x="509" y="67"/>
                  <a:pt x="510" y="66"/>
                </a:cubicBezTo>
                <a:cubicBezTo>
                  <a:pt x="510" y="65"/>
                  <a:pt x="511" y="65"/>
                  <a:pt x="512" y="66"/>
                </a:cubicBezTo>
                <a:cubicBezTo>
                  <a:pt x="513" y="67"/>
                  <a:pt x="513" y="66"/>
                  <a:pt x="513" y="65"/>
                </a:cubicBezTo>
                <a:cubicBezTo>
                  <a:pt x="512" y="64"/>
                  <a:pt x="511" y="64"/>
                  <a:pt x="511" y="63"/>
                </a:cubicBezTo>
                <a:cubicBezTo>
                  <a:pt x="511" y="63"/>
                  <a:pt x="511" y="62"/>
                  <a:pt x="513" y="61"/>
                </a:cubicBezTo>
                <a:cubicBezTo>
                  <a:pt x="511" y="61"/>
                  <a:pt x="510" y="60"/>
                  <a:pt x="509" y="59"/>
                </a:cubicBezTo>
                <a:cubicBezTo>
                  <a:pt x="509" y="59"/>
                  <a:pt x="510" y="56"/>
                  <a:pt x="511" y="55"/>
                </a:cubicBezTo>
                <a:cubicBezTo>
                  <a:pt x="512" y="54"/>
                  <a:pt x="515" y="54"/>
                  <a:pt x="515" y="53"/>
                </a:cubicBezTo>
                <a:cubicBezTo>
                  <a:pt x="515" y="53"/>
                  <a:pt x="514" y="53"/>
                  <a:pt x="514" y="53"/>
                </a:cubicBezTo>
                <a:cubicBezTo>
                  <a:pt x="514" y="53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2" y="54"/>
                  <a:pt x="511" y="55"/>
                  <a:pt x="510" y="54"/>
                </a:cubicBezTo>
                <a:cubicBezTo>
                  <a:pt x="510" y="54"/>
                  <a:pt x="510" y="53"/>
                  <a:pt x="510" y="53"/>
                </a:cubicBezTo>
                <a:cubicBezTo>
                  <a:pt x="510" y="53"/>
                  <a:pt x="510" y="53"/>
                  <a:pt x="510" y="53"/>
                </a:cubicBezTo>
                <a:cubicBezTo>
                  <a:pt x="510" y="53"/>
                  <a:pt x="510" y="52"/>
                  <a:pt x="510" y="52"/>
                </a:cubicBezTo>
                <a:cubicBezTo>
                  <a:pt x="510" y="52"/>
                  <a:pt x="510" y="52"/>
                  <a:pt x="510" y="52"/>
                </a:cubicBezTo>
                <a:cubicBezTo>
                  <a:pt x="511" y="51"/>
                  <a:pt x="513" y="51"/>
                  <a:pt x="513" y="52"/>
                </a:cubicBezTo>
                <a:cubicBezTo>
                  <a:pt x="515" y="52"/>
                  <a:pt x="517" y="52"/>
                  <a:pt x="516" y="53"/>
                </a:cubicBezTo>
                <a:cubicBezTo>
                  <a:pt x="516" y="53"/>
                  <a:pt x="515" y="54"/>
                  <a:pt x="515" y="54"/>
                </a:cubicBezTo>
                <a:cubicBezTo>
                  <a:pt x="516" y="54"/>
                  <a:pt x="517" y="54"/>
                  <a:pt x="517" y="54"/>
                </a:cubicBezTo>
                <a:cubicBezTo>
                  <a:pt x="518" y="54"/>
                  <a:pt x="519" y="55"/>
                  <a:pt x="520" y="55"/>
                </a:cubicBezTo>
                <a:cubicBezTo>
                  <a:pt x="521" y="55"/>
                  <a:pt x="522" y="55"/>
                  <a:pt x="522" y="56"/>
                </a:cubicBezTo>
                <a:cubicBezTo>
                  <a:pt x="522" y="57"/>
                  <a:pt x="522" y="57"/>
                  <a:pt x="521" y="57"/>
                </a:cubicBezTo>
                <a:cubicBezTo>
                  <a:pt x="521" y="57"/>
                  <a:pt x="521" y="58"/>
                  <a:pt x="521" y="58"/>
                </a:cubicBezTo>
                <a:cubicBezTo>
                  <a:pt x="522" y="57"/>
                  <a:pt x="523" y="57"/>
                  <a:pt x="525" y="58"/>
                </a:cubicBezTo>
                <a:cubicBezTo>
                  <a:pt x="525" y="59"/>
                  <a:pt x="524" y="59"/>
                  <a:pt x="524" y="59"/>
                </a:cubicBezTo>
                <a:cubicBezTo>
                  <a:pt x="525" y="59"/>
                  <a:pt x="526" y="58"/>
                  <a:pt x="528" y="58"/>
                </a:cubicBezTo>
                <a:cubicBezTo>
                  <a:pt x="528" y="58"/>
                  <a:pt x="528" y="57"/>
                  <a:pt x="528" y="57"/>
                </a:cubicBezTo>
                <a:cubicBezTo>
                  <a:pt x="528" y="57"/>
                  <a:pt x="527" y="57"/>
                  <a:pt x="527" y="56"/>
                </a:cubicBezTo>
                <a:cubicBezTo>
                  <a:pt x="527" y="54"/>
                  <a:pt x="532" y="55"/>
                  <a:pt x="530" y="57"/>
                </a:cubicBezTo>
                <a:cubicBezTo>
                  <a:pt x="530" y="57"/>
                  <a:pt x="530" y="57"/>
                  <a:pt x="530" y="57"/>
                </a:cubicBezTo>
                <a:cubicBezTo>
                  <a:pt x="531" y="56"/>
                  <a:pt x="533" y="55"/>
                  <a:pt x="533" y="55"/>
                </a:cubicBezTo>
                <a:cubicBezTo>
                  <a:pt x="532" y="54"/>
                  <a:pt x="530" y="55"/>
                  <a:pt x="529" y="54"/>
                </a:cubicBezTo>
                <a:cubicBezTo>
                  <a:pt x="529" y="53"/>
                  <a:pt x="532" y="51"/>
                  <a:pt x="532" y="51"/>
                </a:cubicBezTo>
                <a:cubicBezTo>
                  <a:pt x="532" y="51"/>
                  <a:pt x="532" y="50"/>
                  <a:pt x="532" y="50"/>
                </a:cubicBezTo>
                <a:cubicBezTo>
                  <a:pt x="530" y="52"/>
                  <a:pt x="527" y="52"/>
                  <a:pt x="525" y="52"/>
                </a:cubicBezTo>
                <a:cubicBezTo>
                  <a:pt x="523" y="51"/>
                  <a:pt x="522" y="48"/>
                  <a:pt x="521" y="48"/>
                </a:cubicBezTo>
                <a:cubicBezTo>
                  <a:pt x="520" y="48"/>
                  <a:pt x="518" y="48"/>
                  <a:pt x="516" y="49"/>
                </a:cubicBezTo>
                <a:cubicBezTo>
                  <a:pt x="517" y="48"/>
                  <a:pt x="518" y="48"/>
                  <a:pt x="519" y="47"/>
                </a:cubicBezTo>
                <a:cubicBezTo>
                  <a:pt x="519" y="47"/>
                  <a:pt x="520" y="47"/>
                  <a:pt x="520" y="47"/>
                </a:cubicBezTo>
                <a:cubicBezTo>
                  <a:pt x="521" y="46"/>
                  <a:pt x="521" y="46"/>
                  <a:pt x="521" y="45"/>
                </a:cubicBezTo>
                <a:cubicBezTo>
                  <a:pt x="520" y="45"/>
                  <a:pt x="520" y="45"/>
                  <a:pt x="519" y="45"/>
                </a:cubicBezTo>
                <a:cubicBezTo>
                  <a:pt x="519" y="44"/>
                  <a:pt x="520" y="44"/>
                  <a:pt x="521" y="44"/>
                </a:cubicBezTo>
                <a:cubicBezTo>
                  <a:pt x="521" y="44"/>
                  <a:pt x="521" y="44"/>
                  <a:pt x="521" y="44"/>
                </a:cubicBezTo>
                <a:cubicBezTo>
                  <a:pt x="521" y="43"/>
                  <a:pt x="521" y="41"/>
                  <a:pt x="521" y="40"/>
                </a:cubicBezTo>
                <a:cubicBezTo>
                  <a:pt x="521" y="40"/>
                  <a:pt x="520" y="40"/>
                  <a:pt x="520" y="40"/>
                </a:cubicBezTo>
                <a:cubicBezTo>
                  <a:pt x="520" y="40"/>
                  <a:pt x="520" y="40"/>
                  <a:pt x="520" y="40"/>
                </a:cubicBezTo>
                <a:cubicBezTo>
                  <a:pt x="520" y="40"/>
                  <a:pt x="520" y="40"/>
                  <a:pt x="520" y="39"/>
                </a:cubicBezTo>
                <a:cubicBezTo>
                  <a:pt x="520" y="39"/>
                  <a:pt x="520" y="39"/>
                  <a:pt x="520" y="39"/>
                </a:cubicBezTo>
                <a:cubicBezTo>
                  <a:pt x="510" y="34"/>
                  <a:pt x="501" y="30"/>
                  <a:pt x="491" y="26"/>
                </a:cubicBezTo>
                <a:cubicBezTo>
                  <a:pt x="491" y="26"/>
                  <a:pt x="489" y="27"/>
                  <a:pt x="489" y="27"/>
                </a:cubicBezTo>
                <a:cubicBezTo>
                  <a:pt x="489" y="26"/>
                  <a:pt x="489" y="26"/>
                  <a:pt x="490" y="26"/>
                </a:cubicBezTo>
                <a:cubicBezTo>
                  <a:pt x="487" y="24"/>
                  <a:pt x="483" y="23"/>
                  <a:pt x="480" y="22"/>
                </a:cubicBezTo>
                <a:cubicBezTo>
                  <a:pt x="480" y="22"/>
                  <a:pt x="480" y="22"/>
                  <a:pt x="480" y="22"/>
                </a:cubicBezTo>
                <a:cubicBezTo>
                  <a:pt x="478" y="22"/>
                  <a:pt x="476" y="25"/>
                  <a:pt x="474" y="25"/>
                </a:cubicBezTo>
                <a:cubicBezTo>
                  <a:pt x="472" y="25"/>
                  <a:pt x="473" y="25"/>
                  <a:pt x="471" y="25"/>
                </a:cubicBezTo>
                <a:cubicBezTo>
                  <a:pt x="471" y="25"/>
                  <a:pt x="469" y="26"/>
                  <a:pt x="468" y="27"/>
                </a:cubicBezTo>
                <a:cubicBezTo>
                  <a:pt x="467" y="27"/>
                  <a:pt x="464" y="29"/>
                  <a:pt x="464" y="29"/>
                </a:cubicBezTo>
                <a:cubicBezTo>
                  <a:pt x="462" y="30"/>
                  <a:pt x="464" y="30"/>
                  <a:pt x="462" y="30"/>
                </a:cubicBezTo>
                <a:cubicBezTo>
                  <a:pt x="461" y="30"/>
                  <a:pt x="461" y="30"/>
                  <a:pt x="460" y="30"/>
                </a:cubicBezTo>
                <a:cubicBezTo>
                  <a:pt x="461" y="30"/>
                  <a:pt x="461" y="30"/>
                  <a:pt x="461" y="30"/>
                </a:cubicBezTo>
                <a:cubicBezTo>
                  <a:pt x="462" y="31"/>
                  <a:pt x="459" y="32"/>
                  <a:pt x="459" y="31"/>
                </a:cubicBezTo>
                <a:cubicBezTo>
                  <a:pt x="459" y="31"/>
                  <a:pt x="458" y="32"/>
                  <a:pt x="458" y="32"/>
                </a:cubicBezTo>
                <a:cubicBezTo>
                  <a:pt x="458" y="32"/>
                  <a:pt x="458" y="33"/>
                  <a:pt x="458" y="33"/>
                </a:cubicBezTo>
                <a:cubicBezTo>
                  <a:pt x="461" y="34"/>
                  <a:pt x="463" y="32"/>
                  <a:pt x="461" y="36"/>
                </a:cubicBezTo>
                <a:cubicBezTo>
                  <a:pt x="461" y="37"/>
                  <a:pt x="462" y="37"/>
                  <a:pt x="461" y="37"/>
                </a:cubicBezTo>
                <a:cubicBezTo>
                  <a:pt x="460" y="39"/>
                  <a:pt x="459" y="37"/>
                  <a:pt x="459" y="36"/>
                </a:cubicBezTo>
                <a:cubicBezTo>
                  <a:pt x="458" y="37"/>
                  <a:pt x="458" y="38"/>
                  <a:pt x="460" y="39"/>
                </a:cubicBezTo>
                <a:cubicBezTo>
                  <a:pt x="460" y="39"/>
                  <a:pt x="457" y="39"/>
                  <a:pt x="456" y="39"/>
                </a:cubicBezTo>
                <a:cubicBezTo>
                  <a:pt x="456" y="39"/>
                  <a:pt x="454" y="36"/>
                  <a:pt x="453" y="35"/>
                </a:cubicBezTo>
                <a:cubicBezTo>
                  <a:pt x="452" y="35"/>
                  <a:pt x="451" y="36"/>
                  <a:pt x="451" y="36"/>
                </a:cubicBezTo>
                <a:cubicBezTo>
                  <a:pt x="449" y="37"/>
                  <a:pt x="446" y="38"/>
                  <a:pt x="444" y="39"/>
                </a:cubicBezTo>
                <a:cubicBezTo>
                  <a:pt x="443" y="40"/>
                  <a:pt x="443" y="40"/>
                  <a:pt x="442" y="40"/>
                </a:cubicBezTo>
                <a:cubicBezTo>
                  <a:pt x="441" y="40"/>
                  <a:pt x="440" y="41"/>
                  <a:pt x="439" y="41"/>
                </a:cubicBezTo>
                <a:cubicBezTo>
                  <a:pt x="437" y="42"/>
                  <a:pt x="435" y="43"/>
                  <a:pt x="432" y="44"/>
                </a:cubicBezTo>
                <a:cubicBezTo>
                  <a:pt x="433" y="44"/>
                  <a:pt x="433" y="44"/>
                  <a:pt x="433" y="44"/>
                </a:cubicBezTo>
                <a:cubicBezTo>
                  <a:pt x="433" y="44"/>
                  <a:pt x="433" y="44"/>
                  <a:pt x="432" y="44"/>
                </a:cubicBezTo>
                <a:cubicBezTo>
                  <a:pt x="432" y="44"/>
                  <a:pt x="431" y="44"/>
                  <a:pt x="431" y="44"/>
                </a:cubicBezTo>
                <a:cubicBezTo>
                  <a:pt x="430" y="44"/>
                  <a:pt x="427" y="45"/>
                  <a:pt x="427" y="46"/>
                </a:cubicBezTo>
                <a:cubicBezTo>
                  <a:pt x="427" y="46"/>
                  <a:pt x="433" y="44"/>
                  <a:pt x="432" y="48"/>
                </a:cubicBezTo>
                <a:cubicBezTo>
                  <a:pt x="432" y="49"/>
                  <a:pt x="431" y="49"/>
                  <a:pt x="431" y="49"/>
                </a:cubicBezTo>
                <a:cubicBezTo>
                  <a:pt x="435" y="49"/>
                  <a:pt x="440" y="49"/>
                  <a:pt x="444" y="50"/>
                </a:cubicBezTo>
                <a:cubicBezTo>
                  <a:pt x="444" y="47"/>
                  <a:pt x="436" y="48"/>
                  <a:pt x="436" y="45"/>
                </a:cubicBezTo>
                <a:cubicBezTo>
                  <a:pt x="436" y="42"/>
                  <a:pt x="442" y="45"/>
                  <a:pt x="444" y="43"/>
                </a:cubicBezTo>
                <a:cubicBezTo>
                  <a:pt x="445" y="43"/>
                  <a:pt x="444" y="42"/>
                  <a:pt x="445" y="42"/>
                </a:cubicBezTo>
                <a:cubicBezTo>
                  <a:pt x="446" y="42"/>
                  <a:pt x="449" y="43"/>
                  <a:pt x="448" y="41"/>
                </a:cubicBezTo>
                <a:cubicBezTo>
                  <a:pt x="448" y="38"/>
                  <a:pt x="459" y="43"/>
                  <a:pt x="460" y="46"/>
                </a:cubicBezTo>
                <a:cubicBezTo>
                  <a:pt x="460" y="48"/>
                  <a:pt x="459" y="52"/>
                  <a:pt x="458" y="52"/>
                </a:cubicBezTo>
                <a:cubicBezTo>
                  <a:pt x="458" y="53"/>
                  <a:pt x="452" y="54"/>
                  <a:pt x="452" y="54"/>
                </a:cubicBezTo>
                <a:cubicBezTo>
                  <a:pt x="451" y="53"/>
                  <a:pt x="449" y="53"/>
                  <a:pt x="448" y="53"/>
                </a:cubicBezTo>
                <a:cubicBezTo>
                  <a:pt x="449" y="53"/>
                  <a:pt x="449" y="53"/>
                  <a:pt x="449" y="54"/>
                </a:cubicBezTo>
                <a:cubicBezTo>
                  <a:pt x="450" y="55"/>
                  <a:pt x="450" y="57"/>
                  <a:pt x="450" y="58"/>
                </a:cubicBezTo>
                <a:cubicBezTo>
                  <a:pt x="447" y="62"/>
                  <a:pt x="436" y="61"/>
                  <a:pt x="432" y="59"/>
                </a:cubicBezTo>
                <a:cubicBezTo>
                  <a:pt x="432" y="60"/>
                  <a:pt x="432" y="61"/>
                  <a:pt x="432" y="62"/>
                </a:cubicBezTo>
                <a:cubicBezTo>
                  <a:pt x="431" y="65"/>
                  <a:pt x="423" y="63"/>
                  <a:pt x="423" y="60"/>
                </a:cubicBezTo>
                <a:cubicBezTo>
                  <a:pt x="423" y="61"/>
                  <a:pt x="421" y="60"/>
                  <a:pt x="421" y="60"/>
                </a:cubicBezTo>
                <a:cubicBezTo>
                  <a:pt x="421" y="59"/>
                  <a:pt x="423" y="59"/>
                  <a:pt x="423" y="60"/>
                </a:cubicBezTo>
                <a:cubicBezTo>
                  <a:pt x="424" y="58"/>
                  <a:pt x="427" y="58"/>
                  <a:pt x="429" y="58"/>
                </a:cubicBezTo>
                <a:cubicBezTo>
                  <a:pt x="430" y="58"/>
                  <a:pt x="431" y="57"/>
                  <a:pt x="432" y="55"/>
                </a:cubicBezTo>
                <a:cubicBezTo>
                  <a:pt x="432" y="55"/>
                  <a:pt x="432" y="53"/>
                  <a:pt x="432" y="54"/>
                </a:cubicBezTo>
                <a:cubicBezTo>
                  <a:pt x="432" y="53"/>
                  <a:pt x="434" y="52"/>
                  <a:pt x="435" y="52"/>
                </a:cubicBezTo>
                <a:cubicBezTo>
                  <a:pt x="435" y="50"/>
                  <a:pt x="431" y="50"/>
                  <a:pt x="429" y="50"/>
                </a:cubicBezTo>
                <a:cubicBezTo>
                  <a:pt x="427" y="50"/>
                  <a:pt x="423" y="49"/>
                  <a:pt x="422" y="48"/>
                </a:cubicBezTo>
                <a:cubicBezTo>
                  <a:pt x="422" y="48"/>
                  <a:pt x="422" y="47"/>
                  <a:pt x="422" y="47"/>
                </a:cubicBezTo>
                <a:cubicBezTo>
                  <a:pt x="422" y="47"/>
                  <a:pt x="421" y="47"/>
                  <a:pt x="421" y="48"/>
                </a:cubicBezTo>
                <a:cubicBezTo>
                  <a:pt x="420" y="48"/>
                  <a:pt x="419" y="49"/>
                  <a:pt x="417" y="50"/>
                </a:cubicBezTo>
                <a:cubicBezTo>
                  <a:pt x="417" y="50"/>
                  <a:pt x="416" y="50"/>
                  <a:pt x="416" y="51"/>
                </a:cubicBezTo>
                <a:cubicBezTo>
                  <a:pt x="418" y="53"/>
                  <a:pt x="416" y="54"/>
                  <a:pt x="414" y="54"/>
                </a:cubicBezTo>
                <a:cubicBezTo>
                  <a:pt x="413" y="54"/>
                  <a:pt x="412" y="54"/>
                  <a:pt x="412" y="54"/>
                </a:cubicBezTo>
                <a:cubicBezTo>
                  <a:pt x="412" y="54"/>
                  <a:pt x="412" y="54"/>
                  <a:pt x="412" y="53"/>
                </a:cubicBezTo>
                <a:cubicBezTo>
                  <a:pt x="411" y="53"/>
                  <a:pt x="411" y="53"/>
                  <a:pt x="411" y="53"/>
                </a:cubicBezTo>
                <a:cubicBezTo>
                  <a:pt x="410" y="53"/>
                  <a:pt x="410" y="53"/>
                  <a:pt x="410" y="53"/>
                </a:cubicBezTo>
                <a:cubicBezTo>
                  <a:pt x="409" y="53"/>
                  <a:pt x="409" y="54"/>
                  <a:pt x="409" y="54"/>
                </a:cubicBezTo>
                <a:cubicBezTo>
                  <a:pt x="408" y="55"/>
                  <a:pt x="407" y="54"/>
                  <a:pt x="407" y="55"/>
                </a:cubicBezTo>
                <a:cubicBezTo>
                  <a:pt x="406" y="55"/>
                  <a:pt x="405" y="56"/>
                  <a:pt x="404" y="57"/>
                </a:cubicBezTo>
                <a:cubicBezTo>
                  <a:pt x="404" y="57"/>
                  <a:pt x="404" y="58"/>
                  <a:pt x="402" y="58"/>
                </a:cubicBezTo>
                <a:cubicBezTo>
                  <a:pt x="401" y="59"/>
                  <a:pt x="401" y="59"/>
                  <a:pt x="400" y="60"/>
                </a:cubicBezTo>
                <a:cubicBezTo>
                  <a:pt x="396" y="62"/>
                  <a:pt x="392" y="63"/>
                  <a:pt x="388" y="64"/>
                </a:cubicBezTo>
                <a:cubicBezTo>
                  <a:pt x="387" y="65"/>
                  <a:pt x="387" y="65"/>
                  <a:pt x="387" y="65"/>
                </a:cubicBezTo>
                <a:cubicBezTo>
                  <a:pt x="387" y="65"/>
                  <a:pt x="388" y="65"/>
                  <a:pt x="388" y="65"/>
                </a:cubicBezTo>
                <a:cubicBezTo>
                  <a:pt x="389" y="65"/>
                  <a:pt x="391" y="66"/>
                  <a:pt x="392" y="67"/>
                </a:cubicBezTo>
                <a:cubicBezTo>
                  <a:pt x="392" y="67"/>
                  <a:pt x="393" y="68"/>
                  <a:pt x="392" y="68"/>
                </a:cubicBezTo>
                <a:cubicBezTo>
                  <a:pt x="393" y="69"/>
                  <a:pt x="394" y="70"/>
                  <a:pt x="393" y="71"/>
                </a:cubicBezTo>
                <a:cubicBezTo>
                  <a:pt x="393" y="78"/>
                  <a:pt x="380" y="78"/>
                  <a:pt x="374" y="76"/>
                </a:cubicBezTo>
                <a:cubicBezTo>
                  <a:pt x="373" y="75"/>
                  <a:pt x="371" y="73"/>
                  <a:pt x="370" y="72"/>
                </a:cubicBezTo>
                <a:cubicBezTo>
                  <a:pt x="368" y="73"/>
                  <a:pt x="366" y="74"/>
                  <a:pt x="366" y="73"/>
                </a:cubicBezTo>
                <a:cubicBezTo>
                  <a:pt x="365" y="72"/>
                  <a:pt x="367" y="71"/>
                  <a:pt x="369" y="70"/>
                </a:cubicBezTo>
                <a:cubicBezTo>
                  <a:pt x="369" y="70"/>
                  <a:pt x="369" y="70"/>
                  <a:pt x="369" y="70"/>
                </a:cubicBezTo>
                <a:cubicBezTo>
                  <a:pt x="368" y="69"/>
                  <a:pt x="366" y="69"/>
                  <a:pt x="366" y="69"/>
                </a:cubicBezTo>
                <a:cubicBezTo>
                  <a:pt x="366" y="67"/>
                  <a:pt x="370" y="65"/>
                  <a:pt x="374" y="64"/>
                </a:cubicBezTo>
                <a:cubicBezTo>
                  <a:pt x="369" y="65"/>
                  <a:pt x="362" y="65"/>
                  <a:pt x="358" y="66"/>
                </a:cubicBezTo>
                <a:cubicBezTo>
                  <a:pt x="358" y="66"/>
                  <a:pt x="351" y="68"/>
                  <a:pt x="351" y="67"/>
                </a:cubicBezTo>
                <a:cubicBezTo>
                  <a:pt x="350" y="66"/>
                  <a:pt x="356" y="66"/>
                  <a:pt x="357" y="65"/>
                </a:cubicBezTo>
                <a:cubicBezTo>
                  <a:pt x="363" y="65"/>
                  <a:pt x="372" y="62"/>
                  <a:pt x="379" y="62"/>
                </a:cubicBezTo>
                <a:cubicBezTo>
                  <a:pt x="379" y="62"/>
                  <a:pt x="379" y="62"/>
                  <a:pt x="379" y="62"/>
                </a:cubicBezTo>
                <a:cubicBezTo>
                  <a:pt x="379" y="62"/>
                  <a:pt x="380" y="62"/>
                  <a:pt x="379" y="62"/>
                </a:cubicBezTo>
                <a:cubicBezTo>
                  <a:pt x="379" y="63"/>
                  <a:pt x="379" y="63"/>
                  <a:pt x="378" y="63"/>
                </a:cubicBezTo>
                <a:cubicBezTo>
                  <a:pt x="379" y="63"/>
                  <a:pt x="381" y="63"/>
                  <a:pt x="382" y="63"/>
                </a:cubicBezTo>
                <a:cubicBezTo>
                  <a:pt x="382" y="62"/>
                  <a:pt x="383" y="61"/>
                  <a:pt x="383" y="61"/>
                </a:cubicBezTo>
                <a:cubicBezTo>
                  <a:pt x="384" y="61"/>
                  <a:pt x="384" y="62"/>
                  <a:pt x="384" y="62"/>
                </a:cubicBezTo>
                <a:cubicBezTo>
                  <a:pt x="385" y="61"/>
                  <a:pt x="385" y="60"/>
                  <a:pt x="386" y="60"/>
                </a:cubicBezTo>
                <a:cubicBezTo>
                  <a:pt x="387" y="59"/>
                  <a:pt x="389" y="59"/>
                  <a:pt x="390" y="59"/>
                </a:cubicBezTo>
                <a:cubicBezTo>
                  <a:pt x="392" y="58"/>
                  <a:pt x="393" y="57"/>
                  <a:pt x="395" y="56"/>
                </a:cubicBezTo>
                <a:cubicBezTo>
                  <a:pt x="396" y="56"/>
                  <a:pt x="396" y="56"/>
                  <a:pt x="396" y="56"/>
                </a:cubicBezTo>
                <a:cubicBezTo>
                  <a:pt x="398" y="55"/>
                  <a:pt x="399" y="53"/>
                  <a:pt x="400" y="52"/>
                </a:cubicBezTo>
                <a:cubicBezTo>
                  <a:pt x="401" y="52"/>
                  <a:pt x="402" y="53"/>
                  <a:pt x="402" y="52"/>
                </a:cubicBezTo>
                <a:cubicBezTo>
                  <a:pt x="404" y="52"/>
                  <a:pt x="405" y="51"/>
                  <a:pt x="407" y="50"/>
                </a:cubicBezTo>
                <a:cubicBezTo>
                  <a:pt x="409" y="50"/>
                  <a:pt x="411" y="48"/>
                  <a:pt x="411" y="48"/>
                </a:cubicBezTo>
                <a:cubicBezTo>
                  <a:pt x="412" y="48"/>
                  <a:pt x="412" y="49"/>
                  <a:pt x="412" y="49"/>
                </a:cubicBezTo>
                <a:cubicBezTo>
                  <a:pt x="413" y="48"/>
                  <a:pt x="413" y="48"/>
                  <a:pt x="413" y="47"/>
                </a:cubicBezTo>
                <a:cubicBezTo>
                  <a:pt x="414" y="47"/>
                  <a:pt x="414" y="48"/>
                  <a:pt x="415" y="48"/>
                </a:cubicBezTo>
                <a:cubicBezTo>
                  <a:pt x="415" y="47"/>
                  <a:pt x="415" y="47"/>
                  <a:pt x="416" y="46"/>
                </a:cubicBezTo>
                <a:cubicBezTo>
                  <a:pt x="416" y="46"/>
                  <a:pt x="416" y="47"/>
                  <a:pt x="417" y="47"/>
                </a:cubicBezTo>
                <a:cubicBezTo>
                  <a:pt x="417" y="47"/>
                  <a:pt x="417" y="46"/>
                  <a:pt x="418" y="45"/>
                </a:cubicBezTo>
                <a:cubicBezTo>
                  <a:pt x="419" y="45"/>
                  <a:pt x="419" y="46"/>
                  <a:pt x="420" y="45"/>
                </a:cubicBezTo>
                <a:cubicBezTo>
                  <a:pt x="420" y="45"/>
                  <a:pt x="420" y="44"/>
                  <a:pt x="421" y="44"/>
                </a:cubicBezTo>
                <a:cubicBezTo>
                  <a:pt x="422" y="43"/>
                  <a:pt x="424" y="43"/>
                  <a:pt x="425" y="42"/>
                </a:cubicBezTo>
                <a:cubicBezTo>
                  <a:pt x="427" y="40"/>
                  <a:pt x="432" y="39"/>
                  <a:pt x="435" y="36"/>
                </a:cubicBezTo>
                <a:cubicBezTo>
                  <a:pt x="438" y="35"/>
                  <a:pt x="441" y="33"/>
                  <a:pt x="444" y="32"/>
                </a:cubicBezTo>
                <a:cubicBezTo>
                  <a:pt x="444" y="32"/>
                  <a:pt x="443" y="32"/>
                  <a:pt x="443" y="32"/>
                </a:cubicBezTo>
                <a:cubicBezTo>
                  <a:pt x="440" y="31"/>
                  <a:pt x="439" y="28"/>
                  <a:pt x="438" y="28"/>
                </a:cubicBezTo>
                <a:cubicBezTo>
                  <a:pt x="437" y="28"/>
                  <a:pt x="437" y="28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5" y="30"/>
                  <a:pt x="434" y="30"/>
                  <a:pt x="433" y="31"/>
                </a:cubicBezTo>
                <a:cubicBezTo>
                  <a:pt x="432" y="31"/>
                  <a:pt x="431" y="31"/>
                  <a:pt x="431" y="30"/>
                </a:cubicBezTo>
                <a:cubicBezTo>
                  <a:pt x="431" y="30"/>
                  <a:pt x="431" y="30"/>
                  <a:pt x="431" y="30"/>
                </a:cubicBezTo>
                <a:cubicBezTo>
                  <a:pt x="430" y="30"/>
                  <a:pt x="430" y="31"/>
                  <a:pt x="429" y="31"/>
                </a:cubicBezTo>
                <a:cubicBezTo>
                  <a:pt x="428" y="32"/>
                  <a:pt x="425" y="32"/>
                  <a:pt x="424" y="31"/>
                </a:cubicBezTo>
                <a:cubicBezTo>
                  <a:pt x="424" y="31"/>
                  <a:pt x="425" y="30"/>
                  <a:pt x="426" y="30"/>
                </a:cubicBezTo>
                <a:cubicBezTo>
                  <a:pt x="426" y="30"/>
                  <a:pt x="425" y="29"/>
                  <a:pt x="425" y="29"/>
                </a:cubicBezTo>
                <a:cubicBezTo>
                  <a:pt x="424" y="30"/>
                  <a:pt x="423" y="30"/>
                  <a:pt x="423" y="30"/>
                </a:cubicBezTo>
                <a:cubicBezTo>
                  <a:pt x="418" y="29"/>
                  <a:pt x="416" y="25"/>
                  <a:pt x="419" y="23"/>
                </a:cubicBezTo>
                <a:cubicBezTo>
                  <a:pt x="421" y="21"/>
                  <a:pt x="429" y="22"/>
                  <a:pt x="429" y="26"/>
                </a:cubicBezTo>
                <a:cubicBezTo>
                  <a:pt x="429" y="29"/>
                  <a:pt x="428" y="27"/>
                  <a:pt x="431" y="27"/>
                </a:cubicBezTo>
                <a:cubicBezTo>
                  <a:pt x="434" y="26"/>
                  <a:pt x="435" y="27"/>
                  <a:pt x="436" y="25"/>
                </a:cubicBezTo>
                <a:cubicBezTo>
                  <a:pt x="439" y="21"/>
                  <a:pt x="442" y="21"/>
                  <a:pt x="446" y="22"/>
                </a:cubicBezTo>
                <a:cubicBezTo>
                  <a:pt x="446" y="21"/>
                  <a:pt x="448" y="21"/>
                  <a:pt x="449" y="22"/>
                </a:cubicBezTo>
                <a:cubicBezTo>
                  <a:pt x="450" y="22"/>
                  <a:pt x="450" y="21"/>
                  <a:pt x="451" y="21"/>
                </a:cubicBezTo>
                <a:cubicBezTo>
                  <a:pt x="452" y="22"/>
                  <a:pt x="451" y="23"/>
                  <a:pt x="450" y="24"/>
                </a:cubicBezTo>
                <a:cubicBezTo>
                  <a:pt x="451" y="25"/>
                  <a:pt x="452" y="26"/>
                  <a:pt x="452" y="28"/>
                </a:cubicBezTo>
                <a:cubicBezTo>
                  <a:pt x="451" y="28"/>
                  <a:pt x="451" y="29"/>
                  <a:pt x="451" y="30"/>
                </a:cubicBezTo>
                <a:cubicBezTo>
                  <a:pt x="451" y="29"/>
                  <a:pt x="451" y="29"/>
                  <a:pt x="452" y="29"/>
                </a:cubicBezTo>
                <a:cubicBezTo>
                  <a:pt x="453" y="29"/>
                  <a:pt x="455" y="29"/>
                  <a:pt x="457" y="29"/>
                </a:cubicBezTo>
                <a:cubicBezTo>
                  <a:pt x="458" y="28"/>
                  <a:pt x="458" y="27"/>
                  <a:pt x="460" y="27"/>
                </a:cubicBezTo>
                <a:cubicBezTo>
                  <a:pt x="461" y="26"/>
                  <a:pt x="463" y="26"/>
                  <a:pt x="465" y="26"/>
                </a:cubicBezTo>
                <a:cubicBezTo>
                  <a:pt x="463" y="25"/>
                  <a:pt x="462" y="25"/>
                  <a:pt x="460" y="25"/>
                </a:cubicBezTo>
                <a:cubicBezTo>
                  <a:pt x="462" y="25"/>
                  <a:pt x="462" y="23"/>
                  <a:pt x="461" y="23"/>
                </a:cubicBezTo>
                <a:cubicBezTo>
                  <a:pt x="461" y="23"/>
                  <a:pt x="462" y="21"/>
                  <a:pt x="463" y="20"/>
                </a:cubicBezTo>
                <a:cubicBezTo>
                  <a:pt x="464" y="20"/>
                  <a:pt x="465" y="20"/>
                  <a:pt x="466" y="20"/>
                </a:cubicBezTo>
                <a:cubicBezTo>
                  <a:pt x="466" y="20"/>
                  <a:pt x="467" y="20"/>
                  <a:pt x="468" y="20"/>
                </a:cubicBezTo>
                <a:cubicBezTo>
                  <a:pt x="468" y="21"/>
                  <a:pt x="467" y="21"/>
                  <a:pt x="466" y="21"/>
                </a:cubicBezTo>
                <a:cubicBezTo>
                  <a:pt x="468" y="22"/>
                  <a:pt x="468" y="23"/>
                  <a:pt x="468" y="24"/>
                </a:cubicBezTo>
                <a:cubicBezTo>
                  <a:pt x="469" y="23"/>
                  <a:pt x="470" y="23"/>
                  <a:pt x="471" y="22"/>
                </a:cubicBezTo>
                <a:cubicBezTo>
                  <a:pt x="471" y="22"/>
                  <a:pt x="470" y="22"/>
                  <a:pt x="470" y="21"/>
                </a:cubicBezTo>
                <a:cubicBezTo>
                  <a:pt x="469" y="20"/>
                  <a:pt x="471" y="19"/>
                  <a:pt x="473" y="19"/>
                </a:cubicBezTo>
                <a:cubicBezTo>
                  <a:pt x="473" y="19"/>
                  <a:pt x="473" y="19"/>
                  <a:pt x="473" y="19"/>
                </a:cubicBezTo>
                <a:cubicBezTo>
                  <a:pt x="456" y="13"/>
                  <a:pt x="438" y="9"/>
                  <a:pt x="419" y="5"/>
                </a:cubicBezTo>
                <a:cubicBezTo>
                  <a:pt x="427" y="10"/>
                  <a:pt x="416" y="16"/>
                  <a:pt x="410" y="12"/>
                </a:cubicBezTo>
                <a:cubicBezTo>
                  <a:pt x="408" y="10"/>
                  <a:pt x="409" y="9"/>
                  <a:pt x="407" y="7"/>
                </a:cubicBezTo>
                <a:cubicBezTo>
                  <a:pt x="408" y="6"/>
                  <a:pt x="410" y="5"/>
                  <a:pt x="412" y="4"/>
                </a:cubicBezTo>
                <a:cubicBezTo>
                  <a:pt x="408" y="4"/>
                  <a:pt x="405" y="3"/>
                  <a:pt x="401" y="3"/>
                </a:cubicBezTo>
                <a:cubicBezTo>
                  <a:pt x="401" y="3"/>
                  <a:pt x="401" y="3"/>
                  <a:pt x="401" y="3"/>
                </a:cubicBezTo>
                <a:cubicBezTo>
                  <a:pt x="398" y="2"/>
                  <a:pt x="396" y="2"/>
                  <a:pt x="393" y="2"/>
                </a:cubicBezTo>
                <a:cubicBezTo>
                  <a:pt x="392" y="6"/>
                  <a:pt x="385" y="4"/>
                  <a:pt x="382" y="1"/>
                </a:cubicBezTo>
                <a:cubicBezTo>
                  <a:pt x="374" y="0"/>
                  <a:pt x="366" y="0"/>
                  <a:pt x="357" y="0"/>
                </a:cubicBezTo>
                <a:cubicBezTo>
                  <a:pt x="343" y="0"/>
                  <a:pt x="328" y="1"/>
                  <a:pt x="314" y="3"/>
                </a:cubicBezTo>
                <a:cubicBezTo>
                  <a:pt x="314" y="3"/>
                  <a:pt x="314" y="3"/>
                  <a:pt x="315" y="3"/>
                </a:cubicBezTo>
                <a:cubicBezTo>
                  <a:pt x="315" y="3"/>
                  <a:pt x="315" y="3"/>
                  <a:pt x="315" y="3"/>
                </a:cubicBezTo>
                <a:cubicBezTo>
                  <a:pt x="315" y="4"/>
                  <a:pt x="314" y="3"/>
                  <a:pt x="314" y="3"/>
                </a:cubicBezTo>
                <a:cubicBezTo>
                  <a:pt x="138" y="24"/>
                  <a:pt x="1" y="173"/>
                  <a:pt x="0" y="354"/>
                </a:cubicBezTo>
                <a:cubicBezTo>
                  <a:pt x="0" y="354"/>
                  <a:pt x="0" y="353"/>
                  <a:pt x="1" y="353"/>
                </a:cubicBezTo>
                <a:cubicBezTo>
                  <a:pt x="1" y="353"/>
                  <a:pt x="2" y="356"/>
                  <a:pt x="1" y="356"/>
                </a:cubicBezTo>
                <a:cubicBezTo>
                  <a:pt x="0" y="357"/>
                  <a:pt x="0" y="356"/>
                  <a:pt x="0" y="356"/>
                </a:cubicBezTo>
                <a:cubicBezTo>
                  <a:pt x="0" y="356"/>
                  <a:pt x="0" y="357"/>
                  <a:pt x="0" y="357"/>
                </a:cubicBezTo>
                <a:cubicBezTo>
                  <a:pt x="0" y="375"/>
                  <a:pt x="1" y="392"/>
                  <a:pt x="4" y="409"/>
                </a:cubicBezTo>
                <a:cubicBezTo>
                  <a:pt x="4" y="409"/>
                  <a:pt x="4" y="409"/>
                  <a:pt x="4" y="409"/>
                </a:cubicBezTo>
                <a:cubicBezTo>
                  <a:pt x="5" y="409"/>
                  <a:pt x="5" y="412"/>
                  <a:pt x="5" y="412"/>
                </a:cubicBezTo>
                <a:cubicBezTo>
                  <a:pt x="4" y="413"/>
                  <a:pt x="4" y="413"/>
                  <a:pt x="4" y="413"/>
                </a:cubicBezTo>
                <a:cubicBezTo>
                  <a:pt x="5" y="418"/>
                  <a:pt x="6" y="424"/>
                  <a:pt x="7" y="429"/>
                </a:cubicBezTo>
                <a:cubicBezTo>
                  <a:pt x="8" y="429"/>
                  <a:pt x="8" y="429"/>
                  <a:pt x="8" y="429"/>
                </a:cubicBezTo>
                <a:cubicBezTo>
                  <a:pt x="9" y="430"/>
                  <a:pt x="8" y="430"/>
                  <a:pt x="7" y="431"/>
                </a:cubicBezTo>
                <a:cubicBezTo>
                  <a:pt x="8" y="433"/>
                  <a:pt x="8" y="435"/>
                  <a:pt x="9" y="438"/>
                </a:cubicBezTo>
                <a:cubicBezTo>
                  <a:pt x="9" y="438"/>
                  <a:pt x="9" y="438"/>
                  <a:pt x="9" y="438"/>
                </a:cubicBezTo>
                <a:cubicBezTo>
                  <a:pt x="9" y="440"/>
                  <a:pt x="10" y="441"/>
                  <a:pt x="10" y="443"/>
                </a:cubicBezTo>
                <a:cubicBezTo>
                  <a:pt x="10" y="443"/>
                  <a:pt x="10" y="443"/>
                  <a:pt x="10" y="442"/>
                </a:cubicBezTo>
                <a:cubicBezTo>
                  <a:pt x="10" y="442"/>
                  <a:pt x="10" y="442"/>
                  <a:pt x="10" y="441"/>
                </a:cubicBezTo>
                <a:cubicBezTo>
                  <a:pt x="10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2" y="441"/>
                  <a:pt x="13" y="440"/>
                  <a:pt x="14" y="440"/>
                </a:cubicBezTo>
                <a:cubicBezTo>
                  <a:pt x="14" y="439"/>
                  <a:pt x="15" y="438"/>
                  <a:pt x="16" y="439"/>
                </a:cubicBezTo>
                <a:cubicBezTo>
                  <a:pt x="17" y="439"/>
                  <a:pt x="17" y="439"/>
                  <a:pt x="18" y="440"/>
                </a:cubicBezTo>
                <a:cubicBezTo>
                  <a:pt x="20" y="443"/>
                  <a:pt x="19" y="438"/>
                  <a:pt x="18" y="438"/>
                </a:cubicBezTo>
                <a:cubicBezTo>
                  <a:pt x="18" y="438"/>
                  <a:pt x="18" y="438"/>
                  <a:pt x="17" y="437"/>
                </a:cubicBezTo>
                <a:cubicBezTo>
                  <a:pt x="17" y="437"/>
                  <a:pt x="17" y="437"/>
                  <a:pt x="17" y="436"/>
                </a:cubicBezTo>
                <a:cubicBezTo>
                  <a:pt x="17" y="435"/>
                  <a:pt x="17" y="432"/>
                  <a:pt x="17" y="431"/>
                </a:cubicBezTo>
                <a:cubicBezTo>
                  <a:pt x="17" y="433"/>
                  <a:pt x="18" y="434"/>
                  <a:pt x="19" y="435"/>
                </a:cubicBezTo>
                <a:cubicBezTo>
                  <a:pt x="19" y="435"/>
                  <a:pt x="19" y="435"/>
                  <a:pt x="19" y="435"/>
                </a:cubicBezTo>
                <a:cubicBezTo>
                  <a:pt x="20" y="435"/>
                  <a:pt x="19" y="436"/>
                  <a:pt x="19" y="436"/>
                </a:cubicBezTo>
                <a:cubicBezTo>
                  <a:pt x="19" y="437"/>
                  <a:pt x="19" y="437"/>
                  <a:pt x="19" y="438"/>
                </a:cubicBezTo>
                <a:cubicBezTo>
                  <a:pt x="20" y="437"/>
                  <a:pt x="19" y="435"/>
                  <a:pt x="21" y="434"/>
                </a:cubicBezTo>
                <a:cubicBezTo>
                  <a:pt x="20" y="436"/>
                  <a:pt x="20" y="437"/>
                  <a:pt x="21" y="438"/>
                </a:cubicBezTo>
                <a:cubicBezTo>
                  <a:pt x="21" y="438"/>
                  <a:pt x="22" y="438"/>
                  <a:pt x="22" y="438"/>
                </a:cubicBezTo>
                <a:cubicBezTo>
                  <a:pt x="22" y="438"/>
                  <a:pt x="22" y="438"/>
                  <a:pt x="22" y="438"/>
                </a:cubicBezTo>
                <a:cubicBezTo>
                  <a:pt x="23" y="438"/>
                  <a:pt x="23" y="438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3" y="435"/>
                  <a:pt x="23" y="434"/>
                  <a:pt x="23" y="434"/>
                </a:cubicBezTo>
                <a:cubicBezTo>
                  <a:pt x="23" y="433"/>
                  <a:pt x="22" y="433"/>
                  <a:pt x="21" y="434"/>
                </a:cubicBezTo>
                <a:cubicBezTo>
                  <a:pt x="20" y="434"/>
                  <a:pt x="20" y="435"/>
                  <a:pt x="19" y="434"/>
                </a:cubicBezTo>
                <a:cubicBezTo>
                  <a:pt x="19" y="434"/>
                  <a:pt x="19" y="434"/>
                  <a:pt x="19" y="433"/>
                </a:cubicBezTo>
                <a:cubicBezTo>
                  <a:pt x="19" y="433"/>
                  <a:pt x="19" y="433"/>
                  <a:pt x="19" y="433"/>
                </a:cubicBezTo>
                <a:cubicBezTo>
                  <a:pt x="18" y="433"/>
                  <a:pt x="19" y="431"/>
                  <a:pt x="18" y="429"/>
                </a:cubicBezTo>
                <a:cubicBezTo>
                  <a:pt x="17" y="430"/>
                  <a:pt x="16" y="429"/>
                  <a:pt x="16" y="426"/>
                </a:cubicBezTo>
                <a:cubicBezTo>
                  <a:pt x="16" y="426"/>
                  <a:pt x="16" y="426"/>
                  <a:pt x="16" y="426"/>
                </a:cubicBezTo>
                <a:cubicBezTo>
                  <a:pt x="16" y="427"/>
                  <a:pt x="14" y="432"/>
                  <a:pt x="15" y="433"/>
                </a:cubicBezTo>
                <a:cubicBezTo>
                  <a:pt x="15" y="433"/>
                  <a:pt x="16" y="437"/>
                  <a:pt x="14" y="435"/>
                </a:cubicBezTo>
                <a:cubicBezTo>
                  <a:pt x="12" y="434"/>
                  <a:pt x="15" y="429"/>
                  <a:pt x="15" y="426"/>
                </a:cubicBezTo>
                <a:cubicBezTo>
                  <a:pt x="14" y="426"/>
                  <a:pt x="14" y="426"/>
                  <a:pt x="14" y="425"/>
                </a:cubicBezTo>
                <a:cubicBezTo>
                  <a:pt x="13" y="424"/>
                  <a:pt x="14" y="424"/>
                  <a:pt x="14" y="423"/>
                </a:cubicBezTo>
                <a:cubicBezTo>
                  <a:pt x="14" y="423"/>
                  <a:pt x="14" y="422"/>
                  <a:pt x="15" y="422"/>
                </a:cubicBezTo>
                <a:cubicBezTo>
                  <a:pt x="14" y="421"/>
                  <a:pt x="13" y="422"/>
                  <a:pt x="12" y="421"/>
                </a:cubicBezTo>
                <a:cubicBezTo>
                  <a:pt x="13" y="421"/>
                  <a:pt x="11" y="419"/>
                  <a:pt x="11" y="420"/>
                </a:cubicBezTo>
                <a:cubicBezTo>
                  <a:pt x="11" y="417"/>
                  <a:pt x="14" y="417"/>
                  <a:pt x="15" y="419"/>
                </a:cubicBezTo>
                <a:cubicBezTo>
                  <a:pt x="14" y="418"/>
                  <a:pt x="16" y="419"/>
                  <a:pt x="17" y="418"/>
                </a:cubicBezTo>
                <a:cubicBezTo>
                  <a:pt x="16" y="418"/>
                  <a:pt x="17" y="413"/>
                  <a:pt x="19" y="413"/>
                </a:cubicBezTo>
                <a:cubicBezTo>
                  <a:pt x="19" y="413"/>
                  <a:pt x="18" y="416"/>
                  <a:pt x="19" y="417"/>
                </a:cubicBezTo>
                <a:cubicBezTo>
                  <a:pt x="19" y="417"/>
                  <a:pt x="19" y="417"/>
                  <a:pt x="19" y="417"/>
                </a:cubicBezTo>
                <a:cubicBezTo>
                  <a:pt x="19" y="417"/>
                  <a:pt x="19" y="416"/>
                  <a:pt x="20" y="417"/>
                </a:cubicBezTo>
                <a:cubicBezTo>
                  <a:pt x="20" y="417"/>
                  <a:pt x="21" y="418"/>
                  <a:pt x="20" y="419"/>
                </a:cubicBezTo>
                <a:cubicBezTo>
                  <a:pt x="20" y="419"/>
                  <a:pt x="20" y="419"/>
                  <a:pt x="20" y="419"/>
                </a:cubicBezTo>
                <a:cubicBezTo>
                  <a:pt x="21" y="419"/>
                  <a:pt x="20" y="420"/>
                  <a:pt x="19" y="420"/>
                </a:cubicBezTo>
                <a:cubicBezTo>
                  <a:pt x="17" y="421"/>
                  <a:pt x="19" y="421"/>
                  <a:pt x="20" y="422"/>
                </a:cubicBezTo>
                <a:cubicBezTo>
                  <a:pt x="20" y="422"/>
                  <a:pt x="20" y="422"/>
                  <a:pt x="21" y="422"/>
                </a:cubicBezTo>
                <a:cubicBezTo>
                  <a:pt x="21" y="422"/>
                  <a:pt x="21" y="422"/>
                  <a:pt x="21" y="422"/>
                </a:cubicBezTo>
                <a:cubicBezTo>
                  <a:pt x="22" y="423"/>
                  <a:pt x="22" y="423"/>
                  <a:pt x="22" y="424"/>
                </a:cubicBezTo>
                <a:cubicBezTo>
                  <a:pt x="22" y="424"/>
                  <a:pt x="23" y="423"/>
                  <a:pt x="24" y="423"/>
                </a:cubicBezTo>
                <a:cubicBezTo>
                  <a:pt x="25" y="423"/>
                  <a:pt x="24" y="425"/>
                  <a:pt x="26" y="425"/>
                </a:cubicBezTo>
                <a:cubicBezTo>
                  <a:pt x="26" y="425"/>
                  <a:pt x="26" y="425"/>
                  <a:pt x="26" y="425"/>
                </a:cubicBezTo>
                <a:cubicBezTo>
                  <a:pt x="27" y="422"/>
                  <a:pt x="30" y="417"/>
                  <a:pt x="26" y="418"/>
                </a:cubicBezTo>
                <a:cubicBezTo>
                  <a:pt x="29" y="416"/>
                  <a:pt x="25" y="414"/>
                  <a:pt x="24" y="414"/>
                </a:cubicBezTo>
                <a:cubicBezTo>
                  <a:pt x="23" y="412"/>
                  <a:pt x="25" y="415"/>
                  <a:pt x="25" y="414"/>
                </a:cubicBezTo>
                <a:cubicBezTo>
                  <a:pt x="27" y="413"/>
                  <a:pt x="24" y="411"/>
                  <a:pt x="24" y="408"/>
                </a:cubicBezTo>
                <a:cubicBezTo>
                  <a:pt x="24" y="408"/>
                  <a:pt x="26" y="406"/>
                  <a:pt x="26" y="406"/>
                </a:cubicBezTo>
                <a:cubicBezTo>
                  <a:pt x="27" y="404"/>
                  <a:pt x="24" y="405"/>
                  <a:pt x="27" y="404"/>
                </a:cubicBezTo>
                <a:cubicBezTo>
                  <a:pt x="29" y="404"/>
                  <a:pt x="29" y="400"/>
                  <a:pt x="30" y="399"/>
                </a:cubicBezTo>
                <a:cubicBezTo>
                  <a:pt x="30" y="399"/>
                  <a:pt x="34" y="398"/>
                  <a:pt x="34" y="396"/>
                </a:cubicBezTo>
                <a:cubicBezTo>
                  <a:pt x="30" y="400"/>
                  <a:pt x="28" y="395"/>
                  <a:pt x="29" y="394"/>
                </a:cubicBezTo>
                <a:cubicBezTo>
                  <a:pt x="29" y="394"/>
                  <a:pt x="28" y="391"/>
                  <a:pt x="31" y="391"/>
                </a:cubicBezTo>
                <a:cubicBezTo>
                  <a:pt x="33" y="390"/>
                  <a:pt x="32" y="391"/>
                  <a:pt x="34" y="389"/>
                </a:cubicBezTo>
                <a:cubicBezTo>
                  <a:pt x="35" y="388"/>
                  <a:pt x="34" y="396"/>
                  <a:pt x="35" y="396"/>
                </a:cubicBezTo>
                <a:cubicBezTo>
                  <a:pt x="36" y="398"/>
                  <a:pt x="36" y="395"/>
                  <a:pt x="37" y="398"/>
                </a:cubicBezTo>
                <a:cubicBezTo>
                  <a:pt x="38" y="404"/>
                  <a:pt x="42" y="414"/>
                  <a:pt x="34" y="417"/>
                </a:cubicBezTo>
                <a:cubicBezTo>
                  <a:pt x="32" y="418"/>
                  <a:pt x="31" y="417"/>
                  <a:pt x="30" y="418"/>
                </a:cubicBezTo>
                <a:cubicBezTo>
                  <a:pt x="28" y="420"/>
                  <a:pt x="28" y="422"/>
                  <a:pt x="27" y="425"/>
                </a:cubicBezTo>
                <a:cubicBezTo>
                  <a:pt x="27" y="425"/>
                  <a:pt x="27" y="425"/>
                  <a:pt x="27" y="425"/>
                </a:cubicBezTo>
                <a:cubicBezTo>
                  <a:pt x="28" y="425"/>
                  <a:pt x="27" y="426"/>
                  <a:pt x="28" y="427"/>
                </a:cubicBezTo>
                <a:cubicBezTo>
                  <a:pt x="28" y="427"/>
                  <a:pt x="29" y="427"/>
                  <a:pt x="30" y="427"/>
                </a:cubicBezTo>
                <a:cubicBezTo>
                  <a:pt x="30" y="426"/>
                  <a:pt x="30" y="426"/>
                  <a:pt x="31" y="426"/>
                </a:cubicBezTo>
                <a:cubicBezTo>
                  <a:pt x="31" y="426"/>
                  <a:pt x="31" y="426"/>
                  <a:pt x="31" y="427"/>
                </a:cubicBezTo>
                <a:cubicBezTo>
                  <a:pt x="31" y="427"/>
                  <a:pt x="32" y="427"/>
                  <a:pt x="32" y="427"/>
                </a:cubicBezTo>
                <a:cubicBezTo>
                  <a:pt x="32" y="428"/>
                  <a:pt x="31" y="430"/>
                  <a:pt x="33" y="429"/>
                </a:cubicBezTo>
                <a:cubicBezTo>
                  <a:pt x="33" y="430"/>
                  <a:pt x="33" y="432"/>
                  <a:pt x="33" y="433"/>
                </a:cubicBezTo>
                <a:cubicBezTo>
                  <a:pt x="33" y="433"/>
                  <a:pt x="33" y="433"/>
                  <a:pt x="33" y="433"/>
                </a:cubicBezTo>
                <a:cubicBezTo>
                  <a:pt x="34" y="433"/>
                  <a:pt x="36" y="432"/>
                  <a:pt x="35" y="432"/>
                </a:cubicBezTo>
                <a:cubicBezTo>
                  <a:pt x="36" y="432"/>
                  <a:pt x="35" y="435"/>
                  <a:pt x="34" y="436"/>
                </a:cubicBezTo>
                <a:cubicBezTo>
                  <a:pt x="34" y="437"/>
                  <a:pt x="34" y="437"/>
                  <a:pt x="35" y="437"/>
                </a:cubicBezTo>
                <a:cubicBezTo>
                  <a:pt x="34" y="437"/>
                  <a:pt x="38" y="431"/>
                  <a:pt x="39" y="435"/>
                </a:cubicBezTo>
                <a:cubicBezTo>
                  <a:pt x="39" y="434"/>
                  <a:pt x="39" y="434"/>
                  <a:pt x="39" y="434"/>
                </a:cubicBezTo>
                <a:cubicBezTo>
                  <a:pt x="39" y="434"/>
                  <a:pt x="41" y="432"/>
                  <a:pt x="41" y="432"/>
                </a:cubicBezTo>
                <a:cubicBezTo>
                  <a:pt x="43" y="433"/>
                  <a:pt x="41" y="437"/>
                  <a:pt x="40" y="439"/>
                </a:cubicBezTo>
                <a:cubicBezTo>
                  <a:pt x="42" y="439"/>
                  <a:pt x="43" y="440"/>
                  <a:pt x="42" y="441"/>
                </a:cubicBezTo>
                <a:cubicBezTo>
                  <a:pt x="42" y="441"/>
                  <a:pt x="42" y="442"/>
                  <a:pt x="42" y="442"/>
                </a:cubicBezTo>
                <a:cubicBezTo>
                  <a:pt x="42" y="442"/>
                  <a:pt x="42" y="443"/>
                  <a:pt x="41" y="443"/>
                </a:cubicBezTo>
                <a:cubicBezTo>
                  <a:pt x="41" y="443"/>
                  <a:pt x="40" y="444"/>
                  <a:pt x="40" y="444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5"/>
                  <a:pt x="39" y="447"/>
                  <a:pt x="38" y="448"/>
                </a:cubicBezTo>
                <a:cubicBezTo>
                  <a:pt x="38" y="449"/>
                  <a:pt x="38" y="449"/>
                  <a:pt x="38" y="450"/>
                </a:cubicBezTo>
                <a:cubicBezTo>
                  <a:pt x="38" y="450"/>
                  <a:pt x="38" y="450"/>
                  <a:pt x="39" y="450"/>
                </a:cubicBezTo>
                <a:cubicBezTo>
                  <a:pt x="39" y="449"/>
                  <a:pt x="40" y="448"/>
                  <a:pt x="41" y="447"/>
                </a:cubicBezTo>
                <a:cubicBezTo>
                  <a:pt x="41" y="448"/>
                  <a:pt x="40" y="450"/>
                  <a:pt x="39" y="451"/>
                </a:cubicBezTo>
                <a:cubicBezTo>
                  <a:pt x="39" y="451"/>
                  <a:pt x="39" y="451"/>
                  <a:pt x="39" y="451"/>
                </a:cubicBezTo>
                <a:cubicBezTo>
                  <a:pt x="39" y="451"/>
                  <a:pt x="40" y="451"/>
                  <a:pt x="40" y="451"/>
                </a:cubicBezTo>
                <a:cubicBezTo>
                  <a:pt x="40" y="451"/>
                  <a:pt x="39" y="452"/>
                  <a:pt x="39" y="451"/>
                </a:cubicBezTo>
                <a:cubicBezTo>
                  <a:pt x="38" y="453"/>
                  <a:pt x="35" y="455"/>
                  <a:pt x="35" y="457"/>
                </a:cubicBezTo>
                <a:cubicBezTo>
                  <a:pt x="35" y="456"/>
                  <a:pt x="35" y="456"/>
                  <a:pt x="35" y="456"/>
                </a:cubicBezTo>
                <a:cubicBezTo>
                  <a:pt x="36" y="456"/>
                  <a:pt x="36" y="458"/>
                  <a:pt x="36" y="459"/>
                </a:cubicBezTo>
                <a:cubicBezTo>
                  <a:pt x="36" y="459"/>
                  <a:pt x="37" y="459"/>
                  <a:pt x="37" y="460"/>
                </a:cubicBezTo>
                <a:cubicBezTo>
                  <a:pt x="37" y="461"/>
                  <a:pt x="35" y="463"/>
                  <a:pt x="34" y="463"/>
                </a:cubicBezTo>
                <a:cubicBezTo>
                  <a:pt x="34" y="463"/>
                  <a:pt x="34" y="462"/>
                  <a:pt x="34" y="462"/>
                </a:cubicBezTo>
                <a:cubicBezTo>
                  <a:pt x="34" y="462"/>
                  <a:pt x="34" y="462"/>
                  <a:pt x="34" y="462"/>
                </a:cubicBezTo>
                <a:cubicBezTo>
                  <a:pt x="34" y="462"/>
                  <a:pt x="33" y="463"/>
                  <a:pt x="33" y="463"/>
                </a:cubicBezTo>
                <a:cubicBezTo>
                  <a:pt x="31" y="462"/>
                  <a:pt x="33" y="461"/>
                  <a:pt x="34" y="461"/>
                </a:cubicBezTo>
                <a:cubicBezTo>
                  <a:pt x="34" y="461"/>
                  <a:pt x="34" y="460"/>
                  <a:pt x="33" y="460"/>
                </a:cubicBezTo>
                <a:cubicBezTo>
                  <a:pt x="33" y="460"/>
                  <a:pt x="33" y="460"/>
                  <a:pt x="33" y="461"/>
                </a:cubicBezTo>
                <a:cubicBezTo>
                  <a:pt x="32" y="462"/>
                  <a:pt x="31" y="461"/>
                  <a:pt x="32" y="460"/>
                </a:cubicBezTo>
                <a:cubicBezTo>
                  <a:pt x="29" y="460"/>
                  <a:pt x="23" y="461"/>
                  <a:pt x="24" y="461"/>
                </a:cubicBezTo>
                <a:cubicBezTo>
                  <a:pt x="23" y="461"/>
                  <a:pt x="21" y="469"/>
                  <a:pt x="21" y="464"/>
                </a:cubicBezTo>
                <a:cubicBezTo>
                  <a:pt x="21" y="464"/>
                  <a:pt x="21" y="465"/>
                  <a:pt x="20" y="465"/>
                </a:cubicBezTo>
                <a:cubicBezTo>
                  <a:pt x="20" y="465"/>
                  <a:pt x="20" y="465"/>
                  <a:pt x="20" y="465"/>
                </a:cubicBezTo>
                <a:cubicBezTo>
                  <a:pt x="20" y="465"/>
                  <a:pt x="20" y="466"/>
                  <a:pt x="19" y="465"/>
                </a:cubicBezTo>
                <a:cubicBezTo>
                  <a:pt x="19" y="465"/>
                  <a:pt x="19" y="466"/>
                  <a:pt x="19" y="466"/>
                </a:cubicBezTo>
                <a:cubicBezTo>
                  <a:pt x="19" y="467"/>
                  <a:pt x="18" y="465"/>
                  <a:pt x="18" y="465"/>
                </a:cubicBezTo>
                <a:cubicBezTo>
                  <a:pt x="17" y="464"/>
                  <a:pt x="17" y="464"/>
                  <a:pt x="16" y="464"/>
                </a:cubicBezTo>
                <a:cubicBezTo>
                  <a:pt x="16" y="464"/>
                  <a:pt x="16" y="463"/>
                  <a:pt x="16" y="463"/>
                </a:cubicBezTo>
                <a:cubicBezTo>
                  <a:pt x="17" y="466"/>
                  <a:pt x="17" y="468"/>
                  <a:pt x="18" y="470"/>
                </a:cubicBezTo>
                <a:cubicBezTo>
                  <a:pt x="18" y="471"/>
                  <a:pt x="19" y="471"/>
                  <a:pt x="18" y="471"/>
                </a:cubicBezTo>
                <a:cubicBezTo>
                  <a:pt x="18" y="472"/>
                  <a:pt x="19" y="472"/>
                  <a:pt x="19" y="472"/>
                </a:cubicBezTo>
                <a:cubicBezTo>
                  <a:pt x="19" y="472"/>
                  <a:pt x="19" y="472"/>
                  <a:pt x="19" y="471"/>
                </a:cubicBezTo>
                <a:cubicBezTo>
                  <a:pt x="20" y="470"/>
                  <a:pt x="21" y="470"/>
                  <a:pt x="22" y="469"/>
                </a:cubicBezTo>
                <a:cubicBezTo>
                  <a:pt x="21" y="468"/>
                  <a:pt x="22" y="466"/>
                  <a:pt x="23" y="467"/>
                </a:cubicBezTo>
                <a:cubicBezTo>
                  <a:pt x="24" y="467"/>
                  <a:pt x="24" y="468"/>
                  <a:pt x="23" y="469"/>
                </a:cubicBezTo>
                <a:cubicBezTo>
                  <a:pt x="23" y="469"/>
                  <a:pt x="23" y="469"/>
                  <a:pt x="24" y="469"/>
                </a:cubicBezTo>
                <a:cubicBezTo>
                  <a:pt x="24" y="469"/>
                  <a:pt x="24" y="469"/>
                  <a:pt x="24" y="469"/>
                </a:cubicBezTo>
                <a:cubicBezTo>
                  <a:pt x="26" y="468"/>
                  <a:pt x="28" y="469"/>
                  <a:pt x="29" y="470"/>
                </a:cubicBezTo>
                <a:cubicBezTo>
                  <a:pt x="29" y="470"/>
                  <a:pt x="30" y="470"/>
                  <a:pt x="30" y="470"/>
                </a:cubicBezTo>
                <a:cubicBezTo>
                  <a:pt x="30" y="470"/>
                  <a:pt x="30" y="470"/>
                  <a:pt x="30" y="470"/>
                </a:cubicBezTo>
                <a:cubicBezTo>
                  <a:pt x="30" y="470"/>
                  <a:pt x="31" y="471"/>
                  <a:pt x="30" y="471"/>
                </a:cubicBezTo>
                <a:cubicBezTo>
                  <a:pt x="32" y="472"/>
                  <a:pt x="33" y="475"/>
                  <a:pt x="33" y="477"/>
                </a:cubicBezTo>
                <a:cubicBezTo>
                  <a:pt x="33" y="477"/>
                  <a:pt x="32" y="480"/>
                  <a:pt x="31" y="480"/>
                </a:cubicBezTo>
                <a:cubicBezTo>
                  <a:pt x="31" y="480"/>
                  <a:pt x="30" y="479"/>
                  <a:pt x="30" y="480"/>
                </a:cubicBezTo>
                <a:cubicBezTo>
                  <a:pt x="30" y="480"/>
                  <a:pt x="30" y="480"/>
                  <a:pt x="30" y="480"/>
                </a:cubicBezTo>
                <a:cubicBezTo>
                  <a:pt x="29" y="480"/>
                  <a:pt x="29" y="481"/>
                  <a:pt x="29" y="481"/>
                </a:cubicBezTo>
                <a:cubicBezTo>
                  <a:pt x="29" y="481"/>
                  <a:pt x="30" y="481"/>
                  <a:pt x="30" y="482"/>
                </a:cubicBezTo>
                <a:cubicBezTo>
                  <a:pt x="30" y="482"/>
                  <a:pt x="29" y="483"/>
                  <a:pt x="28" y="482"/>
                </a:cubicBezTo>
                <a:cubicBezTo>
                  <a:pt x="28" y="482"/>
                  <a:pt x="28" y="482"/>
                  <a:pt x="28" y="482"/>
                </a:cubicBezTo>
                <a:cubicBezTo>
                  <a:pt x="28" y="483"/>
                  <a:pt x="28" y="484"/>
                  <a:pt x="28" y="485"/>
                </a:cubicBezTo>
                <a:cubicBezTo>
                  <a:pt x="29" y="485"/>
                  <a:pt x="31" y="483"/>
                  <a:pt x="32" y="485"/>
                </a:cubicBezTo>
                <a:cubicBezTo>
                  <a:pt x="29" y="485"/>
                  <a:pt x="31" y="486"/>
                  <a:pt x="31" y="489"/>
                </a:cubicBezTo>
                <a:cubicBezTo>
                  <a:pt x="31" y="493"/>
                  <a:pt x="30" y="491"/>
                  <a:pt x="32" y="488"/>
                </a:cubicBezTo>
                <a:cubicBezTo>
                  <a:pt x="33" y="487"/>
                  <a:pt x="33" y="489"/>
                  <a:pt x="35" y="487"/>
                </a:cubicBezTo>
                <a:cubicBezTo>
                  <a:pt x="35" y="486"/>
                  <a:pt x="35" y="484"/>
                  <a:pt x="35" y="482"/>
                </a:cubicBezTo>
                <a:cubicBezTo>
                  <a:pt x="35" y="482"/>
                  <a:pt x="35" y="482"/>
                  <a:pt x="35" y="482"/>
                </a:cubicBezTo>
                <a:cubicBezTo>
                  <a:pt x="35" y="481"/>
                  <a:pt x="35" y="481"/>
                  <a:pt x="35" y="480"/>
                </a:cubicBezTo>
                <a:cubicBezTo>
                  <a:pt x="35" y="482"/>
                  <a:pt x="31" y="480"/>
                  <a:pt x="33" y="479"/>
                </a:cubicBezTo>
                <a:cubicBezTo>
                  <a:pt x="33" y="479"/>
                  <a:pt x="33" y="479"/>
                  <a:pt x="34" y="478"/>
                </a:cubicBezTo>
                <a:cubicBezTo>
                  <a:pt x="34" y="477"/>
                  <a:pt x="35" y="474"/>
                  <a:pt x="36" y="473"/>
                </a:cubicBezTo>
                <a:cubicBezTo>
                  <a:pt x="36" y="470"/>
                  <a:pt x="37" y="470"/>
                  <a:pt x="36" y="473"/>
                </a:cubicBezTo>
                <a:cubicBezTo>
                  <a:pt x="36" y="475"/>
                  <a:pt x="36" y="477"/>
                  <a:pt x="35" y="478"/>
                </a:cubicBezTo>
                <a:cubicBezTo>
                  <a:pt x="37" y="477"/>
                  <a:pt x="35" y="476"/>
                  <a:pt x="36" y="475"/>
                </a:cubicBezTo>
                <a:cubicBezTo>
                  <a:pt x="36" y="474"/>
                  <a:pt x="38" y="473"/>
                  <a:pt x="39" y="472"/>
                </a:cubicBezTo>
                <a:cubicBezTo>
                  <a:pt x="39" y="472"/>
                  <a:pt x="39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39" y="469"/>
                  <a:pt x="43" y="469"/>
                  <a:pt x="42" y="470"/>
                </a:cubicBezTo>
                <a:cubicBezTo>
                  <a:pt x="43" y="470"/>
                  <a:pt x="43" y="470"/>
                  <a:pt x="43" y="470"/>
                </a:cubicBezTo>
                <a:cubicBezTo>
                  <a:pt x="43" y="470"/>
                  <a:pt x="44" y="470"/>
                  <a:pt x="44" y="471"/>
                </a:cubicBezTo>
                <a:cubicBezTo>
                  <a:pt x="44" y="471"/>
                  <a:pt x="44" y="471"/>
                  <a:pt x="44" y="471"/>
                </a:cubicBezTo>
                <a:cubicBezTo>
                  <a:pt x="44" y="471"/>
                  <a:pt x="45" y="473"/>
                  <a:pt x="46" y="474"/>
                </a:cubicBezTo>
                <a:cubicBezTo>
                  <a:pt x="46" y="474"/>
                  <a:pt x="47" y="474"/>
                  <a:pt x="47" y="474"/>
                </a:cubicBezTo>
                <a:cubicBezTo>
                  <a:pt x="47" y="474"/>
                  <a:pt x="47" y="475"/>
                  <a:pt x="47" y="475"/>
                </a:cubicBezTo>
                <a:cubicBezTo>
                  <a:pt x="47" y="475"/>
                  <a:pt x="48" y="475"/>
                  <a:pt x="48" y="474"/>
                </a:cubicBezTo>
                <a:cubicBezTo>
                  <a:pt x="48" y="474"/>
                  <a:pt x="48" y="473"/>
                  <a:pt x="48" y="473"/>
                </a:cubicBezTo>
                <a:cubicBezTo>
                  <a:pt x="49" y="473"/>
                  <a:pt x="56" y="472"/>
                  <a:pt x="53" y="470"/>
                </a:cubicBezTo>
                <a:cubicBezTo>
                  <a:pt x="52" y="470"/>
                  <a:pt x="52" y="471"/>
                  <a:pt x="52" y="471"/>
                </a:cubicBezTo>
                <a:cubicBezTo>
                  <a:pt x="52" y="471"/>
                  <a:pt x="52" y="470"/>
                  <a:pt x="51" y="470"/>
                </a:cubicBezTo>
                <a:cubicBezTo>
                  <a:pt x="50" y="470"/>
                  <a:pt x="49" y="472"/>
                  <a:pt x="48" y="472"/>
                </a:cubicBezTo>
                <a:cubicBezTo>
                  <a:pt x="50" y="471"/>
                  <a:pt x="48" y="468"/>
                  <a:pt x="49" y="467"/>
                </a:cubicBezTo>
                <a:cubicBezTo>
                  <a:pt x="51" y="467"/>
                  <a:pt x="53" y="470"/>
                  <a:pt x="55" y="470"/>
                </a:cubicBezTo>
                <a:cubicBezTo>
                  <a:pt x="58" y="469"/>
                  <a:pt x="59" y="467"/>
                  <a:pt x="60" y="465"/>
                </a:cubicBezTo>
                <a:cubicBezTo>
                  <a:pt x="59" y="466"/>
                  <a:pt x="57" y="466"/>
                  <a:pt x="56" y="465"/>
                </a:cubicBezTo>
                <a:cubicBezTo>
                  <a:pt x="55" y="466"/>
                  <a:pt x="54" y="467"/>
                  <a:pt x="53" y="465"/>
                </a:cubicBezTo>
                <a:cubicBezTo>
                  <a:pt x="52" y="463"/>
                  <a:pt x="48" y="460"/>
                  <a:pt x="50" y="458"/>
                </a:cubicBezTo>
                <a:cubicBezTo>
                  <a:pt x="53" y="455"/>
                  <a:pt x="58" y="451"/>
                  <a:pt x="59" y="445"/>
                </a:cubicBezTo>
                <a:cubicBezTo>
                  <a:pt x="55" y="450"/>
                  <a:pt x="54" y="444"/>
                  <a:pt x="59" y="443"/>
                </a:cubicBezTo>
                <a:cubicBezTo>
                  <a:pt x="58" y="445"/>
                  <a:pt x="60" y="444"/>
                  <a:pt x="61" y="445"/>
                </a:cubicBezTo>
                <a:cubicBezTo>
                  <a:pt x="61" y="445"/>
                  <a:pt x="61" y="446"/>
                  <a:pt x="61" y="446"/>
                </a:cubicBezTo>
                <a:cubicBezTo>
                  <a:pt x="61" y="446"/>
                  <a:pt x="61" y="446"/>
                  <a:pt x="61" y="446"/>
                </a:cubicBezTo>
                <a:cubicBezTo>
                  <a:pt x="63" y="446"/>
                  <a:pt x="60" y="450"/>
                  <a:pt x="60" y="447"/>
                </a:cubicBezTo>
                <a:cubicBezTo>
                  <a:pt x="60" y="447"/>
                  <a:pt x="60" y="447"/>
                  <a:pt x="60" y="447"/>
                </a:cubicBezTo>
                <a:cubicBezTo>
                  <a:pt x="60" y="448"/>
                  <a:pt x="59" y="448"/>
                  <a:pt x="59" y="449"/>
                </a:cubicBezTo>
                <a:cubicBezTo>
                  <a:pt x="59" y="452"/>
                  <a:pt x="59" y="456"/>
                  <a:pt x="60" y="459"/>
                </a:cubicBezTo>
                <a:cubicBezTo>
                  <a:pt x="61" y="459"/>
                  <a:pt x="61" y="459"/>
                  <a:pt x="62" y="460"/>
                </a:cubicBezTo>
                <a:cubicBezTo>
                  <a:pt x="62" y="460"/>
                  <a:pt x="62" y="460"/>
                  <a:pt x="62" y="461"/>
                </a:cubicBezTo>
                <a:cubicBezTo>
                  <a:pt x="63" y="462"/>
                  <a:pt x="64" y="461"/>
                  <a:pt x="66" y="457"/>
                </a:cubicBezTo>
                <a:cubicBezTo>
                  <a:pt x="67" y="464"/>
                  <a:pt x="71" y="455"/>
                  <a:pt x="70" y="453"/>
                </a:cubicBezTo>
                <a:cubicBezTo>
                  <a:pt x="70" y="453"/>
                  <a:pt x="68" y="453"/>
                  <a:pt x="68" y="452"/>
                </a:cubicBezTo>
                <a:cubicBezTo>
                  <a:pt x="67" y="452"/>
                  <a:pt x="68" y="449"/>
                  <a:pt x="68" y="447"/>
                </a:cubicBezTo>
                <a:cubicBezTo>
                  <a:pt x="69" y="446"/>
                  <a:pt x="73" y="440"/>
                  <a:pt x="72" y="445"/>
                </a:cubicBezTo>
                <a:cubicBezTo>
                  <a:pt x="71" y="446"/>
                  <a:pt x="71" y="448"/>
                  <a:pt x="71" y="449"/>
                </a:cubicBezTo>
                <a:cubicBezTo>
                  <a:pt x="72" y="449"/>
                  <a:pt x="72" y="449"/>
                  <a:pt x="71" y="449"/>
                </a:cubicBezTo>
                <a:cubicBezTo>
                  <a:pt x="71" y="449"/>
                  <a:pt x="71" y="449"/>
                  <a:pt x="71" y="449"/>
                </a:cubicBezTo>
                <a:cubicBezTo>
                  <a:pt x="71" y="450"/>
                  <a:pt x="71" y="452"/>
                  <a:pt x="71" y="453"/>
                </a:cubicBezTo>
                <a:cubicBezTo>
                  <a:pt x="71" y="455"/>
                  <a:pt x="70" y="457"/>
                  <a:pt x="70" y="458"/>
                </a:cubicBezTo>
                <a:cubicBezTo>
                  <a:pt x="70" y="458"/>
                  <a:pt x="70" y="458"/>
                  <a:pt x="71" y="459"/>
                </a:cubicBezTo>
                <a:cubicBezTo>
                  <a:pt x="71" y="459"/>
                  <a:pt x="72" y="459"/>
                  <a:pt x="72" y="460"/>
                </a:cubicBezTo>
                <a:cubicBezTo>
                  <a:pt x="71" y="460"/>
                  <a:pt x="71" y="460"/>
                  <a:pt x="71" y="460"/>
                </a:cubicBezTo>
                <a:cubicBezTo>
                  <a:pt x="71" y="461"/>
                  <a:pt x="72" y="461"/>
                  <a:pt x="72" y="461"/>
                </a:cubicBezTo>
                <a:cubicBezTo>
                  <a:pt x="74" y="461"/>
                  <a:pt x="74" y="453"/>
                  <a:pt x="73" y="450"/>
                </a:cubicBezTo>
                <a:cubicBezTo>
                  <a:pt x="73" y="450"/>
                  <a:pt x="73" y="451"/>
                  <a:pt x="73" y="450"/>
                </a:cubicBezTo>
                <a:cubicBezTo>
                  <a:pt x="72" y="450"/>
                  <a:pt x="73" y="449"/>
                  <a:pt x="73" y="449"/>
                </a:cubicBezTo>
                <a:cubicBezTo>
                  <a:pt x="73" y="449"/>
                  <a:pt x="73" y="449"/>
                  <a:pt x="73" y="449"/>
                </a:cubicBezTo>
                <a:cubicBezTo>
                  <a:pt x="73" y="449"/>
                  <a:pt x="74" y="448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5"/>
                  <a:pt x="74" y="442"/>
                  <a:pt x="75" y="442"/>
                </a:cubicBezTo>
                <a:cubicBezTo>
                  <a:pt x="78" y="440"/>
                  <a:pt x="73" y="455"/>
                  <a:pt x="78" y="450"/>
                </a:cubicBezTo>
                <a:cubicBezTo>
                  <a:pt x="79" y="450"/>
                  <a:pt x="83" y="445"/>
                  <a:pt x="83" y="445"/>
                </a:cubicBezTo>
                <a:cubicBezTo>
                  <a:pt x="82" y="444"/>
                  <a:pt x="81" y="445"/>
                  <a:pt x="80" y="445"/>
                </a:cubicBezTo>
                <a:cubicBezTo>
                  <a:pt x="78" y="444"/>
                  <a:pt x="79" y="441"/>
                  <a:pt x="80" y="441"/>
                </a:cubicBezTo>
                <a:cubicBezTo>
                  <a:pt x="82" y="440"/>
                  <a:pt x="82" y="442"/>
                  <a:pt x="83" y="442"/>
                </a:cubicBezTo>
                <a:cubicBezTo>
                  <a:pt x="85" y="441"/>
                  <a:pt x="85" y="439"/>
                  <a:pt x="86" y="437"/>
                </a:cubicBezTo>
                <a:cubicBezTo>
                  <a:pt x="86" y="438"/>
                  <a:pt x="85" y="438"/>
                  <a:pt x="85" y="438"/>
                </a:cubicBezTo>
                <a:cubicBezTo>
                  <a:pt x="85" y="437"/>
                  <a:pt x="86" y="437"/>
                  <a:pt x="86" y="437"/>
                </a:cubicBezTo>
                <a:cubicBezTo>
                  <a:pt x="86" y="435"/>
                  <a:pt x="87" y="434"/>
                  <a:pt x="88" y="432"/>
                </a:cubicBezTo>
                <a:cubicBezTo>
                  <a:pt x="90" y="430"/>
                  <a:pt x="91" y="426"/>
                  <a:pt x="91" y="426"/>
                </a:cubicBezTo>
                <a:cubicBezTo>
                  <a:pt x="91" y="426"/>
                  <a:pt x="93" y="428"/>
                  <a:pt x="95" y="428"/>
                </a:cubicBezTo>
                <a:cubicBezTo>
                  <a:pt x="97" y="428"/>
                  <a:pt x="96" y="426"/>
                  <a:pt x="97" y="428"/>
                </a:cubicBezTo>
                <a:cubicBezTo>
                  <a:pt x="97" y="430"/>
                  <a:pt x="98" y="428"/>
                  <a:pt x="98" y="430"/>
                </a:cubicBezTo>
                <a:cubicBezTo>
                  <a:pt x="98" y="432"/>
                  <a:pt x="95" y="437"/>
                  <a:pt x="92" y="435"/>
                </a:cubicBezTo>
                <a:cubicBezTo>
                  <a:pt x="91" y="435"/>
                  <a:pt x="91" y="433"/>
                  <a:pt x="89" y="435"/>
                </a:cubicBezTo>
                <a:cubicBezTo>
                  <a:pt x="89" y="436"/>
                  <a:pt x="90" y="437"/>
                  <a:pt x="89" y="439"/>
                </a:cubicBezTo>
                <a:cubicBezTo>
                  <a:pt x="88" y="441"/>
                  <a:pt x="84" y="445"/>
                  <a:pt x="83" y="448"/>
                </a:cubicBezTo>
                <a:cubicBezTo>
                  <a:pt x="82" y="450"/>
                  <a:pt x="83" y="453"/>
                  <a:pt x="81" y="456"/>
                </a:cubicBezTo>
                <a:cubicBezTo>
                  <a:pt x="80" y="458"/>
                  <a:pt x="75" y="461"/>
                  <a:pt x="75" y="463"/>
                </a:cubicBezTo>
                <a:cubicBezTo>
                  <a:pt x="75" y="463"/>
                  <a:pt x="76" y="464"/>
                  <a:pt x="76" y="464"/>
                </a:cubicBezTo>
                <a:cubicBezTo>
                  <a:pt x="77" y="464"/>
                  <a:pt x="77" y="464"/>
                  <a:pt x="77" y="464"/>
                </a:cubicBezTo>
                <a:cubicBezTo>
                  <a:pt x="77" y="465"/>
                  <a:pt x="77" y="465"/>
                  <a:pt x="77" y="465"/>
                </a:cubicBezTo>
                <a:cubicBezTo>
                  <a:pt x="79" y="466"/>
                  <a:pt x="83" y="467"/>
                  <a:pt x="86" y="467"/>
                </a:cubicBezTo>
                <a:cubicBezTo>
                  <a:pt x="86" y="467"/>
                  <a:pt x="86" y="466"/>
                  <a:pt x="86" y="466"/>
                </a:cubicBezTo>
                <a:cubicBezTo>
                  <a:pt x="86" y="465"/>
                  <a:pt x="86" y="465"/>
                  <a:pt x="86" y="464"/>
                </a:cubicBezTo>
                <a:cubicBezTo>
                  <a:pt x="87" y="460"/>
                  <a:pt x="94" y="456"/>
                  <a:pt x="98" y="458"/>
                </a:cubicBezTo>
                <a:cubicBezTo>
                  <a:pt x="98" y="458"/>
                  <a:pt x="98" y="459"/>
                  <a:pt x="99" y="459"/>
                </a:cubicBezTo>
                <a:cubicBezTo>
                  <a:pt x="99" y="459"/>
                  <a:pt x="99" y="459"/>
                  <a:pt x="99" y="459"/>
                </a:cubicBezTo>
                <a:cubicBezTo>
                  <a:pt x="100" y="458"/>
                  <a:pt x="99" y="459"/>
                  <a:pt x="99" y="459"/>
                </a:cubicBezTo>
                <a:cubicBezTo>
                  <a:pt x="99" y="459"/>
                  <a:pt x="99" y="459"/>
                  <a:pt x="99" y="460"/>
                </a:cubicBezTo>
                <a:cubicBezTo>
                  <a:pt x="100" y="459"/>
                  <a:pt x="101" y="459"/>
                  <a:pt x="101" y="458"/>
                </a:cubicBezTo>
                <a:cubicBezTo>
                  <a:pt x="103" y="459"/>
                  <a:pt x="103" y="456"/>
                  <a:pt x="105" y="456"/>
                </a:cubicBezTo>
                <a:cubicBezTo>
                  <a:pt x="106" y="455"/>
                  <a:pt x="108" y="458"/>
                  <a:pt x="108" y="455"/>
                </a:cubicBezTo>
                <a:cubicBezTo>
                  <a:pt x="108" y="460"/>
                  <a:pt x="116" y="452"/>
                  <a:pt x="116" y="451"/>
                </a:cubicBezTo>
                <a:cubicBezTo>
                  <a:pt x="116" y="451"/>
                  <a:pt x="110" y="450"/>
                  <a:pt x="110" y="450"/>
                </a:cubicBezTo>
                <a:cubicBezTo>
                  <a:pt x="110" y="450"/>
                  <a:pt x="110" y="450"/>
                  <a:pt x="110" y="450"/>
                </a:cubicBezTo>
                <a:cubicBezTo>
                  <a:pt x="110" y="451"/>
                  <a:pt x="110" y="451"/>
                  <a:pt x="110" y="451"/>
                </a:cubicBezTo>
                <a:cubicBezTo>
                  <a:pt x="109" y="451"/>
                  <a:pt x="109" y="452"/>
                  <a:pt x="108" y="451"/>
                </a:cubicBezTo>
                <a:cubicBezTo>
                  <a:pt x="107" y="450"/>
                  <a:pt x="109" y="450"/>
                  <a:pt x="110" y="449"/>
                </a:cubicBezTo>
                <a:cubicBezTo>
                  <a:pt x="110" y="449"/>
                  <a:pt x="110" y="449"/>
                  <a:pt x="109" y="449"/>
                </a:cubicBezTo>
                <a:cubicBezTo>
                  <a:pt x="109" y="449"/>
                  <a:pt x="108" y="448"/>
                  <a:pt x="108" y="447"/>
                </a:cubicBezTo>
                <a:cubicBezTo>
                  <a:pt x="108" y="447"/>
                  <a:pt x="108" y="446"/>
                  <a:pt x="108" y="446"/>
                </a:cubicBezTo>
                <a:cubicBezTo>
                  <a:pt x="108" y="446"/>
                  <a:pt x="108" y="445"/>
                  <a:pt x="108" y="444"/>
                </a:cubicBezTo>
                <a:cubicBezTo>
                  <a:pt x="108" y="444"/>
                  <a:pt x="110" y="441"/>
                  <a:pt x="111" y="441"/>
                </a:cubicBezTo>
                <a:cubicBezTo>
                  <a:pt x="112" y="440"/>
                  <a:pt x="114" y="435"/>
                  <a:pt x="115" y="436"/>
                </a:cubicBezTo>
                <a:cubicBezTo>
                  <a:pt x="116" y="436"/>
                  <a:pt x="114" y="438"/>
                  <a:pt x="115" y="439"/>
                </a:cubicBezTo>
                <a:cubicBezTo>
                  <a:pt x="115" y="440"/>
                  <a:pt x="117" y="439"/>
                  <a:pt x="118" y="439"/>
                </a:cubicBezTo>
                <a:cubicBezTo>
                  <a:pt x="119" y="439"/>
                  <a:pt x="118" y="441"/>
                  <a:pt x="119" y="442"/>
                </a:cubicBezTo>
                <a:cubicBezTo>
                  <a:pt x="119" y="441"/>
                  <a:pt x="121" y="440"/>
                  <a:pt x="122" y="442"/>
                </a:cubicBezTo>
                <a:cubicBezTo>
                  <a:pt x="122" y="444"/>
                  <a:pt x="120" y="443"/>
                  <a:pt x="120" y="444"/>
                </a:cubicBezTo>
                <a:cubicBezTo>
                  <a:pt x="119" y="444"/>
                  <a:pt x="120" y="445"/>
                  <a:pt x="120" y="445"/>
                </a:cubicBezTo>
                <a:cubicBezTo>
                  <a:pt x="121" y="446"/>
                  <a:pt x="119" y="447"/>
                  <a:pt x="118" y="448"/>
                </a:cubicBezTo>
                <a:cubicBezTo>
                  <a:pt x="118" y="449"/>
                  <a:pt x="119" y="450"/>
                  <a:pt x="119" y="450"/>
                </a:cubicBezTo>
                <a:cubicBezTo>
                  <a:pt x="117" y="453"/>
                  <a:pt x="112" y="455"/>
                  <a:pt x="113" y="460"/>
                </a:cubicBezTo>
                <a:cubicBezTo>
                  <a:pt x="113" y="461"/>
                  <a:pt x="114" y="460"/>
                  <a:pt x="115" y="460"/>
                </a:cubicBezTo>
                <a:cubicBezTo>
                  <a:pt x="114" y="463"/>
                  <a:pt x="112" y="471"/>
                  <a:pt x="107" y="472"/>
                </a:cubicBezTo>
                <a:cubicBezTo>
                  <a:pt x="106" y="472"/>
                  <a:pt x="104" y="471"/>
                  <a:pt x="103" y="471"/>
                </a:cubicBezTo>
                <a:cubicBezTo>
                  <a:pt x="102" y="471"/>
                  <a:pt x="102" y="470"/>
                  <a:pt x="101" y="469"/>
                </a:cubicBezTo>
                <a:cubicBezTo>
                  <a:pt x="101" y="469"/>
                  <a:pt x="100" y="469"/>
                  <a:pt x="100" y="468"/>
                </a:cubicBezTo>
                <a:cubicBezTo>
                  <a:pt x="100" y="468"/>
                  <a:pt x="100" y="468"/>
                  <a:pt x="100" y="468"/>
                </a:cubicBezTo>
                <a:cubicBezTo>
                  <a:pt x="100" y="468"/>
                  <a:pt x="100" y="467"/>
                  <a:pt x="99" y="467"/>
                </a:cubicBezTo>
                <a:cubicBezTo>
                  <a:pt x="98" y="468"/>
                  <a:pt x="96" y="470"/>
                  <a:pt x="95" y="470"/>
                </a:cubicBezTo>
                <a:cubicBezTo>
                  <a:pt x="96" y="472"/>
                  <a:pt x="98" y="470"/>
                  <a:pt x="99" y="470"/>
                </a:cubicBezTo>
                <a:cubicBezTo>
                  <a:pt x="98" y="471"/>
                  <a:pt x="98" y="471"/>
                  <a:pt x="98" y="472"/>
                </a:cubicBezTo>
                <a:cubicBezTo>
                  <a:pt x="99" y="472"/>
                  <a:pt x="100" y="472"/>
                  <a:pt x="100" y="472"/>
                </a:cubicBezTo>
                <a:cubicBezTo>
                  <a:pt x="101" y="473"/>
                  <a:pt x="99" y="473"/>
                  <a:pt x="99" y="473"/>
                </a:cubicBezTo>
                <a:cubicBezTo>
                  <a:pt x="98" y="475"/>
                  <a:pt x="100" y="474"/>
                  <a:pt x="99" y="476"/>
                </a:cubicBezTo>
                <a:cubicBezTo>
                  <a:pt x="98" y="478"/>
                  <a:pt x="95" y="477"/>
                  <a:pt x="94" y="478"/>
                </a:cubicBezTo>
                <a:cubicBezTo>
                  <a:pt x="94" y="478"/>
                  <a:pt x="94" y="478"/>
                  <a:pt x="94" y="479"/>
                </a:cubicBezTo>
                <a:cubicBezTo>
                  <a:pt x="95" y="479"/>
                  <a:pt x="95" y="479"/>
                  <a:pt x="96" y="479"/>
                </a:cubicBezTo>
                <a:cubicBezTo>
                  <a:pt x="96" y="480"/>
                  <a:pt x="94" y="481"/>
                  <a:pt x="95" y="483"/>
                </a:cubicBezTo>
                <a:cubicBezTo>
                  <a:pt x="95" y="483"/>
                  <a:pt x="96" y="483"/>
                  <a:pt x="96" y="483"/>
                </a:cubicBezTo>
                <a:cubicBezTo>
                  <a:pt x="96" y="483"/>
                  <a:pt x="97" y="487"/>
                  <a:pt x="97" y="487"/>
                </a:cubicBezTo>
                <a:cubicBezTo>
                  <a:pt x="96" y="489"/>
                  <a:pt x="94" y="487"/>
                  <a:pt x="92" y="488"/>
                </a:cubicBezTo>
                <a:cubicBezTo>
                  <a:pt x="93" y="488"/>
                  <a:pt x="90" y="490"/>
                  <a:pt x="90" y="490"/>
                </a:cubicBezTo>
                <a:cubicBezTo>
                  <a:pt x="90" y="491"/>
                  <a:pt x="91" y="491"/>
                  <a:pt x="91" y="492"/>
                </a:cubicBezTo>
                <a:cubicBezTo>
                  <a:pt x="90" y="495"/>
                  <a:pt x="89" y="494"/>
                  <a:pt x="89" y="497"/>
                </a:cubicBezTo>
                <a:cubicBezTo>
                  <a:pt x="89" y="498"/>
                  <a:pt x="86" y="502"/>
                  <a:pt x="84" y="502"/>
                </a:cubicBezTo>
                <a:cubicBezTo>
                  <a:pt x="80" y="502"/>
                  <a:pt x="82" y="494"/>
                  <a:pt x="76" y="496"/>
                </a:cubicBezTo>
                <a:cubicBezTo>
                  <a:pt x="75" y="491"/>
                  <a:pt x="70" y="501"/>
                  <a:pt x="69" y="501"/>
                </a:cubicBezTo>
                <a:cubicBezTo>
                  <a:pt x="69" y="501"/>
                  <a:pt x="69" y="501"/>
                  <a:pt x="69" y="501"/>
                </a:cubicBezTo>
                <a:cubicBezTo>
                  <a:pt x="69" y="501"/>
                  <a:pt x="69" y="502"/>
                  <a:pt x="68" y="501"/>
                </a:cubicBezTo>
                <a:cubicBezTo>
                  <a:pt x="68" y="501"/>
                  <a:pt x="68" y="501"/>
                  <a:pt x="68" y="501"/>
                </a:cubicBezTo>
                <a:cubicBezTo>
                  <a:pt x="68" y="500"/>
                  <a:pt x="69" y="500"/>
                  <a:pt x="69" y="501"/>
                </a:cubicBezTo>
                <a:cubicBezTo>
                  <a:pt x="69" y="499"/>
                  <a:pt x="73" y="494"/>
                  <a:pt x="68" y="496"/>
                </a:cubicBezTo>
                <a:cubicBezTo>
                  <a:pt x="67" y="497"/>
                  <a:pt x="69" y="499"/>
                  <a:pt x="68" y="500"/>
                </a:cubicBezTo>
                <a:cubicBezTo>
                  <a:pt x="67" y="501"/>
                  <a:pt x="64" y="500"/>
                  <a:pt x="62" y="500"/>
                </a:cubicBezTo>
                <a:cubicBezTo>
                  <a:pt x="62" y="500"/>
                  <a:pt x="61" y="504"/>
                  <a:pt x="61" y="505"/>
                </a:cubicBezTo>
                <a:cubicBezTo>
                  <a:pt x="62" y="506"/>
                  <a:pt x="63" y="506"/>
                  <a:pt x="62" y="508"/>
                </a:cubicBezTo>
                <a:cubicBezTo>
                  <a:pt x="62" y="508"/>
                  <a:pt x="62" y="507"/>
                  <a:pt x="63" y="507"/>
                </a:cubicBezTo>
                <a:cubicBezTo>
                  <a:pt x="62" y="508"/>
                  <a:pt x="62" y="509"/>
                  <a:pt x="65" y="508"/>
                </a:cubicBezTo>
                <a:cubicBezTo>
                  <a:pt x="63" y="511"/>
                  <a:pt x="60" y="511"/>
                  <a:pt x="61" y="514"/>
                </a:cubicBezTo>
                <a:cubicBezTo>
                  <a:pt x="61" y="514"/>
                  <a:pt x="67" y="516"/>
                  <a:pt x="66" y="517"/>
                </a:cubicBezTo>
                <a:cubicBezTo>
                  <a:pt x="70" y="515"/>
                  <a:pt x="64" y="513"/>
                  <a:pt x="65" y="510"/>
                </a:cubicBezTo>
                <a:cubicBezTo>
                  <a:pt x="66" y="507"/>
                  <a:pt x="68" y="514"/>
                  <a:pt x="69" y="514"/>
                </a:cubicBezTo>
                <a:cubicBezTo>
                  <a:pt x="70" y="515"/>
                  <a:pt x="69" y="514"/>
                  <a:pt x="70" y="514"/>
                </a:cubicBezTo>
                <a:cubicBezTo>
                  <a:pt x="72" y="513"/>
                  <a:pt x="73" y="516"/>
                  <a:pt x="74" y="514"/>
                </a:cubicBezTo>
                <a:cubicBezTo>
                  <a:pt x="74" y="514"/>
                  <a:pt x="71" y="514"/>
                  <a:pt x="72" y="512"/>
                </a:cubicBezTo>
                <a:cubicBezTo>
                  <a:pt x="73" y="511"/>
                  <a:pt x="75" y="513"/>
                  <a:pt x="75" y="513"/>
                </a:cubicBezTo>
                <a:cubicBezTo>
                  <a:pt x="76" y="513"/>
                  <a:pt x="77" y="513"/>
                  <a:pt x="78" y="514"/>
                </a:cubicBezTo>
                <a:cubicBezTo>
                  <a:pt x="78" y="513"/>
                  <a:pt x="78" y="513"/>
                  <a:pt x="78" y="513"/>
                </a:cubicBezTo>
                <a:cubicBezTo>
                  <a:pt x="78" y="513"/>
                  <a:pt x="78" y="514"/>
                  <a:pt x="78" y="515"/>
                </a:cubicBezTo>
                <a:cubicBezTo>
                  <a:pt x="78" y="517"/>
                  <a:pt x="78" y="519"/>
                  <a:pt x="78" y="520"/>
                </a:cubicBezTo>
                <a:cubicBezTo>
                  <a:pt x="78" y="520"/>
                  <a:pt x="78" y="520"/>
                  <a:pt x="78" y="520"/>
                </a:cubicBezTo>
                <a:cubicBezTo>
                  <a:pt x="79" y="520"/>
                  <a:pt x="78" y="519"/>
                  <a:pt x="79" y="519"/>
                </a:cubicBezTo>
                <a:cubicBezTo>
                  <a:pt x="80" y="520"/>
                  <a:pt x="80" y="520"/>
                  <a:pt x="81" y="520"/>
                </a:cubicBezTo>
                <a:cubicBezTo>
                  <a:pt x="81" y="518"/>
                  <a:pt x="82" y="515"/>
                  <a:pt x="82" y="515"/>
                </a:cubicBezTo>
                <a:cubicBezTo>
                  <a:pt x="84" y="514"/>
                  <a:pt x="85" y="516"/>
                  <a:pt x="86" y="514"/>
                </a:cubicBezTo>
                <a:cubicBezTo>
                  <a:pt x="86" y="513"/>
                  <a:pt x="84" y="512"/>
                  <a:pt x="84" y="511"/>
                </a:cubicBezTo>
                <a:cubicBezTo>
                  <a:pt x="84" y="511"/>
                  <a:pt x="83" y="509"/>
                  <a:pt x="84" y="509"/>
                </a:cubicBezTo>
                <a:cubicBezTo>
                  <a:pt x="82" y="509"/>
                  <a:pt x="80" y="511"/>
                  <a:pt x="80" y="510"/>
                </a:cubicBezTo>
                <a:cubicBezTo>
                  <a:pt x="79" y="510"/>
                  <a:pt x="80" y="508"/>
                  <a:pt x="81" y="507"/>
                </a:cubicBezTo>
                <a:cubicBezTo>
                  <a:pt x="82" y="510"/>
                  <a:pt x="84" y="506"/>
                  <a:pt x="85" y="505"/>
                </a:cubicBezTo>
                <a:cubicBezTo>
                  <a:pt x="86" y="504"/>
                  <a:pt x="89" y="504"/>
                  <a:pt x="89" y="504"/>
                </a:cubicBezTo>
                <a:cubicBezTo>
                  <a:pt x="90" y="503"/>
                  <a:pt x="88" y="501"/>
                  <a:pt x="90" y="501"/>
                </a:cubicBezTo>
                <a:cubicBezTo>
                  <a:pt x="91" y="501"/>
                  <a:pt x="90" y="502"/>
                  <a:pt x="90" y="502"/>
                </a:cubicBezTo>
                <a:cubicBezTo>
                  <a:pt x="91" y="503"/>
                  <a:pt x="93" y="501"/>
                  <a:pt x="94" y="502"/>
                </a:cubicBezTo>
                <a:cubicBezTo>
                  <a:pt x="95" y="502"/>
                  <a:pt x="94" y="504"/>
                  <a:pt x="94" y="505"/>
                </a:cubicBezTo>
                <a:cubicBezTo>
                  <a:pt x="94" y="506"/>
                  <a:pt x="94" y="507"/>
                  <a:pt x="94" y="508"/>
                </a:cubicBezTo>
                <a:cubicBezTo>
                  <a:pt x="97" y="507"/>
                  <a:pt x="101" y="507"/>
                  <a:pt x="102" y="508"/>
                </a:cubicBezTo>
                <a:cubicBezTo>
                  <a:pt x="103" y="509"/>
                  <a:pt x="101" y="511"/>
                  <a:pt x="104" y="510"/>
                </a:cubicBezTo>
                <a:cubicBezTo>
                  <a:pt x="102" y="512"/>
                  <a:pt x="106" y="513"/>
                  <a:pt x="106" y="514"/>
                </a:cubicBezTo>
                <a:cubicBezTo>
                  <a:pt x="106" y="515"/>
                  <a:pt x="104" y="516"/>
                  <a:pt x="104" y="516"/>
                </a:cubicBezTo>
                <a:cubicBezTo>
                  <a:pt x="104" y="516"/>
                  <a:pt x="105" y="517"/>
                  <a:pt x="104" y="518"/>
                </a:cubicBezTo>
                <a:cubicBezTo>
                  <a:pt x="104" y="518"/>
                  <a:pt x="104" y="518"/>
                  <a:pt x="104" y="518"/>
                </a:cubicBezTo>
                <a:cubicBezTo>
                  <a:pt x="105" y="519"/>
                  <a:pt x="106" y="520"/>
                  <a:pt x="106" y="522"/>
                </a:cubicBezTo>
                <a:cubicBezTo>
                  <a:pt x="106" y="522"/>
                  <a:pt x="107" y="522"/>
                  <a:pt x="107" y="522"/>
                </a:cubicBezTo>
                <a:cubicBezTo>
                  <a:pt x="107" y="521"/>
                  <a:pt x="106" y="521"/>
                  <a:pt x="106" y="520"/>
                </a:cubicBezTo>
                <a:cubicBezTo>
                  <a:pt x="106" y="519"/>
                  <a:pt x="107" y="518"/>
                  <a:pt x="108" y="518"/>
                </a:cubicBezTo>
                <a:cubicBezTo>
                  <a:pt x="108" y="517"/>
                  <a:pt x="108" y="517"/>
                  <a:pt x="109" y="516"/>
                </a:cubicBezTo>
                <a:cubicBezTo>
                  <a:pt x="109" y="516"/>
                  <a:pt x="108" y="516"/>
                  <a:pt x="108" y="516"/>
                </a:cubicBezTo>
                <a:cubicBezTo>
                  <a:pt x="108" y="515"/>
                  <a:pt x="109" y="515"/>
                  <a:pt x="109" y="515"/>
                </a:cubicBezTo>
                <a:cubicBezTo>
                  <a:pt x="111" y="514"/>
                  <a:pt x="112" y="513"/>
                  <a:pt x="113" y="512"/>
                </a:cubicBezTo>
                <a:cubicBezTo>
                  <a:pt x="112" y="514"/>
                  <a:pt x="115" y="514"/>
                  <a:pt x="115" y="514"/>
                </a:cubicBezTo>
                <a:cubicBezTo>
                  <a:pt x="115" y="514"/>
                  <a:pt x="116" y="514"/>
                  <a:pt x="116" y="514"/>
                </a:cubicBezTo>
                <a:cubicBezTo>
                  <a:pt x="116" y="514"/>
                  <a:pt x="116" y="514"/>
                  <a:pt x="116" y="514"/>
                </a:cubicBezTo>
                <a:cubicBezTo>
                  <a:pt x="115" y="514"/>
                  <a:pt x="115" y="513"/>
                  <a:pt x="115" y="513"/>
                </a:cubicBezTo>
                <a:cubicBezTo>
                  <a:pt x="114" y="512"/>
                  <a:pt x="115" y="508"/>
                  <a:pt x="115" y="507"/>
                </a:cubicBezTo>
                <a:cubicBezTo>
                  <a:pt x="116" y="507"/>
                  <a:pt x="116" y="508"/>
                  <a:pt x="117" y="508"/>
                </a:cubicBezTo>
                <a:cubicBezTo>
                  <a:pt x="118" y="507"/>
                  <a:pt x="120" y="504"/>
                  <a:pt x="123" y="505"/>
                </a:cubicBezTo>
                <a:cubicBezTo>
                  <a:pt x="122" y="507"/>
                  <a:pt x="120" y="506"/>
                  <a:pt x="120" y="507"/>
                </a:cubicBezTo>
                <a:cubicBezTo>
                  <a:pt x="119" y="508"/>
                  <a:pt x="121" y="508"/>
                  <a:pt x="121" y="508"/>
                </a:cubicBezTo>
                <a:cubicBezTo>
                  <a:pt x="122" y="510"/>
                  <a:pt x="120" y="514"/>
                  <a:pt x="117" y="514"/>
                </a:cubicBezTo>
                <a:cubicBezTo>
                  <a:pt x="117" y="515"/>
                  <a:pt x="117" y="516"/>
                  <a:pt x="116" y="517"/>
                </a:cubicBezTo>
                <a:cubicBezTo>
                  <a:pt x="117" y="517"/>
                  <a:pt x="117" y="517"/>
                  <a:pt x="117" y="517"/>
                </a:cubicBezTo>
                <a:cubicBezTo>
                  <a:pt x="118" y="515"/>
                  <a:pt x="121" y="515"/>
                  <a:pt x="122" y="513"/>
                </a:cubicBezTo>
                <a:cubicBezTo>
                  <a:pt x="122" y="512"/>
                  <a:pt x="122" y="511"/>
                  <a:pt x="122" y="510"/>
                </a:cubicBezTo>
                <a:cubicBezTo>
                  <a:pt x="122" y="510"/>
                  <a:pt x="123" y="509"/>
                  <a:pt x="123" y="508"/>
                </a:cubicBezTo>
                <a:cubicBezTo>
                  <a:pt x="123" y="507"/>
                  <a:pt x="122" y="508"/>
                  <a:pt x="122" y="507"/>
                </a:cubicBezTo>
                <a:cubicBezTo>
                  <a:pt x="123" y="506"/>
                  <a:pt x="124" y="505"/>
                  <a:pt x="124" y="506"/>
                </a:cubicBezTo>
                <a:cubicBezTo>
                  <a:pt x="125" y="506"/>
                  <a:pt x="124" y="508"/>
                  <a:pt x="125" y="510"/>
                </a:cubicBezTo>
                <a:cubicBezTo>
                  <a:pt x="125" y="510"/>
                  <a:pt x="127" y="510"/>
                  <a:pt x="128" y="510"/>
                </a:cubicBezTo>
                <a:cubicBezTo>
                  <a:pt x="129" y="511"/>
                  <a:pt x="129" y="513"/>
                  <a:pt x="132" y="511"/>
                </a:cubicBezTo>
                <a:cubicBezTo>
                  <a:pt x="129" y="514"/>
                  <a:pt x="133" y="512"/>
                  <a:pt x="134" y="513"/>
                </a:cubicBezTo>
                <a:cubicBezTo>
                  <a:pt x="133" y="513"/>
                  <a:pt x="134" y="519"/>
                  <a:pt x="134" y="520"/>
                </a:cubicBezTo>
                <a:cubicBezTo>
                  <a:pt x="134" y="521"/>
                  <a:pt x="132" y="523"/>
                  <a:pt x="132" y="525"/>
                </a:cubicBezTo>
                <a:cubicBezTo>
                  <a:pt x="132" y="525"/>
                  <a:pt x="133" y="524"/>
                  <a:pt x="133" y="524"/>
                </a:cubicBezTo>
                <a:cubicBezTo>
                  <a:pt x="133" y="525"/>
                  <a:pt x="133" y="525"/>
                  <a:pt x="132" y="526"/>
                </a:cubicBezTo>
                <a:cubicBezTo>
                  <a:pt x="132" y="526"/>
                  <a:pt x="132" y="526"/>
                  <a:pt x="132" y="527"/>
                </a:cubicBezTo>
                <a:cubicBezTo>
                  <a:pt x="133" y="526"/>
                  <a:pt x="133" y="526"/>
                  <a:pt x="133" y="526"/>
                </a:cubicBezTo>
                <a:cubicBezTo>
                  <a:pt x="133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6" y="524"/>
                  <a:pt x="142" y="524"/>
                  <a:pt x="145" y="524"/>
                </a:cubicBezTo>
                <a:cubicBezTo>
                  <a:pt x="145" y="523"/>
                  <a:pt x="146" y="522"/>
                  <a:pt x="146" y="522"/>
                </a:cubicBezTo>
                <a:cubicBezTo>
                  <a:pt x="147" y="522"/>
                  <a:pt x="147" y="523"/>
                  <a:pt x="147" y="524"/>
                </a:cubicBezTo>
                <a:cubicBezTo>
                  <a:pt x="147" y="524"/>
                  <a:pt x="148" y="524"/>
                  <a:pt x="148" y="525"/>
                </a:cubicBezTo>
                <a:cubicBezTo>
                  <a:pt x="148" y="526"/>
                  <a:pt x="147" y="526"/>
                  <a:pt x="145" y="527"/>
                </a:cubicBezTo>
                <a:cubicBezTo>
                  <a:pt x="146" y="527"/>
                  <a:pt x="146" y="527"/>
                  <a:pt x="146" y="527"/>
                </a:cubicBezTo>
                <a:cubicBezTo>
                  <a:pt x="146" y="529"/>
                  <a:pt x="146" y="530"/>
                  <a:pt x="145" y="530"/>
                </a:cubicBezTo>
                <a:cubicBezTo>
                  <a:pt x="145" y="531"/>
                  <a:pt x="145" y="532"/>
                  <a:pt x="144" y="533"/>
                </a:cubicBezTo>
                <a:cubicBezTo>
                  <a:pt x="144" y="533"/>
                  <a:pt x="143" y="533"/>
                  <a:pt x="142" y="533"/>
                </a:cubicBezTo>
                <a:cubicBezTo>
                  <a:pt x="142" y="534"/>
                  <a:pt x="143" y="534"/>
                  <a:pt x="144" y="533"/>
                </a:cubicBezTo>
                <a:cubicBezTo>
                  <a:pt x="145" y="533"/>
                  <a:pt x="147" y="530"/>
                  <a:pt x="147" y="530"/>
                </a:cubicBezTo>
                <a:cubicBezTo>
                  <a:pt x="148" y="530"/>
                  <a:pt x="148" y="529"/>
                  <a:pt x="147" y="529"/>
                </a:cubicBezTo>
                <a:cubicBezTo>
                  <a:pt x="151" y="528"/>
                  <a:pt x="150" y="537"/>
                  <a:pt x="148" y="535"/>
                </a:cubicBezTo>
                <a:cubicBezTo>
                  <a:pt x="148" y="535"/>
                  <a:pt x="147" y="533"/>
                  <a:pt x="147" y="533"/>
                </a:cubicBezTo>
                <a:cubicBezTo>
                  <a:pt x="146" y="533"/>
                  <a:pt x="143" y="537"/>
                  <a:pt x="141" y="538"/>
                </a:cubicBezTo>
                <a:cubicBezTo>
                  <a:pt x="140" y="538"/>
                  <a:pt x="140" y="538"/>
                  <a:pt x="139" y="539"/>
                </a:cubicBezTo>
                <a:cubicBezTo>
                  <a:pt x="140" y="540"/>
                  <a:pt x="141" y="541"/>
                  <a:pt x="140" y="542"/>
                </a:cubicBezTo>
                <a:cubicBezTo>
                  <a:pt x="140" y="542"/>
                  <a:pt x="139" y="543"/>
                  <a:pt x="139" y="543"/>
                </a:cubicBezTo>
                <a:cubicBezTo>
                  <a:pt x="139" y="543"/>
                  <a:pt x="138" y="546"/>
                  <a:pt x="138" y="547"/>
                </a:cubicBezTo>
                <a:cubicBezTo>
                  <a:pt x="138" y="547"/>
                  <a:pt x="140" y="546"/>
                  <a:pt x="139" y="546"/>
                </a:cubicBezTo>
                <a:cubicBezTo>
                  <a:pt x="139" y="546"/>
                  <a:pt x="141" y="548"/>
                  <a:pt x="140" y="549"/>
                </a:cubicBezTo>
                <a:cubicBezTo>
                  <a:pt x="140" y="549"/>
                  <a:pt x="140" y="549"/>
                  <a:pt x="139" y="549"/>
                </a:cubicBezTo>
                <a:cubicBezTo>
                  <a:pt x="140" y="549"/>
                  <a:pt x="140" y="550"/>
                  <a:pt x="141" y="550"/>
                </a:cubicBezTo>
                <a:cubicBezTo>
                  <a:pt x="141" y="549"/>
                  <a:pt x="141" y="548"/>
                  <a:pt x="142" y="548"/>
                </a:cubicBezTo>
                <a:cubicBezTo>
                  <a:pt x="141" y="548"/>
                  <a:pt x="141" y="548"/>
                  <a:pt x="140" y="548"/>
                </a:cubicBezTo>
                <a:cubicBezTo>
                  <a:pt x="140" y="547"/>
                  <a:pt x="140" y="547"/>
                  <a:pt x="141" y="547"/>
                </a:cubicBezTo>
                <a:cubicBezTo>
                  <a:pt x="141" y="546"/>
                  <a:pt x="142" y="544"/>
                  <a:pt x="142" y="546"/>
                </a:cubicBezTo>
                <a:cubicBezTo>
                  <a:pt x="143" y="546"/>
                  <a:pt x="142" y="546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3" y="546"/>
                  <a:pt x="144" y="546"/>
                  <a:pt x="145" y="548"/>
                </a:cubicBezTo>
                <a:cubicBezTo>
                  <a:pt x="146" y="549"/>
                  <a:pt x="145" y="550"/>
                  <a:pt x="145" y="551"/>
                </a:cubicBezTo>
                <a:cubicBezTo>
                  <a:pt x="145" y="551"/>
                  <a:pt x="145" y="551"/>
                  <a:pt x="145" y="551"/>
                </a:cubicBezTo>
                <a:cubicBezTo>
                  <a:pt x="147" y="551"/>
                  <a:pt x="145" y="551"/>
                  <a:pt x="146" y="552"/>
                </a:cubicBezTo>
                <a:cubicBezTo>
                  <a:pt x="146" y="552"/>
                  <a:pt x="146" y="552"/>
                  <a:pt x="147" y="552"/>
                </a:cubicBezTo>
                <a:cubicBezTo>
                  <a:pt x="147" y="552"/>
                  <a:pt x="147" y="552"/>
                  <a:pt x="147" y="552"/>
                </a:cubicBezTo>
                <a:cubicBezTo>
                  <a:pt x="147" y="551"/>
                  <a:pt x="148" y="551"/>
                  <a:pt x="148" y="551"/>
                </a:cubicBezTo>
                <a:cubicBezTo>
                  <a:pt x="151" y="552"/>
                  <a:pt x="148" y="556"/>
                  <a:pt x="149" y="558"/>
                </a:cubicBezTo>
                <a:cubicBezTo>
                  <a:pt x="150" y="558"/>
                  <a:pt x="152" y="558"/>
                  <a:pt x="152" y="557"/>
                </a:cubicBezTo>
                <a:cubicBezTo>
                  <a:pt x="153" y="557"/>
                  <a:pt x="153" y="556"/>
                  <a:pt x="154" y="555"/>
                </a:cubicBezTo>
                <a:cubicBezTo>
                  <a:pt x="152" y="554"/>
                  <a:pt x="152" y="553"/>
                  <a:pt x="152" y="551"/>
                </a:cubicBezTo>
                <a:cubicBezTo>
                  <a:pt x="154" y="547"/>
                  <a:pt x="159" y="548"/>
                  <a:pt x="160" y="551"/>
                </a:cubicBezTo>
                <a:cubicBezTo>
                  <a:pt x="161" y="551"/>
                  <a:pt x="161" y="551"/>
                  <a:pt x="162" y="550"/>
                </a:cubicBezTo>
                <a:cubicBezTo>
                  <a:pt x="161" y="550"/>
                  <a:pt x="161" y="551"/>
                  <a:pt x="161" y="551"/>
                </a:cubicBezTo>
                <a:cubicBezTo>
                  <a:pt x="163" y="550"/>
                  <a:pt x="165" y="549"/>
                  <a:pt x="167" y="550"/>
                </a:cubicBezTo>
                <a:cubicBezTo>
                  <a:pt x="169" y="549"/>
                  <a:pt x="170" y="549"/>
                  <a:pt x="170" y="549"/>
                </a:cubicBezTo>
                <a:cubicBezTo>
                  <a:pt x="171" y="550"/>
                  <a:pt x="170" y="550"/>
                  <a:pt x="168" y="551"/>
                </a:cubicBezTo>
                <a:cubicBezTo>
                  <a:pt x="168" y="551"/>
                  <a:pt x="169" y="551"/>
                  <a:pt x="169" y="551"/>
                </a:cubicBezTo>
                <a:cubicBezTo>
                  <a:pt x="169" y="552"/>
                  <a:pt x="169" y="553"/>
                  <a:pt x="169" y="554"/>
                </a:cubicBezTo>
                <a:cubicBezTo>
                  <a:pt x="171" y="554"/>
                  <a:pt x="172" y="555"/>
                  <a:pt x="171" y="557"/>
                </a:cubicBezTo>
                <a:cubicBezTo>
                  <a:pt x="170" y="559"/>
                  <a:pt x="171" y="560"/>
                  <a:pt x="171" y="561"/>
                </a:cubicBezTo>
                <a:cubicBezTo>
                  <a:pt x="171" y="561"/>
                  <a:pt x="170" y="562"/>
                  <a:pt x="170" y="563"/>
                </a:cubicBezTo>
                <a:cubicBezTo>
                  <a:pt x="172" y="561"/>
                  <a:pt x="173" y="559"/>
                  <a:pt x="175" y="558"/>
                </a:cubicBezTo>
                <a:cubicBezTo>
                  <a:pt x="173" y="556"/>
                  <a:pt x="171" y="554"/>
                  <a:pt x="175" y="552"/>
                </a:cubicBezTo>
                <a:cubicBezTo>
                  <a:pt x="175" y="551"/>
                  <a:pt x="176" y="551"/>
                  <a:pt x="177" y="551"/>
                </a:cubicBezTo>
                <a:cubicBezTo>
                  <a:pt x="175" y="551"/>
                  <a:pt x="176" y="547"/>
                  <a:pt x="178" y="548"/>
                </a:cubicBezTo>
                <a:cubicBezTo>
                  <a:pt x="179" y="549"/>
                  <a:pt x="178" y="550"/>
                  <a:pt x="178" y="550"/>
                </a:cubicBezTo>
                <a:cubicBezTo>
                  <a:pt x="177" y="551"/>
                  <a:pt x="177" y="551"/>
                  <a:pt x="177" y="551"/>
                </a:cubicBezTo>
                <a:cubicBezTo>
                  <a:pt x="179" y="551"/>
                  <a:pt x="181" y="550"/>
                  <a:pt x="182" y="550"/>
                </a:cubicBezTo>
                <a:cubicBezTo>
                  <a:pt x="184" y="548"/>
                  <a:pt x="183" y="547"/>
                  <a:pt x="185" y="549"/>
                </a:cubicBezTo>
                <a:cubicBezTo>
                  <a:pt x="186" y="549"/>
                  <a:pt x="186" y="550"/>
                  <a:pt x="188" y="549"/>
                </a:cubicBezTo>
                <a:cubicBezTo>
                  <a:pt x="188" y="549"/>
                  <a:pt x="191" y="545"/>
                  <a:pt x="191" y="548"/>
                </a:cubicBezTo>
                <a:cubicBezTo>
                  <a:pt x="191" y="549"/>
                  <a:pt x="189" y="549"/>
                  <a:pt x="189" y="549"/>
                </a:cubicBezTo>
                <a:cubicBezTo>
                  <a:pt x="190" y="550"/>
                  <a:pt x="194" y="550"/>
                  <a:pt x="194" y="550"/>
                </a:cubicBezTo>
                <a:cubicBezTo>
                  <a:pt x="194" y="551"/>
                  <a:pt x="190" y="553"/>
                  <a:pt x="192" y="555"/>
                </a:cubicBezTo>
                <a:cubicBezTo>
                  <a:pt x="193" y="555"/>
                  <a:pt x="194" y="555"/>
                  <a:pt x="194" y="555"/>
                </a:cubicBezTo>
                <a:cubicBezTo>
                  <a:pt x="194" y="555"/>
                  <a:pt x="193" y="556"/>
                  <a:pt x="193" y="556"/>
                </a:cubicBezTo>
                <a:cubicBezTo>
                  <a:pt x="192" y="558"/>
                  <a:pt x="192" y="558"/>
                  <a:pt x="193" y="558"/>
                </a:cubicBezTo>
                <a:cubicBezTo>
                  <a:pt x="194" y="558"/>
                  <a:pt x="195" y="558"/>
                  <a:pt x="196" y="559"/>
                </a:cubicBezTo>
                <a:cubicBezTo>
                  <a:pt x="196" y="560"/>
                  <a:pt x="195" y="560"/>
                  <a:pt x="194" y="560"/>
                </a:cubicBezTo>
                <a:cubicBezTo>
                  <a:pt x="194" y="561"/>
                  <a:pt x="194" y="561"/>
                  <a:pt x="194" y="561"/>
                </a:cubicBezTo>
                <a:cubicBezTo>
                  <a:pt x="194" y="562"/>
                  <a:pt x="196" y="561"/>
                  <a:pt x="196" y="562"/>
                </a:cubicBezTo>
                <a:cubicBezTo>
                  <a:pt x="197" y="563"/>
                  <a:pt x="195" y="565"/>
                  <a:pt x="195" y="566"/>
                </a:cubicBezTo>
                <a:cubicBezTo>
                  <a:pt x="197" y="568"/>
                  <a:pt x="199" y="565"/>
                  <a:pt x="201" y="566"/>
                </a:cubicBezTo>
                <a:cubicBezTo>
                  <a:pt x="201" y="566"/>
                  <a:pt x="203" y="568"/>
                  <a:pt x="205" y="566"/>
                </a:cubicBezTo>
                <a:cubicBezTo>
                  <a:pt x="206" y="565"/>
                  <a:pt x="204" y="563"/>
                  <a:pt x="208" y="562"/>
                </a:cubicBezTo>
                <a:cubicBezTo>
                  <a:pt x="209" y="561"/>
                  <a:pt x="214" y="560"/>
                  <a:pt x="214" y="562"/>
                </a:cubicBezTo>
                <a:cubicBezTo>
                  <a:pt x="214" y="563"/>
                  <a:pt x="213" y="562"/>
                  <a:pt x="212" y="563"/>
                </a:cubicBezTo>
                <a:cubicBezTo>
                  <a:pt x="211" y="563"/>
                  <a:pt x="213" y="566"/>
                  <a:pt x="213" y="566"/>
                </a:cubicBezTo>
                <a:cubicBezTo>
                  <a:pt x="212" y="567"/>
                  <a:pt x="210" y="567"/>
                  <a:pt x="210" y="568"/>
                </a:cubicBezTo>
                <a:cubicBezTo>
                  <a:pt x="210" y="568"/>
                  <a:pt x="210" y="568"/>
                  <a:pt x="210" y="568"/>
                </a:cubicBezTo>
                <a:cubicBezTo>
                  <a:pt x="210" y="569"/>
                  <a:pt x="210" y="569"/>
                  <a:pt x="210" y="569"/>
                </a:cubicBezTo>
                <a:cubicBezTo>
                  <a:pt x="210" y="570"/>
                  <a:pt x="211" y="572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10" y="574"/>
                  <a:pt x="210" y="575"/>
                  <a:pt x="208" y="576"/>
                </a:cubicBezTo>
                <a:cubicBezTo>
                  <a:pt x="208" y="576"/>
                  <a:pt x="208" y="576"/>
                  <a:pt x="208" y="576"/>
                </a:cubicBezTo>
                <a:cubicBezTo>
                  <a:pt x="208" y="576"/>
                  <a:pt x="209" y="576"/>
                  <a:pt x="209" y="576"/>
                </a:cubicBezTo>
                <a:cubicBezTo>
                  <a:pt x="210" y="576"/>
                  <a:pt x="210" y="576"/>
                  <a:pt x="211" y="577"/>
                </a:cubicBezTo>
                <a:cubicBezTo>
                  <a:pt x="211" y="577"/>
                  <a:pt x="212" y="577"/>
                  <a:pt x="212" y="577"/>
                </a:cubicBezTo>
                <a:cubicBezTo>
                  <a:pt x="212" y="578"/>
                  <a:pt x="211" y="578"/>
                  <a:pt x="211" y="579"/>
                </a:cubicBezTo>
                <a:cubicBezTo>
                  <a:pt x="211" y="579"/>
                  <a:pt x="211" y="580"/>
                  <a:pt x="211" y="580"/>
                </a:cubicBezTo>
                <a:cubicBezTo>
                  <a:pt x="210" y="581"/>
                  <a:pt x="207" y="580"/>
                  <a:pt x="205" y="581"/>
                </a:cubicBezTo>
                <a:cubicBezTo>
                  <a:pt x="206" y="580"/>
                  <a:pt x="206" y="578"/>
                  <a:pt x="204" y="580"/>
                </a:cubicBezTo>
                <a:cubicBezTo>
                  <a:pt x="202" y="581"/>
                  <a:pt x="204" y="581"/>
                  <a:pt x="204" y="582"/>
                </a:cubicBezTo>
                <a:cubicBezTo>
                  <a:pt x="204" y="582"/>
                  <a:pt x="203" y="582"/>
                  <a:pt x="204" y="583"/>
                </a:cubicBezTo>
                <a:cubicBezTo>
                  <a:pt x="204" y="583"/>
                  <a:pt x="204" y="583"/>
                  <a:pt x="204" y="583"/>
                </a:cubicBezTo>
                <a:cubicBezTo>
                  <a:pt x="206" y="582"/>
                  <a:pt x="208" y="582"/>
                  <a:pt x="210" y="583"/>
                </a:cubicBezTo>
                <a:cubicBezTo>
                  <a:pt x="209" y="583"/>
                  <a:pt x="209" y="582"/>
                  <a:pt x="209" y="582"/>
                </a:cubicBezTo>
                <a:cubicBezTo>
                  <a:pt x="209" y="582"/>
                  <a:pt x="209" y="582"/>
                  <a:pt x="209" y="582"/>
                </a:cubicBezTo>
                <a:cubicBezTo>
                  <a:pt x="210" y="581"/>
                  <a:pt x="210" y="582"/>
                  <a:pt x="210" y="583"/>
                </a:cubicBezTo>
                <a:cubicBezTo>
                  <a:pt x="210" y="583"/>
                  <a:pt x="211" y="584"/>
                  <a:pt x="210" y="585"/>
                </a:cubicBezTo>
                <a:cubicBezTo>
                  <a:pt x="210" y="586"/>
                  <a:pt x="208" y="588"/>
                  <a:pt x="205" y="588"/>
                </a:cubicBezTo>
                <a:cubicBezTo>
                  <a:pt x="206" y="588"/>
                  <a:pt x="206" y="590"/>
                  <a:pt x="206" y="591"/>
                </a:cubicBezTo>
                <a:cubicBezTo>
                  <a:pt x="205" y="592"/>
                  <a:pt x="201" y="592"/>
                  <a:pt x="202" y="593"/>
                </a:cubicBezTo>
                <a:cubicBezTo>
                  <a:pt x="201" y="593"/>
                  <a:pt x="199" y="594"/>
                  <a:pt x="198" y="593"/>
                </a:cubicBezTo>
                <a:cubicBezTo>
                  <a:pt x="195" y="591"/>
                  <a:pt x="196" y="591"/>
                  <a:pt x="192" y="592"/>
                </a:cubicBezTo>
                <a:cubicBezTo>
                  <a:pt x="192" y="592"/>
                  <a:pt x="191" y="592"/>
                  <a:pt x="190" y="592"/>
                </a:cubicBezTo>
                <a:cubicBezTo>
                  <a:pt x="188" y="592"/>
                  <a:pt x="189" y="593"/>
                  <a:pt x="189" y="595"/>
                </a:cubicBezTo>
                <a:cubicBezTo>
                  <a:pt x="187" y="593"/>
                  <a:pt x="188" y="595"/>
                  <a:pt x="189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1" y="597"/>
                  <a:pt x="191" y="596"/>
                </a:cubicBezTo>
                <a:cubicBezTo>
                  <a:pt x="190" y="597"/>
                  <a:pt x="192" y="594"/>
                  <a:pt x="193" y="596"/>
                </a:cubicBezTo>
                <a:cubicBezTo>
                  <a:pt x="193" y="596"/>
                  <a:pt x="190" y="600"/>
                  <a:pt x="193" y="600"/>
                </a:cubicBezTo>
                <a:cubicBezTo>
                  <a:pt x="187" y="601"/>
                  <a:pt x="195" y="604"/>
                  <a:pt x="197" y="605"/>
                </a:cubicBezTo>
                <a:cubicBezTo>
                  <a:pt x="198" y="606"/>
                  <a:pt x="198" y="608"/>
                  <a:pt x="198" y="609"/>
                </a:cubicBezTo>
                <a:cubicBezTo>
                  <a:pt x="199" y="610"/>
                  <a:pt x="200" y="610"/>
                  <a:pt x="199" y="611"/>
                </a:cubicBezTo>
                <a:cubicBezTo>
                  <a:pt x="199" y="611"/>
                  <a:pt x="199" y="611"/>
                  <a:pt x="199" y="611"/>
                </a:cubicBezTo>
                <a:cubicBezTo>
                  <a:pt x="200" y="612"/>
                  <a:pt x="200" y="613"/>
                  <a:pt x="201" y="613"/>
                </a:cubicBezTo>
                <a:cubicBezTo>
                  <a:pt x="201" y="613"/>
                  <a:pt x="201" y="613"/>
                  <a:pt x="202" y="613"/>
                </a:cubicBezTo>
                <a:cubicBezTo>
                  <a:pt x="202" y="613"/>
                  <a:pt x="202" y="613"/>
                  <a:pt x="202" y="612"/>
                </a:cubicBezTo>
                <a:cubicBezTo>
                  <a:pt x="203" y="611"/>
                  <a:pt x="204" y="611"/>
                  <a:pt x="206" y="611"/>
                </a:cubicBezTo>
                <a:cubicBezTo>
                  <a:pt x="207" y="611"/>
                  <a:pt x="208" y="612"/>
                  <a:pt x="208" y="613"/>
                </a:cubicBezTo>
                <a:cubicBezTo>
                  <a:pt x="209" y="613"/>
                  <a:pt x="209" y="612"/>
                  <a:pt x="211" y="612"/>
                </a:cubicBezTo>
                <a:cubicBezTo>
                  <a:pt x="211" y="613"/>
                  <a:pt x="210" y="613"/>
                  <a:pt x="208" y="613"/>
                </a:cubicBezTo>
                <a:cubicBezTo>
                  <a:pt x="208" y="614"/>
                  <a:pt x="208" y="615"/>
                  <a:pt x="207" y="615"/>
                </a:cubicBezTo>
                <a:cubicBezTo>
                  <a:pt x="209" y="616"/>
                  <a:pt x="211" y="616"/>
                  <a:pt x="211" y="616"/>
                </a:cubicBezTo>
                <a:cubicBezTo>
                  <a:pt x="211" y="616"/>
                  <a:pt x="211" y="616"/>
                  <a:pt x="212" y="616"/>
                </a:cubicBezTo>
                <a:cubicBezTo>
                  <a:pt x="211" y="615"/>
                  <a:pt x="210" y="615"/>
                  <a:pt x="209" y="615"/>
                </a:cubicBezTo>
                <a:cubicBezTo>
                  <a:pt x="210" y="614"/>
                  <a:pt x="211" y="614"/>
                  <a:pt x="213" y="615"/>
                </a:cubicBezTo>
                <a:cubicBezTo>
                  <a:pt x="213" y="614"/>
                  <a:pt x="213" y="614"/>
                  <a:pt x="213" y="614"/>
                </a:cubicBezTo>
                <a:cubicBezTo>
                  <a:pt x="213" y="614"/>
                  <a:pt x="214" y="612"/>
                  <a:pt x="215" y="613"/>
                </a:cubicBezTo>
                <a:cubicBezTo>
                  <a:pt x="216" y="612"/>
                  <a:pt x="216" y="612"/>
                  <a:pt x="217" y="613"/>
                </a:cubicBezTo>
                <a:cubicBezTo>
                  <a:pt x="217" y="613"/>
                  <a:pt x="216" y="613"/>
                  <a:pt x="216" y="614"/>
                </a:cubicBezTo>
                <a:cubicBezTo>
                  <a:pt x="216" y="614"/>
                  <a:pt x="217" y="616"/>
                  <a:pt x="216" y="615"/>
                </a:cubicBezTo>
                <a:cubicBezTo>
                  <a:pt x="216" y="615"/>
                  <a:pt x="215" y="615"/>
                  <a:pt x="215" y="615"/>
                </a:cubicBezTo>
                <a:cubicBezTo>
                  <a:pt x="215" y="614"/>
                  <a:pt x="215" y="614"/>
                  <a:pt x="215" y="614"/>
                </a:cubicBezTo>
                <a:cubicBezTo>
                  <a:pt x="215" y="614"/>
                  <a:pt x="214" y="615"/>
                  <a:pt x="214" y="615"/>
                </a:cubicBezTo>
                <a:cubicBezTo>
                  <a:pt x="215" y="615"/>
                  <a:pt x="216" y="616"/>
                  <a:pt x="216" y="616"/>
                </a:cubicBezTo>
                <a:cubicBezTo>
                  <a:pt x="216" y="617"/>
                  <a:pt x="215" y="616"/>
                  <a:pt x="214" y="616"/>
                </a:cubicBezTo>
                <a:cubicBezTo>
                  <a:pt x="214" y="616"/>
                  <a:pt x="214" y="617"/>
                  <a:pt x="214" y="617"/>
                </a:cubicBezTo>
                <a:cubicBezTo>
                  <a:pt x="215" y="617"/>
                  <a:pt x="216" y="616"/>
                  <a:pt x="216" y="616"/>
                </a:cubicBezTo>
                <a:cubicBezTo>
                  <a:pt x="217" y="617"/>
                  <a:pt x="218" y="620"/>
                  <a:pt x="220" y="618"/>
                </a:cubicBezTo>
                <a:cubicBezTo>
                  <a:pt x="220" y="618"/>
                  <a:pt x="219" y="617"/>
                  <a:pt x="219" y="617"/>
                </a:cubicBezTo>
                <a:cubicBezTo>
                  <a:pt x="219" y="617"/>
                  <a:pt x="219" y="617"/>
                  <a:pt x="219" y="617"/>
                </a:cubicBezTo>
                <a:cubicBezTo>
                  <a:pt x="219" y="617"/>
                  <a:pt x="219" y="617"/>
                  <a:pt x="218" y="617"/>
                </a:cubicBezTo>
                <a:cubicBezTo>
                  <a:pt x="218" y="616"/>
                  <a:pt x="219" y="615"/>
                  <a:pt x="220" y="616"/>
                </a:cubicBezTo>
                <a:cubicBezTo>
                  <a:pt x="220" y="616"/>
                  <a:pt x="220" y="616"/>
                  <a:pt x="220" y="616"/>
                </a:cubicBezTo>
                <a:cubicBezTo>
                  <a:pt x="221" y="615"/>
                  <a:pt x="224" y="617"/>
                  <a:pt x="225" y="617"/>
                </a:cubicBezTo>
                <a:cubicBezTo>
                  <a:pt x="223" y="618"/>
                  <a:pt x="225" y="619"/>
                  <a:pt x="226" y="620"/>
                </a:cubicBezTo>
                <a:cubicBezTo>
                  <a:pt x="227" y="619"/>
                  <a:pt x="229" y="618"/>
                  <a:pt x="231" y="618"/>
                </a:cubicBezTo>
                <a:cubicBezTo>
                  <a:pt x="230" y="619"/>
                  <a:pt x="228" y="620"/>
                  <a:pt x="226" y="620"/>
                </a:cubicBezTo>
                <a:cubicBezTo>
                  <a:pt x="227" y="621"/>
                  <a:pt x="227" y="621"/>
                  <a:pt x="226" y="622"/>
                </a:cubicBezTo>
                <a:cubicBezTo>
                  <a:pt x="225" y="624"/>
                  <a:pt x="222" y="622"/>
                  <a:pt x="221" y="624"/>
                </a:cubicBezTo>
                <a:cubicBezTo>
                  <a:pt x="220" y="624"/>
                  <a:pt x="222" y="624"/>
                  <a:pt x="222" y="624"/>
                </a:cubicBezTo>
                <a:cubicBezTo>
                  <a:pt x="221" y="626"/>
                  <a:pt x="219" y="627"/>
                  <a:pt x="222" y="628"/>
                </a:cubicBezTo>
                <a:cubicBezTo>
                  <a:pt x="222" y="628"/>
                  <a:pt x="227" y="629"/>
                  <a:pt x="228" y="629"/>
                </a:cubicBezTo>
                <a:cubicBezTo>
                  <a:pt x="231" y="629"/>
                  <a:pt x="233" y="629"/>
                  <a:pt x="235" y="631"/>
                </a:cubicBezTo>
                <a:cubicBezTo>
                  <a:pt x="232" y="631"/>
                  <a:pt x="231" y="632"/>
                  <a:pt x="228" y="633"/>
                </a:cubicBezTo>
                <a:cubicBezTo>
                  <a:pt x="228" y="633"/>
                  <a:pt x="229" y="633"/>
                  <a:pt x="229" y="633"/>
                </a:cubicBezTo>
                <a:cubicBezTo>
                  <a:pt x="229" y="633"/>
                  <a:pt x="228" y="633"/>
                  <a:pt x="228" y="633"/>
                </a:cubicBezTo>
                <a:cubicBezTo>
                  <a:pt x="228" y="633"/>
                  <a:pt x="228" y="633"/>
                  <a:pt x="227" y="633"/>
                </a:cubicBezTo>
                <a:cubicBezTo>
                  <a:pt x="224" y="633"/>
                  <a:pt x="221" y="630"/>
                  <a:pt x="218" y="630"/>
                </a:cubicBezTo>
                <a:cubicBezTo>
                  <a:pt x="218" y="630"/>
                  <a:pt x="215" y="633"/>
                  <a:pt x="214" y="633"/>
                </a:cubicBezTo>
                <a:cubicBezTo>
                  <a:pt x="213" y="633"/>
                  <a:pt x="212" y="632"/>
                  <a:pt x="212" y="633"/>
                </a:cubicBezTo>
                <a:cubicBezTo>
                  <a:pt x="212" y="633"/>
                  <a:pt x="213" y="633"/>
                  <a:pt x="213" y="634"/>
                </a:cubicBezTo>
                <a:cubicBezTo>
                  <a:pt x="213" y="634"/>
                  <a:pt x="213" y="634"/>
                  <a:pt x="214" y="634"/>
                </a:cubicBezTo>
                <a:cubicBezTo>
                  <a:pt x="214" y="633"/>
                  <a:pt x="215" y="633"/>
                  <a:pt x="216" y="633"/>
                </a:cubicBezTo>
                <a:cubicBezTo>
                  <a:pt x="216" y="633"/>
                  <a:pt x="217" y="633"/>
                  <a:pt x="217" y="633"/>
                </a:cubicBezTo>
                <a:cubicBezTo>
                  <a:pt x="217" y="633"/>
                  <a:pt x="217" y="633"/>
                  <a:pt x="217" y="633"/>
                </a:cubicBezTo>
                <a:cubicBezTo>
                  <a:pt x="218" y="633"/>
                  <a:pt x="219" y="633"/>
                  <a:pt x="219" y="634"/>
                </a:cubicBezTo>
                <a:cubicBezTo>
                  <a:pt x="219" y="634"/>
                  <a:pt x="219" y="635"/>
                  <a:pt x="218" y="635"/>
                </a:cubicBezTo>
                <a:cubicBezTo>
                  <a:pt x="218" y="636"/>
                  <a:pt x="217" y="637"/>
                  <a:pt x="216" y="637"/>
                </a:cubicBezTo>
                <a:cubicBezTo>
                  <a:pt x="215" y="637"/>
                  <a:pt x="213" y="636"/>
                  <a:pt x="213" y="635"/>
                </a:cubicBezTo>
                <a:cubicBezTo>
                  <a:pt x="213" y="635"/>
                  <a:pt x="213" y="635"/>
                  <a:pt x="213" y="635"/>
                </a:cubicBezTo>
                <a:cubicBezTo>
                  <a:pt x="213" y="636"/>
                  <a:pt x="211" y="636"/>
                  <a:pt x="210" y="636"/>
                </a:cubicBezTo>
                <a:cubicBezTo>
                  <a:pt x="210" y="636"/>
                  <a:pt x="210" y="637"/>
                  <a:pt x="211" y="637"/>
                </a:cubicBezTo>
                <a:cubicBezTo>
                  <a:pt x="211" y="637"/>
                  <a:pt x="211" y="637"/>
                  <a:pt x="211" y="637"/>
                </a:cubicBezTo>
                <a:cubicBezTo>
                  <a:pt x="212" y="637"/>
                  <a:pt x="211" y="637"/>
                  <a:pt x="211" y="637"/>
                </a:cubicBezTo>
                <a:cubicBezTo>
                  <a:pt x="212" y="639"/>
                  <a:pt x="215" y="640"/>
                  <a:pt x="216" y="641"/>
                </a:cubicBezTo>
                <a:cubicBezTo>
                  <a:pt x="214" y="641"/>
                  <a:pt x="214" y="642"/>
                  <a:pt x="214" y="642"/>
                </a:cubicBezTo>
                <a:cubicBezTo>
                  <a:pt x="216" y="641"/>
                  <a:pt x="219" y="642"/>
                  <a:pt x="216" y="643"/>
                </a:cubicBezTo>
                <a:cubicBezTo>
                  <a:pt x="216" y="643"/>
                  <a:pt x="216" y="644"/>
                  <a:pt x="216" y="644"/>
                </a:cubicBezTo>
                <a:cubicBezTo>
                  <a:pt x="216" y="644"/>
                  <a:pt x="217" y="644"/>
                  <a:pt x="217" y="645"/>
                </a:cubicBezTo>
                <a:cubicBezTo>
                  <a:pt x="219" y="644"/>
                  <a:pt x="222" y="643"/>
                  <a:pt x="224" y="643"/>
                </a:cubicBezTo>
                <a:cubicBezTo>
                  <a:pt x="228" y="642"/>
                  <a:pt x="223" y="645"/>
                  <a:pt x="221" y="645"/>
                </a:cubicBezTo>
                <a:cubicBezTo>
                  <a:pt x="220" y="645"/>
                  <a:pt x="218" y="646"/>
                  <a:pt x="216" y="646"/>
                </a:cubicBezTo>
                <a:cubicBezTo>
                  <a:pt x="216" y="647"/>
                  <a:pt x="216" y="647"/>
                  <a:pt x="215" y="647"/>
                </a:cubicBezTo>
                <a:cubicBezTo>
                  <a:pt x="215" y="647"/>
                  <a:pt x="214" y="647"/>
                  <a:pt x="214" y="647"/>
                </a:cubicBezTo>
                <a:cubicBezTo>
                  <a:pt x="212" y="648"/>
                  <a:pt x="211" y="648"/>
                  <a:pt x="210" y="649"/>
                </a:cubicBezTo>
                <a:cubicBezTo>
                  <a:pt x="209" y="650"/>
                  <a:pt x="208" y="651"/>
                  <a:pt x="208" y="652"/>
                </a:cubicBezTo>
                <a:cubicBezTo>
                  <a:pt x="209" y="652"/>
                  <a:pt x="209" y="652"/>
                  <a:pt x="210" y="653"/>
                </a:cubicBezTo>
                <a:cubicBezTo>
                  <a:pt x="210" y="653"/>
                  <a:pt x="210" y="653"/>
                  <a:pt x="210" y="653"/>
                </a:cubicBezTo>
                <a:cubicBezTo>
                  <a:pt x="210" y="653"/>
                  <a:pt x="210" y="653"/>
                  <a:pt x="211" y="653"/>
                </a:cubicBezTo>
                <a:cubicBezTo>
                  <a:pt x="211" y="653"/>
                  <a:pt x="213" y="654"/>
                  <a:pt x="213" y="654"/>
                </a:cubicBezTo>
                <a:cubicBezTo>
                  <a:pt x="213" y="654"/>
                  <a:pt x="213" y="655"/>
                  <a:pt x="213" y="655"/>
                </a:cubicBezTo>
                <a:cubicBezTo>
                  <a:pt x="213" y="656"/>
                  <a:pt x="212" y="657"/>
                  <a:pt x="210" y="657"/>
                </a:cubicBezTo>
                <a:cubicBezTo>
                  <a:pt x="210" y="658"/>
                  <a:pt x="210" y="658"/>
                  <a:pt x="209" y="659"/>
                </a:cubicBezTo>
                <a:cubicBezTo>
                  <a:pt x="209" y="659"/>
                  <a:pt x="209" y="659"/>
                  <a:pt x="209" y="659"/>
                </a:cubicBezTo>
                <a:cubicBezTo>
                  <a:pt x="210" y="660"/>
                  <a:pt x="212" y="660"/>
                  <a:pt x="213" y="660"/>
                </a:cubicBezTo>
                <a:cubicBezTo>
                  <a:pt x="214" y="660"/>
                  <a:pt x="216" y="660"/>
                  <a:pt x="216" y="661"/>
                </a:cubicBezTo>
                <a:cubicBezTo>
                  <a:pt x="217" y="662"/>
                  <a:pt x="218" y="663"/>
                  <a:pt x="218" y="663"/>
                </a:cubicBezTo>
                <a:cubicBezTo>
                  <a:pt x="218" y="663"/>
                  <a:pt x="219" y="663"/>
                  <a:pt x="220" y="664"/>
                </a:cubicBezTo>
                <a:cubicBezTo>
                  <a:pt x="221" y="665"/>
                  <a:pt x="221" y="667"/>
                  <a:pt x="219" y="667"/>
                </a:cubicBezTo>
                <a:cubicBezTo>
                  <a:pt x="219" y="667"/>
                  <a:pt x="219" y="667"/>
                  <a:pt x="219" y="667"/>
                </a:cubicBezTo>
                <a:cubicBezTo>
                  <a:pt x="219" y="668"/>
                  <a:pt x="219" y="668"/>
                  <a:pt x="219" y="669"/>
                </a:cubicBezTo>
                <a:cubicBezTo>
                  <a:pt x="220" y="669"/>
                  <a:pt x="221" y="668"/>
                  <a:pt x="222" y="669"/>
                </a:cubicBezTo>
                <a:cubicBezTo>
                  <a:pt x="222" y="668"/>
                  <a:pt x="223" y="667"/>
                  <a:pt x="223" y="667"/>
                </a:cubicBezTo>
                <a:cubicBezTo>
                  <a:pt x="223" y="667"/>
                  <a:pt x="225" y="666"/>
                  <a:pt x="226" y="666"/>
                </a:cubicBezTo>
                <a:cubicBezTo>
                  <a:pt x="227" y="664"/>
                  <a:pt x="228" y="664"/>
                  <a:pt x="229" y="664"/>
                </a:cubicBezTo>
                <a:cubicBezTo>
                  <a:pt x="230" y="664"/>
                  <a:pt x="229" y="663"/>
                  <a:pt x="230" y="663"/>
                </a:cubicBezTo>
                <a:cubicBezTo>
                  <a:pt x="231" y="662"/>
                  <a:pt x="232" y="664"/>
                  <a:pt x="232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4" y="663"/>
                </a:cubicBezTo>
                <a:cubicBezTo>
                  <a:pt x="235" y="664"/>
                  <a:pt x="235" y="662"/>
                  <a:pt x="236" y="663"/>
                </a:cubicBezTo>
                <a:cubicBezTo>
                  <a:pt x="236" y="663"/>
                  <a:pt x="235" y="664"/>
                  <a:pt x="235" y="664"/>
                </a:cubicBezTo>
                <a:cubicBezTo>
                  <a:pt x="236" y="665"/>
                  <a:pt x="241" y="668"/>
                  <a:pt x="241" y="670"/>
                </a:cubicBezTo>
                <a:cubicBezTo>
                  <a:pt x="241" y="672"/>
                  <a:pt x="236" y="672"/>
                  <a:pt x="235" y="674"/>
                </a:cubicBezTo>
                <a:cubicBezTo>
                  <a:pt x="235" y="675"/>
                  <a:pt x="236" y="676"/>
                  <a:pt x="235" y="677"/>
                </a:cubicBezTo>
                <a:cubicBezTo>
                  <a:pt x="233" y="677"/>
                  <a:pt x="234" y="675"/>
                  <a:pt x="233" y="675"/>
                </a:cubicBezTo>
                <a:cubicBezTo>
                  <a:pt x="232" y="674"/>
                  <a:pt x="227" y="674"/>
                  <a:pt x="225" y="673"/>
                </a:cubicBezTo>
                <a:cubicBezTo>
                  <a:pt x="225" y="673"/>
                  <a:pt x="224" y="672"/>
                  <a:pt x="223" y="672"/>
                </a:cubicBezTo>
                <a:cubicBezTo>
                  <a:pt x="221" y="673"/>
                  <a:pt x="217" y="673"/>
                  <a:pt x="217" y="674"/>
                </a:cubicBezTo>
                <a:cubicBezTo>
                  <a:pt x="216" y="674"/>
                  <a:pt x="218" y="674"/>
                  <a:pt x="218" y="675"/>
                </a:cubicBezTo>
                <a:cubicBezTo>
                  <a:pt x="217" y="675"/>
                  <a:pt x="216" y="674"/>
                  <a:pt x="215" y="674"/>
                </a:cubicBezTo>
                <a:cubicBezTo>
                  <a:pt x="213" y="674"/>
                  <a:pt x="210" y="675"/>
                  <a:pt x="207" y="675"/>
                </a:cubicBezTo>
                <a:cubicBezTo>
                  <a:pt x="208" y="676"/>
                  <a:pt x="208" y="677"/>
                  <a:pt x="208" y="677"/>
                </a:cubicBezTo>
                <a:cubicBezTo>
                  <a:pt x="209" y="677"/>
                  <a:pt x="209" y="676"/>
                  <a:pt x="209" y="676"/>
                </a:cubicBezTo>
                <a:cubicBezTo>
                  <a:pt x="210" y="676"/>
                  <a:pt x="212" y="677"/>
                  <a:pt x="214" y="679"/>
                </a:cubicBezTo>
                <a:cubicBezTo>
                  <a:pt x="215" y="679"/>
                  <a:pt x="216" y="679"/>
                  <a:pt x="216" y="679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7" y="681"/>
                  <a:pt x="216" y="682"/>
                  <a:pt x="216" y="682"/>
                </a:cubicBezTo>
                <a:cubicBezTo>
                  <a:pt x="218" y="684"/>
                  <a:pt x="222" y="683"/>
                  <a:pt x="224" y="683"/>
                </a:cubicBezTo>
                <a:cubicBezTo>
                  <a:pt x="224" y="683"/>
                  <a:pt x="224" y="684"/>
                  <a:pt x="225" y="684"/>
                </a:cubicBezTo>
                <a:cubicBezTo>
                  <a:pt x="225" y="684"/>
                  <a:pt x="225" y="684"/>
                  <a:pt x="225" y="684"/>
                </a:cubicBezTo>
                <a:cubicBezTo>
                  <a:pt x="225" y="683"/>
                  <a:pt x="230" y="681"/>
                  <a:pt x="231" y="682"/>
                </a:cubicBezTo>
                <a:cubicBezTo>
                  <a:pt x="232" y="684"/>
                  <a:pt x="231" y="686"/>
                  <a:pt x="229" y="686"/>
                </a:cubicBezTo>
                <a:cubicBezTo>
                  <a:pt x="229" y="686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30" y="688"/>
                  <a:pt x="231" y="688"/>
                  <a:pt x="232" y="687"/>
                </a:cubicBezTo>
                <a:cubicBezTo>
                  <a:pt x="232" y="687"/>
                  <a:pt x="232" y="687"/>
                  <a:pt x="232" y="687"/>
                </a:cubicBezTo>
                <a:cubicBezTo>
                  <a:pt x="232" y="687"/>
                  <a:pt x="233" y="686"/>
                  <a:pt x="233" y="686"/>
                </a:cubicBezTo>
                <a:cubicBezTo>
                  <a:pt x="234" y="685"/>
                  <a:pt x="237" y="685"/>
                  <a:pt x="239" y="683"/>
                </a:cubicBezTo>
                <a:cubicBezTo>
                  <a:pt x="240" y="682"/>
                  <a:pt x="243" y="680"/>
                  <a:pt x="244" y="680"/>
                </a:cubicBezTo>
                <a:cubicBezTo>
                  <a:pt x="245" y="681"/>
                  <a:pt x="245" y="682"/>
                  <a:pt x="246" y="683"/>
                </a:cubicBezTo>
                <a:cubicBezTo>
                  <a:pt x="246" y="683"/>
                  <a:pt x="246" y="682"/>
                  <a:pt x="247" y="682"/>
                </a:cubicBezTo>
                <a:cubicBezTo>
                  <a:pt x="248" y="682"/>
                  <a:pt x="249" y="683"/>
                  <a:pt x="249" y="684"/>
                </a:cubicBezTo>
                <a:cubicBezTo>
                  <a:pt x="250" y="684"/>
                  <a:pt x="251" y="684"/>
                  <a:pt x="251" y="685"/>
                </a:cubicBezTo>
                <a:cubicBezTo>
                  <a:pt x="251" y="685"/>
                  <a:pt x="250" y="686"/>
                  <a:pt x="249" y="686"/>
                </a:cubicBezTo>
                <a:cubicBezTo>
                  <a:pt x="248" y="687"/>
                  <a:pt x="247" y="688"/>
                  <a:pt x="246" y="686"/>
                </a:cubicBezTo>
                <a:cubicBezTo>
                  <a:pt x="246" y="685"/>
                  <a:pt x="246" y="686"/>
                  <a:pt x="246" y="687"/>
                </a:cubicBezTo>
                <a:cubicBezTo>
                  <a:pt x="247" y="688"/>
                  <a:pt x="248" y="688"/>
                  <a:pt x="248" y="689"/>
                </a:cubicBezTo>
                <a:cubicBezTo>
                  <a:pt x="248" y="690"/>
                  <a:pt x="247" y="690"/>
                  <a:pt x="245" y="691"/>
                </a:cubicBezTo>
                <a:cubicBezTo>
                  <a:pt x="247" y="692"/>
                  <a:pt x="248" y="693"/>
                  <a:pt x="248" y="694"/>
                </a:cubicBezTo>
                <a:cubicBezTo>
                  <a:pt x="248" y="694"/>
                  <a:pt x="247" y="696"/>
                  <a:pt x="246" y="697"/>
                </a:cubicBezTo>
                <a:cubicBezTo>
                  <a:pt x="252" y="699"/>
                  <a:pt x="257" y="700"/>
                  <a:pt x="263" y="702"/>
                </a:cubicBezTo>
                <a:cubicBezTo>
                  <a:pt x="263" y="702"/>
                  <a:pt x="263" y="702"/>
                  <a:pt x="264" y="701"/>
                </a:cubicBezTo>
                <a:cubicBezTo>
                  <a:pt x="264" y="701"/>
                  <a:pt x="265" y="702"/>
                  <a:pt x="266" y="702"/>
                </a:cubicBezTo>
                <a:cubicBezTo>
                  <a:pt x="267" y="702"/>
                  <a:pt x="267" y="701"/>
                  <a:pt x="268" y="701"/>
                </a:cubicBezTo>
                <a:cubicBezTo>
                  <a:pt x="269" y="701"/>
                  <a:pt x="271" y="702"/>
                  <a:pt x="273" y="702"/>
                </a:cubicBezTo>
                <a:cubicBezTo>
                  <a:pt x="274" y="703"/>
                  <a:pt x="274" y="702"/>
                  <a:pt x="274" y="703"/>
                </a:cubicBezTo>
                <a:cubicBezTo>
                  <a:pt x="275" y="703"/>
                  <a:pt x="274" y="704"/>
                  <a:pt x="274" y="705"/>
                </a:cubicBezTo>
                <a:cubicBezTo>
                  <a:pt x="281" y="707"/>
                  <a:pt x="289" y="708"/>
                  <a:pt x="296" y="709"/>
                </a:cubicBezTo>
                <a:cubicBezTo>
                  <a:pt x="297" y="708"/>
                  <a:pt x="297" y="708"/>
                  <a:pt x="298" y="707"/>
                </a:cubicBezTo>
                <a:cubicBezTo>
                  <a:pt x="298" y="707"/>
                  <a:pt x="304" y="707"/>
                  <a:pt x="305" y="707"/>
                </a:cubicBezTo>
                <a:cubicBezTo>
                  <a:pt x="306" y="707"/>
                  <a:pt x="307" y="708"/>
                  <a:pt x="308" y="708"/>
                </a:cubicBezTo>
                <a:cubicBezTo>
                  <a:pt x="307" y="708"/>
                  <a:pt x="307" y="708"/>
                  <a:pt x="307" y="707"/>
                </a:cubicBezTo>
                <a:cubicBezTo>
                  <a:pt x="306" y="706"/>
                  <a:pt x="306" y="704"/>
                  <a:pt x="307" y="703"/>
                </a:cubicBezTo>
                <a:cubicBezTo>
                  <a:pt x="311" y="699"/>
                  <a:pt x="321" y="702"/>
                  <a:pt x="325" y="704"/>
                </a:cubicBezTo>
                <a:cubicBezTo>
                  <a:pt x="325" y="703"/>
                  <a:pt x="325" y="703"/>
                  <a:pt x="325" y="702"/>
                </a:cubicBezTo>
                <a:cubicBezTo>
                  <a:pt x="326" y="699"/>
                  <a:pt x="334" y="701"/>
                  <a:pt x="334" y="704"/>
                </a:cubicBezTo>
                <a:cubicBezTo>
                  <a:pt x="334" y="704"/>
                  <a:pt x="336" y="705"/>
                  <a:pt x="336" y="705"/>
                </a:cubicBezTo>
                <a:cubicBezTo>
                  <a:pt x="336" y="706"/>
                  <a:pt x="334" y="706"/>
                  <a:pt x="334" y="705"/>
                </a:cubicBezTo>
                <a:cubicBezTo>
                  <a:pt x="333" y="706"/>
                  <a:pt x="330" y="707"/>
                  <a:pt x="328" y="706"/>
                </a:cubicBezTo>
                <a:cubicBezTo>
                  <a:pt x="327" y="706"/>
                  <a:pt x="325" y="706"/>
                  <a:pt x="324" y="708"/>
                </a:cubicBezTo>
                <a:cubicBezTo>
                  <a:pt x="324" y="708"/>
                  <a:pt x="324" y="710"/>
                  <a:pt x="324" y="710"/>
                </a:cubicBezTo>
                <a:cubicBezTo>
                  <a:pt x="323" y="711"/>
                  <a:pt x="321" y="711"/>
                  <a:pt x="321" y="711"/>
                </a:cubicBezTo>
                <a:cubicBezTo>
                  <a:pt x="321" y="712"/>
                  <a:pt x="322" y="713"/>
                  <a:pt x="323" y="713"/>
                </a:cubicBezTo>
                <a:cubicBezTo>
                  <a:pt x="328" y="713"/>
                  <a:pt x="334" y="714"/>
                  <a:pt x="339" y="714"/>
                </a:cubicBezTo>
                <a:cubicBezTo>
                  <a:pt x="338" y="712"/>
                  <a:pt x="340" y="712"/>
                  <a:pt x="342" y="712"/>
                </a:cubicBezTo>
                <a:cubicBezTo>
                  <a:pt x="342" y="712"/>
                  <a:pt x="343" y="712"/>
                  <a:pt x="344" y="712"/>
                </a:cubicBezTo>
                <a:cubicBezTo>
                  <a:pt x="344" y="712"/>
                  <a:pt x="344" y="713"/>
                  <a:pt x="344" y="713"/>
                </a:cubicBezTo>
                <a:cubicBezTo>
                  <a:pt x="344" y="713"/>
                  <a:pt x="345" y="713"/>
                  <a:pt x="345" y="714"/>
                </a:cubicBezTo>
                <a:cubicBezTo>
                  <a:pt x="345" y="714"/>
                  <a:pt x="346" y="714"/>
                  <a:pt x="346" y="714"/>
                </a:cubicBezTo>
                <a:cubicBezTo>
                  <a:pt x="346" y="713"/>
                  <a:pt x="347" y="712"/>
                  <a:pt x="347" y="712"/>
                </a:cubicBezTo>
                <a:cubicBezTo>
                  <a:pt x="348" y="712"/>
                  <a:pt x="349" y="712"/>
                  <a:pt x="349" y="712"/>
                </a:cubicBezTo>
                <a:cubicBezTo>
                  <a:pt x="350" y="712"/>
                  <a:pt x="351" y="711"/>
                  <a:pt x="352" y="711"/>
                </a:cubicBezTo>
                <a:cubicBezTo>
                  <a:pt x="352" y="710"/>
                  <a:pt x="352" y="710"/>
                  <a:pt x="354" y="709"/>
                </a:cubicBezTo>
                <a:cubicBezTo>
                  <a:pt x="355" y="709"/>
                  <a:pt x="355" y="708"/>
                  <a:pt x="357" y="708"/>
                </a:cubicBezTo>
                <a:cubicBezTo>
                  <a:pt x="360" y="707"/>
                  <a:pt x="365" y="706"/>
                  <a:pt x="369" y="705"/>
                </a:cubicBezTo>
                <a:cubicBezTo>
                  <a:pt x="370" y="705"/>
                  <a:pt x="370" y="705"/>
                  <a:pt x="370" y="705"/>
                </a:cubicBezTo>
                <a:cubicBezTo>
                  <a:pt x="370" y="705"/>
                  <a:pt x="369" y="705"/>
                  <a:pt x="369" y="705"/>
                </a:cubicBezTo>
                <a:cubicBezTo>
                  <a:pt x="368" y="705"/>
                  <a:pt x="367" y="704"/>
                  <a:pt x="366" y="702"/>
                </a:cubicBezTo>
                <a:cubicBezTo>
                  <a:pt x="365" y="702"/>
                  <a:pt x="365" y="702"/>
                  <a:pt x="365" y="701"/>
                </a:cubicBezTo>
                <a:cubicBezTo>
                  <a:pt x="365" y="700"/>
                  <a:pt x="364" y="699"/>
                  <a:pt x="365" y="698"/>
                </a:cubicBezTo>
                <a:cubicBezTo>
                  <a:pt x="366" y="692"/>
                  <a:pt x="379" y="693"/>
                  <a:pt x="384" y="696"/>
                </a:cubicBezTo>
                <a:cubicBezTo>
                  <a:pt x="386" y="697"/>
                  <a:pt x="387" y="699"/>
                  <a:pt x="388" y="701"/>
                </a:cubicBezTo>
                <a:cubicBezTo>
                  <a:pt x="390" y="700"/>
                  <a:pt x="392" y="699"/>
                  <a:pt x="392" y="700"/>
                </a:cubicBezTo>
                <a:cubicBezTo>
                  <a:pt x="393" y="701"/>
                  <a:pt x="391" y="702"/>
                  <a:pt x="389" y="702"/>
                </a:cubicBezTo>
                <a:cubicBezTo>
                  <a:pt x="389" y="702"/>
                  <a:pt x="389" y="702"/>
                  <a:pt x="389" y="702"/>
                </a:cubicBezTo>
                <a:cubicBezTo>
                  <a:pt x="390" y="703"/>
                  <a:pt x="391" y="704"/>
                  <a:pt x="391" y="704"/>
                </a:cubicBezTo>
                <a:cubicBezTo>
                  <a:pt x="391" y="706"/>
                  <a:pt x="387" y="707"/>
                  <a:pt x="383" y="708"/>
                </a:cubicBezTo>
                <a:cubicBezTo>
                  <a:pt x="388" y="708"/>
                  <a:pt x="395" y="708"/>
                  <a:pt x="399" y="708"/>
                </a:cubicBezTo>
                <a:cubicBezTo>
                  <a:pt x="399" y="708"/>
                  <a:pt x="406" y="707"/>
                  <a:pt x="406" y="708"/>
                </a:cubicBezTo>
                <a:cubicBezTo>
                  <a:pt x="407" y="710"/>
                  <a:pt x="401" y="709"/>
                  <a:pt x="400" y="709"/>
                </a:cubicBezTo>
                <a:cubicBezTo>
                  <a:pt x="394" y="709"/>
                  <a:pt x="384" y="709"/>
                  <a:pt x="378" y="709"/>
                </a:cubicBezTo>
                <a:cubicBezTo>
                  <a:pt x="378" y="709"/>
                  <a:pt x="377" y="709"/>
                  <a:pt x="377" y="709"/>
                </a:cubicBezTo>
                <a:cubicBezTo>
                  <a:pt x="377" y="709"/>
                  <a:pt x="377" y="709"/>
                  <a:pt x="377" y="708"/>
                </a:cubicBezTo>
                <a:cubicBezTo>
                  <a:pt x="378" y="708"/>
                  <a:pt x="378" y="708"/>
                  <a:pt x="379" y="708"/>
                </a:cubicBezTo>
                <a:cubicBezTo>
                  <a:pt x="377" y="708"/>
                  <a:pt x="376" y="708"/>
                  <a:pt x="375" y="708"/>
                </a:cubicBezTo>
                <a:cubicBezTo>
                  <a:pt x="374" y="708"/>
                  <a:pt x="374" y="709"/>
                  <a:pt x="373" y="709"/>
                </a:cubicBezTo>
                <a:cubicBezTo>
                  <a:pt x="373" y="709"/>
                  <a:pt x="372" y="709"/>
                  <a:pt x="372" y="709"/>
                </a:cubicBezTo>
                <a:cubicBezTo>
                  <a:pt x="372" y="709"/>
                  <a:pt x="371" y="710"/>
                  <a:pt x="370" y="710"/>
                </a:cubicBezTo>
                <a:cubicBezTo>
                  <a:pt x="369" y="710"/>
                  <a:pt x="367" y="710"/>
                  <a:pt x="366" y="711"/>
                </a:cubicBezTo>
                <a:cubicBezTo>
                  <a:pt x="364" y="711"/>
                  <a:pt x="363" y="712"/>
                  <a:pt x="361" y="713"/>
                </a:cubicBezTo>
                <a:cubicBezTo>
                  <a:pt x="360" y="713"/>
                  <a:pt x="360" y="713"/>
                  <a:pt x="360" y="713"/>
                </a:cubicBezTo>
                <a:cubicBezTo>
                  <a:pt x="359" y="713"/>
                  <a:pt x="358" y="714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554" y="715"/>
                  <a:pt x="714" y="555"/>
                  <a:pt x="714" y="357"/>
                </a:cubicBezTo>
                <a:cubicBezTo>
                  <a:pt x="714" y="339"/>
                  <a:pt x="713" y="322"/>
                  <a:pt x="710" y="304"/>
                </a:cubicBezTo>
                <a:close/>
                <a:moveTo>
                  <a:pt x="703" y="277"/>
                </a:moveTo>
                <a:cubicBezTo>
                  <a:pt x="704" y="277"/>
                  <a:pt x="703" y="279"/>
                  <a:pt x="702" y="279"/>
                </a:cubicBezTo>
                <a:cubicBezTo>
                  <a:pt x="702" y="278"/>
                  <a:pt x="703" y="278"/>
                  <a:pt x="703" y="277"/>
                </a:cubicBezTo>
                <a:close/>
                <a:moveTo>
                  <a:pt x="702" y="292"/>
                </a:moveTo>
                <a:cubicBezTo>
                  <a:pt x="702" y="292"/>
                  <a:pt x="702" y="292"/>
                  <a:pt x="702" y="292"/>
                </a:cubicBezTo>
                <a:cubicBezTo>
                  <a:pt x="702" y="292"/>
                  <a:pt x="701" y="293"/>
                  <a:pt x="701" y="293"/>
                </a:cubicBezTo>
                <a:cubicBezTo>
                  <a:pt x="701" y="293"/>
                  <a:pt x="701" y="292"/>
                  <a:pt x="702" y="292"/>
                </a:cubicBezTo>
                <a:close/>
                <a:moveTo>
                  <a:pt x="699" y="271"/>
                </a:moveTo>
                <a:cubicBezTo>
                  <a:pt x="697" y="274"/>
                  <a:pt x="700" y="270"/>
                  <a:pt x="699" y="271"/>
                </a:cubicBezTo>
                <a:close/>
                <a:moveTo>
                  <a:pt x="681" y="279"/>
                </a:moveTo>
                <a:cubicBezTo>
                  <a:pt x="681" y="277"/>
                  <a:pt x="683" y="278"/>
                  <a:pt x="681" y="279"/>
                </a:cubicBezTo>
                <a:close/>
                <a:moveTo>
                  <a:pt x="682" y="275"/>
                </a:moveTo>
                <a:cubicBezTo>
                  <a:pt x="683" y="276"/>
                  <a:pt x="681" y="277"/>
                  <a:pt x="682" y="275"/>
                </a:cubicBezTo>
                <a:close/>
                <a:moveTo>
                  <a:pt x="686" y="247"/>
                </a:moveTo>
                <a:cubicBezTo>
                  <a:pt x="687" y="248"/>
                  <a:pt x="687" y="250"/>
                  <a:pt x="687" y="252"/>
                </a:cubicBezTo>
                <a:cubicBezTo>
                  <a:pt x="686" y="251"/>
                  <a:pt x="686" y="249"/>
                  <a:pt x="686" y="247"/>
                </a:cubicBezTo>
                <a:close/>
                <a:moveTo>
                  <a:pt x="680" y="254"/>
                </a:moveTo>
                <a:cubicBezTo>
                  <a:pt x="680" y="255"/>
                  <a:pt x="681" y="252"/>
                  <a:pt x="680" y="254"/>
                </a:cubicBezTo>
                <a:close/>
                <a:moveTo>
                  <a:pt x="684" y="227"/>
                </a:moveTo>
                <a:cubicBezTo>
                  <a:pt x="687" y="230"/>
                  <a:pt x="682" y="233"/>
                  <a:pt x="680" y="234"/>
                </a:cubicBezTo>
                <a:cubicBezTo>
                  <a:pt x="678" y="231"/>
                  <a:pt x="681" y="225"/>
                  <a:pt x="684" y="227"/>
                </a:cubicBezTo>
                <a:close/>
                <a:moveTo>
                  <a:pt x="634" y="190"/>
                </a:moveTo>
                <a:cubicBezTo>
                  <a:pt x="634" y="190"/>
                  <a:pt x="634" y="191"/>
                  <a:pt x="634" y="191"/>
                </a:cubicBezTo>
                <a:cubicBezTo>
                  <a:pt x="635" y="194"/>
                  <a:pt x="630" y="192"/>
                  <a:pt x="634" y="190"/>
                </a:cubicBezTo>
                <a:close/>
                <a:moveTo>
                  <a:pt x="574" y="146"/>
                </a:moveTo>
                <a:cubicBezTo>
                  <a:pt x="575" y="147"/>
                  <a:pt x="573" y="147"/>
                  <a:pt x="573" y="146"/>
                </a:cubicBezTo>
                <a:cubicBezTo>
                  <a:pt x="572" y="146"/>
                  <a:pt x="574" y="145"/>
                  <a:pt x="574" y="146"/>
                </a:cubicBezTo>
                <a:close/>
                <a:moveTo>
                  <a:pt x="571" y="138"/>
                </a:moveTo>
                <a:cubicBezTo>
                  <a:pt x="571" y="138"/>
                  <a:pt x="571" y="138"/>
                  <a:pt x="571" y="138"/>
                </a:cubicBezTo>
                <a:cubicBezTo>
                  <a:pt x="572" y="140"/>
                  <a:pt x="569" y="137"/>
                  <a:pt x="571" y="138"/>
                </a:cubicBezTo>
                <a:close/>
                <a:moveTo>
                  <a:pt x="566" y="136"/>
                </a:moveTo>
                <a:cubicBezTo>
                  <a:pt x="566" y="137"/>
                  <a:pt x="564" y="137"/>
                  <a:pt x="564" y="137"/>
                </a:cubicBezTo>
                <a:cubicBezTo>
                  <a:pt x="564" y="136"/>
                  <a:pt x="566" y="135"/>
                  <a:pt x="566" y="136"/>
                </a:cubicBezTo>
                <a:close/>
                <a:moveTo>
                  <a:pt x="562" y="145"/>
                </a:moveTo>
                <a:cubicBezTo>
                  <a:pt x="563" y="146"/>
                  <a:pt x="562" y="146"/>
                  <a:pt x="562" y="146"/>
                </a:cubicBezTo>
                <a:cubicBezTo>
                  <a:pt x="561" y="145"/>
                  <a:pt x="562" y="145"/>
                  <a:pt x="562" y="145"/>
                </a:cubicBezTo>
                <a:close/>
                <a:moveTo>
                  <a:pt x="549" y="88"/>
                </a:moveTo>
                <a:cubicBezTo>
                  <a:pt x="549" y="88"/>
                  <a:pt x="549" y="88"/>
                  <a:pt x="549" y="88"/>
                </a:cubicBezTo>
                <a:cubicBezTo>
                  <a:pt x="549" y="88"/>
                  <a:pt x="549" y="88"/>
                  <a:pt x="549" y="88"/>
                </a:cubicBezTo>
                <a:close/>
                <a:moveTo>
                  <a:pt x="549" y="88"/>
                </a:moveTo>
                <a:cubicBezTo>
                  <a:pt x="549" y="88"/>
                  <a:pt x="548" y="88"/>
                  <a:pt x="549" y="88"/>
                </a:cubicBezTo>
                <a:close/>
                <a:moveTo>
                  <a:pt x="549" y="90"/>
                </a:moveTo>
                <a:cubicBezTo>
                  <a:pt x="549" y="91"/>
                  <a:pt x="548" y="91"/>
                  <a:pt x="548" y="91"/>
                </a:cubicBezTo>
                <a:cubicBezTo>
                  <a:pt x="548" y="91"/>
                  <a:pt x="549" y="90"/>
                  <a:pt x="549" y="90"/>
                </a:cubicBezTo>
                <a:close/>
                <a:moveTo>
                  <a:pt x="547" y="89"/>
                </a:moveTo>
                <a:cubicBezTo>
                  <a:pt x="546" y="89"/>
                  <a:pt x="546" y="90"/>
                  <a:pt x="545" y="90"/>
                </a:cubicBezTo>
                <a:cubicBezTo>
                  <a:pt x="546" y="90"/>
                  <a:pt x="544" y="88"/>
                  <a:pt x="544" y="88"/>
                </a:cubicBezTo>
                <a:cubicBezTo>
                  <a:pt x="545" y="87"/>
                  <a:pt x="547" y="87"/>
                  <a:pt x="547" y="89"/>
                </a:cubicBezTo>
                <a:close/>
                <a:moveTo>
                  <a:pt x="540" y="94"/>
                </a:moveTo>
                <a:cubicBezTo>
                  <a:pt x="541" y="94"/>
                  <a:pt x="539" y="94"/>
                  <a:pt x="539" y="94"/>
                </a:cubicBezTo>
                <a:cubicBezTo>
                  <a:pt x="539" y="93"/>
                  <a:pt x="540" y="93"/>
                  <a:pt x="540" y="94"/>
                </a:cubicBezTo>
                <a:close/>
                <a:moveTo>
                  <a:pt x="540" y="97"/>
                </a:moveTo>
                <a:cubicBezTo>
                  <a:pt x="540" y="96"/>
                  <a:pt x="538" y="98"/>
                  <a:pt x="539" y="97"/>
                </a:cubicBezTo>
                <a:cubicBezTo>
                  <a:pt x="539" y="96"/>
                  <a:pt x="542" y="93"/>
                  <a:pt x="544" y="93"/>
                </a:cubicBezTo>
                <a:cubicBezTo>
                  <a:pt x="546" y="93"/>
                  <a:pt x="549" y="94"/>
                  <a:pt x="548" y="96"/>
                </a:cubicBezTo>
                <a:cubicBezTo>
                  <a:pt x="548" y="98"/>
                  <a:pt x="544" y="100"/>
                  <a:pt x="542" y="100"/>
                </a:cubicBezTo>
                <a:cubicBezTo>
                  <a:pt x="541" y="100"/>
                  <a:pt x="540" y="99"/>
                  <a:pt x="540" y="99"/>
                </a:cubicBezTo>
                <a:cubicBezTo>
                  <a:pt x="539" y="99"/>
                  <a:pt x="538" y="101"/>
                  <a:pt x="538" y="99"/>
                </a:cubicBezTo>
                <a:cubicBezTo>
                  <a:pt x="538" y="99"/>
                  <a:pt x="540" y="97"/>
                  <a:pt x="540" y="97"/>
                </a:cubicBezTo>
                <a:close/>
                <a:moveTo>
                  <a:pt x="535" y="95"/>
                </a:moveTo>
                <a:cubicBezTo>
                  <a:pt x="536" y="96"/>
                  <a:pt x="533" y="95"/>
                  <a:pt x="535" y="95"/>
                </a:cubicBezTo>
                <a:close/>
                <a:moveTo>
                  <a:pt x="535" y="97"/>
                </a:moveTo>
                <a:cubicBezTo>
                  <a:pt x="535" y="97"/>
                  <a:pt x="535" y="96"/>
                  <a:pt x="535" y="96"/>
                </a:cubicBezTo>
                <a:cubicBezTo>
                  <a:pt x="535" y="97"/>
                  <a:pt x="536" y="97"/>
                  <a:pt x="535" y="97"/>
                </a:cubicBezTo>
                <a:close/>
                <a:moveTo>
                  <a:pt x="534" y="111"/>
                </a:moveTo>
                <a:cubicBezTo>
                  <a:pt x="534" y="110"/>
                  <a:pt x="535" y="109"/>
                  <a:pt x="536" y="110"/>
                </a:cubicBezTo>
                <a:cubicBezTo>
                  <a:pt x="537" y="111"/>
                  <a:pt x="535" y="111"/>
                  <a:pt x="534" y="111"/>
                </a:cubicBezTo>
                <a:close/>
                <a:moveTo>
                  <a:pt x="535" y="84"/>
                </a:moveTo>
                <a:cubicBezTo>
                  <a:pt x="538" y="83"/>
                  <a:pt x="536" y="88"/>
                  <a:pt x="534" y="87"/>
                </a:cubicBezTo>
                <a:cubicBezTo>
                  <a:pt x="532" y="86"/>
                  <a:pt x="534" y="85"/>
                  <a:pt x="535" y="84"/>
                </a:cubicBezTo>
                <a:close/>
                <a:moveTo>
                  <a:pt x="545" y="73"/>
                </a:moveTo>
                <a:cubicBezTo>
                  <a:pt x="544" y="74"/>
                  <a:pt x="544" y="72"/>
                  <a:pt x="545" y="73"/>
                </a:cubicBezTo>
                <a:close/>
                <a:moveTo>
                  <a:pt x="541" y="72"/>
                </a:moveTo>
                <a:cubicBezTo>
                  <a:pt x="540" y="73"/>
                  <a:pt x="539" y="73"/>
                  <a:pt x="537" y="73"/>
                </a:cubicBezTo>
                <a:cubicBezTo>
                  <a:pt x="539" y="73"/>
                  <a:pt x="539" y="71"/>
                  <a:pt x="541" y="72"/>
                </a:cubicBezTo>
                <a:close/>
                <a:moveTo>
                  <a:pt x="534" y="73"/>
                </a:moveTo>
                <a:cubicBezTo>
                  <a:pt x="534" y="74"/>
                  <a:pt x="532" y="75"/>
                  <a:pt x="532" y="74"/>
                </a:cubicBezTo>
                <a:cubicBezTo>
                  <a:pt x="531" y="74"/>
                  <a:pt x="534" y="73"/>
                  <a:pt x="534" y="73"/>
                </a:cubicBezTo>
                <a:close/>
                <a:moveTo>
                  <a:pt x="531" y="74"/>
                </a:moveTo>
                <a:cubicBezTo>
                  <a:pt x="532" y="75"/>
                  <a:pt x="530" y="74"/>
                  <a:pt x="530" y="74"/>
                </a:cubicBezTo>
                <a:cubicBezTo>
                  <a:pt x="529" y="73"/>
                  <a:pt x="531" y="73"/>
                  <a:pt x="531" y="74"/>
                </a:cubicBezTo>
                <a:close/>
                <a:moveTo>
                  <a:pt x="458" y="41"/>
                </a:moveTo>
                <a:cubicBezTo>
                  <a:pt x="458" y="42"/>
                  <a:pt x="458" y="42"/>
                  <a:pt x="458" y="42"/>
                </a:cubicBezTo>
                <a:cubicBezTo>
                  <a:pt x="458" y="41"/>
                  <a:pt x="457" y="40"/>
                  <a:pt x="458" y="41"/>
                </a:cubicBezTo>
                <a:close/>
                <a:moveTo>
                  <a:pt x="421" y="34"/>
                </a:moveTo>
                <a:cubicBezTo>
                  <a:pt x="420" y="34"/>
                  <a:pt x="420" y="33"/>
                  <a:pt x="421" y="34"/>
                </a:cubicBezTo>
                <a:close/>
                <a:moveTo>
                  <a:pt x="421" y="29"/>
                </a:moveTo>
                <a:cubicBezTo>
                  <a:pt x="422" y="30"/>
                  <a:pt x="420" y="30"/>
                  <a:pt x="420" y="30"/>
                </a:cubicBezTo>
                <a:cubicBezTo>
                  <a:pt x="419" y="29"/>
                  <a:pt x="421" y="29"/>
                  <a:pt x="421" y="29"/>
                </a:cubicBezTo>
                <a:close/>
                <a:moveTo>
                  <a:pt x="461" y="19"/>
                </a:moveTo>
                <a:cubicBezTo>
                  <a:pt x="461" y="20"/>
                  <a:pt x="458" y="20"/>
                  <a:pt x="458" y="19"/>
                </a:cubicBezTo>
                <a:cubicBezTo>
                  <a:pt x="457" y="18"/>
                  <a:pt x="461" y="17"/>
                  <a:pt x="461" y="19"/>
                </a:cubicBezTo>
                <a:close/>
                <a:moveTo>
                  <a:pt x="456" y="20"/>
                </a:moveTo>
                <a:cubicBezTo>
                  <a:pt x="457" y="21"/>
                  <a:pt x="454" y="22"/>
                  <a:pt x="454" y="20"/>
                </a:cubicBezTo>
                <a:cubicBezTo>
                  <a:pt x="454" y="20"/>
                  <a:pt x="456" y="20"/>
                  <a:pt x="456" y="20"/>
                </a:cubicBezTo>
                <a:close/>
                <a:moveTo>
                  <a:pt x="455" y="23"/>
                </a:moveTo>
                <a:cubicBezTo>
                  <a:pt x="456" y="24"/>
                  <a:pt x="453" y="23"/>
                  <a:pt x="453" y="23"/>
                </a:cubicBezTo>
                <a:cubicBezTo>
                  <a:pt x="453" y="22"/>
                  <a:pt x="455" y="22"/>
                  <a:pt x="455" y="23"/>
                </a:cubicBezTo>
                <a:close/>
                <a:moveTo>
                  <a:pt x="434" y="24"/>
                </a:moveTo>
                <a:cubicBezTo>
                  <a:pt x="434" y="25"/>
                  <a:pt x="430" y="24"/>
                  <a:pt x="430" y="23"/>
                </a:cubicBezTo>
                <a:cubicBezTo>
                  <a:pt x="430" y="22"/>
                  <a:pt x="433" y="22"/>
                  <a:pt x="434" y="24"/>
                </a:cubicBezTo>
                <a:close/>
                <a:moveTo>
                  <a:pt x="427" y="20"/>
                </a:moveTo>
                <a:cubicBezTo>
                  <a:pt x="427" y="21"/>
                  <a:pt x="425" y="20"/>
                  <a:pt x="425" y="20"/>
                </a:cubicBezTo>
                <a:cubicBezTo>
                  <a:pt x="425" y="20"/>
                  <a:pt x="427" y="19"/>
                  <a:pt x="427" y="20"/>
                </a:cubicBezTo>
                <a:close/>
                <a:moveTo>
                  <a:pt x="418" y="41"/>
                </a:moveTo>
                <a:cubicBezTo>
                  <a:pt x="418" y="41"/>
                  <a:pt x="418" y="40"/>
                  <a:pt x="418" y="40"/>
                </a:cubicBezTo>
                <a:cubicBezTo>
                  <a:pt x="416" y="39"/>
                  <a:pt x="420" y="40"/>
                  <a:pt x="418" y="41"/>
                </a:cubicBezTo>
                <a:close/>
                <a:moveTo>
                  <a:pt x="415" y="43"/>
                </a:moveTo>
                <a:cubicBezTo>
                  <a:pt x="416" y="44"/>
                  <a:pt x="414" y="44"/>
                  <a:pt x="414" y="44"/>
                </a:cubicBezTo>
                <a:cubicBezTo>
                  <a:pt x="414" y="44"/>
                  <a:pt x="414" y="43"/>
                  <a:pt x="415" y="43"/>
                </a:cubicBezTo>
                <a:close/>
                <a:moveTo>
                  <a:pt x="388" y="45"/>
                </a:moveTo>
                <a:cubicBezTo>
                  <a:pt x="388" y="43"/>
                  <a:pt x="393" y="43"/>
                  <a:pt x="393" y="45"/>
                </a:cubicBezTo>
                <a:cubicBezTo>
                  <a:pt x="393" y="48"/>
                  <a:pt x="388" y="46"/>
                  <a:pt x="388" y="45"/>
                </a:cubicBezTo>
                <a:close/>
                <a:moveTo>
                  <a:pt x="394" y="10"/>
                </a:moveTo>
                <a:cubicBezTo>
                  <a:pt x="394" y="11"/>
                  <a:pt x="393" y="11"/>
                  <a:pt x="392" y="11"/>
                </a:cubicBezTo>
                <a:cubicBezTo>
                  <a:pt x="393" y="10"/>
                  <a:pt x="394" y="10"/>
                  <a:pt x="394" y="10"/>
                </a:cubicBezTo>
                <a:close/>
                <a:moveTo>
                  <a:pt x="389" y="10"/>
                </a:moveTo>
                <a:cubicBezTo>
                  <a:pt x="391" y="9"/>
                  <a:pt x="391" y="12"/>
                  <a:pt x="389" y="10"/>
                </a:cubicBezTo>
                <a:close/>
                <a:moveTo>
                  <a:pt x="387" y="32"/>
                </a:moveTo>
                <a:cubicBezTo>
                  <a:pt x="393" y="30"/>
                  <a:pt x="399" y="30"/>
                  <a:pt x="404" y="30"/>
                </a:cubicBezTo>
                <a:cubicBezTo>
                  <a:pt x="399" y="31"/>
                  <a:pt x="391" y="32"/>
                  <a:pt x="384" y="33"/>
                </a:cubicBezTo>
                <a:cubicBezTo>
                  <a:pt x="379" y="35"/>
                  <a:pt x="386" y="32"/>
                  <a:pt x="387" y="32"/>
                </a:cubicBezTo>
                <a:close/>
                <a:moveTo>
                  <a:pt x="380" y="25"/>
                </a:moveTo>
                <a:cubicBezTo>
                  <a:pt x="381" y="24"/>
                  <a:pt x="382" y="26"/>
                  <a:pt x="380" y="25"/>
                </a:cubicBezTo>
                <a:close/>
                <a:moveTo>
                  <a:pt x="355" y="52"/>
                </a:moveTo>
                <a:cubicBezTo>
                  <a:pt x="355" y="51"/>
                  <a:pt x="357" y="50"/>
                  <a:pt x="357" y="51"/>
                </a:cubicBezTo>
                <a:cubicBezTo>
                  <a:pt x="358" y="53"/>
                  <a:pt x="356" y="52"/>
                  <a:pt x="355" y="52"/>
                </a:cubicBezTo>
                <a:close/>
                <a:moveTo>
                  <a:pt x="375" y="42"/>
                </a:move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lose/>
                <a:moveTo>
                  <a:pt x="371" y="6"/>
                </a:moveTo>
                <a:cubicBezTo>
                  <a:pt x="372" y="5"/>
                  <a:pt x="373" y="7"/>
                  <a:pt x="371" y="6"/>
                </a:cubicBezTo>
                <a:close/>
                <a:moveTo>
                  <a:pt x="367" y="52"/>
                </a:moveTo>
                <a:cubicBezTo>
                  <a:pt x="366" y="53"/>
                  <a:pt x="365" y="53"/>
                  <a:pt x="364" y="53"/>
                </a:cubicBezTo>
                <a:cubicBezTo>
                  <a:pt x="365" y="52"/>
                  <a:pt x="366" y="52"/>
                  <a:pt x="367" y="52"/>
                </a:cubicBezTo>
                <a:close/>
                <a:moveTo>
                  <a:pt x="360" y="41"/>
                </a:moveTo>
                <a:cubicBezTo>
                  <a:pt x="358" y="42"/>
                  <a:pt x="354" y="43"/>
                  <a:pt x="351" y="41"/>
                </a:cubicBezTo>
                <a:cubicBezTo>
                  <a:pt x="351" y="40"/>
                  <a:pt x="360" y="41"/>
                  <a:pt x="360" y="41"/>
                </a:cubicBezTo>
                <a:close/>
                <a:moveTo>
                  <a:pt x="2" y="391"/>
                </a:moveTo>
                <a:cubicBezTo>
                  <a:pt x="2" y="392"/>
                  <a:pt x="2" y="389"/>
                  <a:pt x="2" y="391"/>
                </a:cubicBezTo>
                <a:close/>
                <a:moveTo>
                  <a:pt x="2" y="338"/>
                </a:moveTo>
                <a:cubicBezTo>
                  <a:pt x="1" y="339"/>
                  <a:pt x="1" y="336"/>
                  <a:pt x="2" y="337"/>
                </a:cubicBezTo>
                <a:cubicBezTo>
                  <a:pt x="2" y="337"/>
                  <a:pt x="2" y="337"/>
                  <a:pt x="2" y="338"/>
                </a:cubicBezTo>
                <a:close/>
                <a:moveTo>
                  <a:pt x="6" y="411"/>
                </a:moveTo>
                <a:cubicBezTo>
                  <a:pt x="7" y="410"/>
                  <a:pt x="8" y="410"/>
                  <a:pt x="6" y="411"/>
                </a:cubicBezTo>
                <a:close/>
                <a:moveTo>
                  <a:pt x="7" y="377"/>
                </a:moveTo>
                <a:cubicBezTo>
                  <a:pt x="8" y="377"/>
                  <a:pt x="8" y="378"/>
                  <a:pt x="7" y="379"/>
                </a:cubicBezTo>
                <a:cubicBezTo>
                  <a:pt x="6" y="380"/>
                  <a:pt x="7" y="377"/>
                  <a:pt x="7" y="377"/>
                </a:cubicBezTo>
                <a:close/>
                <a:moveTo>
                  <a:pt x="7" y="415"/>
                </a:moveTo>
                <a:cubicBezTo>
                  <a:pt x="7" y="416"/>
                  <a:pt x="7" y="413"/>
                  <a:pt x="8" y="414"/>
                </a:cubicBezTo>
                <a:cubicBezTo>
                  <a:pt x="9" y="414"/>
                  <a:pt x="8" y="415"/>
                  <a:pt x="7" y="415"/>
                </a:cubicBezTo>
                <a:close/>
                <a:moveTo>
                  <a:pt x="7" y="368"/>
                </a:moveTo>
                <a:cubicBezTo>
                  <a:pt x="6" y="367"/>
                  <a:pt x="7" y="364"/>
                  <a:pt x="8" y="363"/>
                </a:cubicBezTo>
                <a:cubicBezTo>
                  <a:pt x="8" y="365"/>
                  <a:pt x="7" y="366"/>
                  <a:pt x="7" y="368"/>
                </a:cubicBezTo>
                <a:close/>
                <a:moveTo>
                  <a:pt x="13" y="438"/>
                </a:moveTo>
                <a:cubicBezTo>
                  <a:pt x="13" y="438"/>
                  <a:pt x="13" y="439"/>
                  <a:pt x="13" y="439"/>
                </a:cubicBezTo>
                <a:cubicBezTo>
                  <a:pt x="13" y="441"/>
                  <a:pt x="12" y="437"/>
                  <a:pt x="13" y="438"/>
                </a:cubicBezTo>
                <a:close/>
                <a:moveTo>
                  <a:pt x="12" y="423"/>
                </a:moveTo>
                <a:cubicBezTo>
                  <a:pt x="13" y="423"/>
                  <a:pt x="11" y="425"/>
                  <a:pt x="12" y="423"/>
                </a:cubicBezTo>
                <a:close/>
                <a:moveTo>
                  <a:pt x="15" y="295"/>
                </a:moveTo>
                <a:cubicBezTo>
                  <a:pt x="15" y="298"/>
                  <a:pt x="13" y="296"/>
                  <a:pt x="15" y="295"/>
                </a:cubicBezTo>
                <a:close/>
                <a:moveTo>
                  <a:pt x="13" y="368"/>
                </a:moveTo>
                <a:cubicBezTo>
                  <a:pt x="14" y="368"/>
                  <a:pt x="13" y="369"/>
                  <a:pt x="13" y="369"/>
                </a:cubicBezTo>
                <a:cubicBezTo>
                  <a:pt x="12" y="370"/>
                  <a:pt x="12" y="367"/>
                  <a:pt x="13" y="368"/>
                </a:cubicBezTo>
                <a:close/>
                <a:moveTo>
                  <a:pt x="12" y="352"/>
                </a:moveTo>
                <a:cubicBezTo>
                  <a:pt x="11" y="353"/>
                  <a:pt x="11" y="350"/>
                  <a:pt x="12" y="351"/>
                </a:cubicBezTo>
                <a:cubicBezTo>
                  <a:pt x="13" y="351"/>
                  <a:pt x="12" y="352"/>
                  <a:pt x="12" y="352"/>
                </a:cubicBezTo>
                <a:close/>
                <a:moveTo>
                  <a:pt x="10" y="333"/>
                </a:moveTo>
                <a:cubicBezTo>
                  <a:pt x="12" y="332"/>
                  <a:pt x="14" y="337"/>
                  <a:pt x="12" y="338"/>
                </a:cubicBezTo>
                <a:cubicBezTo>
                  <a:pt x="9" y="339"/>
                  <a:pt x="9" y="334"/>
                  <a:pt x="10" y="333"/>
                </a:cubicBezTo>
                <a:close/>
                <a:moveTo>
                  <a:pt x="10" y="355"/>
                </a:moveTo>
                <a:cubicBezTo>
                  <a:pt x="9" y="356"/>
                  <a:pt x="10" y="353"/>
                  <a:pt x="10" y="353"/>
                </a:cubicBezTo>
                <a:cubicBezTo>
                  <a:pt x="11" y="354"/>
                  <a:pt x="10" y="355"/>
                  <a:pt x="10" y="355"/>
                </a:cubicBezTo>
                <a:close/>
                <a:moveTo>
                  <a:pt x="9" y="371"/>
                </a:moveTo>
                <a:cubicBezTo>
                  <a:pt x="8" y="372"/>
                  <a:pt x="8" y="369"/>
                  <a:pt x="9" y="370"/>
                </a:cubicBezTo>
                <a:cubicBezTo>
                  <a:pt x="9" y="370"/>
                  <a:pt x="9" y="371"/>
                  <a:pt x="9" y="371"/>
                </a:cubicBezTo>
                <a:close/>
                <a:moveTo>
                  <a:pt x="9" y="359"/>
                </a:moveTo>
                <a:cubicBezTo>
                  <a:pt x="8" y="359"/>
                  <a:pt x="9" y="357"/>
                  <a:pt x="10" y="357"/>
                </a:cubicBezTo>
                <a:cubicBezTo>
                  <a:pt x="9" y="358"/>
                  <a:pt x="9" y="358"/>
                  <a:pt x="9" y="359"/>
                </a:cubicBezTo>
                <a:close/>
                <a:moveTo>
                  <a:pt x="10" y="438"/>
                </a:moveTo>
                <a:cubicBezTo>
                  <a:pt x="9" y="439"/>
                  <a:pt x="10" y="436"/>
                  <a:pt x="11" y="436"/>
                </a:cubicBezTo>
                <a:cubicBezTo>
                  <a:pt x="12" y="437"/>
                  <a:pt x="11" y="437"/>
                  <a:pt x="10" y="438"/>
                </a:cubicBezTo>
                <a:close/>
                <a:moveTo>
                  <a:pt x="10" y="424"/>
                </a:moveTo>
                <a:cubicBezTo>
                  <a:pt x="9" y="425"/>
                  <a:pt x="10" y="422"/>
                  <a:pt x="11" y="423"/>
                </a:cubicBezTo>
                <a:cubicBezTo>
                  <a:pt x="12" y="424"/>
                  <a:pt x="11" y="424"/>
                  <a:pt x="10" y="424"/>
                </a:cubicBezTo>
                <a:close/>
                <a:moveTo>
                  <a:pt x="11" y="386"/>
                </a:moveTo>
                <a:cubicBezTo>
                  <a:pt x="10" y="386"/>
                  <a:pt x="10" y="387"/>
                  <a:pt x="10" y="385"/>
                </a:cubicBezTo>
                <a:cubicBezTo>
                  <a:pt x="10" y="383"/>
                  <a:pt x="14" y="374"/>
                  <a:pt x="14" y="374"/>
                </a:cubicBezTo>
                <a:cubicBezTo>
                  <a:pt x="16" y="374"/>
                  <a:pt x="13" y="377"/>
                  <a:pt x="13" y="378"/>
                </a:cubicBezTo>
                <a:cubicBezTo>
                  <a:pt x="12" y="381"/>
                  <a:pt x="14" y="385"/>
                  <a:pt x="11" y="386"/>
                </a:cubicBezTo>
                <a:close/>
                <a:moveTo>
                  <a:pt x="14" y="394"/>
                </a:moveTo>
                <a:cubicBezTo>
                  <a:pt x="13" y="396"/>
                  <a:pt x="14" y="393"/>
                  <a:pt x="14" y="393"/>
                </a:cubicBezTo>
                <a:cubicBezTo>
                  <a:pt x="15" y="393"/>
                  <a:pt x="15" y="394"/>
                  <a:pt x="14" y="394"/>
                </a:cubicBezTo>
                <a:close/>
                <a:moveTo>
                  <a:pt x="15" y="388"/>
                </a:moveTo>
                <a:cubicBezTo>
                  <a:pt x="14" y="388"/>
                  <a:pt x="15" y="387"/>
                  <a:pt x="15" y="387"/>
                </a:cubicBezTo>
                <a:cubicBezTo>
                  <a:pt x="15" y="387"/>
                  <a:pt x="15" y="388"/>
                  <a:pt x="15" y="388"/>
                </a:cubicBezTo>
                <a:close/>
                <a:moveTo>
                  <a:pt x="15" y="300"/>
                </a:moveTo>
                <a:cubicBezTo>
                  <a:pt x="16" y="302"/>
                  <a:pt x="14" y="301"/>
                  <a:pt x="15" y="300"/>
                </a:cubicBezTo>
                <a:close/>
                <a:moveTo>
                  <a:pt x="16" y="366"/>
                </a:moveTo>
                <a:cubicBezTo>
                  <a:pt x="15" y="367"/>
                  <a:pt x="17" y="364"/>
                  <a:pt x="16" y="366"/>
                </a:cubicBezTo>
                <a:close/>
                <a:moveTo>
                  <a:pt x="17" y="380"/>
                </a:moveTo>
                <a:cubicBezTo>
                  <a:pt x="16" y="381"/>
                  <a:pt x="16" y="379"/>
                  <a:pt x="17" y="379"/>
                </a:cubicBezTo>
                <a:cubicBezTo>
                  <a:pt x="17" y="378"/>
                  <a:pt x="17" y="380"/>
                  <a:pt x="17" y="380"/>
                </a:cubicBezTo>
                <a:close/>
                <a:moveTo>
                  <a:pt x="27" y="420"/>
                </a:move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lose/>
                <a:moveTo>
                  <a:pt x="23" y="346"/>
                </a:moveTo>
                <a:cubicBezTo>
                  <a:pt x="23" y="346"/>
                  <a:pt x="23" y="347"/>
                  <a:pt x="23" y="347"/>
                </a:cubicBezTo>
                <a:cubicBezTo>
                  <a:pt x="22" y="347"/>
                  <a:pt x="22" y="346"/>
                  <a:pt x="23" y="346"/>
                </a:cubicBezTo>
                <a:close/>
                <a:moveTo>
                  <a:pt x="19" y="405"/>
                </a:moveTo>
                <a:cubicBezTo>
                  <a:pt x="19" y="405"/>
                  <a:pt x="18" y="404"/>
                  <a:pt x="18" y="404"/>
                </a:cubicBezTo>
                <a:cubicBezTo>
                  <a:pt x="18" y="404"/>
                  <a:pt x="20" y="404"/>
                  <a:pt x="19" y="405"/>
                </a:cubicBezTo>
                <a:close/>
                <a:moveTo>
                  <a:pt x="20" y="406"/>
                </a:moveTo>
                <a:cubicBezTo>
                  <a:pt x="19" y="406"/>
                  <a:pt x="20" y="405"/>
                  <a:pt x="20" y="404"/>
                </a:cubicBezTo>
                <a:cubicBezTo>
                  <a:pt x="21" y="404"/>
                  <a:pt x="20" y="405"/>
                  <a:pt x="20" y="406"/>
                </a:cubicBezTo>
                <a:close/>
                <a:moveTo>
                  <a:pt x="20" y="360"/>
                </a:moveTo>
                <a:cubicBezTo>
                  <a:pt x="19" y="359"/>
                  <a:pt x="21" y="359"/>
                  <a:pt x="20" y="360"/>
                </a:cubicBezTo>
                <a:close/>
                <a:moveTo>
                  <a:pt x="22" y="268"/>
                </a:moveTo>
                <a:cubicBezTo>
                  <a:pt x="23" y="268"/>
                  <a:pt x="22" y="270"/>
                  <a:pt x="22" y="271"/>
                </a:cubicBezTo>
                <a:cubicBezTo>
                  <a:pt x="19" y="273"/>
                  <a:pt x="19" y="267"/>
                  <a:pt x="22" y="268"/>
                </a:cubicBezTo>
                <a:close/>
                <a:moveTo>
                  <a:pt x="21" y="397"/>
                </a:moveTo>
                <a:cubicBezTo>
                  <a:pt x="21" y="396"/>
                  <a:pt x="22" y="397"/>
                  <a:pt x="22" y="398"/>
                </a:cubicBezTo>
                <a:cubicBezTo>
                  <a:pt x="21" y="399"/>
                  <a:pt x="20" y="397"/>
                  <a:pt x="21" y="397"/>
                </a:cubicBezTo>
                <a:close/>
                <a:moveTo>
                  <a:pt x="21" y="415"/>
                </a:moveTo>
                <a:cubicBezTo>
                  <a:pt x="22" y="416"/>
                  <a:pt x="21" y="417"/>
                  <a:pt x="21" y="415"/>
                </a:cubicBezTo>
                <a:close/>
                <a:moveTo>
                  <a:pt x="21" y="413"/>
                </a:moveTo>
                <a:cubicBezTo>
                  <a:pt x="21" y="413"/>
                  <a:pt x="23" y="413"/>
                  <a:pt x="23" y="413"/>
                </a:cubicBezTo>
                <a:cubicBezTo>
                  <a:pt x="23" y="414"/>
                  <a:pt x="20" y="414"/>
                  <a:pt x="21" y="413"/>
                </a:cubicBezTo>
                <a:close/>
                <a:moveTo>
                  <a:pt x="24" y="367"/>
                </a:moveTo>
                <a:cubicBezTo>
                  <a:pt x="25" y="368"/>
                  <a:pt x="23" y="369"/>
                  <a:pt x="24" y="367"/>
                </a:cubicBezTo>
                <a:close/>
                <a:moveTo>
                  <a:pt x="24" y="412"/>
                </a:moveTo>
                <a:cubicBezTo>
                  <a:pt x="24" y="413"/>
                  <a:pt x="24" y="410"/>
                  <a:pt x="24" y="412"/>
                </a:cubicBezTo>
                <a:close/>
                <a:moveTo>
                  <a:pt x="25" y="401"/>
                </a:moveTo>
                <a:cubicBezTo>
                  <a:pt x="24" y="402"/>
                  <a:pt x="24" y="400"/>
                  <a:pt x="24" y="399"/>
                </a:cubicBezTo>
                <a:cubicBezTo>
                  <a:pt x="25" y="399"/>
                  <a:pt x="25" y="401"/>
                  <a:pt x="25" y="401"/>
                </a:cubicBezTo>
                <a:close/>
                <a:moveTo>
                  <a:pt x="27" y="397"/>
                </a:moveTo>
                <a:cubicBezTo>
                  <a:pt x="27" y="398"/>
                  <a:pt x="28" y="396"/>
                  <a:pt x="27" y="397"/>
                </a:cubicBezTo>
                <a:close/>
                <a:moveTo>
                  <a:pt x="25" y="343"/>
                </a:moveTo>
                <a:cubicBezTo>
                  <a:pt x="23" y="342"/>
                  <a:pt x="25" y="340"/>
                  <a:pt x="25" y="338"/>
                </a:cubicBezTo>
                <a:cubicBezTo>
                  <a:pt x="25" y="340"/>
                  <a:pt x="26" y="339"/>
                  <a:pt x="27" y="340"/>
                </a:cubicBezTo>
                <a:cubicBezTo>
                  <a:pt x="29" y="342"/>
                  <a:pt x="26" y="345"/>
                  <a:pt x="25" y="343"/>
                </a:cubicBezTo>
                <a:close/>
                <a:moveTo>
                  <a:pt x="31" y="233"/>
                </a:moveTo>
                <a:cubicBezTo>
                  <a:pt x="30" y="234"/>
                  <a:pt x="30" y="231"/>
                  <a:pt x="30" y="231"/>
                </a:cubicBezTo>
                <a:cubicBezTo>
                  <a:pt x="32" y="231"/>
                  <a:pt x="31" y="233"/>
                  <a:pt x="31" y="233"/>
                </a:cubicBezTo>
                <a:close/>
                <a:moveTo>
                  <a:pt x="33" y="290"/>
                </a:moveTo>
                <a:cubicBezTo>
                  <a:pt x="32" y="291"/>
                  <a:pt x="32" y="288"/>
                  <a:pt x="33" y="289"/>
                </a:cubicBezTo>
                <a:cubicBezTo>
                  <a:pt x="34" y="289"/>
                  <a:pt x="33" y="290"/>
                  <a:pt x="33" y="290"/>
                </a:cubicBezTo>
                <a:close/>
                <a:moveTo>
                  <a:pt x="34" y="385"/>
                </a:moveTo>
                <a:cubicBezTo>
                  <a:pt x="33" y="386"/>
                  <a:pt x="34" y="383"/>
                  <a:pt x="35" y="383"/>
                </a:cubicBezTo>
                <a:cubicBezTo>
                  <a:pt x="35" y="384"/>
                  <a:pt x="34" y="385"/>
                  <a:pt x="34" y="385"/>
                </a:cubicBezTo>
                <a:close/>
                <a:moveTo>
                  <a:pt x="36" y="305"/>
                </a:moveTo>
                <a:cubicBezTo>
                  <a:pt x="35" y="307"/>
                  <a:pt x="37" y="303"/>
                  <a:pt x="36" y="305"/>
                </a:cubicBezTo>
                <a:close/>
                <a:moveTo>
                  <a:pt x="37" y="344"/>
                </a:moveTo>
                <a:cubicBezTo>
                  <a:pt x="37" y="344"/>
                  <a:pt x="38" y="344"/>
                  <a:pt x="38" y="344"/>
                </a:cubicBezTo>
                <a:cubicBezTo>
                  <a:pt x="38" y="345"/>
                  <a:pt x="37" y="345"/>
                  <a:pt x="37" y="344"/>
                </a:cubicBezTo>
                <a:close/>
                <a:moveTo>
                  <a:pt x="29" y="469"/>
                </a:moveTo>
                <a:cubicBezTo>
                  <a:pt x="25" y="471"/>
                  <a:pt x="25" y="463"/>
                  <a:pt x="29" y="464"/>
                </a:cubicBezTo>
                <a:cubicBezTo>
                  <a:pt x="31" y="464"/>
                  <a:pt x="31" y="468"/>
                  <a:pt x="29" y="469"/>
                </a:cubicBezTo>
                <a:close/>
                <a:moveTo>
                  <a:pt x="34" y="484"/>
                </a:moveTo>
                <a:cubicBezTo>
                  <a:pt x="34" y="485"/>
                  <a:pt x="34" y="485"/>
                  <a:pt x="33" y="485"/>
                </a:cubicBezTo>
                <a:cubicBezTo>
                  <a:pt x="32" y="486"/>
                  <a:pt x="33" y="483"/>
                  <a:pt x="34" y="484"/>
                </a:cubicBezTo>
                <a:close/>
                <a:moveTo>
                  <a:pt x="36" y="466"/>
                </a:moveTo>
                <a:cubicBezTo>
                  <a:pt x="34" y="467"/>
                  <a:pt x="34" y="464"/>
                  <a:pt x="35" y="463"/>
                </a:cubicBezTo>
                <a:cubicBezTo>
                  <a:pt x="36" y="463"/>
                  <a:pt x="37" y="465"/>
                  <a:pt x="36" y="466"/>
                </a:cubicBezTo>
                <a:close/>
                <a:moveTo>
                  <a:pt x="38" y="455"/>
                </a:moveTo>
                <a:cubicBezTo>
                  <a:pt x="38" y="455"/>
                  <a:pt x="38" y="456"/>
                  <a:pt x="38" y="456"/>
                </a:cubicBezTo>
                <a:cubicBezTo>
                  <a:pt x="37" y="458"/>
                  <a:pt x="36" y="454"/>
                  <a:pt x="38" y="455"/>
                </a:cubicBezTo>
                <a:close/>
                <a:moveTo>
                  <a:pt x="38" y="461"/>
                </a:moveTo>
                <a:cubicBezTo>
                  <a:pt x="36" y="462"/>
                  <a:pt x="38" y="459"/>
                  <a:pt x="39" y="459"/>
                </a:cubicBezTo>
                <a:cubicBezTo>
                  <a:pt x="39" y="460"/>
                  <a:pt x="38" y="461"/>
                  <a:pt x="38" y="461"/>
                </a:cubicBezTo>
                <a:close/>
                <a:moveTo>
                  <a:pt x="66" y="337"/>
                </a:moveTo>
                <a:cubicBezTo>
                  <a:pt x="66" y="337"/>
                  <a:pt x="66" y="338"/>
                  <a:pt x="66" y="338"/>
                </a:cubicBezTo>
                <a:cubicBezTo>
                  <a:pt x="65" y="339"/>
                  <a:pt x="65" y="336"/>
                  <a:pt x="66" y="337"/>
                </a:cubicBezTo>
                <a:close/>
                <a:moveTo>
                  <a:pt x="66" y="380"/>
                </a:moveTo>
                <a:cubicBezTo>
                  <a:pt x="67" y="380"/>
                  <a:pt x="67" y="382"/>
                  <a:pt x="66" y="382"/>
                </a:cubicBezTo>
                <a:cubicBezTo>
                  <a:pt x="65" y="384"/>
                  <a:pt x="65" y="379"/>
                  <a:pt x="66" y="380"/>
                </a:cubicBezTo>
                <a:close/>
                <a:moveTo>
                  <a:pt x="63" y="330"/>
                </a:moveTo>
                <a:cubicBezTo>
                  <a:pt x="62" y="331"/>
                  <a:pt x="64" y="329"/>
                  <a:pt x="63" y="330"/>
                </a:cubicBezTo>
                <a:close/>
                <a:moveTo>
                  <a:pt x="64" y="346"/>
                </a:moveTo>
                <a:cubicBezTo>
                  <a:pt x="66" y="346"/>
                  <a:pt x="65" y="351"/>
                  <a:pt x="62" y="351"/>
                </a:cubicBezTo>
                <a:cubicBezTo>
                  <a:pt x="62" y="351"/>
                  <a:pt x="62" y="345"/>
                  <a:pt x="64" y="346"/>
                </a:cubicBezTo>
                <a:close/>
                <a:moveTo>
                  <a:pt x="64" y="393"/>
                </a:moveTo>
                <a:cubicBezTo>
                  <a:pt x="64" y="392"/>
                  <a:pt x="65" y="394"/>
                  <a:pt x="64" y="393"/>
                </a:cubicBezTo>
                <a:close/>
                <a:moveTo>
                  <a:pt x="61" y="364"/>
                </a:moveTo>
                <a:cubicBezTo>
                  <a:pt x="61" y="362"/>
                  <a:pt x="62" y="363"/>
                  <a:pt x="61" y="364"/>
                </a:cubicBezTo>
                <a:close/>
                <a:moveTo>
                  <a:pt x="61" y="403"/>
                </a:moveTo>
                <a:cubicBezTo>
                  <a:pt x="61" y="403"/>
                  <a:pt x="61" y="403"/>
                  <a:pt x="62" y="403"/>
                </a:cubicBezTo>
                <a:cubicBezTo>
                  <a:pt x="63" y="402"/>
                  <a:pt x="61" y="403"/>
                  <a:pt x="61" y="403"/>
                </a:cubicBezTo>
                <a:close/>
                <a:moveTo>
                  <a:pt x="61" y="365"/>
                </a:moveTo>
                <a:cubicBezTo>
                  <a:pt x="61" y="366"/>
                  <a:pt x="59" y="365"/>
                  <a:pt x="61" y="365"/>
                </a:cubicBezTo>
                <a:close/>
                <a:moveTo>
                  <a:pt x="58" y="357"/>
                </a:moveTo>
                <a:cubicBezTo>
                  <a:pt x="59" y="357"/>
                  <a:pt x="58" y="359"/>
                  <a:pt x="58" y="359"/>
                </a:cubicBezTo>
                <a:cubicBezTo>
                  <a:pt x="56" y="361"/>
                  <a:pt x="55" y="356"/>
                  <a:pt x="58" y="357"/>
                </a:cubicBezTo>
                <a:close/>
                <a:moveTo>
                  <a:pt x="56" y="405"/>
                </a:moveTo>
                <a:cubicBezTo>
                  <a:pt x="56" y="405"/>
                  <a:pt x="56" y="406"/>
                  <a:pt x="56" y="406"/>
                </a:cubicBezTo>
                <a:cubicBezTo>
                  <a:pt x="55" y="407"/>
                  <a:pt x="55" y="405"/>
                  <a:pt x="56" y="405"/>
                </a:cubicBezTo>
                <a:close/>
                <a:moveTo>
                  <a:pt x="54" y="374"/>
                </a:moveTo>
                <a:cubicBezTo>
                  <a:pt x="55" y="374"/>
                  <a:pt x="55" y="375"/>
                  <a:pt x="54" y="375"/>
                </a:cubicBezTo>
                <a:cubicBezTo>
                  <a:pt x="53" y="376"/>
                  <a:pt x="53" y="374"/>
                  <a:pt x="54" y="374"/>
                </a:cubicBezTo>
                <a:close/>
                <a:moveTo>
                  <a:pt x="49" y="398"/>
                </a:moveTo>
                <a:cubicBezTo>
                  <a:pt x="51" y="396"/>
                  <a:pt x="52" y="393"/>
                  <a:pt x="54" y="390"/>
                </a:cubicBezTo>
                <a:cubicBezTo>
                  <a:pt x="53" y="393"/>
                  <a:pt x="51" y="396"/>
                  <a:pt x="49" y="398"/>
                </a:cubicBezTo>
                <a:close/>
                <a:moveTo>
                  <a:pt x="51" y="408"/>
                </a:moveTo>
                <a:cubicBezTo>
                  <a:pt x="50" y="407"/>
                  <a:pt x="52" y="406"/>
                  <a:pt x="52" y="407"/>
                </a:cubicBezTo>
                <a:cubicBezTo>
                  <a:pt x="54" y="408"/>
                  <a:pt x="52" y="410"/>
                  <a:pt x="51" y="408"/>
                </a:cubicBezTo>
                <a:close/>
                <a:moveTo>
                  <a:pt x="46" y="404"/>
                </a:moveTo>
                <a:cubicBezTo>
                  <a:pt x="46" y="404"/>
                  <a:pt x="47" y="400"/>
                  <a:pt x="48" y="399"/>
                </a:cubicBezTo>
                <a:cubicBezTo>
                  <a:pt x="48" y="400"/>
                  <a:pt x="47" y="404"/>
                  <a:pt x="46" y="404"/>
                </a:cubicBezTo>
                <a:close/>
                <a:moveTo>
                  <a:pt x="47" y="409"/>
                </a:moveTo>
                <a:cubicBezTo>
                  <a:pt x="48" y="408"/>
                  <a:pt x="47" y="410"/>
                  <a:pt x="47" y="409"/>
                </a:cubicBezTo>
                <a:close/>
                <a:moveTo>
                  <a:pt x="48" y="392"/>
                </a:moveTo>
                <a:cubicBezTo>
                  <a:pt x="46" y="393"/>
                  <a:pt x="46" y="388"/>
                  <a:pt x="49" y="389"/>
                </a:cubicBezTo>
                <a:cubicBezTo>
                  <a:pt x="50" y="389"/>
                  <a:pt x="49" y="392"/>
                  <a:pt x="48" y="392"/>
                </a:cubicBezTo>
                <a:close/>
                <a:moveTo>
                  <a:pt x="53" y="323"/>
                </a:moveTo>
                <a:cubicBezTo>
                  <a:pt x="54" y="323"/>
                  <a:pt x="54" y="325"/>
                  <a:pt x="53" y="325"/>
                </a:cubicBezTo>
                <a:cubicBezTo>
                  <a:pt x="52" y="326"/>
                  <a:pt x="52" y="323"/>
                  <a:pt x="53" y="323"/>
                </a:cubicBezTo>
                <a:close/>
                <a:moveTo>
                  <a:pt x="50" y="354"/>
                </a:moveTo>
                <a:cubicBezTo>
                  <a:pt x="53" y="355"/>
                  <a:pt x="51" y="360"/>
                  <a:pt x="50" y="360"/>
                </a:cubicBezTo>
                <a:cubicBezTo>
                  <a:pt x="45" y="362"/>
                  <a:pt x="47" y="352"/>
                  <a:pt x="50" y="354"/>
                </a:cubicBezTo>
                <a:close/>
                <a:moveTo>
                  <a:pt x="47" y="328"/>
                </a:moveTo>
                <a:cubicBezTo>
                  <a:pt x="47" y="328"/>
                  <a:pt x="48" y="328"/>
                  <a:pt x="48" y="327"/>
                </a:cubicBezTo>
                <a:cubicBezTo>
                  <a:pt x="49" y="327"/>
                  <a:pt x="49" y="328"/>
                  <a:pt x="47" y="328"/>
                </a:cubicBezTo>
                <a:close/>
                <a:moveTo>
                  <a:pt x="48" y="267"/>
                </a:moveTo>
                <a:cubicBezTo>
                  <a:pt x="47" y="267"/>
                  <a:pt x="47" y="267"/>
                  <a:pt x="47" y="266"/>
                </a:cubicBezTo>
                <a:cubicBezTo>
                  <a:pt x="47" y="266"/>
                  <a:pt x="49" y="266"/>
                  <a:pt x="48" y="267"/>
                </a:cubicBezTo>
                <a:close/>
                <a:moveTo>
                  <a:pt x="46" y="377"/>
                </a:moveTo>
                <a:cubicBezTo>
                  <a:pt x="45" y="378"/>
                  <a:pt x="45" y="376"/>
                  <a:pt x="46" y="376"/>
                </a:cubicBezTo>
                <a:cubicBezTo>
                  <a:pt x="47" y="376"/>
                  <a:pt x="46" y="377"/>
                  <a:pt x="46" y="377"/>
                </a:cubicBezTo>
                <a:close/>
                <a:moveTo>
                  <a:pt x="45" y="192"/>
                </a:moveTo>
                <a:cubicBezTo>
                  <a:pt x="46" y="192"/>
                  <a:pt x="46" y="193"/>
                  <a:pt x="46" y="193"/>
                </a:cubicBezTo>
                <a:cubicBezTo>
                  <a:pt x="44" y="195"/>
                  <a:pt x="44" y="191"/>
                  <a:pt x="45" y="192"/>
                </a:cubicBezTo>
                <a:close/>
                <a:moveTo>
                  <a:pt x="45" y="207"/>
                </a:moveTo>
                <a:cubicBezTo>
                  <a:pt x="46" y="207"/>
                  <a:pt x="45" y="208"/>
                  <a:pt x="45" y="209"/>
                </a:cubicBezTo>
                <a:cubicBezTo>
                  <a:pt x="44" y="210"/>
                  <a:pt x="44" y="207"/>
                  <a:pt x="45" y="207"/>
                </a:cubicBezTo>
                <a:close/>
                <a:moveTo>
                  <a:pt x="44" y="360"/>
                </a:moveTo>
                <a:cubicBezTo>
                  <a:pt x="45" y="361"/>
                  <a:pt x="44" y="363"/>
                  <a:pt x="44" y="363"/>
                </a:cubicBezTo>
                <a:cubicBezTo>
                  <a:pt x="42" y="364"/>
                  <a:pt x="43" y="360"/>
                  <a:pt x="44" y="360"/>
                </a:cubicBezTo>
                <a:close/>
                <a:moveTo>
                  <a:pt x="43" y="227"/>
                </a:moveTo>
                <a:cubicBezTo>
                  <a:pt x="43" y="227"/>
                  <a:pt x="43" y="228"/>
                  <a:pt x="43" y="228"/>
                </a:cubicBezTo>
                <a:cubicBezTo>
                  <a:pt x="42" y="229"/>
                  <a:pt x="43" y="226"/>
                  <a:pt x="43" y="227"/>
                </a:cubicBezTo>
                <a:close/>
                <a:moveTo>
                  <a:pt x="40" y="322"/>
                </a:moveTo>
                <a:cubicBezTo>
                  <a:pt x="41" y="320"/>
                  <a:pt x="39" y="322"/>
                  <a:pt x="40" y="322"/>
                </a:cubicBezTo>
                <a:close/>
                <a:moveTo>
                  <a:pt x="36" y="429"/>
                </a:moveTo>
                <a:cubicBezTo>
                  <a:pt x="35" y="431"/>
                  <a:pt x="35" y="428"/>
                  <a:pt x="36" y="428"/>
                </a:cubicBezTo>
                <a:cubicBezTo>
                  <a:pt x="36" y="429"/>
                  <a:pt x="36" y="429"/>
                  <a:pt x="36" y="429"/>
                </a:cubicBezTo>
                <a:close/>
                <a:moveTo>
                  <a:pt x="35" y="428"/>
                </a:moveTo>
                <a:cubicBezTo>
                  <a:pt x="34" y="427"/>
                  <a:pt x="36" y="425"/>
                  <a:pt x="36" y="426"/>
                </a:cubicBezTo>
                <a:cubicBezTo>
                  <a:pt x="37" y="428"/>
                  <a:pt x="35" y="429"/>
                  <a:pt x="35" y="428"/>
                </a:cubicBezTo>
                <a:close/>
                <a:moveTo>
                  <a:pt x="38" y="424"/>
                </a:moveTo>
                <a:cubicBezTo>
                  <a:pt x="35" y="427"/>
                  <a:pt x="33" y="418"/>
                  <a:pt x="37" y="417"/>
                </a:cubicBezTo>
                <a:cubicBezTo>
                  <a:pt x="35" y="420"/>
                  <a:pt x="39" y="419"/>
                  <a:pt x="39" y="420"/>
                </a:cubicBezTo>
                <a:cubicBezTo>
                  <a:pt x="39" y="421"/>
                  <a:pt x="39" y="423"/>
                  <a:pt x="38" y="424"/>
                </a:cubicBezTo>
                <a:close/>
                <a:moveTo>
                  <a:pt x="40" y="358"/>
                </a:moveTo>
                <a:cubicBezTo>
                  <a:pt x="38" y="358"/>
                  <a:pt x="41" y="356"/>
                  <a:pt x="40" y="357"/>
                </a:cubicBezTo>
                <a:cubicBezTo>
                  <a:pt x="40" y="357"/>
                  <a:pt x="40" y="358"/>
                  <a:pt x="40" y="358"/>
                </a:cubicBezTo>
                <a:close/>
                <a:moveTo>
                  <a:pt x="41" y="431"/>
                </a:moveTo>
                <a:cubicBezTo>
                  <a:pt x="42" y="430"/>
                  <a:pt x="43" y="432"/>
                  <a:pt x="41" y="431"/>
                </a:cubicBezTo>
                <a:close/>
                <a:moveTo>
                  <a:pt x="42" y="382"/>
                </a:moveTo>
                <a:cubicBezTo>
                  <a:pt x="42" y="380"/>
                  <a:pt x="43" y="381"/>
                  <a:pt x="44" y="380"/>
                </a:cubicBezTo>
                <a:cubicBezTo>
                  <a:pt x="44" y="379"/>
                  <a:pt x="44" y="378"/>
                  <a:pt x="46" y="378"/>
                </a:cubicBezTo>
                <a:cubicBezTo>
                  <a:pt x="50" y="378"/>
                  <a:pt x="48" y="384"/>
                  <a:pt x="45" y="385"/>
                </a:cubicBezTo>
                <a:cubicBezTo>
                  <a:pt x="43" y="385"/>
                  <a:pt x="41" y="385"/>
                  <a:pt x="42" y="382"/>
                </a:cubicBezTo>
                <a:close/>
                <a:moveTo>
                  <a:pt x="44" y="391"/>
                </a:moveTo>
                <a:cubicBezTo>
                  <a:pt x="43" y="392"/>
                  <a:pt x="45" y="389"/>
                  <a:pt x="44" y="391"/>
                </a:cubicBezTo>
                <a:close/>
                <a:moveTo>
                  <a:pt x="42" y="449"/>
                </a:moveTo>
                <a:cubicBezTo>
                  <a:pt x="42" y="450"/>
                  <a:pt x="43" y="447"/>
                  <a:pt x="42" y="449"/>
                </a:cubicBezTo>
                <a:close/>
                <a:moveTo>
                  <a:pt x="44" y="465"/>
                </a:moveTo>
                <a:cubicBezTo>
                  <a:pt x="45" y="464"/>
                  <a:pt x="43" y="466"/>
                  <a:pt x="44" y="465"/>
                </a:cubicBezTo>
                <a:close/>
                <a:moveTo>
                  <a:pt x="45" y="462"/>
                </a:moveTo>
                <a:cubicBezTo>
                  <a:pt x="45" y="462"/>
                  <a:pt x="45" y="462"/>
                  <a:pt x="46" y="462"/>
                </a:cubicBezTo>
                <a:cubicBezTo>
                  <a:pt x="46" y="462"/>
                  <a:pt x="46" y="462"/>
                  <a:pt x="46" y="462"/>
                </a:cubicBezTo>
                <a:cubicBezTo>
                  <a:pt x="46" y="462"/>
                  <a:pt x="45" y="462"/>
                  <a:pt x="45" y="462"/>
                </a:cubicBezTo>
                <a:close/>
                <a:moveTo>
                  <a:pt x="43" y="445"/>
                </a:moveTo>
                <a:cubicBezTo>
                  <a:pt x="43" y="443"/>
                  <a:pt x="45" y="441"/>
                  <a:pt x="47" y="439"/>
                </a:cubicBezTo>
                <a:cubicBezTo>
                  <a:pt x="47" y="442"/>
                  <a:pt x="44" y="443"/>
                  <a:pt x="43" y="445"/>
                </a:cubicBezTo>
                <a:close/>
                <a:moveTo>
                  <a:pt x="46" y="434"/>
                </a:moveTo>
                <a:cubicBezTo>
                  <a:pt x="46" y="434"/>
                  <a:pt x="47" y="433"/>
                  <a:pt x="46" y="434"/>
                </a:cubicBezTo>
                <a:cubicBezTo>
                  <a:pt x="46" y="434"/>
                  <a:pt x="46" y="434"/>
                  <a:pt x="46" y="434"/>
                </a:cubicBezTo>
                <a:close/>
                <a:moveTo>
                  <a:pt x="47" y="432"/>
                </a:moveTo>
                <a:cubicBezTo>
                  <a:pt x="48" y="430"/>
                  <a:pt x="50" y="431"/>
                  <a:pt x="47" y="432"/>
                </a:cubicBezTo>
                <a:close/>
                <a:moveTo>
                  <a:pt x="50" y="418"/>
                </a:moveTo>
                <a:cubicBezTo>
                  <a:pt x="50" y="419"/>
                  <a:pt x="52" y="419"/>
                  <a:pt x="51" y="420"/>
                </a:cubicBezTo>
                <a:cubicBezTo>
                  <a:pt x="52" y="419"/>
                  <a:pt x="48" y="420"/>
                  <a:pt x="49" y="421"/>
                </a:cubicBezTo>
                <a:cubicBezTo>
                  <a:pt x="48" y="420"/>
                  <a:pt x="48" y="419"/>
                  <a:pt x="49" y="418"/>
                </a:cubicBezTo>
                <a:cubicBezTo>
                  <a:pt x="47" y="418"/>
                  <a:pt x="45" y="417"/>
                  <a:pt x="45" y="416"/>
                </a:cubicBezTo>
                <a:cubicBezTo>
                  <a:pt x="44" y="413"/>
                  <a:pt x="47" y="411"/>
                  <a:pt x="49" y="410"/>
                </a:cubicBezTo>
                <a:cubicBezTo>
                  <a:pt x="49" y="410"/>
                  <a:pt x="49" y="409"/>
                  <a:pt x="49" y="409"/>
                </a:cubicBezTo>
                <a:cubicBezTo>
                  <a:pt x="50" y="409"/>
                  <a:pt x="51" y="411"/>
                  <a:pt x="51" y="411"/>
                </a:cubicBezTo>
                <a:cubicBezTo>
                  <a:pt x="53" y="412"/>
                  <a:pt x="52" y="407"/>
                  <a:pt x="54" y="407"/>
                </a:cubicBezTo>
                <a:cubicBezTo>
                  <a:pt x="56" y="408"/>
                  <a:pt x="54" y="410"/>
                  <a:pt x="54" y="411"/>
                </a:cubicBezTo>
                <a:cubicBezTo>
                  <a:pt x="54" y="413"/>
                  <a:pt x="55" y="413"/>
                  <a:pt x="53" y="414"/>
                </a:cubicBezTo>
                <a:cubicBezTo>
                  <a:pt x="52" y="415"/>
                  <a:pt x="51" y="418"/>
                  <a:pt x="50" y="418"/>
                </a:cubicBezTo>
                <a:close/>
                <a:moveTo>
                  <a:pt x="58" y="443"/>
                </a:moveTo>
                <a:cubicBezTo>
                  <a:pt x="57" y="444"/>
                  <a:pt x="57" y="442"/>
                  <a:pt x="58" y="441"/>
                </a:cubicBezTo>
                <a:cubicBezTo>
                  <a:pt x="59" y="441"/>
                  <a:pt x="58" y="442"/>
                  <a:pt x="58" y="443"/>
                </a:cubicBezTo>
                <a:close/>
                <a:moveTo>
                  <a:pt x="59" y="440"/>
                </a:moveTo>
                <a:cubicBezTo>
                  <a:pt x="57" y="441"/>
                  <a:pt x="59" y="437"/>
                  <a:pt x="60" y="439"/>
                </a:cubicBezTo>
                <a:cubicBezTo>
                  <a:pt x="60" y="439"/>
                  <a:pt x="59" y="440"/>
                  <a:pt x="59" y="440"/>
                </a:cubicBezTo>
                <a:close/>
                <a:moveTo>
                  <a:pt x="63" y="454"/>
                </a:moveTo>
                <a:cubicBezTo>
                  <a:pt x="64" y="455"/>
                  <a:pt x="62" y="456"/>
                  <a:pt x="63" y="454"/>
                </a:cubicBezTo>
                <a:close/>
                <a:moveTo>
                  <a:pt x="60" y="436"/>
                </a:moveTo>
                <a:cubicBezTo>
                  <a:pt x="60" y="435"/>
                  <a:pt x="64" y="434"/>
                  <a:pt x="64" y="437"/>
                </a:cubicBezTo>
                <a:cubicBezTo>
                  <a:pt x="64" y="439"/>
                  <a:pt x="58" y="440"/>
                  <a:pt x="60" y="436"/>
                </a:cubicBezTo>
                <a:close/>
                <a:moveTo>
                  <a:pt x="63" y="432"/>
                </a:moveTo>
                <a:cubicBezTo>
                  <a:pt x="62" y="431"/>
                  <a:pt x="64" y="430"/>
                  <a:pt x="63" y="432"/>
                </a:cubicBezTo>
                <a:close/>
                <a:moveTo>
                  <a:pt x="64" y="427"/>
                </a:moveTo>
                <a:cubicBezTo>
                  <a:pt x="64" y="427"/>
                  <a:pt x="64" y="428"/>
                  <a:pt x="64" y="428"/>
                </a:cubicBezTo>
                <a:cubicBezTo>
                  <a:pt x="63" y="429"/>
                  <a:pt x="63" y="426"/>
                  <a:pt x="64" y="427"/>
                </a:cubicBezTo>
                <a:close/>
                <a:moveTo>
                  <a:pt x="64" y="419"/>
                </a:moveTo>
                <a:cubicBezTo>
                  <a:pt x="62" y="420"/>
                  <a:pt x="59" y="423"/>
                  <a:pt x="58" y="424"/>
                </a:cubicBezTo>
                <a:cubicBezTo>
                  <a:pt x="57" y="426"/>
                  <a:pt x="56" y="428"/>
                  <a:pt x="54" y="429"/>
                </a:cubicBezTo>
                <a:cubicBezTo>
                  <a:pt x="57" y="423"/>
                  <a:pt x="63" y="418"/>
                  <a:pt x="66" y="413"/>
                </a:cubicBezTo>
                <a:cubicBezTo>
                  <a:pt x="69" y="409"/>
                  <a:pt x="65" y="417"/>
                  <a:pt x="64" y="419"/>
                </a:cubicBezTo>
                <a:close/>
                <a:moveTo>
                  <a:pt x="66" y="423"/>
                </a:moveTo>
                <a:cubicBezTo>
                  <a:pt x="66" y="423"/>
                  <a:pt x="65" y="423"/>
                  <a:pt x="65" y="423"/>
                </a:cubicBezTo>
                <a:cubicBezTo>
                  <a:pt x="64" y="423"/>
                  <a:pt x="66" y="422"/>
                  <a:pt x="66" y="423"/>
                </a:cubicBezTo>
                <a:close/>
                <a:moveTo>
                  <a:pt x="67" y="443"/>
                </a:moveTo>
                <a:cubicBezTo>
                  <a:pt x="67" y="443"/>
                  <a:pt x="67" y="443"/>
                  <a:pt x="67" y="443"/>
                </a:cubicBezTo>
                <a:cubicBezTo>
                  <a:pt x="67" y="441"/>
                  <a:pt x="69" y="445"/>
                  <a:pt x="67" y="443"/>
                </a:cubicBezTo>
                <a:close/>
                <a:moveTo>
                  <a:pt x="67" y="430"/>
                </a:moveTo>
                <a:cubicBezTo>
                  <a:pt x="67" y="431"/>
                  <a:pt x="66" y="432"/>
                  <a:pt x="66" y="431"/>
                </a:cubicBezTo>
                <a:cubicBezTo>
                  <a:pt x="62" y="428"/>
                  <a:pt x="71" y="428"/>
                  <a:pt x="67" y="430"/>
                </a:cubicBezTo>
                <a:close/>
                <a:moveTo>
                  <a:pt x="68" y="358"/>
                </a:moveTo>
                <a:cubicBezTo>
                  <a:pt x="65" y="360"/>
                  <a:pt x="65" y="354"/>
                  <a:pt x="67" y="355"/>
                </a:cubicBezTo>
                <a:cubicBezTo>
                  <a:pt x="69" y="355"/>
                  <a:pt x="68" y="357"/>
                  <a:pt x="68" y="358"/>
                </a:cubicBezTo>
                <a:close/>
                <a:moveTo>
                  <a:pt x="80" y="396"/>
                </a:moveTo>
                <a:cubicBezTo>
                  <a:pt x="79" y="397"/>
                  <a:pt x="80" y="395"/>
                  <a:pt x="80" y="396"/>
                </a:cubicBezTo>
                <a:close/>
                <a:moveTo>
                  <a:pt x="76" y="428"/>
                </a:moveTo>
                <a:cubicBezTo>
                  <a:pt x="76" y="428"/>
                  <a:pt x="76" y="428"/>
                  <a:pt x="76" y="428"/>
                </a:cubicBezTo>
                <a:cubicBezTo>
                  <a:pt x="77" y="427"/>
                  <a:pt x="76" y="428"/>
                  <a:pt x="76" y="428"/>
                </a:cubicBezTo>
                <a:close/>
                <a:moveTo>
                  <a:pt x="76" y="353"/>
                </a:moveTo>
                <a:cubicBezTo>
                  <a:pt x="76" y="355"/>
                  <a:pt x="75" y="355"/>
                  <a:pt x="75" y="356"/>
                </a:cubicBezTo>
                <a:cubicBezTo>
                  <a:pt x="74" y="355"/>
                  <a:pt x="76" y="354"/>
                  <a:pt x="76" y="353"/>
                </a:cubicBezTo>
                <a:close/>
                <a:moveTo>
                  <a:pt x="75" y="387"/>
                </a:moveTo>
                <a:cubicBezTo>
                  <a:pt x="74" y="387"/>
                  <a:pt x="77" y="386"/>
                  <a:pt x="75" y="387"/>
                </a:cubicBezTo>
                <a:close/>
                <a:moveTo>
                  <a:pt x="73" y="290"/>
                </a:moveTo>
                <a:cubicBezTo>
                  <a:pt x="73" y="291"/>
                  <a:pt x="73" y="292"/>
                  <a:pt x="72" y="293"/>
                </a:cubicBezTo>
                <a:cubicBezTo>
                  <a:pt x="72" y="292"/>
                  <a:pt x="73" y="290"/>
                  <a:pt x="73" y="290"/>
                </a:cubicBezTo>
                <a:close/>
                <a:moveTo>
                  <a:pt x="69" y="327"/>
                </a:moveTo>
                <a:cubicBezTo>
                  <a:pt x="69" y="326"/>
                  <a:pt x="71" y="325"/>
                  <a:pt x="72" y="324"/>
                </a:cubicBezTo>
                <a:cubicBezTo>
                  <a:pt x="72" y="326"/>
                  <a:pt x="70" y="326"/>
                  <a:pt x="69" y="327"/>
                </a:cubicBezTo>
                <a:close/>
                <a:moveTo>
                  <a:pt x="72" y="428"/>
                </a:moveTo>
                <a:cubicBezTo>
                  <a:pt x="70" y="430"/>
                  <a:pt x="71" y="426"/>
                  <a:pt x="72" y="427"/>
                </a:cubicBezTo>
                <a:cubicBezTo>
                  <a:pt x="73" y="427"/>
                  <a:pt x="73" y="428"/>
                  <a:pt x="72" y="428"/>
                </a:cubicBezTo>
                <a:close/>
                <a:moveTo>
                  <a:pt x="72" y="367"/>
                </a:moveTo>
                <a:cubicBezTo>
                  <a:pt x="72" y="367"/>
                  <a:pt x="72" y="368"/>
                  <a:pt x="72" y="368"/>
                </a:cubicBezTo>
                <a:cubicBezTo>
                  <a:pt x="71" y="369"/>
                  <a:pt x="71" y="366"/>
                  <a:pt x="72" y="367"/>
                </a:cubicBezTo>
                <a:close/>
                <a:moveTo>
                  <a:pt x="73" y="356"/>
                </a:moveTo>
                <a:cubicBezTo>
                  <a:pt x="70" y="358"/>
                  <a:pt x="71" y="351"/>
                  <a:pt x="73" y="352"/>
                </a:cubicBezTo>
                <a:cubicBezTo>
                  <a:pt x="75" y="353"/>
                  <a:pt x="73" y="356"/>
                  <a:pt x="73" y="356"/>
                </a:cubicBezTo>
                <a:close/>
                <a:moveTo>
                  <a:pt x="75" y="401"/>
                </a:moveTo>
                <a:cubicBezTo>
                  <a:pt x="73" y="402"/>
                  <a:pt x="73" y="397"/>
                  <a:pt x="75" y="398"/>
                </a:cubicBezTo>
                <a:cubicBezTo>
                  <a:pt x="76" y="399"/>
                  <a:pt x="76" y="400"/>
                  <a:pt x="75" y="401"/>
                </a:cubicBezTo>
                <a:close/>
                <a:moveTo>
                  <a:pt x="76" y="434"/>
                </a:moveTo>
                <a:cubicBezTo>
                  <a:pt x="77" y="432"/>
                  <a:pt x="79" y="430"/>
                  <a:pt x="80" y="429"/>
                </a:cubicBezTo>
                <a:cubicBezTo>
                  <a:pt x="79" y="431"/>
                  <a:pt x="78" y="432"/>
                  <a:pt x="76" y="434"/>
                </a:cubicBezTo>
                <a:close/>
                <a:moveTo>
                  <a:pt x="81" y="418"/>
                </a:moveTo>
                <a:cubicBezTo>
                  <a:pt x="80" y="418"/>
                  <a:pt x="82" y="417"/>
                  <a:pt x="81" y="418"/>
                </a:cubicBezTo>
                <a:close/>
                <a:moveTo>
                  <a:pt x="81" y="339"/>
                </a:moveTo>
                <a:cubicBezTo>
                  <a:pt x="80" y="339"/>
                  <a:pt x="81" y="337"/>
                  <a:pt x="82" y="337"/>
                </a:cubicBezTo>
                <a:cubicBezTo>
                  <a:pt x="82" y="338"/>
                  <a:pt x="81" y="338"/>
                  <a:pt x="81" y="339"/>
                </a:cubicBezTo>
                <a:close/>
                <a:moveTo>
                  <a:pt x="87" y="450"/>
                </a:moveTo>
                <a:cubicBezTo>
                  <a:pt x="87" y="450"/>
                  <a:pt x="88" y="449"/>
                  <a:pt x="89" y="449"/>
                </a:cubicBezTo>
                <a:cubicBezTo>
                  <a:pt x="89" y="449"/>
                  <a:pt x="88" y="450"/>
                  <a:pt x="87" y="450"/>
                </a:cubicBezTo>
                <a:close/>
                <a:moveTo>
                  <a:pt x="90" y="457"/>
                </a:moveTo>
                <a:cubicBezTo>
                  <a:pt x="90" y="457"/>
                  <a:pt x="90" y="457"/>
                  <a:pt x="90" y="456"/>
                </a:cubicBezTo>
                <a:cubicBezTo>
                  <a:pt x="92" y="455"/>
                  <a:pt x="91" y="456"/>
                  <a:pt x="90" y="457"/>
                </a:cubicBezTo>
                <a:close/>
                <a:moveTo>
                  <a:pt x="91" y="435"/>
                </a:moveTo>
                <a:cubicBezTo>
                  <a:pt x="89" y="437"/>
                  <a:pt x="92" y="434"/>
                  <a:pt x="91" y="435"/>
                </a:cubicBezTo>
                <a:close/>
                <a:moveTo>
                  <a:pt x="109" y="452"/>
                </a:moveTo>
                <a:cubicBezTo>
                  <a:pt x="109" y="453"/>
                  <a:pt x="108" y="452"/>
                  <a:pt x="109" y="452"/>
                </a:cubicBezTo>
                <a:close/>
                <a:moveTo>
                  <a:pt x="104" y="235"/>
                </a:moveTo>
                <a:cubicBezTo>
                  <a:pt x="103" y="236"/>
                  <a:pt x="105" y="234"/>
                  <a:pt x="104" y="235"/>
                </a:cubicBezTo>
                <a:close/>
                <a:moveTo>
                  <a:pt x="100" y="336"/>
                </a:moveTo>
                <a:cubicBezTo>
                  <a:pt x="101" y="335"/>
                  <a:pt x="101" y="335"/>
                  <a:pt x="100" y="336"/>
                </a:cubicBezTo>
                <a:close/>
                <a:moveTo>
                  <a:pt x="98" y="332"/>
                </a:moveTo>
                <a:cubicBezTo>
                  <a:pt x="97" y="331"/>
                  <a:pt x="100" y="331"/>
                  <a:pt x="98" y="332"/>
                </a:cubicBezTo>
                <a:close/>
                <a:moveTo>
                  <a:pt x="96" y="215"/>
                </a:moveTo>
                <a:cubicBezTo>
                  <a:pt x="97" y="215"/>
                  <a:pt x="97" y="216"/>
                  <a:pt x="96" y="217"/>
                </a:cubicBezTo>
                <a:cubicBezTo>
                  <a:pt x="95" y="219"/>
                  <a:pt x="95" y="214"/>
                  <a:pt x="96" y="215"/>
                </a:cubicBezTo>
                <a:close/>
                <a:moveTo>
                  <a:pt x="87" y="329"/>
                </a:moveTo>
                <a:cubicBezTo>
                  <a:pt x="87" y="330"/>
                  <a:pt x="86" y="330"/>
                  <a:pt x="86" y="331"/>
                </a:cubicBezTo>
                <a:cubicBezTo>
                  <a:pt x="85" y="331"/>
                  <a:pt x="86" y="329"/>
                  <a:pt x="87" y="329"/>
                </a:cubicBezTo>
                <a:close/>
                <a:moveTo>
                  <a:pt x="85" y="293"/>
                </a:moveTo>
                <a:cubicBezTo>
                  <a:pt x="85" y="293"/>
                  <a:pt x="85" y="294"/>
                  <a:pt x="85" y="294"/>
                </a:cubicBezTo>
                <a:cubicBezTo>
                  <a:pt x="83" y="296"/>
                  <a:pt x="83" y="291"/>
                  <a:pt x="85" y="293"/>
                </a:cubicBezTo>
                <a:close/>
                <a:moveTo>
                  <a:pt x="84" y="332"/>
                </a:moveTo>
                <a:cubicBezTo>
                  <a:pt x="86" y="333"/>
                  <a:pt x="84" y="335"/>
                  <a:pt x="82" y="336"/>
                </a:cubicBezTo>
                <a:cubicBezTo>
                  <a:pt x="83" y="334"/>
                  <a:pt x="85" y="333"/>
                  <a:pt x="84" y="332"/>
                </a:cubicBezTo>
                <a:close/>
                <a:moveTo>
                  <a:pt x="83" y="441"/>
                </a:moveTo>
                <a:cubicBezTo>
                  <a:pt x="82" y="442"/>
                  <a:pt x="84" y="440"/>
                  <a:pt x="83" y="441"/>
                </a:cubicBezTo>
                <a:close/>
                <a:moveTo>
                  <a:pt x="84" y="423"/>
                </a:moveTo>
                <a:cubicBezTo>
                  <a:pt x="83" y="424"/>
                  <a:pt x="84" y="421"/>
                  <a:pt x="85" y="422"/>
                </a:cubicBezTo>
                <a:cubicBezTo>
                  <a:pt x="86" y="422"/>
                  <a:pt x="85" y="423"/>
                  <a:pt x="84" y="423"/>
                </a:cubicBezTo>
                <a:close/>
                <a:moveTo>
                  <a:pt x="88" y="356"/>
                </a:moveTo>
                <a:cubicBezTo>
                  <a:pt x="86" y="358"/>
                  <a:pt x="87" y="353"/>
                  <a:pt x="88" y="354"/>
                </a:cubicBezTo>
                <a:cubicBezTo>
                  <a:pt x="89" y="355"/>
                  <a:pt x="88" y="356"/>
                  <a:pt x="88" y="356"/>
                </a:cubicBezTo>
                <a:close/>
                <a:moveTo>
                  <a:pt x="96" y="325"/>
                </a:moveTo>
                <a:cubicBezTo>
                  <a:pt x="96" y="326"/>
                  <a:pt x="95" y="326"/>
                  <a:pt x="94" y="328"/>
                </a:cubicBezTo>
                <a:cubicBezTo>
                  <a:pt x="92" y="330"/>
                  <a:pt x="89" y="335"/>
                  <a:pt x="87" y="340"/>
                </a:cubicBezTo>
                <a:cubicBezTo>
                  <a:pt x="85" y="344"/>
                  <a:pt x="85" y="347"/>
                  <a:pt x="83" y="350"/>
                </a:cubicBezTo>
                <a:cubicBezTo>
                  <a:pt x="83" y="350"/>
                  <a:pt x="82" y="350"/>
                  <a:pt x="82" y="350"/>
                </a:cubicBezTo>
                <a:cubicBezTo>
                  <a:pt x="81" y="350"/>
                  <a:pt x="84" y="344"/>
                  <a:pt x="85" y="342"/>
                </a:cubicBezTo>
                <a:cubicBezTo>
                  <a:pt x="86" y="339"/>
                  <a:pt x="87" y="337"/>
                  <a:pt x="89" y="334"/>
                </a:cubicBezTo>
                <a:cubicBezTo>
                  <a:pt x="90" y="332"/>
                  <a:pt x="93" y="329"/>
                  <a:pt x="93" y="326"/>
                </a:cubicBezTo>
                <a:cubicBezTo>
                  <a:pt x="93" y="326"/>
                  <a:pt x="92" y="325"/>
                  <a:pt x="92" y="324"/>
                </a:cubicBezTo>
                <a:cubicBezTo>
                  <a:pt x="92" y="320"/>
                  <a:pt x="99" y="320"/>
                  <a:pt x="96" y="325"/>
                </a:cubicBezTo>
                <a:close/>
                <a:moveTo>
                  <a:pt x="96" y="227"/>
                </a:moveTo>
                <a:cubicBezTo>
                  <a:pt x="97" y="227"/>
                  <a:pt x="97" y="228"/>
                  <a:pt x="97" y="229"/>
                </a:cubicBezTo>
                <a:cubicBezTo>
                  <a:pt x="96" y="230"/>
                  <a:pt x="96" y="227"/>
                  <a:pt x="96" y="227"/>
                </a:cubicBezTo>
                <a:close/>
                <a:moveTo>
                  <a:pt x="98" y="402"/>
                </a:moveTo>
                <a:cubicBezTo>
                  <a:pt x="98" y="402"/>
                  <a:pt x="98" y="402"/>
                  <a:pt x="97" y="402"/>
                </a:cubicBezTo>
                <a:cubicBezTo>
                  <a:pt x="95" y="401"/>
                  <a:pt x="100" y="400"/>
                  <a:pt x="98" y="402"/>
                </a:cubicBezTo>
                <a:close/>
                <a:moveTo>
                  <a:pt x="99" y="416"/>
                </a:moveTo>
                <a:cubicBezTo>
                  <a:pt x="101" y="416"/>
                  <a:pt x="100" y="421"/>
                  <a:pt x="99" y="422"/>
                </a:cubicBezTo>
                <a:cubicBezTo>
                  <a:pt x="94" y="424"/>
                  <a:pt x="98" y="416"/>
                  <a:pt x="99" y="416"/>
                </a:cubicBezTo>
                <a:close/>
                <a:moveTo>
                  <a:pt x="101" y="433"/>
                </a:moveTo>
                <a:cubicBezTo>
                  <a:pt x="103" y="434"/>
                  <a:pt x="100" y="438"/>
                  <a:pt x="100" y="439"/>
                </a:cubicBezTo>
                <a:cubicBezTo>
                  <a:pt x="94" y="441"/>
                  <a:pt x="98" y="431"/>
                  <a:pt x="101" y="433"/>
                </a:cubicBezTo>
                <a:close/>
                <a:moveTo>
                  <a:pt x="100" y="444"/>
                </a:moveTo>
                <a:cubicBezTo>
                  <a:pt x="101" y="443"/>
                  <a:pt x="99" y="445"/>
                  <a:pt x="100" y="444"/>
                </a:cubicBezTo>
                <a:close/>
                <a:moveTo>
                  <a:pt x="102" y="444"/>
                </a:moveTo>
                <a:cubicBezTo>
                  <a:pt x="102" y="445"/>
                  <a:pt x="101" y="445"/>
                  <a:pt x="101" y="445"/>
                </a:cubicBezTo>
                <a:cubicBezTo>
                  <a:pt x="99" y="443"/>
                  <a:pt x="104" y="442"/>
                  <a:pt x="102" y="444"/>
                </a:cubicBezTo>
                <a:close/>
                <a:moveTo>
                  <a:pt x="102" y="431"/>
                </a:moveTo>
                <a:cubicBezTo>
                  <a:pt x="100" y="432"/>
                  <a:pt x="100" y="428"/>
                  <a:pt x="102" y="429"/>
                </a:cubicBezTo>
                <a:cubicBezTo>
                  <a:pt x="103" y="429"/>
                  <a:pt x="103" y="430"/>
                  <a:pt x="102" y="431"/>
                </a:cubicBezTo>
                <a:close/>
                <a:moveTo>
                  <a:pt x="103" y="445"/>
                </a:moveTo>
                <a:cubicBezTo>
                  <a:pt x="102" y="447"/>
                  <a:pt x="105" y="444"/>
                  <a:pt x="103" y="445"/>
                </a:cubicBezTo>
                <a:close/>
                <a:moveTo>
                  <a:pt x="104" y="399"/>
                </a:moveTo>
                <a:cubicBezTo>
                  <a:pt x="103" y="399"/>
                  <a:pt x="103" y="397"/>
                  <a:pt x="104" y="398"/>
                </a:cubicBezTo>
                <a:cubicBezTo>
                  <a:pt x="104" y="398"/>
                  <a:pt x="104" y="399"/>
                  <a:pt x="104" y="399"/>
                </a:cubicBezTo>
                <a:close/>
                <a:moveTo>
                  <a:pt x="104" y="288"/>
                </a:moveTo>
                <a:cubicBezTo>
                  <a:pt x="103" y="290"/>
                  <a:pt x="105" y="287"/>
                  <a:pt x="104" y="288"/>
                </a:cubicBezTo>
                <a:close/>
                <a:moveTo>
                  <a:pt x="105" y="307"/>
                </a:moveTo>
                <a:cubicBezTo>
                  <a:pt x="104" y="306"/>
                  <a:pt x="106" y="303"/>
                  <a:pt x="107" y="302"/>
                </a:cubicBezTo>
                <a:cubicBezTo>
                  <a:pt x="107" y="304"/>
                  <a:pt x="106" y="306"/>
                  <a:pt x="105" y="307"/>
                </a:cubicBezTo>
                <a:close/>
                <a:moveTo>
                  <a:pt x="106" y="414"/>
                </a:moveTo>
                <a:cubicBezTo>
                  <a:pt x="106" y="413"/>
                  <a:pt x="108" y="413"/>
                  <a:pt x="106" y="414"/>
                </a:cubicBezTo>
                <a:close/>
                <a:moveTo>
                  <a:pt x="108" y="455"/>
                </a:moveTo>
                <a:cubicBezTo>
                  <a:pt x="107" y="454"/>
                  <a:pt x="109" y="454"/>
                  <a:pt x="108" y="455"/>
                </a:cubicBezTo>
                <a:close/>
                <a:moveTo>
                  <a:pt x="107" y="441"/>
                </a:moveTo>
                <a:cubicBezTo>
                  <a:pt x="106" y="441"/>
                  <a:pt x="108" y="440"/>
                  <a:pt x="108" y="440"/>
                </a:cubicBezTo>
                <a:cubicBezTo>
                  <a:pt x="108" y="440"/>
                  <a:pt x="107" y="440"/>
                  <a:pt x="107" y="441"/>
                </a:cubicBezTo>
                <a:close/>
                <a:moveTo>
                  <a:pt x="108" y="388"/>
                </a:moveTo>
                <a:cubicBezTo>
                  <a:pt x="107" y="390"/>
                  <a:pt x="107" y="386"/>
                  <a:pt x="108" y="387"/>
                </a:cubicBezTo>
                <a:cubicBezTo>
                  <a:pt x="109" y="387"/>
                  <a:pt x="108" y="388"/>
                  <a:pt x="108" y="388"/>
                </a:cubicBezTo>
                <a:close/>
                <a:moveTo>
                  <a:pt x="109" y="420"/>
                </a:moveTo>
                <a:cubicBezTo>
                  <a:pt x="109" y="421"/>
                  <a:pt x="109" y="418"/>
                  <a:pt x="109" y="420"/>
                </a:cubicBezTo>
                <a:close/>
                <a:moveTo>
                  <a:pt x="108" y="301"/>
                </a:moveTo>
                <a:cubicBezTo>
                  <a:pt x="107" y="300"/>
                  <a:pt x="108" y="298"/>
                  <a:pt x="110" y="298"/>
                </a:cubicBezTo>
                <a:cubicBezTo>
                  <a:pt x="110" y="299"/>
                  <a:pt x="108" y="300"/>
                  <a:pt x="108" y="301"/>
                </a:cubicBezTo>
                <a:close/>
                <a:moveTo>
                  <a:pt x="110" y="401"/>
                </a:moveTo>
                <a:cubicBezTo>
                  <a:pt x="110" y="401"/>
                  <a:pt x="110" y="401"/>
                  <a:pt x="110" y="401"/>
                </a:cubicBezTo>
                <a:cubicBezTo>
                  <a:pt x="110" y="401"/>
                  <a:pt x="110" y="400"/>
                  <a:pt x="110" y="401"/>
                </a:cubicBezTo>
                <a:close/>
                <a:moveTo>
                  <a:pt x="69" y="513"/>
                </a:moveTo>
                <a:cubicBezTo>
                  <a:pt x="69" y="513"/>
                  <a:pt x="70" y="512"/>
                  <a:pt x="70" y="512"/>
                </a:cubicBezTo>
                <a:cubicBezTo>
                  <a:pt x="70" y="513"/>
                  <a:pt x="69" y="513"/>
                  <a:pt x="69" y="513"/>
                </a:cubicBezTo>
                <a:close/>
                <a:moveTo>
                  <a:pt x="73" y="498"/>
                </a:moveTo>
                <a:cubicBezTo>
                  <a:pt x="73" y="497"/>
                  <a:pt x="74" y="496"/>
                  <a:pt x="75" y="496"/>
                </a:cubicBezTo>
                <a:cubicBezTo>
                  <a:pt x="75" y="497"/>
                  <a:pt x="74" y="498"/>
                  <a:pt x="73" y="498"/>
                </a:cubicBezTo>
                <a:close/>
                <a:moveTo>
                  <a:pt x="76" y="499"/>
                </a:moveTo>
                <a:cubicBezTo>
                  <a:pt x="76" y="500"/>
                  <a:pt x="77" y="498"/>
                  <a:pt x="76" y="499"/>
                </a:cubicBezTo>
                <a:close/>
                <a:moveTo>
                  <a:pt x="87" y="502"/>
                </a:moveTo>
                <a:cubicBezTo>
                  <a:pt x="86" y="500"/>
                  <a:pt x="89" y="499"/>
                  <a:pt x="87" y="502"/>
                </a:cubicBezTo>
                <a:close/>
                <a:moveTo>
                  <a:pt x="100" y="477"/>
                </a:moveTo>
                <a:cubicBezTo>
                  <a:pt x="101" y="479"/>
                  <a:pt x="100" y="481"/>
                  <a:pt x="100" y="483"/>
                </a:cubicBezTo>
                <a:cubicBezTo>
                  <a:pt x="99" y="481"/>
                  <a:pt x="99" y="479"/>
                  <a:pt x="100" y="477"/>
                </a:cubicBezTo>
                <a:close/>
                <a:moveTo>
                  <a:pt x="100" y="502"/>
                </a:moveTo>
                <a:cubicBezTo>
                  <a:pt x="97" y="499"/>
                  <a:pt x="102" y="497"/>
                  <a:pt x="104" y="496"/>
                </a:cubicBezTo>
                <a:cubicBezTo>
                  <a:pt x="105" y="499"/>
                  <a:pt x="102" y="505"/>
                  <a:pt x="100" y="502"/>
                </a:cubicBezTo>
                <a:close/>
                <a:moveTo>
                  <a:pt x="144" y="546"/>
                </a:moveTo>
                <a:cubicBezTo>
                  <a:pt x="143" y="546"/>
                  <a:pt x="144" y="546"/>
                  <a:pt x="144" y="545"/>
                </a:cubicBezTo>
                <a:cubicBezTo>
                  <a:pt x="143" y="542"/>
                  <a:pt x="147" y="545"/>
                  <a:pt x="144" y="546"/>
                </a:cubicBezTo>
                <a:close/>
                <a:moveTo>
                  <a:pt x="196" y="598"/>
                </a:moveTo>
                <a:cubicBezTo>
                  <a:pt x="196" y="598"/>
                  <a:pt x="198" y="597"/>
                  <a:pt x="198" y="598"/>
                </a:cubicBezTo>
                <a:cubicBezTo>
                  <a:pt x="198" y="599"/>
                  <a:pt x="197" y="599"/>
                  <a:pt x="196" y="598"/>
                </a:cubicBezTo>
                <a:close/>
                <a:moveTo>
                  <a:pt x="199" y="607"/>
                </a:moveTo>
                <a:cubicBezTo>
                  <a:pt x="198" y="607"/>
                  <a:pt x="198" y="607"/>
                  <a:pt x="198" y="607"/>
                </a:cubicBezTo>
                <a:cubicBezTo>
                  <a:pt x="198" y="605"/>
                  <a:pt x="200" y="608"/>
                  <a:pt x="199" y="607"/>
                </a:cubicBezTo>
                <a:close/>
                <a:moveTo>
                  <a:pt x="203" y="609"/>
                </a:moveTo>
                <a:cubicBezTo>
                  <a:pt x="203" y="608"/>
                  <a:pt x="205" y="608"/>
                  <a:pt x="205" y="609"/>
                </a:cubicBezTo>
                <a:cubicBezTo>
                  <a:pt x="205" y="609"/>
                  <a:pt x="203" y="610"/>
                  <a:pt x="203" y="609"/>
                </a:cubicBezTo>
                <a:close/>
                <a:moveTo>
                  <a:pt x="208" y="600"/>
                </a:moveTo>
                <a:cubicBezTo>
                  <a:pt x="207" y="600"/>
                  <a:pt x="209" y="600"/>
                  <a:pt x="209" y="600"/>
                </a:cubicBezTo>
                <a:cubicBezTo>
                  <a:pt x="209" y="601"/>
                  <a:pt x="208" y="601"/>
                  <a:pt x="208" y="600"/>
                </a:cubicBezTo>
                <a:close/>
                <a:moveTo>
                  <a:pt x="226" y="627"/>
                </a:moveTo>
                <a:cubicBezTo>
                  <a:pt x="225" y="627"/>
                  <a:pt x="223" y="627"/>
                  <a:pt x="224" y="625"/>
                </a:cubicBezTo>
                <a:cubicBezTo>
                  <a:pt x="225" y="624"/>
                  <a:pt x="229" y="624"/>
                  <a:pt x="229" y="625"/>
                </a:cubicBezTo>
                <a:cubicBezTo>
                  <a:pt x="229" y="626"/>
                  <a:pt x="229" y="626"/>
                  <a:pt x="228" y="627"/>
                </a:cubicBezTo>
                <a:cubicBezTo>
                  <a:pt x="229" y="627"/>
                  <a:pt x="229" y="627"/>
                  <a:pt x="229" y="627"/>
                </a:cubicBezTo>
                <a:cubicBezTo>
                  <a:pt x="228" y="628"/>
                  <a:pt x="227" y="628"/>
                  <a:pt x="226" y="627"/>
                </a:cubicBezTo>
                <a:close/>
                <a:moveTo>
                  <a:pt x="229" y="628"/>
                </a:moveTo>
                <a:cubicBezTo>
                  <a:pt x="229" y="628"/>
                  <a:pt x="231" y="628"/>
                  <a:pt x="231" y="628"/>
                </a:cubicBezTo>
                <a:cubicBezTo>
                  <a:pt x="231" y="629"/>
                  <a:pt x="229" y="628"/>
                  <a:pt x="229" y="628"/>
                </a:cubicBezTo>
                <a:close/>
                <a:moveTo>
                  <a:pt x="228" y="653"/>
                </a:moveTo>
                <a:cubicBezTo>
                  <a:pt x="228" y="653"/>
                  <a:pt x="228" y="653"/>
                  <a:pt x="228" y="653"/>
                </a:cubicBezTo>
                <a:cubicBezTo>
                  <a:pt x="228" y="653"/>
                  <a:pt x="228" y="652"/>
                  <a:pt x="228" y="653"/>
                </a:cubicBezTo>
                <a:close/>
                <a:moveTo>
                  <a:pt x="213" y="659"/>
                </a:moveTo>
                <a:cubicBezTo>
                  <a:pt x="213" y="659"/>
                  <a:pt x="213" y="659"/>
                  <a:pt x="213" y="659"/>
                </a:cubicBezTo>
                <a:cubicBezTo>
                  <a:pt x="213" y="659"/>
                  <a:pt x="213" y="659"/>
                  <a:pt x="213" y="659"/>
                </a:cubicBezTo>
                <a:close/>
                <a:moveTo>
                  <a:pt x="213" y="659"/>
                </a:moveTo>
                <a:cubicBezTo>
                  <a:pt x="214" y="659"/>
                  <a:pt x="213" y="659"/>
                  <a:pt x="213" y="659"/>
                </a:cubicBezTo>
                <a:close/>
                <a:moveTo>
                  <a:pt x="213" y="657"/>
                </a:moveTo>
                <a:cubicBezTo>
                  <a:pt x="213" y="656"/>
                  <a:pt x="214" y="656"/>
                  <a:pt x="214" y="656"/>
                </a:cubicBezTo>
                <a:cubicBezTo>
                  <a:pt x="215" y="657"/>
                  <a:pt x="214" y="657"/>
                  <a:pt x="213" y="657"/>
                </a:cubicBezTo>
                <a:close/>
                <a:moveTo>
                  <a:pt x="216" y="659"/>
                </a:moveTo>
                <a:cubicBezTo>
                  <a:pt x="216" y="658"/>
                  <a:pt x="216" y="657"/>
                  <a:pt x="217" y="658"/>
                </a:cubicBezTo>
                <a:cubicBezTo>
                  <a:pt x="216" y="658"/>
                  <a:pt x="218" y="660"/>
                  <a:pt x="218" y="660"/>
                </a:cubicBezTo>
                <a:cubicBezTo>
                  <a:pt x="217" y="661"/>
                  <a:pt x="215" y="661"/>
                  <a:pt x="216" y="659"/>
                </a:cubicBezTo>
                <a:close/>
                <a:moveTo>
                  <a:pt x="223" y="655"/>
                </a:moveTo>
                <a:cubicBezTo>
                  <a:pt x="222" y="654"/>
                  <a:pt x="224" y="654"/>
                  <a:pt x="224" y="655"/>
                </a:cubicBezTo>
                <a:cubicBezTo>
                  <a:pt x="224" y="655"/>
                  <a:pt x="223" y="655"/>
                  <a:pt x="223" y="655"/>
                </a:cubicBezTo>
                <a:close/>
                <a:moveTo>
                  <a:pt x="218" y="655"/>
                </a:moveTo>
                <a:cubicBezTo>
                  <a:pt x="217" y="655"/>
                  <a:pt x="214" y="653"/>
                  <a:pt x="215" y="651"/>
                </a:cubicBezTo>
                <a:cubicBezTo>
                  <a:pt x="216" y="650"/>
                  <a:pt x="220" y="648"/>
                  <a:pt x="222" y="648"/>
                </a:cubicBezTo>
                <a:cubicBezTo>
                  <a:pt x="223" y="649"/>
                  <a:pt x="224" y="649"/>
                  <a:pt x="224" y="650"/>
                </a:cubicBezTo>
                <a:cubicBezTo>
                  <a:pt x="224" y="650"/>
                  <a:pt x="226" y="648"/>
                  <a:pt x="225" y="650"/>
                </a:cubicBezTo>
                <a:cubicBezTo>
                  <a:pt x="225" y="650"/>
                  <a:pt x="223" y="651"/>
                  <a:pt x="223" y="652"/>
                </a:cubicBezTo>
                <a:cubicBezTo>
                  <a:pt x="224" y="652"/>
                  <a:pt x="225" y="651"/>
                  <a:pt x="225" y="652"/>
                </a:cubicBezTo>
                <a:cubicBezTo>
                  <a:pt x="224" y="652"/>
                  <a:pt x="221" y="655"/>
                  <a:pt x="218" y="655"/>
                </a:cubicBezTo>
                <a:close/>
                <a:moveTo>
                  <a:pt x="227" y="665"/>
                </a:moveTo>
                <a:cubicBezTo>
                  <a:pt x="223" y="666"/>
                  <a:pt x="226" y="661"/>
                  <a:pt x="228" y="662"/>
                </a:cubicBezTo>
                <a:cubicBezTo>
                  <a:pt x="229" y="664"/>
                  <a:pt x="228" y="664"/>
                  <a:pt x="227" y="665"/>
                </a:cubicBezTo>
                <a:close/>
                <a:moveTo>
                  <a:pt x="228" y="654"/>
                </a:moveTo>
                <a:cubicBezTo>
                  <a:pt x="227" y="653"/>
                  <a:pt x="230" y="655"/>
                  <a:pt x="228" y="654"/>
                </a:cubicBezTo>
                <a:close/>
                <a:moveTo>
                  <a:pt x="229" y="639"/>
                </a:moveTo>
                <a:cubicBezTo>
                  <a:pt x="228" y="638"/>
                  <a:pt x="231" y="638"/>
                  <a:pt x="231" y="639"/>
                </a:cubicBezTo>
                <a:cubicBezTo>
                  <a:pt x="231" y="639"/>
                  <a:pt x="230" y="640"/>
                  <a:pt x="229" y="639"/>
                </a:cubicBezTo>
                <a:close/>
                <a:moveTo>
                  <a:pt x="215" y="675"/>
                </a:moveTo>
                <a:cubicBezTo>
                  <a:pt x="216" y="673"/>
                  <a:pt x="216" y="675"/>
                  <a:pt x="215" y="675"/>
                </a:cubicBezTo>
                <a:close/>
                <a:moveTo>
                  <a:pt x="219" y="676"/>
                </a:moveTo>
                <a:cubicBezTo>
                  <a:pt x="220" y="675"/>
                  <a:pt x="221" y="676"/>
                  <a:pt x="223" y="676"/>
                </a:cubicBezTo>
                <a:cubicBezTo>
                  <a:pt x="221" y="676"/>
                  <a:pt x="220" y="677"/>
                  <a:pt x="219" y="676"/>
                </a:cubicBezTo>
                <a:close/>
                <a:moveTo>
                  <a:pt x="226" y="676"/>
                </a:moveTo>
                <a:cubicBezTo>
                  <a:pt x="226" y="675"/>
                  <a:pt x="228" y="675"/>
                  <a:pt x="228" y="675"/>
                </a:cubicBezTo>
                <a:cubicBezTo>
                  <a:pt x="228" y="676"/>
                  <a:pt x="226" y="676"/>
                  <a:pt x="226" y="676"/>
                </a:cubicBezTo>
                <a:close/>
                <a:moveTo>
                  <a:pt x="229" y="676"/>
                </a:moveTo>
                <a:cubicBezTo>
                  <a:pt x="229" y="675"/>
                  <a:pt x="230" y="676"/>
                  <a:pt x="230" y="676"/>
                </a:cubicBezTo>
                <a:cubicBezTo>
                  <a:pt x="230" y="676"/>
                  <a:pt x="229" y="677"/>
                  <a:pt x="229" y="676"/>
                </a:cubicBezTo>
                <a:close/>
                <a:moveTo>
                  <a:pt x="234" y="679"/>
                </a:moveTo>
                <a:cubicBezTo>
                  <a:pt x="234" y="678"/>
                  <a:pt x="235" y="678"/>
                  <a:pt x="235" y="678"/>
                </a:cubicBezTo>
                <a:cubicBezTo>
                  <a:pt x="236" y="679"/>
                  <a:pt x="234" y="679"/>
                  <a:pt x="234" y="679"/>
                </a:cubicBezTo>
                <a:close/>
                <a:moveTo>
                  <a:pt x="248" y="692"/>
                </a:moveTo>
                <a:cubicBezTo>
                  <a:pt x="248" y="691"/>
                  <a:pt x="250" y="691"/>
                  <a:pt x="250" y="691"/>
                </a:cubicBezTo>
                <a:cubicBezTo>
                  <a:pt x="251" y="692"/>
                  <a:pt x="249" y="692"/>
                  <a:pt x="248" y="692"/>
                </a:cubicBezTo>
                <a:close/>
                <a:moveTo>
                  <a:pt x="349" y="41"/>
                </a:moveTo>
                <a:cubicBezTo>
                  <a:pt x="348" y="41"/>
                  <a:pt x="345" y="42"/>
                  <a:pt x="344" y="41"/>
                </a:cubicBezTo>
                <a:cubicBezTo>
                  <a:pt x="344" y="40"/>
                  <a:pt x="348" y="40"/>
                  <a:pt x="349" y="41"/>
                </a:cubicBezTo>
                <a:close/>
                <a:moveTo>
                  <a:pt x="343" y="7"/>
                </a:moveTo>
                <a:cubicBezTo>
                  <a:pt x="344" y="6"/>
                  <a:pt x="345" y="8"/>
                  <a:pt x="343" y="7"/>
                </a:cubicBezTo>
                <a:close/>
                <a:moveTo>
                  <a:pt x="342" y="38"/>
                </a:moveTo>
                <a:cubicBezTo>
                  <a:pt x="341" y="38"/>
                  <a:pt x="340" y="37"/>
                  <a:pt x="339" y="38"/>
                </a:cubicBezTo>
                <a:cubicBezTo>
                  <a:pt x="339" y="37"/>
                  <a:pt x="341" y="37"/>
                  <a:pt x="342" y="38"/>
                </a:cubicBezTo>
                <a:close/>
                <a:moveTo>
                  <a:pt x="335" y="37"/>
                </a:moveTo>
                <a:cubicBezTo>
                  <a:pt x="336" y="36"/>
                  <a:pt x="337" y="39"/>
                  <a:pt x="335" y="37"/>
                </a:cubicBezTo>
                <a:close/>
                <a:moveTo>
                  <a:pt x="336" y="97"/>
                </a:move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5" y="96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lose/>
                <a:moveTo>
                  <a:pt x="316" y="49"/>
                </a:moveTo>
                <a:cubicBezTo>
                  <a:pt x="316" y="49"/>
                  <a:pt x="313" y="50"/>
                  <a:pt x="313" y="49"/>
                </a:cubicBezTo>
                <a:cubicBezTo>
                  <a:pt x="312" y="49"/>
                  <a:pt x="315" y="48"/>
                  <a:pt x="316" y="49"/>
                </a:cubicBezTo>
                <a:close/>
                <a:moveTo>
                  <a:pt x="321" y="108"/>
                </a:moveTo>
                <a:cubicBezTo>
                  <a:pt x="319" y="109"/>
                  <a:pt x="315" y="112"/>
                  <a:pt x="311" y="111"/>
                </a:cubicBezTo>
                <a:cubicBezTo>
                  <a:pt x="314" y="109"/>
                  <a:pt x="317" y="109"/>
                  <a:pt x="321" y="108"/>
                </a:cubicBezTo>
                <a:close/>
                <a:moveTo>
                  <a:pt x="320" y="636"/>
                </a:moveTo>
                <a:cubicBezTo>
                  <a:pt x="319" y="636"/>
                  <a:pt x="320" y="635"/>
                  <a:pt x="320" y="635"/>
                </a:cubicBezTo>
                <a:cubicBezTo>
                  <a:pt x="321" y="635"/>
                  <a:pt x="320" y="636"/>
                  <a:pt x="320" y="636"/>
                </a:cubicBezTo>
                <a:close/>
                <a:moveTo>
                  <a:pt x="319" y="620"/>
                </a:moveTo>
                <a:cubicBezTo>
                  <a:pt x="319" y="620"/>
                  <a:pt x="318" y="620"/>
                  <a:pt x="317" y="620"/>
                </a:cubicBezTo>
                <a:cubicBezTo>
                  <a:pt x="318" y="620"/>
                  <a:pt x="319" y="619"/>
                  <a:pt x="319" y="620"/>
                </a:cubicBezTo>
                <a:close/>
                <a:moveTo>
                  <a:pt x="318" y="614"/>
                </a:moveTo>
                <a:cubicBezTo>
                  <a:pt x="317" y="613"/>
                  <a:pt x="319" y="615"/>
                  <a:pt x="318" y="614"/>
                </a:cubicBezTo>
                <a:close/>
                <a:moveTo>
                  <a:pt x="313" y="137"/>
                </a:moveTo>
                <a:cubicBezTo>
                  <a:pt x="312" y="140"/>
                  <a:pt x="312" y="135"/>
                  <a:pt x="312" y="137"/>
                </a:cubicBezTo>
                <a:cubicBezTo>
                  <a:pt x="312" y="137"/>
                  <a:pt x="313" y="137"/>
                  <a:pt x="313" y="137"/>
                </a:cubicBezTo>
                <a:close/>
                <a:moveTo>
                  <a:pt x="311" y="41"/>
                </a:moveTo>
                <a:cubicBezTo>
                  <a:pt x="310" y="42"/>
                  <a:pt x="309" y="40"/>
                  <a:pt x="311" y="41"/>
                </a:cubicBezTo>
                <a:close/>
                <a:moveTo>
                  <a:pt x="309" y="527"/>
                </a:moveTo>
                <a:cubicBezTo>
                  <a:pt x="309" y="528"/>
                  <a:pt x="306" y="529"/>
                  <a:pt x="306" y="527"/>
                </a:cubicBezTo>
                <a:cubicBezTo>
                  <a:pt x="306" y="525"/>
                  <a:pt x="309" y="526"/>
                  <a:pt x="309" y="527"/>
                </a:cubicBezTo>
                <a:close/>
                <a:moveTo>
                  <a:pt x="307" y="61"/>
                </a:moveTo>
                <a:cubicBezTo>
                  <a:pt x="306" y="60"/>
                  <a:pt x="308" y="61"/>
                  <a:pt x="307" y="61"/>
                </a:cubicBezTo>
                <a:close/>
                <a:moveTo>
                  <a:pt x="293" y="53"/>
                </a:moveTo>
                <a:cubicBezTo>
                  <a:pt x="298" y="52"/>
                  <a:pt x="304" y="52"/>
                  <a:pt x="309" y="51"/>
                </a:cubicBezTo>
                <a:cubicBezTo>
                  <a:pt x="304" y="53"/>
                  <a:pt x="299" y="53"/>
                  <a:pt x="293" y="53"/>
                </a:cubicBezTo>
                <a:close/>
                <a:moveTo>
                  <a:pt x="282" y="662"/>
                </a:moveTo>
                <a:cubicBezTo>
                  <a:pt x="281" y="662"/>
                  <a:pt x="279" y="663"/>
                  <a:pt x="277" y="663"/>
                </a:cubicBezTo>
                <a:cubicBezTo>
                  <a:pt x="279" y="662"/>
                  <a:pt x="281" y="661"/>
                  <a:pt x="282" y="662"/>
                </a:cubicBezTo>
                <a:close/>
                <a:moveTo>
                  <a:pt x="278" y="582"/>
                </a:moveTo>
                <a:cubicBezTo>
                  <a:pt x="278" y="581"/>
                  <a:pt x="280" y="581"/>
                  <a:pt x="279" y="582"/>
                </a:cubicBezTo>
                <a:cubicBezTo>
                  <a:pt x="279" y="582"/>
                  <a:pt x="279" y="582"/>
                  <a:pt x="278" y="582"/>
                </a:cubicBezTo>
                <a:close/>
                <a:moveTo>
                  <a:pt x="282" y="582"/>
                </a:moveTo>
                <a:cubicBezTo>
                  <a:pt x="282" y="582"/>
                  <a:pt x="280" y="583"/>
                  <a:pt x="280" y="581"/>
                </a:cubicBezTo>
                <a:cubicBezTo>
                  <a:pt x="280" y="580"/>
                  <a:pt x="282" y="581"/>
                  <a:pt x="282" y="582"/>
                </a:cubicBezTo>
                <a:close/>
                <a:moveTo>
                  <a:pt x="281" y="574"/>
                </a:moveTo>
                <a:cubicBezTo>
                  <a:pt x="281" y="575"/>
                  <a:pt x="280" y="575"/>
                  <a:pt x="280" y="574"/>
                </a:cubicBezTo>
                <a:cubicBezTo>
                  <a:pt x="279" y="574"/>
                  <a:pt x="281" y="573"/>
                  <a:pt x="281" y="574"/>
                </a:cubicBezTo>
                <a:close/>
                <a:moveTo>
                  <a:pt x="294" y="551"/>
                </a:moveTo>
                <a:cubicBezTo>
                  <a:pt x="291" y="553"/>
                  <a:pt x="287" y="555"/>
                  <a:pt x="285" y="556"/>
                </a:cubicBezTo>
                <a:cubicBezTo>
                  <a:pt x="285" y="556"/>
                  <a:pt x="283" y="557"/>
                  <a:pt x="284" y="556"/>
                </a:cubicBezTo>
                <a:cubicBezTo>
                  <a:pt x="286" y="553"/>
                  <a:pt x="291" y="553"/>
                  <a:pt x="294" y="551"/>
                </a:cubicBezTo>
                <a:close/>
                <a:moveTo>
                  <a:pt x="286" y="536"/>
                </a:moveTo>
                <a:cubicBezTo>
                  <a:pt x="286" y="535"/>
                  <a:pt x="286" y="536"/>
                  <a:pt x="286" y="536"/>
                </a:cubicBezTo>
                <a:cubicBezTo>
                  <a:pt x="285" y="536"/>
                  <a:pt x="286" y="535"/>
                  <a:pt x="286" y="536"/>
                </a:cubicBezTo>
                <a:close/>
                <a:moveTo>
                  <a:pt x="287" y="536"/>
                </a:moveTo>
                <a:cubicBezTo>
                  <a:pt x="287" y="534"/>
                  <a:pt x="289" y="534"/>
                  <a:pt x="289" y="536"/>
                </a:cubicBezTo>
                <a:cubicBezTo>
                  <a:pt x="289" y="537"/>
                  <a:pt x="287" y="536"/>
                  <a:pt x="287" y="536"/>
                </a:cubicBezTo>
                <a:close/>
                <a:moveTo>
                  <a:pt x="290" y="512"/>
                </a:moveTo>
                <a:cubicBezTo>
                  <a:pt x="291" y="510"/>
                  <a:pt x="293" y="509"/>
                  <a:pt x="294" y="508"/>
                </a:cubicBezTo>
                <a:cubicBezTo>
                  <a:pt x="294" y="509"/>
                  <a:pt x="292" y="510"/>
                  <a:pt x="290" y="512"/>
                </a:cubicBezTo>
                <a:close/>
                <a:moveTo>
                  <a:pt x="290" y="550"/>
                </a:moveTo>
                <a:cubicBezTo>
                  <a:pt x="290" y="549"/>
                  <a:pt x="291" y="548"/>
                  <a:pt x="292" y="549"/>
                </a:cubicBezTo>
                <a:cubicBezTo>
                  <a:pt x="292" y="550"/>
                  <a:pt x="290" y="551"/>
                  <a:pt x="290" y="550"/>
                </a:cubicBezTo>
                <a:close/>
                <a:moveTo>
                  <a:pt x="287" y="638"/>
                </a:moveTo>
                <a:cubicBezTo>
                  <a:pt x="288" y="637"/>
                  <a:pt x="289" y="637"/>
                  <a:pt x="290" y="637"/>
                </a:cubicBezTo>
                <a:cubicBezTo>
                  <a:pt x="289" y="637"/>
                  <a:pt x="288" y="638"/>
                  <a:pt x="287" y="638"/>
                </a:cubicBezTo>
                <a:close/>
                <a:moveTo>
                  <a:pt x="290" y="640"/>
                </a:moveTo>
                <a:cubicBezTo>
                  <a:pt x="289" y="641"/>
                  <a:pt x="288" y="640"/>
                  <a:pt x="287" y="641"/>
                </a:cubicBezTo>
                <a:cubicBezTo>
                  <a:pt x="287" y="640"/>
                  <a:pt x="289" y="639"/>
                  <a:pt x="290" y="640"/>
                </a:cubicBezTo>
                <a:close/>
                <a:moveTo>
                  <a:pt x="292" y="594"/>
                </a:moveTo>
                <a:cubicBezTo>
                  <a:pt x="292" y="595"/>
                  <a:pt x="288" y="596"/>
                  <a:pt x="288" y="593"/>
                </a:cubicBezTo>
                <a:cubicBezTo>
                  <a:pt x="288" y="591"/>
                  <a:pt x="292" y="592"/>
                  <a:pt x="292" y="594"/>
                </a:cubicBezTo>
                <a:close/>
                <a:moveTo>
                  <a:pt x="288" y="573"/>
                </a:moveTo>
                <a:cubicBezTo>
                  <a:pt x="288" y="572"/>
                  <a:pt x="290" y="571"/>
                  <a:pt x="291" y="571"/>
                </a:cubicBezTo>
                <a:cubicBezTo>
                  <a:pt x="290" y="572"/>
                  <a:pt x="289" y="572"/>
                  <a:pt x="288" y="573"/>
                </a:cubicBezTo>
                <a:close/>
                <a:moveTo>
                  <a:pt x="292" y="571"/>
                </a:moveTo>
                <a:cubicBezTo>
                  <a:pt x="292" y="570"/>
                  <a:pt x="293" y="569"/>
                  <a:pt x="294" y="570"/>
                </a:cubicBezTo>
                <a:cubicBezTo>
                  <a:pt x="294" y="571"/>
                  <a:pt x="292" y="571"/>
                  <a:pt x="292" y="571"/>
                </a:cubicBezTo>
                <a:close/>
                <a:moveTo>
                  <a:pt x="293" y="594"/>
                </a:moveTo>
                <a:cubicBezTo>
                  <a:pt x="293" y="596"/>
                  <a:pt x="291" y="595"/>
                  <a:pt x="293" y="594"/>
                </a:cubicBezTo>
                <a:close/>
                <a:moveTo>
                  <a:pt x="291" y="595"/>
                </a:moveTo>
                <a:cubicBezTo>
                  <a:pt x="290" y="597"/>
                  <a:pt x="288" y="596"/>
                  <a:pt x="291" y="595"/>
                </a:cubicBezTo>
                <a:close/>
                <a:moveTo>
                  <a:pt x="290" y="625"/>
                </a:moveTo>
                <a:cubicBezTo>
                  <a:pt x="291" y="626"/>
                  <a:pt x="290" y="625"/>
                  <a:pt x="290" y="625"/>
                </a:cubicBezTo>
                <a:cubicBezTo>
                  <a:pt x="290" y="625"/>
                  <a:pt x="290" y="625"/>
                  <a:pt x="290" y="625"/>
                </a:cubicBezTo>
                <a:close/>
                <a:moveTo>
                  <a:pt x="289" y="602"/>
                </a:moveTo>
                <a:cubicBezTo>
                  <a:pt x="289" y="601"/>
                  <a:pt x="292" y="601"/>
                  <a:pt x="293" y="601"/>
                </a:cubicBezTo>
                <a:cubicBezTo>
                  <a:pt x="292" y="602"/>
                  <a:pt x="290" y="602"/>
                  <a:pt x="289" y="602"/>
                </a:cubicBezTo>
                <a:close/>
                <a:moveTo>
                  <a:pt x="291" y="634"/>
                </a:moveTo>
                <a:cubicBezTo>
                  <a:pt x="292" y="634"/>
                  <a:pt x="293" y="634"/>
                  <a:pt x="292" y="635"/>
                </a:cubicBezTo>
                <a:cubicBezTo>
                  <a:pt x="292" y="636"/>
                  <a:pt x="291" y="635"/>
                  <a:pt x="291" y="634"/>
                </a:cubicBezTo>
                <a:close/>
                <a:moveTo>
                  <a:pt x="295" y="635"/>
                </a:moveTo>
                <a:cubicBezTo>
                  <a:pt x="294" y="636"/>
                  <a:pt x="293" y="637"/>
                  <a:pt x="291" y="636"/>
                </a:cubicBezTo>
                <a:cubicBezTo>
                  <a:pt x="292" y="636"/>
                  <a:pt x="294" y="636"/>
                  <a:pt x="295" y="635"/>
                </a:cubicBezTo>
                <a:close/>
                <a:moveTo>
                  <a:pt x="293" y="583"/>
                </a:moveTo>
                <a:cubicBezTo>
                  <a:pt x="293" y="583"/>
                  <a:pt x="294" y="583"/>
                  <a:pt x="294" y="583"/>
                </a:cubicBezTo>
                <a:cubicBezTo>
                  <a:pt x="295" y="584"/>
                  <a:pt x="293" y="585"/>
                  <a:pt x="293" y="583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538"/>
                </a:moveTo>
                <a:cubicBezTo>
                  <a:pt x="283" y="538"/>
                  <a:pt x="284" y="537"/>
                  <a:pt x="284" y="537"/>
                </a:cubicBezTo>
                <a:cubicBezTo>
                  <a:pt x="285" y="537"/>
                  <a:pt x="284" y="538"/>
                  <a:pt x="284" y="538"/>
                </a:cubicBezTo>
                <a:close/>
                <a:moveTo>
                  <a:pt x="285" y="588"/>
                </a:moveTo>
                <a:cubicBezTo>
                  <a:pt x="284" y="589"/>
                  <a:pt x="283" y="589"/>
                  <a:pt x="282" y="590"/>
                </a:cubicBezTo>
                <a:cubicBezTo>
                  <a:pt x="282" y="590"/>
                  <a:pt x="284" y="588"/>
                  <a:pt x="285" y="588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612"/>
                </a:moveTo>
                <a:cubicBezTo>
                  <a:pt x="281" y="614"/>
                  <a:pt x="281" y="612"/>
                  <a:pt x="284" y="612"/>
                </a:cubicBezTo>
                <a:close/>
                <a:moveTo>
                  <a:pt x="283" y="648"/>
                </a:moveTo>
                <a:cubicBezTo>
                  <a:pt x="284" y="645"/>
                  <a:pt x="286" y="647"/>
                  <a:pt x="283" y="648"/>
                </a:cubicBezTo>
                <a:close/>
                <a:moveTo>
                  <a:pt x="287" y="661"/>
                </a:moveTo>
                <a:cubicBezTo>
                  <a:pt x="287" y="661"/>
                  <a:pt x="285" y="662"/>
                  <a:pt x="284" y="662"/>
                </a:cubicBezTo>
                <a:cubicBezTo>
                  <a:pt x="284" y="661"/>
                  <a:pt x="287" y="660"/>
                  <a:pt x="287" y="661"/>
                </a:cubicBezTo>
                <a:close/>
                <a:moveTo>
                  <a:pt x="288" y="667"/>
                </a:moveTo>
                <a:cubicBezTo>
                  <a:pt x="288" y="668"/>
                  <a:pt x="286" y="668"/>
                  <a:pt x="286" y="667"/>
                </a:cubicBezTo>
                <a:cubicBezTo>
                  <a:pt x="285" y="666"/>
                  <a:pt x="288" y="666"/>
                  <a:pt x="288" y="667"/>
                </a:cubicBezTo>
                <a:close/>
                <a:moveTo>
                  <a:pt x="287" y="650"/>
                </a:moveTo>
                <a:cubicBezTo>
                  <a:pt x="287" y="648"/>
                  <a:pt x="290" y="647"/>
                  <a:pt x="291" y="649"/>
                </a:cubicBezTo>
                <a:cubicBezTo>
                  <a:pt x="295" y="653"/>
                  <a:pt x="286" y="654"/>
                  <a:pt x="287" y="650"/>
                </a:cubicBezTo>
                <a:close/>
                <a:moveTo>
                  <a:pt x="292" y="691"/>
                </a:moveTo>
                <a:cubicBezTo>
                  <a:pt x="292" y="691"/>
                  <a:pt x="292" y="691"/>
                  <a:pt x="292" y="691"/>
                </a:cubicBezTo>
                <a:cubicBezTo>
                  <a:pt x="292" y="689"/>
                  <a:pt x="294" y="692"/>
                  <a:pt x="292" y="691"/>
                </a:cubicBezTo>
                <a:close/>
                <a:moveTo>
                  <a:pt x="292" y="646"/>
                </a:moveTo>
                <a:cubicBezTo>
                  <a:pt x="290" y="644"/>
                  <a:pt x="297" y="643"/>
                  <a:pt x="294" y="646"/>
                </a:cubicBezTo>
                <a:cubicBezTo>
                  <a:pt x="294" y="646"/>
                  <a:pt x="293" y="646"/>
                  <a:pt x="292" y="646"/>
                </a:cubicBezTo>
                <a:close/>
                <a:moveTo>
                  <a:pt x="294" y="600"/>
                </a:moveTo>
                <a:cubicBezTo>
                  <a:pt x="294" y="600"/>
                  <a:pt x="296" y="599"/>
                  <a:pt x="297" y="599"/>
                </a:cubicBezTo>
                <a:cubicBezTo>
                  <a:pt x="296" y="600"/>
                  <a:pt x="295" y="600"/>
                  <a:pt x="294" y="600"/>
                </a:cubicBezTo>
                <a:close/>
                <a:moveTo>
                  <a:pt x="293" y="530"/>
                </a:moveTo>
                <a:cubicBezTo>
                  <a:pt x="294" y="529"/>
                  <a:pt x="296" y="528"/>
                  <a:pt x="297" y="530"/>
                </a:cubicBezTo>
                <a:cubicBezTo>
                  <a:pt x="298" y="532"/>
                  <a:pt x="293" y="534"/>
                  <a:pt x="293" y="530"/>
                </a:cubicBezTo>
                <a:close/>
                <a:moveTo>
                  <a:pt x="303" y="581"/>
                </a:moveTo>
                <a:cubicBezTo>
                  <a:pt x="303" y="584"/>
                  <a:pt x="298" y="584"/>
                  <a:pt x="297" y="581"/>
                </a:cubicBezTo>
                <a:cubicBezTo>
                  <a:pt x="297" y="578"/>
                  <a:pt x="303" y="579"/>
                  <a:pt x="303" y="581"/>
                </a:cubicBezTo>
                <a:close/>
                <a:moveTo>
                  <a:pt x="298" y="504"/>
                </a:moveTo>
                <a:cubicBezTo>
                  <a:pt x="298" y="503"/>
                  <a:pt x="300" y="504"/>
                  <a:pt x="298" y="504"/>
                </a:cubicBezTo>
                <a:close/>
                <a:moveTo>
                  <a:pt x="300" y="102"/>
                </a:moveTo>
                <a:cubicBezTo>
                  <a:pt x="298" y="103"/>
                  <a:pt x="297" y="101"/>
                  <a:pt x="300" y="102"/>
                </a:cubicBezTo>
                <a:close/>
                <a:moveTo>
                  <a:pt x="299" y="578"/>
                </a:moveTo>
                <a:cubicBezTo>
                  <a:pt x="299" y="578"/>
                  <a:pt x="298" y="579"/>
                  <a:pt x="298" y="578"/>
                </a:cubicBezTo>
                <a:cubicBezTo>
                  <a:pt x="297" y="577"/>
                  <a:pt x="300" y="577"/>
                  <a:pt x="299" y="578"/>
                </a:cubicBezTo>
                <a:close/>
                <a:moveTo>
                  <a:pt x="303" y="67"/>
                </a:moveTo>
                <a:cubicBezTo>
                  <a:pt x="302" y="69"/>
                  <a:pt x="302" y="67"/>
                  <a:pt x="303" y="67"/>
                </a:cubicBezTo>
                <a:close/>
                <a:moveTo>
                  <a:pt x="304" y="592"/>
                </a:moveTo>
                <a:cubicBezTo>
                  <a:pt x="304" y="593"/>
                  <a:pt x="301" y="593"/>
                  <a:pt x="300" y="594"/>
                </a:cubicBezTo>
                <a:cubicBezTo>
                  <a:pt x="301" y="593"/>
                  <a:pt x="303" y="592"/>
                  <a:pt x="304" y="592"/>
                </a:cubicBezTo>
                <a:close/>
                <a:moveTo>
                  <a:pt x="304" y="660"/>
                </a:moveTo>
                <a:cubicBezTo>
                  <a:pt x="304" y="661"/>
                  <a:pt x="304" y="662"/>
                  <a:pt x="304" y="662"/>
                </a:cubicBezTo>
                <a:cubicBezTo>
                  <a:pt x="302" y="664"/>
                  <a:pt x="301" y="659"/>
                  <a:pt x="304" y="660"/>
                </a:cubicBezTo>
                <a:close/>
                <a:moveTo>
                  <a:pt x="308" y="41"/>
                </a:moveTo>
                <a:cubicBezTo>
                  <a:pt x="308" y="41"/>
                  <a:pt x="307" y="42"/>
                  <a:pt x="307" y="42"/>
                </a:cubicBezTo>
                <a:cubicBezTo>
                  <a:pt x="306" y="42"/>
                  <a:pt x="307" y="41"/>
                  <a:pt x="308" y="41"/>
                </a:cubicBezTo>
                <a:close/>
                <a:moveTo>
                  <a:pt x="298" y="26"/>
                </a:moveTo>
                <a:cubicBezTo>
                  <a:pt x="300" y="25"/>
                  <a:pt x="300" y="27"/>
                  <a:pt x="298" y="26"/>
                </a:cubicBezTo>
                <a:close/>
                <a:moveTo>
                  <a:pt x="299" y="30"/>
                </a:moveTo>
                <a:cubicBezTo>
                  <a:pt x="297" y="31"/>
                  <a:pt x="295" y="30"/>
                  <a:pt x="293" y="30"/>
                </a:cubicBezTo>
                <a:cubicBezTo>
                  <a:pt x="295" y="29"/>
                  <a:pt x="297" y="29"/>
                  <a:pt x="299" y="30"/>
                </a:cubicBezTo>
                <a:close/>
                <a:moveTo>
                  <a:pt x="291" y="53"/>
                </a:moveTo>
                <a:cubicBezTo>
                  <a:pt x="287" y="54"/>
                  <a:pt x="283" y="55"/>
                  <a:pt x="279" y="55"/>
                </a:cubicBezTo>
                <a:cubicBezTo>
                  <a:pt x="283" y="54"/>
                  <a:pt x="287" y="53"/>
                  <a:pt x="291" y="53"/>
                </a:cubicBezTo>
                <a:close/>
                <a:moveTo>
                  <a:pt x="288" y="513"/>
                </a:moveTo>
                <a:cubicBezTo>
                  <a:pt x="287" y="513"/>
                  <a:pt x="290" y="512"/>
                  <a:pt x="289" y="512"/>
                </a:cubicBezTo>
                <a:cubicBezTo>
                  <a:pt x="290" y="512"/>
                  <a:pt x="289" y="514"/>
                  <a:pt x="288" y="513"/>
                </a:cubicBezTo>
                <a:close/>
                <a:moveTo>
                  <a:pt x="282" y="526"/>
                </a:moveTo>
                <a:cubicBezTo>
                  <a:pt x="282" y="526"/>
                  <a:pt x="281" y="527"/>
                  <a:pt x="280" y="526"/>
                </a:cubicBezTo>
                <a:cubicBezTo>
                  <a:pt x="280" y="526"/>
                  <a:pt x="282" y="525"/>
                  <a:pt x="282" y="526"/>
                </a:cubicBezTo>
                <a:close/>
                <a:moveTo>
                  <a:pt x="286" y="526"/>
                </a:moveTo>
                <a:cubicBezTo>
                  <a:pt x="286" y="526"/>
                  <a:pt x="291" y="524"/>
                  <a:pt x="290" y="526"/>
                </a:cubicBezTo>
                <a:cubicBezTo>
                  <a:pt x="290" y="527"/>
                  <a:pt x="285" y="527"/>
                  <a:pt x="284" y="527"/>
                </a:cubicBezTo>
                <a:cubicBezTo>
                  <a:pt x="281" y="527"/>
                  <a:pt x="278" y="530"/>
                  <a:pt x="275" y="529"/>
                </a:cubicBezTo>
                <a:cubicBezTo>
                  <a:pt x="276" y="527"/>
                  <a:pt x="284" y="527"/>
                  <a:pt x="286" y="526"/>
                </a:cubicBezTo>
                <a:close/>
                <a:moveTo>
                  <a:pt x="277" y="694"/>
                </a:moveTo>
                <a:cubicBezTo>
                  <a:pt x="277" y="695"/>
                  <a:pt x="275" y="695"/>
                  <a:pt x="275" y="694"/>
                </a:cubicBezTo>
                <a:cubicBezTo>
                  <a:pt x="275" y="693"/>
                  <a:pt x="277" y="694"/>
                  <a:pt x="277" y="694"/>
                </a:cubicBezTo>
                <a:close/>
                <a:moveTo>
                  <a:pt x="266" y="653"/>
                </a:moveTo>
                <a:cubicBezTo>
                  <a:pt x="266" y="653"/>
                  <a:pt x="266" y="652"/>
                  <a:pt x="266" y="651"/>
                </a:cubicBezTo>
                <a:cubicBezTo>
                  <a:pt x="267" y="648"/>
                  <a:pt x="270" y="649"/>
                  <a:pt x="271" y="650"/>
                </a:cubicBezTo>
                <a:cubicBezTo>
                  <a:pt x="271" y="650"/>
                  <a:pt x="271" y="650"/>
                  <a:pt x="271" y="650"/>
                </a:cubicBezTo>
                <a:cubicBezTo>
                  <a:pt x="271" y="650"/>
                  <a:pt x="271" y="650"/>
                  <a:pt x="272" y="650"/>
                </a:cubicBezTo>
                <a:cubicBezTo>
                  <a:pt x="275" y="651"/>
                  <a:pt x="270" y="659"/>
                  <a:pt x="266" y="653"/>
                </a:cubicBezTo>
                <a:close/>
                <a:moveTo>
                  <a:pt x="268" y="657"/>
                </a:moveTo>
                <a:cubicBezTo>
                  <a:pt x="267" y="656"/>
                  <a:pt x="269" y="657"/>
                  <a:pt x="268" y="657"/>
                </a:cubicBezTo>
                <a:close/>
                <a:moveTo>
                  <a:pt x="264" y="633"/>
                </a:moveTo>
                <a:cubicBezTo>
                  <a:pt x="263" y="633"/>
                  <a:pt x="264" y="632"/>
                  <a:pt x="265" y="632"/>
                </a:cubicBezTo>
                <a:cubicBezTo>
                  <a:pt x="265" y="633"/>
                  <a:pt x="264" y="632"/>
                  <a:pt x="264" y="633"/>
                </a:cubicBezTo>
                <a:close/>
                <a:moveTo>
                  <a:pt x="263" y="663"/>
                </a:moveTo>
                <a:cubicBezTo>
                  <a:pt x="265" y="662"/>
                  <a:pt x="265" y="664"/>
                  <a:pt x="263" y="663"/>
                </a:cubicBezTo>
                <a:close/>
                <a:moveTo>
                  <a:pt x="265" y="623"/>
                </a:moveTo>
                <a:cubicBezTo>
                  <a:pt x="267" y="623"/>
                  <a:pt x="269" y="624"/>
                  <a:pt x="269" y="627"/>
                </a:cubicBezTo>
                <a:cubicBezTo>
                  <a:pt x="268" y="625"/>
                  <a:pt x="267" y="628"/>
                  <a:pt x="265" y="629"/>
                </a:cubicBezTo>
                <a:cubicBezTo>
                  <a:pt x="258" y="631"/>
                  <a:pt x="258" y="621"/>
                  <a:pt x="265" y="623"/>
                </a:cubicBezTo>
                <a:close/>
                <a:moveTo>
                  <a:pt x="271" y="560"/>
                </a:moveTo>
                <a:cubicBezTo>
                  <a:pt x="272" y="561"/>
                  <a:pt x="269" y="562"/>
                  <a:pt x="269" y="561"/>
                </a:cubicBezTo>
                <a:cubicBezTo>
                  <a:pt x="269" y="560"/>
                  <a:pt x="271" y="559"/>
                  <a:pt x="271" y="560"/>
                </a:cubicBezTo>
                <a:close/>
                <a:moveTo>
                  <a:pt x="271" y="507"/>
                </a:moveTo>
                <a:cubicBezTo>
                  <a:pt x="271" y="505"/>
                  <a:pt x="271" y="509"/>
                  <a:pt x="271" y="507"/>
                </a:cubicBezTo>
                <a:close/>
                <a:moveTo>
                  <a:pt x="273" y="532"/>
                </a:moveTo>
                <a:cubicBezTo>
                  <a:pt x="273" y="532"/>
                  <a:pt x="273" y="533"/>
                  <a:pt x="273" y="533"/>
                </a:cubicBezTo>
                <a:cubicBezTo>
                  <a:pt x="270" y="531"/>
                  <a:pt x="277" y="530"/>
                  <a:pt x="273" y="532"/>
                </a:cubicBezTo>
                <a:close/>
                <a:moveTo>
                  <a:pt x="273" y="556"/>
                </a:moveTo>
                <a:cubicBezTo>
                  <a:pt x="273" y="555"/>
                  <a:pt x="274" y="555"/>
                  <a:pt x="274" y="555"/>
                </a:cubicBezTo>
                <a:cubicBezTo>
                  <a:pt x="277" y="555"/>
                  <a:pt x="274" y="558"/>
                  <a:pt x="273" y="556"/>
                </a:cubicBezTo>
                <a:close/>
                <a:moveTo>
                  <a:pt x="270" y="624"/>
                </a:moveTo>
                <a:cubicBezTo>
                  <a:pt x="270" y="624"/>
                  <a:pt x="269" y="624"/>
                  <a:pt x="269" y="624"/>
                </a:cubicBezTo>
                <a:cubicBezTo>
                  <a:pt x="269" y="623"/>
                  <a:pt x="271" y="623"/>
                  <a:pt x="270" y="624"/>
                </a:cubicBezTo>
                <a:close/>
                <a:moveTo>
                  <a:pt x="266" y="617"/>
                </a:moveTo>
                <a:cubicBezTo>
                  <a:pt x="266" y="615"/>
                  <a:pt x="269" y="616"/>
                  <a:pt x="269" y="617"/>
                </a:cubicBezTo>
                <a:cubicBezTo>
                  <a:pt x="269" y="618"/>
                  <a:pt x="267" y="618"/>
                  <a:pt x="266" y="617"/>
                </a:cubicBezTo>
                <a:close/>
                <a:moveTo>
                  <a:pt x="271" y="647"/>
                </a:moveTo>
                <a:cubicBezTo>
                  <a:pt x="271" y="648"/>
                  <a:pt x="269" y="648"/>
                  <a:pt x="269" y="647"/>
                </a:cubicBezTo>
                <a:cubicBezTo>
                  <a:pt x="269" y="647"/>
                  <a:pt x="270" y="646"/>
                  <a:pt x="271" y="647"/>
                </a:cubicBezTo>
                <a:close/>
                <a:moveTo>
                  <a:pt x="270" y="628"/>
                </a:moveTo>
                <a:cubicBezTo>
                  <a:pt x="270" y="627"/>
                  <a:pt x="273" y="626"/>
                  <a:pt x="273" y="628"/>
                </a:cubicBezTo>
                <a:cubicBezTo>
                  <a:pt x="273" y="628"/>
                  <a:pt x="270" y="630"/>
                  <a:pt x="270" y="628"/>
                </a:cubicBezTo>
                <a:close/>
                <a:moveTo>
                  <a:pt x="273" y="613"/>
                </a:moveTo>
                <a:cubicBezTo>
                  <a:pt x="273" y="614"/>
                  <a:pt x="271" y="614"/>
                  <a:pt x="271" y="614"/>
                </a:cubicBezTo>
                <a:cubicBezTo>
                  <a:pt x="270" y="613"/>
                  <a:pt x="272" y="613"/>
                  <a:pt x="273" y="613"/>
                </a:cubicBezTo>
                <a:close/>
                <a:moveTo>
                  <a:pt x="270" y="571"/>
                </a:moveTo>
                <a:cubicBezTo>
                  <a:pt x="270" y="571"/>
                  <a:pt x="270" y="571"/>
                  <a:pt x="270" y="571"/>
                </a:cubicBezTo>
                <a:cubicBezTo>
                  <a:pt x="270" y="569"/>
                  <a:pt x="272" y="572"/>
                  <a:pt x="270" y="571"/>
                </a:cubicBezTo>
                <a:close/>
                <a:moveTo>
                  <a:pt x="271" y="564"/>
                </a:moveTo>
                <a:cubicBezTo>
                  <a:pt x="269" y="565"/>
                  <a:pt x="268" y="566"/>
                  <a:pt x="267" y="566"/>
                </a:cubicBezTo>
                <a:cubicBezTo>
                  <a:pt x="268" y="565"/>
                  <a:pt x="269" y="564"/>
                  <a:pt x="271" y="564"/>
                </a:cubicBezTo>
                <a:close/>
                <a:moveTo>
                  <a:pt x="271" y="572"/>
                </a:moveTo>
                <a:cubicBezTo>
                  <a:pt x="269" y="573"/>
                  <a:pt x="269" y="574"/>
                  <a:pt x="271" y="574"/>
                </a:cubicBezTo>
                <a:cubicBezTo>
                  <a:pt x="270" y="576"/>
                  <a:pt x="266" y="579"/>
                  <a:pt x="263" y="577"/>
                </a:cubicBezTo>
                <a:cubicBezTo>
                  <a:pt x="258" y="573"/>
                  <a:pt x="266" y="568"/>
                  <a:pt x="271" y="572"/>
                </a:cubicBezTo>
                <a:close/>
                <a:moveTo>
                  <a:pt x="264" y="612"/>
                </a:moveTo>
                <a:cubicBezTo>
                  <a:pt x="265" y="612"/>
                  <a:pt x="263" y="612"/>
                  <a:pt x="263" y="612"/>
                </a:cubicBezTo>
                <a:cubicBezTo>
                  <a:pt x="263" y="611"/>
                  <a:pt x="264" y="611"/>
                  <a:pt x="264" y="612"/>
                </a:cubicBezTo>
                <a:close/>
                <a:moveTo>
                  <a:pt x="266" y="632"/>
                </a:moveTo>
                <a:cubicBezTo>
                  <a:pt x="266" y="632"/>
                  <a:pt x="266" y="632"/>
                  <a:pt x="266" y="632"/>
                </a:cubicBezTo>
                <a:cubicBezTo>
                  <a:pt x="265" y="630"/>
                  <a:pt x="268" y="633"/>
                  <a:pt x="266" y="632"/>
                </a:cubicBezTo>
                <a:close/>
                <a:moveTo>
                  <a:pt x="276" y="663"/>
                </a:moveTo>
                <a:cubicBezTo>
                  <a:pt x="274" y="664"/>
                  <a:pt x="273" y="665"/>
                  <a:pt x="271" y="665"/>
                </a:cubicBezTo>
                <a:cubicBezTo>
                  <a:pt x="272" y="663"/>
                  <a:pt x="274" y="663"/>
                  <a:pt x="276" y="663"/>
                </a:cubicBezTo>
                <a:close/>
                <a:moveTo>
                  <a:pt x="270" y="486"/>
                </a:moveTo>
                <a:cubicBezTo>
                  <a:pt x="270" y="486"/>
                  <a:pt x="270" y="486"/>
                  <a:pt x="270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0" y="485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lose/>
                <a:moveTo>
                  <a:pt x="274" y="496"/>
                </a:moveTo>
                <a:cubicBezTo>
                  <a:pt x="274" y="499"/>
                  <a:pt x="269" y="498"/>
                  <a:pt x="269" y="496"/>
                </a:cubicBezTo>
                <a:cubicBezTo>
                  <a:pt x="269" y="496"/>
                  <a:pt x="274" y="494"/>
                  <a:pt x="274" y="496"/>
                </a:cubicBezTo>
                <a:close/>
                <a:moveTo>
                  <a:pt x="276" y="504"/>
                </a:moveTo>
                <a:cubicBezTo>
                  <a:pt x="274" y="506"/>
                  <a:pt x="271" y="506"/>
                  <a:pt x="269" y="507"/>
                </a:cubicBezTo>
                <a:cubicBezTo>
                  <a:pt x="270" y="506"/>
                  <a:pt x="274" y="504"/>
                  <a:pt x="276" y="504"/>
                </a:cubicBezTo>
                <a:close/>
                <a:moveTo>
                  <a:pt x="268" y="467"/>
                </a:moveTo>
                <a:cubicBezTo>
                  <a:pt x="268" y="468"/>
                  <a:pt x="268" y="468"/>
                  <a:pt x="267" y="468"/>
                </a:cubicBezTo>
                <a:cubicBezTo>
                  <a:pt x="267" y="468"/>
                  <a:pt x="268" y="467"/>
                  <a:pt x="268" y="467"/>
                </a:cubicBezTo>
                <a:close/>
                <a:moveTo>
                  <a:pt x="267" y="506"/>
                </a:moveTo>
                <a:cubicBezTo>
                  <a:pt x="268" y="506"/>
                  <a:pt x="267" y="507"/>
                  <a:pt x="267" y="507"/>
                </a:cubicBezTo>
                <a:cubicBezTo>
                  <a:pt x="266" y="506"/>
                  <a:pt x="267" y="506"/>
                  <a:pt x="267" y="506"/>
                </a:cubicBezTo>
                <a:close/>
                <a:moveTo>
                  <a:pt x="264" y="562"/>
                </a:moveTo>
                <a:cubicBezTo>
                  <a:pt x="265" y="562"/>
                  <a:pt x="262" y="562"/>
                  <a:pt x="262" y="562"/>
                </a:cubicBezTo>
                <a:cubicBezTo>
                  <a:pt x="262" y="562"/>
                  <a:pt x="264" y="561"/>
                  <a:pt x="264" y="562"/>
                </a:cubicBezTo>
                <a:close/>
                <a:moveTo>
                  <a:pt x="262" y="562"/>
                </a:moveTo>
                <a:cubicBezTo>
                  <a:pt x="261" y="563"/>
                  <a:pt x="260" y="561"/>
                  <a:pt x="262" y="562"/>
                </a:cubicBezTo>
                <a:close/>
                <a:moveTo>
                  <a:pt x="260" y="440"/>
                </a:moveTo>
                <a:cubicBezTo>
                  <a:pt x="261" y="440"/>
                  <a:pt x="260" y="441"/>
                  <a:pt x="260" y="441"/>
                </a:cubicBezTo>
                <a:cubicBezTo>
                  <a:pt x="257" y="443"/>
                  <a:pt x="259" y="439"/>
                  <a:pt x="260" y="440"/>
                </a:cubicBezTo>
                <a:close/>
                <a:moveTo>
                  <a:pt x="257" y="484"/>
                </a:moveTo>
                <a:cubicBezTo>
                  <a:pt x="257" y="484"/>
                  <a:pt x="257" y="483"/>
                  <a:pt x="257" y="483"/>
                </a:cubicBezTo>
                <a:cubicBezTo>
                  <a:pt x="257" y="484"/>
                  <a:pt x="257" y="484"/>
                  <a:pt x="257" y="484"/>
                </a:cubicBezTo>
                <a:cubicBezTo>
                  <a:pt x="257" y="484"/>
                  <a:pt x="257" y="484"/>
                  <a:pt x="257" y="484"/>
                </a:cubicBezTo>
                <a:close/>
                <a:moveTo>
                  <a:pt x="256" y="495"/>
                </a:moveTo>
                <a:cubicBezTo>
                  <a:pt x="255" y="496"/>
                  <a:pt x="255" y="496"/>
                  <a:pt x="254" y="495"/>
                </a:cubicBezTo>
                <a:cubicBezTo>
                  <a:pt x="254" y="494"/>
                  <a:pt x="257" y="494"/>
                  <a:pt x="256" y="495"/>
                </a:cubicBezTo>
                <a:close/>
                <a:moveTo>
                  <a:pt x="252" y="519"/>
                </a:moveTo>
                <a:cubicBezTo>
                  <a:pt x="252" y="519"/>
                  <a:pt x="252" y="520"/>
                  <a:pt x="252" y="520"/>
                </a:cubicBezTo>
                <a:cubicBezTo>
                  <a:pt x="251" y="519"/>
                  <a:pt x="252" y="518"/>
                  <a:pt x="252" y="519"/>
                </a:cubicBezTo>
                <a:close/>
                <a:moveTo>
                  <a:pt x="250" y="460"/>
                </a:moveTo>
                <a:cubicBezTo>
                  <a:pt x="251" y="459"/>
                  <a:pt x="251" y="460"/>
                  <a:pt x="251" y="461"/>
                </a:cubicBezTo>
                <a:cubicBezTo>
                  <a:pt x="250" y="462"/>
                  <a:pt x="249" y="460"/>
                  <a:pt x="250" y="460"/>
                </a:cubicBezTo>
                <a:close/>
                <a:moveTo>
                  <a:pt x="253" y="530"/>
                </a:moveTo>
                <a:cubicBezTo>
                  <a:pt x="254" y="528"/>
                  <a:pt x="259" y="522"/>
                  <a:pt x="261" y="522"/>
                </a:cubicBezTo>
                <a:cubicBezTo>
                  <a:pt x="264" y="521"/>
                  <a:pt x="260" y="524"/>
                  <a:pt x="259" y="524"/>
                </a:cubicBezTo>
                <a:cubicBezTo>
                  <a:pt x="257" y="526"/>
                  <a:pt x="255" y="529"/>
                  <a:pt x="253" y="531"/>
                </a:cubicBezTo>
                <a:cubicBezTo>
                  <a:pt x="253" y="531"/>
                  <a:pt x="253" y="531"/>
                  <a:pt x="253" y="531"/>
                </a:cubicBezTo>
                <a:cubicBezTo>
                  <a:pt x="253" y="531"/>
                  <a:pt x="253" y="532"/>
                  <a:pt x="252" y="532"/>
                </a:cubicBezTo>
                <a:cubicBezTo>
                  <a:pt x="252" y="532"/>
                  <a:pt x="252" y="532"/>
                  <a:pt x="252" y="532"/>
                </a:cubicBezTo>
                <a:cubicBezTo>
                  <a:pt x="251" y="533"/>
                  <a:pt x="251" y="533"/>
                  <a:pt x="250" y="534"/>
                </a:cubicBezTo>
                <a:cubicBezTo>
                  <a:pt x="250" y="534"/>
                  <a:pt x="249" y="533"/>
                  <a:pt x="249" y="533"/>
                </a:cubicBezTo>
                <a:cubicBezTo>
                  <a:pt x="249" y="533"/>
                  <a:pt x="251" y="531"/>
                  <a:pt x="253" y="530"/>
                </a:cubicBezTo>
                <a:close/>
                <a:moveTo>
                  <a:pt x="253" y="640"/>
                </a:moveTo>
                <a:cubicBezTo>
                  <a:pt x="253" y="638"/>
                  <a:pt x="257" y="638"/>
                  <a:pt x="258" y="639"/>
                </a:cubicBezTo>
                <a:cubicBezTo>
                  <a:pt x="259" y="641"/>
                  <a:pt x="254" y="642"/>
                  <a:pt x="253" y="640"/>
                </a:cubicBezTo>
                <a:close/>
                <a:moveTo>
                  <a:pt x="255" y="652"/>
                </a:moveTo>
                <a:cubicBezTo>
                  <a:pt x="256" y="653"/>
                  <a:pt x="254" y="653"/>
                  <a:pt x="254" y="652"/>
                </a:cubicBezTo>
                <a:cubicBezTo>
                  <a:pt x="253" y="651"/>
                  <a:pt x="255" y="651"/>
                  <a:pt x="255" y="652"/>
                </a:cubicBezTo>
                <a:close/>
                <a:moveTo>
                  <a:pt x="240" y="645"/>
                </a:moveTo>
                <a:cubicBezTo>
                  <a:pt x="238" y="644"/>
                  <a:pt x="237" y="642"/>
                  <a:pt x="239" y="640"/>
                </a:cubicBezTo>
                <a:cubicBezTo>
                  <a:pt x="240" y="639"/>
                  <a:pt x="242" y="639"/>
                  <a:pt x="244" y="639"/>
                </a:cubicBezTo>
                <a:cubicBezTo>
                  <a:pt x="245" y="639"/>
                  <a:pt x="247" y="639"/>
                  <a:pt x="247" y="640"/>
                </a:cubicBezTo>
                <a:cubicBezTo>
                  <a:pt x="247" y="640"/>
                  <a:pt x="247" y="640"/>
                  <a:pt x="246" y="640"/>
                </a:cubicBezTo>
                <a:cubicBezTo>
                  <a:pt x="246" y="640"/>
                  <a:pt x="247" y="640"/>
                  <a:pt x="247" y="640"/>
                </a:cubicBezTo>
                <a:cubicBezTo>
                  <a:pt x="247" y="640"/>
                  <a:pt x="247" y="641"/>
                  <a:pt x="247" y="641"/>
                </a:cubicBezTo>
                <a:cubicBezTo>
                  <a:pt x="248" y="642"/>
                  <a:pt x="242" y="646"/>
                  <a:pt x="240" y="645"/>
                </a:cubicBezTo>
                <a:close/>
                <a:moveTo>
                  <a:pt x="241" y="660"/>
                </a:moveTo>
                <a:cubicBezTo>
                  <a:pt x="240" y="661"/>
                  <a:pt x="239" y="660"/>
                  <a:pt x="240" y="659"/>
                </a:cubicBezTo>
                <a:cubicBezTo>
                  <a:pt x="240" y="659"/>
                  <a:pt x="242" y="659"/>
                  <a:pt x="241" y="660"/>
                </a:cubicBezTo>
                <a:close/>
                <a:moveTo>
                  <a:pt x="250" y="593"/>
                </a:moveTo>
                <a:cubicBezTo>
                  <a:pt x="247" y="595"/>
                  <a:pt x="244" y="594"/>
                  <a:pt x="240" y="596"/>
                </a:cubicBezTo>
                <a:cubicBezTo>
                  <a:pt x="243" y="594"/>
                  <a:pt x="247" y="594"/>
                  <a:pt x="250" y="593"/>
                </a:cubicBezTo>
                <a:close/>
                <a:moveTo>
                  <a:pt x="245" y="578"/>
                </a:moveTo>
                <a:cubicBezTo>
                  <a:pt x="246" y="579"/>
                  <a:pt x="245" y="579"/>
                  <a:pt x="245" y="579"/>
                </a:cubicBezTo>
                <a:cubicBezTo>
                  <a:pt x="243" y="581"/>
                  <a:pt x="244" y="577"/>
                  <a:pt x="245" y="578"/>
                </a:cubicBezTo>
                <a:close/>
                <a:moveTo>
                  <a:pt x="253" y="551"/>
                </a:moveTo>
                <a:cubicBezTo>
                  <a:pt x="254" y="550"/>
                  <a:pt x="255" y="549"/>
                  <a:pt x="257" y="549"/>
                </a:cubicBezTo>
                <a:cubicBezTo>
                  <a:pt x="256" y="550"/>
                  <a:pt x="254" y="551"/>
                  <a:pt x="253" y="551"/>
                </a:cubicBezTo>
                <a:close/>
                <a:moveTo>
                  <a:pt x="255" y="555"/>
                </a:moveTo>
                <a:cubicBezTo>
                  <a:pt x="253" y="557"/>
                  <a:pt x="254" y="552"/>
                  <a:pt x="256" y="554"/>
                </a:cubicBezTo>
                <a:cubicBezTo>
                  <a:pt x="257" y="554"/>
                  <a:pt x="256" y="555"/>
                  <a:pt x="255" y="555"/>
                </a:cubicBezTo>
                <a:close/>
                <a:moveTo>
                  <a:pt x="258" y="564"/>
                </a:moveTo>
                <a:cubicBezTo>
                  <a:pt x="258" y="566"/>
                  <a:pt x="252" y="567"/>
                  <a:pt x="252" y="564"/>
                </a:cubicBezTo>
                <a:cubicBezTo>
                  <a:pt x="252" y="561"/>
                  <a:pt x="258" y="562"/>
                  <a:pt x="258" y="564"/>
                </a:cubicBezTo>
                <a:close/>
                <a:moveTo>
                  <a:pt x="257" y="589"/>
                </a:moveTo>
                <a:cubicBezTo>
                  <a:pt x="256" y="590"/>
                  <a:pt x="258" y="588"/>
                  <a:pt x="257" y="589"/>
                </a:cubicBezTo>
                <a:close/>
                <a:moveTo>
                  <a:pt x="254" y="619"/>
                </a:moveTo>
                <a:cubicBezTo>
                  <a:pt x="254" y="619"/>
                  <a:pt x="253" y="619"/>
                  <a:pt x="254" y="619"/>
                </a:cubicBezTo>
                <a:close/>
                <a:moveTo>
                  <a:pt x="254" y="612"/>
                </a:moveTo>
                <a:cubicBezTo>
                  <a:pt x="254" y="612"/>
                  <a:pt x="254" y="613"/>
                  <a:pt x="254" y="613"/>
                </a:cubicBezTo>
                <a:cubicBezTo>
                  <a:pt x="253" y="613"/>
                  <a:pt x="254" y="612"/>
                  <a:pt x="254" y="612"/>
                </a:cubicBezTo>
                <a:close/>
                <a:moveTo>
                  <a:pt x="254" y="619"/>
                </a:moveTo>
                <a:cubicBezTo>
                  <a:pt x="257" y="616"/>
                  <a:pt x="255" y="621"/>
                  <a:pt x="254" y="620"/>
                </a:cubicBezTo>
                <a:cubicBezTo>
                  <a:pt x="254" y="620"/>
                  <a:pt x="254" y="619"/>
                  <a:pt x="254" y="619"/>
                </a:cubicBezTo>
                <a:close/>
                <a:moveTo>
                  <a:pt x="253" y="608"/>
                </a:moveTo>
                <a:cubicBezTo>
                  <a:pt x="250" y="609"/>
                  <a:pt x="255" y="604"/>
                  <a:pt x="257" y="605"/>
                </a:cubicBezTo>
                <a:cubicBezTo>
                  <a:pt x="256" y="605"/>
                  <a:pt x="254" y="607"/>
                  <a:pt x="253" y="608"/>
                </a:cubicBezTo>
                <a:close/>
                <a:moveTo>
                  <a:pt x="255" y="600"/>
                </a:moveTo>
                <a:cubicBezTo>
                  <a:pt x="254" y="602"/>
                  <a:pt x="252" y="601"/>
                  <a:pt x="255" y="600"/>
                </a:cubicBezTo>
                <a:close/>
                <a:moveTo>
                  <a:pt x="256" y="599"/>
                </a:moveTo>
                <a:cubicBezTo>
                  <a:pt x="255" y="599"/>
                  <a:pt x="256" y="598"/>
                  <a:pt x="256" y="599"/>
                </a:cubicBezTo>
                <a:cubicBezTo>
                  <a:pt x="256" y="599"/>
                  <a:pt x="256" y="599"/>
                  <a:pt x="256" y="599"/>
                </a:cubicBezTo>
                <a:close/>
                <a:moveTo>
                  <a:pt x="253" y="571"/>
                </a:moveTo>
                <a:cubicBezTo>
                  <a:pt x="253" y="571"/>
                  <a:pt x="252" y="572"/>
                  <a:pt x="252" y="571"/>
                </a:cubicBezTo>
                <a:cubicBezTo>
                  <a:pt x="251" y="570"/>
                  <a:pt x="253" y="570"/>
                  <a:pt x="253" y="571"/>
                </a:cubicBezTo>
                <a:close/>
                <a:moveTo>
                  <a:pt x="251" y="558"/>
                </a:moveTo>
                <a:cubicBezTo>
                  <a:pt x="251" y="557"/>
                  <a:pt x="253" y="556"/>
                  <a:pt x="253" y="557"/>
                </a:cubicBezTo>
                <a:cubicBezTo>
                  <a:pt x="253" y="558"/>
                  <a:pt x="252" y="558"/>
                  <a:pt x="251" y="558"/>
                </a:cubicBezTo>
                <a:close/>
                <a:moveTo>
                  <a:pt x="246" y="555"/>
                </a:moveTo>
                <a:cubicBezTo>
                  <a:pt x="247" y="553"/>
                  <a:pt x="251" y="552"/>
                  <a:pt x="253" y="551"/>
                </a:cubicBezTo>
                <a:cubicBezTo>
                  <a:pt x="251" y="553"/>
                  <a:pt x="248" y="554"/>
                  <a:pt x="246" y="555"/>
                </a:cubicBezTo>
                <a:close/>
                <a:moveTo>
                  <a:pt x="245" y="613"/>
                </a:moveTo>
                <a:cubicBezTo>
                  <a:pt x="244" y="615"/>
                  <a:pt x="242" y="615"/>
                  <a:pt x="240" y="615"/>
                </a:cubicBezTo>
                <a:cubicBezTo>
                  <a:pt x="241" y="614"/>
                  <a:pt x="243" y="613"/>
                  <a:pt x="244" y="613"/>
                </a:cubicBezTo>
                <a:cubicBezTo>
                  <a:pt x="244" y="613"/>
                  <a:pt x="243" y="613"/>
                  <a:pt x="244" y="612"/>
                </a:cubicBezTo>
                <a:cubicBezTo>
                  <a:pt x="244" y="611"/>
                  <a:pt x="247" y="612"/>
                  <a:pt x="247" y="612"/>
                </a:cubicBezTo>
                <a:cubicBezTo>
                  <a:pt x="247" y="613"/>
                  <a:pt x="246" y="613"/>
                  <a:pt x="245" y="613"/>
                </a:cubicBezTo>
                <a:cubicBezTo>
                  <a:pt x="245" y="613"/>
                  <a:pt x="245" y="613"/>
                  <a:pt x="245" y="613"/>
                </a:cubicBezTo>
                <a:close/>
                <a:moveTo>
                  <a:pt x="241" y="634"/>
                </a:moveTo>
                <a:cubicBezTo>
                  <a:pt x="241" y="634"/>
                  <a:pt x="241" y="634"/>
                  <a:pt x="242" y="634"/>
                </a:cubicBezTo>
                <a:cubicBezTo>
                  <a:pt x="242" y="634"/>
                  <a:pt x="242" y="635"/>
                  <a:pt x="241" y="634"/>
                </a:cubicBezTo>
                <a:close/>
                <a:moveTo>
                  <a:pt x="240" y="485"/>
                </a:moveTo>
                <a:cubicBezTo>
                  <a:pt x="240" y="485"/>
                  <a:pt x="241" y="484"/>
                  <a:pt x="241" y="484"/>
                </a:cubicBezTo>
                <a:cubicBezTo>
                  <a:pt x="241" y="485"/>
                  <a:pt x="240" y="485"/>
                  <a:pt x="240" y="485"/>
                </a:cubicBezTo>
                <a:close/>
                <a:moveTo>
                  <a:pt x="240" y="535"/>
                </a:moveTo>
                <a:cubicBezTo>
                  <a:pt x="240" y="535"/>
                  <a:pt x="240" y="535"/>
                  <a:pt x="239" y="535"/>
                </a:cubicBezTo>
                <a:cubicBezTo>
                  <a:pt x="239" y="535"/>
                  <a:pt x="240" y="534"/>
                  <a:pt x="240" y="535"/>
                </a:cubicBezTo>
                <a:close/>
                <a:moveTo>
                  <a:pt x="243" y="647"/>
                </a:moveTo>
                <a:cubicBezTo>
                  <a:pt x="243" y="646"/>
                  <a:pt x="244" y="647"/>
                  <a:pt x="243" y="647"/>
                </a:cubicBezTo>
                <a:close/>
                <a:moveTo>
                  <a:pt x="243" y="664"/>
                </a:moveTo>
                <a:cubicBezTo>
                  <a:pt x="242" y="665"/>
                  <a:pt x="242" y="663"/>
                  <a:pt x="243" y="664"/>
                </a:cubicBezTo>
                <a:close/>
                <a:moveTo>
                  <a:pt x="244" y="665"/>
                </a:moveTo>
                <a:cubicBezTo>
                  <a:pt x="244" y="666"/>
                  <a:pt x="243" y="666"/>
                  <a:pt x="243" y="666"/>
                </a:cubicBezTo>
                <a:cubicBezTo>
                  <a:pt x="242" y="665"/>
                  <a:pt x="244" y="665"/>
                  <a:pt x="244" y="665"/>
                </a:cubicBezTo>
                <a:close/>
                <a:moveTo>
                  <a:pt x="244" y="658"/>
                </a:moveTo>
                <a:cubicBezTo>
                  <a:pt x="244" y="656"/>
                  <a:pt x="249" y="657"/>
                  <a:pt x="247" y="659"/>
                </a:cubicBezTo>
                <a:cubicBezTo>
                  <a:pt x="247" y="660"/>
                  <a:pt x="244" y="659"/>
                  <a:pt x="244" y="658"/>
                </a:cubicBezTo>
                <a:close/>
                <a:moveTo>
                  <a:pt x="248" y="619"/>
                </a:moveTo>
                <a:cubicBezTo>
                  <a:pt x="246" y="620"/>
                  <a:pt x="246" y="618"/>
                  <a:pt x="248" y="619"/>
                </a:cubicBezTo>
                <a:close/>
                <a:moveTo>
                  <a:pt x="249" y="639"/>
                </a:moveTo>
                <a:cubicBezTo>
                  <a:pt x="250" y="640"/>
                  <a:pt x="249" y="640"/>
                  <a:pt x="249" y="640"/>
                </a:cubicBezTo>
                <a:cubicBezTo>
                  <a:pt x="247" y="642"/>
                  <a:pt x="248" y="638"/>
                  <a:pt x="249" y="639"/>
                </a:cubicBezTo>
                <a:close/>
                <a:moveTo>
                  <a:pt x="249" y="606"/>
                </a:moveTo>
                <a:cubicBezTo>
                  <a:pt x="248" y="605"/>
                  <a:pt x="251" y="605"/>
                  <a:pt x="251" y="605"/>
                </a:cubicBezTo>
                <a:cubicBezTo>
                  <a:pt x="251" y="606"/>
                  <a:pt x="249" y="606"/>
                  <a:pt x="249" y="606"/>
                </a:cubicBezTo>
                <a:close/>
                <a:moveTo>
                  <a:pt x="247" y="598"/>
                </a:moveTo>
                <a:cubicBezTo>
                  <a:pt x="247" y="598"/>
                  <a:pt x="248" y="596"/>
                  <a:pt x="248" y="596"/>
                </a:cubicBezTo>
                <a:cubicBezTo>
                  <a:pt x="249" y="595"/>
                  <a:pt x="250" y="594"/>
                  <a:pt x="251" y="596"/>
                </a:cubicBezTo>
                <a:cubicBezTo>
                  <a:pt x="251" y="596"/>
                  <a:pt x="251" y="596"/>
                  <a:pt x="250" y="597"/>
                </a:cubicBezTo>
                <a:cubicBezTo>
                  <a:pt x="251" y="597"/>
                  <a:pt x="253" y="598"/>
                  <a:pt x="253" y="598"/>
                </a:cubicBezTo>
                <a:cubicBezTo>
                  <a:pt x="254" y="602"/>
                  <a:pt x="247" y="599"/>
                  <a:pt x="247" y="598"/>
                </a:cubicBezTo>
                <a:close/>
                <a:moveTo>
                  <a:pt x="253" y="601"/>
                </a:moveTo>
                <a:cubicBezTo>
                  <a:pt x="253" y="602"/>
                  <a:pt x="252" y="602"/>
                  <a:pt x="251" y="602"/>
                </a:cubicBezTo>
                <a:cubicBezTo>
                  <a:pt x="251" y="602"/>
                  <a:pt x="252" y="601"/>
                  <a:pt x="253" y="601"/>
                </a:cubicBezTo>
                <a:close/>
                <a:moveTo>
                  <a:pt x="253" y="609"/>
                </a:moveTo>
                <a:cubicBezTo>
                  <a:pt x="254" y="609"/>
                  <a:pt x="252" y="610"/>
                  <a:pt x="252" y="610"/>
                </a:cubicBezTo>
                <a:cubicBezTo>
                  <a:pt x="251" y="609"/>
                  <a:pt x="253" y="608"/>
                  <a:pt x="253" y="609"/>
                </a:cubicBezTo>
                <a:close/>
                <a:moveTo>
                  <a:pt x="254" y="650"/>
                </a:moveTo>
                <a:cubicBezTo>
                  <a:pt x="253" y="652"/>
                  <a:pt x="252" y="649"/>
                  <a:pt x="254" y="650"/>
                </a:cubicBezTo>
                <a:close/>
                <a:moveTo>
                  <a:pt x="256" y="592"/>
                </a:moveTo>
                <a:cubicBezTo>
                  <a:pt x="255" y="590"/>
                  <a:pt x="259" y="590"/>
                  <a:pt x="260" y="591"/>
                </a:cubicBezTo>
                <a:cubicBezTo>
                  <a:pt x="260" y="592"/>
                  <a:pt x="256" y="594"/>
                  <a:pt x="256" y="592"/>
                </a:cubicBezTo>
                <a:close/>
                <a:moveTo>
                  <a:pt x="249" y="520"/>
                </a:moveTo>
                <a:cubicBezTo>
                  <a:pt x="249" y="520"/>
                  <a:pt x="249" y="521"/>
                  <a:pt x="249" y="521"/>
                </a:cubicBezTo>
                <a:cubicBezTo>
                  <a:pt x="248" y="522"/>
                  <a:pt x="248" y="519"/>
                  <a:pt x="249" y="520"/>
                </a:cubicBezTo>
                <a:close/>
                <a:moveTo>
                  <a:pt x="249" y="536"/>
                </a:moveTo>
                <a:cubicBezTo>
                  <a:pt x="249" y="538"/>
                  <a:pt x="244" y="540"/>
                  <a:pt x="244" y="536"/>
                </a:cubicBezTo>
                <a:cubicBezTo>
                  <a:pt x="244" y="535"/>
                  <a:pt x="249" y="534"/>
                  <a:pt x="249" y="536"/>
                </a:cubicBezTo>
                <a:close/>
                <a:moveTo>
                  <a:pt x="244" y="450"/>
                </a:moveTo>
                <a:cubicBezTo>
                  <a:pt x="244" y="450"/>
                  <a:pt x="244" y="450"/>
                  <a:pt x="244" y="450"/>
                </a:cubicBezTo>
                <a:cubicBezTo>
                  <a:pt x="243" y="450"/>
                  <a:pt x="244" y="449"/>
                  <a:pt x="244" y="450"/>
                </a:cubicBezTo>
                <a:close/>
                <a:moveTo>
                  <a:pt x="243" y="420"/>
                </a:moveTo>
                <a:cubicBezTo>
                  <a:pt x="243" y="420"/>
                  <a:pt x="243" y="420"/>
                  <a:pt x="243" y="420"/>
                </a:cubicBezTo>
                <a:cubicBezTo>
                  <a:pt x="244" y="420"/>
                  <a:pt x="244" y="420"/>
                  <a:pt x="243" y="420"/>
                </a:cubicBezTo>
                <a:close/>
                <a:moveTo>
                  <a:pt x="241" y="504"/>
                </a:moveTo>
                <a:cubicBezTo>
                  <a:pt x="240" y="502"/>
                  <a:pt x="243" y="504"/>
                  <a:pt x="241" y="504"/>
                </a:cubicBezTo>
                <a:close/>
                <a:moveTo>
                  <a:pt x="235" y="479"/>
                </a:moveTo>
                <a:cubicBezTo>
                  <a:pt x="236" y="477"/>
                  <a:pt x="240" y="471"/>
                  <a:pt x="242" y="470"/>
                </a:cubicBezTo>
                <a:cubicBezTo>
                  <a:pt x="240" y="473"/>
                  <a:pt x="238" y="476"/>
                  <a:pt x="235" y="479"/>
                </a:cubicBezTo>
                <a:close/>
                <a:moveTo>
                  <a:pt x="236" y="507"/>
                </a:moveTo>
                <a:cubicBezTo>
                  <a:pt x="236" y="508"/>
                  <a:pt x="235" y="508"/>
                  <a:pt x="235" y="507"/>
                </a:cubicBezTo>
                <a:cubicBezTo>
                  <a:pt x="235" y="506"/>
                  <a:pt x="236" y="507"/>
                  <a:pt x="236" y="507"/>
                </a:cubicBezTo>
                <a:close/>
                <a:moveTo>
                  <a:pt x="242" y="337"/>
                </a:moveTo>
                <a:cubicBezTo>
                  <a:pt x="240" y="339"/>
                  <a:pt x="238" y="341"/>
                  <a:pt x="235" y="343"/>
                </a:cubicBezTo>
                <a:cubicBezTo>
                  <a:pt x="237" y="341"/>
                  <a:pt x="240" y="338"/>
                  <a:pt x="242" y="337"/>
                </a:cubicBezTo>
                <a:close/>
                <a:moveTo>
                  <a:pt x="235" y="428"/>
                </a:moveTo>
                <a:cubicBezTo>
                  <a:pt x="235" y="427"/>
                  <a:pt x="234" y="429"/>
                  <a:pt x="235" y="428"/>
                </a:cubicBezTo>
                <a:close/>
                <a:moveTo>
                  <a:pt x="236" y="488"/>
                </a:moveTo>
                <a:cubicBezTo>
                  <a:pt x="233" y="491"/>
                  <a:pt x="233" y="494"/>
                  <a:pt x="230" y="496"/>
                </a:cubicBezTo>
                <a:cubicBezTo>
                  <a:pt x="231" y="494"/>
                  <a:pt x="233" y="489"/>
                  <a:pt x="236" y="488"/>
                </a:cubicBezTo>
                <a:close/>
                <a:moveTo>
                  <a:pt x="235" y="529"/>
                </a:moveTo>
                <a:cubicBezTo>
                  <a:pt x="235" y="529"/>
                  <a:pt x="234" y="529"/>
                  <a:pt x="234" y="529"/>
                </a:cubicBezTo>
                <a:cubicBezTo>
                  <a:pt x="234" y="528"/>
                  <a:pt x="235" y="529"/>
                  <a:pt x="235" y="529"/>
                </a:cubicBezTo>
                <a:close/>
                <a:moveTo>
                  <a:pt x="232" y="503"/>
                </a:moveTo>
                <a:cubicBezTo>
                  <a:pt x="232" y="504"/>
                  <a:pt x="231" y="504"/>
                  <a:pt x="231" y="504"/>
                </a:cubicBezTo>
                <a:cubicBezTo>
                  <a:pt x="231" y="503"/>
                  <a:pt x="232" y="502"/>
                  <a:pt x="232" y="503"/>
                </a:cubicBezTo>
                <a:close/>
                <a:moveTo>
                  <a:pt x="233" y="322"/>
                </a:moveTo>
                <a:cubicBezTo>
                  <a:pt x="234" y="320"/>
                  <a:pt x="232" y="323"/>
                  <a:pt x="233" y="322"/>
                </a:cubicBezTo>
                <a:close/>
                <a:moveTo>
                  <a:pt x="233" y="463"/>
                </a:moveTo>
                <a:cubicBezTo>
                  <a:pt x="232" y="465"/>
                  <a:pt x="234" y="462"/>
                  <a:pt x="233" y="463"/>
                </a:cubicBezTo>
                <a:close/>
                <a:moveTo>
                  <a:pt x="232" y="465"/>
                </a:moveTo>
                <a:cubicBezTo>
                  <a:pt x="233" y="467"/>
                  <a:pt x="229" y="469"/>
                  <a:pt x="228" y="466"/>
                </a:cubicBezTo>
                <a:cubicBezTo>
                  <a:pt x="228" y="464"/>
                  <a:pt x="231" y="463"/>
                  <a:pt x="232" y="465"/>
                </a:cubicBezTo>
                <a:close/>
                <a:moveTo>
                  <a:pt x="231" y="364"/>
                </a:moveTo>
                <a:cubicBezTo>
                  <a:pt x="232" y="365"/>
                  <a:pt x="230" y="367"/>
                  <a:pt x="230" y="367"/>
                </a:cubicBezTo>
                <a:cubicBezTo>
                  <a:pt x="226" y="369"/>
                  <a:pt x="229" y="363"/>
                  <a:pt x="231" y="364"/>
                </a:cubicBezTo>
                <a:close/>
                <a:moveTo>
                  <a:pt x="227" y="421"/>
                </a:moveTo>
                <a:cubicBezTo>
                  <a:pt x="228" y="421"/>
                  <a:pt x="227" y="422"/>
                  <a:pt x="227" y="422"/>
                </a:cubicBezTo>
                <a:cubicBezTo>
                  <a:pt x="225" y="423"/>
                  <a:pt x="226" y="420"/>
                  <a:pt x="227" y="421"/>
                </a:cubicBezTo>
                <a:close/>
                <a:moveTo>
                  <a:pt x="227" y="484"/>
                </a:moveTo>
                <a:cubicBezTo>
                  <a:pt x="225" y="484"/>
                  <a:pt x="228" y="482"/>
                  <a:pt x="227" y="483"/>
                </a:cubicBezTo>
                <a:cubicBezTo>
                  <a:pt x="227" y="483"/>
                  <a:pt x="227" y="484"/>
                  <a:pt x="227" y="484"/>
                </a:cubicBezTo>
                <a:close/>
                <a:moveTo>
                  <a:pt x="227" y="436"/>
                </a:moveTo>
                <a:cubicBezTo>
                  <a:pt x="226" y="435"/>
                  <a:pt x="228" y="435"/>
                  <a:pt x="227" y="436"/>
                </a:cubicBezTo>
                <a:close/>
                <a:moveTo>
                  <a:pt x="227" y="526"/>
                </a:moveTo>
                <a:cubicBezTo>
                  <a:pt x="226" y="527"/>
                  <a:pt x="225" y="526"/>
                  <a:pt x="227" y="526"/>
                </a:cubicBezTo>
                <a:close/>
                <a:moveTo>
                  <a:pt x="227" y="527"/>
                </a:moveTo>
                <a:cubicBezTo>
                  <a:pt x="228" y="528"/>
                  <a:pt x="226" y="529"/>
                  <a:pt x="226" y="529"/>
                </a:cubicBezTo>
                <a:cubicBezTo>
                  <a:pt x="225" y="529"/>
                  <a:pt x="227" y="527"/>
                  <a:pt x="227" y="527"/>
                </a:cubicBezTo>
                <a:close/>
                <a:moveTo>
                  <a:pt x="225" y="375"/>
                </a:moveTo>
                <a:cubicBezTo>
                  <a:pt x="227" y="376"/>
                  <a:pt x="225" y="376"/>
                  <a:pt x="225" y="375"/>
                </a:cubicBezTo>
                <a:close/>
                <a:moveTo>
                  <a:pt x="224" y="359"/>
                </a:moveTo>
                <a:cubicBezTo>
                  <a:pt x="224" y="360"/>
                  <a:pt x="223" y="360"/>
                  <a:pt x="223" y="361"/>
                </a:cubicBezTo>
                <a:cubicBezTo>
                  <a:pt x="222" y="360"/>
                  <a:pt x="224" y="360"/>
                  <a:pt x="224" y="359"/>
                </a:cubicBezTo>
                <a:close/>
                <a:moveTo>
                  <a:pt x="222" y="500"/>
                </a:moveTo>
                <a:cubicBezTo>
                  <a:pt x="222" y="499"/>
                  <a:pt x="223" y="499"/>
                  <a:pt x="224" y="499"/>
                </a:cubicBezTo>
                <a:cubicBezTo>
                  <a:pt x="224" y="500"/>
                  <a:pt x="222" y="501"/>
                  <a:pt x="222" y="500"/>
                </a:cubicBezTo>
                <a:close/>
                <a:moveTo>
                  <a:pt x="222" y="564"/>
                </a:moveTo>
                <a:cubicBezTo>
                  <a:pt x="222" y="565"/>
                  <a:pt x="219" y="565"/>
                  <a:pt x="219" y="564"/>
                </a:cubicBezTo>
                <a:cubicBezTo>
                  <a:pt x="219" y="562"/>
                  <a:pt x="222" y="563"/>
                  <a:pt x="222" y="564"/>
                </a:cubicBezTo>
                <a:close/>
                <a:moveTo>
                  <a:pt x="224" y="489"/>
                </a:moveTo>
                <a:cubicBezTo>
                  <a:pt x="224" y="489"/>
                  <a:pt x="223" y="490"/>
                  <a:pt x="223" y="490"/>
                </a:cubicBezTo>
                <a:cubicBezTo>
                  <a:pt x="222" y="489"/>
                  <a:pt x="225" y="488"/>
                  <a:pt x="224" y="489"/>
                </a:cubicBezTo>
                <a:close/>
                <a:moveTo>
                  <a:pt x="224" y="467"/>
                </a:moveTo>
                <a:cubicBezTo>
                  <a:pt x="224" y="470"/>
                  <a:pt x="222" y="469"/>
                  <a:pt x="224" y="467"/>
                </a:cubicBezTo>
                <a:close/>
                <a:moveTo>
                  <a:pt x="223" y="272"/>
                </a:moveTo>
                <a:cubicBezTo>
                  <a:pt x="223" y="273"/>
                  <a:pt x="222" y="274"/>
                  <a:pt x="221" y="275"/>
                </a:cubicBezTo>
                <a:cubicBezTo>
                  <a:pt x="221" y="273"/>
                  <a:pt x="222" y="273"/>
                  <a:pt x="223" y="272"/>
                </a:cubicBezTo>
                <a:close/>
                <a:moveTo>
                  <a:pt x="222" y="308"/>
                </a:moveTo>
                <a:cubicBezTo>
                  <a:pt x="222" y="310"/>
                  <a:pt x="220" y="312"/>
                  <a:pt x="218" y="313"/>
                </a:cubicBezTo>
                <a:cubicBezTo>
                  <a:pt x="220" y="312"/>
                  <a:pt x="220" y="310"/>
                  <a:pt x="222" y="308"/>
                </a:cubicBezTo>
                <a:close/>
                <a:moveTo>
                  <a:pt x="218" y="378"/>
                </a:moveTo>
                <a:cubicBezTo>
                  <a:pt x="218" y="376"/>
                  <a:pt x="220" y="378"/>
                  <a:pt x="218" y="378"/>
                </a:cubicBezTo>
                <a:close/>
                <a:moveTo>
                  <a:pt x="218" y="467"/>
                </a:moveTo>
                <a:cubicBezTo>
                  <a:pt x="218" y="467"/>
                  <a:pt x="217" y="467"/>
                  <a:pt x="217" y="466"/>
                </a:cubicBezTo>
                <a:cubicBezTo>
                  <a:pt x="217" y="466"/>
                  <a:pt x="218" y="466"/>
                  <a:pt x="218" y="467"/>
                </a:cubicBezTo>
                <a:close/>
                <a:moveTo>
                  <a:pt x="217" y="315"/>
                </a:move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lose/>
                <a:moveTo>
                  <a:pt x="218" y="382"/>
                </a:moveTo>
                <a:cubicBezTo>
                  <a:pt x="217" y="382"/>
                  <a:pt x="217" y="382"/>
                  <a:pt x="217" y="382"/>
                </a:cubicBezTo>
                <a:cubicBezTo>
                  <a:pt x="216" y="381"/>
                  <a:pt x="219" y="380"/>
                  <a:pt x="218" y="382"/>
                </a:cubicBezTo>
                <a:close/>
                <a:moveTo>
                  <a:pt x="212" y="322"/>
                </a:moveTo>
                <a:cubicBezTo>
                  <a:pt x="212" y="321"/>
                  <a:pt x="215" y="318"/>
                  <a:pt x="216" y="316"/>
                </a:cubicBezTo>
                <a:cubicBezTo>
                  <a:pt x="216" y="319"/>
                  <a:pt x="210" y="325"/>
                  <a:pt x="212" y="322"/>
                </a:cubicBezTo>
                <a:close/>
                <a:moveTo>
                  <a:pt x="215" y="450"/>
                </a:moveTo>
                <a:cubicBezTo>
                  <a:pt x="215" y="450"/>
                  <a:pt x="215" y="450"/>
                  <a:pt x="215" y="450"/>
                </a:cubicBezTo>
                <a:cubicBezTo>
                  <a:pt x="215" y="450"/>
                  <a:pt x="215" y="450"/>
                  <a:pt x="215" y="450"/>
                </a:cubicBezTo>
                <a:close/>
                <a:moveTo>
                  <a:pt x="214" y="449"/>
                </a:moveTo>
                <a:cubicBezTo>
                  <a:pt x="214" y="449"/>
                  <a:pt x="214" y="448"/>
                  <a:pt x="214" y="448"/>
                </a:cubicBezTo>
                <a:cubicBezTo>
                  <a:pt x="214" y="446"/>
                  <a:pt x="216" y="448"/>
                  <a:pt x="214" y="449"/>
                </a:cubicBezTo>
                <a:close/>
                <a:moveTo>
                  <a:pt x="214" y="524"/>
                </a:moveTo>
                <a:cubicBezTo>
                  <a:pt x="213" y="523"/>
                  <a:pt x="214" y="523"/>
                  <a:pt x="215" y="522"/>
                </a:cubicBezTo>
                <a:cubicBezTo>
                  <a:pt x="215" y="523"/>
                  <a:pt x="214" y="523"/>
                  <a:pt x="214" y="524"/>
                </a:cubicBezTo>
                <a:close/>
                <a:moveTo>
                  <a:pt x="212" y="508"/>
                </a:moveTo>
                <a:cubicBezTo>
                  <a:pt x="210" y="509"/>
                  <a:pt x="214" y="507"/>
                  <a:pt x="212" y="508"/>
                </a:cubicBezTo>
                <a:close/>
                <a:moveTo>
                  <a:pt x="202" y="518"/>
                </a:moveTo>
                <a:cubicBezTo>
                  <a:pt x="210" y="516"/>
                  <a:pt x="209" y="525"/>
                  <a:pt x="203" y="526"/>
                </a:cubicBezTo>
                <a:cubicBezTo>
                  <a:pt x="198" y="527"/>
                  <a:pt x="197" y="520"/>
                  <a:pt x="202" y="518"/>
                </a:cubicBezTo>
                <a:close/>
                <a:moveTo>
                  <a:pt x="201" y="548"/>
                </a:moveTo>
                <a:cubicBezTo>
                  <a:pt x="201" y="548"/>
                  <a:pt x="201" y="548"/>
                  <a:pt x="201" y="548"/>
                </a:cubicBezTo>
                <a:cubicBezTo>
                  <a:pt x="201" y="546"/>
                  <a:pt x="203" y="550"/>
                  <a:pt x="201" y="548"/>
                </a:cubicBezTo>
                <a:close/>
                <a:moveTo>
                  <a:pt x="199" y="549"/>
                </a:moveTo>
                <a:cubicBezTo>
                  <a:pt x="199" y="551"/>
                  <a:pt x="197" y="549"/>
                  <a:pt x="199" y="549"/>
                </a:cubicBezTo>
                <a:close/>
                <a:moveTo>
                  <a:pt x="200" y="494"/>
                </a:moveTo>
                <a:cubicBezTo>
                  <a:pt x="199" y="495"/>
                  <a:pt x="198" y="496"/>
                  <a:pt x="196" y="496"/>
                </a:cubicBezTo>
                <a:cubicBezTo>
                  <a:pt x="197" y="495"/>
                  <a:pt x="199" y="495"/>
                  <a:pt x="200" y="494"/>
                </a:cubicBezTo>
                <a:close/>
                <a:moveTo>
                  <a:pt x="202" y="420"/>
                </a:moveTo>
                <a:cubicBezTo>
                  <a:pt x="201" y="421"/>
                  <a:pt x="201" y="421"/>
                  <a:pt x="200" y="421"/>
                </a:cubicBezTo>
                <a:cubicBezTo>
                  <a:pt x="199" y="420"/>
                  <a:pt x="203" y="418"/>
                  <a:pt x="202" y="420"/>
                </a:cubicBezTo>
                <a:close/>
                <a:moveTo>
                  <a:pt x="203" y="493"/>
                </a:moveTo>
                <a:cubicBezTo>
                  <a:pt x="204" y="493"/>
                  <a:pt x="204" y="493"/>
                  <a:pt x="204" y="493"/>
                </a:cubicBezTo>
                <a:cubicBezTo>
                  <a:pt x="204" y="493"/>
                  <a:pt x="200" y="494"/>
                  <a:pt x="203" y="493"/>
                </a:cubicBezTo>
                <a:close/>
                <a:moveTo>
                  <a:pt x="206" y="456"/>
                </a:moveTo>
                <a:cubicBezTo>
                  <a:pt x="206" y="456"/>
                  <a:pt x="205" y="456"/>
                  <a:pt x="205" y="456"/>
                </a:cubicBezTo>
                <a:cubicBezTo>
                  <a:pt x="204" y="456"/>
                  <a:pt x="206" y="455"/>
                  <a:pt x="206" y="456"/>
                </a:cubicBezTo>
                <a:close/>
                <a:moveTo>
                  <a:pt x="206" y="475"/>
                </a:moveTo>
                <a:cubicBezTo>
                  <a:pt x="206" y="473"/>
                  <a:pt x="210" y="475"/>
                  <a:pt x="210" y="477"/>
                </a:cubicBezTo>
                <a:cubicBezTo>
                  <a:pt x="209" y="479"/>
                  <a:pt x="204" y="479"/>
                  <a:pt x="206" y="475"/>
                </a:cubicBezTo>
                <a:close/>
                <a:moveTo>
                  <a:pt x="208" y="439"/>
                </a:moveTo>
                <a:cubicBezTo>
                  <a:pt x="208" y="440"/>
                  <a:pt x="207" y="440"/>
                  <a:pt x="207" y="440"/>
                </a:cubicBezTo>
                <a:cubicBezTo>
                  <a:pt x="207" y="439"/>
                  <a:pt x="208" y="439"/>
                  <a:pt x="208" y="439"/>
                </a:cubicBezTo>
                <a:close/>
                <a:moveTo>
                  <a:pt x="208" y="405"/>
                </a:moveTo>
                <a:cubicBezTo>
                  <a:pt x="207" y="406"/>
                  <a:pt x="208" y="404"/>
                  <a:pt x="208" y="405"/>
                </a:cubicBezTo>
                <a:close/>
                <a:moveTo>
                  <a:pt x="209" y="467"/>
                </a:moveTo>
                <a:cubicBezTo>
                  <a:pt x="209" y="467"/>
                  <a:pt x="209" y="468"/>
                  <a:pt x="209" y="468"/>
                </a:cubicBezTo>
                <a:cubicBezTo>
                  <a:pt x="208" y="467"/>
                  <a:pt x="210" y="466"/>
                  <a:pt x="209" y="467"/>
                </a:cubicBezTo>
                <a:close/>
                <a:moveTo>
                  <a:pt x="210" y="509"/>
                </a:moveTo>
                <a:cubicBezTo>
                  <a:pt x="208" y="511"/>
                  <a:pt x="211" y="508"/>
                  <a:pt x="210" y="509"/>
                </a:cubicBezTo>
                <a:close/>
                <a:moveTo>
                  <a:pt x="210" y="444"/>
                </a:moveTo>
                <a:cubicBezTo>
                  <a:pt x="207" y="445"/>
                  <a:pt x="209" y="441"/>
                  <a:pt x="210" y="443"/>
                </a:cubicBezTo>
                <a:cubicBezTo>
                  <a:pt x="211" y="443"/>
                  <a:pt x="210" y="443"/>
                  <a:pt x="210" y="444"/>
                </a:cubicBezTo>
                <a:close/>
                <a:moveTo>
                  <a:pt x="210" y="185"/>
                </a:moveTo>
                <a:cubicBezTo>
                  <a:pt x="210" y="185"/>
                  <a:pt x="210" y="185"/>
                  <a:pt x="210" y="185"/>
                </a:cubicBezTo>
                <a:cubicBezTo>
                  <a:pt x="209" y="185"/>
                  <a:pt x="211" y="184"/>
                  <a:pt x="210" y="185"/>
                </a:cubicBezTo>
                <a:close/>
                <a:moveTo>
                  <a:pt x="210" y="203"/>
                </a:moveTo>
                <a:cubicBezTo>
                  <a:pt x="211" y="203"/>
                  <a:pt x="209" y="205"/>
                  <a:pt x="209" y="205"/>
                </a:cubicBezTo>
                <a:cubicBezTo>
                  <a:pt x="209" y="204"/>
                  <a:pt x="209" y="204"/>
                  <a:pt x="210" y="203"/>
                </a:cubicBezTo>
                <a:close/>
                <a:moveTo>
                  <a:pt x="210" y="371"/>
                </a:moveTo>
                <a:cubicBezTo>
                  <a:pt x="209" y="372"/>
                  <a:pt x="209" y="372"/>
                  <a:pt x="208" y="372"/>
                </a:cubicBezTo>
                <a:cubicBezTo>
                  <a:pt x="208" y="372"/>
                  <a:pt x="208" y="371"/>
                  <a:pt x="210" y="371"/>
                </a:cubicBezTo>
                <a:close/>
                <a:moveTo>
                  <a:pt x="208" y="181"/>
                </a:moveTo>
                <a:cubicBezTo>
                  <a:pt x="209" y="181"/>
                  <a:pt x="207" y="184"/>
                  <a:pt x="207" y="184"/>
                </a:cubicBezTo>
                <a:cubicBezTo>
                  <a:pt x="204" y="186"/>
                  <a:pt x="206" y="180"/>
                  <a:pt x="208" y="181"/>
                </a:cubicBezTo>
                <a:close/>
                <a:moveTo>
                  <a:pt x="207" y="374"/>
                </a:moveTo>
                <a:cubicBezTo>
                  <a:pt x="206" y="373"/>
                  <a:pt x="208" y="373"/>
                  <a:pt x="207" y="374"/>
                </a:cubicBezTo>
                <a:close/>
                <a:moveTo>
                  <a:pt x="207" y="387"/>
                </a:moveTo>
                <a:cubicBezTo>
                  <a:pt x="206" y="387"/>
                  <a:pt x="206" y="388"/>
                  <a:pt x="206" y="387"/>
                </a:cubicBezTo>
                <a:cubicBezTo>
                  <a:pt x="205" y="386"/>
                  <a:pt x="209" y="385"/>
                  <a:pt x="207" y="387"/>
                </a:cubicBezTo>
                <a:close/>
                <a:moveTo>
                  <a:pt x="204" y="211"/>
                </a:moveTo>
                <a:cubicBezTo>
                  <a:pt x="204" y="213"/>
                  <a:pt x="202" y="214"/>
                  <a:pt x="201" y="216"/>
                </a:cubicBezTo>
                <a:cubicBezTo>
                  <a:pt x="201" y="214"/>
                  <a:pt x="203" y="213"/>
                  <a:pt x="204" y="211"/>
                </a:cubicBezTo>
                <a:close/>
                <a:moveTo>
                  <a:pt x="202" y="326"/>
                </a:moveTo>
                <a:cubicBezTo>
                  <a:pt x="202" y="327"/>
                  <a:pt x="202" y="328"/>
                  <a:pt x="201" y="328"/>
                </a:cubicBezTo>
                <a:cubicBezTo>
                  <a:pt x="201" y="327"/>
                  <a:pt x="202" y="327"/>
                  <a:pt x="202" y="326"/>
                </a:cubicBezTo>
                <a:close/>
                <a:moveTo>
                  <a:pt x="205" y="387"/>
                </a:moveTo>
                <a:cubicBezTo>
                  <a:pt x="205" y="388"/>
                  <a:pt x="203" y="389"/>
                  <a:pt x="201" y="390"/>
                </a:cubicBezTo>
                <a:cubicBezTo>
                  <a:pt x="202" y="388"/>
                  <a:pt x="204" y="388"/>
                  <a:pt x="205" y="387"/>
                </a:cubicBezTo>
                <a:close/>
                <a:moveTo>
                  <a:pt x="196" y="218"/>
                </a:moveTo>
                <a:cubicBezTo>
                  <a:pt x="198" y="219"/>
                  <a:pt x="196" y="220"/>
                  <a:pt x="196" y="218"/>
                </a:cubicBezTo>
                <a:close/>
                <a:moveTo>
                  <a:pt x="196" y="249"/>
                </a:moveTo>
                <a:cubicBezTo>
                  <a:pt x="195" y="251"/>
                  <a:pt x="197" y="248"/>
                  <a:pt x="196" y="249"/>
                </a:cubicBezTo>
                <a:close/>
                <a:moveTo>
                  <a:pt x="198" y="349"/>
                </a:moveTo>
                <a:cubicBezTo>
                  <a:pt x="198" y="350"/>
                  <a:pt x="196" y="351"/>
                  <a:pt x="196" y="352"/>
                </a:cubicBezTo>
                <a:cubicBezTo>
                  <a:pt x="195" y="351"/>
                  <a:pt x="197" y="350"/>
                  <a:pt x="198" y="349"/>
                </a:cubicBezTo>
                <a:close/>
                <a:moveTo>
                  <a:pt x="196" y="296"/>
                </a:moveTo>
                <a:cubicBezTo>
                  <a:pt x="196" y="296"/>
                  <a:pt x="195" y="298"/>
                  <a:pt x="195" y="298"/>
                </a:cubicBezTo>
                <a:cubicBezTo>
                  <a:pt x="193" y="300"/>
                  <a:pt x="194" y="295"/>
                  <a:pt x="196" y="296"/>
                </a:cubicBezTo>
                <a:close/>
                <a:moveTo>
                  <a:pt x="194" y="353"/>
                </a:moveTo>
                <a:cubicBezTo>
                  <a:pt x="195" y="354"/>
                  <a:pt x="193" y="354"/>
                  <a:pt x="194" y="353"/>
                </a:cubicBezTo>
                <a:close/>
                <a:moveTo>
                  <a:pt x="192" y="213"/>
                </a:moveTo>
                <a:cubicBezTo>
                  <a:pt x="192" y="212"/>
                  <a:pt x="194" y="211"/>
                  <a:pt x="192" y="213"/>
                </a:cubicBezTo>
                <a:close/>
                <a:moveTo>
                  <a:pt x="193" y="252"/>
                </a:moveTo>
                <a:cubicBezTo>
                  <a:pt x="194" y="253"/>
                  <a:pt x="193" y="254"/>
                  <a:pt x="192" y="254"/>
                </a:cubicBezTo>
                <a:cubicBezTo>
                  <a:pt x="192" y="253"/>
                  <a:pt x="193" y="253"/>
                  <a:pt x="193" y="252"/>
                </a:cubicBezTo>
                <a:close/>
                <a:moveTo>
                  <a:pt x="193" y="354"/>
                </a:moveTo>
                <a:cubicBezTo>
                  <a:pt x="193" y="355"/>
                  <a:pt x="193" y="356"/>
                  <a:pt x="192" y="356"/>
                </a:cubicBezTo>
                <a:cubicBezTo>
                  <a:pt x="192" y="355"/>
                  <a:pt x="193" y="355"/>
                  <a:pt x="193" y="354"/>
                </a:cubicBezTo>
                <a:close/>
                <a:moveTo>
                  <a:pt x="192" y="305"/>
                </a:moveTo>
                <a:cubicBezTo>
                  <a:pt x="190" y="307"/>
                  <a:pt x="193" y="304"/>
                  <a:pt x="192" y="305"/>
                </a:cubicBezTo>
                <a:close/>
                <a:moveTo>
                  <a:pt x="188" y="397"/>
                </a:moveTo>
                <a:cubicBezTo>
                  <a:pt x="187" y="398"/>
                  <a:pt x="185" y="400"/>
                  <a:pt x="183" y="401"/>
                </a:cubicBezTo>
                <a:cubicBezTo>
                  <a:pt x="184" y="399"/>
                  <a:pt x="186" y="398"/>
                  <a:pt x="188" y="397"/>
                </a:cubicBezTo>
                <a:close/>
                <a:moveTo>
                  <a:pt x="184" y="384"/>
                </a:moveTo>
                <a:cubicBezTo>
                  <a:pt x="185" y="384"/>
                  <a:pt x="185" y="383"/>
                  <a:pt x="186" y="383"/>
                </a:cubicBezTo>
                <a:cubicBezTo>
                  <a:pt x="185" y="384"/>
                  <a:pt x="185" y="384"/>
                  <a:pt x="184" y="384"/>
                </a:cubicBezTo>
                <a:close/>
                <a:moveTo>
                  <a:pt x="184" y="243"/>
                </a:moveTo>
                <a:cubicBezTo>
                  <a:pt x="185" y="242"/>
                  <a:pt x="183" y="244"/>
                  <a:pt x="184" y="243"/>
                </a:cubicBezTo>
                <a:close/>
                <a:moveTo>
                  <a:pt x="182" y="186"/>
                </a:moveTo>
                <a:cubicBezTo>
                  <a:pt x="182" y="185"/>
                  <a:pt x="181" y="187"/>
                  <a:pt x="182" y="186"/>
                </a:cubicBezTo>
                <a:close/>
                <a:moveTo>
                  <a:pt x="184" y="243"/>
                </a:moveTo>
                <a:cubicBezTo>
                  <a:pt x="185" y="244"/>
                  <a:pt x="183" y="249"/>
                  <a:pt x="182" y="249"/>
                </a:cubicBezTo>
                <a:cubicBezTo>
                  <a:pt x="180" y="249"/>
                  <a:pt x="182" y="243"/>
                  <a:pt x="184" y="243"/>
                </a:cubicBezTo>
                <a:close/>
                <a:moveTo>
                  <a:pt x="177" y="208"/>
                </a:moveTo>
                <a:cubicBezTo>
                  <a:pt x="178" y="209"/>
                  <a:pt x="177" y="209"/>
                  <a:pt x="177" y="210"/>
                </a:cubicBezTo>
                <a:cubicBezTo>
                  <a:pt x="176" y="210"/>
                  <a:pt x="177" y="209"/>
                  <a:pt x="177" y="208"/>
                </a:cubicBezTo>
                <a:close/>
                <a:moveTo>
                  <a:pt x="182" y="322"/>
                </a:moveTo>
                <a:cubicBezTo>
                  <a:pt x="179" y="324"/>
                  <a:pt x="177" y="329"/>
                  <a:pt x="175" y="329"/>
                </a:cubicBezTo>
                <a:cubicBezTo>
                  <a:pt x="175" y="329"/>
                  <a:pt x="179" y="322"/>
                  <a:pt x="182" y="322"/>
                </a:cubicBezTo>
                <a:close/>
                <a:moveTo>
                  <a:pt x="180" y="403"/>
                </a:moveTo>
                <a:cubicBezTo>
                  <a:pt x="179" y="404"/>
                  <a:pt x="178" y="406"/>
                  <a:pt x="176" y="406"/>
                </a:cubicBezTo>
                <a:cubicBezTo>
                  <a:pt x="177" y="405"/>
                  <a:pt x="179" y="404"/>
                  <a:pt x="180" y="403"/>
                </a:cubicBezTo>
                <a:close/>
                <a:moveTo>
                  <a:pt x="178" y="383"/>
                </a:move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2"/>
                  <a:pt x="178" y="382"/>
                </a:cubicBezTo>
                <a:cubicBezTo>
                  <a:pt x="178" y="382"/>
                  <a:pt x="178" y="382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lose/>
                <a:moveTo>
                  <a:pt x="181" y="393"/>
                </a:moveTo>
                <a:cubicBezTo>
                  <a:pt x="181" y="393"/>
                  <a:pt x="180" y="395"/>
                  <a:pt x="180" y="395"/>
                </a:cubicBezTo>
                <a:cubicBezTo>
                  <a:pt x="178" y="397"/>
                  <a:pt x="179" y="392"/>
                  <a:pt x="181" y="393"/>
                </a:cubicBezTo>
                <a:close/>
                <a:moveTo>
                  <a:pt x="179" y="358"/>
                </a:moveTo>
                <a:cubicBezTo>
                  <a:pt x="179" y="358"/>
                  <a:pt x="180" y="359"/>
                  <a:pt x="180" y="359"/>
                </a:cubicBezTo>
                <a:cubicBezTo>
                  <a:pt x="180" y="360"/>
                  <a:pt x="178" y="359"/>
                  <a:pt x="179" y="358"/>
                </a:cubicBezTo>
                <a:close/>
                <a:moveTo>
                  <a:pt x="182" y="418"/>
                </a:moveTo>
                <a:cubicBezTo>
                  <a:pt x="183" y="416"/>
                  <a:pt x="187" y="412"/>
                  <a:pt x="190" y="410"/>
                </a:cubicBezTo>
                <a:cubicBezTo>
                  <a:pt x="190" y="410"/>
                  <a:pt x="190" y="408"/>
                  <a:pt x="191" y="409"/>
                </a:cubicBezTo>
                <a:cubicBezTo>
                  <a:pt x="192" y="410"/>
                  <a:pt x="189" y="414"/>
                  <a:pt x="189" y="414"/>
                </a:cubicBezTo>
                <a:cubicBezTo>
                  <a:pt x="188" y="415"/>
                  <a:pt x="186" y="415"/>
                  <a:pt x="184" y="417"/>
                </a:cubicBezTo>
                <a:cubicBezTo>
                  <a:pt x="180" y="419"/>
                  <a:pt x="178" y="424"/>
                  <a:pt x="174" y="426"/>
                </a:cubicBezTo>
                <a:cubicBezTo>
                  <a:pt x="174" y="422"/>
                  <a:pt x="180" y="421"/>
                  <a:pt x="182" y="418"/>
                </a:cubicBezTo>
                <a:close/>
                <a:moveTo>
                  <a:pt x="193" y="479"/>
                </a:moveTo>
                <a:cubicBezTo>
                  <a:pt x="192" y="481"/>
                  <a:pt x="192" y="479"/>
                  <a:pt x="193" y="479"/>
                </a:cubicBezTo>
                <a:close/>
                <a:moveTo>
                  <a:pt x="193" y="432"/>
                </a:moveTo>
                <a:cubicBezTo>
                  <a:pt x="194" y="432"/>
                  <a:pt x="193" y="433"/>
                  <a:pt x="193" y="432"/>
                </a:cubicBezTo>
                <a:cubicBezTo>
                  <a:pt x="192" y="432"/>
                  <a:pt x="193" y="432"/>
                  <a:pt x="193" y="432"/>
                </a:cubicBezTo>
                <a:close/>
                <a:moveTo>
                  <a:pt x="191" y="460"/>
                </a:moveTo>
                <a:cubicBezTo>
                  <a:pt x="192" y="458"/>
                  <a:pt x="193" y="460"/>
                  <a:pt x="191" y="460"/>
                </a:cubicBezTo>
                <a:close/>
                <a:moveTo>
                  <a:pt x="193" y="489"/>
                </a:moveTo>
                <a:cubicBezTo>
                  <a:pt x="193" y="490"/>
                  <a:pt x="192" y="491"/>
                  <a:pt x="191" y="491"/>
                </a:cubicBezTo>
                <a:cubicBezTo>
                  <a:pt x="189" y="492"/>
                  <a:pt x="191" y="487"/>
                  <a:pt x="193" y="489"/>
                </a:cubicBezTo>
                <a:close/>
                <a:moveTo>
                  <a:pt x="190" y="440"/>
                </a:moveTo>
                <a:cubicBezTo>
                  <a:pt x="189" y="439"/>
                  <a:pt x="191" y="438"/>
                  <a:pt x="191" y="439"/>
                </a:cubicBezTo>
                <a:cubicBezTo>
                  <a:pt x="191" y="439"/>
                  <a:pt x="190" y="440"/>
                  <a:pt x="190" y="440"/>
                </a:cubicBezTo>
                <a:close/>
                <a:moveTo>
                  <a:pt x="189" y="511"/>
                </a:moveTo>
                <a:cubicBezTo>
                  <a:pt x="189" y="511"/>
                  <a:pt x="189" y="512"/>
                  <a:pt x="188" y="511"/>
                </a:cubicBezTo>
                <a:cubicBezTo>
                  <a:pt x="188" y="511"/>
                  <a:pt x="189" y="510"/>
                  <a:pt x="189" y="511"/>
                </a:cubicBezTo>
                <a:close/>
                <a:moveTo>
                  <a:pt x="186" y="470"/>
                </a:moveTo>
                <a:cubicBezTo>
                  <a:pt x="185" y="469"/>
                  <a:pt x="188" y="469"/>
                  <a:pt x="188" y="470"/>
                </a:cubicBezTo>
                <a:cubicBezTo>
                  <a:pt x="189" y="471"/>
                  <a:pt x="186" y="472"/>
                  <a:pt x="186" y="470"/>
                </a:cubicBezTo>
                <a:close/>
                <a:moveTo>
                  <a:pt x="184" y="470"/>
                </a:moveTo>
                <a:cubicBezTo>
                  <a:pt x="185" y="471"/>
                  <a:pt x="184" y="472"/>
                  <a:pt x="183" y="472"/>
                </a:cubicBezTo>
                <a:cubicBezTo>
                  <a:pt x="180" y="474"/>
                  <a:pt x="182" y="469"/>
                  <a:pt x="184" y="470"/>
                </a:cubicBezTo>
                <a:close/>
                <a:moveTo>
                  <a:pt x="183" y="435"/>
                </a:moveTo>
                <a:cubicBezTo>
                  <a:pt x="183" y="434"/>
                  <a:pt x="182" y="436"/>
                  <a:pt x="183" y="435"/>
                </a:cubicBezTo>
                <a:close/>
                <a:moveTo>
                  <a:pt x="180" y="443"/>
                </a:moveTo>
                <a:cubicBezTo>
                  <a:pt x="180" y="443"/>
                  <a:pt x="179" y="443"/>
                  <a:pt x="179" y="443"/>
                </a:cubicBezTo>
                <a:cubicBezTo>
                  <a:pt x="178" y="445"/>
                  <a:pt x="180" y="440"/>
                  <a:pt x="180" y="443"/>
                </a:cubicBezTo>
                <a:close/>
                <a:moveTo>
                  <a:pt x="174" y="445"/>
                </a:moveTo>
                <a:cubicBezTo>
                  <a:pt x="173" y="446"/>
                  <a:pt x="174" y="444"/>
                  <a:pt x="174" y="445"/>
                </a:cubicBezTo>
                <a:close/>
                <a:moveTo>
                  <a:pt x="173" y="182"/>
                </a:moveTo>
                <a:cubicBezTo>
                  <a:pt x="172" y="182"/>
                  <a:pt x="174" y="180"/>
                  <a:pt x="173" y="182"/>
                </a:cubicBezTo>
                <a:close/>
                <a:moveTo>
                  <a:pt x="173" y="438"/>
                </a:moveTo>
                <a:cubicBezTo>
                  <a:pt x="174" y="437"/>
                  <a:pt x="172" y="440"/>
                  <a:pt x="173" y="438"/>
                </a:cubicBezTo>
                <a:close/>
                <a:moveTo>
                  <a:pt x="173" y="477"/>
                </a:moveTo>
                <a:cubicBezTo>
                  <a:pt x="172" y="478"/>
                  <a:pt x="172" y="478"/>
                  <a:pt x="170" y="478"/>
                </a:cubicBezTo>
                <a:cubicBezTo>
                  <a:pt x="171" y="478"/>
                  <a:pt x="171" y="477"/>
                  <a:pt x="173" y="477"/>
                </a:cubicBezTo>
                <a:close/>
                <a:moveTo>
                  <a:pt x="173" y="314"/>
                </a:move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lose/>
                <a:moveTo>
                  <a:pt x="171" y="307"/>
                </a:moveTo>
                <a:cubicBezTo>
                  <a:pt x="171" y="308"/>
                  <a:pt x="171" y="309"/>
                  <a:pt x="169" y="310"/>
                </a:cubicBezTo>
                <a:cubicBezTo>
                  <a:pt x="168" y="310"/>
                  <a:pt x="167" y="310"/>
                  <a:pt x="166" y="309"/>
                </a:cubicBezTo>
                <a:cubicBezTo>
                  <a:pt x="164" y="305"/>
                  <a:pt x="171" y="303"/>
                  <a:pt x="171" y="307"/>
                </a:cubicBezTo>
                <a:close/>
                <a:moveTo>
                  <a:pt x="168" y="501"/>
                </a:moveTo>
                <a:cubicBezTo>
                  <a:pt x="168" y="501"/>
                  <a:pt x="168" y="501"/>
                  <a:pt x="169" y="501"/>
                </a:cubicBezTo>
                <a:cubicBezTo>
                  <a:pt x="169" y="501"/>
                  <a:pt x="168" y="502"/>
                  <a:pt x="168" y="501"/>
                </a:cubicBezTo>
                <a:close/>
                <a:moveTo>
                  <a:pt x="166" y="342"/>
                </a:moveTo>
                <a:cubicBezTo>
                  <a:pt x="166" y="342"/>
                  <a:pt x="166" y="342"/>
                  <a:pt x="166" y="342"/>
                </a:cubicBezTo>
                <a:cubicBezTo>
                  <a:pt x="166" y="342"/>
                  <a:pt x="166" y="343"/>
                  <a:pt x="165" y="343"/>
                </a:cubicBezTo>
                <a:cubicBezTo>
                  <a:pt x="165" y="343"/>
                  <a:pt x="165" y="343"/>
                  <a:pt x="165" y="343"/>
                </a:cubicBezTo>
                <a:cubicBezTo>
                  <a:pt x="165" y="343"/>
                  <a:pt x="166" y="342"/>
                  <a:pt x="166" y="342"/>
                </a:cubicBezTo>
                <a:close/>
                <a:moveTo>
                  <a:pt x="165" y="307"/>
                </a:moveTo>
                <a:cubicBezTo>
                  <a:pt x="163" y="308"/>
                  <a:pt x="167" y="306"/>
                  <a:pt x="165" y="307"/>
                </a:cubicBezTo>
                <a:close/>
                <a:moveTo>
                  <a:pt x="164" y="344"/>
                </a:moveTo>
                <a:cubicBezTo>
                  <a:pt x="163" y="344"/>
                  <a:pt x="166" y="342"/>
                  <a:pt x="164" y="344"/>
                </a:cubicBezTo>
                <a:close/>
                <a:moveTo>
                  <a:pt x="165" y="345"/>
                </a:moveTo>
                <a:cubicBezTo>
                  <a:pt x="164" y="346"/>
                  <a:pt x="164" y="347"/>
                  <a:pt x="162" y="347"/>
                </a:cubicBezTo>
                <a:cubicBezTo>
                  <a:pt x="163" y="347"/>
                  <a:pt x="163" y="346"/>
                  <a:pt x="165" y="345"/>
                </a:cubicBezTo>
                <a:close/>
                <a:moveTo>
                  <a:pt x="161" y="347"/>
                </a:moveTo>
                <a:cubicBezTo>
                  <a:pt x="160" y="348"/>
                  <a:pt x="162" y="346"/>
                  <a:pt x="161" y="347"/>
                </a:cubicBezTo>
                <a:close/>
                <a:moveTo>
                  <a:pt x="160" y="350"/>
                </a:moveTo>
                <a:cubicBezTo>
                  <a:pt x="161" y="348"/>
                  <a:pt x="162" y="349"/>
                  <a:pt x="160" y="350"/>
                </a:cubicBezTo>
                <a:close/>
                <a:moveTo>
                  <a:pt x="168" y="370"/>
                </a:moveTo>
                <a:cubicBezTo>
                  <a:pt x="165" y="373"/>
                  <a:pt x="163" y="376"/>
                  <a:pt x="158" y="378"/>
                </a:cubicBezTo>
                <a:cubicBezTo>
                  <a:pt x="161" y="375"/>
                  <a:pt x="164" y="372"/>
                  <a:pt x="168" y="370"/>
                </a:cubicBezTo>
                <a:close/>
                <a:moveTo>
                  <a:pt x="167" y="392"/>
                </a:moveTo>
                <a:cubicBezTo>
                  <a:pt x="166" y="393"/>
                  <a:pt x="168" y="390"/>
                  <a:pt x="167" y="391"/>
                </a:cubicBezTo>
                <a:cubicBezTo>
                  <a:pt x="167" y="391"/>
                  <a:pt x="167" y="392"/>
                  <a:pt x="167" y="392"/>
                </a:cubicBezTo>
                <a:close/>
                <a:moveTo>
                  <a:pt x="168" y="424"/>
                </a:moveTo>
                <a:cubicBezTo>
                  <a:pt x="168" y="424"/>
                  <a:pt x="167" y="424"/>
                  <a:pt x="167" y="424"/>
                </a:cubicBezTo>
                <a:cubicBezTo>
                  <a:pt x="166" y="423"/>
                  <a:pt x="168" y="423"/>
                  <a:pt x="168" y="424"/>
                </a:cubicBezTo>
                <a:close/>
                <a:moveTo>
                  <a:pt x="161" y="457"/>
                </a:moveTo>
                <a:cubicBezTo>
                  <a:pt x="161" y="458"/>
                  <a:pt x="158" y="461"/>
                  <a:pt x="157" y="460"/>
                </a:cubicBezTo>
                <a:cubicBezTo>
                  <a:pt x="156" y="458"/>
                  <a:pt x="159" y="456"/>
                  <a:pt x="161" y="457"/>
                </a:cubicBezTo>
                <a:close/>
                <a:moveTo>
                  <a:pt x="157" y="477"/>
                </a:move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lose/>
                <a:moveTo>
                  <a:pt x="161" y="502"/>
                </a:moveTo>
                <a:cubicBezTo>
                  <a:pt x="161" y="503"/>
                  <a:pt x="159" y="504"/>
                  <a:pt x="159" y="503"/>
                </a:cubicBezTo>
                <a:cubicBezTo>
                  <a:pt x="159" y="502"/>
                  <a:pt x="160" y="501"/>
                  <a:pt x="161" y="502"/>
                </a:cubicBezTo>
                <a:close/>
                <a:moveTo>
                  <a:pt x="159" y="482"/>
                </a:moveTo>
                <a:cubicBezTo>
                  <a:pt x="158" y="483"/>
                  <a:pt x="160" y="481"/>
                  <a:pt x="159" y="482"/>
                </a:cubicBezTo>
                <a:close/>
                <a:moveTo>
                  <a:pt x="162" y="484"/>
                </a:moveTo>
                <a:cubicBezTo>
                  <a:pt x="163" y="484"/>
                  <a:pt x="162" y="485"/>
                  <a:pt x="161" y="485"/>
                </a:cubicBezTo>
                <a:cubicBezTo>
                  <a:pt x="160" y="486"/>
                  <a:pt x="161" y="483"/>
                  <a:pt x="162" y="484"/>
                </a:cubicBezTo>
                <a:close/>
                <a:moveTo>
                  <a:pt x="161" y="428"/>
                </a:moveTo>
                <a:cubicBezTo>
                  <a:pt x="162" y="429"/>
                  <a:pt x="160" y="432"/>
                  <a:pt x="160" y="432"/>
                </a:cubicBezTo>
                <a:cubicBezTo>
                  <a:pt x="155" y="435"/>
                  <a:pt x="158" y="426"/>
                  <a:pt x="161" y="428"/>
                </a:cubicBezTo>
                <a:close/>
                <a:moveTo>
                  <a:pt x="164" y="506"/>
                </a:moveTo>
                <a:cubicBezTo>
                  <a:pt x="165" y="507"/>
                  <a:pt x="160" y="510"/>
                  <a:pt x="159" y="510"/>
                </a:cubicBezTo>
                <a:cubicBezTo>
                  <a:pt x="154" y="511"/>
                  <a:pt x="163" y="505"/>
                  <a:pt x="164" y="506"/>
                </a:cubicBezTo>
                <a:close/>
                <a:moveTo>
                  <a:pt x="163" y="443"/>
                </a:moveTo>
                <a:cubicBezTo>
                  <a:pt x="163" y="443"/>
                  <a:pt x="163" y="444"/>
                  <a:pt x="162" y="444"/>
                </a:cubicBezTo>
                <a:cubicBezTo>
                  <a:pt x="162" y="443"/>
                  <a:pt x="163" y="443"/>
                  <a:pt x="163" y="443"/>
                </a:cubicBezTo>
                <a:close/>
                <a:moveTo>
                  <a:pt x="159" y="351"/>
                </a:moveTo>
                <a:cubicBezTo>
                  <a:pt x="159" y="351"/>
                  <a:pt x="159" y="350"/>
                  <a:pt x="160" y="350"/>
                </a:cubicBezTo>
                <a:cubicBezTo>
                  <a:pt x="160" y="350"/>
                  <a:pt x="160" y="351"/>
                  <a:pt x="159" y="351"/>
                </a:cubicBezTo>
                <a:close/>
                <a:moveTo>
                  <a:pt x="160" y="259"/>
                </a:moveTo>
                <a:cubicBezTo>
                  <a:pt x="160" y="259"/>
                  <a:pt x="160" y="260"/>
                  <a:pt x="160" y="260"/>
                </a:cubicBezTo>
                <a:cubicBezTo>
                  <a:pt x="159" y="261"/>
                  <a:pt x="158" y="258"/>
                  <a:pt x="160" y="259"/>
                </a:cubicBezTo>
                <a:close/>
                <a:moveTo>
                  <a:pt x="160" y="349"/>
                </a:moveTo>
                <a:cubicBezTo>
                  <a:pt x="159" y="350"/>
                  <a:pt x="159" y="350"/>
                  <a:pt x="158" y="351"/>
                </a:cubicBezTo>
                <a:cubicBezTo>
                  <a:pt x="158" y="350"/>
                  <a:pt x="159" y="349"/>
                  <a:pt x="160" y="349"/>
                </a:cubicBezTo>
                <a:close/>
                <a:moveTo>
                  <a:pt x="159" y="352"/>
                </a:moveTo>
                <a:cubicBezTo>
                  <a:pt x="158" y="352"/>
                  <a:pt x="158" y="353"/>
                  <a:pt x="157" y="353"/>
                </a:cubicBezTo>
                <a:cubicBezTo>
                  <a:pt x="157" y="352"/>
                  <a:pt x="158" y="352"/>
                  <a:pt x="159" y="352"/>
                </a:cubicBezTo>
                <a:close/>
                <a:moveTo>
                  <a:pt x="156" y="354"/>
                </a:moveTo>
                <a:cubicBezTo>
                  <a:pt x="155" y="355"/>
                  <a:pt x="158" y="353"/>
                  <a:pt x="156" y="354"/>
                </a:cubicBezTo>
                <a:close/>
                <a:moveTo>
                  <a:pt x="157" y="415"/>
                </a:moveTo>
                <a:cubicBezTo>
                  <a:pt x="158" y="416"/>
                  <a:pt x="157" y="417"/>
                  <a:pt x="156" y="417"/>
                </a:cubicBezTo>
                <a:cubicBezTo>
                  <a:pt x="156" y="416"/>
                  <a:pt x="157" y="416"/>
                  <a:pt x="157" y="415"/>
                </a:cubicBezTo>
                <a:close/>
                <a:moveTo>
                  <a:pt x="133" y="461"/>
                </a:moveTo>
                <a:cubicBezTo>
                  <a:pt x="137" y="457"/>
                  <a:pt x="142" y="453"/>
                  <a:pt x="148" y="450"/>
                </a:cubicBezTo>
                <a:cubicBezTo>
                  <a:pt x="143" y="454"/>
                  <a:pt x="138" y="457"/>
                  <a:pt x="133" y="461"/>
                </a:cubicBezTo>
                <a:close/>
                <a:moveTo>
                  <a:pt x="138" y="463"/>
                </a:moveTo>
                <a:cubicBezTo>
                  <a:pt x="138" y="464"/>
                  <a:pt x="137" y="464"/>
                  <a:pt x="137" y="463"/>
                </a:cubicBezTo>
                <a:cubicBezTo>
                  <a:pt x="136" y="462"/>
                  <a:pt x="138" y="463"/>
                  <a:pt x="138" y="463"/>
                </a:cubicBezTo>
                <a:close/>
                <a:moveTo>
                  <a:pt x="147" y="446"/>
                </a:moveTo>
                <a:cubicBezTo>
                  <a:pt x="146" y="446"/>
                  <a:pt x="145" y="447"/>
                  <a:pt x="145" y="447"/>
                </a:cubicBezTo>
                <a:cubicBezTo>
                  <a:pt x="144" y="446"/>
                  <a:pt x="152" y="439"/>
                  <a:pt x="153" y="440"/>
                </a:cubicBezTo>
                <a:cubicBezTo>
                  <a:pt x="154" y="440"/>
                  <a:pt x="147" y="446"/>
                  <a:pt x="147" y="446"/>
                </a:cubicBezTo>
                <a:close/>
                <a:moveTo>
                  <a:pt x="148" y="401"/>
                </a:moveTo>
                <a:cubicBezTo>
                  <a:pt x="151" y="399"/>
                  <a:pt x="146" y="402"/>
                  <a:pt x="148" y="401"/>
                </a:cubicBezTo>
                <a:close/>
                <a:moveTo>
                  <a:pt x="150" y="439"/>
                </a:moveTo>
                <a:cubicBezTo>
                  <a:pt x="150" y="440"/>
                  <a:pt x="149" y="440"/>
                  <a:pt x="148" y="440"/>
                </a:cubicBezTo>
                <a:cubicBezTo>
                  <a:pt x="148" y="439"/>
                  <a:pt x="149" y="439"/>
                  <a:pt x="150" y="439"/>
                </a:cubicBezTo>
                <a:close/>
                <a:moveTo>
                  <a:pt x="151" y="379"/>
                </a:moveTo>
                <a:cubicBezTo>
                  <a:pt x="150" y="380"/>
                  <a:pt x="151" y="378"/>
                  <a:pt x="151" y="379"/>
                </a:cubicBezTo>
                <a:close/>
                <a:moveTo>
                  <a:pt x="153" y="447"/>
                </a:moveTo>
                <a:cubicBezTo>
                  <a:pt x="153" y="449"/>
                  <a:pt x="150" y="449"/>
                  <a:pt x="149" y="450"/>
                </a:cubicBezTo>
                <a:cubicBezTo>
                  <a:pt x="149" y="449"/>
                  <a:pt x="152" y="448"/>
                  <a:pt x="153" y="447"/>
                </a:cubicBezTo>
                <a:close/>
                <a:moveTo>
                  <a:pt x="156" y="472"/>
                </a:moveTo>
                <a:cubicBezTo>
                  <a:pt x="155" y="473"/>
                  <a:pt x="152" y="475"/>
                  <a:pt x="151" y="475"/>
                </a:cubicBezTo>
                <a:cubicBezTo>
                  <a:pt x="151" y="475"/>
                  <a:pt x="154" y="471"/>
                  <a:pt x="156" y="472"/>
                </a:cubicBezTo>
                <a:close/>
                <a:moveTo>
                  <a:pt x="156" y="435"/>
                </a:moveTo>
                <a:cubicBezTo>
                  <a:pt x="156" y="435"/>
                  <a:pt x="156" y="435"/>
                  <a:pt x="157" y="435"/>
                </a:cubicBezTo>
                <a:cubicBezTo>
                  <a:pt x="156" y="435"/>
                  <a:pt x="156" y="435"/>
                  <a:pt x="156" y="435"/>
                </a:cubicBezTo>
                <a:cubicBezTo>
                  <a:pt x="156" y="435"/>
                  <a:pt x="156" y="435"/>
                  <a:pt x="156" y="435"/>
                </a:cubicBezTo>
                <a:close/>
                <a:moveTo>
                  <a:pt x="155" y="447"/>
                </a:moveTo>
                <a:cubicBezTo>
                  <a:pt x="155" y="447"/>
                  <a:pt x="154" y="448"/>
                  <a:pt x="154" y="447"/>
                </a:cubicBezTo>
                <a:cubicBezTo>
                  <a:pt x="153" y="446"/>
                  <a:pt x="156" y="445"/>
                  <a:pt x="155" y="447"/>
                </a:cubicBezTo>
                <a:close/>
                <a:moveTo>
                  <a:pt x="155" y="434"/>
                </a:moveTo>
                <a:cubicBezTo>
                  <a:pt x="155" y="434"/>
                  <a:pt x="154" y="435"/>
                  <a:pt x="154" y="435"/>
                </a:cubicBezTo>
                <a:cubicBezTo>
                  <a:pt x="152" y="437"/>
                  <a:pt x="153" y="432"/>
                  <a:pt x="155" y="434"/>
                </a:cubicBezTo>
                <a:close/>
                <a:moveTo>
                  <a:pt x="152" y="391"/>
                </a:moveTo>
                <a:cubicBezTo>
                  <a:pt x="153" y="391"/>
                  <a:pt x="152" y="392"/>
                  <a:pt x="152" y="392"/>
                </a:cubicBezTo>
                <a:cubicBezTo>
                  <a:pt x="151" y="393"/>
                  <a:pt x="151" y="390"/>
                  <a:pt x="152" y="391"/>
                </a:cubicBezTo>
                <a:close/>
                <a:moveTo>
                  <a:pt x="151" y="438"/>
                </a:moveTo>
                <a:cubicBezTo>
                  <a:pt x="152" y="436"/>
                  <a:pt x="154" y="438"/>
                  <a:pt x="151" y="438"/>
                </a:cubicBezTo>
                <a:close/>
                <a:moveTo>
                  <a:pt x="151" y="253"/>
                </a:moveTo>
                <a:cubicBezTo>
                  <a:pt x="151" y="253"/>
                  <a:pt x="151" y="254"/>
                  <a:pt x="150" y="254"/>
                </a:cubicBezTo>
                <a:cubicBezTo>
                  <a:pt x="150" y="253"/>
                  <a:pt x="151" y="252"/>
                  <a:pt x="151" y="253"/>
                </a:cubicBezTo>
                <a:close/>
                <a:moveTo>
                  <a:pt x="150" y="436"/>
                </a:moveTo>
                <a:cubicBezTo>
                  <a:pt x="151" y="436"/>
                  <a:pt x="150" y="437"/>
                  <a:pt x="150" y="437"/>
                </a:cubicBezTo>
                <a:cubicBezTo>
                  <a:pt x="149" y="439"/>
                  <a:pt x="149" y="435"/>
                  <a:pt x="150" y="436"/>
                </a:cubicBezTo>
                <a:close/>
                <a:moveTo>
                  <a:pt x="149" y="322"/>
                </a:moveTo>
                <a:cubicBezTo>
                  <a:pt x="149" y="323"/>
                  <a:pt x="148" y="322"/>
                  <a:pt x="149" y="322"/>
                </a:cubicBezTo>
                <a:close/>
                <a:moveTo>
                  <a:pt x="149" y="365"/>
                </a:moveTo>
                <a:cubicBezTo>
                  <a:pt x="149" y="366"/>
                  <a:pt x="147" y="366"/>
                  <a:pt x="148" y="365"/>
                </a:cubicBezTo>
                <a:cubicBezTo>
                  <a:pt x="148" y="365"/>
                  <a:pt x="149" y="365"/>
                  <a:pt x="149" y="365"/>
                </a:cubicBezTo>
                <a:close/>
                <a:moveTo>
                  <a:pt x="147" y="197"/>
                </a:moveTo>
                <a:cubicBezTo>
                  <a:pt x="146" y="198"/>
                  <a:pt x="146" y="198"/>
                  <a:pt x="145" y="197"/>
                </a:cubicBezTo>
                <a:cubicBezTo>
                  <a:pt x="142" y="194"/>
                  <a:pt x="150" y="194"/>
                  <a:pt x="147" y="197"/>
                </a:cubicBezTo>
                <a:close/>
                <a:moveTo>
                  <a:pt x="145" y="359"/>
                </a:moveTo>
                <a:cubicBezTo>
                  <a:pt x="147" y="359"/>
                  <a:pt x="145" y="362"/>
                  <a:pt x="145" y="362"/>
                </a:cubicBezTo>
                <a:cubicBezTo>
                  <a:pt x="143" y="363"/>
                  <a:pt x="143" y="358"/>
                  <a:pt x="145" y="359"/>
                </a:cubicBezTo>
                <a:close/>
                <a:moveTo>
                  <a:pt x="145" y="402"/>
                </a:moveTo>
                <a:cubicBezTo>
                  <a:pt x="145" y="404"/>
                  <a:pt x="144" y="404"/>
                  <a:pt x="143" y="405"/>
                </a:cubicBezTo>
                <a:cubicBezTo>
                  <a:pt x="143" y="404"/>
                  <a:pt x="144" y="403"/>
                  <a:pt x="145" y="402"/>
                </a:cubicBezTo>
                <a:close/>
                <a:moveTo>
                  <a:pt x="132" y="456"/>
                </a:moveTo>
                <a:cubicBezTo>
                  <a:pt x="134" y="453"/>
                  <a:pt x="139" y="450"/>
                  <a:pt x="143" y="448"/>
                </a:cubicBezTo>
                <a:cubicBezTo>
                  <a:pt x="139" y="451"/>
                  <a:pt x="137" y="455"/>
                  <a:pt x="132" y="456"/>
                </a:cubicBezTo>
                <a:close/>
                <a:moveTo>
                  <a:pt x="131" y="395"/>
                </a:moveTo>
                <a:cubicBezTo>
                  <a:pt x="132" y="394"/>
                  <a:pt x="132" y="393"/>
                  <a:pt x="134" y="393"/>
                </a:cubicBezTo>
                <a:cubicBezTo>
                  <a:pt x="134" y="393"/>
                  <a:pt x="132" y="395"/>
                  <a:pt x="131" y="395"/>
                </a:cubicBezTo>
                <a:close/>
                <a:moveTo>
                  <a:pt x="134" y="448"/>
                </a:moveTo>
                <a:cubicBezTo>
                  <a:pt x="134" y="448"/>
                  <a:pt x="133" y="449"/>
                  <a:pt x="133" y="448"/>
                </a:cubicBezTo>
                <a:cubicBezTo>
                  <a:pt x="132" y="447"/>
                  <a:pt x="135" y="447"/>
                  <a:pt x="134" y="448"/>
                </a:cubicBezTo>
                <a:close/>
                <a:moveTo>
                  <a:pt x="132" y="422"/>
                </a:moveTo>
                <a:cubicBezTo>
                  <a:pt x="131" y="421"/>
                  <a:pt x="131" y="420"/>
                  <a:pt x="132" y="420"/>
                </a:cubicBezTo>
                <a:cubicBezTo>
                  <a:pt x="133" y="420"/>
                  <a:pt x="134" y="421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5" y="424"/>
                  <a:pt x="130" y="426"/>
                  <a:pt x="130" y="423"/>
                </a:cubicBezTo>
                <a:cubicBezTo>
                  <a:pt x="130" y="422"/>
                  <a:pt x="131" y="422"/>
                  <a:pt x="132" y="422"/>
                </a:cubicBezTo>
                <a:close/>
                <a:moveTo>
                  <a:pt x="138" y="416"/>
                </a:moveTo>
                <a:cubicBezTo>
                  <a:pt x="137" y="417"/>
                  <a:pt x="139" y="415"/>
                  <a:pt x="138" y="416"/>
                </a:cubicBezTo>
                <a:close/>
                <a:moveTo>
                  <a:pt x="139" y="433"/>
                </a:moveTo>
                <a:cubicBezTo>
                  <a:pt x="139" y="432"/>
                  <a:pt x="139" y="432"/>
                  <a:pt x="139" y="432"/>
                </a:cubicBezTo>
                <a:cubicBezTo>
                  <a:pt x="139" y="430"/>
                  <a:pt x="141" y="433"/>
                  <a:pt x="139" y="433"/>
                </a:cubicBezTo>
                <a:close/>
                <a:moveTo>
                  <a:pt x="140" y="443"/>
                </a:moveTo>
                <a:cubicBezTo>
                  <a:pt x="140" y="443"/>
                  <a:pt x="141" y="443"/>
                  <a:pt x="141" y="444"/>
                </a:cubicBezTo>
                <a:cubicBezTo>
                  <a:pt x="141" y="444"/>
                  <a:pt x="140" y="444"/>
                  <a:pt x="140" y="443"/>
                </a:cubicBezTo>
                <a:close/>
                <a:moveTo>
                  <a:pt x="142" y="387"/>
                </a:moveTo>
                <a:cubicBezTo>
                  <a:pt x="141" y="387"/>
                  <a:pt x="144" y="386"/>
                  <a:pt x="142" y="387"/>
                </a:cubicBezTo>
                <a:close/>
                <a:moveTo>
                  <a:pt x="142" y="436"/>
                </a:moveTo>
                <a:cubicBezTo>
                  <a:pt x="143" y="436"/>
                  <a:pt x="142" y="439"/>
                  <a:pt x="141" y="437"/>
                </a:cubicBezTo>
                <a:cubicBezTo>
                  <a:pt x="141" y="436"/>
                  <a:pt x="142" y="436"/>
                  <a:pt x="142" y="436"/>
                </a:cubicBezTo>
                <a:close/>
                <a:moveTo>
                  <a:pt x="142" y="387"/>
                </a:moveTo>
                <a:cubicBezTo>
                  <a:pt x="141" y="389"/>
                  <a:pt x="139" y="391"/>
                  <a:pt x="137" y="392"/>
                </a:cubicBezTo>
                <a:cubicBezTo>
                  <a:pt x="137" y="392"/>
                  <a:pt x="139" y="388"/>
                  <a:pt x="142" y="387"/>
                </a:cubicBezTo>
                <a:close/>
                <a:moveTo>
                  <a:pt x="136" y="246"/>
                </a:moveTo>
                <a:cubicBezTo>
                  <a:pt x="135" y="246"/>
                  <a:pt x="137" y="245"/>
                  <a:pt x="136" y="246"/>
                </a:cubicBezTo>
                <a:close/>
                <a:moveTo>
                  <a:pt x="134" y="301"/>
                </a:moveTo>
                <a:cubicBezTo>
                  <a:pt x="134" y="298"/>
                  <a:pt x="136" y="300"/>
                  <a:pt x="134" y="301"/>
                </a:cubicBezTo>
                <a:close/>
                <a:moveTo>
                  <a:pt x="135" y="342"/>
                </a:moveTo>
                <a:cubicBezTo>
                  <a:pt x="135" y="343"/>
                  <a:pt x="134" y="344"/>
                  <a:pt x="134" y="345"/>
                </a:cubicBezTo>
                <a:cubicBezTo>
                  <a:pt x="133" y="344"/>
                  <a:pt x="134" y="342"/>
                  <a:pt x="135" y="342"/>
                </a:cubicBezTo>
                <a:close/>
                <a:moveTo>
                  <a:pt x="129" y="351"/>
                </a:moveTo>
                <a:cubicBezTo>
                  <a:pt x="129" y="350"/>
                  <a:pt x="132" y="348"/>
                  <a:pt x="132" y="346"/>
                </a:cubicBezTo>
                <a:cubicBezTo>
                  <a:pt x="133" y="347"/>
                  <a:pt x="130" y="349"/>
                  <a:pt x="129" y="351"/>
                </a:cubicBezTo>
                <a:close/>
                <a:moveTo>
                  <a:pt x="132" y="280"/>
                </a:moveTo>
                <a:cubicBezTo>
                  <a:pt x="132" y="282"/>
                  <a:pt x="130" y="281"/>
                  <a:pt x="132" y="280"/>
                </a:cubicBezTo>
                <a:close/>
                <a:moveTo>
                  <a:pt x="129" y="305"/>
                </a:moveTo>
                <a:cubicBezTo>
                  <a:pt x="131" y="306"/>
                  <a:pt x="130" y="307"/>
                  <a:pt x="129" y="307"/>
                </a:cubicBezTo>
                <a:cubicBezTo>
                  <a:pt x="127" y="309"/>
                  <a:pt x="128" y="305"/>
                  <a:pt x="129" y="305"/>
                </a:cubicBezTo>
                <a:close/>
                <a:moveTo>
                  <a:pt x="118" y="327"/>
                </a:moveTo>
                <a:cubicBezTo>
                  <a:pt x="118" y="327"/>
                  <a:pt x="117" y="327"/>
                  <a:pt x="117" y="326"/>
                </a:cubicBezTo>
                <a:cubicBezTo>
                  <a:pt x="117" y="326"/>
                  <a:pt x="119" y="326"/>
                  <a:pt x="118" y="327"/>
                </a:cubicBezTo>
                <a:close/>
                <a:moveTo>
                  <a:pt x="118" y="336"/>
                </a:moveTo>
                <a:cubicBezTo>
                  <a:pt x="118" y="336"/>
                  <a:pt x="118" y="337"/>
                  <a:pt x="117" y="336"/>
                </a:cubicBezTo>
                <a:cubicBezTo>
                  <a:pt x="117" y="336"/>
                  <a:pt x="119" y="334"/>
                  <a:pt x="118" y="336"/>
                </a:cubicBezTo>
                <a:close/>
                <a:moveTo>
                  <a:pt x="115" y="336"/>
                </a:moveTo>
                <a:cubicBezTo>
                  <a:pt x="116" y="335"/>
                  <a:pt x="114" y="337"/>
                  <a:pt x="115" y="336"/>
                </a:cubicBezTo>
                <a:close/>
                <a:moveTo>
                  <a:pt x="115" y="386"/>
                </a:moveTo>
                <a:cubicBezTo>
                  <a:pt x="116" y="387"/>
                  <a:pt x="115" y="387"/>
                  <a:pt x="114" y="387"/>
                </a:cubicBezTo>
                <a:cubicBezTo>
                  <a:pt x="114" y="388"/>
                  <a:pt x="115" y="386"/>
                  <a:pt x="115" y="386"/>
                </a:cubicBezTo>
                <a:close/>
                <a:moveTo>
                  <a:pt x="114" y="388"/>
                </a:moveTo>
                <a:cubicBezTo>
                  <a:pt x="114" y="389"/>
                  <a:pt x="113" y="389"/>
                  <a:pt x="113" y="390"/>
                </a:cubicBezTo>
                <a:cubicBezTo>
                  <a:pt x="112" y="390"/>
                  <a:pt x="113" y="388"/>
                  <a:pt x="114" y="388"/>
                </a:cubicBezTo>
                <a:close/>
                <a:moveTo>
                  <a:pt x="111" y="394"/>
                </a:moveTo>
                <a:cubicBezTo>
                  <a:pt x="110" y="393"/>
                  <a:pt x="112" y="392"/>
                  <a:pt x="112" y="391"/>
                </a:cubicBezTo>
                <a:cubicBezTo>
                  <a:pt x="113" y="392"/>
                  <a:pt x="111" y="393"/>
                  <a:pt x="111" y="394"/>
                </a:cubicBezTo>
                <a:close/>
                <a:moveTo>
                  <a:pt x="112" y="243"/>
                </a:moveTo>
                <a:cubicBezTo>
                  <a:pt x="111" y="245"/>
                  <a:pt x="111" y="241"/>
                  <a:pt x="112" y="242"/>
                </a:cubicBezTo>
                <a:cubicBezTo>
                  <a:pt x="113" y="242"/>
                  <a:pt x="112" y="243"/>
                  <a:pt x="112" y="243"/>
                </a:cubicBezTo>
                <a:close/>
                <a:moveTo>
                  <a:pt x="115" y="433"/>
                </a:moveTo>
                <a:cubicBezTo>
                  <a:pt x="111" y="434"/>
                  <a:pt x="116" y="429"/>
                  <a:pt x="116" y="432"/>
                </a:cubicBezTo>
                <a:cubicBezTo>
                  <a:pt x="116" y="432"/>
                  <a:pt x="115" y="433"/>
                  <a:pt x="115" y="433"/>
                </a:cubicBezTo>
                <a:close/>
                <a:moveTo>
                  <a:pt x="116" y="435"/>
                </a:moveTo>
                <a:cubicBezTo>
                  <a:pt x="115" y="436"/>
                  <a:pt x="117" y="434"/>
                  <a:pt x="116" y="435"/>
                </a:cubicBezTo>
                <a:close/>
                <a:moveTo>
                  <a:pt x="113" y="417"/>
                </a:moveTo>
                <a:cubicBezTo>
                  <a:pt x="115" y="413"/>
                  <a:pt x="118" y="409"/>
                  <a:pt x="121" y="406"/>
                </a:cubicBezTo>
                <a:cubicBezTo>
                  <a:pt x="119" y="410"/>
                  <a:pt x="117" y="414"/>
                  <a:pt x="113" y="417"/>
                </a:cubicBezTo>
                <a:close/>
                <a:moveTo>
                  <a:pt x="121" y="276"/>
                </a:moveTo>
                <a:cubicBezTo>
                  <a:pt x="121" y="276"/>
                  <a:pt x="121" y="277"/>
                  <a:pt x="121" y="277"/>
                </a:cubicBezTo>
                <a:cubicBezTo>
                  <a:pt x="120" y="276"/>
                  <a:pt x="122" y="275"/>
                  <a:pt x="121" y="276"/>
                </a:cubicBezTo>
                <a:close/>
                <a:moveTo>
                  <a:pt x="122" y="193"/>
                </a:moveTo>
                <a:cubicBezTo>
                  <a:pt x="123" y="193"/>
                  <a:pt x="123" y="195"/>
                  <a:pt x="122" y="195"/>
                </a:cubicBezTo>
                <a:cubicBezTo>
                  <a:pt x="121" y="197"/>
                  <a:pt x="121" y="192"/>
                  <a:pt x="122" y="193"/>
                </a:cubicBezTo>
                <a:close/>
                <a:moveTo>
                  <a:pt x="122" y="472"/>
                </a:moveTo>
                <a:cubicBezTo>
                  <a:pt x="122" y="473"/>
                  <a:pt x="121" y="474"/>
                  <a:pt x="120" y="475"/>
                </a:cubicBezTo>
                <a:cubicBezTo>
                  <a:pt x="120" y="474"/>
                  <a:pt x="121" y="472"/>
                  <a:pt x="122" y="472"/>
                </a:cubicBezTo>
                <a:close/>
                <a:moveTo>
                  <a:pt x="120" y="461"/>
                </a:moveTo>
                <a:cubicBezTo>
                  <a:pt x="121" y="463"/>
                  <a:pt x="118" y="467"/>
                  <a:pt x="116" y="466"/>
                </a:cubicBezTo>
                <a:cubicBezTo>
                  <a:pt x="115" y="464"/>
                  <a:pt x="119" y="462"/>
                  <a:pt x="120" y="461"/>
                </a:cubicBezTo>
                <a:close/>
                <a:moveTo>
                  <a:pt x="111" y="479"/>
                </a:moveTo>
                <a:cubicBezTo>
                  <a:pt x="110" y="481"/>
                  <a:pt x="109" y="480"/>
                  <a:pt x="111" y="479"/>
                </a:cubicBezTo>
                <a:close/>
                <a:moveTo>
                  <a:pt x="110" y="496"/>
                </a:moveTo>
                <a:cubicBezTo>
                  <a:pt x="111" y="495"/>
                  <a:pt x="109" y="497"/>
                  <a:pt x="110" y="496"/>
                </a:cubicBezTo>
                <a:close/>
                <a:moveTo>
                  <a:pt x="107" y="477"/>
                </a:moveTo>
                <a:cubicBezTo>
                  <a:pt x="107" y="476"/>
                  <a:pt x="106" y="478"/>
                  <a:pt x="107" y="477"/>
                </a:cubicBezTo>
                <a:close/>
                <a:moveTo>
                  <a:pt x="109" y="509"/>
                </a:moveTo>
                <a:cubicBezTo>
                  <a:pt x="108" y="510"/>
                  <a:pt x="107" y="509"/>
                  <a:pt x="106" y="508"/>
                </a:cubicBezTo>
                <a:cubicBezTo>
                  <a:pt x="104" y="505"/>
                  <a:pt x="110" y="501"/>
                  <a:pt x="111" y="503"/>
                </a:cubicBezTo>
                <a:cubicBezTo>
                  <a:pt x="114" y="504"/>
                  <a:pt x="111" y="509"/>
                  <a:pt x="109" y="509"/>
                </a:cubicBezTo>
                <a:close/>
                <a:moveTo>
                  <a:pt x="115" y="501"/>
                </a:moveTo>
                <a:cubicBezTo>
                  <a:pt x="115" y="499"/>
                  <a:pt x="117" y="501"/>
                  <a:pt x="115" y="501"/>
                </a:cubicBezTo>
                <a:close/>
                <a:moveTo>
                  <a:pt x="115" y="498"/>
                </a:moveTo>
                <a:cubicBezTo>
                  <a:pt x="115" y="498"/>
                  <a:pt x="115" y="498"/>
                  <a:pt x="115" y="498"/>
                </a:cubicBezTo>
                <a:cubicBezTo>
                  <a:pt x="115" y="499"/>
                  <a:pt x="115" y="499"/>
                  <a:pt x="115" y="499"/>
                </a:cubicBezTo>
                <a:cubicBezTo>
                  <a:pt x="114" y="500"/>
                  <a:pt x="114" y="500"/>
                  <a:pt x="114" y="501"/>
                </a:cubicBezTo>
                <a:cubicBezTo>
                  <a:pt x="114" y="501"/>
                  <a:pt x="114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1"/>
                  <a:pt x="113" y="501"/>
                </a:cubicBezTo>
                <a:cubicBezTo>
                  <a:pt x="114" y="499"/>
                  <a:pt x="115" y="496"/>
                  <a:pt x="116" y="494"/>
                </a:cubicBezTo>
                <a:cubicBezTo>
                  <a:pt x="116" y="495"/>
                  <a:pt x="116" y="497"/>
                  <a:pt x="115" y="498"/>
                </a:cubicBezTo>
                <a:close/>
                <a:moveTo>
                  <a:pt x="115" y="482"/>
                </a:moveTo>
                <a:cubicBezTo>
                  <a:pt x="116" y="481"/>
                  <a:pt x="118" y="481"/>
                  <a:pt x="120" y="480"/>
                </a:cubicBezTo>
                <a:cubicBezTo>
                  <a:pt x="119" y="482"/>
                  <a:pt x="117" y="482"/>
                  <a:pt x="115" y="482"/>
                </a:cubicBezTo>
                <a:close/>
                <a:moveTo>
                  <a:pt x="121" y="500"/>
                </a:moveTo>
                <a:cubicBezTo>
                  <a:pt x="122" y="501"/>
                  <a:pt x="121" y="503"/>
                  <a:pt x="119" y="503"/>
                </a:cubicBezTo>
                <a:cubicBezTo>
                  <a:pt x="117" y="502"/>
                  <a:pt x="119" y="499"/>
                  <a:pt x="121" y="500"/>
                </a:cubicBezTo>
                <a:cubicBezTo>
                  <a:pt x="119" y="498"/>
                  <a:pt x="121" y="493"/>
                  <a:pt x="124" y="494"/>
                </a:cubicBezTo>
                <a:cubicBezTo>
                  <a:pt x="128" y="495"/>
                  <a:pt x="124" y="503"/>
                  <a:pt x="121" y="500"/>
                </a:cubicBezTo>
                <a:close/>
                <a:moveTo>
                  <a:pt x="123" y="425"/>
                </a:moveTo>
                <a:cubicBezTo>
                  <a:pt x="123" y="425"/>
                  <a:pt x="123" y="424"/>
                  <a:pt x="124" y="424"/>
                </a:cubicBezTo>
                <a:cubicBezTo>
                  <a:pt x="124" y="424"/>
                  <a:pt x="123" y="425"/>
                  <a:pt x="123" y="425"/>
                </a:cubicBezTo>
                <a:close/>
                <a:moveTo>
                  <a:pt x="123" y="474"/>
                </a:moveTo>
                <a:cubicBezTo>
                  <a:pt x="123" y="472"/>
                  <a:pt x="125" y="474"/>
                  <a:pt x="123" y="474"/>
                </a:cubicBezTo>
                <a:close/>
                <a:moveTo>
                  <a:pt x="123" y="471"/>
                </a:moveTo>
                <a:cubicBezTo>
                  <a:pt x="125" y="469"/>
                  <a:pt x="122" y="472"/>
                  <a:pt x="123" y="471"/>
                </a:cubicBezTo>
                <a:close/>
                <a:moveTo>
                  <a:pt x="126" y="472"/>
                </a:moveTo>
                <a:cubicBezTo>
                  <a:pt x="126" y="472"/>
                  <a:pt x="126" y="472"/>
                  <a:pt x="126" y="472"/>
                </a:cubicBezTo>
                <a:cubicBezTo>
                  <a:pt x="125" y="472"/>
                  <a:pt x="125" y="473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lose/>
                <a:moveTo>
                  <a:pt x="127" y="431"/>
                </a:moveTo>
                <a:cubicBezTo>
                  <a:pt x="127" y="431"/>
                  <a:pt x="128" y="431"/>
                  <a:pt x="127" y="432"/>
                </a:cubicBezTo>
                <a:cubicBezTo>
                  <a:pt x="127" y="433"/>
                  <a:pt x="126" y="431"/>
                  <a:pt x="127" y="431"/>
                </a:cubicBezTo>
                <a:close/>
                <a:moveTo>
                  <a:pt x="127" y="501"/>
                </a:moveTo>
                <a:cubicBezTo>
                  <a:pt x="127" y="500"/>
                  <a:pt x="127" y="500"/>
                  <a:pt x="127" y="500"/>
                </a:cubicBezTo>
                <a:cubicBezTo>
                  <a:pt x="127" y="498"/>
                  <a:pt x="129" y="501"/>
                  <a:pt x="127" y="501"/>
                </a:cubicBezTo>
                <a:close/>
                <a:moveTo>
                  <a:pt x="128" y="501"/>
                </a:moveTo>
                <a:cubicBezTo>
                  <a:pt x="127" y="502"/>
                  <a:pt x="128" y="499"/>
                  <a:pt x="129" y="500"/>
                </a:cubicBezTo>
                <a:cubicBezTo>
                  <a:pt x="130" y="501"/>
                  <a:pt x="129" y="501"/>
                  <a:pt x="128" y="501"/>
                </a:cubicBezTo>
                <a:close/>
                <a:moveTo>
                  <a:pt x="128" y="456"/>
                </a:moveTo>
                <a:cubicBezTo>
                  <a:pt x="129" y="455"/>
                  <a:pt x="127" y="457"/>
                  <a:pt x="128" y="456"/>
                </a:cubicBezTo>
                <a:close/>
                <a:moveTo>
                  <a:pt x="125" y="401"/>
                </a:moveTo>
                <a:cubicBezTo>
                  <a:pt x="125" y="401"/>
                  <a:pt x="122" y="406"/>
                  <a:pt x="123" y="403"/>
                </a:cubicBezTo>
                <a:cubicBezTo>
                  <a:pt x="123" y="401"/>
                  <a:pt x="128" y="398"/>
                  <a:pt x="130" y="396"/>
                </a:cubicBezTo>
                <a:cubicBezTo>
                  <a:pt x="129" y="398"/>
                  <a:pt x="127" y="399"/>
                  <a:pt x="125" y="401"/>
                </a:cubicBezTo>
                <a:close/>
                <a:moveTo>
                  <a:pt x="131" y="424"/>
                </a:moveTo>
                <a:cubicBezTo>
                  <a:pt x="131" y="424"/>
                  <a:pt x="131" y="425"/>
                  <a:pt x="130" y="426"/>
                </a:cubicBezTo>
                <a:cubicBezTo>
                  <a:pt x="130" y="426"/>
                  <a:pt x="130" y="424"/>
                  <a:pt x="131" y="424"/>
                </a:cubicBezTo>
                <a:close/>
                <a:moveTo>
                  <a:pt x="131" y="503"/>
                </a:moveTo>
                <a:cubicBezTo>
                  <a:pt x="129" y="502"/>
                  <a:pt x="134" y="500"/>
                  <a:pt x="132" y="503"/>
                </a:cubicBezTo>
                <a:cubicBezTo>
                  <a:pt x="132" y="503"/>
                  <a:pt x="131" y="504"/>
                  <a:pt x="131" y="503"/>
                </a:cubicBezTo>
                <a:close/>
                <a:moveTo>
                  <a:pt x="132" y="505"/>
                </a:moveTo>
                <a:cubicBezTo>
                  <a:pt x="132" y="506"/>
                  <a:pt x="133" y="504"/>
                  <a:pt x="132" y="505"/>
                </a:cubicBezTo>
                <a:close/>
                <a:moveTo>
                  <a:pt x="132" y="478"/>
                </a:moveTo>
                <a:cubicBezTo>
                  <a:pt x="130" y="480"/>
                  <a:pt x="130" y="474"/>
                  <a:pt x="132" y="475"/>
                </a:cubicBezTo>
                <a:cubicBezTo>
                  <a:pt x="134" y="476"/>
                  <a:pt x="133" y="478"/>
                  <a:pt x="132" y="478"/>
                </a:cubicBezTo>
                <a:close/>
                <a:moveTo>
                  <a:pt x="138" y="496"/>
                </a:moveTo>
                <a:cubicBezTo>
                  <a:pt x="136" y="498"/>
                  <a:pt x="135" y="493"/>
                  <a:pt x="137" y="494"/>
                </a:cubicBezTo>
                <a:cubicBezTo>
                  <a:pt x="138" y="494"/>
                  <a:pt x="138" y="496"/>
                  <a:pt x="138" y="496"/>
                </a:cubicBezTo>
                <a:close/>
                <a:moveTo>
                  <a:pt x="140" y="501"/>
                </a:moveTo>
                <a:cubicBezTo>
                  <a:pt x="141" y="500"/>
                  <a:pt x="141" y="502"/>
                  <a:pt x="140" y="501"/>
                </a:cubicBezTo>
                <a:close/>
                <a:moveTo>
                  <a:pt x="139" y="469"/>
                </a:moveTo>
                <a:cubicBezTo>
                  <a:pt x="138" y="471"/>
                  <a:pt x="136" y="474"/>
                  <a:pt x="135" y="475"/>
                </a:cubicBezTo>
                <a:cubicBezTo>
                  <a:pt x="130" y="476"/>
                  <a:pt x="139" y="468"/>
                  <a:pt x="141" y="467"/>
                </a:cubicBezTo>
                <a:cubicBezTo>
                  <a:pt x="138" y="469"/>
                  <a:pt x="141" y="465"/>
                  <a:pt x="142" y="466"/>
                </a:cubicBezTo>
                <a:cubicBezTo>
                  <a:pt x="143" y="467"/>
                  <a:pt x="140" y="469"/>
                  <a:pt x="139" y="469"/>
                </a:cubicBezTo>
                <a:close/>
                <a:moveTo>
                  <a:pt x="143" y="510"/>
                </a:moveTo>
                <a:cubicBezTo>
                  <a:pt x="142" y="510"/>
                  <a:pt x="142" y="511"/>
                  <a:pt x="142" y="511"/>
                </a:cubicBezTo>
                <a:cubicBezTo>
                  <a:pt x="143" y="510"/>
                  <a:pt x="143" y="509"/>
                  <a:pt x="143" y="510"/>
                </a:cubicBezTo>
                <a:close/>
                <a:moveTo>
                  <a:pt x="143" y="484"/>
                </a:moveTo>
                <a:cubicBezTo>
                  <a:pt x="143" y="484"/>
                  <a:pt x="144" y="483"/>
                  <a:pt x="144" y="483"/>
                </a:cubicBezTo>
                <a:cubicBezTo>
                  <a:pt x="144" y="483"/>
                  <a:pt x="144" y="484"/>
                  <a:pt x="143" y="484"/>
                </a:cubicBezTo>
                <a:close/>
                <a:moveTo>
                  <a:pt x="144" y="494"/>
                </a:moveTo>
                <a:cubicBezTo>
                  <a:pt x="144" y="493"/>
                  <a:pt x="147" y="493"/>
                  <a:pt x="147" y="494"/>
                </a:cubicBezTo>
                <a:cubicBezTo>
                  <a:pt x="147" y="495"/>
                  <a:pt x="144" y="497"/>
                  <a:pt x="144" y="494"/>
                </a:cubicBezTo>
                <a:close/>
                <a:moveTo>
                  <a:pt x="145" y="517"/>
                </a:moveTo>
                <a:cubicBezTo>
                  <a:pt x="144" y="515"/>
                  <a:pt x="148" y="516"/>
                  <a:pt x="148" y="517"/>
                </a:cubicBezTo>
                <a:cubicBezTo>
                  <a:pt x="147" y="518"/>
                  <a:pt x="145" y="519"/>
                  <a:pt x="145" y="517"/>
                </a:cubicBezTo>
                <a:close/>
                <a:moveTo>
                  <a:pt x="142" y="481"/>
                </a:moveTo>
                <a:cubicBezTo>
                  <a:pt x="144" y="479"/>
                  <a:pt x="146" y="477"/>
                  <a:pt x="149" y="476"/>
                </a:cubicBezTo>
                <a:cubicBezTo>
                  <a:pt x="147" y="478"/>
                  <a:pt x="145" y="480"/>
                  <a:pt x="142" y="481"/>
                </a:cubicBezTo>
                <a:close/>
                <a:moveTo>
                  <a:pt x="149" y="515"/>
                </a:moveTo>
                <a:cubicBezTo>
                  <a:pt x="149" y="515"/>
                  <a:pt x="147" y="515"/>
                  <a:pt x="148" y="514"/>
                </a:cubicBezTo>
                <a:cubicBezTo>
                  <a:pt x="148" y="514"/>
                  <a:pt x="150" y="515"/>
                  <a:pt x="149" y="515"/>
                </a:cubicBezTo>
                <a:close/>
                <a:moveTo>
                  <a:pt x="150" y="472"/>
                </a:moveTo>
                <a:cubicBezTo>
                  <a:pt x="149" y="472"/>
                  <a:pt x="150" y="470"/>
                  <a:pt x="150" y="470"/>
                </a:cubicBezTo>
                <a:cubicBezTo>
                  <a:pt x="151" y="471"/>
                  <a:pt x="149" y="472"/>
                  <a:pt x="150" y="472"/>
                </a:cubicBezTo>
                <a:close/>
                <a:moveTo>
                  <a:pt x="150" y="468"/>
                </a:moveTo>
                <a:cubicBezTo>
                  <a:pt x="150" y="468"/>
                  <a:pt x="150" y="468"/>
                  <a:pt x="151" y="468"/>
                </a:cubicBezTo>
                <a:cubicBezTo>
                  <a:pt x="151" y="468"/>
                  <a:pt x="151" y="467"/>
                  <a:pt x="151" y="467"/>
                </a:cubicBezTo>
                <a:cubicBezTo>
                  <a:pt x="151" y="467"/>
                  <a:pt x="151" y="467"/>
                  <a:pt x="151" y="467"/>
                </a:cubicBezTo>
                <a:cubicBezTo>
                  <a:pt x="151" y="468"/>
                  <a:pt x="151" y="468"/>
                  <a:pt x="151" y="468"/>
                </a:cubicBezTo>
                <a:cubicBezTo>
                  <a:pt x="150" y="468"/>
                  <a:pt x="150" y="468"/>
                  <a:pt x="150" y="468"/>
                </a:cubicBezTo>
                <a:close/>
                <a:moveTo>
                  <a:pt x="152" y="551"/>
                </a:moveTo>
                <a:cubicBezTo>
                  <a:pt x="151" y="551"/>
                  <a:pt x="151" y="551"/>
                  <a:pt x="151" y="551"/>
                </a:cubicBezTo>
                <a:cubicBezTo>
                  <a:pt x="150" y="550"/>
                  <a:pt x="153" y="549"/>
                  <a:pt x="152" y="551"/>
                </a:cubicBezTo>
                <a:close/>
                <a:moveTo>
                  <a:pt x="152" y="540"/>
                </a:moveTo>
                <a:cubicBezTo>
                  <a:pt x="150" y="541"/>
                  <a:pt x="150" y="536"/>
                  <a:pt x="153" y="537"/>
                </a:cubicBezTo>
                <a:cubicBezTo>
                  <a:pt x="154" y="537"/>
                  <a:pt x="153" y="539"/>
                  <a:pt x="152" y="540"/>
                </a:cubicBezTo>
                <a:close/>
                <a:moveTo>
                  <a:pt x="154" y="484"/>
                </a:moveTo>
                <a:cubicBezTo>
                  <a:pt x="153" y="483"/>
                  <a:pt x="155" y="483"/>
                  <a:pt x="155" y="484"/>
                </a:cubicBezTo>
                <a:cubicBezTo>
                  <a:pt x="155" y="484"/>
                  <a:pt x="154" y="485"/>
                  <a:pt x="154" y="484"/>
                </a:cubicBezTo>
                <a:close/>
                <a:moveTo>
                  <a:pt x="158" y="546"/>
                </a:moveTo>
                <a:cubicBezTo>
                  <a:pt x="158" y="546"/>
                  <a:pt x="158" y="547"/>
                  <a:pt x="158" y="547"/>
                </a:cubicBezTo>
                <a:cubicBezTo>
                  <a:pt x="158" y="547"/>
                  <a:pt x="158" y="547"/>
                  <a:pt x="158" y="547"/>
                </a:cubicBezTo>
                <a:cubicBezTo>
                  <a:pt x="157" y="547"/>
                  <a:pt x="155" y="548"/>
                  <a:pt x="154" y="548"/>
                </a:cubicBezTo>
                <a:cubicBezTo>
                  <a:pt x="155" y="546"/>
                  <a:pt x="158" y="546"/>
                  <a:pt x="160" y="545"/>
                </a:cubicBezTo>
                <a:cubicBezTo>
                  <a:pt x="160" y="545"/>
                  <a:pt x="159" y="546"/>
                  <a:pt x="158" y="546"/>
                </a:cubicBezTo>
                <a:close/>
                <a:moveTo>
                  <a:pt x="155" y="544"/>
                </a:moveTo>
                <a:cubicBezTo>
                  <a:pt x="155" y="544"/>
                  <a:pt x="156" y="543"/>
                  <a:pt x="156" y="544"/>
                </a:cubicBezTo>
                <a:cubicBezTo>
                  <a:pt x="156" y="544"/>
                  <a:pt x="155" y="546"/>
                  <a:pt x="155" y="544"/>
                </a:cubicBezTo>
                <a:close/>
                <a:moveTo>
                  <a:pt x="160" y="521"/>
                </a:moveTo>
                <a:cubicBezTo>
                  <a:pt x="151" y="525"/>
                  <a:pt x="154" y="511"/>
                  <a:pt x="161" y="512"/>
                </a:cubicBezTo>
                <a:cubicBezTo>
                  <a:pt x="165" y="513"/>
                  <a:pt x="162" y="520"/>
                  <a:pt x="160" y="521"/>
                </a:cubicBezTo>
                <a:close/>
                <a:moveTo>
                  <a:pt x="162" y="544"/>
                </a:moveTo>
                <a:cubicBezTo>
                  <a:pt x="162" y="545"/>
                  <a:pt x="161" y="545"/>
                  <a:pt x="161" y="545"/>
                </a:cubicBezTo>
                <a:cubicBezTo>
                  <a:pt x="160" y="544"/>
                  <a:pt x="165" y="543"/>
                  <a:pt x="162" y="544"/>
                </a:cubicBezTo>
                <a:close/>
                <a:moveTo>
                  <a:pt x="168" y="525"/>
                </a:moveTo>
                <a:cubicBezTo>
                  <a:pt x="168" y="525"/>
                  <a:pt x="169" y="525"/>
                  <a:pt x="169" y="525"/>
                </a:cubicBezTo>
                <a:cubicBezTo>
                  <a:pt x="169" y="526"/>
                  <a:pt x="168" y="526"/>
                  <a:pt x="168" y="525"/>
                </a:cubicBezTo>
                <a:close/>
                <a:moveTo>
                  <a:pt x="170" y="537"/>
                </a:moveTo>
                <a:cubicBezTo>
                  <a:pt x="168" y="538"/>
                  <a:pt x="168" y="535"/>
                  <a:pt x="170" y="535"/>
                </a:cubicBezTo>
                <a:cubicBezTo>
                  <a:pt x="171" y="536"/>
                  <a:pt x="170" y="536"/>
                  <a:pt x="170" y="537"/>
                </a:cubicBezTo>
                <a:close/>
                <a:moveTo>
                  <a:pt x="172" y="521"/>
                </a:moveTo>
                <a:cubicBezTo>
                  <a:pt x="170" y="522"/>
                  <a:pt x="165" y="524"/>
                  <a:pt x="161" y="525"/>
                </a:cubicBezTo>
                <a:cubicBezTo>
                  <a:pt x="164" y="523"/>
                  <a:pt x="170" y="520"/>
                  <a:pt x="173" y="519"/>
                </a:cubicBezTo>
                <a:cubicBezTo>
                  <a:pt x="172" y="519"/>
                  <a:pt x="175" y="519"/>
                  <a:pt x="175" y="519"/>
                </a:cubicBezTo>
                <a:cubicBezTo>
                  <a:pt x="175" y="520"/>
                  <a:pt x="173" y="520"/>
                  <a:pt x="172" y="521"/>
                </a:cubicBezTo>
                <a:close/>
                <a:moveTo>
                  <a:pt x="176" y="546"/>
                </a:moveTo>
                <a:cubicBezTo>
                  <a:pt x="175" y="547"/>
                  <a:pt x="175" y="547"/>
                  <a:pt x="175" y="546"/>
                </a:cubicBezTo>
                <a:cubicBezTo>
                  <a:pt x="174" y="545"/>
                  <a:pt x="177" y="545"/>
                  <a:pt x="176" y="546"/>
                </a:cubicBezTo>
                <a:close/>
                <a:moveTo>
                  <a:pt x="174" y="497"/>
                </a:moveTo>
                <a:cubicBezTo>
                  <a:pt x="174" y="496"/>
                  <a:pt x="176" y="497"/>
                  <a:pt x="176" y="497"/>
                </a:cubicBezTo>
                <a:cubicBezTo>
                  <a:pt x="176" y="498"/>
                  <a:pt x="174" y="499"/>
                  <a:pt x="174" y="497"/>
                </a:cubicBezTo>
                <a:close/>
                <a:moveTo>
                  <a:pt x="176" y="431"/>
                </a:moveTo>
                <a:cubicBezTo>
                  <a:pt x="176" y="431"/>
                  <a:pt x="176" y="431"/>
                  <a:pt x="176" y="431"/>
                </a:cubicBezTo>
                <a:cubicBezTo>
                  <a:pt x="175" y="433"/>
                  <a:pt x="176" y="429"/>
                  <a:pt x="176" y="431"/>
                </a:cubicBezTo>
                <a:close/>
                <a:moveTo>
                  <a:pt x="176" y="487"/>
                </a:moveTo>
                <a:cubicBezTo>
                  <a:pt x="176" y="485"/>
                  <a:pt x="181" y="484"/>
                  <a:pt x="181" y="486"/>
                </a:cubicBezTo>
                <a:cubicBezTo>
                  <a:pt x="182" y="489"/>
                  <a:pt x="176" y="491"/>
                  <a:pt x="176" y="487"/>
                </a:cubicBezTo>
                <a:close/>
                <a:moveTo>
                  <a:pt x="180" y="543"/>
                </a:moveTo>
                <a:cubicBezTo>
                  <a:pt x="180" y="543"/>
                  <a:pt x="181" y="542"/>
                  <a:pt x="182" y="543"/>
                </a:cubicBezTo>
                <a:cubicBezTo>
                  <a:pt x="182" y="544"/>
                  <a:pt x="180" y="544"/>
                  <a:pt x="180" y="543"/>
                </a:cubicBezTo>
                <a:close/>
                <a:moveTo>
                  <a:pt x="182" y="538"/>
                </a:moveTo>
                <a:cubicBezTo>
                  <a:pt x="181" y="539"/>
                  <a:pt x="182" y="536"/>
                  <a:pt x="183" y="537"/>
                </a:cubicBezTo>
                <a:cubicBezTo>
                  <a:pt x="183" y="537"/>
                  <a:pt x="183" y="538"/>
                  <a:pt x="182" y="538"/>
                </a:cubicBezTo>
                <a:close/>
                <a:moveTo>
                  <a:pt x="183" y="485"/>
                </a:moveTo>
                <a:cubicBezTo>
                  <a:pt x="183" y="484"/>
                  <a:pt x="181" y="483"/>
                  <a:pt x="181" y="482"/>
                </a:cubicBezTo>
                <a:cubicBezTo>
                  <a:pt x="182" y="480"/>
                  <a:pt x="183" y="482"/>
                  <a:pt x="184" y="481"/>
                </a:cubicBezTo>
                <a:cubicBezTo>
                  <a:pt x="186" y="479"/>
                  <a:pt x="186" y="475"/>
                  <a:pt x="189" y="472"/>
                </a:cubicBezTo>
                <a:cubicBezTo>
                  <a:pt x="188" y="476"/>
                  <a:pt x="185" y="481"/>
                  <a:pt x="183" y="485"/>
                </a:cubicBezTo>
                <a:close/>
                <a:moveTo>
                  <a:pt x="186" y="544"/>
                </a:moveTo>
                <a:cubicBezTo>
                  <a:pt x="184" y="546"/>
                  <a:pt x="184" y="543"/>
                  <a:pt x="186" y="544"/>
                </a:cubicBezTo>
                <a:close/>
                <a:moveTo>
                  <a:pt x="185" y="507"/>
                </a:moveTo>
                <a:cubicBezTo>
                  <a:pt x="183" y="504"/>
                  <a:pt x="190" y="504"/>
                  <a:pt x="187" y="507"/>
                </a:cubicBezTo>
                <a:cubicBezTo>
                  <a:pt x="187" y="507"/>
                  <a:pt x="186" y="507"/>
                  <a:pt x="185" y="507"/>
                </a:cubicBezTo>
                <a:close/>
                <a:moveTo>
                  <a:pt x="189" y="542"/>
                </a:moveTo>
                <a:cubicBezTo>
                  <a:pt x="189" y="542"/>
                  <a:pt x="190" y="541"/>
                  <a:pt x="190" y="541"/>
                </a:cubicBezTo>
                <a:cubicBezTo>
                  <a:pt x="191" y="541"/>
                  <a:pt x="190" y="541"/>
                  <a:pt x="189" y="542"/>
                </a:cubicBezTo>
                <a:close/>
                <a:moveTo>
                  <a:pt x="193" y="537"/>
                </a:moveTo>
                <a:cubicBezTo>
                  <a:pt x="193" y="537"/>
                  <a:pt x="193" y="538"/>
                  <a:pt x="193" y="538"/>
                </a:cubicBezTo>
                <a:cubicBezTo>
                  <a:pt x="191" y="539"/>
                  <a:pt x="193" y="535"/>
                  <a:pt x="193" y="537"/>
                </a:cubicBezTo>
                <a:close/>
                <a:moveTo>
                  <a:pt x="188" y="542"/>
                </a:moveTo>
                <a:cubicBezTo>
                  <a:pt x="188" y="540"/>
                  <a:pt x="191" y="536"/>
                  <a:pt x="193" y="535"/>
                </a:cubicBezTo>
                <a:cubicBezTo>
                  <a:pt x="191" y="537"/>
                  <a:pt x="190" y="540"/>
                  <a:pt x="188" y="542"/>
                </a:cubicBezTo>
                <a:close/>
                <a:moveTo>
                  <a:pt x="190" y="499"/>
                </a:moveTo>
                <a:cubicBezTo>
                  <a:pt x="191" y="498"/>
                  <a:pt x="192" y="497"/>
                  <a:pt x="194" y="497"/>
                </a:cubicBezTo>
                <a:cubicBezTo>
                  <a:pt x="193" y="498"/>
                  <a:pt x="192" y="499"/>
                  <a:pt x="190" y="499"/>
                </a:cubicBezTo>
                <a:close/>
                <a:moveTo>
                  <a:pt x="194" y="533"/>
                </a:moveTo>
                <a:cubicBezTo>
                  <a:pt x="193" y="533"/>
                  <a:pt x="195" y="531"/>
                  <a:pt x="195" y="531"/>
                </a:cubicBezTo>
                <a:cubicBezTo>
                  <a:pt x="196" y="531"/>
                  <a:pt x="194" y="533"/>
                  <a:pt x="194" y="533"/>
                </a:cubicBezTo>
                <a:close/>
                <a:moveTo>
                  <a:pt x="194" y="497"/>
                </a:moveTo>
                <a:cubicBezTo>
                  <a:pt x="194" y="497"/>
                  <a:pt x="194" y="497"/>
                  <a:pt x="194" y="497"/>
                </a:cubicBezTo>
                <a:close/>
                <a:moveTo>
                  <a:pt x="195" y="497"/>
                </a:move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7"/>
                </a:cubicBezTo>
                <a:close/>
                <a:moveTo>
                  <a:pt x="189" y="398"/>
                </a:moveTo>
                <a:cubicBezTo>
                  <a:pt x="192" y="394"/>
                  <a:pt x="196" y="392"/>
                  <a:pt x="201" y="389"/>
                </a:cubicBezTo>
                <a:cubicBezTo>
                  <a:pt x="198" y="392"/>
                  <a:pt x="192" y="395"/>
                  <a:pt x="189" y="398"/>
                </a:cubicBezTo>
                <a:close/>
                <a:moveTo>
                  <a:pt x="196" y="530"/>
                </a:moveTo>
                <a:cubicBezTo>
                  <a:pt x="196" y="531"/>
                  <a:pt x="195" y="529"/>
                  <a:pt x="196" y="530"/>
                </a:cubicBezTo>
                <a:close/>
                <a:moveTo>
                  <a:pt x="198" y="514"/>
                </a:moveTo>
                <a:cubicBezTo>
                  <a:pt x="198" y="514"/>
                  <a:pt x="198" y="515"/>
                  <a:pt x="197" y="515"/>
                </a:cubicBezTo>
                <a:cubicBezTo>
                  <a:pt x="196" y="516"/>
                  <a:pt x="197" y="513"/>
                  <a:pt x="198" y="514"/>
                </a:cubicBezTo>
                <a:close/>
                <a:moveTo>
                  <a:pt x="198" y="558"/>
                </a:moveTo>
                <a:cubicBezTo>
                  <a:pt x="198" y="556"/>
                  <a:pt x="204" y="555"/>
                  <a:pt x="204" y="558"/>
                </a:cubicBezTo>
                <a:cubicBezTo>
                  <a:pt x="205" y="561"/>
                  <a:pt x="197" y="562"/>
                  <a:pt x="198" y="558"/>
                </a:cubicBezTo>
                <a:close/>
                <a:moveTo>
                  <a:pt x="204" y="554"/>
                </a:moveTo>
                <a:cubicBezTo>
                  <a:pt x="205" y="554"/>
                  <a:pt x="206" y="553"/>
                  <a:pt x="207" y="553"/>
                </a:cubicBezTo>
                <a:cubicBezTo>
                  <a:pt x="207" y="554"/>
                  <a:pt x="204" y="555"/>
                  <a:pt x="204" y="554"/>
                </a:cubicBezTo>
                <a:close/>
                <a:moveTo>
                  <a:pt x="203" y="542"/>
                </a:moveTo>
                <a:cubicBezTo>
                  <a:pt x="200" y="539"/>
                  <a:pt x="203" y="534"/>
                  <a:pt x="205" y="533"/>
                </a:cubicBezTo>
                <a:cubicBezTo>
                  <a:pt x="207" y="532"/>
                  <a:pt x="210" y="533"/>
                  <a:pt x="211" y="532"/>
                </a:cubicBezTo>
                <a:cubicBezTo>
                  <a:pt x="215" y="532"/>
                  <a:pt x="213" y="532"/>
                  <a:pt x="215" y="534"/>
                </a:cubicBezTo>
                <a:cubicBezTo>
                  <a:pt x="217" y="537"/>
                  <a:pt x="216" y="541"/>
                  <a:pt x="213" y="540"/>
                </a:cubicBezTo>
                <a:cubicBezTo>
                  <a:pt x="214" y="535"/>
                  <a:pt x="211" y="542"/>
                  <a:pt x="210" y="543"/>
                </a:cubicBezTo>
                <a:cubicBezTo>
                  <a:pt x="209" y="543"/>
                  <a:pt x="204" y="543"/>
                  <a:pt x="203" y="542"/>
                </a:cubicBezTo>
                <a:close/>
                <a:moveTo>
                  <a:pt x="213" y="545"/>
                </a:moveTo>
                <a:cubicBezTo>
                  <a:pt x="213" y="544"/>
                  <a:pt x="216" y="545"/>
                  <a:pt x="215" y="546"/>
                </a:cubicBezTo>
                <a:cubicBezTo>
                  <a:pt x="215" y="546"/>
                  <a:pt x="214" y="546"/>
                  <a:pt x="213" y="545"/>
                </a:cubicBezTo>
                <a:close/>
                <a:moveTo>
                  <a:pt x="215" y="609"/>
                </a:moveTo>
                <a:cubicBezTo>
                  <a:pt x="215" y="609"/>
                  <a:pt x="215" y="609"/>
                  <a:pt x="215" y="609"/>
                </a:cubicBezTo>
                <a:cubicBezTo>
                  <a:pt x="214" y="607"/>
                  <a:pt x="217" y="611"/>
                  <a:pt x="215" y="609"/>
                </a:cubicBezTo>
                <a:close/>
                <a:moveTo>
                  <a:pt x="214" y="557"/>
                </a:moveTo>
                <a:cubicBezTo>
                  <a:pt x="214" y="556"/>
                  <a:pt x="216" y="555"/>
                  <a:pt x="217" y="556"/>
                </a:cubicBezTo>
                <a:cubicBezTo>
                  <a:pt x="217" y="558"/>
                  <a:pt x="214" y="557"/>
                  <a:pt x="214" y="557"/>
                </a:cubicBezTo>
                <a:close/>
                <a:moveTo>
                  <a:pt x="209" y="544"/>
                </a:moveTo>
                <a:cubicBezTo>
                  <a:pt x="210" y="544"/>
                  <a:pt x="217" y="540"/>
                  <a:pt x="217" y="542"/>
                </a:cubicBezTo>
                <a:cubicBezTo>
                  <a:pt x="217" y="543"/>
                  <a:pt x="211" y="545"/>
                  <a:pt x="209" y="544"/>
                </a:cubicBezTo>
                <a:close/>
                <a:moveTo>
                  <a:pt x="216" y="527"/>
                </a:moveTo>
                <a:cubicBezTo>
                  <a:pt x="216" y="526"/>
                  <a:pt x="216" y="526"/>
                  <a:pt x="216" y="526"/>
                </a:cubicBezTo>
                <a:cubicBezTo>
                  <a:pt x="217" y="525"/>
                  <a:pt x="217" y="527"/>
                  <a:pt x="216" y="527"/>
                </a:cubicBezTo>
                <a:close/>
                <a:moveTo>
                  <a:pt x="217" y="615"/>
                </a:moveTo>
                <a:cubicBezTo>
                  <a:pt x="216" y="614"/>
                  <a:pt x="218" y="613"/>
                  <a:pt x="218" y="614"/>
                </a:cubicBezTo>
                <a:cubicBezTo>
                  <a:pt x="218" y="614"/>
                  <a:pt x="217" y="614"/>
                  <a:pt x="217" y="615"/>
                </a:cubicBezTo>
                <a:close/>
                <a:moveTo>
                  <a:pt x="219" y="542"/>
                </a:moveTo>
                <a:cubicBezTo>
                  <a:pt x="216" y="544"/>
                  <a:pt x="217" y="538"/>
                  <a:pt x="219" y="539"/>
                </a:cubicBezTo>
                <a:cubicBezTo>
                  <a:pt x="221" y="540"/>
                  <a:pt x="219" y="542"/>
                  <a:pt x="219" y="542"/>
                </a:cubicBezTo>
                <a:close/>
                <a:moveTo>
                  <a:pt x="219" y="567"/>
                </a:moveTo>
                <a:cubicBezTo>
                  <a:pt x="219" y="566"/>
                  <a:pt x="220" y="566"/>
                  <a:pt x="221" y="566"/>
                </a:cubicBezTo>
                <a:cubicBezTo>
                  <a:pt x="220" y="567"/>
                  <a:pt x="220" y="567"/>
                  <a:pt x="219" y="567"/>
                </a:cubicBezTo>
                <a:close/>
                <a:moveTo>
                  <a:pt x="222" y="589"/>
                </a:moveTo>
                <a:cubicBezTo>
                  <a:pt x="222" y="589"/>
                  <a:pt x="221" y="589"/>
                  <a:pt x="220" y="589"/>
                </a:cubicBezTo>
                <a:cubicBezTo>
                  <a:pt x="220" y="589"/>
                  <a:pt x="222" y="588"/>
                  <a:pt x="222" y="589"/>
                </a:cubicBezTo>
                <a:close/>
                <a:moveTo>
                  <a:pt x="221" y="615"/>
                </a:moveTo>
                <a:cubicBezTo>
                  <a:pt x="221" y="614"/>
                  <a:pt x="222" y="614"/>
                  <a:pt x="223" y="614"/>
                </a:cubicBezTo>
                <a:cubicBezTo>
                  <a:pt x="222" y="615"/>
                  <a:pt x="221" y="614"/>
                  <a:pt x="221" y="615"/>
                </a:cubicBezTo>
                <a:close/>
                <a:moveTo>
                  <a:pt x="223" y="565"/>
                </a:moveTo>
                <a:cubicBezTo>
                  <a:pt x="223" y="565"/>
                  <a:pt x="223" y="565"/>
                  <a:pt x="223" y="566"/>
                </a:cubicBezTo>
                <a:cubicBezTo>
                  <a:pt x="223" y="566"/>
                  <a:pt x="223" y="566"/>
                  <a:pt x="223" y="566"/>
                </a:cubicBezTo>
                <a:cubicBezTo>
                  <a:pt x="223" y="567"/>
                  <a:pt x="223" y="566"/>
                  <a:pt x="223" y="566"/>
                </a:cubicBezTo>
                <a:cubicBezTo>
                  <a:pt x="223" y="565"/>
                  <a:pt x="223" y="565"/>
                  <a:pt x="223" y="565"/>
                </a:cubicBezTo>
                <a:close/>
                <a:moveTo>
                  <a:pt x="223" y="571"/>
                </a:moveTo>
                <a:cubicBezTo>
                  <a:pt x="223" y="569"/>
                  <a:pt x="227" y="570"/>
                  <a:pt x="226" y="571"/>
                </a:cubicBezTo>
                <a:cubicBezTo>
                  <a:pt x="226" y="572"/>
                  <a:pt x="223" y="572"/>
                  <a:pt x="223" y="571"/>
                </a:cubicBezTo>
                <a:close/>
                <a:moveTo>
                  <a:pt x="226" y="582"/>
                </a:moveTo>
                <a:cubicBezTo>
                  <a:pt x="226" y="581"/>
                  <a:pt x="226" y="583"/>
                  <a:pt x="226" y="582"/>
                </a:cubicBezTo>
                <a:close/>
                <a:moveTo>
                  <a:pt x="227" y="608"/>
                </a:moveTo>
                <a:cubicBezTo>
                  <a:pt x="227" y="608"/>
                  <a:pt x="225" y="608"/>
                  <a:pt x="224" y="607"/>
                </a:cubicBezTo>
                <a:cubicBezTo>
                  <a:pt x="224" y="606"/>
                  <a:pt x="228" y="607"/>
                  <a:pt x="227" y="608"/>
                </a:cubicBezTo>
                <a:close/>
                <a:moveTo>
                  <a:pt x="226" y="578"/>
                </a:moveTo>
                <a:cubicBezTo>
                  <a:pt x="226" y="578"/>
                  <a:pt x="227" y="577"/>
                  <a:pt x="227" y="578"/>
                </a:cubicBezTo>
                <a:cubicBezTo>
                  <a:pt x="227" y="578"/>
                  <a:pt x="226" y="578"/>
                  <a:pt x="226" y="578"/>
                </a:cubicBezTo>
                <a:close/>
                <a:moveTo>
                  <a:pt x="236" y="538"/>
                </a:moveTo>
                <a:cubicBezTo>
                  <a:pt x="237" y="537"/>
                  <a:pt x="238" y="536"/>
                  <a:pt x="239" y="537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40" y="538"/>
                  <a:pt x="239" y="539"/>
                  <a:pt x="239" y="539"/>
                </a:cubicBezTo>
                <a:cubicBezTo>
                  <a:pt x="238" y="540"/>
                  <a:pt x="237" y="539"/>
                  <a:pt x="237" y="539"/>
                </a:cubicBezTo>
                <a:cubicBezTo>
                  <a:pt x="236" y="539"/>
                  <a:pt x="236" y="538"/>
                  <a:pt x="235" y="539"/>
                </a:cubicBezTo>
                <a:cubicBezTo>
                  <a:pt x="234" y="539"/>
                  <a:pt x="228" y="544"/>
                  <a:pt x="227" y="543"/>
                </a:cubicBezTo>
                <a:cubicBezTo>
                  <a:pt x="226" y="541"/>
                  <a:pt x="235" y="538"/>
                  <a:pt x="236" y="538"/>
                </a:cubicBezTo>
                <a:close/>
                <a:moveTo>
                  <a:pt x="235" y="592"/>
                </a:moveTo>
                <a:cubicBezTo>
                  <a:pt x="235" y="592"/>
                  <a:pt x="234" y="593"/>
                  <a:pt x="234" y="592"/>
                </a:cubicBezTo>
                <a:cubicBezTo>
                  <a:pt x="233" y="592"/>
                  <a:pt x="235" y="591"/>
                  <a:pt x="235" y="592"/>
                </a:cubicBezTo>
                <a:close/>
                <a:moveTo>
                  <a:pt x="233" y="585"/>
                </a:moveTo>
                <a:cubicBezTo>
                  <a:pt x="233" y="585"/>
                  <a:pt x="234" y="583"/>
                  <a:pt x="235" y="584"/>
                </a:cubicBezTo>
                <a:cubicBezTo>
                  <a:pt x="235" y="585"/>
                  <a:pt x="233" y="586"/>
                  <a:pt x="233" y="585"/>
                </a:cubicBezTo>
                <a:close/>
                <a:moveTo>
                  <a:pt x="228" y="573"/>
                </a:moveTo>
                <a:cubicBezTo>
                  <a:pt x="228" y="571"/>
                  <a:pt x="230" y="572"/>
                  <a:pt x="228" y="573"/>
                </a:cubicBezTo>
                <a:close/>
                <a:moveTo>
                  <a:pt x="229" y="580"/>
                </a:moveTo>
                <a:cubicBezTo>
                  <a:pt x="229" y="581"/>
                  <a:pt x="228" y="581"/>
                  <a:pt x="228" y="581"/>
                </a:cubicBezTo>
                <a:cubicBezTo>
                  <a:pt x="227" y="579"/>
                  <a:pt x="230" y="579"/>
                  <a:pt x="229" y="580"/>
                </a:cubicBezTo>
                <a:close/>
                <a:moveTo>
                  <a:pt x="231" y="599"/>
                </a:moveTo>
                <a:cubicBezTo>
                  <a:pt x="231" y="599"/>
                  <a:pt x="233" y="598"/>
                  <a:pt x="233" y="599"/>
                </a:cubicBezTo>
                <a:cubicBezTo>
                  <a:pt x="233" y="600"/>
                  <a:pt x="231" y="601"/>
                  <a:pt x="231" y="599"/>
                </a:cubicBezTo>
                <a:close/>
                <a:moveTo>
                  <a:pt x="236" y="624"/>
                </a:moveTo>
                <a:cubicBezTo>
                  <a:pt x="236" y="624"/>
                  <a:pt x="237" y="623"/>
                  <a:pt x="237" y="623"/>
                </a:cubicBezTo>
                <a:cubicBezTo>
                  <a:pt x="237" y="623"/>
                  <a:pt x="237" y="624"/>
                  <a:pt x="236" y="624"/>
                </a:cubicBezTo>
                <a:close/>
                <a:moveTo>
                  <a:pt x="232" y="618"/>
                </a:moveTo>
                <a:cubicBezTo>
                  <a:pt x="233" y="616"/>
                  <a:pt x="237" y="616"/>
                  <a:pt x="239" y="615"/>
                </a:cubicBezTo>
                <a:cubicBezTo>
                  <a:pt x="237" y="617"/>
                  <a:pt x="234" y="617"/>
                  <a:pt x="232" y="618"/>
                </a:cubicBezTo>
                <a:close/>
                <a:moveTo>
                  <a:pt x="238" y="665"/>
                </a:moveTo>
                <a:cubicBezTo>
                  <a:pt x="238" y="664"/>
                  <a:pt x="239" y="665"/>
                  <a:pt x="240" y="665"/>
                </a:cubicBezTo>
                <a:cubicBezTo>
                  <a:pt x="240" y="666"/>
                  <a:pt x="239" y="665"/>
                  <a:pt x="238" y="665"/>
                </a:cubicBezTo>
                <a:close/>
                <a:moveTo>
                  <a:pt x="240" y="664"/>
                </a:moveTo>
                <a:cubicBezTo>
                  <a:pt x="240" y="664"/>
                  <a:pt x="239" y="663"/>
                  <a:pt x="239" y="663"/>
                </a:cubicBezTo>
                <a:cubicBezTo>
                  <a:pt x="239" y="662"/>
                  <a:pt x="241" y="663"/>
                  <a:pt x="240" y="664"/>
                </a:cubicBezTo>
                <a:close/>
                <a:moveTo>
                  <a:pt x="251" y="679"/>
                </a:moveTo>
                <a:cubicBezTo>
                  <a:pt x="249" y="681"/>
                  <a:pt x="247" y="678"/>
                  <a:pt x="244" y="678"/>
                </a:cubicBezTo>
                <a:cubicBezTo>
                  <a:pt x="242" y="678"/>
                  <a:pt x="238" y="679"/>
                  <a:pt x="237" y="677"/>
                </a:cubicBezTo>
                <a:cubicBezTo>
                  <a:pt x="237" y="676"/>
                  <a:pt x="243" y="677"/>
                  <a:pt x="243" y="677"/>
                </a:cubicBezTo>
                <a:cubicBezTo>
                  <a:pt x="243" y="676"/>
                  <a:pt x="241" y="672"/>
                  <a:pt x="241" y="672"/>
                </a:cubicBezTo>
                <a:cubicBezTo>
                  <a:pt x="240" y="664"/>
                  <a:pt x="252" y="669"/>
                  <a:pt x="255" y="671"/>
                </a:cubicBezTo>
                <a:cubicBezTo>
                  <a:pt x="259" y="674"/>
                  <a:pt x="250" y="671"/>
                  <a:pt x="253" y="676"/>
                </a:cubicBezTo>
                <a:cubicBezTo>
                  <a:pt x="250" y="674"/>
                  <a:pt x="251" y="679"/>
                  <a:pt x="251" y="679"/>
                </a:cubicBezTo>
                <a:close/>
                <a:moveTo>
                  <a:pt x="254" y="687"/>
                </a:moveTo>
                <a:cubicBezTo>
                  <a:pt x="254" y="686"/>
                  <a:pt x="254" y="685"/>
                  <a:pt x="255" y="686"/>
                </a:cubicBezTo>
                <a:cubicBezTo>
                  <a:pt x="257" y="686"/>
                  <a:pt x="254" y="689"/>
                  <a:pt x="254" y="687"/>
                </a:cubicBezTo>
                <a:close/>
                <a:moveTo>
                  <a:pt x="254" y="690"/>
                </a:moveTo>
                <a:cubicBezTo>
                  <a:pt x="255" y="689"/>
                  <a:pt x="256" y="689"/>
                  <a:pt x="258" y="689"/>
                </a:cubicBezTo>
                <a:cubicBezTo>
                  <a:pt x="257" y="690"/>
                  <a:pt x="255" y="690"/>
                  <a:pt x="254" y="690"/>
                </a:cubicBezTo>
                <a:close/>
                <a:moveTo>
                  <a:pt x="257" y="690"/>
                </a:moveTo>
                <a:cubicBezTo>
                  <a:pt x="257" y="689"/>
                  <a:pt x="258" y="689"/>
                  <a:pt x="258" y="690"/>
                </a:cubicBezTo>
                <a:cubicBezTo>
                  <a:pt x="258" y="689"/>
                  <a:pt x="258" y="691"/>
                  <a:pt x="257" y="690"/>
                </a:cubicBezTo>
                <a:close/>
                <a:moveTo>
                  <a:pt x="259" y="689"/>
                </a:moveTo>
                <a:cubicBezTo>
                  <a:pt x="258" y="689"/>
                  <a:pt x="261" y="689"/>
                  <a:pt x="259" y="689"/>
                </a:cubicBezTo>
                <a:close/>
                <a:moveTo>
                  <a:pt x="260" y="660"/>
                </a:moveTo>
                <a:cubicBezTo>
                  <a:pt x="259" y="660"/>
                  <a:pt x="259" y="659"/>
                  <a:pt x="260" y="660"/>
                </a:cubicBezTo>
                <a:close/>
                <a:moveTo>
                  <a:pt x="261" y="631"/>
                </a:moveTo>
                <a:cubicBezTo>
                  <a:pt x="260" y="631"/>
                  <a:pt x="261" y="630"/>
                  <a:pt x="261" y="630"/>
                </a:cubicBezTo>
                <a:cubicBezTo>
                  <a:pt x="262" y="630"/>
                  <a:pt x="261" y="631"/>
                  <a:pt x="261" y="631"/>
                </a:cubicBezTo>
                <a:close/>
                <a:moveTo>
                  <a:pt x="263" y="682"/>
                </a:moveTo>
                <a:cubicBezTo>
                  <a:pt x="263" y="681"/>
                  <a:pt x="265" y="681"/>
                  <a:pt x="265" y="682"/>
                </a:cubicBezTo>
                <a:cubicBezTo>
                  <a:pt x="266" y="682"/>
                  <a:pt x="263" y="683"/>
                  <a:pt x="263" y="682"/>
                </a:cubicBezTo>
                <a:close/>
                <a:moveTo>
                  <a:pt x="264" y="690"/>
                </a:moveTo>
                <a:cubicBezTo>
                  <a:pt x="263" y="689"/>
                  <a:pt x="265" y="690"/>
                  <a:pt x="265" y="690"/>
                </a:cubicBezTo>
                <a:cubicBezTo>
                  <a:pt x="265" y="691"/>
                  <a:pt x="264" y="691"/>
                  <a:pt x="264" y="690"/>
                </a:cubicBezTo>
                <a:close/>
                <a:moveTo>
                  <a:pt x="265" y="694"/>
                </a:moveTo>
                <a:cubicBezTo>
                  <a:pt x="266" y="694"/>
                  <a:pt x="266" y="694"/>
                  <a:pt x="267" y="694"/>
                </a:cubicBezTo>
                <a:cubicBezTo>
                  <a:pt x="266" y="695"/>
                  <a:pt x="266" y="695"/>
                  <a:pt x="265" y="694"/>
                </a:cubicBezTo>
                <a:close/>
                <a:moveTo>
                  <a:pt x="263" y="667"/>
                </a:moveTo>
                <a:cubicBezTo>
                  <a:pt x="264" y="666"/>
                  <a:pt x="273" y="668"/>
                  <a:pt x="273" y="668"/>
                </a:cubicBezTo>
                <a:cubicBezTo>
                  <a:pt x="272" y="669"/>
                  <a:pt x="265" y="667"/>
                  <a:pt x="263" y="667"/>
                </a:cubicBezTo>
                <a:close/>
                <a:moveTo>
                  <a:pt x="270" y="681"/>
                </a:moveTo>
                <a:cubicBezTo>
                  <a:pt x="269" y="683"/>
                  <a:pt x="268" y="680"/>
                  <a:pt x="270" y="681"/>
                </a:cubicBezTo>
                <a:close/>
                <a:moveTo>
                  <a:pt x="268" y="696"/>
                </a:moveTo>
                <a:cubicBezTo>
                  <a:pt x="268" y="695"/>
                  <a:pt x="269" y="695"/>
                  <a:pt x="269" y="695"/>
                </a:cubicBezTo>
                <a:cubicBezTo>
                  <a:pt x="270" y="695"/>
                  <a:pt x="269" y="696"/>
                  <a:pt x="268" y="696"/>
                </a:cubicBezTo>
                <a:close/>
                <a:moveTo>
                  <a:pt x="269" y="689"/>
                </a:moveTo>
                <a:cubicBezTo>
                  <a:pt x="268" y="688"/>
                  <a:pt x="270" y="688"/>
                  <a:pt x="270" y="688"/>
                </a:cubicBezTo>
                <a:cubicBezTo>
                  <a:pt x="270" y="689"/>
                  <a:pt x="269" y="689"/>
                  <a:pt x="269" y="689"/>
                </a:cubicBezTo>
                <a:close/>
                <a:moveTo>
                  <a:pt x="269" y="673"/>
                </a:moveTo>
                <a:cubicBezTo>
                  <a:pt x="269" y="671"/>
                  <a:pt x="274" y="673"/>
                  <a:pt x="273" y="674"/>
                </a:cubicBezTo>
                <a:cubicBezTo>
                  <a:pt x="273" y="676"/>
                  <a:pt x="268" y="676"/>
                  <a:pt x="269" y="673"/>
                </a:cubicBezTo>
                <a:close/>
                <a:moveTo>
                  <a:pt x="272" y="683"/>
                </a:moveTo>
                <a:cubicBezTo>
                  <a:pt x="271" y="681"/>
                  <a:pt x="276" y="682"/>
                  <a:pt x="276" y="683"/>
                </a:cubicBezTo>
                <a:cubicBezTo>
                  <a:pt x="277" y="685"/>
                  <a:pt x="272" y="686"/>
                  <a:pt x="272" y="683"/>
                </a:cubicBezTo>
                <a:close/>
                <a:moveTo>
                  <a:pt x="275" y="696"/>
                </a:moveTo>
                <a:cubicBezTo>
                  <a:pt x="275" y="696"/>
                  <a:pt x="274" y="696"/>
                  <a:pt x="274" y="696"/>
                </a:cubicBezTo>
                <a:cubicBezTo>
                  <a:pt x="274" y="694"/>
                  <a:pt x="277" y="698"/>
                  <a:pt x="275" y="696"/>
                </a:cubicBezTo>
                <a:close/>
                <a:moveTo>
                  <a:pt x="274" y="701"/>
                </a:moveTo>
                <a:cubicBezTo>
                  <a:pt x="274" y="699"/>
                  <a:pt x="277" y="699"/>
                  <a:pt x="277" y="700"/>
                </a:cubicBezTo>
                <a:cubicBezTo>
                  <a:pt x="278" y="701"/>
                  <a:pt x="274" y="701"/>
                  <a:pt x="274" y="701"/>
                </a:cubicBezTo>
                <a:close/>
                <a:moveTo>
                  <a:pt x="282" y="681"/>
                </a:moveTo>
                <a:cubicBezTo>
                  <a:pt x="284" y="680"/>
                  <a:pt x="289" y="680"/>
                  <a:pt x="291" y="681"/>
                </a:cubicBezTo>
                <a:cubicBezTo>
                  <a:pt x="292" y="682"/>
                  <a:pt x="291" y="684"/>
                  <a:pt x="290" y="683"/>
                </a:cubicBezTo>
                <a:cubicBezTo>
                  <a:pt x="289" y="683"/>
                  <a:pt x="289" y="682"/>
                  <a:pt x="289" y="682"/>
                </a:cubicBezTo>
                <a:cubicBezTo>
                  <a:pt x="288" y="681"/>
                  <a:pt x="287" y="683"/>
                  <a:pt x="287" y="683"/>
                </a:cubicBezTo>
                <a:cubicBezTo>
                  <a:pt x="287" y="684"/>
                  <a:pt x="288" y="684"/>
                  <a:pt x="288" y="685"/>
                </a:cubicBezTo>
                <a:cubicBezTo>
                  <a:pt x="289" y="684"/>
                  <a:pt x="289" y="685"/>
                  <a:pt x="288" y="685"/>
                </a:cubicBezTo>
                <a:cubicBezTo>
                  <a:pt x="287" y="686"/>
                  <a:pt x="286" y="685"/>
                  <a:pt x="286" y="685"/>
                </a:cubicBezTo>
                <a:cubicBezTo>
                  <a:pt x="285" y="685"/>
                  <a:pt x="284" y="686"/>
                  <a:pt x="283" y="685"/>
                </a:cubicBezTo>
                <a:cubicBezTo>
                  <a:pt x="282" y="685"/>
                  <a:pt x="278" y="682"/>
                  <a:pt x="282" y="681"/>
                </a:cubicBezTo>
                <a:close/>
                <a:moveTo>
                  <a:pt x="291" y="693"/>
                </a:moveTo>
                <a:cubicBezTo>
                  <a:pt x="290" y="694"/>
                  <a:pt x="288" y="696"/>
                  <a:pt x="287" y="694"/>
                </a:cubicBezTo>
                <a:cubicBezTo>
                  <a:pt x="285" y="693"/>
                  <a:pt x="290" y="692"/>
                  <a:pt x="291" y="693"/>
                </a:cubicBezTo>
                <a:close/>
                <a:moveTo>
                  <a:pt x="289" y="706"/>
                </a:moveTo>
                <a:cubicBezTo>
                  <a:pt x="290" y="707"/>
                  <a:pt x="288" y="706"/>
                  <a:pt x="289" y="706"/>
                </a:cubicBezTo>
                <a:close/>
                <a:moveTo>
                  <a:pt x="292" y="708"/>
                </a:moveTo>
                <a:cubicBezTo>
                  <a:pt x="291" y="707"/>
                  <a:pt x="292" y="708"/>
                  <a:pt x="293" y="708"/>
                </a:cubicBezTo>
                <a:cubicBezTo>
                  <a:pt x="293" y="708"/>
                  <a:pt x="292" y="708"/>
                  <a:pt x="292" y="708"/>
                </a:cubicBezTo>
                <a:close/>
                <a:moveTo>
                  <a:pt x="304" y="701"/>
                </a:moveTo>
                <a:cubicBezTo>
                  <a:pt x="299" y="701"/>
                  <a:pt x="295" y="701"/>
                  <a:pt x="290" y="702"/>
                </a:cubicBezTo>
                <a:cubicBezTo>
                  <a:pt x="289" y="702"/>
                  <a:pt x="282" y="702"/>
                  <a:pt x="282" y="700"/>
                </a:cubicBezTo>
                <a:cubicBezTo>
                  <a:pt x="281" y="699"/>
                  <a:pt x="290" y="699"/>
                  <a:pt x="292" y="700"/>
                </a:cubicBezTo>
                <a:cubicBezTo>
                  <a:pt x="296" y="700"/>
                  <a:pt x="299" y="700"/>
                  <a:pt x="301" y="699"/>
                </a:cubicBezTo>
                <a:cubicBezTo>
                  <a:pt x="299" y="699"/>
                  <a:pt x="297" y="697"/>
                  <a:pt x="297" y="695"/>
                </a:cubicBezTo>
                <a:cubicBezTo>
                  <a:pt x="299" y="690"/>
                  <a:pt x="306" y="693"/>
                  <a:pt x="309" y="695"/>
                </a:cubicBezTo>
                <a:cubicBezTo>
                  <a:pt x="309" y="695"/>
                  <a:pt x="309" y="696"/>
                  <a:pt x="310" y="696"/>
                </a:cubicBezTo>
                <a:cubicBezTo>
                  <a:pt x="310" y="697"/>
                  <a:pt x="307" y="699"/>
                  <a:pt x="305" y="699"/>
                </a:cubicBezTo>
                <a:cubicBezTo>
                  <a:pt x="306" y="699"/>
                  <a:pt x="307" y="699"/>
                  <a:pt x="309" y="700"/>
                </a:cubicBezTo>
                <a:cubicBezTo>
                  <a:pt x="313" y="700"/>
                  <a:pt x="305" y="701"/>
                  <a:pt x="304" y="701"/>
                </a:cubicBezTo>
                <a:close/>
                <a:moveTo>
                  <a:pt x="308" y="684"/>
                </a:moveTo>
                <a:cubicBezTo>
                  <a:pt x="309" y="683"/>
                  <a:pt x="312" y="683"/>
                  <a:pt x="314" y="683"/>
                </a:cubicBezTo>
                <a:cubicBezTo>
                  <a:pt x="312" y="684"/>
                  <a:pt x="310" y="684"/>
                  <a:pt x="308" y="684"/>
                </a:cubicBezTo>
                <a:close/>
                <a:moveTo>
                  <a:pt x="313" y="612"/>
                </a:moveTo>
                <a:cubicBezTo>
                  <a:pt x="314" y="612"/>
                  <a:pt x="309" y="616"/>
                  <a:pt x="308" y="614"/>
                </a:cubicBezTo>
                <a:cubicBezTo>
                  <a:pt x="307" y="612"/>
                  <a:pt x="313" y="611"/>
                  <a:pt x="313" y="612"/>
                </a:cubicBezTo>
                <a:close/>
                <a:moveTo>
                  <a:pt x="313" y="683"/>
                </a:moveTo>
                <a:cubicBezTo>
                  <a:pt x="312" y="682"/>
                  <a:pt x="314" y="681"/>
                  <a:pt x="314" y="682"/>
                </a:cubicBezTo>
                <a:cubicBezTo>
                  <a:pt x="314" y="682"/>
                  <a:pt x="313" y="683"/>
                  <a:pt x="313" y="683"/>
                </a:cubicBezTo>
                <a:close/>
                <a:moveTo>
                  <a:pt x="313" y="589"/>
                </a:moveTo>
                <a:cubicBezTo>
                  <a:pt x="311" y="590"/>
                  <a:pt x="308" y="592"/>
                  <a:pt x="307" y="592"/>
                </a:cubicBezTo>
                <a:cubicBezTo>
                  <a:pt x="304" y="593"/>
                  <a:pt x="309" y="590"/>
                  <a:pt x="309" y="590"/>
                </a:cubicBezTo>
                <a:cubicBezTo>
                  <a:pt x="310" y="590"/>
                  <a:pt x="312" y="589"/>
                  <a:pt x="313" y="589"/>
                </a:cubicBezTo>
                <a:cubicBezTo>
                  <a:pt x="314" y="589"/>
                  <a:pt x="314" y="589"/>
                  <a:pt x="315" y="589"/>
                </a:cubicBezTo>
                <a:cubicBezTo>
                  <a:pt x="314" y="589"/>
                  <a:pt x="314" y="589"/>
                  <a:pt x="313" y="589"/>
                </a:cubicBezTo>
                <a:close/>
                <a:moveTo>
                  <a:pt x="315" y="519"/>
                </a:moveTo>
                <a:cubicBezTo>
                  <a:pt x="315" y="517"/>
                  <a:pt x="318" y="518"/>
                  <a:pt x="315" y="519"/>
                </a:cubicBezTo>
                <a:close/>
                <a:moveTo>
                  <a:pt x="317" y="683"/>
                </a:moveTo>
                <a:cubicBezTo>
                  <a:pt x="315" y="684"/>
                  <a:pt x="315" y="682"/>
                  <a:pt x="317" y="683"/>
                </a:cubicBezTo>
                <a:close/>
                <a:moveTo>
                  <a:pt x="317" y="683"/>
                </a:moveTo>
                <a:cubicBezTo>
                  <a:pt x="318" y="682"/>
                  <a:pt x="319" y="682"/>
                  <a:pt x="321" y="682"/>
                </a:cubicBezTo>
                <a:cubicBezTo>
                  <a:pt x="321" y="683"/>
                  <a:pt x="318" y="683"/>
                  <a:pt x="317" y="683"/>
                </a:cubicBezTo>
                <a:close/>
                <a:moveTo>
                  <a:pt x="333" y="104"/>
                </a:moveTo>
                <a:cubicBezTo>
                  <a:pt x="333" y="104"/>
                  <a:pt x="336" y="103"/>
                  <a:pt x="334" y="104"/>
                </a:cubicBezTo>
                <a:cubicBezTo>
                  <a:pt x="331" y="106"/>
                  <a:pt x="326" y="107"/>
                  <a:pt x="322" y="108"/>
                </a:cubicBezTo>
                <a:cubicBezTo>
                  <a:pt x="325" y="106"/>
                  <a:pt x="329" y="104"/>
                  <a:pt x="333" y="104"/>
                </a:cubicBezTo>
                <a:close/>
                <a:moveTo>
                  <a:pt x="323" y="170"/>
                </a:moveTo>
                <a:cubicBezTo>
                  <a:pt x="324" y="170"/>
                  <a:pt x="324" y="170"/>
                  <a:pt x="325" y="170"/>
                </a:cubicBezTo>
                <a:cubicBezTo>
                  <a:pt x="325" y="171"/>
                  <a:pt x="324" y="171"/>
                  <a:pt x="323" y="170"/>
                </a:cubicBezTo>
                <a:close/>
                <a:moveTo>
                  <a:pt x="322" y="617"/>
                </a:moveTo>
                <a:cubicBezTo>
                  <a:pt x="323" y="616"/>
                  <a:pt x="324" y="618"/>
                  <a:pt x="322" y="617"/>
                </a:cubicBezTo>
                <a:close/>
                <a:moveTo>
                  <a:pt x="322" y="627"/>
                </a:moveTo>
                <a:cubicBezTo>
                  <a:pt x="323" y="627"/>
                  <a:pt x="327" y="626"/>
                  <a:pt x="327" y="627"/>
                </a:cubicBezTo>
                <a:cubicBezTo>
                  <a:pt x="326" y="626"/>
                  <a:pt x="324" y="628"/>
                  <a:pt x="322" y="627"/>
                </a:cubicBezTo>
                <a:close/>
                <a:moveTo>
                  <a:pt x="327" y="574"/>
                </a:moveTo>
                <a:cubicBezTo>
                  <a:pt x="327" y="572"/>
                  <a:pt x="330" y="573"/>
                  <a:pt x="329" y="574"/>
                </a:cubicBezTo>
                <a:cubicBezTo>
                  <a:pt x="329" y="575"/>
                  <a:pt x="328" y="574"/>
                  <a:pt x="327" y="574"/>
                </a:cubicBezTo>
                <a:close/>
                <a:moveTo>
                  <a:pt x="329" y="627"/>
                </a:moveTo>
                <a:cubicBezTo>
                  <a:pt x="329" y="626"/>
                  <a:pt x="331" y="626"/>
                  <a:pt x="331" y="626"/>
                </a:cubicBezTo>
                <a:cubicBezTo>
                  <a:pt x="331" y="626"/>
                  <a:pt x="330" y="627"/>
                  <a:pt x="329" y="627"/>
                </a:cubicBezTo>
                <a:close/>
                <a:moveTo>
                  <a:pt x="329" y="589"/>
                </a:moveTo>
                <a:cubicBezTo>
                  <a:pt x="328" y="587"/>
                  <a:pt x="332" y="588"/>
                  <a:pt x="332" y="589"/>
                </a:cubicBezTo>
                <a:cubicBezTo>
                  <a:pt x="332" y="590"/>
                  <a:pt x="329" y="590"/>
                  <a:pt x="329" y="589"/>
                </a:cubicBezTo>
                <a:close/>
                <a:moveTo>
                  <a:pt x="328" y="583"/>
                </a:moveTo>
                <a:cubicBezTo>
                  <a:pt x="329" y="579"/>
                  <a:pt x="336" y="581"/>
                  <a:pt x="336" y="583"/>
                </a:cubicBezTo>
                <a:cubicBezTo>
                  <a:pt x="335" y="586"/>
                  <a:pt x="328" y="587"/>
                  <a:pt x="328" y="583"/>
                </a:cubicBezTo>
                <a:close/>
                <a:moveTo>
                  <a:pt x="335" y="131"/>
                </a:moveTo>
                <a:cubicBezTo>
                  <a:pt x="334" y="130"/>
                  <a:pt x="336" y="131"/>
                  <a:pt x="335" y="131"/>
                </a:cubicBezTo>
                <a:close/>
                <a:moveTo>
                  <a:pt x="336" y="659"/>
                </a:moveTo>
                <a:cubicBezTo>
                  <a:pt x="337" y="661"/>
                  <a:pt x="335" y="659"/>
                  <a:pt x="336" y="659"/>
                </a:cubicBezTo>
                <a:close/>
                <a:moveTo>
                  <a:pt x="336" y="131"/>
                </a:moveTo>
                <a:cubicBezTo>
                  <a:pt x="336" y="130"/>
                  <a:pt x="338" y="130"/>
                  <a:pt x="338" y="130"/>
                </a:cubicBezTo>
                <a:cubicBezTo>
                  <a:pt x="338" y="131"/>
                  <a:pt x="337" y="130"/>
                  <a:pt x="336" y="131"/>
                </a:cubicBezTo>
                <a:close/>
                <a:moveTo>
                  <a:pt x="337" y="711"/>
                </a:moveTo>
                <a:cubicBezTo>
                  <a:pt x="336" y="711"/>
                  <a:pt x="337" y="710"/>
                  <a:pt x="337" y="710"/>
                </a:cubicBezTo>
                <a:cubicBezTo>
                  <a:pt x="338" y="711"/>
                  <a:pt x="338" y="712"/>
                  <a:pt x="337" y="711"/>
                </a:cubicBezTo>
                <a:close/>
                <a:moveTo>
                  <a:pt x="337" y="685"/>
                </a:moveTo>
                <a:cubicBezTo>
                  <a:pt x="337" y="684"/>
                  <a:pt x="339" y="684"/>
                  <a:pt x="339" y="685"/>
                </a:cubicBezTo>
                <a:cubicBezTo>
                  <a:pt x="340" y="685"/>
                  <a:pt x="338" y="686"/>
                  <a:pt x="337" y="685"/>
                </a:cubicBezTo>
                <a:close/>
                <a:moveTo>
                  <a:pt x="338" y="705"/>
                </a:moveTo>
                <a:cubicBezTo>
                  <a:pt x="338" y="704"/>
                  <a:pt x="340" y="704"/>
                  <a:pt x="340" y="705"/>
                </a:cubicBezTo>
                <a:cubicBezTo>
                  <a:pt x="340" y="705"/>
                  <a:pt x="339" y="706"/>
                  <a:pt x="338" y="705"/>
                </a:cubicBezTo>
                <a:close/>
                <a:moveTo>
                  <a:pt x="338" y="680"/>
                </a:moveTo>
                <a:cubicBezTo>
                  <a:pt x="338" y="680"/>
                  <a:pt x="341" y="680"/>
                  <a:pt x="341" y="680"/>
                </a:cubicBezTo>
                <a:cubicBezTo>
                  <a:pt x="341" y="681"/>
                  <a:pt x="337" y="682"/>
                  <a:pt x="338" y="680"/>
                </a:cubicBezTo>
                <a:close/>
                <a:moveTo>
                  <a:pt x="342" y="110"/>
                </a:moveTo>
                <a:cubicBezTo>
                  <a:pt x="341" y="111"/>
                  <a:pt x="341" y="109"/>
                  <a:pt x="342" y="110"/>
                </a:cubicBezTo>
                <a:close/>
                <a:moveTo>
                  <a:pt x="328" y="108"/>
                </a:moveTo>
                <a:cubicBezTo>
                  <a:pt x="326" y="108"/>
                  <a:pt x="329" y="107"/>
                  <a:pt x="331" y="106"/>
                </a:cubicBezTo>
                <a:cubicBezTo>
                  <a:pt x="334" y="106"/>
                  <a:pt x="339" y="104"/>
                  <a:pt x="342" y="104"/>
                </a:cubicBezTo>
                <a:cubicBezTo>
                  <a:pt x="343" y="104"/>
                  <a:pt x="344" y="105"/>
                  <a:pt x="344" y="105"/>
                </a:cubicBezTo>
                <a:cubicBezTo>
                  <a:pt x="344" y="105"/>
                  <a:pt x="330" y="108"/>
                  <a:pt x="328" y="108"/>
                </a:cubicBezTo>
                <a:close/>
                <a:moveTo>
                  <a:pt x="345" y="576"/>
                </a:moveTo>
                <a:cubicBezTo>
                  <a:pt x="345" y="576"/>
                  <a:pt x="345" y="576"/>
                  <a:pt x="345" y="576"/>
                </a:cubicBezTo>
                <a:cubicBezTo>
                  <a:pt x="346" y="576"/>
                  <a:pt x="346" y="576"/>
                  <a:pt x="346" y="576"/>
                </a:cubicBezTo>
                <a:cubicBezTo>
                  <a:pt x="346" y="576"/>
                  <a:pt x="345" y="576"/>
                  <a:pt x="345" y="576"/>
                </a:cubicBezTo>
                <a:close/>
                <a:moveTo>
                  <a:pt x="346" y="704"/>
                </a:moveTo>
                <a:cubicBezTo>
                  <a:pt x="346" y="703"/>
                  <a:pt x="347" y="703"/>
                  <a:pt x="347" y="703"/>
                </a:cubicBezTo>
                <a:cubicBezTo>
                  <a:pt x="348" y="704"/>
                  <a:pt x="346" y="704"/>
                  <a:pt x="346" y="704"/>
                </a:cubicBezTo>
                <a:close/>
                <a:moveTo>
                  <a:pt x="344" y="537"/>
                </a:moveTo>
                <a:cubicBezTo>
                  <a:pt x="345" y="535"/>
                  <a:pt x="348" y="535"/>
                  <a:pt x="349" y="534"/>
                </a:cubicBezTo>
                <a:cubicBezTo>
                  <a:pt x="348" y="535"/>
                  <a:pt x="345" y="536"/>
                  <a:pt x="344" y="537"/>
                </a:cubicBezTo>
                <a:close/>
                <a:moveTo>
                  <a:pt x="348" y="89"/>
                </a:moveTo>
                <a:cubicBezTo>
                  <a:pt x="347" y="90"/>
                  <a:pt x="346" y="89"/>
                  <a:pt x="348" y="89"/>
                </a:cubicBezTo>
                <a:close/>
                <a:moveTo>
                  <a:pt x="347" y="71"/>
                </a:moveTo>
                <a:cubicBezTo>
                  <a:pt x="347" y="72"/>
                  <a:pt x="348" y="72"/>
                  <a:pt x="347" y="72"/>
                </a:cubicBezTo>
                <a:cubicBezTo>
                  <a:pt x="347" y="72"/>
                  <a:pt x="347" y="72"/>
                  <a:pt x="347" y="71"/>
                </a:cubicBezTo>
                <a:close/>
                <a:moveTo>
                  <a:pt x="345" y="44"/>
                </a:moveTo>
                <a:cubicBezTo>
                  <a:pt x="346" y="42"/>
                  <a:pt x="350" y="42"/>
                  <a:pt x="350" y="45"/>
                </a:cubicBezTo>
                <a:cubicBezTo>
                  <a:pt x="349" y="47"/>
                  <a:pt x="345" y="46"/>
                  <a:pt x="345" y="44"/>
                </a:cubicBezTo>
                <a:close/>
                <a:moveTo>
                  <a:pt x="350" y="626"/>
                </a:moveTo>
                <a:cubicBezTo>
                  <a:pt x="350" y="627"/>
                  <a:pt x="349" y="625"/>
                  <a:pt x="350" y="626"/>
                </a:cubicBezTo>
                <a:close/>
                <a:moveTo>
                  <a:pt x="350" y="205"/>
                </a:moveTo>
                <a:cubicBezTo>
                  <a:pt x="349" y="205"/>
                  <a:pt x="350" y="203"/>
                  <a:pt x="350" y="204"/>
                </a:cubicBezTo>
                <a:cubicBezTo>
                  <a:pt x="351" y="204"/>
                  <a:pt x="351" y="205"/>
                  <a:pt x="350" y="205"/>
                </a:cubicBezTo>
                <a:close/>
                <a:moveTo>
                  <a:pt x="538" y="122"/>
                </a:moveTo>
                <a:cubicBezTo>
                  <a:pt x="538" y="121"/>
                  <a:pt x="540" y="121"/>
                  <a:pt x="540" y="122"/>
                </a:cubicBezTo>
                <a:cubicBezTo>
                  <a:pt x="542" y="121"/>
                  <a:pt x="543" y="121"/>
                  <a:pt x="543" y="123"/>
                </a:cubicBezTo>
                <a:cubicBezTo>
                  <a:pt x="543" y="124"/>
                  <a:pt x="539" y="125"/>
                  <a:pt x="538" y="124"/>
                </a:cubicBezTo>
                <a:cubicBezTo>
                  <a:pt x="538" y="123"/>
                  <a:pt x="538" y="123"/>
                  <a:pt x="538" y="122"/>
                </a:cubicBezTo>
                <a:cubicBezTo>
                  <a:pt x="538" y="122"/>
                  <a:pt x="538" y="122"/>
                  <a:pt x="538" y="122"/>
                </a:cubicBezTo>
                <a:close/>
                <a:moveTo>
                  <a:pt x="538" y="121"/>
                </a:moveTo>
                <a:cubicBezTo>
                  <a:pt x="538" y="121"/>
                  <a:pt x="536" y="122"/>
                  <a:pt x="536" y="121"/>
                </a:cubicBezTo>
                <a:cubicBezTo>
                  <a:pt x="536" y="121"/>
                  <a:pt x="537" y="121"/>
                  <a:pt x="538" y="121"/>
                </a:cubicBezTo>
                <a:close/>
                <a:moveTo>
                  <a:pt x="531" y="126"/>
                </a:moveTo>
                <a:cubicBezTo>
                  <a:pt x="531" y="126"/>
                  <a:pt x="531" y="127"/>
                  <a:pt x="530" y="127"/>
                </a:cubicBezTo>
                <a:cubicBezTo>
                  <a:pt x="530" y="127"/>
                  <a:pt x="531" y="126"/>
                  <a:pt x="531" y="126"/>
                </a:cubicBezTo>
                <a:close/>
                <a:moveTo>
                  <a:pt x="531" y="154"/>
                </a:moveTo>
                <a:cubicBezTo>
                  <a:pt x="529" y="157"/>
                  <a:pt x="525" y="158"/>
                  <a:pt x="522" y="159"/>
                </a:cubicBezTo>
                <a:cubicBezTo>
                  <a:pt x="524" y="156"/>
                  <a:pt x="528" y="156"/>
                  <a:pt x="531" y="154"/>
                </a:cubicBezTo>
                <a:close/>
                <a:moveTo>
                  <a:pt x="525" y="201"/>
                </a:moveTo>
                <a:cubicBezTo>
                  <a:pt x="524" y="202"/>
                  <a:pt x="523" y="203"/>
                  <a:pt x="521" y="203"/>
                </a:cubicBezTo>
                <a:cubicBezTo>
                  <a:pt x="522" y="202"/>
                  <a:pt x="523" y="201"/>
                  <a:pt x="525" y="201"/>
                </a:cubicBezTo>
                <a:close/>
                <a:moveTo>
                  <a:pt x="521" y="198"/>
                </a:moveTo>
                <a:cubicBezTo>
                  <a:pt x="521" y="198"/>
                  <a:pt x="521" y="197"/>
                  <a:pt x="522" y="197"/>
                </a:cubicBezTo>
                <a:cubicBezTo>
                  <a:pt x="524" y="195"/>
                  <a:pt x="523" y="200"/>
                  <a:pt x="521" y="198"/>
                </a:cubicBezTo>
                <a:close/>
                <a:moveTo>
                  <a:pt x="524" y="195"/>
                </a:moveTo>
                <a:cubicBezTo>
                  <a:pt x="524" y="194"/>
                  <a:pt x="525" y="194"/>
                  <a:pt x="525" y="194"/>
                </a:cubicBezTo>
                <a:cubicBezTo>
                  <a:pt x="526" y="195"/>
                  <a:pt x="524" y="195"/>
                  <a:pt x="524" y="195"/>
                </a:cubicBezTo>
                <a:close/>
                <a:moveTo>
                  <a:pt x="531" y="196"/>
                </a:moveTo>
                <a:cubicBezTo>
                  <a:pt x="530" y="198"/>
                  <a:pt x="527" y="199"/>
                  <a:pt x="525" y="201"/>
                </a:cubicBezTo>
                <a:cubicBezTo>
                  <a:pt x="526" y="199"/>
                  <a:pt x="529" y="197"/>
                  <a:pt x="531" y="196"/>
                </a:cubicBezTo>
                <a:close/>
                <a:moveTo>
                  <a:pt x="529" y="172"/>
                </a:moveTo>
                <a:cubicBezTo>
                  <a:pt x="531" y="170"/>
                  <a:pt x="530" y="174"/>
                  <a:pt x="528" y="173"/>
                </a:cubicBezTo>
                <a:cubicBezTo>
                  <a:pt x="528" y="173"/>
                  <a:pt x="529" y="172"/>
                  <a:pt x="529" y="172"/>
                </a:cubicBezTo>
                <a:close/>
                <a:moveTo>
                  <a:pt x="522" y="181"/>
                </a:moveTo>
                <a:cubicBezTo>
                  <a:pt x="521" y="181"/>
                  <a:pt x="523" y="180"/>
                  <a:pt x="523" y="181"/>
                </a:cubicBezTo>
                <a:cubicBezTo>
                  <a:pt x="524" y="181"/>
                  <a:pt x="522" y="182"/>
                  <a:pt x="522" y="181"/>
                </a:cubicBezTo>
                <a:close/>
                <a:moveTo>
                  <a:pt x="529" y="135"/>
                </a:moveTo>
                <a:cubicBezTo>
                  <a:pt x="528" y="136"/>
                  <a:pt x="526" y="138"/>
                  <a:pt x="524" y="138"/>
                </a:cubicBezTo>
                <a:cubicBezTo>
                  <a:pt x="525" y="138"/>
                  <a:pt x="526" y="138"/>
                  <a:pt x="525" y="139"/>
                </a:cubicBezTo>
                <a:cubicBezTo>
                  <a:pt x="525" y="140"/>
                  <a:pt x="522" y="140"/>
                  <a:pt x="522" y="139"/>
                </a:cubicBezTo>
                <a:cubicBezTo>
                  <a:pt x="522" y="139"/>
                  <a:pt x="523" y="138"/>
                  <a:pt x="524" y="138"/>
                </a:cubicBezTo>
                <a:cubicBezTo>
                  <a:pt x="524" y="138"/>
                  <a:pt x="524" y="138"/>
                  <a:pt x="524" y="138"/>
                </a:cubicBezTo>
                <a:cubicBezTo>
                  <a:pt x="525" y="136"/>
                  <a:pt x="527" y="136"/>
                  <a:pt x="529" y="135"/>
                </a:cubicBezTo>
                <a:close/>
                <a:moveTo>
                  <a:pt x="525" y="117"/>
                </a:moveTo>
                <a:cubicBezTo>
                  <a:pt x="525" y="117"/>
                  <a:pt x="525" y="117"/>
                  <a:pt x="524" y="117"/>
                </a:cubicBezTo>
                <a:cubicBezTo>
                  <a:pt x="524" y="117"/>
                  <a:pt x="524" y="116"/>
                  <a:pt x="525" y="117"/>
                </a:cubicBezTo>
                <a:close/>
                <a:moveTo>
                  <a:pt x="524" y="86"/>
                </a:moveTo>
                <a:cubicBezTo>
                  <a:pt x="523" y="86"/>
                  <a:pt x="522" y="86"/>
                  <a:pt x="521" y="86"/>
                </a:cubicBezTo>
                <a:cubicBezTo>
                  <a:pt x="522" y="85"/>
                  <a:pt x="523" y="85"/>
                  <a:pt x="524" y="86"/>
                </a:cubicBezTo>
                <a:close/>
                <a:moveTo>
                  <a:pt x="521" y="87"/>
                </a:moveTo>
                <a:cubicBezTo>
                  <a:pt x="521" y="87"/>
                  <a:pt x="523" y="88"/>
                  <a:pt x="523" y="88"/>
                </a:cubicBezTo>
                <a:cubicBezTo>
                  <a:pt x="523" y="88"/>
                  <a:pt x="520" y="88"/>
                  <a:pt x="521" y="87"/>
                </a:cubicBezTo>
                <a:close/>
                <a:moveTo>
                  <a:pt x="523" y="92"/>
                </a:moveTo>
                <a:cubicBezTo>
                  <a:pt x="523" y="92"/>
                  <a:pt x="521" y="92"/>
                  <a:pt x="521" y="91"/>
                </a:cubicBezTo>
                <a:cubicBezTo>
                  <a:pt x="522" y="90"/>
                  <a:pt x="523" y="91"/>
                  <a:pt x="523" y="92"/>
                </a:cubicBezTo>
                <a:close/>
                <a:moveTo>
                  <a:pt x="521" y="105"/>
                </a:moveTo>
                <a:cubicBezTo>
                  <a:pt x="521" y="106"/>
                  <a:pt x="520" y="104"/>
                  <a:pt x="521" y="105"/>
                </a:cubicBezTo>
                <a:close/>
                <a:moveTo>
                  <a:pt x="525" y="106"/>
                </a:moveTo>
                <a:cubicBezTo>
                  <a:pt x="527" y="106"/>
                  <a:pt x="528" y="108"/>
                  <a:pt x="526" y="111"/>
                </a:cubicBezTo>
                <a:cubicBezTo>
                  <a:pt x="525" y="112"/>
                  <a:pt x="523" y="112"/>
                  <a:pt x="522" y="112"/>
                </a:cubicBezTo>
                <a:cubicBezTo>
                  <a:pt x="520" y="112"/>
                  <a:pt x="518" y="112"/>
                  <a:pt x="518" y="112"/>
                </a:cubicBezTo>
                <a:cubicBezTo>
                  <a:pt x="518" y="112"/>
                  <a:pt x="519" y="112"/>
                  <a:pt x="519" y="112"/>
                </a:cubicBezTo>
                <a:cubicBezTo>
                  <a:pt x="519" y="112"/>
                  <a:pt x="518" y="112"/>
                  <a:pt x="518" y="112"/>
                </a:cubicBezTo>
                <a:cubicBezTo>
                  <a:pt x="518" y="112"/>
                  <a:pt x="518" y="111"/>
                  <a:pt x="518" y="111"/>
                </a:cubicBezTo>
                <a:cubicBezTo>
                  <a:pt x="517" y="110"/>
                  <a:pt x="522" y="106"/>
                  <a:pt x="525" y="106"/>
                </a:cubicBezTo>
                <a:close/>
                <a:moveTo>
                  <a:pt x="520" y="133"/>
                </a:moveTo>
                <a:cubicBezTo>
                  <a:pt x="522" y="131"/>
                  <a:pt x="522" y="133"/>
                  <a:pt x="520" y="133"/>
                </a:cubicBezTo>
                <a:close/>
                <a:moveTo>
                  <a:pt x="519" y="147"/>
                </a:moveTo>
                <a:cubicBezTo>
                  <a:pt x="519" y="146"/>
                  <a:pt x="521" y="145"/>
                  <a:pt x="521" y="146"/>
                </a:cubicBezTo>
                <a:cubicBezTo>
                  <a:pt x="522" y="147"/>
                  <a:pt x="520" y="147"/>
                  <a:pt x="519" y="147"/>
                </a:cubicBezTo>
                <a:close/>
                <a:moveTo>
                  <a:pt x="513" y="162"/>
                </a:moveTo>
                <a:cubicBezTo>
                  <a:pt x="512" y="161"/>
                  <a:pt x="516" y="159"/>
                  <a:pt x="516" y="161"/>
                </a:cubicBezTo>
                <a:cubicBezTo>
                  <a:pt x="517" y="162"/>
                  <a:pt x="513" y="163"/>
                  <a:pt x="513" y="162"/>
                </a:cubicBezTo>
                <a:close/>
                <a:moveTo>
                  <a:pt x="516" y="163"/>
                </a:moveTo>
                <a:cubicBezTo>
                  <a:pt x="516" y="164"/>
                  <a:pt x="515" y="165"/>
                  <a:pt x="516" y="164"/>
                </a:cubicBezTo>
                <a:cubicBezTo>
                  <a:pt x="516" y="164"/>
                  <a:pt x="516" y="164"/>
                  <a:pt x="516" y="163"/>
                </a:cubicBezTo>
                <a:close/>
                <a:moveTo>
                  <a:pt x="514" y="191"/>
                </a:moveTo>
                <a:cubicBezTo>
                  <a:pt x="515" y="190"/>
                  <a:pt x="516" y="192"/>
                  <a:pt x="514" y="191"/>
                </a:cubicBezTo>
                <a:close/>
                <a:moveTo>
                  <a:pt x="512" y="192"/>
                </a:moveTo>
                <a:cubicBezTo>
                  <a:pt x="512" y="191"/>
                  <a:pt x="514" y="191"/>
                  <a:pt x="514" y="191"/>
                </a:cubicBezTo>
                <a:cubicBezTo>
                  <a:pt x="514" y="192"/>
                  <a:pt x="512" y="192"/>
                  <a:pt x="512" y="192"/>
                </a:cubicBezTo>
                <a:close/>
                <a:moveTo>
                  <a:pt x="514" y="247"/>
                </a:moveTo>
                <a:cubicBezTo>
                  <a:pt x="514" y="248"/>
                  <a:pt x="513" y="245"/>
                  <a:pt x="514" y="247"/>
                </a:cubicBezTo>
                <a:close/>
                <a:moveTo>
                  <a:pt x="504" y="183"/>
                </a:moveTo>
                <a:cubicBezTo>
                  <a:pt x="506" y="182"/>
                  <a:pt x="506" y="181"/>
                  <a:pt x="504" y="181"/>
                </a:cubicBezTo>
                <a:cubicBezTo>
                  <a:pt x="505" y="178"/>
                  <a:pt x="508" y="175"/>
                  <a:pt x="511" y="176"/>
                </a:cubicBezTo>
                <a:cubicBezTo>
                  <a:pt x="517" y="179"/>
                  <a:pt x="509" y="186"/>
                  <a:pt x="504" y="183"/>
                </a:cubicBezTo>
                <a:close/>
                <a:moveTo>
                  <a:pt x="505" y="184"/>
                </a:moveTo>
                <a:cubicBezTo>
                  <a:pt x="505" y="184"/>
                  <a:pt x="505" y="184"/>
                  <a:pt x="505" y="184"/>
                </a:cubicBezTo>
                <a:cubicBezTo>
                  <a:pt x="506" y="186"/>
                  <a:pt x="503" y="183"/>
                  <a:pt x="505" y="184"/>
                </a:cubicBezTo>
                <a:close/>
                <a:moveTo>
                  <a:pt x="494" y="127"/>
                </a:moveTo>
                <a:cubicBezTo>
                  <a:pt x="494" y="127"/>
                  <a:pt x="497" y="125"/>
                  <a:pt x="498" y="127"/>
                </a:cubicBezTo>
                <a:cubicBezTo>
                  <a:pt x="498" y="128"/>
                  <a:pt x="494" y="129"/>
                  <a:pt x="494" y="127"/>
                </a:cubicBezTo>
                <a:close/>
                <a:moveTo>
                  <a:pt x="496" y="219"/>
                </a:moveTo>
                <a:cubicBezTo>
                  <a:pt x="495" y="219"/>
                  <a:pt x="496" y="218"/>
                  <a:pt x="496" y="218"/>
                </a:cubicBezTo>
                <a:cubicBezTo>
                  <a:pt x="497" y="218"/>
                  <a:pt x="496" y="219"/>
                  <a:pt x="496" y="219"/>
                </a:cubicBezTo>
                <a:close/>
                <a:moveTo>
                  <a:pt x="493" y="182"/>
                </a:moveTo>
                <a:cubicBezTo>
                  <a:pt x="493" y="181"/>
                  <a:pt x="495" y="181"/>
                  <a:pt x="495" y="181"/>
                </a:cubicBezTo>
                <a:cubicBezTo>
                  <a:pt x="496" y="182"/>
                  <a:pt x="494" y="183"/>
                  <a:pt x="493" y="182"/>
                </a:cubicBezTo>
                <a:close/>
                <a:moveTo>
                  <a:pt x="494" y="221"/>
                </a:moveTo>
                <a:cubicBezTo>
                  <a:pt x="494" y="221"/>
                  <a:pt x="495" y="220"/>
                  <a:pt x="495" y="220"/>
                </a:cubicBezTo>
                <a:cubicBezTo>
                  <a:pt x="495" y="220"/>
                  <a:pt x="494" y="222"/>
                  <a:pt x="494" y="221"/>
                </a:cubicBezTo>
                <a:close/>
                <a:moveTo>
                  <a:pt x="484" y="206"/>
                </a:moveTo>
                <a:cubicBezTo>
                  <a:pt x="487" y="204"/>
                  <a:pt x="490" y="201"/>
                  <a:pt x="492" y="200"/>
                </a:cubicBezTo>
                <a:cubicBezTo>
                  <a:pt x="492" y="200"/>
                  <a:pt x="494" y="199"/>
                  <a:pt x="493" y="200"/>
                </a:cubicBezTo>
                <a:cubicBezTo>
                  <a:pt x="492" y="203"/>
                  <a:pt x="487" y="205"/>
                  <a:pt x="484" y="206"/>
                </a:cubicBezTo>
                <a:close/>
                <a:moveTo>
                  <a:pt x="491" y="221"/>
                </a:moveTo>
                <a:cubicBezTo>
                  <a:pt x="491" y="220"/>
                  <a:pt x="493" y="220"/>
                  <a:pt x="493" y="221"/>
                </a:cubicBezTo>
                <a:cubicBezTo>
                  <a:pt x="493" y="222"/>
                  <a:pt x="491" y="222"/>
                  <a:pt x="491" y="221"/>
                </a:cubicBezTo>
                <a:close/>
                <a:moveTo>
                  <a:pt x="480" y="95"/>
                </a:moveTo>
                <a:cubicBezTo>
                  <a:pt x="482" y="94"/>
                  <a:pt x="483" y="93"/>
                  <a:pt x="485" y="93"/>
                </a:cubicBezTo>
                <a:cubicBezTo>
                  <a:pt x="483" y="94"/>
                  <a:pt x="482" y="95"/>
                  <a:pt x="480" y="95"/>
                </a:cubicBezTo>
                <a:close/>
                <a:moveTo>
                  <a:pt x="481" y="162"/>
                </a:moveTo>
                <a:cubicBezTo>
                  <a:pt x="481" y="160"/>
                  <a:pt x="484" y="161"/>
                  <a:pt x="481" y="162"/>
                </a:cubicBezTo>
                <a:close/>
                <a:moveTo>
                  <a:pt x="482" y="109"/>
                </a:moveTo>
                <a:cubicBezTo>
                  <a:pt x="481" y="112"/>
                  <a:pt x="478" y="110"/>
                  <a:pt x="482" y="109"/>
                </a:cubicBezTo>
                <a:close/>
                <a:moveTo>
                  <a:pt x="496" y="72"/>
                </a:moveTo>
                <a:cubicBezTo>
                  <a:pt x="496" y="73"/>
                  <a:pt x="495" y="73"/>
                  <a:pt x="494" y="73"/>
                </a:cubicBezTo>
                <a:cubicBezTo>
                  <a:pt x="494" y="73"/>
                  <a:pt x="496" y="71"/>
                  <a:pt x="496" y="72"/>
                </a:cubicBezTo>
                <a:close/>
                <a:moveTo>
                  <a:pt x="494" y="43"/>
                </a:moveTo>
                <a:cubicBezTo>
                  <a:pt x="494" y="43"/>
                  <a:pt x="496" y="43"/>
                  <a:pt x="496" y="43"/>
                </a:cubicBezTo>
                <a:cubicBezTo>
                  <a:pt x="497" y="45"/>
                  <a:pt x="494" y="44"/>
                  <a:pt x="494" y="43"/>
                </a:cubicBezTo>
                <a:close/>
                <a:moveTo>
                  <a:pt x="493" y="64"/>
                </a:moveTo>
                <a:cubicBezTo>
                  <a:pt x="493" y="64"/>
                  <a:pt x="494" y="64"/>
                  <a:pt x="495" y="65"/>
                </a:cubicBezTo>
                <a:cubicBezTo>
                  <a:pt x="495" y="66"/>
                  <a:pt x="493" y="65"/>
                  <a:pt x="493" y="64"/>
                </a:cubicBezTo>
                <a:close/>
                <a:moveTo>
                  <a:pt x="499" y="87"/>
                </a:moveTo>
                <a:cubicBezTo>
                  <a:pt x="498" y="89"/>
                  <a:pt x="488" y="88"/>
                  <a:pt x="488" y="87"/>
                </a:cubicBezTo>
                <a:cubicBezTo>
                  <a:pt x="489" y="86"/>
                  <a:pt x="496" y="88"/>
                  <a:pt x="499" y="87"/>
                </a:cubicBezTo>
                <a:close/>
                <a:moveTo>
                  <a:pt x="493" y="105"/>
                </a:moveTo>
                <a:cubicBezTo>
                  <a:pt x="493" y="105"/>
                  <a:pt x="493" y="105"/>
                  <a:pt x="493" y="105"/>
                </a:cubicBezTo>
                <a:cubicBezTo>
                  <a:pt x="493" y="105"/>
                  <a:pt x="493" y="105"/>
                  <a:pt x="492" y="105"/>
                </a:cubicBezTo>
                <a:cubicBezTo>
                  <a:pt x="489" y="105"/>
                  <a:pt x="493" y="97"/>
                  <a:pt x="497" y="101"/>
                </a:cubicBezTo>
                <a:cubicBezTo>
                  <a:pt x="498" y="102"/>
                  <a:pt x="498" y="102"/>
                  <a:pt x="498" y="103"/>
                </a:cubicBezTo>
                <a:cubicBezTo>
                  <a:pt x="498" y="106"/>
                  <a:pt x="494" y="107"/>
                  <a:pt x="493" y="105"/>
                </a:cubicBezTo>
                <a:close/>
                <a:moveTo>
                  <a:pt x="495" y="108"/>
                </a:moveTo>
                <a:cubicBezTo>
                  <a:pt x="495" y="108"/>
                  <a:pt x="494" y="109"/>
                  <a:pt x="494" y="108"/>
                </a:cubicBezTo>
                <a:cubicBezTo>
                  <a:pt x="493" y="108"/>
                  <a:pt x="495" y="107"/>
                  <a:pt x="495" y="108"/>
                </a:cubicBezTo>
                <a:close/>
                <a:moveTo>
                  <a:pt x="494" y="174"/>
                </a:moveTo>
                <a:cubicBezTo>
                  <a:pt x="494" y="175"/>
                  <a:pt x="492" y="176"/>
                  <a:pt x="492" y="175"/>
                </a:cubicBezTo>
                <a:cubicBezTo>
                  <a:pt x="492" y="174"/>
                  <a:pt x="494" y="173"/>
                  <a:pt x="494" y="174"/>
                </a:cubicBezTo>
                <a:close/>
                <a:moveTo>
                  <a:pt x="495" y="98"/>
                </a:moveTo>
                <a:cubicBezTo>
                  <a:pt x="496" y="99"/>
                  <a:pt x="494" y="98"/>
                  <a:pt x="495" y="98"/>
                </a:cubicBezTo>
                <a:close/>
                <a:moveTo>
                  <a:pt x="499" y="91"/>
                </a:moveTo>
                <a:cubicBezTo>
                  <a:pt x="498" y="92"/>
                  <a:pt x="497" y="91"/>
                  <a:pt x="499" y="91"/>
                </a:cubicBezTo>
                <a:close/>
                <a:moveTo>
                  <a:pt x="491" y="166"/>
                </a:moveTo>
                <a:cubicBezTo>
                  <a:pt x="491" y="167"/>
                  <a:pt x="489" y="169"/>
                  <a:pt x="488" y="169"/>
                </a:cubicBezTo>
                <a:cubicBezTo>
                  <a:pt x="488" y="167"/>
                  <a:pt x="490" y="167"/>
                  <a:pt x="491" y="166"/>
                </a:cubicBezTo>
                <a:close/>
                <a:moveTo>
                  <a:pt x="485" y="144"/>
                </a:moveTo>
                <a:cubicBezTo>
                  <a:pt x="488" y="143"/>
                  <a:pt x="489" y="145"/>
                  <a:pt x="485" y="144"/>
                </a:cubicBezTo>
                <a:close/>
                <a:moveTo>
                  <a:pt x="486" y="93"/>
                </a:moveTo>
                <a:cubicBezTo>
                  <a:pt x="488" y="92"/>
                  <a:pt x="489" y="91"/>
                  <a:pt x="491" y="90"/>
                </a:cubicBezTo>
                <a:cubicBezTo>
                  <a:pt x="490" y="92"/>
                  <a:pt x="488" y="92"/>
                  <a:pt x="486" y="93"/>
                </a:cubicBezTo>
                <a:close/>
                <a:moveTo>
                  <a:pt x="491" y="61"/>
                </a:moveTo>
                <a:cubicBezTo>
                  <a:pt x="491" y="60"/>
                  <a:pt x="492" y="60"/>
                  <a:pt x="493" y="61"/>
                </a:cubicBezTo>
                <a:cubicBezTo>
                  <a:pt x="492" y="61"/>
                  <a:pt x="492" y="61"/>
                  <a:pt x="491" y="61"/>
                </a:cubicBezTo>
                <a:close/>
                <a:moveTo>
                  <a:pt x="490" y="74"/>
                </a:moveTo>
                <a:cubicBezTo>
                  <a:pt x="491" y="73"/>
                  <a:pt x="491" y="75"/>
                  <a:pt x="490" y="74"/>
                </a:cubicBezTo>
                <a:close/>
                <a:moveTo>
                  <a:pt x="489" y="67"/>
                </a:moveTo>
                <a:cubicBezTo>
                  <a:pt x="488" y="66"/>
                  <a:pt x="490" y="66"/>
                  <a:pt x="490" y="66"/>
                </a:cubicBezTo>
                <a:cubicBezTo>
                  <a:pt x="491" y="67"/>
                  <a:pt x="489" y="68"/>
                  <a:pt x="489" y="67"/>
                </a:cubicBezTo>
                <a:close/>
                <a:moveTo>
                  <a:pt x="488" y="60"/>
                </a:moveTo>
                <a:cubicBezTo>
                  <a:pt x="488" y="60"/>
                  <a:pt x="489" y="60"/>
                  <a:pt x="489" y="60"/>
                </a:cubicBezTo>
                <a:cubicBezTo>
                  <a:pt x="489" y="60"/>
                  <a:pt x="489" y="61"/>
                  <a:pt x="488" y="60"/>
                </a:cubicBezTo>
                <a:close/>
                <a:moveTo>
                  <a:pt x="492" y="82"/>
                </a:moveTo>
                <a:cubicBezTo>
                  <a:pt x="492" y="84"/>
                  <a:pt x="487" y="83"/>
                  <a:pt x="487" y="81"/>
                </a:cubicBezTo>
                <a:cubicBezTo>
                  <a:pt x="487" y="79"/>
                  <a:pt x="492" y="79"/>
                  <a:pt x="492" y="82"/>
                </a:cubicBezTo>
                <a:close/>
                <a:moveTo>
                  <a:pt x="483" y="73"/>
                </a:moveTo>
                <a:cubicBezTo>
                  <a:pt x="482" y="71"/>
                  <a:pt x="487" y="70"/>
                  <a:pt x="487" y="72"/>
                </a:cubicBezTo>
                <a:cubicBezTo>
                  <a:pt x="488" y="75"/>
                  <a:pt x="483" y="74"/>
                  <a:pt x="483" y="73"/>
                </a:cubicBezTo>
                <a:close/>
                <a:moveTo>
                  <a:pt x="483" y="60"/>
                </a:moveTo>
                <a:cubicBezTo>
                  <a:pt x="483" y="60"/>
                  <a:pt x="483" y="60"/>
                  <a:pt x="483" y="60"/>
                </a:cubicBezTo>
                <a:cubicBezTo>
                  <a:pt x="484" y="62"/>
                  <a:pt x="481" y="59"/>
                  <a:pt x="483" y="60"/>
                </a:cubicBezTo>
                <a:close/>
                <a:moveTo>
                  <a:pt x="482" y="62"/>
                </a:moveTo>
                <a:cubicBezTo>
                  <a:pt x="483" y="63"/>
                  <a:pt x="481" y="63"/>
                  <a:pt x="481" y="62"/>
                </a:cubicBezTo>
                <a:cubicBezTo>
                  <a:pt x="481" y="62"/>
                  <a:pt x="482" y="62"/>
                  <a:pt x="482" y="62"/>
                </a:cubicBezTo>
                <a:close/>
                <a:moveTo>
                  <a:pt x="487" y="184"/>
                </a:moveTo>
                <a:cubicBezTo>
                  <a:pt x="487" y="185"/>
                  <a:pt x="485" y="186"/>
                  <a:pt x="484" y="186"/>
                </a:cubicBezTo>
                <a:cubicBezTo>
                  <a:pt x="485" y="185"/>
                  <a:pt x="486" y="185"/>
                  <a:pt x="487" y="184"/>
                </a:cubicBezTo>
                <a:close/>
                <a:moveTo>
                  <a:pt x="495" y="174"/>
                </a:moveTo>
                <a:cubicBezTo>
                  <a:pt x="495" y="174"/>
                  <a:pt x="495" y="174"/>
                  <a:pt x="495" y="174"/>
                </a:cubicBezTo>
                <a:cubicBezTo>
                  <a:pt x="495" y="175"/>
                  <a:pt x="494" y="175"/>
                  <a:pt x="495" y="174"/>
                </a:cubicBezTo>
                <a:close/>
                <a:moveTo>
                  <a:pt x="498" y="141"/>
                </a:moveTo>
                <a:cubicBezTo>
                  <a:pt x="499" y="142"/>
                  <a:pt x="497" y="143"/>
                  <a:pt x="497" y="142"/>
                </a:cubicBezTo>
                <a:cubicBezTo>
                  <a:pt x="496" y="141"/>
                  <a:pt x="498" y="141"/>
                  <a:pt x="498" y="141"/>
                </a:cubicBezTo>
                <a:close/>
                <a:moveTo>
                  <a:pt x="497" y="131"/>
                </a:moveTo>
                <a:cubicBezTo>
                  <a:pt x="497" y="131"/>
                  <a:pt x="498" y="131"/>
                  <a:pt x="498" y="131"/>
                </a:cubicBezTo>
                <a:cubicBezTo>
                  <a:pt x="499" y="132"/>
                  <a:pt x="497" y="132"/>
                  <a:pt x="497" y="131"/>
                </a:cubicBezTo>
                <a:close/>
                <a:moveTo>
                  <a:pt x="498" y="128"/>
                </a:moveTo>
                <a:cubicBezTo>
                  <a:pt x="499" y="129"/>
                  <a:pt x="500" y="126"/>
                  <a:pt x="501" y="126"/>
                </a:cubicBezTo>
                <a:cubicBezTo>
                  <a:pt x="508" y="122"/>
                  <a:pt x="510" y="132"/>
                  <a:pt x="502" y="132"/>
                </a:cubicBezTo>
                <a:cubicBezTo>
                  <a:pt x="501" y="132"/>
                  <a:pt x="498" y="131"/>
                  <a:pt x="498" y="128"/>
                </a:cubicBezTo>
                <a:close/>
                <a:moveTo>
                  <a:pt x="502" y="94"/>
                </a:moveTo>
                <a:cubicBezTo>
                  <a:pt x="503" y="93"/>
                  <a:pt x="504" y="95"/>
                  <a:pt x="502" y="94"/>
                </a:cubicBezTo>
                <a:close/>
                <a:moveTo>
                  <a:pt x="505" y="67"/>
                </a:moveTo>
                <a:cubicBezTo>
                  <a:pt x="505" y="67"/>
                  <a:pt x="505" y="68"/>
                  <a:pt x="504" y="68"/>
                </a:cubicBezTo>
                <a:cubicBezTo>
                  <a:pt x="502" y="68"/>
                  <a:pt x="504" y="64"/>
                  <a:pt x="505" y="67"/>
                </a:cubicBezTo>
                <a:close/>
                <a:moveTo>
                  <a:pt x="503" y="121"/>
                </a:moveTo>
                <a:cubicBezTo>
                  <a:pt x="504" y="121"/>
                  <a:pt x="502" y="123"/>
                  <a:pt x="501" y="122"/>
                </a:cubicBezTo>
                <a:cubicBezTo>
                  <a:pt x="502" y="122"/>
                  <a:pt x="502" y="122"/>
                  <a:pt x="503" y="121"/>
                </a:cubicBezTo>
                <a:close/>
                <a:moveTo>
                  <a:pt x="506" y="123"/>
                </a:moveTo>
                <a:cubicBezTo>
                  <a:pt x="507" y="123"/>
                  <a:pt x="505" y="124"/>
                  <a:pt x="505" y="124"/>
                </a:cubicBezTo>
                <a:cubicBezTo>
                  <a:pt x="505" y="123"/>
                  <a:pt x="505" y="122"/>
                  <a:pt x="506" y="123"/>
                </a:cubicBezTo>
                <a:close/>
                <a:moveTo>
                  <a:pt x="506" y="142"/>
                </a:moveTo>
                <a:cubicBezTo>
                  <a:pt x="507" y="142"/>
                  <a:pt x="505" y="143"/>
                  <a:pt x="505" y="142"/>
                </a:cubicBezTo>
                <a:cubicBezTo>
                  <a:pt x="505" y="142"/>
                  <a:pt x="506" y="142"/>
                  <a:pt x="506" y="142"/>
                </a:cubicBezTo>
                <a:close/>
                <a:moveTo>
                  <a:pt x="502" y="137"/>
                </a:moveTo>
                <a:cubicBezTo>
                  <a:pt x="503" y="139"/>
                  <a:pt x="499" y="139"/>
                  <a:pt x="499" y="138"/>
                </a:cubicBezTo>
                <a:cubicBezTo>
                  <a:pt x="499" y="136"/>
                  <a:pt x="502" y="136"/>
                  <a:pt x="502" y="137"/>
                </a:cubicBezTo>
                <a:close/>
                <a:moveTo>
                  <a:pt x="504" y="199"/>
                </a:moveTo>
                <a:cubicBezTo>
                  <a:pt x="504" y="199"/>
                  <a:pt x="503" y="200"/>
                  <a:pt x="503" y="200"/>
                </a:cubicBezTo>
                <a:cubicBezTo>
                  <a:pt x="501" y="200"/>
                  <a:pt x="503" y="197"/>
                  <a:pt x="504" y="199"/>
                </a:cubicBezTo>
                <a:close/>
                <a:moveTo>
                  <a:pt x="512" y="113"/>
                </a:moveTo>
                <a:cubicBezTo>
                  <a:pt x="512" y="114"/>
                  <a:pt x="509" y="116"/>
                  <a:pt x="507" y="114"/>
                </a:cubicBezTo>
                <a:cubicBezTo>
                  <a:pt x="506" y="113"/>
                  <a:pt x="511" y="111"/>
                  <a:pt x="512" y="113"/>
                </a:cubicBezTo>
                <a:close/>
                <a:moveTo>
                  <a:pt x="508" y="101"/>
                </a:moveTo>
                <a:cubicBezTo>
                  <a:pt x="508" y="100"/>
                  <a:pt x="509" y="100"/>
                  <a:pt x="510" y="101"/>
                </a:cubicBezTo>
                <a:cubicBezTo>
                  <a:pt x="511" y="102"/>
                  <a:pt x="508" y="102"/>
                  <a:pt x="508" y="101"/>
                </a:cubicBezTo>
                <a:close/>
                <a:moveTo>
                  <a:pt x="510" y="102"/>
                </a:moveTo>
                <a:cubicBezTo>
                  <a:pt x="511" y="101"/>
                  <a:pt x="512" y="103"/>
                  <a:pt x="510" y="102"/>
                </a:cubicBezTo>
                <a:close/>
                <a:moveTo>
                  <a:pt x="514" y="132"/>
                </a:moveTo>
                <a:cubicBezTo>
                  <a:pt x="514" y="132"/>
                  <a:pt x="514" y="133"/>
                  <a:pt x="514" y="134"/>
                </a:cubicBezTo>
                <a:cubicBezTo>
                  <a:pt x="512" y="137"/>
                  <a:pt x="512" y="131"/>
                  <a:pt x="514" y="132"/>
                </a:cubicBezTo>
                <a:close/>
                <a:moveTo>
                  <a:pt x="515" y="154"/>
                </a:moveTo>
                <a:cubicBezTo>
                  <a:pt x="515" y="154"/>
                  <a:pt x="515" y="153"/>
                  <a:pt x="515" y="153"/>
                </a:cubicBezTo>
                <a:cubicBezTo>
                  <a:pt x="516" y="154"/>
                  <a:pt x="515" y="155"/>
                  <a:pt x="515" y="154"/>
                </a:cubicBezTo>
                <a:close/>
                <a:moveTo>
                  <a:pt x="516" y="153"/>
                </a:moveTo>
                <a:cubicBezTo>
                  <a:pt x="516" y="151"/>
                  <a:pt x="519" y="152"/>
                  <a:pt x="516" y="153"/>
                </a:cubicBezTo>
                <a:close/>
                <a:moveTo>
                  <a:pt x="513" y="148"/>
                </a:moveTo>
                <a:cubicBezTo>
                  <a:pt x="514" y="147"/>
                  <a:pt x="516" y="145"/>
                  <a:pt x="517" y="145"/>
                </a:cubicBezTo>
                <a:cubicBezTo>
                  <a:pt x="520" y="143"/>
                  <a:pt x="516" y="149"/>
                  <a:pt x="513" y="148"/>
                </a:cubicBezTo>
                <a:close/>
                <a:moveTo>
                  <a:pt x="515" y="134"/>
                </a:moveTo>
                <a:cubicBezTo>
                  <a:pt x="514" y="133"/>
                  <a:pt x="515" y="133"/>
                  <a:pt x="515" y="134"/>
                </a:cubicBezTo>
                <a:close/>
                <a:moveTo>
                  <a:pt x="518" y="86"/>
                </a:moveTo>
                <a:cubicBezTo>
                  <a:pt x="517" y="86"/>
                  <a:pt x="519" y="86"/>
                  <a:pt x="519" y="86"/>
                </a:cubicBezTo>
                <a:cubicBezTo>
                  <a:pt x="520" y="86"/>
                  <a:pt x="518" y="87"/>
                  <a:pt x="518" y="86"/>
                </a:cubicBezTo>
                <a:close/>
                <a:moveTo>
                  <a:pt x="518" y="88"/>
                </a:moveTo>
                <a:cubicBezTo>
                  <a:pt x="519" y="87"/>
                  <a:pt x="520" y="88"/>
                  <a:pt x="518" y="88"/>
                </a:cubicBezTo>
                <a:close/>
                <a:moveTo>
                  <a:pt x="519" y="94"/>
                </a:moveTo>
                <a:cubicBezTo>
                  <a:pt x="519" y="96"/>
                  <a:pt x="514" y="96"/>
                  <a:pt x="515" y="93"/>
                </a:cubicBezTo>
                <a:cubicBezTo>
                  <a:pt x="515" y="92"/>
                  <a:pt x="519" y="92"/>
                  <a:pt x="519" y="94"/>
                </a:cubicBezTo>
                <a:close/>
                <a:moveTo>
                  <a:pt x="516" y="113"/>
                </a:moveTo>
                <a:cubicBezTo>
                  <a:pt x="516" y="112"/>
                  <a:pt x="516" y="112"/>
                  <a:pt x="516" y="112"/>
                </a:cubicBezTo>
                <a:cubicBezTo>
                  <a:pt x="518" y="110"/>
                  <a:pt x="517" y="114"/>
                  <a:pt x="516" y="113"/>
                </a:cubicBezTo>
                <a:close/>
                <a:moveTo>
                  <a:pt x="518" y="143"/>
                </a:moveTo>
                <a:cubicBezTo>
                  <a:pt x="518" y="143"/>
                  <a:pt x="516" y="144"/>
                  <a:pt x="516" y="144"/>
                </a:cubicBezTo>
                <a:cubicBezTo>
                  <a:pt x="516" y="143"/>
                  <a:pt x="517" y="142"/>
                  <a:pt x="518" y="143"/>
                </a:cubicBezTo>
                <a:close/>
                <a:moveTo>
                  <a:pt x="515" y="139"/>
                </a:moveTo>
                <a:cubicBezTo>
                  <a:pt x="516" y="140"/>
                  <a:pt x="515" y="140"/>
                  <a:pt x="515" y="140"/>
                </a:cubicBezTo>
                <a:cubicBezTo>
                  <a:pt x="515" y="140"/>
                  <a:pt x="515" y="139"/>
                  <a:pt x="515" y="139"/>
                </a:cubicBezTo>
                <a:close/>
                <a:moveTo>
                  <a:pt x="519" y="150"/>
                </a:moveTo>
                <a:cubicBezTo>
                  <a:pt x="520" y="150"/>
                  <a:pt x="518" y="151"/>
                  <a:pt x="518" y="151"/>
                </a:cubicBezTo>
                <a:cubicBezTo>
                  <a:pt x="517" y="150"/>
                  <a:pt x="519" y="150"/>
                  <a:pt x="519" y="150"/>
                </a:cubicBezTo>
                <a:close/>
                <a:moveTo>
                  <a:pt x="525" y="72"/>
                </a:moveTo>
                <a:cubicBezTo>
                  <a:pt x="525" y="72"/>
                  <a:pt x="525" y="72"/>
                  <a:pt x="524" y="72"/>
                </a:cubicBezTo>
                <a:cubicBezTo>
                  <a:pt x="524" y="72"/>
                  <a:pt x="525" y="71"/>
                  <a:pt x="525" y="72"/>
                </a:cubicBezTo>
                <a:close/>
                <a:moveTo>
                  <a:pt x="509" y="73"/>
                </a:moveTo>
                <a:cubicBezTo>
                  <a:pt x="510" y="72"/>
                  <a:pt x="513" y="74"/>
                  <a:pt x="516" y="74"/>
                </a:cubicBezTo>
                <a:cubicBezTo>
                  <a:pt x="517" y="73"/>
                  <a:pt x="522" y="72"/>
                  <a:pt x="523" y="73"/>
                </a:cubicBezTo>
                <a:cubicBezTo>
                  <a:pt x="523" y="75"/>
                  <a:pt x="517" y="75"/>
                  <a:pt x="517" y="75"/>
                </a:cubicBezTo>
                <a:cubicBezTo>
                  <a:pt x="517" y="76"/>
                  <a:pt x="520" y="79"/>
                  <a:pt x="520" y="79"/>
                </a:cubicBezTo>
                <a:cubicBezTo>
                  <a:pt x="522" y="87"/>
                  <a:pt x="509" y="84"/>
                  <a:pt x="506" y="82"/>
                </a:cubicBezTo>
                <a:cubicBezTo>
                  <a:pt x="501" y="80"/>
                  <a:pt x="510" y="81"/>
                  <a:pt x="507" y="77"/>
                </a:cubicBezTo>
                <a:cubicBezTo>
                  <a:pt x="511" y="79"/>
                  <a:pt x="508" y="74"/>
                  <a:pt x="509" y="73"/>
                </a:cubicBezTo>
                <a:close/>
                <a:moveTo>
                  <a:pt x="509" y="61"/>
                </a:moveTo>
                <a:cubicBezTo>
                  <a:pt x="510" y="61"/>
                  <a:pt x="508" y="62"/>
                  <a:pt x="507" y="61"/>
                </a:cubicBezTo>
                <a:cubicBezTo>
                  <a:pt x="507" y="61"/>
                  <a:pt x="509" y="60"/>
                  <a:pt x="509" y="61"/>
                </a:cubicBezTo>
                <a:close/>
                <a:moveTo>
                  <a:pt x="511" y="36"/>
                </a:moveTo>
                <a:cubicBezTo>
                  <a:pt x="511" y="37"/>
                  <a:pt x="509" y="37"/>
                  <a:pt x="509" y="36"/>
                </a:cubicBezTo>
                <a:cubicBezTo>
                  <a:pt x="509" y="35"/>
                  <a:pt x="510" y="35"/>
                  <a:pt x="511" y="36"/>
                </a:cubicBezTo>
                <a:close/>
                <a:moveTo>
                  <a:pt x="509" y="38"/>
                </a:moveTo>
                <a:cubicBezTo>
                  <a:pt x="509" y="40"/>
                  <a:pt x="506" y="39"/>
                  <a:pt x="506" y="38"/>
                </a:cubicBezTo>
                <a:cubicBezTo>
                  <a:pt x="506" y="37"/>
                  <a:pt x="509" y="36"/>
                  <a:pt x="509" y="38"/>
                </a:cubicBezTo>
                <a:close/>
                <a:moveTo>
                  <a:pt x="509" y="50"/>
                </a:moveTo>
                <a:cubicBezTo>
                  <a:pt x="504" y="53"/>
                  <a:pt x="503" y="50"/>
                  <a:pt x="509" y="50"/>
                </a:cubicBezTo>
                <a:close/>
                <a:moveTo>
                  <a:pt x="506" y="53"/>
                </a:moveTo>
                <a:cubicBezTo>
                  <a:pt x="505" y="54"/>
                  <a:pt x="504" y="53"/>
                  <a:pt x="504" y="53"/>
                </a:cubicBezTo>
                <a:cubicBezTo>
                  <a:pt x="504" y="53"/>
                  <a:pt x="506" y="53"/>
                  <a:pt x="506" y="53"/>
                </a:cubicBezTo>
                <a:close/>
                <a:moveTo>
                  <a:pt x="504" y="64"/>
                </a:moveTo>
                <a:cubicBezTo>
                  <a:pt x="503" y="65"/>
                  <a:pt x="502" y="65"/>
                  <a:pt x="501" y="65"/>
                </a:cubicBezTo>
                <a:cubicBezTo>
                  <a:pt x="501" y="64"/>
                  <a:pt x="503" y="63"/>
                  <a:pt x="504" y="64"/>
                </a:cubicBezTo>
                <a:close/>
                <a:moveTo>
                  <a:pt x="501" y="64"/>
                </a:moveTo>
                <a:cubicBezTo>
                  <a:pt x="501" y="64"/>
                  <a:pt x="500" y="65"/>
                  <a:pt x="500" y="64"/>
                </a:cubicBezTo>
                <a:cubicBezTo>
                  <a:pt x="500" y="64"/>
                  <a:pt x="501" y="63"/>
                  <a:pt x="501" y="64"/>
                </a:cubicBezTo>
                <a:close/>
                <a:moveTo>
                  <a:pt x="501" y="123"/>
                </a:moveTo>
                <a:cubicBezTo>
                  <a:pt x="501" y="123"/>
                  <a:pt x="501" y="123"/>
                  <a:pt x="501" y="123"/>
                </a:cubicBezTo>
                <a:cubicBezTo>
                  <a:pt x="502" y="125"/>
                  <a:pt x="499" y="121"/>
                  <a:pt x="501" y="123"/>
                </a:cubicBezTo>
                <a:close/>
                <a:moveTo>
                  <a:pt x="499" y="65"/>
                </a:moveTo>
                <a:cubicBezTo>
                  <a:pt x="501" y="65"/>
                  <a:pt x="497" y="65"/>
                  <a:pt x="499" y="65"/>
                </a:cubicBezTo>
                <a:close/>
                <a:moveTo>
                  <a:pt x="498" y="38"/>
                </a:moveTo>
                <a:cubicBezTo>
                  <a:pt x="498" y="38"/>
                  <a:pt x="497" y="39"/>
                  <a:pt x="497" y="38"/>
                </a:cubicBezTo>
                <a:cubicBezTo>
                  <a:pt x="497" y="38"/>
                  <a:pt x="497" y="37"/>
                  <a:pt x="498" y="38"/>
                </a:cubicBezTo>
                <a:close/>
                <a:moveTo>
                  <a:pt x="497" y="31"/>
                </a:moveTo>
                <a:cubicBezTo>
                  <a:pt x="497" y="32"/>
                  <a:pt x="495" y="32"/>
                  <a:pt x="495" y="31"/>
                </a:cubicBezTo>
                <a:cubicBezTo>
                  <a:pt x="495" y="31"/>
                  <a:pt x="496" y="31"/>
                  <a:pt x="497" y="31"/>
                </a:cubicBezTo>
                <a:close/>
                <a:moveTo>
                  <a:pt x="496" y="40"/>
                </a:moveTo>
                <a:cubicBezTo>
                  <a:pt x="496" y="41"/>
                  <a:pt x="493" y="42"/>
                  <a:pt x="493" y="41"/>
                </a:cubicBezTo>
                <a:cubicBezTo>
                  <a:pt x="492" y="40"/>
                  <a:pt x="495" y="39"/>
                  <a:pt x="496" y="40"/>
                </a:cubicBezTo>
                <a:close/>
                <a:moveTo>
                  <a:pt x="492" y="44"/>
                </a:moveTo>
                <a:cubicBezTo>
                  <a:pt x="493" y="43"/>
                  <a:pt x="494" y="45"/>
                  <a:pt x="492" y="44"/>
                </a:cubicBezTo>
                <a:close/>
                <a:moveTo>
                  <a:pt x="488" y="29"/>
                </a:moveTo>
                <a:cubicBezTo>
                  <a:pt x="489" y="30"/>
                  <a:pt x="486" y="30"/>
                  <a:pt x="486" y="29"/>
                </a:cubicBezTo>
                <a:cubicBezTo>
                  <a:pt x="486" y="28"/>
                  <a:pt x="488" y="28"/>
                  <a:pt x="488" y="29"/>
                </a:cubicBezTo>
                <a:close/>
                <a:moveTo>
                  <a:pt x="487" y="31"/>
                </a:moveTo>
                <a:cubicBezTo>
                  <a:pt x="487" y="31"/>
                  <a:pt x="488" y="31"/>
                  <a:pt x="488" y="31"/>
                </a:cubicBezTo>
                <a:cubicBezTo>
                  <a:pt x="489" y="32"/>
                  <a:pt x="487" y="32"/>
                  <a:pt x="487" y="31"/>
                </a:cubicBezTo>
                <a:close/>
                <a:moveTo>
                  <a:pt x="488" y="40"/>
                </a:moveTo>
                <a:cubicBezTo>
                  <a:pt x="488" y="41"/>
                  <a:pt x="487" y="41"/>
                  <a:pt x="486" y="41"/>
                </a:cubicBezTo>
                <a:cubicBezTo>
                  <a:pt x="486" y="40"/>
                  <a:pt x="487" y="40"/>
                  <a:pt x="488" y="40"/>
                </a:cubicBezTo>
                <a:close/>
                <a:moveTo>
                  <a:pt x="484" y="41"/>
                </a:moveTo>
                <a:cubicBezTo>
                  <a:pt x="485" y="42"/>
                  <a:pt x="483" y="42"/>
                  <a:pt x="483" y="42"/>
                </a:cubicBezTo>
                <a:cubicBezTo>
                  <a:pt x="483" y="41"/>
                  <a:pt x="484" y="41"/>
                  <a:pt x="484" y="41"/>
                </a:cubicBezTo>
                <a:close/>
                <a:moveTo>
                  <a:pt x="483" y="38"/>
                </a:moveTo>
                <a:cubicBezTo>
                  <a:pt x="482" y="37"/>
                  <a:pt x="484" y="38"/>
                  <a:pt x="483" y="38"/>
                </a:cubicBezTo>
                <a:close/>
                <a:moveTo>
                  <a:pt x="483" y="51"/>
                </a:moveTo>
                <a:cubicBezTo>
                  <a:pt x="485" y="47"/>
                  <a:pt x="492" y="43"/>
                  <a:pt x="496" y="48"/>
                </a:cubicBezTo>
                <a:cubicBezTo>
                  <a:pt x="496" y="49"/>
                  <a:pt x="494" y="53"/>
                  <a:pt x="493" y="53"/>
                </a:cubicBezTo>
                <a:cubicBezTo>
                  <a:pt x="493" y="53"/>
                  <a:pt x="491" y="53"/>
                  <a:pt x="490" y="53"/>
                </a:cubicBezTo>
                <a:cubicBezTo>
                  <a:pt x="490" y="53"/>
                  <a:pt x="490" y="54"/>
                  <a:pt x="489" y="54"/>
                </a:cubicBezTo>
                <a:cubicBezTo>
                  <a:pt x="488" y="54"/>
                  <a:pt x="485" y="54"/>
                  <a:pt x="483" y="54"/>
                </a:cubicBezTo>
                <a:cubicBezTo>
                  <a:pt x="483" y="54"/>
                  <a:pt x="483" y="54"/>
                  <a:pt x="482" y="54"/>
                </a:cubicBezTo>
                <a:cubicBezTo>
                  <a:pt x="482" y="53"/>
                  <a:pt x="483" y="52"/>
                  <a:pt x="483" y="51"/>
                </a:cubicBezTo>
                <a:close/>
                <a:moveTo>
                  <a:pt x="482" y="56"/>
                </a:moveTo>
                <a:cubicBezTo>
                  <a:pt x="483" y="57"/>
                  <a:pt x="480" y="57"/>
                  <a:pt x="480" y="57"/>
                </a:cubicBezTo>
                <a:cubicBezTo>
                  <a:pt x="479" y="55"/>
                  <a:pt x="482" y="55"/>
                  <a:pt x="482" y="56"/>
                </a:cubicBezTo>
                <a:close/>
                <a:moveTo>
                  <a:pt x="479" y="43"/>
                </a:moveTo>
                <a:cubicBezTo>
                  <a:pt x="479" y="45"/>
                  <a:pt x="475" y="45"/>
                  <a:pt x="474" y="44"/>
                </a:cubicBezTo>
                <a:cubicBezTo>
                  <a:pt x="474" y="43"/>
                  <a:pt x="478" y="42"/>
                  <a:pt x="479" y="43"/>
                </a:cubicBezTo>
                <a:close/>
                <a:moveTo>
                  <a:pt x="473" y="28"/>
                </a:moveTo>
                <a:cubicBezTo>
                  <a:pt x="472" y="28"/>
                  <a:pt x="474" y="28"/>
                  <a:pt x="473" y="28"/>
                </a:cubicBezTo>
                <a:close/>
                <a:moveTo>
                  <a:pt x="471" y="33"/>
                </a:moveTo>
                <a:cubicBezTo>
                  <a:pt x="471" y="34"/>
                  <a:pt x="470" y="34"/>
                  <a:pt x="469" y="34"/>
                </a:cubicBezTo>
                <a:cubicBezTo>
                  <a:pt x="469" y="33"/>
                  <a:pt x="471" y="32"/>
                  <a:pt x="471" y="33"/>
                </a:cubicBezTo>
                <a:close/>
                <a:moveTo>
                  <a:pt x="467" y="32"/>
                </a:moveTo>
                <a:cubicBezTo>
                  <a:pt x="469" y="31"/>
                  <a:pt x="470" y="33"/>
                  <a:pt x="467" y="32"/>
                </a:cubicBezTo>
                <a:close/>
                <a:moveTo>
                  <a:pt x="467" y="46"/>
                </a:moveTo>
                <a:cubicBezTo>
                  <a:pt x="468" y="44"/>
                  <a:pt x="469" y="47"/>
                  <a:pt x="467" y="46"/>
                </a:cubicBezTo>
                <a:close/>
                <a:moveTo>
                  <a:pt x="467" y="52"/>
                </a:moveTo>
                <a:cubicBezTo>
                  <a:pt x="466" y="52"/>
                  <a:pt x="468" y="53"/>
                  <a:pt x="467" y="52"/>
                </a:cubicBezTo>
                <a:close/>
                <a:moveTo>
                  <a:pt x="467" y="30"/>
                </a:moveTo>
                <a:cubicBezTo>
                  <a:pt x="467" y="30"/>
                  <a:pt x="468" y="31"/>
                  <a:pt x="467" y="31"/>
                </a:cubicBezTo>
                <a:cubicBezTo>
                  <a:pt x="465" y="31"/>
                  <a:pt x="467" y="28"/>
                  <a:pt x="467" y="30"/>
                </a:cubicBezTo>
                <a:close/>
                <a:moveTo>
                  <a:pt x="468" y="38"/>
                </a:moveTo>
                <a:cubicBezTo>
                  <a:pt x="468" y="39"/>
                  <a:pt x="466" y="40"/>
                  <a:pt x="465" y="39"/>
                </a:cubicBezTo>
                <a:cubicBezTo>
                  <a:pt x="465" y="38"/>
                  <a:pt x="467" y="37"/>
                  <a:pt x="468" y="38"/>
                </a:cubicBezTo>
                <a:close/>
                <a:moveTo>
                  <a:pt x="464" y="49"/>
                </a:moveTo>
                <a:cubicBezTo>
                  <a:pt x="463" y="50"/>
                  <a:pt x="462" y="48"/>
                  <a:pt x="462" y="49"/>
                </a:cubicBezTo>
                <a:cubicBezTo>
                  <a:pt x="460" y="46"/>
                  <a:pt x="468" y="49"/>
                  <a:pt x="464" y="49"/>
                </a:cubicBezTo>
                <a:close/>
                <a:moveTo>
                  <a:pt x="463" y="51"/>
                </a:moveTo>
                <a:cubicBezTo>
                  <a:pt x="463" y="51"/>
                  <a:pt x="464" y="51"/>
                  <a:pt x="464" y="51"/>
                </a:cubicBezTo>
                <a:cubicBezTo>
                  <a:pt x="465" y="52"/>
                  <a:pt x="464" y="51"/>
                  <a:pt x="463" y="51"/>
                </a:cubicBezTo>
                <a:close/>
                <a:moveTo>
                  <a:pt x="447" y="79"/>
                </a:moveTo>
                <a:cubicBezTo>
                  <a:pt x="448" y="79"/>
                  <a:pt x="446" y="80"/>
                  <a:pt x="446" y="80"/>
                </a:cubicBezTo>
                <a:cubicBezTo>
                  <a:pt x="446" y="79"/>
                  <a:pt x="446" y="79"/>
                  <a:pt x="447" y="79"/>
                </a:cubicBezTo>
                <a:close/>
                <a:moveTo>
                  <a:pt x="446" y="189"/>
                </a:moveTo>
                <a:cubicBezTo>
                  <a:pt x="446" y="188"/>
                  <a:pt x="448" y="188"/>
                  <a:pt x="448" y="189"/>
                </a:cubicBezTo>
                <a:cubicBezTo>
                  <a:pt x="448" y="190"/>
                  <a:pt x="446" y="190"/>
                  <a:pt x="446" y="189"/>
                </a:cubicBezTo>
                <a:close/>
                <a:moveTo>
                  <a:pt x="449" y="610"/>
                </a:moveTo>
                <a:cubicBezTo>
                  <a:pt x="448" y="610"/>
                  <a:pt x="447" y="610"/>
                  <a:pt x="446" y="610"/>
                </a:cubicBezTo>
                <a:cubicBezTo>
                  <a:pt x="447" y="609"/>
                  <a:pt x="448" y="609"/>
                  <a:pt x="449" y="610"/>
                </a:cubicBezTo>
                <a:close/>
                <a:moveTo>
                  <a:pt x="447" y="145"/>
                </a:moveTo>
                <a:cubicBezTo>
                  <a:pt x="446" y="146"/>
                  <a:pt x="445" y="145"/>
                  <a:pt x="447" y="145"/>
                </a:cubicBezTo>
                <a:close/>
                <a:moveTo>
                  <a:pt x="447" y="126"/>
                </a:moveTo>
                <a:cubicBezTo>
                  <a:pt x="447" y="126"/>
                  <a:pt x="446" y="127"/>
                  <a:pt x="446" y="127"/>
                </a:cubicBezTo>
                <a:cubicBezTo>
                  <a:pt x="446" y="127"/>
                  <a:pt x="446" y="126"/>
                  <a:pt x="447" y="126"/>
                </a:cubicBezTo>
                <a:close/>
                <a:moveTo>
                  <a:pt x="446" y="180"/>
                </a:moveTo>
                <a:cubicBezTo>
                  <a:pt x="446" y="184"/>
                  <a:pt x="439" y="183"/>
                  <a:pt x="438" y="180"/>
                </a:cubicBezTo>
                <a:cubicBezTo>
                  <a:pt x="438" y="178"/>
                  <a:pt x="446" y="176"/>
                  <a:pt x="446" y="180"/>
                </a:cubicBezTo>
                <a:close/>
                <a:moveTo>
                  <a:pt x="441" y="175"/>
                </a:moveTo>
                <a:cubicBezTo>
                  <a:pt x="441" y="173"/>
                  <a:pt x="444" y="173"/>
                  <a:pt x="444" y="174"/>
                </a:cubicBezTo>
                <a:cubicBezTo>
                  <a:pt x="445" y="176"/>
                  <a:pt x="442" y="176"/>
                  <a:pt x="441" y="175"/>
                </a:cubicBezTo>
                <a:close/>
                <a:moveTo>
                  <a:pt x="446" y="135"/>
                </a:moveTo>
                <a:cubicBezTo>
                  <a:pt x="444" y="136"/>
                  <a:pt x="441" y="137"/>
                  <a:pt x="440" y="136"/>
                </a:cubicBezTo>
                <a:cubicBezTo>
                  <a:pt x="442" y="136"/>
                  <a:pt x="444" y="134"/>
                  <a:pt x="446" y="135"/>
                </a:cubicBezTo>
                <a:close/>
                <a:moveTo>
                  <a:pt x="443" y="79"/>
                </a:moveTo>
                <a:cubicBezTo>
                  <a:pt x="444" y="78"/>
                  <a:pt x="445" y="80"/>
                  <a:pt x="443" y="79"/>
                </a:cubicBezTo>
                <a:close/>
                <a:moveTo>
                  <a:pt x="443" y="79"/>
                </a:moveTo>
                <a:cubicBezTo>
                  <a:pt x="442" y="80"/>
                  <a:pt x="440" y="81"/>
                  <a:pt x="439" y="81"/>
                </a:cubicBezTo>
                <a:cubicBezTo>
                  <a:pt x="439" y="79"/>
                  <a:pt x="441" y="80"/>
                  <a:pt x="443" y="79"/>
                </a:cubicBezTo>
                <a:close/>
                <a:moveTo>
                  <a:pt x="438" y="137"/>
                </a:moveTo>
                <a:cubicBezTo>
                  <a:pt x="439" y="137"/>
                  <a:pt x="437" y="138"/>
                  <a:pt x="437" y="138"/>
                </a:cubicBezTo>
                <a:cubicBezTo>
                  <a:pt x="437" y="138"/>
                  <a:pt x="438" y="137"/>
                  <a:pt x="438" y="137"/>
                </a:cubicBezTo>
                <a:close/>
                <a:moveTo>
                  <a:pt x="437" y="228"/>
                </a:moveTo>
                <a:cubicBezTo>
                  <a:pt x="436" y="229"/>
                  <a:pt x="433" y="230"/>
                  <a:pt x="432" y="232"/>
                </a:cubicBezTo>
                <a:cubicBezTo>
                  <a:pt x="433" y="230"/>
                  <a:pt x="435" y="229"/>
                  <a:pt x="437" y="228"/>
                </a:cubicBezTo>
                <a:close/>
                <a:moveTo>
                  <a:pt x="431" y="647"/>
                </a:moveTo>
                <a:cubicBezTo>
                  <a:pt x="432" y="648"/>
                  <a:pt x="430" y="646"/>
                  <a:pt x="431" y="647"/>
                </a:cubicBezTo>
                <a:close/>
                <a:moveTo>
                  <a:pt x="430" y="190"/>
                </a:move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lose/>
                <a:moveTo>
                  <a:pt x="430" y="233"/>
                </a:moveTo>
                <a:cubicBezTo>
                  <a:pt x="428" y="236"/>
                  <a:pt x="427" y="233"/>
                  <a:pt x="430" y="233"/>
                </a:cubicBezTo>
                <a:close/>
                <a:moveTo>
                  <a:pt x="430" y="647"/>
                </a:moveTo>
                <a:cubicBezTo>
                  <a:pt x="430" y="648"/>
                  <a:pt x="428" y="648"/>
                  <a:pt x="428" y="648"/>
                </a:cubicBezTo>
                <a:cubicBezTo>
                  <a:pt x="428" y="647"/>
                  <a:pt x="429" y="647"/>
                  <a:pt x="430" y="647"/>
                </a:cubicBezTo>
                <a:close/>
                <a:moveTo>
                  <a:pt x="427" y="105"/>
                </a:moveTo>
                <a:cubicBezTo>
                  <a:pt x="426" y="104"/>
                  <a:pt x="428" y="106"/>
                  <a:pt x="427" y="105"/>
                </a:cubicBezTo>
                <a:close/>
                <a:moveTo>
                  <a:pt x="426" y="572"/>
                </a:moveTo>
                <a:cubicBezTo>
                  <a:pt x="427" y="571"/>
                  <a:pt x="427" y="574"/>
                  <a:pt x="426" y="573"/>
                </a:cubicBezTo>
                <a:cubicBezTo>
                  <a:pt x="426" y="573"/>
                  <a:pt x="426" y="572"/>
                  <a:pt x="426" y="572"/>
                </a:cubicBezTo>
                <a:close/>
                <a:moveTo>
                  <a:pt x="424" y="210"/>
                </a:moveTo>
                <a:cubicBezTo>
                  <a:pt x="425" y="209"/>
                  <a:pt x="426" y="211"/>
                  <a:pt x="424" y="210"/>
                </a:cubicBezTo>
                <a:close/>
                <a:moveTo>
                  <a:pt x="422" y="80"/>
                </a:moveTo>
                <a:cubicBezTo>
                  <a:pt x="423" y="81"/>
                  <a:pt x="421" y="81"/>
                  <a:pt x="420" y="81"/>
                </a:cubicBezTo>
                <a:cubicBezTo>
                  <a:pt x="420" y="80"/>
                  <a:pt x="422" y="80"/>
                  <a:pt x="422" y="80"/>
                </a:cubicBezTo>
                <a:close/>
                <a:moveTo>
                  <a:pt x="423" y="85"/>
                </a:moveTo>
                <a:cubicBezTo>
                  <a:pt x="423" y="85"/>
                  <a:pt x="420" y="86"/>
                  <a:pt x="420" y="85"/>
                </a:cubicBezTo>
                <a:cubicBezTo>
                  <a:pt x="419" y="85"/>
                  <a:pt x="424" y="83"/>
                  <a:pt x="423" y="85"/>
                </a:cubicBezTo>
                <a:close/>
                <a:moveTo>
                  <a:pt x="421" y="667"/>
                </a:moveTo>
                <a:cubicBezTo>
                  <a:pt x="423" y="666"/>
                  <a:pt x="422" y="668"/>
                  <a:pt x="421" y="667"/>
                </a:cubicBezTo>
                <a:close/>
                <a:moveTo>
                  <a:pt x="419" y="54"/>
                </a:moveTo>
                <a:cubicBezTo>
                  <a:pt x="420" y="54"/>
                  <a:pt x="419" y="55"/>
                  <a:pt x="419" y="55"/>
                </a:cubicBezTo>
                <a:cubicBezTo>
                  <a:pt x="418" y="55"/>
                  <a:pt x="418" y="54"/>
                  <a:pt x="419" y="54"/>
                </a:cubicBezTo>
                <a:close/>
                <a:moveTo>
                  <a:pt x="419" y="61"/>
                </a:moveTo>
                <a:cubicBezTo>
                  <a:pt x="419" y="61"/>
                  <a:pt x="417" y="61"/>
                  <a:pt x="417" y="60"/>
                </a:cubicBezTo>
                <a:cubicBezTo>
                  <a:pt x="417" y="60"/>
                  <a:pt x="418" y="60"/>
                  <a:pt x="419" y="61"/>
                </a:cubicBezTo>
                <a:close/>
                <a:moveTo>
                  <a:pt x="411" y="63"/>
                </a:moveTo>
                <a:cubicBezTo>
                  <a:pt x="411" y="63"/>
                  <a:pt x="410" y="64"/>
                  <a:pt x="410" y="63"/>
                </a:cubicBezTo>
                <a:cubicBezTo>
                  <a:pt x="409" y="63"/>
                  <a:pt x="411" y="62"/>
                  <a:pt x="411" y="63"/>
                </a:cubicBezTo>
                <a:close/>
                <a:moveTo>
                  <a:pt x="408" y="93"/>
                </a:moveTo>
                <a:cubicBezTo>
                  <a:pt x="408" y="94"/>
                  <a:pt x="407" y="94"/>
                  <a:pt x="407" y="94"/>
                </a:cubicBezTo>
                <a:cubicBezTo>
                  <a:pt x="406" y="93"/>
                  <a:pt x="408" y="93"/>
                  <a:pt x="408" y="93"/>
                </a:cubicBezTo>
                <a:close/>
                <a:moveTo>
                  <a:pt x="406" y="125"/>
                </a:moveTo>
                <a:cubicBezTo>
                  <a:pt x="406" y="126"/>
                  <a:pt x="404" y="125"/>
                  <a:pt x="406" y="125"/>
                </a:cubicBezTo>
                <a:close/>
                <a:moveTo>
                  <a:pt x="405" y="97"/>
                </a:moveTo>
                <a:cubicBezTo>
                  <a:pt x="404" y="97"/>
                  <a:pt x="404" y="97"/>
                  <a:pt x="404" y="96"/>
                </a:cubicBezTo>
                <a:cubicBezTo>
                  <a:pt x="403" y="95"/>
                  <a:pt x="406" y="97"/>
                  <a:pt x="405" y="97"/>
                </a:cubicBezTo>
                <a:close/>
                <a:moveTo>
                  <a:pt x="408" y="154"/>
                </a:moveTo>
                <a:cubicBezTo>
                  <a:pt x="406" y="156"/>
                  <a:pt x="402" y="158"/>
                  <a:pt x="399" y="158"/>
                </a:cubicBezTo>
                <a:cubicBezTo>
                  <a:pt x="402" y="157"/>
                  <a:pt x="405" y="156"/>
                  <a:pt x="408" y="154"/>
                </a:cubicBezTo>
                <a:close/>
                <a:moveTo>
                  <a:pt x="399" y="122"/>
                </a:moveTo>
                <a:cubicBezTo>
                  <a:pt x="399" y="122"/>
                  <a:pt x="400" y="121"/>
                  <a:pt x="400" y="122"/>
                </a:cubicBezTo>
                <a:cubicBezTo>
                  <a:pt x="400" y="122"/>
                  <a:pt x="400" y="123"/>
                  <a:pt x="399" y="122"/>
                </a:cubicBezTo>
                <a:close/>
                <a:moveTo>
                  <a:pt x="401" y="71"/>
                </a:moveTo>
                <a:cubicBezTo>
                  <a:pt x="402" y="72"/>
                  <a:pt x="400" y="73"/>
                  <a:pt x="399" y="72"/>
                </a:cubicBezTo>
                <a:cubicBezTo>
                  <a:pt x="399" y="71"/>
                  <a:pt x="401" y="70"/>
                  <a:pt x="401" y="71"/>
                </a:cubicBezTo>
                <a:close/>
                <a:moveTo>
                  <a:pt x="399" y="97"/>
                </a:moveTo>
                <a:cubicBezTo>
                  <a:pt x="399" y="97"/>
                  <a:pt x="398" y="98"/>
                  <a:pt x="397" y="97"/>
                </a:cubicBezTo>
                <a:cubicBezTo>
                  <a:pt x="398" y="97"/>
                  <a:pt x="398" y="97"/>
                  <a:pt x="399" y="97"/>
                </a:cubicBezTo>
                <a:close/>
                <a:moveTo>
                  <a:pt x="398" y="160"/>
                </a:moveTo>
                <a:cubicBezTo>
                  <a:pt x="398" y="160"/>
                  <a:pt x="398" y="159"/>
                  <a:pt x="399" y="159"/>
                </a:cubicBezTo>
                <a:cubicBezTo>
                  <a:pt x="399" y="159"/>
                  <a:pt x="398" y="160"/>
                  <a:pt x="398" y="160"/>
                </a:cubicBezTo>
                <a:close/>
                <a:moveTo>
                  <a:pt x="398" y="169"/>
                </a:moveTo>
                <a:cubicBezTo>
                  <a:pt x="399" y="170"/>
                  <a:pt x="397" y="171"/>
                  <a:pt x="397" y="170"/>
                </a:cubicBezTo>
                <a:cubicBezTo>
                  <a:pt x="397" y="169"/>
                  <a:pt x="398" y="169"/>
                  <a:pt x="398" y="169"/>
                </a:cubicBezTo>
                <a:close/>
                <a:moveTo>
                  <a:pt x="397" y="159"/>
                </a:moveTo>
                <a:cubicBezTo>
                  <a:pt x="397" y="160"/>
                  <a:pt x="395" y="162"/>
                  <a:pt x="395" y="161"/>
                </a:cubicBezTo>
                <a:cubicBezTo>
                  <a:pt x="395" y="160"/>
                  <a:pt x="397" y="160"/>
                  <a:pt x="397" y="159"/>
                </a:cubicBezTo>
                <a:close/>
                <a:moveTo>
                  <a:pt x="395" y="78"/>
                </a:moveTo>
                <a:cubicBezTo>
                  <a:pt x="395" y="78"/>
                  <a:pt x="394" y="78"/>
                  <a:pt x="394" y="78"/>
                </a:cubicBezTo>
                <a:cubicBezTo>
                  <a:pt x="393" y="78"/>
                  <a:pt x="395" y="78"/>
                  <a:pt x="395" y="78"/>
                </a:cubicBezTo>
                <a:close/>
                <a:moveTo>
                  <a:pt x="392" y="104"/>
                </a:moveTo>
                <a:cubicBezTo>
                  <a:pt x="393" y="106"/>
                  <a:pt x="390" y="105"/>
                  <a:pt x="390" y="104"/>
                </a:cubicBezTo>
                <a:cubicBezTo>
                  <a:pt x="390" y="102"/>
                  <a:pt x="392" y="103"/>
                  <a:pt x="392" y="104"/>
                </a:cubicBezTo>
                <a:close/>
                <a:moveTo>
                  <a:pt x="388" y="79"/>
                </a:moveTo>
                <a:cubicBezTo>
                  <a:pt x="387" y="80"/>
                  <a:pt x="386" y="79"/>
                  <a:pt x="385" y="80"/>
                </a:cubicBezTo>
                <a:cubicBezTo>
                  <a:pt x="385" y="79"/>
                  <a:pt x="387" y="79"/>
                  <a:pt x="388" y="79"/>
                </a:cubicBezTo>
                <a:close/>
                <a:moveTo>
                  <a:pt x="385" y="112"/>
                </a:moveTo>
                <a:cubicBezTo>
                  <a:pt x="385" y="112"/>
                  <a:pt x="387" y="111"/>
                  <a:pt x="387" y="112"/>
                </a:cubicBezTo>
                <a:cubicBezTo>
                  <a:pt x="388" y="114"/>
                  <a:pt x="384" y="114"/>
                  <a:pt x="385" y="112"/>
                </a:cubicBezTo>
                <a:close/>
                <a:moveTo>
                  <a:pt x="382" y="113"/>
                </a:moveTo>
                <a:cubicBezTo>
                  <a:pt x="384" y="111"/>
                  <a:pt x="385" y="114"/>
                  <a:pt x="382" y="113"/>
                </a:cubicBezTo>
                <a:close/>
                <a:moveTo>
                  <a:pt x="379" y="110"/>
                </a:moveTo>
                <a:cubicBezTo>
                  <a:pt x="380" y="111"/>
                  <a:pt x="376" y="111"/>
                  <a:pt x="376" y="110"/>
                </a:cubicBezTo>
                <a:cubicBezTo>
                  <a:pt x="375" y="109"/>
                  <a:pt x="378" y="108"/>
                  <a:pt x="379" y="110"/>
                </a:cubicBezTo>
                <a:close/>
                <a:moveTo>
                  <a:pt x="379" y="80"/>
                </a:moveTo>
                <a:cubicBezTo>
                  <a:pt x="379" y="80"/>
                  <a:pt x="377" y="81"/>
                  <a:pt x="377" y="81"/>
                </a:cubicBezTo>
                <a:cubicBezTo>
                  <a:pt x="377" y="80"/>
                  <a:pt x="378" y="80"/>
                  <a:pt x="379" y="80"/>
                </a:cubicBezTo>
                <a:close/>
                <a:moveTo>
                  <a:pt x="376" y="81"/>
                </a:moveTo>
                <a:cubicBezTo>
                  <a:pt x="375" y="81"/>
                  <a:pt x="374" y="81"/>
                  <a:pt x="374" y="81"/>
                </a:cubicBezTo>
                <a:cubicBezTo>
                  <a:pt x="373" y="81"/>
                  <a:pt x="375" y="81"/>
                  <a:pt x="376" y="81"/>
                </a:cubicBezTo>
                <a:close/>
                <a:moveTo>
                  <a:pt x="372" y="76"/>
                </a:moveTo>
                <a:cubicBezTo>
                  <a:pt x="372" y="76"/>
                  <a:pt x="372" y="76"/>
                  <a:pt x="372" y="76"/>
                </a:cubicBezTo>
                <a:cubicBezTo>
                  <a:pt x="372" y="76"/>
                  <a:pt x="371" y="76"/>
                  <a:pt x="371" y="76"/>
                </a:cubicBezTo>
                <a:cubicBezTo>
                  <a:pt x="371" y="76"/>
                  <a:pt x="371" y="76"/>
                  <a:pt x="372" y="76"/>
                </a:cubicBezTo>
                <a:close/>
                <a:moveTo>
                  <a:pt x="363" y="95"/>
                </a:moveTo>
                <a:cubicBezTo>
                  <a:pt x="362" y="96"/>
                  <a:pt x="361" y="94"/>
                  <a:pt x="363" y="95"/>
                </a:cubicBezTo>
                <a:close/>
                <a:moveTo>
                  <a:pt x="362" y="110"/>
                </a:moveTo>
                <a:cubicBezTo>
                  <a:pt x="362" y="112"/>
                  <a:pt x="358" y="112"/>
                  <a:pt x="357" y="111"/>
                </a:cubicBezTo>
                <a:cubicBezTo>
                  <a:pt x="357" y="111"/>
                  <a:pt x="357" y="111"/>
                  <a:pt x="356" y="110"/>
                </a:cubicBezTo>
                <a:cubicBezTo>
                  <a:pt x="357" y="111"/>
                  <a:pt x="355" y="112"/>
                  <a:pt x="355" y="111"/>
                </a:cubicBezTo>
                <a:cubicBezTo>
                  <a:pt x="354" y="110"/>
                  <a:pt x="363" y="106"/>
                  <a:pt x="362" y="110"/>
                </a:cubicBezTo>
                <a:close/>
                <a:moveTo>
                  <a:pt x="357" y="127"/>
                </a:moveTo>
                <a:cubicBezTo>
                  <a:pt x="362" y="124"/>
                  <a:pt x="368" y="124"/>
                  <a:pt x="374" y="121"/>
                </a:cubicBezTo>
                <a:cubicBezTo>
                  <a:pt x="379" y="119"/>
                  <a:pt x="384" y="116"/>
                  <a:pt x="389" y="116"/>
                </a:cubicBezTo>
                <a:cubicBezTo>
                  <a:pt x="389" y="116"/>
                  <a:pt x="390" y="117"/>
                  <a:pt x="390" y="117"/>
                </a:cubicBezTo>
                <a:cubicBezTo>
                  <a:pt x="390" y="118"/>
                  <a:pt x="381" y="121"/>
                  <a:pt x="378" y="122"/>
                </a:cubicBezTo>
                <a:cubicBezTo>
                  <a:pt x="373" y="123"/>
                  <a:pt x="369" y="124"/>
                  <a:pt x="364" y="125"/>
                </a:cubicBezTo>
                <a:cubicBezTo>
                  <a:pt x="363" y="126"/>
                  <a:pt x="357" y="129"/>
                  <a:pt x="355" y="129"/>
                </a:cubicBezTo>
                <a:cubicBezTo>
                  <a:pt x="352" y="129"/>
                  <a:pt x="356" y="127"/>
                  <a:pt x="357" y="127"/>
                </a:cubicBezTo>
                <a:close/>
                <a:moveTo>
                  <a:pt x="357" y="587"/>
                </a:moveTo>
                <a:cubicBezTo>
                  <a:pt x="365" y="583"/>
                  <a:pt x="375" y="580"/>
                  <a:pt x="384" y="576"/>
                </a:cubicBezTo>
                <a:cubicBezTo>
                  <a:pt x="385" y="576"/>
                  <a:pt x="387" y="575"/>
                  <a:pt x="387" y="576"/>
                </a:cubicBezTo>
                <a:cubicBezTo>
                  <a:pt x="388" y="577"/>
                  <a:pt x="384" y="578"/>
                  <a:pt x="386" y="577"/>
                </a:cubicBezTo>
                <a:cubicBezTo>
                  <a:pt x="377" y="581"/>
                  <a:pt x="366" y="585"/>
                  <a:pt x="357" y="587"/>
                </a:cubicBezTo>
                <a:close/>
                <a:moveTo>
                  <a:pt x="376" y="609"/>
                </a:moveTo>
                <a:cubicBezTo>
                  <a:pt x="376" y="610"/>
                  <a:pt x="374" y="610"/>
                  <a:pt x="374" y="610"/>
                </a:cubicBezTo>
                <a:cubicBezTo>
                  <a:pt x="373" y="609"/>
                  <a:pt x="376" y="608"/>
                  <a:pt x="376" y="609"/>
                </a:cubicBezTo>
                <a:close/>
                <a:moveTo>
                  <a:pt x="374" y="600"/>
                </a:moveTo>
                <a:cubicBezTo>
                  <a:pt x="373" y="599"/>
                  <a:pt x="375" y="599"/>
                  <a:pt x="375" y="600"/>
                </a:cubicBezTo>
                <a:cubicBezTo>
                  <a:pt x="375" y="601"/>
                  <a:pt x="374" y="600"/>
                  <a:pt x="374" y="600"/>
                </a:cubicBezTo>
                <a:close/>
                <a:moveTo>
                  <a:pt x="372" y="610"/>
                </a:moveTo>
                <a:cubicBezTo>
                  <a:pt x="371" y="610"/>
                  <a:pt x="373" y="609"/>
                  <a:pt x="373" y="610"/>
                </a:cubicBezTo>
                <a:cubicBezTo>
                  <a:pt x="373" y="610"/>
                  <a:pt x="373" y="611"/>
                  <a:pt x="372" y="610"/>
                </a:cubicBezTo>
                <a:close/>
                <a:moveTo>
                  <a:pt x="364" y="137"/>
                </a:moveTo>
                <a:cubicBezTo>
                  <a:pt x="364" y="138"/>
                  <a:pt x="364" y="137"/>
                  <a:pt x="363" y="138"/>
                </a:cubicBezTo>
                <a:cubicBezTo>
                  <a:pt x="363" y="137"/>
                  <a:pt x="364" y="137"/>
                  <a:pt x="364" y="137"/>
                </a:cubicBezTo>
                <a:close/>
                <a:moveTo>
                  <a:pt x="376" y="167"/>
                </a:moveTo>
                <a:cubicBezTo>
                  <a:pt x="377" y="168"/>
                  <a:pt x="373" y="170"/>
                  <a:pt x="371" y="170"/>
                </a:cubicBezTo>
                <a:cubicBezTo>
                  <a:pt x="371" y="170"/>
                  <a:pt x="368" y="169"/>
                  <a:pt x="367" y="169"/>
                </a:cubicBezTo>
                <a:cubicBezTo>
                  <a:pt x="367" y="168"/>
                  <a:pt x="371" y="165"/>
                  <a:pt x="373" y="168"/>
                </a:cubicBezTo>
                <a:cubicBezTo>
                  <a:pt x="373" y="168"/>
                  <a:pt x="373" y="169"/>
                  <a:pt x="373" y="169"/>
                </a:cubicBezTo>
                <a:cubicBezTo>
                  <a:pt x="374" y="169"/>
                  <a:pt x="375" y="168"/>
                  <a:pt x="376" y="167"/>
                </a:cubicBezTo>
                <a:close/>
                <a:moveTo>
                  <a:pt x="369" y="576"/>
                </a:moveTo>
                <a:cubicBezTo>
                  <a:pt x="369" y="574"/>
                  <a:pt x="371" y="574"/>
                  <a:pt x="369" y="576"/>
                </a:cubicBezTo>
                <a:close/>
                <a:moveTo>
                  <a:pt x="368" y="211"/>
                </a:moveTo>
                <a:cubicBezTo>
                  <a:pt x="367" y="211"/>
                  <a:pt x="368" y="209"/>
                  <a:pt x="369" y="210"/>
                </a:cubicBezTo>
                <a:cubicBezTo>
                  <a:pt x="369" y="210"/>
                  <a:pt x="368" y="211"/>
                  <a:pt x="368" y="211"/>
                </a:cubicBezTo>
                <a:close/>
                <a:moveTo>
                  <a:pt x="368" y="576"/>
                </a:moveTo>
                <a:cubicBezTo>
                  <a:pt x="370" y="575"/>
                  <a:pt x="366" y="578"/>
                  <a:pt x="368" y="576"/>
                </a:cubicBezTo>
                <a:close/>
                <a:moveTo>
                  <a:pt x="379" y="184"/>
                </a:moveTo>
                <a:cubicBezTo>
                  <a:pt x="379" y="183"/>
                  <a:pt x="380" y="182"/>
                  <a:pt x="380" y="183"/>
                </a:cubicBezTo>
                <a:cubicBezTo>
                  <a:pt x="380" y="184"/>
                  <a:pt x="379" y="184"/>
                  <a:pt x="379" y="184"/>
                </a:cubicBezTo>
                <a:close/>
                <a:moveTo>
                  <a:pt x="356" y="609"/>
                </a:moveTo>
                <a:cubicBezTo>
                  <a:pt x="355" y="611"/>
                  <a:pt x="353" y="609"/>
                  <a:pt x="356" y="609"/>
                </a:cubicBezTo>
                <a:close/>
                <a:moveTo>
                  <a:pt x="354" y="556"/>
                </a:moveTo>
                <a:cubicBezTo>
                  <a:pt x="353" y="557"/>
                  <a:pt x="352" y="555"/>
                  <a:pt x="354" y="556"/>
                </a:cubicBezTo>
                <a:close/>
                <a:moveTo>
                  <a:pt x="352" y="532"/>
                </a:moveTo>
                <a:cubicBezTo>
                  <a:pt x="354" y="530"/>
                  <a:pt x="354" y="533"/>
                  <a:pt x="352" y="532"/>
                </a:cubicBezTo>
                <a:close/>
                <a:moveTo>
                  <a:pt x="354" y="674"/>
                </a:moveTo>
                <a:cubicBezTo>
                  <a:pt x="354" y="673"/>
                  <a:pt x="355" y="673"/>
                  <a:pt x="355" y="673"/>
                </a:cubicBezTo>
                <a:cubicBezTo>
                  <a:pt x="355" y="674"/>
                  <a:pt x="354" y="674"/>
                  <a:pt x="354" y="674"/>
                </a:cubicBezTo>
                <a:close/>
                <a:moveTo>
                  <a:pt x="357" y="697"/>
                </a:moveTo>
                <a:cubicBezTo>
                  <a:pt x="357" y="696"/>
                  <a:pt x="359" y="695"/>
                  <a:pt x="359" y="696"/>
                </a:cubicBezTo>
                <a:cubicBezTo>
                  <a:pt x="359" y="697"/>
                  <a:pt x="357" y="698"/>
                  <a:pt x="357" y="697"/>
                </a:cubicBezTo>
                <a:close/>
                <a:moveTo>
                  <a:pt x="357" y="671"/>
                </a:moveTo>
                <a:cubicBezTo>
                  <a:pt x="358" y="671"/>
                  <a:pt x="358" y="671"/>
                  <a:pt x="358" y="672"/>
                </a:cubicBezTo>
                <a:cubicBezTo>
                  <a:pt x="358" y="673"/>
                  <a:pt x="356" y="671"/>
                  <a:pt x="357" y="671"/>
                </a:cubicBezTo>
                <a:close/>
                <a:moveTo>
                  <a:pt x="360" y="643"/>
                </a:moveTo>
                <a:cubicBezTo>
                  <a:pt x="360" y="642"/>
                  <a:pt x="362" y="643"/>
                  <a:pt x="360" y="643"/>
                </a:cubicBezTo>
                <a:close/>
                <a:moveTo>
                  <a:pt x="360" y="630"/>
                </a:moveTo>
                <a:cubicBezTo>
                  <a:pt x="358" y="633"/>
                  <a:pt x="350" y="631"/>
                  <a:pt x="351" y="627"/>
                </a:cubicBezTo>
                <a:cubicBezTo>
                  <a:pt x="352" y="621"/>
                  <a:pt x="365" y="624"/>
                  <a:pt x="360" y="630"/>
                </a:cubicBezTo>
                <a:close/>
                <a:moveTo>
                  <a:pt x="371" y="611"/>
                </a:moveTo>
                <a:cubicBezTo>
                  <a:pt x="368" y="612"/>
                  <a:pt x="365" y="612"/>
                  <a:pt x="362" y="613"/>
                </a:cubicBezTo>
                <a:cubicBezTo>
                  <a:pt x="364" y="612"/>
                  <a:pt x="368" y="611"/>
                  <a:pt x="371" y="611"/>
                </a:cubicBezTo>
                <a:close/>
                <a:moveTo>
                  <a:pt x="363" y="671"/>
                </a:moveTo>
                <a:cubicBezTo>
                  <a:pt x="363" y="671"/>
                  <a:pt x="364" y="671"/>
                  <a:pt x="365" y="671"/>
                </a:cubicBezTo>
                <a:cubicBezTo>
                  <a:pt x="364" y="672"/>
                  <a:pt x="363" y="672"/>
                  <a:pt x="363" y="671"/>
                </a:cubicBezTo>
                <a:close/>
                <a:moveTo>
                  <a:pt x="364" y="691"/>
                </a:moveTo>
                <a:cubicBezTo>
                  <a:pt x="364" y="690"/>
                  <a:pt x="365" y="691"/>
                  <a:pt x="365" y="691"/>
                </a:cubicBezTo>
                <a:cubicBezTo>
                  <a:pt x="366" y="691"/>
                  <a:pt x="364" y="691"/>
                  <a:pt x="364" y="691"/>
                </a:cubicBezTo>
                <a:close/>
                <a:moveTo>
                  <a:pt x="365" y="647"/>
                </a:moveTo>
                <a:cubicBezTo>
                  <a:pt x="365" y="646"/>
                  <a:pt x="366" y="646"/>
                  <a:pt x="366" y="646"/>
                </a:cubicBezTo>
                <a:cubicBezTo>
                  <a:pt x="367" y="647"/>
                  <a:pt x="365" y="647"/>
                  <a:pt x="365" y="647"/>
                </a:cubicBezTo>
                <a:close/>
                <a:moveTo>
                  <a:pt x="370" y="666"/>
                </a:moveTo>
                <a:cubicBezTo>
                  <a:pt x="370" y="664"/>
                  <a:pt x="373" y="665"/>
                  <a:pt x="372" y="666"/>
                </a:cubicBezTo>
                <a:cubicBezTo>
                  <a:pt x="372" y="667"/>
                  <a:pt x="370" y="667"/>
                  <a:pt x="370" y="666"/>
                </a:cubicBezTo>
                <a:close/>
                <a:moveTo>
                  <a:pt x="371" y="691"/>
                </a:moveTo>
                <a:cubicBezTo>
                  <a:pt x="372" y="690"/>
                  <a:pt x="373" y="691"/>
                  <a:pt x="374" y="691"/>
                </a:cubicBezTo>
                <a:cubicBezTo>
                  <a:pt x="374" y="692"/>
                  <a:pt x="372" y="691"/>
                  <a:pt x="371" y="691"/>
                </a:cubicBezTo>
                <a:close/>
                <a:moveTo>
                  <a:pt x="379" y="659"/>
                </a:moveTo>
                <a:cubicBezTo>
                  <a:pt x="379" y="658"/>
                  <a:pt x="377" y="660"/>
                  <a:pt x="377" y="658"/>
                </a:cubicBezTo>
                <a:cubicBezTo>
                  <a:pt x="376" y="657"/>
                  <a:pt x="380" y="657"/>
                  <a:pt x="379" y="659"/>
                </a:cubicBezTo>
                <a:close/>
                <a:moveTo>
                  <a:pt x="381" y="691"/>
                </a:moveTo>
                <a:cubicBezTo>
                  <a:pt x="380" y="691"/>
                  <a:pt x="382" y="690"/>
                  <a:pt x="383" y="691"/>
                </a:cubicBezTo>
                <a:cubicBezTo>
                  <a:pt x="382" y="691"/>
                  <a:pt x="381" y="691"/>
                  <a:pt x="381" y="691"/>
                </a:cubicBezTo>
                <a:close/>
                <a:moveTo>
                  <a:pt x="382" y="658"/>
                </a:moveTo>
                <a:cubicBezTo>
                  <a:pt x="380" y="659"/>
                  <a:pt x="379" y="657"/>
                  <a:pt x="382" y="658"/>
                </a:cubicBezTo>
                <a:close/>
                <a:moveTo>
                  <a:pt x="383" y="691"/>
                </a:moveTo>
                <a:cubicBezTo>
                  <a:pt x="384" y="691"/>
                  <a:pt x="385" y="691"/>
                  <a:pt x="386" y="691"/>
                </a:cubicBezTo>
                <a:cubicBezTo>
                  <a:pt x="386" y="691"/>
                  <a:pt x="384" y="691"/>
                  <a:pt x="383" y="691"/>
                </a:cubicBezTo>
                <a:close/>
                <a:moveTo>
                  <a:pt x="387" y="696"/>
                </a:move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lose/>
                <a:moveTo>
                  <a:pt x="384" y="662"/>
                </a:moveTo>
                <a:cubicBezTo>
                  <a:pt x="384" y="660"/>
                  <a:pt x="388" y="661"/>
                  <a:pt x="388" y="662"/>
                </a:cubicBezTo>
                <a:cubicBezTo>
                  <a:pt x="388" y="663"/>
                  <a:pt x="385" y="664"/>
                  <a:pt x="384" y="662"/>
                </a:cubicBezTo>
                <a:close/>
                <a:moveTo>
                  <a:pt x="398" y="679"/>
                </a:moveTo>
                <a:cubicBezTo>
                  <a:pt x="400" y="678"/>
                  <a:pt x="400" y="680"/>
                  <a:pt x="398" y="679"/>
                </a:cubicBezTo>
                <a:close/>
                <a:moveTo>
                  <a:pt x="401" y="664"/>
                </a:moveTo>
                <a:cubicBezTo>
                  <a:pt x="402" y="662"/>
                  <a:pt x="405" y="663"/>
                  <a:pt x="406" y="663"/>
                </a:cubicBezTo>
                <a:cubicBezTo>
                  <a:pt x="406" y="663"/>
                  <a:pt x="407" y="664"/>
                  <a:pt x="407" y="664"/>
                </a:cubicBezTo>
                <a:cubicBezTo>
                  <a:pt x="406" y="664"/>
                  <a:pt x="408" y="663"/>
                  <a:pt x="409" y="664"/>
                </a:cubicBezTo>
                <a:cubicBezTo>
                  <a:pt x="409" y="665"/>
                  <a:pt x="400" y="667"/>
                  <a:pt x="401" y="664"/>
                </a:cubicBezTo>
                <a:close/>
                <a:moveTo>
                  <a:pt x="411" y="704"/>
                </a:moveTo>
                <a:cubicBezTo>
                  <a:pt x="410" y="704"/>
                  <a:pt x="411" y="704"/>
                  <a:pt x="411" y="704"/>
                </a:cubicBezTo>
                <a:cubicBezTo>
                  <a:pt x="411" y="704"/>
                  <a:pt x="411" y="704"/>
                  <a:pt x="411" y="704"/>
                </a:cubicBezTo>
                <a:close/>
                <a:moveTo>
                  <a:pt x="409" y="648"/>
                </a:moveTo>
                <a:cubicBezTo>
                  <a:pt x="403" y="650"/>
                  <a:pt x="397" y="649"/>
                  <a:pt x="391" y="651"/>
                </a:cubicBezTo>
                <a:cubicBezTo>
                  <a:pt x="386" y="652"/>
                  <a:pt x="381" y="655"/>
                  <a:pt x="376" y="654"/>
                </a:cubicBezTo>
                <a:cubicBezTo>
                  <a:pt x="375" y="654"/>
                  <a:pt x="375" y="653"/>
                  <a:pt x="375" y="653"/>
                </a:cubicBezTo>
                <a:cubicBezTo>
                  <a:pt x="374" y="652"/>
                  <a:pt x="384" y="650"/>
                  <a:pt x="387" y="650"/>
                </a:cubicBezTo>
                <a:cubicBezTo>
                  <a:pt x="393" y="649"/>
                  <a:pt x="396" y="649"/>
                  <a:pt x="401" y="648"/>
                </a:cubicBezTo>
                <a:cubicBezTo>
                  <a:pt x="403" y="648"/>
                  <a:pt x="408" y="646"/>
                  <a:pt x="410" y="646"/>
                </a:cubicBezTo>
                <a:cubicBezTo>
                  <a:pt x="413" y="647"/>
                  <a:pt x="409" y="648"/>
                  <a:pt x="409" y="648"/>
                </a:cubicBezTo>
                <a:close/>
                <a:moveTo>
                  <a:pt x="394" y="589"/>
                </a:moveTo>
                <a:cubicBezTo>
                  <a:pt x="394" y="588"/>
                  <a:pt x="395" y="588"/>
                  <a:pt x="395" y="589"/>
                </a:cubicBezTo>
                <a:cubicBezTo>
                  <a:pt x="395" y="589"/>
                  <a:pt x="394" y="590"/>
                  <a:pt x="394" y="589"/>
                </a:cubicBezTo>
                <a:close/>
                <a:moveTo>
                  <a:pt x="398" y="605"/>
                </a:moveTo>
                <a:cubicBezTo>
                  <a:pt x="398" y="605"/>
                  <a:pt x="399" y="604"/>
                  <a:pt x="399" y="604"/>
                </a:cubicBezTo>
                <a:cubicBezTo>
                  <a:pt x="398" y="604"/>
                  <a:pt x="396" y="605"/>
                  <a:pt x="395" y="605"/>
                </a:cubicBezTo>
                <a:cubicBezTo>
                  <a:pt x="395" y="605"/>
                  <a:pt x="399" y="603"/>
                  <a:pt x="400" y="603"/>
                </a:cubicBezTo>
                <a:cubicBezTo>
                  <a:pt x="401" y="603"/>
                  <a:pt x="404" y="605"/>
                  <a:pt x="404" y="605"/>
                </a:cubicBezTo>
                <a:cubicBezTo>
                  <a:pt x="404" y="606"/>
                  <a:pt x="400" y="608"/>
                  <a:pt x="398" y="605"/>
                </a:cubicBezTo>
                <a:close/>
                <a:moveTo>
                  <a:pt x="403" y="636"/>
                </a:moveTo>
                <a:cubicBezTo>
                  <a:pt x="403" y="636"/>
                  <a:pt x="404" y="637"/>
                  <a:pt x="404" y="636"/>
                </a:cubicBezTo>
                <a:cubicBezTo>
                  <a:pt x="404" y="637"/>
                  <a:pt x="403" y="637"/>
                  <a:pt x="403" y="636"/>
                </a:cubicBezTo>
                <a:close/>
                <a:moveTo>
                  <a:pt x="406" y="193"/>
                </a:moveTo>
                <a:cubicBezTo>
                  <a:pt x="406" y="195"/>
                  <a:pt x="404" y="195"/>
                  <a:pt x="406" y="193"/>
                </a:cubicBezTo>
                <a:close/>
                <a:moveTo>
                  <a:pt x="407" y="192"/>
                </a:moveTo>
                <a:cubicBezTo>
                  <a:pt x="406" y="194"/>
                  <a:pt x="409" y="190"/>
                  <a:pt x="407" y="192"/>
                </a:cubicBezTo>
                <a:close/>
                <a:moveTo>
                  <a:pt x="410" y="563"/>
                </a:moveTo>
                <a:cubicBezTo>
                  <a:pt x="410" y="564"/>
                  <a:pt x="410" y="565"/>
                  <a:pt x="409" y="564"/>
                </a:cubicBezTo>
                <a:cubicBezTo>
                  <a:pt x="408" y="564"/>
                  <a:pt x="409" y="563"/>
                  <a:pt x="410" y="563"/>
                </a:cubicBezTo>
                <a:close/>
                <a:moveTo>
                  <a:pt x="412" y="687"/>
                </a:moveTo>
                <a:cubicBezTo>
                  <a:pt x="414" y="686"/>
                  <a:pt x="414" y="687"/>
                  <a:pt x="412" y="687"/>
                </a:cubicBezTo>
                <a:close/>
                <a:moveTo>
                  <a:pt x="391" y="194"/>
                </a:moveTo>
                <a:cubicBezTo>
                  <a:pt x="391" y="194"/>
                  <a:pt x="389" y="196"/>
                  <a:pt x="388" y="195"/>
                </a:cubicBezTo>
                <a:cubicBezTo>
                  <a:pt x="388" y="194"/>
                  <a:pt x="391" y="193"/>
                  <a:pt x="390" y="194"/>
                </a:cubicBezTo>
                <a:cubicBezTo>
                  <a:pt x="398" y="189"/>
                  <a:pt x="408" y="183"/>
                  <a:pt x="417" y="179"/>
                </a:cubicBezTo>
                <a:cubicBezTo>
                  <a:pt x="409" y="185"/>
                  <a:pt x="400" y="189"/>
                  <a:pt x="391" y="194"/>
                </a:cubicBezTo>
                <a:close/>
                <a:moveTo>
                  <a:pt x="414" y="158"/>
                </a:moveTo>
                <a:cubicBezTo>
                  <a:pt x="415" y="156"/>
                  <a:pt x="417" y="157"/>
                  <a:pt x="414" y="158"/>
                </a:cubicBezTo>
                <a:close/>
                <a:moveTo>
                  <a:pt x="407" y="137"/>
                </a:moveTo>
                <a:cubicBezTo>
                  <a:pt x="409" y="134"/>
                  <a:pt x="417" y="135"/>
                  <a:pt x="417" y="139"/>
                </a:cubicBezTo>
                <a:cubicBezTo>
                  <a:pt x="417" y="145"/>
                  <a:pt x="403" y="144"/>
                  <a:pt x="407" y="137"/>
                </a:cubicBezTo>
                <a:close/>
                <a:moveTo>
                  <a:pt x="418" y="140"/>
                </a:moveTo>
                <a:cubicBezTo>
                  <a:pt x="418" y="139"/>
                  <a:pt x="419" y="142"/>
                  <a:pt x="418" y="140"/>
                </a:cubicBezTo>
                <a:close/>
                <a:moveTo>
                  <a:pt x="420" y="672"/>
                </a:moveTo>
                <a:cubicBezTo>
                  <a:pt x="419" y="672"/>
                  <a:pt x="418" y="672"/>
                  <a:pt x="418" y="672"/>
                </a:cubicBezTo>
                <a:cubicBezTo>
                  <a:pt x="418" y="671"/>
                  <a:pt x="432" y="670"/>
                  <a:pt x="435" y="670"/>
                </a:cubicBezTo>
                <a:cubicBezTo>
                  <a:pt x="437" y="671"/>
                  <a:pt x="433" y="672"/>
                  <a:pt x="432" y="672"/>
                </a:cubicBezTo>
                <a:cubicBezTo>
                  <a:pt x="428" y="672"/>
                  <a:pt x="423" y="673"/>
                  <a:pt x="420" y="672"/>
                </a:cubicBezTo>
                <a:close/>
                <a:moveTo>
                  <a:pt x="425" y="681"/>
                </a:moveTo>
                <a:cubicBezTo>
                  <a:pt x="425" y="681"/>
                  <a:pt x="425" y="680"/>
                  <a:pt x="425" y="680"/>
                </a:cubicBezTo>
                <a:cubicBezTo>
                  <a:pt x="425" y="680"/>
                  <a:pt x="425" y="680"/>
                  <a:pt x="425" y="681"/>
                </a:cubicBezTo>
                <a:cubicBezTo>
                  <a:pt x="425" y="681"/>
                  <a:pt x="425" y="681"/>
                  <a:pt x="425" y="681"/>
                </a:cubicBezTo>
                <a:cubicBezTo>
                  <a:pt x="426" y="681"/>
                  <a:pt x="426" y="681"/>
                  <a:pt x="425" y="681"/>
                </a:cubicBezTo>
                <a:close/>
                <a:moveTo>
                  <a:pt x="429" y="674"/>
                </a:moveTo>
                <a:cubicBezTo>
                  <a:pt x="429" y="674"/>
                  <a:pt x="426" y="674"/>
                  <a:pt x="428" y="673"/>
                </a:cubicBezTo>
                <a:cubicBezTo>
                  <a:pt x="431" y="672"/>
                  <a:pt x="437" y="672"/>
                  <a:pt x="441" y="672"/>
                </a:cubicBezTo>
                <a:cubicBezTo>
                  <a:pt x="438" y="673"/>
                  <a:pt x="433" y="674"/>
                  <a:pt x="429" y="674"/>
                </a:cubicBezTo>
                <a:close/>
                <a:moveTo>
                  <a:pt x="442" y="672"/>
                </a:moveTo>
                <a:cubicBezTo>
                  <a:pt x="444" y="671"/>
                  <a:pt x="448" y="669"/>
                  <a:pt x="452" y="670"/>
                </a:cubicBezTo>
                <a:cubicBezTo>
                  <a:pt x="449" y="671"/>
                  <a:pt x="445" y="671"/>
                  <a:pt x="442" y="672"/>
                </a:cubicBezTo>
                <a:close/>
                <a:moveTo>
                  <a:pt x="449" y="142"/>
                </a:moveTo>
                <a:cubicBezTo>
                  <a:pt x="450" y="141"/>
                  <a:pt x="450" y="141"/>
                  <a:pt x="451" y="142"/>
                </a:cubicBezTo>
                <a:cubicBezTo>
                  <a:pt x="451" y="142"/>
                  <a:pt x="450" y="142"/>
                  <a:pt x="449" y="142"/>
                </a:cubicBezTo>
                <a:close/>
                <a:moveTo>
                  <a:pt x="451" y="148"/>
                </a:moveTo>
                <a:cubicBezTo>
                  <a:pt x="452" y="149"/>
                  <a:pt x="450" y="147"/>
                  <a:pt x="451" y="148"/>
                </a:cubicBezTo>
                <a:close/>
                <a:moveTo>
                  <a:pt x="446" y="79"/>
                </a:moveTo>
                <a:cubicBezTo>
                  <a:pt x="448" y="77"/>
                  <a:pt x="450" y="78"/>
                  <a:pt x="452" y="77"/>
                </a:cubicBezTo>
                <a:cubicBezTo>
                  <a:pt x="451" y="78"/>
                  <a:pt x="448" y="79"/>
                  <a:pt x="446" y="79"/>
                </a:cubicBezTo>
                <a:close/>
                <a:moveTo>
                  <a:pt x="454" y="644"/>
                </a:moveTo>
                <a:cubicBezTo>
                  <a:pt x="454" y="644"/>
                  <a:pt x="454" y="644"/>
                  <a:pt x="454" y="644"/>
                </a:cubicBezTo>
                <a:cubicBezTo>
                  <a:pt x="455" y="642"/>
                  <a:pt x="455" y="647"/>
                  <a:pt x="454" y="644"/>
                </a:cubicBezTo>
                <a:close/>
                <a:moveTo>
                  <a:pt x="449" y="66"/>
                </a:moveTo>
                <a:cubicBezTo>
                  <a:pt x="449" y="66"/>
                  <a:pt x="448" y="65"/>
                  <a:pt x="448" y="65"/>
                </a:cubicBezTo>
                <a:cubicBezTo>
                  <a:pt x="448" y="64"/>
                  <a:pt x="451" y="62"/>
                  <a:pt x="453" y="61"/>
                </a:cubicBezTo>
                <a:cubicBezTo>
                  <a:pt x="451" y="61"/>
                  <a:pt x="450" y="62"/>
                  <a:pt x="448" y="62"/>
                </a:cubicBezTo>
                <a:cubicBezTo>
                  <a:pt x="444" y="62"/>
                  <a:pt x="452" y="60"/>
                  <a:pt x="453" y="60"/>
                </a:cubicBezTo>
                <a:cubicBezTo>
                  <a:pt x="458" y="59"/>
                  <a:pt x="462" y="58"/>
                  <a:pt x="466" y="57"/>
                </a:cubicBezTo>
                <a:cubicBezTo>
                  <a:pt x="468" y="57"/>
                  <a:pt x="475" y="56"/>
                  <a:pt x="475" y="57"/>
                </a:cubicBezTo>
                <a:cubicBezTo>
                  <a:pt x="476" y="58"/>
                  <a:pt x="468" y="59"/>
                  <a:pt x="465" y="59"/>
                </a:cubicBezTo>
                <a:cubicBezTo>
                  <a:pt x="461" y="60"/>
                  <a:pt x="459" y="60"/>
                  <a:pt x="456" y="61"/>
                </a:cubicBezTo>
                <a:cubicBezTo>
                  <a:pt x="458" y="61"/>
                  <a:pt x="461" y="62"/>
                  <a:pt x="460" y="64"/>
                </a:cubicBezTo>
                <a:cubicBezTo>
                  <a:pt x="460" y="69"/>
                  <a:pt x="453" y="68"/>
                  <a:pt x="449" y="66"/>
                </a:cubicBezTo>
                <a:close/>
                <a:moveTo>
                  <a:pt x="467" y="66"/>
                </a:moveTo>
                <a:cubicBezTo>
                  <a:pt x="468" y="65"/>
                  <a:pt x="470" y="62"/>
                  <a:pt x="471" y="63"/>
                </a:cubicBezTo>
                <a:cubicBezTo>
                  <a:pt x="473" y="65"/>
                  <a:pt x="469" y="66"/>
                  <a:pt x="467" y="66"/>
                </a:cubicBezTo>
                <a:close/>
                <a:moveTo>
                  <a:pt x="459" y="100"/>
                </a:moveTo>
                <a:cubicBezTo>
                  <a:pt x="458" y="100"/>
                  <a:pt x="458" y="99"/>
                  <a:pt x="459" y="98"/>
                </a:cubicBezTo>
                <a:cubicBezTo>
                  <a:pt x="461" y="96"/>
                  <a:pt x="462" y="100"/>
                  <a:pt x="459" y="100"/>
                </a:cubicBezTo>
                <a:close/>
                <a:moveTo>
                  <a:pt x="456" y="149"/>
                </a:moveTo>
                <a:cubicBezTo>
                  <a:pt x="456" y="149"/>
                  <a:pt x="460" y="145"/>
                  <a:pt x="461" y="146"/>
                </a:cubicBezTo>
                <a:cubicBezTo>
                  <a:pt x="463" y="148"/>
                  <a:pt x="457" y="150"/>
                  <a:pt x="456" y="149"/>
                </a:cubicBezTo>
                <a:close/>
                <a:moveTo>
                  <a:pt x="462" y="681"/>
                </a:moveTo>
                <a:cubicBezTo>
                  <a:pt x="464" y="680"/>
                  <a:pt x="464" y="682"/>
                  <a:pt x="462" y="681"/>
                </a:cubicBezTo>
                <a:close/>
                <a:moveTo>
                  <a:pt x="464" y="170"/>
                </a:moveTo>
                <a:cubicBezTo>
                  <a:pt x="463" y="171"/>
                  <a:pt x="461" y="171"/>
                  <a:pt x="460" y="171"/>
                </a:cubicBezTo>
                <a:cubicBezTo>
                  <a:pt x="459" y="172"/>
                  <a:pt x="459" y="172"/>
                  <a:pt x="458" y="172"/>
                </a:cubicBezTo>
                <a:cubicBezTo>
                  <a:pt x="459" y="172"/>
                  <a:pt x="459" y="172"/>
                  <a:pt x="460" y="171"/>
                </a:cubicBezTo>
                <a:cubicBezTo>
                  <a:pt x="462" y="170"/>
                  <a:pt x="464" y="168"/>
                  <a:pt x="465" y="168"/>
                </a:cubicBezTo>
                <a:cubicBezTo>
                  <a:pt x="468" y="167"/>
                  <a:pt x="464" y="170"/>
                  <a:pt x="464" y="170"/>
                </a:cubicBezTo>
                <a:close/>
                <a:moveTo>
                  <a:pt x="466" y="68"/>
                </a:moveTo>
                <a:cubicBezTo>
                  <a:pt x="466" y="68"/>
                  <a:pt x="466" y="68"/>
                  <a:pt x="466" y="68"/>
                </a:cubicBezTo>
                <a:cubicBezTo>
                  <a:pt x="467" y="70"/>
                  <a:pt x="464" y="67"/>
                  <a:pt x="466" y="68"/>
                </a:cubicBezTo>
                <a:close/>
                <a:moveTo>
                  <a:pt x="468" y="241"/>
                </a:moveTo>
                <a:cubicBezTo>
                  <a:pt x="468" y="243"/>
                  <a:pt x="465" y="242"/>
                  <a:pt x="468" y="241"/>
                </a:cubicBezTo>
                <a:close/>
                <a:moveTo>
                  <a:pt x="470" y="75"/>
                </a:moveTo>
                <a:cubicBezTo>
                  <a:pt x="470" y="75"/>
                  <a:pt x="470" y="76"/>
                  <a:pt x="470" y="77"/>
                </a:cubicBezTo>
                <a:cubicBezTo>
                  <a:pt x="471" y="77"/>
                  <a:pt x="472" y="75"/>
                  <a:pt x="472" y="75"/>
                </a:cubicBezTo>
                <a:cubicBezTo>
                  <a:pt x="472" y="74"/>
                  <a:pt x="471" y="74"/>
                  <a:pt x="471" y="73"/>
                </a:cubicBezTo>
                <a:cubicBezTo>
                  <a:pt x="471" y="74"/>
                  <a:pt x="470" y="73"/>
                  <a:pt x="471" y="73"/>
                </a:cubicBezTo>
                <a:cubicBezTo>
                  <a:pt x="472" y="72"/>
                  <a:pt x="473" y="73"/>
                  <a:pt x="473" y="73"/>
                </a:cubicBezTo>
                <a:cubicBezTo>
                  <a:pt x="474" y="72"/>
                  <a:pt x="475" y="72"/>
                  <a:pt x="476" y="72"/>
                </a:cubicBezTo>
                <a:cubicBezTo>
                  <a:pt x="477" y="72"/>
                  <a:pt x="481" y="75"/>
                  <a:pt x="478" y="76"/>
                </a:cubicBezTo>
                <a:cubicBezTo>
                  <a:pt x="476" y="77"/>
                  <a:pt x="471" y="78"/>
                  <a:pt x="469" y="77"/>
                </a:cubicBezTo>
                <a:cubicBezTo>
                  <a:pt x="468" y="77"/>
                  <a:pt x="468" y="74"/>
                  <a:pt x="470" y="75"/>
                </a:cubicBezTo>
                <a:close/>
                <a:moveTo>
                  <a:pt x="478" y="117"/>
                </a:moveTo>
                <a:cubicBezTo>
                  <a:pt x="479" y="118"/>
                  <a:pt x="477" y="118"/>
                  <a:pt x="476" y="118"/>
                </a:cubicBezTo>
                <a:cubicBezTo>
                  <a:pt x="476" y="117"/>
                  <a:pt x="478" y="117"/>
                  <a:pt x="478" y="117"/>
                </a:cubicBezTo>
                <a:close/>
                <a:moveTo>
                  <a:pt x="478" y="100"/>
                </a:move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lose/>
                <a:moveTo>
                  <a:pt x="478" y="100"/>
                </a:moveTo>
                <a:cubicBezTo>
                  <a:pt x="479" y="100"/>
                  <a:pt x="478" y="100"/>
                  <a:pt x="478" y="100"/>
                </a:cubicBezTo>
                <a:close/>
                <a:moveTo>
                  <a:pt x="476" y="97"/>
                </a:moveTo>
                <a:cubicBezTo>
                  <a:pt x="475" y="96"/>
                  <a:pt x="478" y="96"/>
                  <a:pt x="478" y="96"/>
                </a:cubicBezTo>
                <a:cubicBezTo>
                  <a:pt x="479" y="96"/>
                  <a:pt x="476" y="97"/>
                  <a:pt x="476" y="97"/>
                </a:cubicBezTo>
                <a:close/>
                <a:moveTo>
                  <a:pt x="474" y="91"/>
                </a:moveTo>
                <a:cubicBezTo>
                  <a:pt x="474" y="90"/>
                  <a:pt x="475" y="90"/>
                  <a:pt x="476" y="90"/>
                </a:cubicBezTo>
                <a:cubicBezTo>
                  <a:pt x="477" y="92"/>
                  <a:pt x="474" y="92"/>
                  <a:pt x="474" y="91"/>
                </a:cubicBezTo>
                <a:close/>
                <a:moveTo>
                  <a:pt x="477" y="107"/>
                </a:moveTo>
                <a:cubicBezTo>
                  <a:pt x="477" y="109"/>
                  <a:pt x="474" y="111"/>
                  <a:pt x="473" y="109"/>
                </a:cubicBezTo>
                <a:cubicBezTo>
                  <a:pt x="469" y="106"/>
                  <a:pt x="477" y="104"/>
                  <a:pt x="477" y="107"/>
                </a:cubicBezTo>
                <a:close/>
                <a:moveTo>
                  <a:pt x="472" y="112"/>
                </a:moveTo>
                <a:cubicBezTo>
                  <a:pt x="475" y="114"/>
                  <a:pt x="468" y="116"/>
                  <a:pt x="470" y="113"/>
                </a:cubicBezTo>
                <a:cubicBezTo>
                  <a:pt x="471" y="112"/>
                  <a:pt x="472" y="112"/>
                  <a:pt x="472" y="112"/>
                </a:cubicBezTo>
                <a:close/>
                <a:moveTo>
                  <a:pt x="475" y="122"/>
                </a:moveTo>
                <a:cubicBezTo>
                  <a:pt x="474" y="122"/>
                  <a:pt x="473" y="123"/>
                  <a:pt x="472" y="123"/>
                </a:cubicBezTo>
                <a:cubicBezTo>
                  <a:pt x="472" y="123"/>
                  <a:pt x="473" y="121"/>
                  <a:pt x="475" y="122"/>
                </a:cubicBezTo>
                <a:close/>
                <a:moveTo>
                  <a:pt x="474" y="123"/>
                </a:moveTo>
                <a:cubicBezTo>
                  <a:pt x="474" y="123"/>
                  <a:pt x="475" y="123"/>
                  <a:pt x="475" y="124"/>
                </a:cubicBezTo>
                <a:cubicBezTo>
                  <a:pt x="475" y="124"/>
                  <a:pt x="474" y="124"/>
                  <a:pt x="474" y="123"/>
                </a:cubicBezTo>
                <a:close/>
                <a:moveTo>
                  <a:pt x="477" y="158"/>
                </a:moveTo>
                <a:cubicBezTo>
                  <a:pt x="477" y="158"/>
                  <a:pt x="476" y="159"/>
                  <a:pt x="475" y="159"/>
                </a:cubicBezTo>
                <a:cubicBezTo>
                  <a:pt x="475" y="159"/>
                  <a:pt x="476" y="158"/>
                  <a:pt x="477" y="158"/>
                </a:cubicBezTo>
                <a:close/>
                <a:moveTo>
                  <a:pt x="476" y="121"/>
                </a:moveTo>
                <a:cubicBezTo>
                  <a:pt x="477" y="121"/>
                  <a:pt x="478" y="119"/>
                  <a:pt x="479" y="120"/>
                </a:cubicBezTo>
                <a:cubicBezTo>
                  <a:pt x="478" y="121"/>
                  <a:pt x="477" y="121"/>
                  <a:pt x="476" y="121"/>
                </a:cubicBezTo>
                <a:close/>
                <a:moveTo>
                  <a:pt x="472" y="165"/>
                </a:moveTo>
                <a:cubicBezTo>
                  <a:pt x="472" y="166"/>
                  <a:pt x="470" y="167"/>
                  <a:pt x="469" y="168"/>
                </a:cubicBezTo>
                <a:cubicBezTo>
                  <a:pt x="469" y="166"/>
                  <a:pt x="471" y="166"/>
                  <a:pt x="472" y="165"/>
                </a:cubicBezTo>
                <a:close/>
                <a:moveTo>
                  <a:pt x="471" y="178"/>
                </a:moveTo>
                <a:cubicBezTo>
                  <a:pt x="471" y="175"/>
                  <a:pt x="476" y="174"/>
                  <a:pt x="477" y="177"/>
                </a:cubicBezTo>
                <a:cubicBezTo>
                  <a:pt x="477" y="181"/>
                  <a:pt x="471" y="180"/>
                  <a:pt x="471" y="178"/>
                </a:cubicBezTo>
                <a:close/>
                <a:moveTo>
                  <a:pt x="472" y="233"/>
                </a:moveTo>
                <a:cubicBezTo>
                  <a:pt x="472" y="232"/>
                  <a:pt x="475" y="230"/>
                  <a:pt x="475" y="232"/>
                </a:cubicBezTo>
                <a:cubicBezTo>
                  <a:pt x="476" y="234"/>
                  <a:pt x="473" y="234"/>
                  <a:pt x="472" y="233"/>
                </a:cubicBezTo>
                <a:close/>
                <a:moveTo>
                  <a:pt x="475" y="180"/>
                </a:moveTo>
                <a:cubicBezTo>
                  <a:pt x="475" y="180"/>
                  <a:pt x="476" y="179"/>
                  <a:pt x="477" y="180"/>
                </a:cubicBezTo>
                <a:cubicBezTo>
                  <a:pt x="478" y="181"/>
                  <a:pt x="475" y="181"/>
                  <a:pt x="475" y="180"/>
                </a:cubicBezTo>
                <a:close/>
                <a:moveTo>
                  <a:pt x="482" y="155"/>
                </a:moveTo>
                <a:cubicBezTo>
                  <a:pt x="482" y="156"/>
                  <a:pt x="480" y="157"/>
                  <a:pt x="479" y="157"/>
                </a:cubicBezTo>
                <a:cubicBezTo>
                  <a:pt x="479" y="156"/>
                  <a:pt x="481" y="156"/>
                  <a:pt x="482" y="155"/>
                </a:cubicBezTo>
                <a:close/>
                <a:moveTo>
                  <a:pt x="479" y="164"/>
                </a:moveTo>
                <a:cubicBezTo>
                  <a:pt x="479" y="162"/>
                  <a:pt x="481" y="163"/>
                  <a:pt x="479" y="164"/>
                </a:cubicBezTo>
                <a:close/>
                <a:moveTo>
                  <a:pt x="479" y="175"/>
                </a:moveTo>
                <a:cubicBezTo>
                  <a:pt x="478" y="174"/>
                  <a:pt x="480" y="173"/>
                  <a:pt x="480" y="174"/>
                </a:cubicBezTo>
                <a:cubicBezTo>
                  <a:pt x="480" y="175"/>
                  <a:pt x="480" y="175"/>
                  <a:pt x="479" y="175"/>
                </a:cubicBezTo>
                <a:close/>
                <a:moveTo>
                  <a:pt x="480" y="164"/>
                </a:moveTo>
                <a:cubicBezTo>
                  <a:pt x="480" y="163"/>
                  <a:pt x="484" y="161"/>
                  <a:pt x="484" y="164"/>
                </a:cubicBezTo>
                <a:cubicBezTo>
                  <a:pt x="484" y="166"/>
                  <a:pt x="480" y="166"/>
                  <a:pt x="480" y="164"/>
                </a:cubicBezTo>
                <a:close/>
                <a:moveTo>
                  <a:pt x="482" y="188"/>
                </a:moveTo>
                <a:cubicBezTo>
                  <a:pt x="482" y="187"/>
                  <a:pt x="483" y="187"/>
                  <a:pt x="484" y="187"/>
                </a:cubicBezTo>
                <a:cubicBezTo>
                  <a:pt x="484" y="187"/>
                  <a:pt x="482" y="189"/>
                  <a:pt x="482" y="188"/>
                </a:cubicBezTo>
                <a:close/>
                <a:moveTo>
                  <a:pt x="487" y="253"/>
                </a:moveTo>
                <a:cubicBezTo>
                  <a:pt x="487" y="255"/>
                  <a:pt x="485" y="254"/>
                  <a:pt x="487" y="253"/>
                </a:cubicBezTo>
                <a:close/>
                <a:moveTo>
                  <a:pt x="484" y="228"/>
                </a:moveTo>
                <a:cubicBezTo>
                  <a:pt x="482" y="226"/>
                  <a:pt x="488" y="223"/>
                  <a:pt x="488" y="227"/>
                </a:cubicBezTo>
                <a:cubicBezTo>
                  <a:pt x="488" y="228"/>
                  <a:pt x="485" y="230"/>
                  <a:pt x="484" y="228"/>
                </a:cubicBezTo>
                <a:close/>
                <a:moveTo>
                  <a:pt x="486" y="208"/>
                </a:moveTo>
                <a:cubicBezTo>
                  <a:pt x="486" y="207"/>
                  <a:pt x="488" y="206"/>
                  <a:pt x="488" y="207"/>
                </a:cubicBezTo>
                <a:cubicBezTo>
                  <a:pt x="488" y="208"/>
                  <a:pt x="487" y="209"/>
                  <a:pt x="486" y="208"/>
                </a:cubicBezTo>
                <a:close/>
                <a:moveTo>
                  <a:pt x="490" y="250"/>
                </a:moveTo>
                <a:cubicBezTo>
                  <a:pt x="490" y="248"/>
                  <a:pt x="492" y="246"/>
                  <a:pt x="493" y="245"/>
                </a:cubicBezTo>
                <a:cubicBezTo>
                  <a:pt x="493" y="246"/>
                  <a:pt x="491" y="248"/>
                  <a:pt x="490" y="250"/>
                </a:cubicBezTo>
                <a:close/>
                <a:moveTo>
                  <a:pt x="494" y="245"/>
                </a:moveTo>
                <a:cubicBezTo>
                  <a:pt x="494" y="244"/>
                  <a:pt x="495" y="243"/>
                  <a:pt x="495" y="243"/>
                </a:cubicBezTo>
                <a:cubicBezTo>
                  <a:pt x="496" y="243"/>
                  <a:pt x="494" y="245"/>
                  <a:pt x="494" y="245"/>
                </a:cubicBezTo>
                <a:close/>
                <a:moveTo>
                  <a:pt x="499" y="230"/>
                </a:moveTo>
                <a:cubicBezTo>
                  <a:pt x="499" y="229"/>
                  <a:pt x="501" y="229"/>
                  <a:pt x="501" y="229"/>
                </a:cubicBezTo>
                <a:cubicBezTo>
                  <a:pt x="502" y="229"/>
                  <a:pt x="500" y="230"/>
                  <a:pt x="499" y="230"/>
                </a:cubicBezTo>
                <a:close/>
                <a:moveTo>
                  <a:pt x="496" y="230"/>
                </a:moveTo>
                <a:cubicBezTo>
                  <a:pt x="496" y="230"/>
                  <a:pt x="491" y="233"/>
                  <a:pt x="492" y="231"/>
                </a:cubicBezTo>
                <a:cubicBezTo>
                  <a:pt x="492" y="230"/>
                  <a:pt x="497" y="229"/>
                  <a:pt x="497" y="229"/>
                </a:cubicBezTo>
                <a:cubicBezTo>
                  <a:pt x="500" y="228"/>
                  <a:pt x="503" y="225"/>
                  <a:pt x="506" y="225"/>
                </a:cubicBezTo>
                <a:cubicBezTo>
                  <a:pt x="505" y="228"/>
                  <a:pt x="498" y="229"/>
                  <a:pt x="496" y="230"/>
                </a:cubicBezTo>
                <a:close/>
                <a:moveTo>
                  <a:pt x="505" y="195"/>
                </a:moveTo>
                <a:cubicBezTo>
                  <a:pt x="505" y="194"/>
                  <a:pt x="507" y="192"/>
                  <a:pt x="508" y="193"/>
                </a:cubicBezTo>
                <a:cubicBezTo>
                  <a:pt x="508" y="194"/>
                  <a:pt x="506" y="196"/>
                  <a:pt x="505" y="195"/>
                </a:cubicBezTo>
                <a:close/>
                <a:moveTo>
                  <a:pt x="507" y="222"/>
                </a:moveTo>
                <a:cubicBezTo>
                  <a:pt x="507" y="222"/>
                  <a:pt x="508" y="222"/>
                  <a:pt x="508" y="222"/>
                </a:cubicBezTo>
                <a:cubicBezTo>
                  <a:pt x="510" y="223"/>
                  <a:pt x="504" y="225"/>
                  <a:pt x="507" y="222"/>
                </a:cubicBezTo>
                <a:close/>
                <a:moveTo>
                  <a:pt x="506" y="190"/>
                </a:moveTo>
                <a:cubicBezTo>
                  <a:pt x="506" y="189"/>
                  <a:pt x="507" y="188"/>
                  <a:pt x="509" y="188"/>
                </a:cubicBezTo>
                <a:cubicBezTo>
                  <a:pt x="508" y="189"/>
                  <a:pt x="507" y="190"/>
                  <a:pt x="506" y="190"/>
                </a:cubicBezTo>
                <a:close/>
                <a:moveTo>
                  <a:pt x="516" y="247"/>
                </a:moveTo>
                <a:cubicBezTo>
                  <a:pt x="514" y="248"/>
                  <a:pt x="511" y="250"/>
                  <a:pt x="509" y="250"/>
                </a:cubicBezTo>
                <a:cubicBezTo>
                  <a:pt x="510" y="249"/>
                  <a:pt x="514" y="248"/>
                  <a:pt x="516" y="247"/>
                </a:cubicBezTo>
                <a:close/>
                <a:moveTo>
                  <a:pt x="512" y="258"/>
                </a:moveTo>
                <a:cubicBezTo>
                  <a:pt x="512" y="255"/>
                  <a:pt x="516" y="256"/>
                  <a:pt x="516" y="257"/>
                </a:cubicBezTo>
                <a:cubicBezTo>
                  <a:pt x="517" y="258"/>
                  <a:pt x="512" y="260"/>
                  <a:pt x="512" y="258"/>
                </a:cubicBezTo>
                <a:close/>
                <a:moveTo>
                  <a:pt x="517" y="268"/>
                </a:moveTo>
                <a:cubicBezTo>
                  <a:pt x="516" y="269"/>
                  <a:pt x="517" y="268"/>
                  <a:pt x="517" y="268"/>
                </a:cubicBezTo>
                <a:cubicBezTo>
                  <a:pt x="517" y="268"/>
                  <a:pt x="517" y="268"/>
                  <a:pt x="517" y="268"/>
                </a:cubicBezTo>
                <a:close/>
                <a:moveTo>
                  <a:pt x="517" y="247"/>
                </a:moveTo>
                <a:cubicBezTo>
                  <a:pt x="517" y="247"/>
                  <a:pt x="517" y="247"/>
                  <a:pt x="517" y="247"/>
                </a:cubicBezTo>
                <a:cubicBezTo>
                  <a:pt x="518" y="247"/>
                  <a:pt x="517" y="247"/>
                  <a:pt x="517" y="247"/>
                </a:cubicBezTo>
                <a:close/>
                <a:moveTo>
                  <a:pt x="518" y="154"/>
                </a:moveTo>
                <a:cubicBezTo>
                  <a:pt x="517" y="151"/>
                  <a:pt x="524" y="153"/>
                  <a:pt x="524" y="154"/>
                </a:cubicBezTo>
                <a:cubicBezTo>
                  <a:pt x="524" y="154"/>
                  <a:pt x="523" y="155"/>
                  <a:pt x="523" y="155"/>
                </a:cubicBezTo>
                <a:cubicBezTo>
                  <a:pt x="523" y="156"/>
                  <a:pt x="522" y="158"/>
                  <a:pt x="521" y="156"/>
                </a:cubicBezTo>
                <a:cubicBezTo>
                  <a:pt x="521" y="156"/>
                  <a:pt x="521" y="155"/>
                  <a:pt x="521" y="155"/>
                </a:cubicBezTo>
                <a:cubicBezTo>
                  <a:pt x="520" y="155"/>
                  <a:pt x="518" y="155"/>
                  <a:pt x="518" y="154"/>
                </a:cubicBezTo>
                <a:close/>
                <a:moveTo>
                  <a:pt x="518" y="188"/>
                </a:moveTo>
                <a:cubicBezTo>
                  <a:pt x="518" y="186"/>
                  <a:pt x="524" y="185"/>
                  <a:pt x="524" y="188"/>
                </a:cubicBezTo>
                <a:cubicBezTo>
                  <a:pt x="524" y="190"/>
                  <a:pt x="519" y="190"/>
                  <a:pt x="518" y="188"/>
                </a:cubicBezTo>
                <a:close/>
                <a:moveTo>
                  <a:pt x="522" y="286"/>
                </a:moveTo>
                <a:cubicBezTo>
                  <a:pt x="522" y="285"/>
                  <a:pt x="522" y="285"/>
                  <a:pt x="522" y="285"/>
                </a:cubicBezTo>
                <a:cubicBezTo>
                  <a:pt x="523" y="285"/>
                  <a:pt x="522" y="286"/>
                  <a:pt x="522" y="286"/>
                </a:cubicBezTo>
                <a:close/>
                <a:moveTo>
                  <a:pt x="521" y="231"/>
                </a:moveTo>
                <a:cubicBezTo>
                  <a:pt x="518" y="232"/>
                  <a:pt x="522" y="229"/>
                  <a:pt x="523" y="228"/>
                </a:cubicBezTo>
                <a:cubicBezTo>
                  <a:pt x="524" y="226"/>
                  <a:pt x="526" y="223"/>
                  <a:pt x="528" y="220"/>
                </a:cubicBezTo>
                <a:cubicBezTo>
                  <a:pt x="528" y="221"/>
                  <a:pt x="527" y="221"/>
                  <a:pt x="527" y="220"/>
                </a:cubicBezTo>
                <a:cubicBezTo>
                  <a:pt x="527" y="220"/>
                  <a:pt x="528" y="220"/>
                  <a:pt x="528" y="220"/>
                </a:cubicBezTo>
                <a:cubicBezTo>
                  <a:pt x="528" y="220"/>
                  <a:pt x="528" y="220"/>
                  <a:pt x="528" y="220"/>
                </a:cubicBezTo>
                <a:cubicBezTo>
                  <a:pt x="529" y="219"/>
                  <a:pt x="529" y="218"/>
                  <a:pt x="530" y="218"/>
                </a:cubicBezTo>
                <a:cubicBezTo>
                  <a:pt x="530" y="218"/>
                  <a:pt x="531" y="218"/>
                  <a:pt x="531" y="218"/>
                </a:cubicBezTo>
                <a:cubicBezTo>
                  <a:pt x="531" y="218"/>
                  <a:pt x="529" y="220"/>
                  <a:pt x="528" y="222"/>
                </a:cubicBezTo>
                <a:cubicBezTo>
                  <a:pt x="527" y="223"/>
                  <a:pt x="523" y="230"/>
                  <a:pt x="521" y="231"/>
                </a:cubicBezTo>
                <a:close/>
                <a:moveTo>
                  <a:pt x="530" y="232"/>
                </a:moveTo>
                <a:cubicBezTo>
                  <a:pt x="530" y="232"/>
                  <a:pt x="530" y="232"/>
                  <a:pt x="531" y="232"/>
                </a:cubicBezTo>
                <a:cubicBezTo>
                  <a:pt x="531" y="232"/>
                  <a:pt x="530" y="233"/>
                  <a:pt x="530" y="232"/>
                </a:cubicBezTo>
                <a:close/>
                <a:moveTo>
                  <a:pt x="530" y="268"/>
                </a:move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lose/>
                <a:moveTo>
                  <a:pt x="530" y="256"/>
                </a:moveTo>
                <a:cubicBezTo>
                  <a:pt x="530" y="256"/>
                  <a:pt x="531" y="255"/>
                  <a:pt x="531" y="256"/>
                </a:cubicBezTo>
                <a:cubicBezTo>
                  <a:pt x="532" y="258"/>
                  <a:pt x="529" y="258"/>
                  <a:pt x="530" y="256"/>
                </a:cubicBezTo>
                <a:close/>
                <a:moveTo>
                  <a:pt x="533" y="312"/>
                </a:moveTo>
                <a:cubicBezTo>
                  <a:pt x="533" y="311"/>
                  <a:pt x="533" y="310"/>
                  <a:pt x="534" y="310"/>
                </a:cubicBezTo>
                <a:cubicBezTo>
                  <a:pt x="536" y="308"/>
                  <a:pt x="535" y="313"/>
                  <a:pt x="533" y="312"/>
                </a:cubicBezTo>
                <a:close/>
                <a:moveTo>
                  <a:pt x="533" y="230"/>
                </a:moveTo>
                <a:cubicBezTo>
                  <a:pt x="534" y="229"/>
                  <a:pt x="535" y="232"/>
                  <a:pt x="533" y="231"/>
                </a:cubicBezTo>
                <a:cubicBezTo>
                  <a:pt x="533" y="231"/>
                  <a:pt x="533" y="230"/>
                  <a:pt x="533" y="230"/>
                </a:cubicBezTo>
                <a:close/>
                <a:moveTo>
                  <a:pt x="531" y="215"/>
                </a:moveTo>
                <a:cubicBezTo>
                  <a:pt x="530" y="213"/>
                  <a:pt x="535" y="211"/>
                  <a:pt x="535" y="214"/>
                </a:cubicBezTo>
                <a:cubicBezTo>
                  <a:pt x="535" y="215"/>
                  <a:pt x="531" y="217"/>
                  <a:pt x="531" y="215"/>
                </a:cubicBezTo>
                <a:close/>
                <a:moveTo>
                  <a:pt x="530" y="135"/>
                </a:moveTo>
                <a:cubicBezTo>
                  <a:pt x="532" y="134"/>
                  <a:pt x="534" y="133"/>
                  <a:pt x="536" y="131"/>
                </a:cubicBezTo>
                <a:cubicBezTo>
                  <a:pt x="535" y="134"/>
                  <a:pt x="532" y="134"/>
                  <a:pt x="530" y="135"/>
                </a:cubicBezTo>
                <a:close/>
                <a:moveTo>
                  <a:pt x="598" y="198"/>
                </a:moveTo>
                <a:cubicBezTo>
                  <a:pt x="598" y="198"/>
                  <a:pt x="597" y="199"/>
                  <a:pt x="597" y="199"/>
                </a:cubicBezTo>
                <a:cubicBezTo>
                  <a:pt x="596" y="198"/>
                  <a:pt x="598" y="198"/>
                  <a:pt x="598" y="198"/>
                </a:cubicBezTo>
                <a:close/>
                <a:moveTo>
                  <a:pt x="596" y="204"/>
                </a:moveTo>
                <a:cubicBezTo>
                  <a:pt x="598" y="202"/>
                  <a:pt x="597" y="205"/>
                  <a:pt x="596" y="205"/>
                </a:cubicBezTo>
                <a:cubicBezTo>
                  <a:pt x="596" y="204"/>
                  <a:pt x="596" y="204"/>
                  <a:pt x="596" y="204"/>
                </a:cubicBezTo>
                <a:close/>
                <a:moveTo>
                  <a:pt x="596" y="235"/>
                </a:moveTo>
                <a:cubicBezTo>
                  <a:pt x="597" y="235"/>
                  <a:pt x="598" y="234"/>
                  <a:pt x="598" y="235"/>
                </a:cubicBezTo>
                <a:cubicBezTo>
                  <a:pt x="601" y="237"/>
                  <a:pt x="594" y="238"/>
                  <a:pt x="596" y="235"/>
                </a:cubicBezTo>
                <a:close/>
                <a:moveTo>
                  <a:pt x="599" y="282"/>
                </a:moveTo>
                <a:cubicBezTo>
                  <a:pt x="598" y="284"/>
                  <a:pt x="597" y="283"/>
                  <a:pt x="599" y="282"/>
                </a:cubicBezTo>
                <a:close/>
                <a:moveTo>
                  <a:pt x="594" y="323"/>
                </a:moveTo>
                <a:cubicBezTo>
                  <a:pt x="594" y="322"/>
                  <a:pt x="595" y="322"/>
                  <a:pt x="595" y="322"/>
                </a:cubicBezTo>
                <a:cubicBezTo>
                  <a:pt x="597" y="323"/>
                  <a:pt x="593" y="325"/>
                  <a:pt x="594" y="323"/>
                </a:cubicBezTo>
                <a:close/>
                <a:moveTo>
                  <a:pt x="596" y="370"/>
                </a:moveTo>
                <a:cubicBezTo>
                  <a:pt x="597" y="370"/>
                  <a:pt x="594" y="371"/>
                  <a:pt x="596" y="370"/>
                </a:cubicBezTo>
                <a:close/>
                <a:moveTo>
                  <a:pt x="594" y="263"/>
                </a:moveTo>
                <a:cubicBezTo>
                  <a:pt x="595" y="262"/>
                  <a:pt x="596" y="264"/>
                  <a:pt x="594" y="263"/>
                </a:cubicBezTo>
                <a:close/>
                <a:moveTo>
                  <a:pt x="594" y="231"/>
                </a:moveTo>
                <a:cubicBezTo>
                  <a:pt x="595" y="231"/>
                  <a:pt x="594" y="232"/>
                  <a:pt x="594" y="231"/>
                </a:cubicBezTo>
                <a:cubicBezTo>
                  <a:pt x="594" y="231"/>
                  <a:pt x="594" y="231"/>
                  <a:pt x="594" y="231"/>
                </a:cubicBezTo>
                <a:close/>
                <a:moveTo>
                  <a:pt x="592" y="198"/>
                </a:moveTo>
                <a:cubicBezTo>
                  <a:pt x="594" y="196"/>
                  <a:pt x="594" y="199"/>
                  <a:pt x="592" y="198"/>
                </a:cubicBezTo>
                <a:close/>
                <a:moveTo>
                  <a:pt x="594" y="244"/>
                </a:moveTo>
                <a:cubicBezTo>
                  <a:pt x="594" y="245"/>
                  <a:pt x="593" y="245"/>
                  <a:pt x="591" y="246"/>
                </a:cubicBezTo>
                <a:cubicBezTo>
                  <a:pt x="592" y="245"/>
                  <a:pt x="593" y="244"/>
                  <a:pt x="594" y="244"/>
                </a:cubicBezTo>
                <a:close/>
                <a:moveTo>
                  <a:pt x="589" y="200"/>
                </a:moveTo>
                <a:cubicBezTo>
                  <a:pt x="590" y="201"/>
                  <a:pt x="588" y="202"/>
                  <a:pt x="588" y="202"/>
                </a:cubicBezTo>
                <a:cubicBezTo>
                  <a:pt x="588" y="201"/>
                  <a:pt x="589" y="201"/>
                  <a:pt x="589" y="200"/>
                </a:cubicBezTo>
                <a:close/>
                <a:moveTo>
                  <a:pt x="591" y="200"/>
                </a:moveTo>
                <a:cubicBezTo>
                  <a:pt x="590" y="203"/>
                  <a:pt x="589" y="206"/>
                  <a:pt x="586" y="208"/>
                </a:cubicBezTo>
                <a:cubicBezTo>
                  <a:pt x="588" y="206"/>
                  <a:pt x="589" y="203"/>
                  <a:pt x="591" y="200"/>
                </a:cubicBezTo>
                <a:close/>
                <a:moveTo>
                  <a:pt x="590" y="339"/>
                </a:moveTo>
                <a:cubicBezTo>
                  <a:pt x="591" y="338"/>
                  <a:pt x="590" y="340"/>
                  <a:pt x="590" y="339"/>
                </a:cubicBezTo>
                <a:close/>
                <a:moveTo>
                  <a:pt x="590" y="246"/>
                </a:moveTo>
                <a:cubicBezTo>
                  <a:pt x="591" y="246"/>
                  <a:pt x="591" y="246"/>
                  <a:pt x="590" y="246"/>
                </a:cubicBezTo>
                <a:close/>
                <a:moveTo>
                  <a:pt x="590" y="246"/>
                </a:moveTo>
                <a:cubicBezTo>
                  <a:pt x="590" y="246"/>
                  <a:pt x="590" y="247"/>
                  <a:pt x="590" y="247"/>
                </a:cubicBezTo>
                <a:cubicBezTo>
                  <a:pt x="590" y="247"/>
                  <a:pt x="590" y="247"/>
                  <a:pt x="590" y="247"/>
                </a:cubicBezTo>
                <a:cubicBezTo>
                  <a:pt x="590" y="247"/>
                  <a:pt x="590" y="247"/>
                  <a:pt x="590" y="246"/>
                </a:cubicBezTo>
                <a:close/>
                <a:moveTo>
                  <a:pt x="587" y="206"/>
                </a:moveTo>
                <a:cubicBezTo>
                  <a:pt x="587" y="206"/>
                  <a:pt x="586" y="205"/>
                  <a:pt x="586" y="205"/>
                </a:cubicBezTo>
                <a:cubicBezTo>
                  <a:pt x="587" y="204"/>
                  <a:pt x="587" y="208"/>
                  <a:pt x="587" y="206"/>
                </a:cubicBezTo>
                <a:close/>
                <a:moveTo>
                  <a:pt x="586" y="210"/>
                </a:moveTo>
                <a:cubicBezTo>
                  <a:pt x="587" y="211"/>
                  <a:pt x="585" y="212"/>
                  <a:pt x="585" y="213"/>
                </a:cubicBezTo>
                <a:cubicBezTo>
                  <a:pt x="584" y="212"/>
                  <a:pt x="586" y="210"/>
                  <a:pt x="586" y="210"/>
                </a:cubicBezTo>
                <a:close/>
                <a:moveTo>
                  <a:pt x="585" y="229"/>
                </a:moveTo>
                <a:cubicBezTo>
                  <a:pt x="586" y="228"/>
                  <a:pt x="585" y="230"/>
                  <a:pt x="584" y="230"/>
                </a:cubicBezTo>
                <a:cubicBezTo>
                  <a:pt x="584" y="230"/>
                  <a:pt x="585" y="229"/>
                  <a:pt x="585" y="229"/>
                </a:cubicBezTo>
                <a:close/>
                <a:moveTo>
                  <a:pt x="584" y="214"/>
                </a:moveTo>
                <a:cubicBezTo>
                  <a:pt x="584" y="212"/>
                  <a:pt x="585" y="214"/>
                  <a:pt x="584" y="214"/>
                </a:cubicBezTo>
                <a:close/>
                <a:moveTo>
                  <a:pt x="583" y="250"/>
                </a:moveTo>
                <a:cubicBezTo>
                  <a:pt x="583" y="250"/>
                  <a:pt x="583" y="251"/>
                  <a:pt x="582" y="251"/>
                </a:cubicBezTo>
                <a:cubicBezTo>
                  <a:pt x="582" y="251"/>
                  <a:pt x="581" y="251"/>
                  <a:pt x="581" y="251"/>
                </a:cubicBezTo>
                <a:cubicBezTo>
                  <a:pt x="582" y="251"/>
                  <a:pt x="583" y="251"/>
                  <a:pt x="583" y="250"/>
                </a:cubicBezTo>
                <a:close/>
                <a:moveTo>
                  <a:pt x="579" y="195"/>
                </a:moveTo>
                <a:cubicBezTo>
                  <a:pt x="578" y="194"/>
                  <a:pt x="581" y="195"/>
                  <a:pt x="579" y="195"/>
                </a:cubicBezTo>
                <a:close/>
                <a:moveTo>
                  <a:pt x="578" y="186"/>
                </a:moveTo>
                <a:cubicBezTo>
                  <a:pt x="578" y="188"/>
                  <a:pt x="573" y="190"/>
                  <a:pt x="572" y="187"/>
                </a:cubicBezTo>
                <a:cubicBezTo>
                  <a:pt x="571" y="184"/>
                  <a:pt x="579" y="182"/>
                  <a:pt x="578" y="186"/>
                </a:cubicBezTo>
                <a:close/>
                <a:moveTo>
                  <a:pt x="576" y="196"/>
                </a:moveTo>
                <a:cubicBezTo>
                  <a:pt x="576" y="196"/>
                  <a:pt x="576" y="196"/>
                  <a:pt x="576" y="196"/>
                </a:cubicBezTo>
                <a:cubicBezTo>
                  <a:pt x="577" y="198"/>
                  <a:pt x="574" y="195"/>
                  <a:pt x="576" y="196"/>
                </a:cubicBezTo>
                <a:close/>
                <a:moveTo>
                  <a:pt x="573" y="191"/>
                </a:moveTo>
                <a:cubicBezTo>
                  <a:pt x="572" y="191"/>
                  <a:pt x="571" y="192"/>
                  <a:pt x="570" y="192"/>
                </a:cubicBezTo>
                <a:cubicBezTo>
                  <a:pt x="570" y="191"/>
                  <a:pt x="573" y="190"/>
                  <a:pt x="573" y="191"/>
                </a:cubicBezTo>
                <a:close/>
                <a:moveTo>
                  <a:pt x="565" y="201"/>
                </a:moveTo>
                <a:cubicBezTo>
                  <a:pt x="565" y="202"/>
                  <a:pt x="563" y="202"/>
                  <a:pt x="563" y="201"/>
                </a:cubicBezTo>
                <a:cubicBezTo>
                  <a:pt x="563" y="200"/>
                  <a:pt x="564" y="200"/>
                  <a:pt x="565" y="201"/>
                </a:cubicBezTo>
                <a:close/>
                <a:moveTo>
                  <a:pt x="569" y="202"/>
                </a:moveTo>
                <a:cubicBezTo>
                  <a:pt x="568" y="201"/>
                  <a:pt x="562" y="207"/>
                  <a:pt x="562" y="205"/>
                </a:cubicBezTo>
                <a:cubicBezTo>
                  <a:pt x="562" y="204"/>
                  <a:pt x="567" y="200"/>
                  <a:pt x="569" y="202"/>
                </a:cubicBezTo>
                <a:close/>
                <a:moveTo>
                  <a:pt x="563" y="247"/>
                </a:moveTo>
                <a:cubicBezTo>
                  <a:pt x="563" y="247"/>
                  <a:pt x="561" y="248"/>
                  <a:pt x="561" y="248"/>
                </a:cubicBezTo>
                <a:cubicBezTo>
                  <a:pt x="560" y="247"/>
                  <a:pt x="562" y="245"/>
                  <a:pt x="563" y="247"/>
                </a:cubicBezTo>
                <a:close/>
                <a:moveTo>
                  <a:pt x="562" y="189"/>
                </a:moveTo>
                <a:cubicBezTo>
                  <a:pt x="563" y="190"/>
                  <a:pt x="560" y="191"/>
                  <a:pt x="560" y="190"/>
                </a:cubicBezTo>
                <a:cubicBezTo>
                  <a:pt x="560" y="189"/>
                  <a:pt x="562" y="189"/>
                  <a:pt x="562" y="189"/>
                </a:cubicBezTo>
                <a:close/>
                <a:moveTo>
                  <a:pt x="560" y="205"/>
                </a:moveTo>
                <a:cubicBezTo>
                  <a:pt x="563" y="203"/>
                  <a:pt x="562" y="209"/>
                  <a:pt x="560" y="207"/>
                </a:cubicBezTo>
                <a:cubicBezTo>
                  <a:pt x="558" y="207"/>
                  <a:pt x="560" y="205"/>
                  <a:pt x="560" y="205"/>
                </a:cubicBezTo>
                <a:close/>
                <a:moveTo>
                  <a:pt x="560" y="264"/>
                </a:moveTo>
                <a:cubicBezTo>
                  <a:pt x="562" y="263"/>
                  <a:pt x="559" y="266"/>
                  <a:pt x="560" y="264"/>
                </a:cubicBezTo>
                <a:cubicBezTo>
                  <a:pt x="560" y="264"/>
                  <a:pt x="560" y="264"/>
                  <a:pt x="560" y="264"/>
                </a:cubicBezTo>
                <a:close/>
                <a:moveTo>
                  <a:pt x="556" y="180"/>
                </a:moveTo>
                <a:cubicBezTo>
                  <a:pt x="557" y="181"/>
                  <a:pt x="555" y="182"/>
                  <a:pt x="555" y="181"/>
                </a:cubicBezTo>
                <a:cubicBezTo>
                  <a:pt x="555" y="181"/>
                  <a:pt x="556" y="181"/>
                  <a:pt x="556" y="180"/>
                </a:cubicBezTo>
                <a:close/>
                <a:moveTo>
                  <a:pt x="554" y="138"/>
                </a:moveTo>
                <a:cubicBezTo>
                  <a:pt x="554" y="138"/>
                  <a:pt x="555" y="138"/>
                  <a:pt x="555" y="138"/>
                </a:cubicBezTo>
                <a:cubicBezTo>
                  <a:pt x="555" y="140"/>
                  <a:pt x="552" y="136"/>
                  <a:pt x="554" y="138"/>
                </a:cubicBezTo>
                <a:close/>
                <a:moveTo>
                  <a:pt x="555" y="219"/>
                </a:moveTo>
                <a:cubicBezTo>
                  <a:pt x="555" y="219"/>
                  <a:pt x="554" y="221"/>
                  <a:pt x="553" y="221"/>
                </a:cubicBezTo>
                <a:cubicBezTo>
                  <a:pt x="553" y="220"/>
                  <a:pt x="554" y="218"/>
                  <a:pt x="555" y="219"/>
                </a:cubicBezTo>
                <a:close/>
                <a:moveTo>
                  <a:pt x="553" y="245"/>
                </a:moveTo>
                <a:cubicBezTo>
                  <a:pt x="554" y="245"/>
                  <a:pt x="552" y="246"/>
                  <a:pt x="552" y="245"/>
                </a:cubicBezTo>
                <a:cubicBezTo>
                  <a:pt x="552" y="244"/>
                  <a:pt x="553" y="244"/>
                  <a:pt x="553" y="245"/>
                </a:cubicBezTo>
                <a:close/>
                <a:moveTo>
                  <a:pt x="552" y="182"/>
                </a:move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lose/>
                <a:moveTo>
                  <a:pt x="552" y="133"/>
                </a:moveTo>
                <a:cubicBezTo>
                  <a:pt x="552" y="133"/>
                  <a:pt x="551" y="135"/>
                  <a:pt x="551" y="134"/>
                </a:cubicBezTo>
                <a:cubicBezTo>
                  <a:pt x="550" y="133"/>
                  <a:pt x="552" y="133"/>
                  <a:pt x="552" y="133"/>
                </a:cubicBezTo>
                <a:close/>
                <a:moveTo>
                  <a:pt x="552" y="158"/>
                </a:moveTo>
                <a:cubicBezTo>
                  <a:pt x="552" y="159"/>
                  <a:pt x="550" y="160"/>
                  <a:pt x="550" y="159"/>
                </a:cubicBezTo>
                <a:cubicBezTo>
                  <a:pt x="550" y="158"/>
                  <a:pt x="551" y="158"/>
                  <a:pt x="552" y="158"/>
                </a:cubicBezTo>
                <a:close/>
                <a:moveTo>
                  <a:pt x="552" y="177"/>
                </a:moveTo>
                <a:cubicBezTo>
                  <a:pt x="552" y="179"/>
                  <a:pt x="548" y="179"/>
                  <a:pt x="548" y="177"/>
                </a:cubicBezTo>
                <a:cubicBezTo>
                  <a:pt x="548" y="176"/>
                  <a:pt x="551" y="175"/>
                  <a:pt x="552" y="177"/>
                </a:cubicBezTo>
                <a:close/>
                <a:moveTo>
                  <a:pt x="547" y="170"/>
                </a:moveTo>
                <a:cubicBezTo>
                  <a:pt x="548" y="170"/>
                  <a:pt x="547" y="171"/>
                  <a:pt x="546" y="171"/>
                </a:cubicBezTo>
                <a:cubicBezTo>
                  <a:pt x="546" y="170"/>
                  <a:pt x="547" y="170"/>
                  <a:pt x="547" y="170"/>
                </a:cubicBezTo>
                <a:close/>
                <a:moveTo>
                  <a:pt x="547" y="166"/>
                </a:moveTo>
                <a:cubicBezTo>
                  <a:pt x="548" y="167"/>
                  <a:pt x="547" y="165"/>
                  <a:pt x="547" y="166"/>
                </a:cubicBezTo>
                <a:close/>
                <a:moveTo>
                  <a:pt x="548" y="133"/>
                </a:moveTo>
                <a:cubicBezTo>
                  <a:pt x="548" y="134"/>
                  <a:pt x="547" y="134"/>
                  <a:pt x="546" y="134"/>
                </a:cubicBezTo>
                <a:cubicBezTo>
                  <a:pt x="546" y="133"/>
                  <a:pt x="547" y="134"/>
                  <a:pt x="548" y="133"/>
                </a:cubicBezTo>
                <a:close/>
                <a:moveTo>
                  <a:pt x="547" y="176"/>
                </a:moveTo>
                <a:cubicBezTo>
                  <a:pt x="547" y="177"/>
                  <a:pt x="545" y="176"/>
                  <a:pt x="547" y="176"/>
                </a:cubicBezTo>
                <a:close/>
                <a:moveTo>
                  <a:pt x="546" y="168"/>
                </a:moveTo>
                <a:cubicBezTo>
                  <a:pt x="546" y="169"/>
                  <a:pt x="544" y="170"/>
                  <a:pt x="544" y="168"/>
                </a:cubicBezTo>
                <a:cubicBezTo>
                  <a:pt x="545" y="168"/>
                  <a:pt x="545" y="168"/>
                  <a:pt x="546" y="168"/>
                </a:cubicBezTo>
                <a:close/>
                <a:moveTo>
                  <a:pt x="545" y="141"/>
                </a:moveTo>
                <a:cubicBezTo>
                  <a:pt x="546" y="143"/>
                  <a:pt x="542" y="142"/>
                  <a:pt x="542" y="141"/>
                </a:cubicBezTo>
                <a:cubicBezTo>
                  <a:pt x="543" y="140"/>
                  <a:pt x="545" y="140"/>
                  <a:pt x="545" y="141"/>
                </a:cubicBezTo>
                <a:close/>
                <a:moveTo>
                  <a:pt x="540" y="150"/>
                </a:moveTo>
                <a:cubicBezTo>
                  <a:pt x="540" y="150"/>
                  <a:pt x="538" y="151"/>
                  <a:pt x="537" y="150"/>
                </a:cubicBezTo>
                <a:cubicBezTo>
                  <a:pt x="537" y="149"/>
                  <a:pt x="539" y="148"/>
                  <a:pt x="540" y="150"/>
                </a:cubicBezTo>
                <a:close/>
                <a:moveTo>
                  <a:pt x="537" y="158"/>
                </a:moveTo>
                <a:cubicBezTo>
                  <a:pt x="537" y="158"/>
                  <a:pt x="538" y="157"/>
                  <a:pt x="538" y="157"/>
                </a:cubicBezTo>
                <a:cubicBezTo>
                  <a:pt x="539" y="157"/>
                  <a:pt x="537" y="159"/>
                  <a:pt x="537" y="158"/>
                </a:cubicBezTo>
                <a:close/>
                <a:moveTo>
                  <a:pt x="538" y="165"/>
                </a:moveTo>
                <a:cubicBezTo>
                  <a:pt x="538" y="165"/>
                  <a:pt x="540" y="163"/>
                  <a:pt x="540" y="165"/>
                </a:cubicBezTo>
                <a:cubicBezTo>
                  <a:pt x="540" y="164"/>
                  <a:pt x="539" y="166"/>
                  <a:pt x="538" y="165"/>
                </a:cubicBezTo>
                <a:close/>
                <a:moveTo>
                  <a:pt x="540" y="214"/>
                </a:moveTo>
                <a:cubicBezTo>
                  <a:pt x="541" y="215"/>
                  <a:pt x="540" y="215"/>
                  <a:pt x="540" y="215"/>
                </a:cubicBezTo>
                <a:cubicBezTo>
                  <a:pt x="539" y="214"/>
                  <a:pt x="540" y="214"/>
                  <a:pt x="540" y="214"/>
                </a:cubicBezTo>
                <a:close/>
                <a:moveTo>
                  <a:pt x="541" y="291"/>
                </a:moveTo>
                <a:cubicBezTo>
                  <a:pt x="540" y="291"/>
                  <a:pt x="539" y="291"/>
                  <a:pt x="540" y="290"/>
                </a:cubicBezTo>
                <a:cubicBezTo>
                  <a:pt x="540" y="289"/>
                  <a:pt x="541" y="290"/>
                  <a:pt x="541" y="291"/>
                </a:cubicBezTo>
                <a:close/>
                <a:moveTo>
                  <a:pt x="541" y="212"/>
                </a:moveTo>
                <a:cubicBezTo>
                  <a:pt x="541" y="212"/>
                  <a:pt x="541" y="212"/>
                  <a:pt x="541" y="212"/>
                </a:cubicBezTo>
                <a:cubicBezTo>
                  <a:pt x="541" y="212"/>
                  <a:pt x="541" y="212"/>
                  <a:pt x="541" y="212"/>
                </a:cubicBezTo>
                <a:cubicBezTo>
                  <a:pt x="540" y="212"/>
                  <a:pt x="540" y="211"/>
                  <a:pt x="541" y="210"/>
                </a:cubicBezTo>
                <a:cubicBezTo>
                  <a:pt x="542" y="209"/>
                  <a:pt x="542" y="210"/>
                  <a:pt x="542" y="211"/>
                </a:cubicBezTo>
                <a:cubicBezTo>
                  <a:pt x="543" y="211"/>
                  <a:pt x="544" y="211"/>
                  <a:pt x="544" y="210"/>
                </a:cubicBezTo>
                <a:cubicBezTo>
                  <a:pt x="545" y="210"/>
                  <a:pt x="550" y="204"/>
                  <a:pt x="551" y="205"/>
                </a:cubicBezTo>
                <a:cubicBezTo>
                  <a:pt x="553" y="207"/>
                  <a:pt x="544" y="211"/>
                  <a:pt x="543" y="212"/>
                </a:cubicBezTo>
                <a:cubicBezTo>
                  <a:pt x="542" y="212"/>
                  <a:pt x="542" y="214"/>
                  <a:pt x="541" y="212"/>
                </a:cubicBezTo>
                <a:close/>
                <a:moveTo>
                  <a:pt x="549" y="242"/>
                </a:moveTo>
                <a:cubicBezTo>
                  <a:pt x="549" y="242"/>
                  <a:pt x="547" y="242"/>
                  <a:pt x="547" y="241"/>
                </a:cubicBezTo>
                <a:cubicBezTo>
                  <a:pt x="547" y="241"/>
                  <a:pt x="549" y="240"/>
                  <a:pt x="549" y="242"/>
                </a:cubicBezTo>
                <a:close/>
                <a:moveTo>
                  <a:pt x="543" y="245"/>
                </a:moveTo>
                <a:cubicBezTo>
                  <a:pt x="544" y="247"/>
                  <a:pt x="541" y="246"/>
                  <a:pt x="543" y="245"/>
                </a:cubicBezTo>
                <a:close/>
                <a:moveTo>
                  <a:pt x="547" y="220"/>
                </a:moveTo>
                <a:cubicBezTo>
                  <a:pt x="546" y="220"/>
                  <a:pt x="546" y="220"/>
                  <a:pt x="546" y="220"/>
                </a:cubicBezTo>
                <a:cubicBezTo>
                  <a:pt x="545" y="220"/>
                  <a:pt x="547" y="219"/>
                  <a:pt x="547" y="220"/>
                </a:cubicBezTo>
                <a:close/>
                <a:moveTo>
                  <a:pt x="546" y="265"/>
                </a:moveTo>
                <a:cubicBezTo>
                  <a:pt x="546" y="265"/>
                  <a:pt x="547" y="264"/>
                  <a:pt x="547" y="264"/>
                </a:cubicBezTo>
                <a:cubicBezTo>
                  <a:pt x="547" y="265"/>
                  <a:pt x="546" y="266"/>
                  <a:pt x="546" y="265"/>
                </a:cubicBezTo>
                <a:close/>
                <a:moveTo>
                  <a:pt x="548" y="300"/>
                </a:moveTo>
                <a:cubicBezTo>
                  <a:pt x="548" y="299"/>
                  <a:pt x="548" y="299"/>
                  <a:pt x="548" y="299"/>
                </a:cubicBezTo>
                <a:cubicBezTo>
                  <a:pt x="549" y="299"/>
                  <a:pt x="548" y="301"/>
                  <a:pt x="548" y="300"/>
                </a:cubicBezTo>
                <a:close/>
                <a:moveTo>
                  <a:pt x="547" y="280"/>
                </a:moveTo>
                <a:cubicBezTo>
                  <a:pt x="549" y="276"/>
                  <a:pt x="551" y="272"/>
                  <a:pt x="552" y="269"/>
                </a:cubicBezTo>
                <a:cubicBezTo>
                  <a:pt x="552" y="271"/>
                  <a:pt x="549" y="278"/>
                  <a:pt x="547" y="280"/>
                </a:cubicBezTo>
                <a:close/>
                <a:moveTo>
                  <a:pt x="553" y="329"/>
                </a:moveTo>
                <a:cubicBezTo>
                  <a:pt x="553" y="329"/>
                  <a:pt x="553" y="329"/>
                  <a:pt x="553" y="329"/>
                </a:cubicBezTo>
                <a:cubicBezTo>
                  <a:pt x="553" y="329"/>
                  <a:pt x="553" y="329"/>
                  <a:pt x="553" y="329"/>
                </a:cubicBezTo>
                <a:close/>
                <a:moveTo>
                  <a:pt x="551" y="261"/>
                </a:moveTo>
                <a:cubicBezTo>
                  <a:pt x="553" y="257"/>
                  <a:pt x="553" y="254"/>
                  <a:pt x="555" y="252"/>
                </a:cubicBezTo>
                <a:cubicBezTo>
                  <a:pt x="554" y="254"/>
                  <a:pt x="553" y="259"/>
                  <a:pt x="551" y="261"/>
                </a:cubicBezTo>
                <a:close/>
                <a:moveTo>
                  <a:pt x="554" y="222"/>
                </a:moveTo>
                <a:cubicBezTo>
                  <a:pt x="555" y="221"/>
                  <a:pt x="556" y="222"/>
                  <a:pt x="554" y="222"/>
                </a:cubicBezTo>
                <a:close/>
                <a:moveTo>
                  <a:pt x="554" y="184"/>
                </a:moveTo>
                <a:cubicBezTo>
                  <a:pt x="554" y="183"/>
                  <a:pt x="556" y="182"/>
                  <a:pt x="556" y="183"/>
                </a:cubicBezTo>
                <a:cubicBezTo>
                  <a:pt x="556" y="185"/>
                  <a:pt x="554" y="185"/>
                  <a:pt x="554" y="184"/>
                </a:cubicBezTo>
                <a:close/>
                <a:moveTo>
                  <a:pt x="557" y="285"/>
                </a:moveTo>
                <a:cubicBezTo>
                  <a:pt x="557" y="283"/>
                  <a:pt x="556" y="286"/>
                  <a:pt x="557" y="285"/>
                </a:cubicBezTo>
                <a:close/>
                <a:moveTo>
                  <a:pt x="560" y="320"/>
                </a:moveTo>
                <a:cubicBezTo>
                  <a:pt x="560" y="321"/>
                  <a:pt x="561" y="319"/>
                  <a:pt x="560" y="320"/>
                </a:cubicBezTo>
                <a:close/>
                <a:moveTo>
                  <a:pt x="557" y="283"/>
                </a:moveTo>
                <a:cubicBezTo>
                  <a:pt x="556" y="281"/>
                  <a:pt x="561" y="279"/>
                  <a:pt x="561" y="281"/>
                </a:cubicBezTo>
                <a:cubicBezTo>
                  <a:pt x="562" y="283"/>
                  <a:pt x="558" y="284"/>
                  <a:pt x="557" y="283"/>
                </a:cubicBezTo>
                <a:close/>
                <a:moveTo>
                  <a:pt x="562" y="258"/>
                </a:moveTo>
                <a:cubicBezTo>
                  <a:pt x="562" y="258"/>
                  <a:pt x="563" y="257"/>
                  <a:pt x="563" y="257"/>
                </a:cubicBezTo>
                <a:cubicBezTo>
                  <a:pt x="564" y="258"/>
                  <a:pt x="561" y="259"/>
                  <a:pt x="562" y="258"/>
                </a:cubicBezTo>
                <a:close/>
                <a:moveTo>
                  <a:pt x="565" y="221"/>
                </a:moveTo>
                <a:cubicBezTo>
                  <a:pt x="564" y="221"/>
                  <a:pt x="564" y="219"/>
                  <a:pt x="565" y="220"/>
                </a:cubicBezTo>
                <a:cubicBezTo>
                  <a:pt x="565" y="220"/>
                  <a:pt x="565" y="221"/>
                  <a:pt x="565" y="221"/>
                </a:cubicBezTo>
                <a:close/>
                <a:moveTo>
                  <a:pt x="566" y="206"/>
                </a:moveTo>
                <a:cubicBezTo>
                  <a:pt x="565" y="211"/>
                  <a:pt x="567" y="204"/>
                  <a:pt x="568" y="203"/>
                </a:cubicBezTo>
                <a:cubicBezTo>
                  <a:pt x="569" y="202"/>
                  <a:pt x="574" y="202"/>
                  <a:pt x="576" y="203"/>
                </a:cubicBezTo>
                <a:cubicBezTo>
                  <a:pt x="579" y="205"/>
                  <a:pt x="577" y="210"/>
                  <a:pt x="574" y="212"/>
                </a:cubicBezTo>
                <a:cubicBezTo>
                  <a:pt x="573" y="213"/>
                  <a:pt x="570" y="213"/>
                  <a:pt x="569" y="213"/>
                </a:cubicBezTo>
                <a:cubicBezTo>
                  <a:pt x="566" y="214"/>
                  <a:pt x="567" y="214"/>
                  <a:pt x="565" y="212"/>
                </a:cubicBezTo>
                <a:cubicBezTo>
                  <a:pt x="562" y="210"/>
                  <a:pt x="562" y="205"/>
                  <a:pt x="566" y="206"/>
                </a:cubicBezTo>
                <a:close/>
                <a:moveTo>
                  <a:pt x="573" y="236"/>
                </a:moveTo>
                <a:cubicBezTo>
                  <a:pt x="575" y="234"/>
                  <a:pt x="572" y="237"/>
                  <a:pt x="573" y="236"/>
                </a:cubicBezTo>
                <a:close/>
                <a:moveTo>
                  <a:pt x="571" y="238"/>
                </a:moveTo>
                <a:cubicBezTo>
                  <a:pt x="573" y="236"/>
                  <a:pt x="569" y="239"/>
                  <a:pt x="571" y="238"/>
                </a:cubicBezTo>
                <a:close/>
                <a:moveTo>
                  <a:pt x="569" y="326"/>
                </a:moveTo>
                <a:cubicBezTo>
                  <a:pt x="568" y="326"/>
                  <a:pt x="569" y="325"/>
                  <a:pt x="569" y="325"/>
                </a:cubicBezTo>
                <a:cubicBezTo>
                  <a:pt x="570" y="324"/>
                  <a:pt x="570" y="327"/>
                  <a:pt x="569" y="326"/>
                </a:cubicBezTo>
                <a:close/>
                <a:moveTo>
                  <a:pt x="567" y="224"/>
                </a:moveTo>
                <a:cubicBezTo>
                  <a:pt x="566" y="223"/>
                  <a:pt x="567" y="222"/>
                  <a:pt x="567" y="222"/>
                </a:cubicBezTo>
                <a:cubicBezTo>
                  <a:pt x="568" y="222"/>
                  <a:pt x="567" y="223"/>
                  <a:pt x="567" y="224"/>
                </a:cubicBezTo>
                <a:close/>
                <a:moveTo>
                  <a:pt x="567" y="311"/>
                </a:moveTo>
                <a:cubicBezTo>
                  <a:pt x="568" y="312"/>
                  <a:pt x="566" y="312"/>
                  <a:pt x="567" y="311"/>
                </a:cubicBezTo>
                <a:close/>
                <a:moveTo>
                  <a:pt x="565" y="280"/>
                </a:moveTo>
                <a:cubicBezTo>
                  <a:pt x="565" y="277"/>
                  <a:pt x="567" y="277"/>
                  <a:pt x="565" y="280"/>
                </a:cubicBezTo>
                <a:close/>
                <a:moveTo>
                  <a:pt x="566" y="411"/>
                </a:moveTo>
                <a:cubicBezTo>
                  <a:pt x="568" y="409"/>
                  <a:pt x="569" y="406"/>
                  <a:pt x="572" y="405"/>
                </a:cubicBezTo>
                <a:cubicBezTo>
                  <a:pt x="570" y="407"/>
                  <a:pt x="568" y="410"/>
                  <a:pt x="566" y="411"/>
                </a:cubicBezTo>
                <a:close/>
                <a:moveTo>
                  <a:pt x="571" y="279"/>
                </a:moveTo>
                <a:cubicBezTo>
                  <a:pt x="571" y="279"/>
                  <a:pt x="573" y="279"/>
                  <a:pt x="572" y="279"/>
                </a:cubicBezTo>
                <a:cubicBezTo>
                  <a:pt x="572" y="280"/>
                  <a:pt x="571" y="280"/>
                  <a:pt x="571" y="279"/>
                </a:cubicBezTo>
                <a:close/>
                <a:moveTo>
                  <a:pt x="573" y="383"/>
                </a:moveTo>
                <a:cubicBezTo>
                  <a:pt x="571" y="382"/>
                  <a:pt x="573" y="380"/>
                  <a:pt x="574" y="379"/>
                </a:cubicBezTo>
                <a:cubicBezTo>
                  <a:pt x="577" y="377"/>
                  <a:pt x="575" y="384"/>
                  <a:pt x="573" y="383"/>
                </a:cubicBezTo>
                <a:close/>
                <a:moveTo>
                  <a:pt x="578" y="218"/>
                </a:moveTo>
                <a:cubicBezTo>
                  <a:pt x="583" y="216"/>
                  <a:pt x="584" y="224"/>
                  <a:pt x="580" y="226"/>
                </a:cubicBezTo>
                <a:cubicBezTo>
                  <a:pt x="573" y="230"/>
                  <a:pt x="572" y="220"/>
                  <a:pt x="578" y="218"/>
                </a:cubicBezTo>
                <a:close/>
                <a:moveTo>
                  <a:pt x="577" y="295"/>
                </a:moveTo>
                <a:cubicBezTo>
                  <a:pt x="577" y="295"/>
                  <a:pt x="577" y="295"/>
                  <a:pt x="577" y="296"/>
                </a:cubicBezTo>
                <a:cubicBezTo>
                  <a:pt x="576" y="296"/>
                  <a:pt x="577" y="295"/>
                  <a:pt x="577" y="295"/>
                </a:cubicBezTo>
                <a:close/>
                <a:moveTo>
                  <a:pt x="577" y="425"/>
                </a:moveTo>
                <a:cubicBezTo>
                  <a:pt x="576" y="426"/>
                  <a:pt x="578" y="423"/>
                  <a:pt x="577" y="425"/>
                </a:cubicBezTo>
                <a:close/>
                <a:moveTo>
                  <a:pt x="577" y="371"/>
                </a:moveTo>
                <a:cubicBezTo>
                  <a:pt x="576" y="370"/>
                  <a:pt x="578" y="370"/>
                  <a:pt x="577" y="371"/>
                </a:cubicBezTo>
                <a:close/>
                <a:moveTo>
                  <a:pt x="577" y="297"/>
                </a:moveTo>
                <a:cubicBezTo>
                  <a:pt x="578" y="296"/>
                  <a:pt x="578" y="297"/>
                  <a:pt x="578" y="297"/>
                </a:cubicBezTo>
                <a:cubicBezTo>
                  <a:pt x="579" y="299"/>
                  <a:pt x="576" y="297"/>
                  <a:pt x="577" y="297"/>
                </a:cubicBezTo>
                <a:close/>
                <a:moveTo>
                  <a:pt x="580" y="277"/>
                </a:moveTo>
                <a:cubicBezTo>
                  <a:pt x="580" y="277"/>
                  <a:pt x="580" y="277"/>
                  <a:pt x="580" y="277"/>
                </a:cubicBezTo>
                <a:cubicBezTo>
                  <a:pt x="581" y="277"/>
                  <a:pt x="579" y="278"/>
                  <a:pt x="580" y="277"/>
                </a:cubicBezTo>
                <a:close/>
                <a:moveTo>
                  <a:pt x="580" y="387"/>
                </a:moveTo>
                <a:cubicBezTo>
                  <a:pt x="580" y="386"/>
                  <a:pt x="582" y="385"/>
                  <a:pt x="582" y="384"/>
                </a:cubicBezTo>
                <a:cubicBezTo>
                  <a:pt x="583" y="385"/>
                  <a:pt x="581" y="386"/>
                  <a:pt x="580" y="387"/>
                </a:cubicBezTo>
                <a:close/>
                <a:moveTo>
                  <a:pt x="578" y="268"/>
                </a:moveTo>
                <a:cubicBezTo>
                  <a:pt x="578" y="266"/>
                  <a:pt x="584" y="266"/>
                  <a:pt x="582" y="269"/>
                </a:cubicBezTo>
                <a:cubicBezTo>
                  <a:pt x="582" y="271"/>
                  <a:pt x="578" y="270"/>
                  <a:pt x="578" y="268"/>
                </a:cubicBezTo>
                <a:close/>
                <a:moveTo>
                  <a:pt x="582" y="302"/>
                </a:moveTo>
                <a:cubicBezTo>
                  <a:pt x="582" y="302"/>
                  <a:pt x="582" y="301"/>
                  <a:pt x="583" y="301"/>
                </a:cubicBezTo>
                <a:cubicBezTo>
                  <a:pt x="585" y="299"/>
                  <a:pt x="584" y="304"/>
                  <a:pt x="582" y="302"/>
                </a:cubicBezTo>
                <a:close/>
                <a:moveTo>
                  <a:pt x="584" y="367"/>
                </a:moveTo>
                <a:cubicBezTo>
                  <a:pt x="584" y="369"/>
                  <a:pt x="582" y="368"/>
                  <a:pt x="584" y="367"/>
                </a:cubicBezTo>
                <a:close/>
                <a:moveTo>
                  <a:pt x="584" y="364"/>
                </a:moveTo>
                <a:cubicBezTo>
                  <a:pt x="584" y="363"/>
                  <a:pt x="584" y="363"/>
                  <a:pt x="585" y="363"/>
                </a:cubicBezTo>
                <a:cubicBezTo>
                  <a:pt x="586" y="363"/>
                  <a:pt x="583" y="365"/>
                  <a:pt x="584" y="364"/>
                </a:cubicBezTo>
                <a:close/>
                <a:moveTo>
                  <a:pt x="585" y="305"/>
                </a:moveTo>
                <a:cubicBezTo>
                  <a:pt x="585" y="305"/>
                  <a:pt x="586" y="304"/>
                  <a:pt x="586" y="305"/>
                </a:cubicBezTo>
                <a:cubicBezTo>
                  <a:pt x="587" y="305"/>
                  <a:pt x="585" y="306"/>
                  <a:pt x="585" y="305"/>
                </a:cubicBezTo>
                <a:close/>
                <a:moveTo>
                  <a:pt x="585" y="289"/>
                </a:moveTo>
                <a:cubicBezTo>
                  <a:pt x="585" y="288"/>
                  <a:pt x="586" y="288"/>
                  <a:pt x="586" y="288"/>
                </a:cubicBezTo>
                <a:cubicBezTo>
                  <a:pt x="586" y="288"/>
                  <a:pt x="585" y="289"/>
                  <a:pt x="585" y="289"/>
                </a:cubicBezTo>
                <a:close/>
                <a:moveTo>
                  <a:pt x="585" y="250"/>
                </a:moveTo>
                <a:cubicBezTo>
                  <a:pt x="586" y="249"/>
                  <a:pt x="587" y="248"/>
                  <a:pt x="589" y="247"/>
                </a:cubicBezTo>
                <a:cubicBezTo>
                  <a:pt x="588" y="248"/>
                  <a:pt x="586" y="249"/>
                  <a:pt x="585" y="250"/>
                </a:cubicBezTo>
                <a:close/>
                <a:moveTo>
                  <a:pt x="590" y="437"/>
                </a:moveTo>
                <a:cubicBezTo>
                  <a:pt x="589" y="435"/>
                  <a:pt x="591" y="433"/>
                  <a:pt x="593" y="431"/>
                </a:cubicBezTo>
                <a:cubicBezTo>
                  <a:pt x="592" y="433"/>
                  <a:pt x="591" y="435"/>
                  <a:pt x="590" y="437"/>
                </a:cubicBezTo>
                <a:close/>
                <a:moveTo>
                  <a:pt x="594" y="251"/>
                </a:moveTo>
                <a:cubicBezTo>
                  <a:pt x="596" y="250"/>
                  <a:pt x="595" y="255"/>
                  <a:pt x="593" y="253"/>
                </a:cubicBezTo>
                <a:cubicBezTo>
                  <a:pt x="593" y="253"/>
                  <a:pt x="593" y="252"/>
                  <a:pt x="594" y="251"/>
                </a:cubicBezTo>
                <a:close/>
                <a:moveTo>
                  <a:pt x="594" y="357"/>
                </a:moveTo>
                <a:cubicBezTo>
                  <a:pt x="594" y="357"/>
                  <a:pt x="594" y="356"/>
                  <a:pt x="595" y="356"/>
                </a:cubicBezTo>
                <a:cubicBezTo>
                  <a:pt x="596" y="357"/>
                  <a:pt x="592" y="359"/>
                  <a:pt x="594" y="357"/>
                </a:cubicBezTo>
                <a:close/>
                <a:moveTo>
                  <a:pt x="595" y="371"/>
                </a:moveTo>
                <a:cubicBezTo>
                  <a:pt x="595" y="372"/>
                  <a:pt x="594" y="373"/>
                  <a:pt x="593" y="373"/>
                </a:cubicBezTo>
                <a:cubicBezTo>
                  <a:pt x="593" y="372"/>
                  <a:pt x="594" y="371"/>
                  <a:pt x="595" y="371"/>
                </a:cubicBezTo>
                <a:close/>
                <a:moveTo>
                  <a:pt x="593" y="429"/>
                </a:move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lose/>
                <a:moveTo>
                  <a:pt x="594" y="472"/>
                </a:moveTo>
                <a:cubicBezTo>
                  <a:pt x="594" y="472"/>
                  <a:pt x="595" y="470"/>
                  <a:pt x="595" y="470"/>
                </a:cubicBezTo>
                <a:cubicBezTo>
                  <a:pt x="596" y="471"/>
                  <a:pt x="594" y="472"/>
                  <a:pt x="594" y="472"/>
                </a:cubicBezTo>
                <a:close/>
                <a:moveTo>
                  <a:pt x="598" y="422"/>
                </a:moveTo>
                <a:cubicBezTo>
                  <a:pt x="598" y="423"/>
                  <a:pt x="596" y="426"/>
                  <a:pt x="594" y="428"/>
                </a:cubicBezTo>
                <a:cubicBezTo>
                  <a:pt x="594" y="425"/>
                  <a:pt x="599" y="418"/>
                  <a:pt x="598" y="422"/>
                </a:cubicBezTo>
                <a:close/>
                <a:moveTo>
                  <a:pt x="595" y="356"/>
                </a:moveTo>
                <a:cubicBezTo>
                  <a:pt x="596" y="355"/>
                  <a:pt x="597" y="354"/>
                  <a:pt x="599" y="353"/>
                </a:cubicBezTo>
                <a:cubicBezTo>
                  <a:pt x="598" y="355"/>
                  <a:pt x="597" y="355"/>
                  <a:pt x="595" y="356"/>
                </a:cubicBezTo>
                <a:close/>
                <a:moveTo>
                  <a:pt x="686" y="310"/>
                </a:moveTo>
                <a:cubicBezTo>
                  <a:pt x="686" y="309"/>
                  <a:pt x="686" y="312"/>
                  <a:pt x="686" y="310"/>
                </a:cubicBezTo>
                <a:close/>
                <a:moveTo>
                  <a:pt x="679" y="298"/>
                </a:moveTo>
                <a:cubicBezTo>
                  <a:pt x="682" y="297"/>
                  <a:pt x="678" y="302"/>
                  <a:pt x="678" y="299"/>
                </a:cubicBezTo>
                <a:cubicBezTo>
                  <a:pt x="678" y="299"/>
                  <a:pt x="678" y="298"/>
                  <a:pt x="679" y="298"/>
                </a:cubicBezTo>
                <a:close/>
                <a:moveTo>
                  <a:pt x="676" y="297"/>
                </a:moveTo>
                <a:cubicBezTo>
                  <a:pt x="677" y="295"/>
                  <a:pt x="676" y="298"/>
                  <a:pt x="676" y="297"/>
                </a:cubicBezTo>
                <a:close/>
                <a:moveTo>
                  <a:pt x="671" y="307"/>
                </a:moveTo>
                <a:cubicBezTo>
                  <a:pt x="671" y="307"/>
                  <a:pt x="672" y="308"/>
                  <a:pt x="671" y="308"/>
                </a:cubicBezTo>
                <a:cubicBezTo>
                  <a:pt x="670" y="309"/>
                  <a:pt x="671" y="307"/>
                  <a:pt x="671" y="307"/>
                </a:cubicBezTo>
                <a:close/>
                <a:moveTo>
                  <a:pt x="672" y="331"/>
                </a:moveTo>
                <a:cubicBezTo>
                  <a:pt x="672" y="331"/>
                  <a:pt x="675" y="326"/>
                  <a:pt x="675" y="328"/>
                </a:cubicBezTo>
                <a:cubicBezTo>
                  <a:pt x="675" y="331"/>
                  <a:pt x="670" y="334"/>
                  <a:pt x="668" y="337"/>
                </a:cubicBezTo>
                <a:cubicBezTo>
                  <a:pt x="669" y="335"/>
                  <a:pt x="671" y="333"/>
                  <a:pt x="672" y="331"/>
                </a:cubicBezTo>
                <a:close/>
                <a:moveTo>
                  <a:pt x="669" y="271"/>
                </a:moveTo>
                <a:cubicBezTo>
                  <a:pt x="668" y="270"/>
                  <a:pt x="671" y="264"/>
                  <a:pt x="672" y="266"/>
                </a:cubicBezTo>
                <a:cubicBezTo>
                  <a:pt x="674" y="267"/>
                  <a:pt x="670" y="270"/>
                  <a:pt x="669" y="271"/>
                </a:cubicBezTo>
                <a:close/>
                <a:moveTo>
                  <a:pt x="674" y="235"/>
                </a:moveTo>
                <a:cubicBezTo>
                  <a:pt x="673" y="236"/>
                  <a:pt x="675" y="233"/>
                  <a:pt x="674" y="235"/>
                </a:cubicBezTo>
                <a:close/>
                <a:moveTo>
                  <a:pt x="676" y="252"/>
                </a:moveTo>
                <a:cubicBezTo>
                  <a:pt x="676" y="250"/>
                  <a:pt x="677" y="251"/>
                  <a:pt x="676" y="252"/>
                </a:cubicBezTo>
                <a:close/>
                <a:moveTo>
                  <a:pt x="673" y="222"/>
                </a:moveTo>
                <a:cubicBezTo>
                  <a:pt x="674" y="221"/>
                  <a:pt x="676" y="222"/>
                  <a:pt x="676" y="222"/>
                </a:cubicBezTo>
                <a:cubicBezTo>
                  <a:pt x="678" y="225"/>
                  <a:pt x="674" y="230"/>
                  <a:pt x="672" y="229"/>
                </a:cubicBezTo>
                <a:cubicBezTo>
                  <a:pt x="669" y="227"/>
                  <a:pt x="671" y="223"/>
                  <a:pt x="673" y="222"/>
                </a:cubicBezTo>
                <a:close/>
                <a:moveTo>
                  <a:pt x="669" y="233"/>
                </a:moveTo>
                <a:cubicBezTo>
                  <a:pt x="669" y="232"/>
                  <a:pt x="670" y="231"/>
                  <a:pt x="670" y="230"/>
                </a:cubicBezTo>
                <a:cubicBezTo>
                  <a:pt x="669" y="230"/>
                  <a:pt x="669" y="230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1" y="229"/>
                </a:cubicBezTo>
                <a:cubicBezTo>
                  <a:pt x="670" y="230"/>
                  <a:pt x="670" y="230"/>
                  <a:pt x="670" y="230"/>
                </a:cubicBezTo>
                <a:cubicBezTo>
                  <a:pt x="670" y="233"/>
                  <a:pt x="669" y="236"/>
                  <a:pt x="668" y="238"/>
                </a:cubicBezTo>
                <a:cubicBezTo>
                  <a:pt x="668" y="237"/>
                  <a:pt x="668" y="235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lose/>
                <a:moveTo>
                  <a:pt x="668" y="231"/>
                </a:moveTo>
                <a:cubicBezTo>
                  <a:pt x="668" y="233"/>
                  <a:pt x="666" y="231"/>
                  <a:pt x="668" y="231"/>
                </a:cubicBezTo>
                <a:close/>
                <a:moveTo>
                  <a:pt x="671" y="249"/>
                </a:moveTo>
                <a:cubicBezTo>
                  <a:pt x="670" y="250"/>
                  <a:pt x="668" y="251"/>
                  <a:pt x="666" y="252"/>
                </a:cubicBezTo>
                <a:cubicBezTo>
                  <a:pt x="667" y="250"/>
                  <a:pt x="669" y="250"/>
                  <a:pt x="671" y="249"/>
                </a:cubicBezTo>
                <a:close/>
                <a:moveTo>
                  <a:pt x="667" y="257"/>
                </a:moveTo>
                <a:cubicBezTo>
                  <a:pt x="667" y="258"/>
                  <a:pt x="666" y="260"/>
                  <a:pt x="665" y="261"/>
                </a:cubicBezTo>
                <a:cubicBezTo>
                  <a:pt x="665" y="259"/>
                  <a:pt x="667" y="259"/>
                  <a:pt x="667" y="257"/>
                </a:cubicBezTo>
                <a:close/>
                <a:moveTo>
                  <a:pt x="666" y="302"/>
                </a:moveTo>
                <a:cubicBezTo>
                  <a:pt x="666" y="302"/>
                  <a:pt x="666" y="302"/>
                  <a:pt x="666" y="301"/>
                </a:cubicBezTo>
                <a:cubicBezTo>
                  <a:pt x="666" y="300"/>
                  <a:pt x="667" y="302"/>
                  <a:pt x="666" y="302"/>
                </a:cubicBezTo>
                <a:close/>
                <a:moveTo>
                  <a:pt x="657" y="233"/>
                </a:moveTo>
                <a:cubicBezTo>
                  <a:pt x="657" y="233"/>
                  <a:pt x="657" y="233"/>
                  <a:pt x="657" y="233"/>
                </a:cubicBezTo>
                <a:cubicBezTo>
                  <a:pt x="657" y="235"/>
                  <a:pt x="655" y="233"/>
                  <a:pt x="657" y="233"/>
                </a:cubicBezTo>
                <a:close/>
                <a:moveTo>
                  <a:pt x="655" y="232"/>
                </a:moveTo>
                <a:cubicBezTo>
                  <a:pt x="656" y="232"/>
                  <a:pt x="656" y="234"/>
                  <a:pt x="655" y="234"/>
                </a:cubicBezTo>
                <a:cubicBezTo>
                  <a:pt x="654" y="233"/>
                  <a:pt x="655" y="232"/>
                  <a:pt x="655" y="232"/>
                </a:cubicBezTo>
                <a:close/>
                <a:moveTo>
                  <a:pt x="655" y="256"/>
                </a:moveTo>
                <a:cubicBezTo>
                  <a:pt x="657" y="254"/>
                  <a:pt x="657" y="259"/>
                  <a:pt x="655" y="259"/>
                </a:cubicBezTo>
                <a:cubicBezTo>
                  <a:pt x="654" y="258"/>
                  <a:pt x="654" y="256"/>
                  <a:pt x="655" y="256"/>
                </a:cubicBezTo>
                <a:close/>
                <a:moveTo>
                  <a:pt x="651" y="231"/>
                </a:moveTo>
                <a:cubicBezTo>
                  <a:pt x="651" y="231"/>
                  <a:pt x="652" y="230"/>
                  <a:pt x="653" y="231"/>
                </a:cubicBezTo>
                <a:cubicBezTo>
                  <a:pt x="654" y="232"/>
                  <a:pt x="650" y="234"/>
                  <a:pt x="651" y="231"/>
                </a:cubicBezTo>
                <a:close/>
                <a:moveTo>
                  <a:pt x="651" y="229"/>
                </a:moveTo>
                <a:cubicBezTo>
                  <a:pt x="651" y="228"/>
                  <a:pt x="650" y="231"/>
                  <a:pt x="651" y="229"/>
                </a:cubicBezTo>
                <a:close/>
                <a:moveTo>
                  <a:pt x="647" y="239"/>
                </a:moveTo>
                <a:cubicBezTo>
                  <a:pt x="648" y="237"/>
                  <a:pt x="650" y="241"/>
                  <a:pt x="647" y="241"/>
                </a:cubicBezTo>
                <a:cubicBezTo>
                  <a:pt x="647" y="240"/>
                  <a:pt x="646" y="239"/>
                  <a:pt x="647" y="239"/>
                </a:cubicBezTo>
                <a:close/>
                <a:moveTo>
                  <a:pt x="649" y="265"/>
                </a:moveTo>
                <a:cubicBezTo>
                  <a:pt x="650" y="264"/>
                  <a:pt x="651" y="260"/>
                  <a:pt x="653" y="260"/>
                </a:cubicBezTo>
                <a:cubicBezTo>
                  <a:pt x="657" y="258"/>
                  <a:pt x="649" y="267"/>
                  <a:pt x="648" y="268"/>
                </a:cubicBezTo>
                <a:cubicBezTo>
                  <a:pt x="650" y="266"/>
                  <a:pt x="648" y="270"/>
                  <a:pt x="647" y="269"/>
                </a:cubicBezTo>
                <a:cubicBezTo>
                  <a:pt x="646" y="269"/>
                  <a:pt x="648" y="266"/>
                  <a:pt x="649" y="265"/>
                </a:cubicBezTo>
                <a:close/>
                <a:moveTo>
                  <a:pt x="652" y="271"/>
                </a:moveTo>
                <a:cubicBezTo>
                  <a:pt x="653" y="272"/>
                  <a:pt x="651" y="272"/>
                  <a:pt x="651" y="272"/>
                </a:cubicBezTo>
                <a:cubicBezTo>
                  <a:pt x="651" y="271"/>
                  <a:pt x="652" y="270"/>
                  <a:pt x="652" y="271"/>
                </a:cubicBezTo>
                <a:close/>
                <a:moveTo>
                  <a:pt x="657" y="273"/>
                </a:moveTo>
                <a:cubicBezTo>
                  <a:pt x="653" y="278"/>
                  <a:pt x="649" y="282"/>
                  <a:pt x="643" y="286"/>
                </a:cubicBezTo>
                <a:cubicBezTo>
                  <a:pt x="648" y="281"/>
                  <a:pt x="652" y="277"/>
                  <a:pt x="657" y="273"/>
                </a:cubicBezTo>
                <a:close/>
                <a:moveTo>
                  <a:pt x="645" y="387"/>
                </a:moveTo>
                <a:cubicBezTo>
                  <a:pt x="645" y="389"/>
                  <a:pt x="643" y="388"/>
                  <a:pt x="645" y="387"/>
                </a:cubicBezTo>
                <a:close/>
                <a:moveTo>
                  <a:pt x="645" y="390"/>
                </a:moveTo>
                <a:cubicBezTo>
                  <a:pt x="645" y="388"/>
                  <a:pt x="644" y="391"/>
                  <a:pt x="645" y="390"/>
                </a:cubicBezTo>
                <a:close/>
                <a:moveTo>
                  <a:pt x="641" y="392"/>
                </a:moveTo>
                <a:cubicBezTo>
                  <a:pt x="642" y="391"/>
                  <a:pt x="642" y="390"/>
                  <a:pt x="643" y="389"/>
                </a:cubicBezTo>
                <a:cubicBezTo>
                  <a:pt x="643" y="390"/>
                  <a:pt x="643" y="391"/>
                  <a:pt x="641" y="392"/>
                </a:cubicBezTo>
                <a:close/>
                <a:moveTo>
                  <a:pt x="642" y="393"/>
                </a:moveTo>
                <a:cubicBezTo>
                  <a:pt x="643" y="393"/>
                  <a:pt x="640" y="395"/>
                  <a:pt x="642" y="393"/>
                </a:cubicBezTo>
                <a:close/>
                <a:moveTo>
                  <a:pt x="643" y="300"/>
                </a:moveTo>
                <a:cubicBezTo>
                  <a:pt x="642" y="300"/>
                  <a:pt x="643" y="299"/>
                  <a:pt x="643" y="299"/>
                </a:cubicBezTo>
                <a:cubicBezTo>
                  <a:pt x="644" y="297"/>
                  <a:pt x="644" y="301"/>
                  <a:pt x="643" y="300"/>
                </a:cubicBezTo>
                <a:close/>
                <a:moveTo>
                  <a:pt x="642" y="297"/>
                </a:moveTo>
                <a:cubicBezTo>
                  <a:pt x="642" y="296"/>
                  <a:pt x="643" y="296"/>
                  <a:pt x="644" y="295"/>
                </a:cubicBezTo>
                <a:cubicBezTo>
                  <a:pt x="644" y="296"/>
                  <a:pt x="643" y="297"/>
                  <a:pt x="642" y="297"/>
                </a:cubicBezTo>
                <a:close/>
                <a:moveTo>
                  <a:pt x="639" y="297"/>
                </a:moveTo>
                <a:cubicBezTo>
                  <a:pt x="638" y="296"/>
                  <a:pt x="644" y="290"/>
                  <a:pt x="645" y="290"/>
                </a:cubicBezTo>
                <a:cubicBezTo>
                  <a:pt x="645" y="289"/>
                  <a:pt x="646" y="289"/>
                  <a:pt x="647" y="289"/>
                </a:cubicBezTo>
                <a:cubicBezTo>
                  <a:pt x="647" y="289"/>
                  <a:pt x="640" y="298"/>
                  <a:pt x="639" y="297"/>
                </a:cubicBezTo>
                <a:close/>
                <a:moveTo>
                  <a:pt x="642" y="298"/>
                </a:moveTo>
                <a:cubicBezTo>
                  <a:pt x="641" y="300"/>
                  <a:pt x="639" y="299"/>
                  <a:pt x="642" y="298"/>
                </a:cubicBezTo>
                <a:close/>
                <a:moveTo>
                  <a:pt x="639" y="303"/>
                </a:moveTo>
                <a:cubicBezTo>
                  <a:pt x="639" y="303"/>
                  <a:pt x="639" y="302"/>
                  <a:pt x="639" y="302"/>
                </a:cubicBezTo>
                <a:cubicBezTo>
                  <a:pt x="641" y="300"/>
                  <a:pt x="640" y="304"/>
                  <a:pt x="639" y="303"/>
                </a:cubicBezTo>
                <a:close/>
                <a:moveTo>
                  <a:pt x="640" y="320"/>
                </a:moveTo>
                <a:cubicBezTo>
                  <a:pt x="640" y="320"/>
                  <a:pt x="639" y="321"/>
                  <a:pt x="639" y="321"/>
                </a:cubicBezTo>
                <a:cubicBezTo>
                  <a:pt x="638" y="321"/>
                  <a:pt x="639" y="320"/>
                  <a:pt x="640" y="320"/>
                </a:cubicBezTo>
                <a:close/>
                <a:moveTo>
                  <a:pt x="638" y="266"/>
                </a:moveTo>
                <a:cubicBezTo>
                  <a:pt x="637" y="266"/>
                  <a:pt x="639" y="265"/>
                  <a:pt x="638" y="264"/>
                </a:cubicBezTo>
                <a:cubicBezTo>
                  <a:pt x="639" y="264"/>
                  <a:pt x="638" y="266"/>
                  <a:pt x="638" y="266"/>
                </a:cubicBezTo>
                <a:close/>
                <a:moveTo>
                  <a:pt x="638" y="268"/>
                </a:moveTo>
                <a:cubicBezTo>
                  <a:pt x="638" y="268"/>
                  <a:pt x="638" y="269"/>
                  <a:pt x="638" y="269"/>
                </a:cubicBezTo>
                <a:cubicBezTo>
                  <a:pt x="638" y="269"/>
                  <a:pt x="638" y="269"/>
                  <a:pt x="638" y="269"/>
                </a:cubicBezTo>
                <a:cubicBezTo>
                  <a:pt x="638" y="269"/>
                  <a:pt x="638" y="269"/>
                  <a:pt x="638" y="268"/>
                </a:cubicBezTo>
                <a:close/>
                <a:moveTo>
                  <a:pt x="642" y="286"/>
                </a:moveTo>
                <a:cubicBezTo>
                  <a:pt x="642" y="287"/>
                  <a:pt x="639" y="289"/>
                  <a:pt x="638" y="290"/>
                </a:cubicBezTo>
                <a:cubicBezTo>
                  <a:pt x="638" y="288"/>
                  <a:pt x="641" y="288"/>
                  <a:pt x="642" y="286"/>
                </a:cubicBezTo>
                <a:close/>
                <a:moveTo>
                  <a:pt x="644" y="234"/>
                </a:moveTo>
                <a:cubicBezTo>
                  <a:pt x="643" y="235"/>
                  <a:pt x="643" y="234"/>
                  <a:pt x="644" y="234"/>
                </a:cubicBezTo>
                <a:close/>
                <a:moveTo>
                  <a:pt x="643" y="251"/>
                </a:moveTo>
                <a:cubicBezTo>
                  <a:pt x="643" y="252"/>
                  <a:pt x="642" y="253"/>
                  <a:pt x="642" y="253"/>
                </a:cubicBezTo>
                <a:cubicBezTo>
                  <a:pt x="642" y="253"/>
                  <a:pt x="642" y="251"/>
                  <a:pt x="643" y="251"/>
                </a:cubicBezTo>
                <a:close/>
                <a:moveTo>
                  <a:pt x="645" y="254"/>
                </a:moveTo>
                <a:cubicBezTo>
                  <a:pt x="643" y="257"/>
                  <a:pt x="641" y="258"/>
                  <a:pt x="638" y="260"/>
                </a:cubicBezTo>
                <a:cubicBezTo>
                  <a:pt x="640" y="258"/>
                  <a:pt x="642" y="256"/>
                  <a:pt x="645" y="254"/>
                </a:cubicBezTo>
                <a:close/>
                <a:moveTo>
                  <a:pt x="640" y="225"/>
                </a:moveTo>
                <a:cubicBezTo>
                  <a:pt x="640" y="225"/>
                  <a:pt x="640" y="225"/>
                  <a:pt x="640" y="225"/>
                </a:cubicBezTo>
                <a:cubicBezTo>
                  <a:pt x="640" y="225"/>
                  <a:pt x="640" y="225"/>
                  <a:pt x="640" y="226"/>
                </a:cubicBezTo>
                <a:cubicBezTo>
                  <a:pt x="640" y="226"/>
                  <a:pt x="640" y="226"/>
                  <a:pt x="640" y="225"/>
                </a:cubicBezTo>
                <a:close/>
                <a:moveTo>
                  <a:pt x="640" y="241"/>
                </a:moveTo>
                <a:cubicBezTo>
                  <a:pt x="641" y="243"/>
                  <a:pt x="638" y="244"/>
                  <a:pt x="638" y="242"/>
                </a:cubicBezTo>
                <a:cubicBezTo>
                  <a:pt x="637" y="241"/>
                  <a:pt x="640" y="239"/>
                  <a:pt x="640" y="241"/>
                </a:cubicBezTo>
                <a:close/>
                <a:moveTo>
                  <a:pt x="638" y="290"/>
                </a:moveTo>
                <a:cubicBezTo>
                  <a:pt x="639" y="291"/>
                  <a:pt x="635" y="292"/>
                  <a:pt x="636" y="290"/>
                </a:cubicBezTo>
                <a:cubicBezTo>
                  <a:pt x="637" y="289"/>
                  <a:pt x="637" y="289"/>
                  <a:pt x="638" y="290"/>
                </a:cubicBezTo>
                <a:close/>
                <a:moveTo>
                  <a:pt x="637" y="302"/>
                </a:move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lose/>
                <a:moveTo>
                  <a:pt x="632" y="265"/>
                </a:moveTo>
                <a:cubicBezTo>
                  <a:pt x="633" y="264"/>
                  <a:pt x="635" y="262"/>
                  <a:pt x="636" y="262"/>
                </a:cubicBezTo>
                <a:cubicBezTo>
                  <a:pt x="636" y="262"/>
                  <a:pt x="634" y="265"/>
                  <a:pt x="632" y="265"/>
                </a:cubicBezTo>
                <a:close/>
                <a:moveTo>
                  <a:pt x="637" y="219"/>
                </a:moveTo>
                <a:cubicBezTo>
                  <a:pt x="637" y="221"/>
                  <a:pt x="634" y="221"/>
                  <a:pt x="634" y="219"/>
                </a:cubicBezTo>
                <a:cubicBezTo>
                  <a:pt x="634" y="218"/>
                  <a:pt x="636" y="217"/>
                  <a:pt x="637" y="219"/>
                </a:cubicBezTo>
                <a:close/>
                <a:moveTo>
                  <a:pt x="633" y="221"/>
                </a:moveTo>
                <a:cubicBezTo>
                  <a:pt x="633" y="221"/>
                  <a:pt x="635" y="221"/>
                  <a:pt x="634" y="222"/>
                </a:cubicBezTo>
                <a:cubicBezTo>
                  <a:pt x="634" y="222"/>
                  <a:pt x="632" y="222"/>
                  <a:pt x="633" y="221"/>
                </a:cubicBezTo>
                <a:close/>
                <a:moveTo>
                  <a:pt x="633" y="253"/>
                </a:moveTo>
                <a:cubicBezTo>
                  <a:pt x="633" y="254"/>
                  <a:pt x="632" y="254"/>
                  <a:pt x="631" y="254"/>
                </a:cubicBezTo>
                <a:cubicBezTo>
                  <a:pt x="631" y="253"/>
                  <a:pt x="632" y="252"/>
                  <a:pt x="633" y="253"/>
                </a:cubicBezTo>
                <a:close/>
                <a:moveTo>
                  <a:pt x="630" y="260"/>
                </a:moveTo>
                <a:cubicBezTo>
                  <a:pt x="630" y="260"/>
                  <a:pt x="630" y="260"/>
                  <a:pt x="630" y="261"/>
                </a:cubicBezTo>
                <a:cubicBezTo>
                  <a:pt x="630" y="261"/>
                  <a:pt x="630" y="261"/>
                  <a:pt x="630" y="261"/>
                </a:cubicBezTo>
                <a:cubicBezTo>
                  <a:pt x="630" y="261"/>
                  <a:pt x="630" y="260"/>
                  <a:pt x="630" y="260"/>
                </a:cubicBezTo>
                <a:close/>
                <a:moveTo>
                  <a:pt x="632" y="277"/>
                </a:moveTo>
                <a:cubicBezTo>
                  <a:pt x="634" y="279"/>
                  <a:pt x="631" y="281"/>
                  <a:pt x="629" y="281"/>
                </a:cubicBezTo>
                <a:cubicBezTo>
                  <a:pt x="629" y="280"/>
                  <a:pt x="631" y="277"/>
                  <a:pt x="632" y="277"/>
                </a:cubicBezTo>
                <a:close/>
                <a:moveTo>
                  <a:pt x="632" y="347"/>
                </a:moveTo>
                <a:cubicBezTo>
                  <a:pt x="632" y="347"/>
                  <a:pt x="632" y="346"/>
                  <a:pt x="632" y="346"/>
                </a:cubicBezTo>
                <a:cubicBezTo>
                  <a:pt x="633" y="344"/>
                  <a:pt x="632" y="348"/>
                  <a:pt x="632" y="347"/>
                </a:cubicBezTo>
                <a:close/>
                <a:moveTo>
                  <a:pt x="630" y="294"/>
                </a:moveTo>
                <a:cubicBezTo>
                  <a:pt x="630" y="295"/>
                  <a:pt x="629" y="295"/>
                  <a:pt x="629" y="295"/>
                </a:cubicBezTo>
                <a:cubicBezTo>
                  <a:pt x="629" y="295"/>
                  <a:pt x="629" y="294"/>
                  <a:pt x="630" y="294"/>
                </a:cubicBezTo>
                <a:close/>
                <a:moveTo>
                  <a:pt x="627" y="314"/>
                </a:moveTo>
                <a:cubicBezTo>
                  <a:pt x="627" y="314"/>
                  <a:pt x="628" y="314"/>
                  <a:pt x="628" y="314"/>
                </a:cubicBezTo>
                <a:cubicBezTo>
                  <a:pt x="629" y="315"/>
                  <a:pt x="627" y="315"/>
                  <a:pt x="627" y="314"/>
                </a:cubicBezTo>
                <a:close/>
                <a:moveTo>
                  <a:pt x="628" y="256"/>
                </a:moveTo>
                <a:cubicBezTo>
                  <a:pt x="628" y="254"/>
                  <a:pt x="627" y="257"/>
                  <a:pt x="628" y="256"/>
                </a:cubicBezTo>
                <a:close/>
                <a:moveTo>
                  <a:pt x="626" y="201"/>
                </a:moveTo>
                <a:cubicBezTo>
                  <a:pt x="624" y="200"/>
                  <a:pt x="625" y="198"/>
                  <a:pt x="626" y="198"/>
                </a:cubicBezTo>
                <a:cubicBezTo>
                  <a:pt x="629" y="196"/>
                  <a:pt x="628" y="201"/>
                  <a:pt x="626" y="201"/>
                </a:cubicBezTo>
                <a:close/>
                <a:moveTo>
                  <a:pt x="625" y="187"/>
                </a:moveTo>
                <a:cubicBezTo>
                  <a:pt x="625" y="186"/>
                  <a:pt x="626" y="186"/>
                  <a:pt x="626" y="186"/>
                </a:cubicBezTo>
                <a:cubicBezTo>
                  <a:pt x="627" y="187"/>
                  <a:pt x="624" y="188"/>
                  <a:pt x="625" y="187"/>
                </a:cubicBezTo>
                <a:close/>
                <a:moveTo>
                  <a:pt x="622" y="226"/>
                </a:moveTo>
                <a:cubicBezTo>
                  <a:pt x="617" y="226"/>
                  <a:pt x="619" y="218"/>
                  <a:pt x="621" y="217"/>
                </a:cubicBezTo>
                <a:cubicBezTo>
                  <a:pt x="629" y="212"/>
                  <a:pt x="628" y="227"/>
                  <a:pt x="622" y="226"/>
                </a:cubicBezTo>
                <a:close/>
                <a:moveTo>
                  <a:pt x="619" y="233"/>
                </a:moveTo>
                <a:cubicBezTo>
                  <a:pt x="618" y="232"/>
                  <a:pt x="623" y="228"/>
                  <a:pt x="624" y="228"/>
                </a:cubicBezTo>
                <a:cubicBezTo>
                  <a:pt x="628" y="226"/>
                  <a:pt x="620" y="234"/>
                  <a:pt x="619" y="233"/>
                </a:cubicBezTo>
                <a:close/>
                <a:moveTo>
                  <a:pt x="625" y="235"/>
                </a:moveTo>
                <a:cubicBezTo>
                  <a:pt x="625" y="236"/>
                  <a:pt x="623" y="237"/>
                  <a:pt x="623" y="236"/>
                </a:cubicBezTo>
                <a:cubicBezTo>
                  <a:pt x="622" y="235"/>
                  <a:pt x="624" y="234"/>
                  <a:pt x="625" y="235"/>
                </a:cubicBezTo>
                <a:close/>
                <a:moveTo>
                  <a:pt x="622" y="357"/>
                </a:move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lose/>
                <a:moveTo>
                  <a:pt x="608" y="328"/>
                </a:moveTo>
                <a:cubicBezTo>
                  <a:pt x="608" y="327"/>
                  <a:pt x="611" y="326"/>
                  <a:pt x="612" y="324"/>
                </a:cubicBezTo>
                <a:cubicBezTo>
                  <a:pt x="615" y="321"/>
                  <a:pt x="617" y="315"/>
                  <a:pt x="621" y="313"/>
                </a:cubicBezTo>
                <a:cubicBezTo>
                  <a:pt x="621" y="317"/>
                  <a:pt x="615" y="319"/>
                  <a:pt x="614" y="322"/>
                </a:cubicBezTo>
                <a:cubicBezTo>
                  <a:pt x="613" y="324"/>
                  <a:pt x="610" y="329"/>
                  <a:pt x="607" y="331"/>
                </a:cubicBezTo>
                <a:cubicBezTo>
                  <a:pt x="607" y="331"/>
                  <a:pt x="607" y="333"/>
                  <a:pt x="606" y="332"/>
                </a:cubicBezTo>
                <a:cubicBezTo>
                  <a:pt x="605" y="331"/>
                  <a:pt x="608" y="328"/>
                  <a:pt x="608" y="328"/>
                </a:cubicBezTo>
                <a:close/>
                <a:moveTo>
                  <a:pt x="605" y="271"/>
                </a:moveTo>
                <a:cubicBezTo>
                  <a:pt x="604" y="270"/>
                  <a:pt x="605" y="269"/>
                  <a:pt x="605" y="269"/>
                </a:cubicBezTo>
                <a:cubicBezTo>
                  <a:pt x="608" y="267"/>
                  <a:pt x="606" y="272"/>
                  <a:pt x="605" y="271"/>
                </a:cubicBezTo>
                <a:close/>
                <a:moveTo>
                  <a:pt x="609" y="243"/>
                </a:moveTo>
                <a:cubicBezTo>
                  <a:pt x="608" y="242"/>
                  <a:pt x="610" y="241"/>
                  <a:pt x="611" y="243"/>
                </a:cubicBezTo>
                <a:cubicBezTo>
                  <a:pt x="611" y="244"/>
                  <a:pt x="609" y="244"/>
                  <a:pt x="609" y="243"/>
                </a:cubicBezTo>
                <a:close/>
                <a:moveTo>
                  <a:pt x="611" y="305"/>
                </a:moveTo>
                <a:cubicBezTo>
                  <a:pt x="610" y="306"/>
                  <a:pt x="611" y="304"/>
                  <a:pt x="611" y="305"/>
                </a:cubicBezTo>
                <a:close/>
                <a:moveTo>
                  <a:pt x="613" y="298"/>
                </a:moveTo>
                <a:cubicBezTo>
                  <a:pt x="613" y="298"/>
                  <a:pt x="613" y="298"/>
                  <a:pt x="613" y="298"/>
                </a:cubicBezTo>
                <a:cubicBezTo>
                  <a:pt x="614" y="295"/>
                  <a:pt x="613" y="300"/>
                  <a:pt x="613" y="298"/>
                </a:cubicBezTo>
                <a:close/>
                <a:moveTo>
                  <a:pt x="617" y="261"/>
                </a:moveTo>
                <a:cubicBezTo>
                  <a:pt x="617" y="262"/>
                  <a:pt x="616" y="262"/>
                  <a:pt x="615" y="263"/>
                </a:cubicBezTo>
                <a:cubicBezTo>
                  <a:pt x="615" y="262"/>
                  <a:pt x="616" y="261"/>
                  <a:pt x="617" y="261"/>
                </a:cubicBezTo>
                <a:close/>
                <a:moveTo>
                  <a:pt x="616" y="238"/>
                </a:moveTo>
                <a:cubicBezTo>
                  <a:pt x="616" y="238"/>
                  <a:pt x="616" y="239"/>
                  <a:pt x="615" y="239"/>
                </a:cubicBezTo>
                <a:cubicBezTo>
                  <a:pt x="615" y="238"/>
                  <a:pt x="615" y="238"/>
                  <a:pt x="616" y="238"/>
                </a:cubicBezTo>
                <a:close/>
                <a:moveTo>
                  <a:pt x="618" y="309"/>
                </a:moveTo>
                <a:cubicBezTo>
                  <a:pt x="618" y="309"/>
                  <a:pt x="618" y="308"/>
                  <a:pt x="618" y="308"/>
                </a:cubicBezTo>
                <a:cubicBezTo>
                  <a:pt x="619" y="306"/>
                  <a:pt x="618" y="311"/>
                  <a:pt x="618" y="309"/>
                </a:cubicBezTo>
                <a:close/>
                <a:moveTo>
                  <a:pt x="618" y="295"/>
                </a:moveTo>
                <a:cubicBezTo>
                  <a:pt x="619" y="293"/>
                  <a:pt x="618" y="296"/>
                  <a:pt x="618" y="295"/>
                </a:cubicBezTo>
                <a:close/>
                <a:moveTo>
                  <a:pt x="620" y="301"/>
                </a:moveTo>
                <a:cubicBezTo>
                  <a:pt x="619" y="302"/>
                  <a:pt x="621" y="300"/>
                  <a:pt x="620" y="301"/>
                </a:cubicBezTo>
                <a:close/>
                <a:moveTo>
                  <a:pt x="621" y="333"/>
                </a:moveTo>
                <a:cubicBezTo>
                  <a:pt x="620" y="335"/>
                  <a:pt x="619" y="336"/>
                  <a:pt x="618" y="337"/>
                </a:cubicBezTo>
                <a:cubicBezTo>
                  <a:pt x="619" y="336"/>
                  <a:pt x="620" y="334"/>
                  <a:pt x="621" y="333"/>
                </a:cubicBezTo>
                <a:close/>
                <a:moveTo>
                  <a:pt x="622" y="194"/>
                </a:moveTo>
                <a:cubicBezTo>
                  <a:pt x="621" y="194"/>
                  <a:pt x="622" y="192"/>
                  <a:pt x="623" y="193"/>
                </a:cubicBezTo>
                <a:cubicBezTo>
                  <a:pt x="623" y="194"/>
                  <a:pt x="622" y="195"/>
                  <a:pt x="622" y="194"/>
                </a:cubicBezTo>
                <a:close/>
                <a:moveTo>
                  <a:pt x="619" y="192"/>
                </a:moveTo>
                <a:cubicBezTo>
                  <a:pt x="619" y="192"/>
                  <a:pt x="619" y="192"/>
                  <a:pt x="620" y="191"/>
                </a:cubicBezTo>
                <a:cubicBezTo>
                  <a:pt x="620" y="192"/>
                  <a:pt x="620" y="192"/>
                  <a:pt x="620" y="192"/>
                </a:cubicBezTo>
                <a:cubicBezTo>
                  <a:pt x="621" y="191"/>
                  <a:pt x="622" y="190"/>
                  <a:pt x="623" y="190"/>
                </a:cubicBezTo>
                <a:cubicBezTo>
                  <a:pt x="622" y="192"/>
                  <a:pt x="620" y="193"/>
                  <a:pt x="617" y="194"/>
                </a:cubicBezTo>
                <a:cubicBezTo>
                  <a:pt x="618" y="193"/>
                  <a:pt x="618" y="193"/>
                  <a:pt x="619" y="192"/>
                </a:cubicBezTo>
                <a:close/>
                <a:moveTo>
                  <a:pt x="615" y="194"/>
                </a:moveTo>
                <a:cubicBezTo>
                  <a:pt x="616" y="194"/>
                  <a:pt x="617" y="193"/>
                  <a:pt x="617" y="194"/>
                </a:cubicBezTo>
                <a:cubicBezTo>
                  <a:pt x="618" y="195"/>
                  <a:pt x="613" y="196"/>
                  <a:pt x="615" y="194"/>
                </a:cubicBezTo>
                <a:close/>
                <a:moveTo>
                  <a:pt x="612" y="214"/>
                </a:moveTo>
                <a:cubicBezTo>
                  <a:pt x="613" y="215"/>
                  <a:pt x="612" y="215"/>
                  <a:pt x="611" y="214"/>
                </a:cubicBezTo>
                <a:cubicBezTo>
                  <a:pt x="611" y="214"/>
                  <a:pt x="612" y="213"/>
                  <a:pt x="612" y="214"/>
                </a:cubicBezTo>
                <a:close/>
                <a:moveTo>
                  <a:pt x="609" y="203"/>
                </a:moveTo>
                <a:cubicBezTo>
                  <a:pt x="611" y="201"/>
                  <a:pt x="611" y="205"/>
                  <a:pt x="609" y="205"/>
                </a:cubicBezTo>
                <a:cubicBezTo>
                  <a:pt x="609" y="204"/>
                  <a:pt x="609" y="204"/>
                  <a:pt x="609" y="203"/>
                </a:cubicBezTo>
                <a:close/>
                <a:moveTo>
                  <a:pt x="609" y="219"/>
                </a:moveTo>
                <a:cubicBezTo>
                  <a:pt x="612" y="218"/>
                  <a:pt x="616" y="215"/>
                  <a:pt x="620" y="214"/>
                </a:cubicBezTo>
                <a:cubicBezTo>
                  <a:pt x="617" y="216"/>
                  <a:pt x="611" y="220"/>
                  <a:pt x="608" y="221"/>
                </a:cubicBezTo>
                <a:cubicBezTo>
                  <a:pt x="609" y="221"/>
                  <a:pt x="607" y="222"/>
                  <a:pt x="607" y="221"/>
                </a:cubicBezTo>
                <a:cubicBezTo>
                  <a:pt x="606" y="220"/>
                  <a:pt x="609" y="220"/>
                  <a:pt x="609" y="219"/>
                </a:cubicBezTo>
                <a:close/>
                <a:moveTo>
                  <a:pt x="610" y="253"/>
                </a:moveTo>
                <a:cubicBezTo>
                  <a:pt x="610" y="255"/>
                  <a:pt x="605" y="256"/>
                  <a:pt x="605" y="255"/>
                </a:cubicBezTo>
                <a:cubicBezTo>
                  <a:pt x="604" y="252"/>
                  <a:pt x="610" y="249"/>
                  <a:pt x="610" y="253"/>
                </a:cubicBezTo>
                <a:close/>
                <a:moveTo>
                  <a:pt x="602" y="194"/>
                </a:moveTo>
                <a:cubicBezTo>
                  <a:pt x="602" y="194"/>
                  <a:pt x="603" y="194"/>
                  <a:pt x="603" y="194"/>
                </a:cubicBezTo>
                <a:cubicBezTo>
                  <a:pt x="604" y="196"/>
                  <a:pt x="601" y="196"/>
                  <a:pt x="602" y="194"/>
                </a:cubicBezTo>
                <a:close/>
                <a:moveTo>
                  <a:pt x="604" y="256"/>
                </a:moveTo>
                <a:cubicBezTo>
                  <a:pt x="604" y="257"/>
                  <a:pt x="606" y="258"/>
                  <a:pt x="606" y="259"/>
                </a:cubicBezTo>
                <a:cubicBezTo>
                  <a:pt x="605" y="261"/>
                  <a:pt x="604" y="259"/>
                  <a:pt x="603" y="260"/>
                </a:cubicBezTo>
                <a:cubicBezTo>
                  <a:pt x="601" y="262"/>
                  <a:pt x="602" y="267"/>
                  <a:pt x="600" y="270"/>
                </a:cubicBezTo>
                <a:cubicBezTo>
                  <a:pt x="600" y="265"/>
                  <a:pt x="602" y="261"/>
                  <a:pt x="604" y="256"/>
                </a:cubicBezTo>
                <a:close/>
                <a:moveTo>
                  <a:pt x="600" y="272"/>
                </a:moveTo>
                <a:cubicBezTo>
                  <a:pt x="600" y="271"/>
                  <a:pt x="602" y="269"/>
                  <a:pt x="603" y="271"/>
                </a:cubicBezTo>
                <a:cubicBezTo>
                  <a:pt x="603" y="273"/>
                  <a:pt x="601" y="273"/>
                  <a:pt x="600" y="272"/>
                </a:cubicBezTo>
                <a:close/>
                <a:moveTo>
                  <a:pt x="601" y="310"/>
                </a:moveTo>
                <a:cubicBezTo>
                  <a:pt x="600" y="310"/>
                  <a:pt x="601" y="310"/>
                  <a:pt x="601" y="310"/>
                </a:cubicBezTo>
                <a:cubicBezTo>
                  <a:pt x="602" y="310"/>
                  <a:pt x="601" y="310"/>
                  <a:pt x="601" y="310"/>
                </a:cubicBezTo>
                <a:close/>
                <a:moveTo>
                  <a:pt x="602" y="303"/>
                </a:moveTo>
                <a:cubicBezTo>
                  <a:pt x="602" y="302"/>
                  <a:pt x="603" y="302"/>
                  <a:pt x="603" y="302"/>
                </a:cubicBezTo>
                <a:cubicBezTo>
                  <a:pt x="604" y="302"/>
                  <a:pt x="602" y="304"/>
                  <a:pt x="602" y="303"/>
                </a:cubicBezTo>
                <a:close/>
                <a:moveTo>
                  <a:pt x="607" y="416"/>
                </a:moveTo>
                <a:cubicBezTo>
                  <a:pt x="607" y="415"/>
                  <a:pt x="607" y="415"/>
                  <a:pt x="608" y="414"/>
                </a:cubicBezTo>
                <a:cubicBezTo>
                  <a:pt x="607" y="415"/>
                  <a:pt x="607" y="416"/>
                  <a:pt x="607" y="416"/>
                </a:cubicBezTo>
                <a:close/>
                <a:moveTo>
                  <a:pt x="608" y="393"/>
                </a:moveTo>
                <a:cubicBezTo>
                  <a:pt x="608" y="392"/>
                  <a:pt x="609" y="391"/>
                  <a:pt x="610" y="390"/>
                </a:cubicBezTo>
                <a:cubicBezTo>
                  <a:pt x="610" y="390"/>
                  <a:pt x="609" y="392"/>
                  <a:pt x="608" y="393"/>
                </a:cubicBezTo>
                <a:close/>
                <a:moveTo>
                  <a:pt x="600" y="353"/>
                </a:moveTo>
                <a:cubicBezTo>
                  <a:pt x="601" y="350"/>
                  <a:pt x="607" y="346"/>
                  <a:pt x="610" y="343"/>
                </a:cubicBezTo>
                <a:cubicBezTo>
                  <a:pt x="608" y="347"/>
                  <a:pt x="603" y="350"/>
                  <a:pt x="600" y="353"/>
                </a:cubicBezTo>
                <a:close/>
                <a:moveTo>
                  <a:pt x="611" y="388"/>
                </a:moveTo>
                <a:cubicBezTo>
                  <a:pt x="610" y="388"/>
                  <a:pt x="612" y="387"/>
                  <a:pt x="611" y="388"/>
                </a:cubicBezTo>
                <a:close/>
                <a:moveTo>
                  <a:pt x="612" y="387"/>
                </a:moveTo>
                <a:cubicBezTo>
                  <a:pt x="612" y="386"/>
                  <a:pt x="612" y="386"/>
                  <a:pt x="613" y="385"/>
                </a:cubicBezTo>
                <a:cubicBezTo>
                  <a:pt x="613" y="386"/>
                  <a:pt x="612" y="387"/>
                  <a:pt x="612" y="387"/>
                </a:cubicBezTo>
                <a:close/>
                <a:moveTo>
                  <a:pt x="611" y="344"/>
                </a:moveTo>
                <a:cubicBezTo>
                  <a:pt x="612" y="342"/>
                  <a:pt x="613" y="341"/>
                  <a:pt x="616" y="339"/>
                </a:cubicBezTo>
                <a:cubicBezTo>
                  <a:pt x="614" y="341"/>
                  <a:pt x="613" y="343"/>
                  <a:pt x="611" y="344"/>
                </a:cubicBezTo>
                <a:close/>
                <a:moveTo>
                  <a:pt x="615" y="357"/>
                </a:moveTo>
                <a:cubicBezTo>
                  <a:pt x="615" y="357"/>
                  <a:pt x="616" y="356"/>
                  <a:pt x="617" y="356"/>
                </a:cubicBezTo>
                <a:cubicBezTo>
                  <a:pt x="616" y="357"/>
                  <a:pt x="615" y="357"/>
                  <a:pt x="615" y="357"/>
                </a:cubicBezTo>
                <a:close/>
                <a:moveTo>
                  <a:pt x="617" y="539"/>
                </a:moveTo>
                <a:cubicBezTo>
                  <a:pt x="616" y="539"/>
                  <a:pt x="617" y="537"/>
                  <a:pt x="618" y="537"/>
                </a:cubicBezTo>
                <a:cubicBezTo>
                  <a:pt x="618" y="538"/>
                  <a:pt x="617" y="539"/>
                  <a:pt x="617" y="539"/>
                </a:cubicBezTo>
                <a:close/>
                <a:moveTo>
                  <a:pt x="618" y="445"/>
                </a:moveTo>
                <a:cubicBezTo>
                  <a:pt x="617" y="445"/>
                  <a:pt x="618" y="443"/>
                  <a:pt x="618" y="443"/>
                </a:cubicBezTo>
                <a:cubicBezTo>
                  <a:pt x="620" y="441"/>
                  <a:pt x="619" y="446"/>
                  <a:pt x="618" y="445"/>
                </a:cubicBezTo>
                <a:close/>
                <a:moveTo>
                  <a:pt x="619" y="557"/>
                </a:moveTo>
                <a:cubicBezTo>
                  <a:pt x="619" y="557"/>
                  <a:pt x="619" y="556"/>
                  <a:pt x="619" y="557"/>
                </a:cubicBezTo>
                <a:cubicBezTo>
                  <a:pt x="620" y="557"/>
                  <a:pt x="619" y="558"/>
                  <a:pt x="619" y="557"/>
                </a:cubicBezTo>
                <a:close/>
                <a:moveTo>
                  <a:pt x="619" y="347"/>
                </a:moveTo>
                <a:cubicBezTo>
                  <a:pt x="618" y="347"/>
                  <a:pt x="619" y="345"/>
                  <a:pt x="619" y="345"/>
                </a:cubicBezTo>
                <a:cubicBezTo>
                  <a:pt x="621" y="342"/>
                  <a:pt x="620" y="348"/>
                  <a:pt x="619" y="347"/>
                </a:cubicBezTo>
                <a:close/>
                <a:moveTo>
                  <a:pt x="620" y="435"/>
                </a:moveTo>
                <a:cubicBezTo>
                  <a:pt x="621" y="434"/>
                  <a:pt x="619" y="437"/>
                  <a:pt x="620" y="435"/>
                </a:cubicBezTo>
                <a:close/>
                <a:moveTo>
                  <a:pt x="623" y="526"/>
                </a:moveTo>
                <a:cubicBezTo>
                  <a:pt x="624" y="527"/>
                  <a:pt x="622" y="529"/>
                  <a:pt x="621" y="530"/>
                </a:cubicBezTo>
                <a:cubicBezTo>
                  <a:pt x="621" y="529"/>
                  <a:pt x="623" y="527"/>
                  <a:pt x="623" y="526"/>
                </a:cubicBezTo>
                <a:close/>
                <a:moveTo>
                  <a:pt x="622" y="561"/>
                </a:moveTo>
                <a:cubicBezTo>
                  <a:pt x="621" y="560"/>
                  <a:pt x="622" y="558"/>
                  <a:pt x="622" y="558"/>
                </a:cubicBezTo>
                <a:cubicBezTo>
                  <a:pt x="625" y="555"/>
                  <a:pt x="624" y="562"/>
                  <a:pt x="622" y="561"/>
                </a:cubicBezTo>
                <a:close/>
                <a:moveTo>
                  <a:pt x="624" y="492"/>
                </a:moveTo>
                <a:cubicBezTo>
                  <a:pt x="624" y="490"/>
                  <a:pt x="623" y="493"/>
                  <a:pt x="624" y="492"/>
                </a:cubicBezTo>
                <a:close/>
                <a:moveTo>
                  <a:pt x="625" y="381"/>
                </a:moveTo>
                <a:cubicBezTo>
                  <a:pt x="625" y="381"/>
                  <a:pt x="624" y="381"/>
                  <a:pt x="624" y="381"/>
                </a:cubicBezTo>
                <a:cubicBezTo>
                  <a:pt x="625" y="379"/>
                  <a:pt x="626" y="381"/>
                  <a:pt x="625" y="381"/>
                </a:cubicBezTo>
                <a:close/>
                <a:moveTo>
                  <a:pt x="624" y="254"/>
                </a:moveTo>
                <a:cubicBezTo>
                  <a:pt x="624" y="254"/>
                  <a:pt x="625" y="253"/>
                  <a:pt x="625" y="253"/>
                </a:cubicBezTo>
                <a:cubicBezTo>
                  <a:pt x="626" y="252"/>
                  <a:pt x="625" y="255"/>
                  <a:pt x="624" y="254"/>
                </a:cubicBezTo>
                <a:close/>
                <a:moveTo>
                  <a:pt x="626" y="488"/>
                </a:moveTo>
                <a:cubicBezTo>
                  <a:pt x="626" y="488"/>
                  <a:pt x="627" y="486"/>
                  <a:pt x="627" y="486"/>
                </a:cubicBezTo>
                <a:cubicBezTo>
                  <a:pt x="627" y="487"/>
                  <a:pt x="626" y="487"/>
                  <a:pt x="626" y="488"/>
                </a:cubicBezTo>
                <a:close/>
                <a:moveTo>
                  <a:pt x="628" y="522"/>
                </a:moveTo>
                <a:cubicBezTo>
                  <a:pt x="626" y="521"/>
                  <a:pt x="628" y="521"/>
                  <a:pt x="628" y="522"/>
                </a:cubicBezTo>
                <a:close/>
                <a:moveTo>
                  <a:pt x="633" y="526"/>
                </a:moveTo>
                <a:cubicBezTo>
                  <a:pt x="634" y="528"/>
                  <a:pt x="631" y="529"/>
                  <a:pt x="633" y="526"/>
                </a:cubicBezTo>
                <a:close/>
                <a:moveTo>
                  <a:pt x="628" y="417"/>
                </a:moveTo>
                <a:cubicBezTo>
                  <a:pt x="630" y="415"/>
                  <a:pt x="631" y="410"/>
                  <a:pt x="634" y="409"/>
                </a:cubicBezTo>
                <a:cubicBezTo>
                  <a:pt x="633" y="409"/>
                  <a:pt x="631" y="417"/>
                  <a:pt x="628" y="417"/>
                </a:cubicBezTo>
                <a:close/>
                <a:moveTo>
                  <a:pt x="633" y="310"/>
                </a:moveTo>
                <a:cubicBezTo>
                  <a:pt x="632" y="309"/>
                  <a:pt x="634" y="305"/>
                  <a:pt x="634" y="305"/>
                </a:cubicBezTo>
                <a:cubicBezTo>
                  <a:pt x="638" y="302"/>
                  <a:pt x="636" y="311"/>
                  <a:pt x="633" y="310"/>
                </a:cubicBezTo>
                <a:close/>
                <a:moveTo>
                  <a:pt x="637" y="496"/>
                </a:moveTo>
                <a:cubicBezTo>
                  <a:pt x="636" y="497"/>
                  <a:pt x="637" y="495"/>
                  <a:pt x="637" y="496"/>
                </a:cubicBezTo>
                <a:close/>
                <a:moveTo>
                  <a:pt x="637" y="495"/>
                </a:moveTo>
                <a:cubicBezTo>
                  <a:pt x="635" y="495"/>
                  <a:pt x="637" y="490"/>
                  <a:pt x="638" y="490"/>
                </a:cubicBezTo>
                <a:cubicBezTo>
                  <a:pt x="640" y="489"/>
                  <a:pt x="639" y="496"/>
                  <a:pt x="637" y="495"/>
                </a:cubicBezTo>
                <a:close/>
                <a:moveTo>
                  <a:pt x="638" y="424"/>
                </a:move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lose/>
                <a:moveTo>
                  <a:pt x="634" y="368"/>
                </a:moveTo>
                <a:cubicBezTo>
                  <a:pt x="637" y="365"/>
                  <a:pt x="639" y="361"/>
                  <a:pt x="643" y="358"/>
                </a:cubicBezTo>
                <a:cubicBezTo>
                  <a:pt x="641" y="362"/>
                  <a:pt x="638" y="365"/>
                  <a:pt x="634" y="368"/>
                </a:cubicBezTo>
                <a:close/>
                <a:moveTo>
                  <a:pt x="641" y="395"/>
                </a:moveTo>
                <a:cubicBezTo>
                  <a:pt x="641" y="395"/>
                  <a:pt x="641" y="395"/>
                  <a:pt x="641" y="395"/>
                </a:cubicBezTo>
                <a:cubicBezTo>
                  <a:pt x="641" y="395"/>
                  <a:pt x="641" y="394"/>
                  <a:pt x="641" y="395"/>
                </a:cubicBezTo>
                <a:close/>
                <a:moveTo>
                  <a:pt x="640" y="430"/>
                </a:moveTo>
                <a:cubicBezTo>
                  <a:pt x="640" y="430"/>
                  <a:pt x="640" y="428"/>
                  <a:pt x="642" y="428"/>
                </a:cubicBezTo>
                <a:cubicBezTo>
                  <a:pt x="643" y="427"/>
                  <a:pt x="644" y="427"/>
                  <a:pt x="645" y="428"/>
                </a:cubicBezTo>
                <a:cubicBezTo>
                  <a:pt x="648" y="432"/>
                  <a:pt x="641" y="434"/>
                  <a:pt x="640" y="430"/>
                </a:cubicBezTo>
                <a:close/>
                <a:moveTo>
                  <a:pt x="645" y="387"/>
                </a:moveTo>
                <a:cubicBezTo>
                  <a:pt x="645" y="386"/>
                  <a:pt x="645" y="385"/>
                  <a:pt x="646" y="385"/>
                </a:cubicBezTo>
                <a:cubicBezTo>
                  <a:pt x="646" y="386"/>
                  <a:pt x="646" y="386"/>
                  <a:pt x="645" y="387"/>
                </a:cubicBezTo>
                <a:close/>
                <a:moveTo>
                  <a:pt x="647" y="552"/>
                </a:moveTo>
                <a:cubicBezTo>
                  <a:pt x="646" y="553"/>
                  <a:pt x="648" y="551"/>
                  <a:pt x="647" y="552"/>
                </a:cubicBezTo>
                <a:close/>
                <a:moveTo>
                  <a:pt x="647" y="429"/>
                </a:moveTo>
                <a:cubicBezTo>
                  <a:pt x="648" y="428"/>
                  <a:pt x="645" y="431"/>
                  <a:pt x="647" y="429"/>
                </a:cubicBezTo>
                <a:close/>
                <a:moveTo>
                  <a:pt x="646" y="388"/>
                </a:moveTo>
                <a:cubicBezTo>
                  <a:pt x="646" y="387"/>
                  <a:pt x="647" y="386"/>
                  <a:pt x="647" y="385"/>
                </a:cubicBezTo>
                <a:cubicBezTo>
                  <a:pt x="647" y="386"/>
                  <a:pt x="647" y="387"/>
                  <a:pt x="646" y="388"/>
                </a:cubicBezTo>
                <a:close/>
                <a:moveTo>
                  <a:pt x="646" y="385"/>
                </a:moveTo>
                <a:cubicBezTo>
                  <a:pt x="647" y="384"/>
                  <a:pt x="647" y="383"/>
                  <a:pt x="648" y="383"/>
                </a:cubicBezTo>
                <a:cubicBezTo>
                  <a:pt x="648" y="384"/>
                  <a:pt x="647" y="384"/>
                  <a:pt x="646" y="385"/>
                </a:cubicBezTo>
                <a:close/>
                <a:moveTo>
                  <a:pt x="647" y="345"/>
                </a:moveTo>
                <a:cubicBezTo>
                  <a:pt x="646" y="345"/>
                  <a:pt x="647" y="344"/>
                  <a:pt x="647" y="344"/>
                </a:cubicBezTo>
                <a:cubicBezTo>
                  <a:pt x="648" y="342"/>
                  <a:pt x="648" y="345"/>
                  <a:pt x="647" y="345"/>
                </a:cubicBezTo>
                <a:close/>
                <a:moveTo>
                  <a:pt x="648" y="529"/>
                </a:moveTo>
                <a:cubicBezTo>
                  <a:pt x="647" y="529"/>
                  <a:pt x="648" y="528"/>
                  <a:pt x="648" y="528"/>
                </a:cubicBezTo>
                <a:cubicBezTo>
                  <a:pt x="649" y="528"/>
                  <a:pt x="648" y="529"/>
                  <a:pt x="648" y="529"/>
                </a:cubicBezTo>
                <a:close/>
                <a:moveTo>
                  <a:pt x="648" y="382"/>
                </a:moveTo>
                <a:cubicBezTo>
                  <a:pt x="649" y="381"/>
                  <a:pt x="647" y="383"/>
                  <a:pt x="648" y="382"/>
                </a:cubicBezTo>
                <a:close/>
                <a:moveTo>
                  <a:pt x="650" y="335"/>
                </a:moveTo>
                <a:cubicBezTo>
                  <a:pt x="647" y="337"/>
                  <a:pt x="652" y="333"/>
                  <a:pt x="650" y="335"/>
                </a:cubicBezTo>
                <a:close/>
                <a:moveTo>
                  <a:pt x="651" y="357"/>
                </a:moveTo>
                <a:cubicBezTo>
                  <a:pt x="651" y="355"/>
                  <a:pt x="650" y="358"/>
                  <a:pt x="651" y="357"/>
                </a:cubicBezTo>
                <a:close/>
                <a:moveTo>
                  <a:pt x="651" y="299"/>
                </a:moveTo>
                <a:cubicBezTo>
                  <a:pt x="649" y="299"/>
                  <a:pt x="651" y="296"/>
                  <a:pt x="652" y="298"/>
                </a:cubicBezTo>
                <a:cubicBezTo>
                  <a:pt x="652" y="298"/>
                  <a:pt x="651" y="299"/>
                  <a:pt x="651" y="299"/>
                </a:cubicBezTo>
                <a:close/>
                <a:moveTo>
                  <a:pt x="651" y="291"/>
                </a:moveTo>
                <a:cubicBezTo>
                  <a:pt x="651" y="291"/>
                  <a:pt x="652" y="291"/>
                  <a:pt x="652" y="291"/>
                </a:cubicBezTo>
                <a:cubicBezTo>
                  <a:pt x="652" y="292"/>
                  <a:pt x="651" y="291"/>
                  <a:pt x="651" y="291"/>
                </a:cubicBezTo>
                <a:close/>
                <a:moveTo>
                  <a:pt x="652" y="333"/>
                </a:moveTo>
                <a:cubicBezTo>
                  <a:pt x="652" y="331"/>
                  <a:pt x="654" y="331"/>
                  <a:pt x="654" y="330"/>
                </a:cubicBezTo>
                <a:cubicBezTo>
                  <a:pt x="654" y="331"/>
                  <a:pt x="653" y="332"/>
                  <a:pt x="652" y="333"/>
                </a:cubicBezTo>
                <a:close/>
                <a:moveTo>
                  <a:pt x="654" y="302"/>
                </a:moveTo>
                <a:cubicBezTo>
                  <a:pt x="655" y="302"/>
                  <a:pt x="654" y="302"/>
                  <a:pt x="654" y="302"/>
                </a:cubicBezTo>
                <a:cubicBezTo>
                  <a:pt x="655" y="304"/>
                  <a:pt x="652" y="302"/>
                  <a:pt x="654" y="302"/>
                </a:cubicBezTo>
                <a:close/>
                <a:moveTo>
                  <a:pt x="654" y="370"/>
                </a:moveTo>
                <a:cubicBezTo>
                  <a:pt x="654" y="369"/>
                  <a:pt x="656" y="369"/>
                  <a:pt x="655" y="370"/>
                </a:cubicBezTo>
                <a:cubicBezTo>
                  <a:pt x="655" y="370"/>
                  <a:pt x="654" y="370"/>
                  <a:pt x="654" y="370"/>
                </a:cubicBezTo>
                <a:close/>
                <a:moveTo>
                  <a:pt x="648" y="287"/>
                </a:moveTo>
                <a:cubicBezTo>
                  <a:pt x="651" y="284"/>
                  <a:pt x="653" y="280"/>
                  <a:pt x="658" y="277"/>
                </a:cubicBezTo>
                <a:cubicBezTo>
                  <a:pt x="657" y="281"/>
                  <a:pt x="652" y="285"/>
                  <a:pt x="648" y="287"/>
                </a:cubicBezTo>
                <a:close/>
                <a:moveTo>
                  <a:pt x="657" y="286"/>
                </a:moveTo>
                <a:cubicBezTo>
                  <a:pt x="657" y="285"/>
                  <a:pt x="658" y="285"/>
                  <a:pt x="658" y="285"/>
                </a:cubicBezTo>
                <a:cubicBezTo>
                  <a:pt x="659" y="286"/>
                  <a:pt x="656" y="287"/>
                  <a:pt x="657" y="286"/>
                </a:cubicBezTo>
                <a:close/>
                <a:moveTo>
                  <a:pt x="658" y="318"/>
                </a:moveTo>
                <a:cubicBezTo>
                  <a:pt x="659" y="317"/>
                  <a:pt x="657" y="319"/>
                  <a:pt x="658" y="318"/>
                </a:cubicBezTo>
                <a:close/>
                <a:moveTo>
                  <a:pt x="658" y="348"/>
                </a:moveTo>
                <a:cubicBezTo>
                  <a:pt x="659" y="347"/>
                  <a:pt x="656" y="349"/>
                  <a:pt x="658" y="348"/>
                </a:cubicBezTo>
                <a:close/>
                <a:moveTo>
                  <a:pt x="658" y="477"/>
                </a:moveTo>
                <a:cubicBezTo>
                  <a:pt x="658" y="476"/>
                  <a:pt x="658" y="476"/>
                  <a:pt x="658" y="476"/>
                </a:cubicBezTo>
                <a:cubicBezTo>
                  <a:pt x="659" y="474"/>
                  <a:pt x="660" y="477"/>
                  <a:pt x="658" y="477"/>
                </a:cubicBezTo>
                <a:close/>
                <a:moveTo>
                  <a:pt x="658" y="376"/>
                </a:moveTo>
                <a:cubicBezTo>
                  <a:pt x="657" y="375"/>
                  <a:pt x="658" y="373"/>
                  <a:pt x="658" y="373"/>
                </a:cubicBezTo>
                <a:cubicBezTo>
                  <a:pt x="661" y="371"/>
                  <a:pt x="661" y="376"/>
                  <a:pt x="658" y="376"/>
                </a:cubicBezTo>
                <a:close/>
                <a:moveTo>
                  <a:pt x="660" y="413"/>
                </a:moveTo>
                <a:cubicBezTo>
                  <a:pt x="660" y="412"/>
                  <a:pt x="661" y="412"/>
                  <a:pt x="660" y="413"/>
                </a:cubicBezTo>
                <a:close/>
                <a:moveTo>
                  <a:pt x="658" y="347"/>
                </a:moveTo>
                <a:cubicBezTo>
                  <a:pt x="659" y="345"/>
                  <a:pt x="660" y="343"/>
                  <a:pt x="662" y="342"/>
                </a:cubicBezTo>
                <a:cubicBezTo>
                  <a:pt x="662" y="342"/>
                  <a:pt x="660" y="346"/>
                  <a:pt x="658" y="347"/>
                </a:cubicBezTo>
                <a:close/>
                <a:moveTo>
                  <a:pt x="663" y="312"/>
                </a:moveTo>
                <a:cubicBezTo>
                  <a:pt x="663" y="312"/>
                  <a:pt x="664" y="313"/>
                  <a:pt x="663" y="313"/>
                </a:cubicBezTo>
                <a:cubicBezTo>
                  <a:pt x="662" y="314"/>
                  <a:pt x="661" y="312"/>
                  <a:pt x="662" y="312"/>
                </a:cubicBezTo>
                <a:cubicBezTo>
                  <a:pt x="662" y="312"/>
                  <a:pt x="662" y="312"/>
                  <a:pt x="662" y="312"/>
                </a:cubicBezTo>
                <a:cubicBezTo>
                  <a:pt x="662" y="311"/>
                  <a:pt x="662" y="311"/>
                  <a:pt x="661" y="311"/>
                </a:cubicBezTo>
                <a:cubicBezTo>
                  <a:pt x="660" y="310"/>
                  <a:pt x="664" y="308"/>
                  <a:pt x="664" y="310"/>
                </a:cubicBezTo>
                <a:cubicBezTo>
                  <a:pt x="664" y="311"/>
                  <a:pt x="664" y="311"/>
                  <a:pt x="663" y="312"/>
                </a:cubicBezTo>
                <a:close/>
                <a:moveTo>
                  <a:pt x="662" y="277"/>
                </a:moveTo>
                <a:cubicBezTo>
                  <a:pt x="661" y="279"/>
                  <a:pt x="662" y="276"/>
                  <a:pt x="662" y="277"/>
                </a:cubicBezTo>
                <a:close/>
                <a:moveTo>
                  <a:pt x="662" y="261"/>
                </a:moveTo>
                <a:cubicBezTo>
                  <a:pt x="662" y="261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ubicBezTo>
                  <a:pt x="662" y="260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lose/>
                <a:moveTo>
                  <a:pt x="664" y="309"/>
                </a:moveTo>
                <a:cubicBezTo>
                  <a:pt x="663" y="309"/>
                  <a:pt x="663" y="308"/>
                  <a:pt x="664" y="308"/>
                </a:cubicBezTo>
                <a:cubicBezTo>
                  <a:pt x="664" y="307"/>
                  <a:pt x="665" y="309"/>
                  <a:pt x="664" y="309"/>
                </a:cubicBezTo>
                <a:close/>
                <a:moveTo>
                  <a:pt x="664" y="258"/>
                </a:moveTo>
                <a:cubicBezTo>
                  <a:pt x="664" y="260"/>
                  <a:pt x="662" y="259"/>
                  <a:pt x="664" y="258"/>
                </a:cubicBezTo>
                <a:close/>
                <a:moveTo>
                  <a:pt x="665" y="262"/>
                </a:moveTo>
                <a:cubicBezTo>
                  <a:pt x="663" y="263"/>
                  <a:pt x="666" y="260"/>
                  <a:pt x="665" y="262"/>
                </a:cubicBezTo>
                <a:close/>
                <a:moveTo>
                  <a:pt x="663" y="233"/>
                </a:moveTo>
                <a:cubicBezTo>
                  <a:pt x="665" y="234"/>
                  <a:pt x="663" y="240"/>
                  <a:pt x="660" y="239"/>
                </a:cubicBezTo>
                <a:cubicBezTo>
                  <a:pt x="657" y="239"/>
                  <a:pt x="659" y="230"/>
                  <a:pt x="663" y="233"/>
                </a:cubicBezTo>
                <a:cubicBezTo>
                  <a:pt x="662" y="232"/>
                  <a:pt x="662" y="229"/>
                  <a:pt x="664" y="230"/>
                </a:cubicBezTo>
                <a:cubicBezTo>
                  <a:pt x="666" y="230"/>
                  <a:pt x="665" y="234"/>
                  <a:pt x="663" y="233"/>
                </a:cubicBezTo>
                <a:close/>
                <a:moveTo>
                  <a:pt x="665" y="341"/>
                </a:moveTo>
                <a:cubicBezTo>
                  <a:pt x="665" y="340"/>
                  <a:pt x="667" y="338"/>
                  <a:pt x="668" y="337"/>
                </a:cubicBezTo>
                <a:cubicBezTo>
                  <a:pt x="667" y="339"/>
                  <a:pt x="667" y="340"/>
                  <a:pt x="665" y="341"/>
                </a:cubicBezTo>
                <a:close/>
                <a:moveTo>
                  <a:pt x="668" y="481"/>
                </a:moveTo>
                <a:cubicBezTo>
                  <a:pt x="668" y="481"/>
                  <a:pt x="668" y="480"/>
                  <a:pt x="668" y="481"/>
                </a:cubicBezTo>
                <a:cubicBezTo>
                  <a:pt x="669" y="481"/>
                  <a:pt x="668" y="482"/>
                  <a:pt x="668" y="481"/>
                </a:cubicBezTo>
                <a:close/>
                <a:moveTo>
                  <a:pt x="671" y="391"/>
                </a:moveTo>
                <a:cubicBezTo>
                  <a:pt x="671" y="390"/>
                  <a:pt x="672" y="389"/>
                  <a:pt x="672" y="388"/>
                </a:cubicBezTo>
                <a:cubicBezTo>
                  <a:pt x="673" y="389"/>
                  <a:pt x="672" y="391"/>
                  <a:pt x="671" y="391"/>
                </a:cubicBezTo>
                <a:close/>
                <a:moveTo>
                  <a:pt x="673" y="387"/>
                </a:moveTo>
                <a:cubicBezTo>
                  <a:pt x="673" y="385"/>
                  <a:pt x="675" y="383"/>
                  <a:pt x="675" y="381"/>
                </a:cubicBezTo>
                <a:cubicBezTo>
                  <a:pt x="676" y="383"/>
                  <a:pt x="674" y="385"/>
                  <a:pt x="673" y="387"/>
                </a:cubicBezTo>
                <a:close/>
                <a:moveTo>
                  <a:pt x="683" y="314"/>
                </a:moveTo>
                <a:cubicBezTo>
                  <a:pt x="681" y="318"/>
                  <a:pt x="678" y="322"/>
                  <a:pt x="676" y="326"/>
                </a:cubicBezTo>
                <a:cubicBezTo>
                  <a:pt x="678" y="322"/>
                  <a:pt x="679" y="317"/>
                  <a:pt x="683" y="314"/>
                </a:cubicBezTo>
                <a:close/>
                <a:moveTo>
                  <a:pt x="678" y="432"/>
                </a:moveTo>
                <a:cubicBezTo>
                  <a:pt x="678" y="434"/>
                  <a:pt x="676" y="433"/>
                  <a:pt x="678" y="432"/>
                </a:cubicBezTo>
                <a:close/>
                <a:moveTo>
                  <a:pt x="682" y="426"/>
                </a:moveTo>
                <a:cubicBezTo>
                  <a:pt x="681" y="426"/>
                  <a:pt x="681" y="425"/>
                  <a:pt x="682" y="424"/>
                </a:cubicBezTo>
                <a:cubicBezTo>
                  <a:pt x="683" y="423"/>
                  <a:pt x="684" y="427"/>
                  <a:pt x="682" y="426"/>
                </a:cubicBezTo>
                <a:close/>
                <a:moveTo>
                  <a:pt x="683" y="451"/>
                </a:moveTo>
                <a:cubicBezTo>
                  <a:pt x="683" y="450"/>
                  <a:pt x="685" y="451"/>
                  <a:pt x="683" y="451"/>
                </a:cubicBezTo>
                <a:close/>
                <a:moveTo>
                  <a:pt x="683" y="486"/>
                </a:moveTo>
                <a:cubicBezTo>
                  <a:pt x="684" y="486"/>
                  <a:pt x="682" y="487"/>
                  <a:pt x="683" y="486"/>
                </a:cubicBezTo>
                <a:close/>
                <a:moveTo>
                  <a:pt x="685" y="289"/>
                </a:moveTo>
                <a:cubicBezTo>
                  <a:pt x="686" y="289"/>
                  <a:pt x="684" y="290"/>
                  <a:pt x="684" y="290"/>
                </a:cubicBezTo>
                <a:cubicBezTo>
                  <a:pt x="684" y="290"/>
                  <a:pt x="685" y="290"/>
                  <a:pt x="685" y="289"/>
                </a:cubicBezTo>
                <a:close/>
                <a:moveTo>
                  <a:pt x="685" y="345"/>
                </a:moveTo>
                <a:cubicBezTo>
                  <a:pt x="684" y="344"/>
                  <a:pt x="685" y="344"/>
                  <a:pt x="685" y="343"/>
                </a:cubicBezTo>
                <a:cubicBezTo>
                  <a:pt x="686" y="343"/>
                  <a:pt x="685" y="345"/>
                  <a:pt x="685" y="345"/>
                </a:cubicBezTo>
                <a:close/>
                <a:moveTo>
                  <a:pt x="686" y="342"/>
                </a:moveTo>
                <a:cubicBezTo>
                  <a:pt x="685" y="341"/>
                  <a:pt x="686" y="341"/>
                  <a:pt x="686" y="340"/>
                </a:cubicBezTo>
                <a:cubicBezTo>
                  <a:pt x="687" y="340"/>
                  <a:pt x="686" y="342"/>
                  <a:pt x="686" y="342"/>
                </a:cubicBezTo>
                <a:close/>
                <a:moveTo>
                  <a:pt x="687" y="340"/>
                </a:moveTo>
                <a:cubicBezTo>
                  <a:pt x="686" y="339"/>
                  <a:pt x="687" y="337"/>
                  <a:pt x="688" y="336"/>
                </a:cubicBezTo>
                <a:cubicBezTo>
                  <a:pt x="688" y="337"/>
                  <a:pt x="687" y="339"/>
                  <a:pt x="687" y="340"/>
                </a:cubicBezTo>
                <a:close/>
                <a:moveTo>
                  <a:pt x="688" y="329"/>
                </a:moveTo>
                <a:cubicBezTo>
                  <a:pt x="688" y="329"/>
                  <a:pt x="688" y="329"/>
                  <a:pt x="688" y="329"/>
                </a:cubicBezTo>
                <a:cubicBezTo>
                  <a:pt x="688" y="329"/>
                  <a:pt x="687" y="330"/>
                  <a:pt x="688" y="329"/>
                </a:cubicBezTo>
                <a:close/>
                <a:moveTo>
                  <a:pt x="688" y="284"/>
                </a:moveTo>
                <a:cubicBezTo>
                  <a:pt x="689" y="283"/>
                  <a:pt x="686" y="286"/>
                  <a:pt x="688" y="284"/>
                </a:cubicBezTo>
                <a:close/>
                <a:moveTo>
                  <a:pt x="693" y="290"/>
                </a:moveTo>
                <a:cubicBezTo>
                  <a:pt x="697" y="288"/>
                  <a:pt x="695" y="297"/>
                  <a:pt x="692" y="296"/>
                </a:cubicBezTo>
                <a:cubicBezTo>
                  <a:pt x="690" y="295"/>
                  <a:pt x="692" y="291"/>
                  <a:pt x="693" y="290"/>
                </a:cubicBezTo>
                <a:close/>
                <a:moveTo>
                  <a:pt x="691" y="285"/>
                </a:moveTo>
                <a:cubicBezTo>
                  <a:pt x="691" y="286"/>
                  <a:pt x="692" y="284"/>
                  <a:pt x="691" y="285"/>
                </a:cubicBezTo>
                <a:close/>
                <a:moveTo>
                  <a:pt x="689" y="285"/>
                </a:moveTo>
                <a:cubicBezTo>
                  <a:pt x="690" y="285"/>
                  <a:pt x="690" y="284"/>
                  <a:pt x="691" y="284"/>
                </a:cubicBezTo>
                <a:cubicBezTo>
                  <a:pt x="693" y="285"/>
                  <a:pt x="688" y="288"/>
                  <a:pt x="689" y="285"/>
                </a:cubicBezTo>
                <a:close/>
                <a:moveTo>
                  <a:pt x="689" y="316"/>
                </a:moveTo>
                <a:cubicBezTo>
                  <a:pt x="690" y="317"/>
                  <a:pt x="688" y="316"/>
                  <a:pt x="689" y="316"/>
                </a:cubicBezTo>
                <a:close/>
                <a:moveTo>
                  <a:pt x="689" y="395"/>
                </a:moveTo>
                <a:cubicBezTo>
                  <a:pt x="689" y="395"/>
                  <a:pt x="689" y="394"/>
                  <a:pt x="689" y="394"/>
                </a:cubicBezTo>
                <a:cubicBezTo>
                  <a:pt x="690" y="394"/>
                  <a:pt x="688" y="397"/>
                  <a:pt x="689" y="395"/>
                </a:cubicBezTo>
                <a:close/>
                <a:moveTo>
                  <a:pt x="690" y="404"/>
                </a:moveTo>
                <a:cubicBezTo>
                  <a:pt x="690" y="403"/>
                  <a:pt x="691" y="404"/>
                  <a:pt x="691" y="404"/>
                </a:cubicBezTo>
                <a:cubicBezTo>
                  <a:pt x="691" y="405"/>
                  <a:pt x="689" y="405"/>
                  <a:pt x="690" y="404"/>
                </a:cubicBezTo>
                <a:close/>
                <a:moveTo>
                  <a:pt x="691" y="343"/>
                </a:moveTo>
                <a:cubicBezTo>
                  <a:pt x="691" y="342"/>
                  <a:pt x="691" y="341"/>
                  <a:pt x="691" y="341"/>
                </a:cubicBezTo>
                <a:cubicBezTo>
                  <a:pt x="692" y="340"/>
                  <a:pt x="692" y="343"/>
                  <a:pt x="691" y="343"/>
                </a:cubicBezTo>
                <a:close/>
                <a:moveTo>
                  <a:pt x="692" y="394"/>
                </a:moveTo>
                <a:cubicBezTo>
                  <a:pt x="691" y="395"/>
                  <a:pt x="693" y="393"/>
                  <a:pt x="692" y="394"/>
                </a:cubicBezTo>
                <a:close/>
                <a:moveTo>
                  <a:pt x="692" y="300"/>
                </a:moveTo>
                <a:cubicBezTo>
                  <a:pt x="690" y="300"/>
                  <a:pt x="691" y="299"/>
                  <a:pt x="692" y="298"/>
                </a:cubicBezTo>
                <a:cubicBezTo>
                  <a:pt x="693" y="297"/>
                  <a:pt x="693" y="300"/>
                  <a:pt x="692" y="300"/>
                </a:cubicBezTo>
                <a:close/>
                <a:moveTo>
                  <a:pt x="694" y="330"/>
                </a:moveTo>
                <a:cubicBezTo>
                  <a:pt x="695" y="329"/>
                  <a:pt x="695" y="332"/>
                  <a:pt x="694" y="331"/>
                </a:cubicBezTo>
                <a:cubicBezTo>
                  <a:pt x="693" y="331"/>
                  <a:pt x="694" y="330"/>
                  <a:pt x="694" y="330"/>
                </a:cubicBezTo>
                <a:close/>
                <a:moveTo>
                  <a:pt x="694" y="454"/>
                </a:moveTo>
                <a:cubicBezTo>
                  <a:pt x="694" y="454"/>
                  <a:pt x="694" y="454"/>
                  <a:pt x="695" y="454"/>
                </a:cubicBezTo>
                <a:cubicBezTo>
                  <a:pt x="696" y="454"/>
                  <a:pt x="693" y="455"/>
                  <a:pt x="694" y="454"/>
                </a:cubicBezTo>
                <a:close/>
                <a:moveTo>
                  <a:pt x="696" y="312"/>
                </a:moveTo>
                <a:cubicBezTo>
                  <a:pt x="694" y="313"/>
                  <a:pt x="694" y="308"/>
                  <a:pt x="695" y="307"/>
                </a:cubicBezTo>
                <a:cubicBezTo>
                  <a:pt x="700" y="304"/>
                  <a:pt x="697" y="312"/>
                  <a:pt x="696" y="312"/>
                </a:cubicBezTo>
                <a:close/>
                <a:moveTo>
                  <a:pt x="699" y="327"/>
                </a:moveTo>
                <a:cubicBezTo>
                  <a:pt x="699" y="327"/>
                  <a:pt x="700" y="326"/>
                  <a:pt x="700" y="326"/>
                </a:cubicBezTo>
                <a:cubicBezTo>
                  <a:pt x="702" y="327"/>
                  <a:pt x="698" y="329"/>
                  <a:pt x="699" y="327"/>
                </a:cubicBezTo>
                <a:close/>
                <a:moveTo>
                  <a:pt x="702" y="431"/>
                </a:moveTo>
                <a:cubicBezTo>
                  <a:pt x="702" y="430"/>
                  <a:pt x="704" y="429"/>
                  <a:pt x="704" y="428"/>
                </a:cubicBezTo>
                <a:cubicBezTo>
                  <a:pt x="704" y="429"/>
                  <a:pt x="704" y="431"/>
                  <a:pt x="702" y="431"/>
                </a:cubicBezTo>
                <a:close/>
                <a:moveTo>
                  <a:pt x="704" y="427"/>
                </a:moveTo>
                <a:cubicBezTo>
                  <a:pt x="705" y="425"/>
                  <a:pt x="705" y="423"/>
                  <a:pt x="706" y="421"/>
                </a:cubicBezTo>
                <a:cubicBezTo>
                  <a:pt x="707" y="422"/>
                  <a:pt x="705" y="426"/>
                  <a:pt x="704" y="427"/>
                </a:cubicBezTo>
                <a:close/>
                <a:moveTo>
                  <a:pt x="706" y="392"/>
                </a:moveTo>
                <a:cubicBezTo>
                  <a:pt x="706" y="393"/>
                  <a:pt x="706" y="393"/>
                  <a:pt x="706" y="392"/>
                </a:cubicBezTo>
                <a:close/>
                <a:moveTo>
                  <a:pt x="709" y="396"/>
                </a:moveTo>
                <a:cubicBezTo>
                  <a:pt x="710" y="397"/>
                  <a:pt x="708" y="397"/>
                  <a:pt x="709" y="396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r>
              <a:rPr lang="en-ID" b="1" dirty="0">
                <a:solidFill>
                  <a:schemeClr val="bg1"/>
                </a:solidFill>
              </a:rPr>
              <a:t>LOREM IPSUM</a:t>
            </a:r>
          </a:p>
        </p:txBody>
      </p:sp>
      <p:sp>
        <p:nvSpPr>
          <p:cNvPr id="53" name="Freeform 97">
            <a:extLst>
              <a:ext uri="{FF2B5EF4-FFF2-40B4-BE49-F238E27FC236}">
                <a16:creationId xmlns="" xmlns:a16="http://schemas.microsoft.com/office/drawing/2014/main" id="{185B8DB6-A8AE-408F-84F9-5BC45C792E7E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640410" y="4048884"/>
            <a:ext cx="2119312" cy="2119312"/>
          </a:xfrm>
          <a:custGeom>
            <a:avLst/>
            <a:gdLst>
              <a:gd name="T0" fmla="*/ 677 w 714"/>
              <a:gd name="T1" fmla="*/ 212 h 715"/>
              <a:gd name="T2" fmla="*/ 626 w 714"/>
              <a:gd name="T3" fmla="*/ 179 h 715"/>
              <a:gd name="T4" fmla="*/ 573 w 714"/>
              <a:gd name="T5" fmla="*/ 139 h 715"/>
              <a:gd name="T6" fmla="*/ 553 w 714"/>
              <a:gd name="T7" fmla="*/ 94 h 715"/>
              <a:gd name="T8" fmla="*/ 516 w 714"/>
              <a:gd name="T9" fmla="*/ 53 h 715"/>
              <a:gd name="T10" fmla="*/ 421 w 714"/>
              <a:gd name="T11" fmla="*/ 60 h 715"/>
              <a:gd name="T12" fmla="*/ 429 w 714"/>
              <a:gd name="T13" fmla="*/ 26 h 715"/>
              <a:gd name="T14" fmla="*/ 22 w 714"/>
              <a:gd name="T15" fmla="*/ 436 h 715"/>
              <a:gd name="T16" fmla="*/ 39 w 714"/>
              <a:gd name="T17" fmla="*/ 451 h 715"/>
              <a:gd name="T18" fmla="*/ 60 w 714"/>
              <a:gd name="T19" fmla="*/ 465 h 715"/>
              <a:gd name="T20" fmla="*/ 108 w 714"/>
              <a:gd name="T21" fmla="*/ 446 h 715"/>
              <a:gd name="T22" fmla="*/ 102 w 714"/>
              <a:gd name="T23" fmla="*/ 508 h 715"/>
              <a:gd name="T24" fmla="*/ 146 w 714"/>
              <a:gd name="T25" fmla="*/ 552 h 715"/>
              <a:gd name="T26" fmla="*/ 190 w 714"/>
              <a:gd name="T27" fmla="*/ 596 h 715"/>
              <a:gd name="T28" fmla="*/ 214 w 714"/>
              <a:gd name="T29" fmla="*/ 647 h 715"/>
              <a:gd name="T30" fmla="*/ 296 w 714"/>
              <a:gd name="T31" fmla="*/ 709 h 715"/>
              <a:gd name="T32" fmla="*/ 684 w 714"/>
              <a:gd name="T33" fmla="*/ 227 h 715"/>
              <a:gd name="T34" fmla="*/ 434 w 714"/>
              <a:gd name="T35" fmla="*/ 24 h 715"/>
              <a:gd name="T36" fmla="*/ 9 w 714"/>
              <a:gd name="T37" fmla="*/ 371 h 715"/>
              <a:gd name="T38" fmla="*/ 37 w 714"/>
              <a:gd name="T39" fmla="*/ 344 h 715"/>
              <a:gd name="T40" fmla="*/ 45 w 714"/>
              <a:gd name="T41" fmla="*/ 192 h 715"/>
              <a:gd name="T42" fmla="*/ 64 w 714"/>
              <a:gd name="T43" fmla="*/ 419 h 715"/>
              <a:gd name="T44" fmla="*/ 84 w 714"/>
              <a:gd name="T45" fmla="*/ 332 h 715"/>
              <a:gd name="T46" fmla="*/ 87 w 714"/>
              <a:gd name="T47" fmla="*/ 502 h 715"/>
              <a:gd name="T48" fmla="*/ 234 w 714"/>
              <a:gd name="T49" fmla="*/ 679 h 715"/>
              <a:gd name="T50" fmla="*/ 287 w 714"/>
              <a:gd name="T51" fmla="*/ 641 h 715"/>
              <a:gd name="T52" fmla="*/ 303 w 714"/>
              <a:gd name="T53" fmla="*/ 67 h 715"/>
              <a:gd name="T54" fmla="*/ 270 w 714"/>
              <a:gd name="T55" fmla="*/ 571 h 715"/>
              <a:gd name="T56" fmla="*/ 246 w 714"/>
              <a:gd name="T57" fmla="*/ 640 h 715"/>
              <a:gd name="T58" fmla="*/ 249 w 714"/>
              <a:gd name="T59" fmla="*/ 640 h 715"/>
              <a:gd name="T60" fmla="*/ 227 w 714"/>
              <a:gd name="T61" fmla="*/ 527 h 715"/>
              <a:gd name="T62" fmla="*/ 209 w 714"/>
              <a:gd name="T63" fmla="*/ 468 h 715"/>
              <a:gd name="T64" fmla="*/ 178 w 714"/>
              <a:gd name="T65" fmla="*/ 383 h 715"/>
              <a:gd name="T66" fmla="*/ 165 w 714"/>
              <a:gd name="T67" fmla="*/ 345 h 715"/>
              <a:gd name="T68" fmla="*/ 156 w 714"/>
              <a:gd name="T69" fmla="*/ 435 h 715"/>
              <a:gd name="T70" fmla="*/ 132 w 714"/>
              <a:gd name="T71" fmla="*/ 280 h 715"/>
              <a:gd name="T72" fmla="*/ 123 w 714"/>
              <a:gd name="T73" fmla="*/ 474 h 715"/>
              <a:gd name="T74" fmla="*/ 154 w 714"/>
              <a:gd name="T75" fmla="*/ 484 h 715"/>
              <a:gd name="T76" fmla="*/ 189 w 714"/>
              <a:gd name="T77" fmla="*/ 398 h 715"/>
              <a:gd name="T78" fmla="*/ 235 w 714"/>
              <a:gd name="T79" fmla="*/ 592 h 715"/>
              <a:gd name="T80" fmla="*/ 277 w 714"/>
              <a:gd name="T81" fmla="*/ 700 h 715"/>
              <a:gd name="T82" fmla="*/ 335 w 714"/>
              <a:gd name="T83" fmla="*/ 131 h 715"/>
              <a:gd name="T84" fmla="*/ 522 w 714"/>
              <a:gd name="T85" fmla="*/ 181 h 715"/>
              <a:gd name="T86" fmla="*/ 480 w 714"/>
              <a:gd name="T87" fmla="*/ 95 h 715"/>
              <a:gd name="T88" fmla="*/ 502 w 714"/>
              <a:gd name="T89" fmla="*/ 132 h 715"/>
              <a:gd name="T90" fmla="*/ 509 w 714"/>
              <a:gd name="T91" fmla="*/ 36 h 715"/>
              <a:gd name="T92" fmla="*/ 462 w 714"/>
              <a:gd name="T93" fmla="*/ 49 h 715"/>
              <a:gd name="T94" fmla="*/ 406 w 714"/>
              <a:gd name="T95" fmla="*/ 125 h 715"/>
              <a:gd name="T96" fmla="*/ 372 w 714"/>
              <a:gd name="T97" fmla="*/ 610 h 715"/>
              <a:gd name="T98" fmla="*/ 398 w 714"/>
              <a:gd name="T99" fmla="*/ 679 h 715"/>
              <a:gd name="T100" fmla="*/ 454 w 714"/>
              <a:gd name="T101" fmla="*/ 644 h 715"/>
              <a:gd name="T102" fmla="*/ 469 w 714"/>
              <a:gd name="T103" fmla="*/ 168 h 715"/>
              <a:gd name="T104" fmla="*/ 522 w 714"/>
              <a:gd name="T105" fmla="*/ 285 h 715"/>
              <a:gd name="T106" fmla="*/ 585 w 714"/>
              <a:gd name="T107" fmla="*/ 213 h 715"/>
              <a:gd name="T108" fmla="*/ 544 w 714"/>
              <a:gd name="T109" fmla="*/ 168 h 715"/>
              <a:gd name="T110" fmla="*/ 573 w 714"/>
              <a:gd name="T111" fmla="*/ 236 h 715"/>
              <a:gd name="T112" fmla="*/ 595 w 714"/>
              <a:gd name="T113" fmla="*/ 470 h 715"/>
              <a:gd name="T114" fmla="*/ 651 w 714"/>
              <a:gd name="T115" fmla="*/ 272 h 715"/>
              <a:gd name="T116" fmla="*/ 630 w 714"/>
              <a:gd name="T117" fmla="*/ 261 h 715"/>
              <a:gd name="T118" fmla="*/ 615 w 714"/>
              <a:gd name="T119" fmla="*/ 194 h 715"/>
              <a:gd name="T120" fmla="*/ 625 w 714"/>
              <a:gd name="T121" fmla="*/ 381 h 715"/>
              <a:gd name="T122" fmla="*/ 658 w 714"/>
              <a:gd name="T123" fmla="*/ 277 h 715"/>
              <a:gd name="T124" fmla="*/ 686 w 714"/>
              <a:gd name="T125" fmla="*/ 342 h 7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14" h="715">
                <a:moveTo>
                  <a:pt x="710" y="304"/>
                </a:moveTo>
                <a:cubicBezTo>
                  <a:pt x="710" y="305"/>
                  <a:pt x="710" y="305"/>
                  <a:pt x="709" y="305"/>
                </a:cubicBezTo>
                <a:cubicBezTo>
                  <a:pt x="709" y="304"/>
                  <a:pt x="710" y="303"/>
                  <a:pt x="710" y="303"/>
                </a:cubicBezTo>
                <a:cubicBezTo>
                  <a:pt x="710" y="303"/>
                  <a:pt x="710" y="303"/>
                  <a:pt x="710" y="303"/>
                </a:cubicBezTo>
                <a:cubicBezTo>
                  <a:pt x="709" y="297"/>
                  <a:pt x="708" y="292"/>
                  <a:pt x="707" y="286"/>
                </a:cubicBezTo>
                <a:cubicBezTo>
                  <a:pt x="707" y="287"/>
                  <a:pt x="707" y="288"/>
                  <a:pt x="706" y="290"/>
                </a:cubicBezTo>
                <a:cubicBezTo>
                  <a:pt x="706" y="289"/>
                  <a:pt x="707" y="289"/>
                  <a:pt x="707" y="289"/>
                </a:cubicBezTo>
                <a:cubicBezTo>
                  <a:pt x="707" y="290"/>
                  <a:pt x="706" y="290"/>
                  <a:pt x="706" y="290"/>
                </a:cubicBezTo>
                <a:cubicBezTo>
                  <a:pt x="706" y="292"/>
                  <a:pt x="706" y="294"/>
                  <a:pt x="705" y="295"/>
                </a:cubicBezTo>
                <a:cubicBezTo>
                  <a:pt x="703" y="298"/>
                  <a:pt x="703" y="301"/>
                  <a:pt x="703" y="301"/>
                </a:cubicBezTo>
                <a:cubicBezTo>
                  <a:pt x="702" y="302"/>
                  <a:pt x="700" y="300"/>
                  <a:pt x="699" y="300"/>
                </a:cubicBezTo>
                <a:cubicBezTo>
                  <a:pt x="697" y="301"/>
                  <a:pt x="697" y="303"/>
                  <a:pt x="696" y="300"/>
                </a:cubicBezTo>
                <a:cubicBezTo>
                  <a:pt x="696" y="299"/>
                  <a:pt x="696" y="301"/>
                  <a:pt x="695" y="298"/>
                </a:cubicBezTo>
                <a:cubicBezTo>
                  <a:pt x="695" y="297"/>
                  <a:pt x="697" y="291"/>
                  <a:pt x="700" y="292"/>
                </a:cubicBezTo>
                <a:cubicBezTo>
                  <a:pt x="701" y="293"/>
                  <a:pt x="702" y="295"/>
                  <a:pt x="703" y="292"/>
                </a:cubicBezTo>
                <a:cubicBezTo>
                  <a:pt x="703" y="291"/>
                  <a:pt x="703" y="290"/>
                  <a:pt x="703" y="289"/>
                </a:cubicBezTo>
                <a:cubicBezTo>
                  <a:pt x="703" y="287"/>
                  <a:pt x="705" y="284"/>
                  <a:pt x="706" y="282"/>
                </a:cubicBezTo>
                <a:cubicBezTo>
                  <a:pt x="705" y="276"/>
                  <a:pt x="704" y="270"/>
                  <a:pt x="702" y="264"/>
                </a:cubicBezTo>
                <a:cubicBezTo>
                  <a:pt x="701" y="268"/>
                  <a:pt x="695" y="273"/>
                  <a:pt x="691" y="270"/>
                </a:cubicBezTo>
                <a:cubicBezTo>
                  <a:pt x="691" y="271"/>
                  <a:pt x="691" y="270"/>
                  <a:pt x="690" y="270"/>
                </a:cubicBezTo>
                <a:cubicBezTo>
                  <a:pt x="690" y="270"/>
                  <a:pt x="690" y="270"/>
                  <a:pt x="690" y="270"/>
                </a:cubicBezTo>
                <a:cubicBezTo>
                  <a:pt x="690" y="271"/>
                  <a:pt x="690" y="270"/>
                  <a:pt x="690" y="270"/>
                </a:cubicBezTo>
                <a:cubicBezTo>
                  <a:pt x="690" y="270"/>
                  <a:pt x="690" y="270"/>
                  <a:pt x="690" y="269"/>
                </a:cubicBezTo>
                <a:cubicBezTo>
                  <a:pt x="689" y="270"/>
                  <a:pt x="688" y="271"/>
                  <a:pt x="688" y="271"/>
                </a:cubicBezTo>
                <a:cubicBezTo>
                  <a:pt x="686" y="270"/>
                  <a:pt x="686" y="273"/>
                  <a:pt x="685" y="274"/>
                </a:cubicBezTo>
                <a:cubicBezTo>
                  <a:pt x="684" y="274"/>
                  <a:pt x="682" y="273"/>
                  <a:pt x="682" y="275"/>
                </a:cubicBezTo>
                <a:cubicBezTo>
                  <a:pt x="681" y="270"/>
                  <a:pt x="674" y="279"/>
                  <a:pt x="674" y="281"/>
                </a:cubicBezTo>
                <a:cubicBezTo>
                  <a:pt x="675" y="280"/>
                  <a:pt x="681" y="280"/>
                  <a:pt x="680" y="280"/>
                </a:cubicBezTo>
                <a:cubicBezTo>
                  <a:pt x="680" y="280"/>
                  <a:pt x="681" y="280"/>
                  <a:pt x="681" y="280"/>
                </a:cubicBezTo>
                <a:cubicBezTo>
                  <a:pt x="681" y="280"/>
                  <a:pt x="681" y="280"/>
                  <a:pt x="681" y="280"/>
                </a:cubicBezTo>
                <a:cubicBezTo>
                  <a:pt x="681" y="279"/>
                  <a:pt x="682" y="278"/>
                  <a:pt x="682" y="279"/>
                </a:cubicBezTo>
                <a:cubicBezTo>
                  <a:pt x="684" y="280"/>
                  <a:pt x="681" y="280"/>
                  <a:pt x="681" y="281"/>
                </a:cubicBezTo>
                <a:cubicBezTo>
                  <a:pt x="681" y="282"/>
                  <a:pt x="681" y="282"/>
                  <a:pt x="681" y="282"/>
                </a:cubicBezTo>
                <a:cubicBezTo>
                  <a:pt x="682" y="282"/>
                  <a:pt x="683" y="282"/>
                  <a:pt x="683" y="284"/>
                </a:cubicBezTo>
                <a:cubicBezTo>
                  <a:pt x="683" y="284"/>
                  <a:pt x="683" y="284"/>
                  <a:pt x="683" y="284"/>
                </a:cubicBezTo>
                <a:cubicBezTo>
                  <a:pt x="683" y="284"/>
                  <a:pt x="684" y="285"/>
                  <a:pt x="684" y="286"/>
                </a:cubicBezTo>
                <a:cubicBezTo>
                  <a:pt x="684" y="286"/>
                  <a:pt x="681" y="289"/>
                  <a:pt x="681" y="290"/>
                </a:cubicBezTo>
                <a:cubicBezTo>
                  <a:pt x="680" y="290"/>
                  <a:pt x="679" y="295"/>
                  <a:pt x="678" y="295"/>
                </a:cubicBezTo>
                <a:cubicBezTo>
                  <a:pt x="676" y="295"/>
                  <a:pt x="679" y="293"/>
                  <a:pt x="677" y="292"/>
                </a:cubicBezTo>
                <a:cubicBezTo>
                  <a:pt x="677" y="291"/>
                  <a:pt x="675" y="293"/>
                  <a:pt x="674" y="293"/>
                </a:cubicBezTo>
                <a:cubicBezTo>
                  <a:pt x="673" y="292"/>
                  <a:pt x="674" y="291"/>
                  <a:pt x="673" y="290"/>
                </a:cubicBezTo>
                <a:cubicBezTo>
                  <a:pt x="673" y="290"/>
                  <a:pt x="671" y="292"/>
                  <a:pt x="670" y="290"/>
                </a:cubicBezTo>
                <a:cubicBezTo>
                  <a:pt x="669" y="288"/>
                  <a:pt x="672" y="289"/>
                  <a:pt x="672" y="288"/>
                </a:cubicBezTo>
                <a:cubicBezTo>
                  <a:pt x="672" y="287"/>
                  <a:pt x="671" y="287"/>
                  <a:pt x="671" y="287"/>
                </a:cubicBezTo>
                <a:cubicBezTo>
                  <a:pt x="671" y="286"/>
                  <a:pt x="672" y="285"/>
                  <a:pt x="672" y="283"/>
                </a:cubicBezTo>
                <a:cubicBezTo>
                  <a:pt x="672" y="283"/>
                  <a:pt x="672" y="282"/>
                  <a:pt x="672" y="282"/>
                </a:cubicBezTo>
                <a:cubicBezTo>
                  <a:pt x="673" y="279"/>
                  <a:pt x="678" y="276"/>
                  <a:pt x="677" y="271"/>
                </a:cubicBezTo>
                <a:cubicBezTo>
                  <a:pt x="676" y="270"/>
                  <a:pt x="675" y="271"/>
                  <a:pt x="674" y="272"/>
                </a:cubicBezTo>
                <a:cubicBezTo>
                  <a:pt x="675" y="269"/>
                  <a:pt x="676" y="260"/>
                  <a:pt x="681" y="259"/>
                </a:cubicBezTo>
                <a:cubicBezTo>
                  <a:pt x="681" y="259"/>
                  <a:pt x="684" y="259"/>
                  <a:pt x="685" y="259"/>
                </a:cubicBezTo>
                <a:cubicBezTo>
                  <a:pt x="685" y="259"/>
                  <a:pt x="686" y="260"/>
                  <a:pt x="687" y="261"/>
                </a:cubicBezTo>
                <a:cubicBezTo>
                  <a:pt x="687" y="261"/>
                  <a:pt x="687" y="261"/>
                  <a:pt x="688" y="261"/>
                </a:cubicBezTo>
                <a:cubicBezTo>
                  <a:pt x="688" y="261"/>
                  <a:pt x="688" y="261"/>
                  <a:pt x="688" y="261"/>
                </a:cubicBezTo>
                <a:cubicBezTo>
                  <a:pt x="688" y="262"/>
                  <a:pt x="688" y="262"/>
                  <a:pt x="689" y="262"/>
                </a:cubicBezTo>
                <a:cubicBezTo>
                  <a:pt x="690" y="261"/>
                  <a:pt x="691" y="259"/>
                  <a:pt x="692" y="258"/>
                </a:cubicBezTo>
                <a:cubicBezTo>
                  <a:pt x="691" y="257"/>
                  <a:pt x="690" y="258"/>
                  <a:pt x="689" y="259"/>
                </a:cubicBezTo>
                <a:cubicBezTo>
                  <a:pt x="689" y="258"/>
                  <a:pt x="689" y="258"/>
                  <a:pt x="689" y="258"/>
                </a:cubicBezTo>
                <a:cubicBezTo>
                  <a:pt x="688" y="258"/>
                  <a:pt x="687" y="258"/>
                  <a:pt x="687" y="257"/>
                </a:cubicBezTo>
                <a:cubicBezTo>
                  <a:pt x="686" y="256"/>
                  <a:pt x="688" y="256"/>
                  <a:pt x="688" y="256"/>
                </a:cubicBezTo>
                <a:cubicBezTo>
                  <a:pt x="689" y="254"/>
                  <a:pt x="687" y="255"/>
                  <a:pt x="688" y="253"/>
                </a:cubicBezTo>
                <a:cubicBezTo>
                  <a:pt x="689" y="252"/>
                  <a:pt x="692" y="252"/>
                  <a:pt x="692" y="251"/>
                </a:cubicBezTo>
                <a:cubicBezTo>
                  <a:pt x="692" y="251"/>
                  <a:pt x="692" y="250"/>
                  <a:pt x="692" y="250"/>
                </a:cubicBezTo>
                <a:cubicBezTo>
                  <a:pt x="692" y="250"/>
                  <a:pt x="691" y="249"/>
                  <a:pt x="691" y="249"/>
                </a:cubicBezTo>
                <a:cubicBezTo>
                  <a:pt x="691" y="249"/>
                  <a:pt x="692" y="247"/>
                  <a:pt x="691" y="246"/>
                </a:cubicBezTo>
                <a:cubicBezTo>
                  <a:pt x="690" y="245"/>
                  <a:pt x="690" y="246"/>
                  <a:pt x="690" y="246"/>
                </a:cubicBezTo>
                <a:cubicBezTo>
                  <a:pt x="689" y="246"/>
                  <a:pt x="688" y="242"/>
                  <a:pt x="688" y="242"/>
                </a:cubicBezTo>
                <a:cubicBezTo>
                  <a:pt x="689" y="240"/>
                  <a:pt x="691" y="242"/>
                  <a:pt x="693" y="241"/>
                </a:cubicBezTo>
                <a:cubicBezTo>
                  <a:pt x="692" y="241"/>
                  <a:pt x="693" y="239"/>
                  <a:pt x="694" y="239"/>
                </a:cubicBezTo>
                <a:cubicBezTo>
                  <a:pt x="693" y="235"/>
                  <a:pt x="691" y="231"/>
                  <a:pt x="690" y="227"/>
                </a:cubicBezTo>
                <a:cubicBezTo>
                  <a:pt x="690" y="227"/>
                  <a:pt x="689" y="227"/>
                  <a:pt x="689" y="227"/>
                </a:cubicBezTo>
                <a:cubicBezTo>
                  <a:pt x="688" y="227"/>
                  <a:pt x="689" y="225"/>
                  <a:pt x="688" y="224"/>
                </a:cubicBezTo>
                <a:cubicBezTo>
                  <a:pt x="688" y="223"/>
                  <a:pt x="688" y="223"/>
                  <a:pt x="688" y="223"/>
                </a:cubicBezTo>
                <a:cubicBezTo>
                  <a:pt x="688" y="222"/>
                  <a:pt x="688" y="222"/>
                  <a:pt x="688" y="221"/>
                </a:cubicBezTo>
                <a:cubicBezTo>
                  <a:pt x="685" y="222"/>
                  <a:pt x="682" y="222"/>
                  <a:pt x="681" y="222"/>
                </a:cubicBezTo>
                <a:cubicBezTo>
                  <a:pt x="679" y="222"/>
                  <a:pt x="680" y="219"/>
                  <a:pt x="678" y="220"/>
                </a:cubicBezTo>
                <a:cubicBezTo>
                  <a:pt x="680" y="218"/>
                  <a:pt x="676" y="218"/>
                  <a:pt x="676" y="216"/>
                </a:cubicBezTo>
                <a:cubicBezTo>
                  <a:pt x="675" y="215"/>
                  <a:pt x="677" y="215"/>
                  <a:pt x="677" y="215"/>
                </a:cubicBezTo>
                <a:cubicBezTo>
                  <a:pt x="678" y="214"/>
                  <a:pt x="676" y="213"/>
                  <a:pt x="677" y="212"/>
                </a:cubicBezTo>
                <a:cubicBezTo>
                  <a:pt x="677" y="212"/>
                  <a:pt x="677" y="212"/>
                  <a:pt x="677" y="212"/>
                </a:cubicBezTo>
                <a:cubicBezTo>
                  <a:pt x="676" y="212"/>
                  <a:pt x="675" y="210"/>
                  <a:pt x="675" y="209"/>
                </a:cubicBezTo>
                <a:cubicBezTo>
                  <a:pt x="674" y="209"/>
                  <a:pt x="674" y="209"/>
                  <a:pt x="673" y="209"/>
                </a:cubicBezTo>
                <a:cubicBezTo>
                  <a:pt x="674" y="210"/>
                  <a:pt x="674" y="210"/>
                  <a:pt x="674" y="211"/>
                </a:cubicBezTo>
                <a:cubicBezTo>
                  <a:pt x="674" y="212"/>
                  <a:pt x="674" y="212"/>
                  <a:pt x="673" y="213"/>
                </a:cubicBezTo>
                <a:cubicBezTo>
                  <a:pt x="673" y="214"/>
                  <a:pt x="673" y="214"/>
                  <a:pt x="673" y="215"/>
                </a:cubicBezTo>
                <a:cubicBezTo>
                  <a:pt x="673" y="215"/>
                  <a:pt x="673" y="215"/>
                  <a:pt x="673" y="215"/>
                </a:cubicBezTo>
                <a:cubicBezTo>
                  <a:pt x="673" y="215"/>
                  <a:pt x="672" y="216"/>
                  <a:pt x="672" y="216"/>
                </a:cubicBezTo>
                <a:cubicBezTo>
                  <a:pt x="671" y="217"/>
                  <a:pt x="669" y="218"/>
                  <a:pt x="669" y="220"/>
                </a:cubicBezTo>
                <a:cubicBezTo>
                  <a:pt x="670" y="217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6" y="218"/>
                </a:cubicBezTo>
                <a:cubicBezTo>
                  <a:pt x="666" y="218"/>
                  <a:pt x="666" y="218"/>
                  <a:pt x="667" y="219"/>
                </a:cubicBezTo>
                <a:cubicBezTo>
                  <a:pt x="668" y="220"/>
                  <a:pt x="668" y="224"/>
                  <a:pt x="667" y="225"/>
                </a:cubicBezTo>
                <a:cubicBezTo>
                  <a:pt x="667" y="225"/>
                  <a:pt x="667" y="224"/>
                  <a:pt x="666" y="224"/>
                </a:cubicBezTo>
                <a:cubicBezTo>
                  <a:pt x="665" y="225"/>
                  <a:pt x="663" y="228"/>
                  <a:pt x="660" y="228"/>
                </a:cubicBezTo>
                <a:cubicBezTo>
                  <a:pt x="661" y="226"/>
                  <a:pt x="663" y="226"/>
                  <a:pt x="663" y="225"/>
                </a:cubicBezTo>
                <a:cubicBezTo>
                  <a:pt x="663" y="224"/>
                  <a:pt x="662" y="225"/>
                  <a:pt x="661" y="224"/>
                </a:cubicBezTo>
                <a:cubicBezTo>
                  <a:pt x="660" y="223"/>
                  <a:pt x="662" y="219"/>
                  <a:pt x="665" y="218"/>
                </a:cubicBezTo>
                <a:cubicBezTo>
                  <a:pt x="665" y="217"/>
                  <a:pt x="665" y="216"/>
                  <a:pt x="665" y="216"/>
                </a:cubicBezTo>
                <a:cubicBezTo>
                  <a:pt x="665" y="215"/>
                  <a:pt x="664" y="215"/>
                  <a:pt x="664" y="215"/>
                </a:cubicBezTo>
                <a:cubicBezTo>
                  <a:pt x="663" y="217"/>
                  <a:pt x="661" y="218"/>
                  <a:pt x="660" y="220"/>
                </a:cubicBezTo>
                <a:cubicBezTo>
                  <a:pt x="660" y="221"/>
                  <a:pt x="661" y="222"/>
                  <a:pt x="660" y="223"/>
                </a:cubicBezTo>
                <a:cubicBezTo>
                  <a:pt x="660" y="223"/>
                  <a:pt x="659" y="224"/>
                  <a:pt x="659" y="225"/>
                </a:cubicBezTo>
                <a:cubicBezTo>
                  <a:pt x="659" y="226"/>
                  <a:pt x="661" y="225"/>
                  <a:pt x="660" y="226"/>
                </a:cubicBezTo>
                <a:cubicBezTo>
                  <a:pt x="660" y="227"/>
                  <a:pt x="659" y="228"/>
                  <a:pt x="659" y="227"/>
                </a:cubicBezTo>
                <a:cubicBezTo>
                  <a:pt x="658" y="227"/>
                  <a:pt x="658" y="225"/>
                  <a:pt x="657" y="224"/>
                </a:cubicBezTo>
                <a:cubicBezTo>
                  <a:pt x="657" y="223"/>
                  <a:pt x="656" y="224"/>
                  <a:pt x="655" y="223"/>
                </a:cubicBezTo>
                <a:cubicBezTo>
                  <a:pt x="653" y="223"/>
                  <a:pt x="653" y="221"/>
                  <a:pt x="650" y="224"/>
                </a:cubicBezTo>
                <a:cubicBezTo>
                  <a:pt x="653" y="220"/>
                  <a:pt x="649" y="222"/>
                  <a:pt x="648" y="221"/>
                </a:cubicBezTo>
                <a:cubicBezTo>
                  <a:pt x="648" y="222"/>
                  <a:pt x="647" y="215"/>
                  <a:pt x="647" y="215"/>
                </a:cubicBezTo>
                <a:cubicBezTo>
                  <a:pt x="647" y="214"/>
                  <a:pt x="648" y="211"/>
                  <a:pt x="648" y="209"/>
                </a:cubicBezTo>
                <a:cubicBezTo>
                  <a:pt x="648" y="210"/>
                  <a:pt x="648" y="210"/>
                  <a:pt x="647" y="210"/>
                </a:cubicBezTo>
                <a:cubicBezTo>
                  <a:pt x="647" y="210"/>
                  <a:pt x="647" y="209"/>
                  <a:pt x="648" y="208"/>
                </a:cubicBezTo>
                <a:cubicBezTo>
                  <a:pt x="648" y="208"/>
                  <a:pt x="648" y="208"/>
                  <a:pt x="648" y="208"/>
                </a:cubicBezTo>
                <a:cubicBezTo>
                  <a:pt x="647" y="208"/>
                  <a:pt x="647" y="209"/>
                  <a:pt x="647" y="209"/>
                </a:cubicBezTo>
                <a:cubicBezTo>
                  <a:pt x="647" y="209"/>
                  <a:pt x="647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6" y="209"/>
                  <a:pt x="646" y="209"/>
                  <a:pt x="646" y="209"/>
                </a:cubicBezTo>
                <a:cubicBezTo>
                  <a:pt x="644" y="211"/>
                  <a:pt x="639" y="212"/>
                  <a:pt x="635" y="212"/>
                </a:cubicBezTo>
                <a:cubicBezTo>
                  <a:pt x="635" y="213"/>
                  <a:pt x="635" y="214"/>
                  <a:pt x="635" y="214"/>
                </a:cubicBezTo>
                <a:cubicBezTo>
                  <a:pt x="634" y="214"/>
                  <a:pt x="634" y="213"/>
                  <a:pt x="634" y="212"/>
                </a:cubicBezTo>
                <a:cubicBezTo>
                  <a:pt x="633" y="212"/>
                  <a:pt x="633" y="212"/>
                  <a:pt x="633" y="212"/>
                </a:cubicBezTo>
                <a:cubicBezTo>
                  <a:pt x="633" y="211"/>
                  <a:pt x="633" y="210"/>
                  <a:pt x="635" y="210"/>
                </a:cubicBezTo>
                <a:cubicBezTo>
                  <a:pt x="634" y="210"/>
                  <a:pt x="634" y="209"/>
                  <a:pt x="634" y="209"/>
                </a:cubicBezTo>
                <a:cubicBezTo>
                  <a:pt x="633" y="208"/>
                  <a:pt x="634" y="207"/>
                  <a:pt x="635" y="206"/>
                </a:cubicBezTo>
                <a:cubicBezTo>
                  <a:pt x="634" y="205"/>
                  <a:pt x="634" y="204"/>
                  <a:pt x="635" y="203"/>
                </a:cubicBezTo>
                <a:cubicBezTo>
                  <a:pt x="636" y="203"/>
                  <a:pt x="636" y="203"/>
                  <a:pt x="637" y="203"/>
                </a:cubicBezTo>
                <a:cubicBezTo>
                  <a:pt x="637" y="202"/>
                  <a:pt x="636" y="202"/>
                  <a:pt x="635" y="203"/>
                </a:cubicBezTo>
                <a:cubicBezTo>
                  <a:pt x="634" y="203"/>
                  <a:pt x="632" y="206"/>
                  <a:pt x="632" y="206"/>
                </a:cubicBezTo>
                <a:cubicBezTo>
                  <a:pt x="632" y="207"/>
                  <a:pt x="632" y="207"/>
                  <a:pt x="633" y="207"/>
                </a:cubicBezTo>
                <a:cubicBezTo>
                  <a:pt x="629" y="209"/>
                  <a:pt x="629" y="201"/>
                  <a:pt x="631" y="201"/>
                </a:cubicBezTo>
                <a:cubicBezTo>
                  <a:pt x="631" y="201"/>
                  <a:pt x="632" y="203"/>
                  <a:pt x="632" y="203"/>
                </a:cubicBezTo>
                <a:cubicBezTo>
                  <a:pt x="633" y="203"/>
                  <a:pt x="636" y="199"/>
                  <a:pt x="638" y="198"/>
                </a:cubicBezTo>
                <a:cubicBezTo>
                  <a:pt x="638" y="198"/>
                  <a:pt x="638" y="197"/>
                  <a:pt x="639" y="197"/>
                </a:cubicBezTo>
                <a:cubicBezTo>
                  <a:pt x="639" y="196"/>
                  <a:pt x="637" y="195"/>
                  <a:pt x="637" y="194"/>
                </a:cubicBezTo>
                <a:cubicBezTo>
                  <a:pt x="637" y="193"/>
                  <a:pt x="639" y="193"/>
                  <a:pt x="639" y="193"/>
                </a:cubicBezTo>
                <a:cubicBezTo>
                  <a:pt x="639" y="192"/>
                  <a:pt x="640" y="189"/>
                  <a:pt x="639" y="189"/>
                </a:cubicBezTo>
                <a:cubicBezTo>
                  <a:pt x="639" y="188"/>
                  <a:pt x="637" y="189"/>
                  <a:pt x="638" y="190"/>
                </a:cubicBezTo>
                <a:cubicBezTo>
                  <a:pt x="638" y="190"/>
                  <a:pt x="636" y="188"/>
                  <a:pt x="637" y="187"/>
                </a:cubicBezTo>
                <a:cubicBezTo>
                  <a:pt x="637" y="187"/>
                  <a:pt x="637" y="187"/>
                  <a:pt x="637" y="187"/>
                </a:cubicBezTo>
                <a:cubicBezTo>
                  <a:pt x="637" y="186"/>
                  <a:pt x="637" y="186"/>
                  <a:pt x="636" y="186"/>
                </a:cubicBezTo>
                <a:cubicBezTo>
                  <a:pt x="636" y="187"/>
                  <a:pt x="636" y="188"/>
                  <a:pt x="636" y="188"/>
                </a:cubicBezTo>
                <a:cubicBezTo>
                  <a:pt x="636" y="188"/>
                  <a:pt x="636" y="188"/>
                  <a:pt x="637" y="188"/>
                </a:cubicBezTo>
                <a:cubicBezTo>
                  <a:pt x="637" y="189"/>
                  <a:pt x="637" y="189"/>
                  <a:pt x="636" y="189"/>
                </a:cubicBezTo>
                <a:cubicBezTo>
                  <a:pt x="637" y="190"/>
                  <a:pt x="636" y="191"/>
                  <a:pt x="635" y="190"/>
                </a:cubicBezTo>
                <a:cubicBezTo>
                  <a:pt x="635" y="190"/>
                  <a:pt x="635" y="190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5" y="189"/>
                  <a:pt x="635" y="189"/>
                  <a:pt x="635" y="189"/>
                </a:cubicBezTo>
                <a:cubicBezTo>
                  <a:pt x="634" y="190"/>
                  <a:pt x="633" y="190"/>
                  <a:pt x="632" y="189"/>
                </a:cubicBezTo>
                <a:cubicBezTo>
                  <a:pt x="631" y="188"/>
                  <a:pt x="631" y="186"/>
                  <a:pt x="632" y="185"/>
                </a:cubicBezTo>
                <a:cubicBezTo>
                  <a:pt x="632" y="185"/>
                  <a:pt x="632" y="185"/>
                  <a:pt x="631" y="185"/>
                </a:cubicBezTo>
                <a:cubicBezTo>
                  <a:pt x="630" y="186"/>
                  <a:pt x="632" y="185"/>
                  <a:pt x="631" y="184"/>
                </a:cubicBezTo>
                <a:cubicBezTo>
                  <a:pt x="630" y="184"/>
                  <a:pt x="630" y="185"/>
                  <a:pt x="630" y="185"/>
                </a:cubicBezTo>
                <a:cubicBezTo>
                  <a:pt x="629" y="185"/>
                  <a:pt x="630" y="185"/>
                  <a:pt x="630" y="185"/>
                </a:cubicBezTo>
                <a:cubicBezTo>
                  <a:pt x="629" y="185"/>
                  <a:pt x="629" y="186"/>
                  <a:pt x="628" y="185"/>
                </a:cubicBezTo>
                <a:cubicBezTo>
                  <a:pt x="625" y="185"/>
                  <a:pt x="628" y="181"/>
                  <a:pt x="626" y="179"/>
                </a:cubicBezTo>
                <a:cubicBezTo>
                  <a:pt x="625" y="180"/>
                  <a:pt x="624" y="180"/>
                  <a:pt x="624" y="180"/>
                </a:cubicBezTo>
                <a:cubicBezTo>
                  <a:pt x="623" y="181"/>
                  <a:pt x="623" y="182"/>
                  <a:pt x="623" y="183"/>
                </a:cubicBezTo>
                <a:cubicBezTo>
                  <a:pt x="624" y="184"/>
                  <a:pt x="625" y="185"/>
                  <a:pt x="624" y="186"/>
                </a:cubicBezTo>
                <a:cubicBezTo>
                  <a:pt x="624" y="191"/>
                  <a:pt x="618" y="190"/>
                  <a:pt x="617" y="188"/>
                </a:cubicBezTo>
                <a:cubicBezTo>
                  <a:pt x="616" y="188"/>
                  <a:pt x="615" y="188"/>
                  <a:pt x="615" y="189"/>
                </a:cubicBezTo>
                <a:cubicBezTo>
                  <a:pt x="615" y="189"/>
                  <a:pt x="616" y="188"/>
                  <a:pt x="615" y="188"/>
                </a:cubicBezTo>
                <a:cubicBezTo>
                  <a:pt x="614" y="189"/>
                  <a:pt x="612" y="190"/>
                  <a:pt x="610" y="190"/>
                </a:cubicBezTo>
                <a:cubicBezTo>
                  <a:pt x="609" y="191"/>
                  <a:pt x="607" y="191"/>
                  <a:pt x="607" y="191"/>
                </a:cubicBezTo>
                <a:cubicBezTo>
                  <a:pt x="607" y="190"/>
                  <a:pt x="608" y="190"/>
                  <a:pt x="609" y="189"/>
                </a:cubicBezTo>
                <a:cubicBezTo>
                  <a:pt x="609" y="189"/>
                  <a:pt x="608" y="189"/>
                  <a:pt x="608" y="189"/>
                </a:cubicBezTo>
                <a:cubicBezTo>
                  <a:pt x="608" y="188"/>
                  <a:pt x="607" y="187"/>
                  <a:pt x="607" y="186"/>
                </a:cubicBezTo>
                <a:cubicBezTo>
                  <a:pt x="606" y="186"/>
                  <a:pt x="604" y="186"/>
                  <a:pt x="605" y="183"/>
                </a:cubicBezTo>
                <a:cubicBezTo>
                  <a:pt x="606" y="181"/>
                  <a:pt x="605" y="180"/>
                  <a:pt x="605" y="179"/>
                </a:cubicBezTo>
                <a:cubicBezTo>
                  <a:pt x="605" y="179"/>
                  <a:pt x="606" y="178"/>
                  <a:pt x="605" y="177"/>
                </a:cubicBezTo>
                <a:cubicBezTo>
                  <a:pt x="604" y="179"/>
                  <a:pt x="603" y="181"/>
                  <a:pt x="601" y="183"/>
                </a:cubicBezTo>
                <a:cubicBezTo>
                  <a:pt x="604" y="184"/>
                  <a:pt x="606" y="186"/>
                  <a:pt x="602" y="189"/>
                </a:cubicBezTo>
                <a:cubicBezTo>
                  <a:pt x="602" y="189"/>
                  <a:pt x="601" y="189"/>
                  <a:pt x="600" y="190"/>
                </a:cubicBezTo>
                <a:cubicBezTo>
                  <a:pt x="602" y="190"/>
                  <a:pt x="602" y="194"/>
                  <a:pt x="599" y="193"/>
                </a:cubicBezTo>
                <a:cubicBezTo>
                  <a:pt x="598" y="192"/>
                  <a:pt x="599" y="191"/>
                  <a:pt x="599" y="191"/>
                </a:cubicBezTo>
                <a:cubicBezTo>
                  <a:pt x="600" y="190"/>
                  <a:pt x="600" y="190"/>
                  <a:pt x="600" y="190"/>
                </a:cubicBezTo>
                <a:cubicBezTo>
                  <a:pt x="598" y="190"/>
                  <a:pt x="596" y="191"/>
                  <a:pt x="595" y="192"/>
                </a:cubicBezTo>
                <a:cubicBezTo>
                  <a:pt x="593" y="194"/>
                  <a:pt x="594" y="195"/>
                  <a:pt x="592" y="194"/>
                </a:cubicBezTo>
                <a:cubicBezTo>
                  <a:pt x="592" y="193"/>
                  <a:pt x="591" y="192"/>
                  <a:pt x="590" y="193"/>
                </a:cubicBezTo>
                <a:cubicBezTo>
                  <a:pt x="590" y="193"/>
                  <a:pt x="587" y="198"/>
                  <a:pt x="587" y="195"/>
                </a:cubicBezTo>
                <a:cubicBezTo>
                  <a:pt x="587" y="194"/>
                  <a:pt x="588" y="194"/>
                  <a:pt x="588" y="194"/>
                </a:cubicBezTo>
                <a:cubicBezTo>
                  <a:pt x="587" y="193"/>
                  <a:pt x="584" y="194"/>
                  <a:pt x="583" y="193"/>
                </a:cubicBezTo>
                <a:cubicBezTo>
                  <a:pt x="583" y="192"/>
                  <a:pt x="587" y="190"/>
                  <a:pt x="584" y="189"/>
                </a:cubicBezTo>
                <a:cubicBezTo>
                  <a:pt x="583" y="188"/>
                  <a:pt x="583" y="188"/>
                  <a:pt x="583" y="188"/>
                </a:cubicBezTo>
                <a:cubicBezTo>
                  <a:pt x="583" y="188"/>
                  <a:pt x="583" y="188"/>
                  <a:pt x="583" y="187"/>
                </a:cubicBezTo>
                <a:cubicBezTo>
                  <a:pt x="584" y="186"/>
                  <a:pt x="584" y="185"/>
                  <a:pt x="583" y="185"/>
                </a:cubicBezTo>
                <a:cubicBezTo>
                  <a:pt x="582" y="186"/>
                  <a:pt x="581" y="186"/>
                  <a:pt x="580" y="185"/>
                </a:cubicBezTo>
                <a:cubicBezTo>
                  <a:pt x="580" y="184"/>
                  <a:pt x="581" y="184"/>
                  <a:pt x="581" y="183"/>
                </a:cubicBezTo>
                <a:cubicBezTo>
                  <a:pt x="582" y="183"/>
                  <a:pt x="582" y="183"/>
                  <a:pt x="582" y="183"/>
                </a:cubicBezTo>
                <a:cubicBezTo>
                  <a:pt x="581" y="182"/>
                  <a:pt x="580" y="182"/>
                  <a:pt x="579" y="182"/>
                </a:cubicBezTo>
                <a:cubicBezTo>
                  <a:pt x="578" y="181"/>
                  <a:pt x="580" y="179"/>
                  <a:pt x="580" y="178"/>
                </a:cubicBezTo>
                <a:cubicBezTo>
                  <a:pt x="578" y="176"/>
                  <a:pt x="577" y="179"/>
                  <a:pt x="574" y="179"/>
                </a:cubicBezTo>
                <a:cubicBezTo>
                  <a:pt x="574" y="179"/>
                  <a:pt x="572" y="177"/>
                  <a:pt x="570" y="179"/>
                </a:cubicBezTo>
                <a:cubicBezTo>
                  <a:pt x="569" y="180"/>
                  <a:pt x="571" y="182"/>
                  <a:pt x="568" y="184"/>
                </a:cubicBezTo>
                <a:cubicBezTo>
                  <a:pt x="567" y="184"/>
                  <a:pt x="562" y="186"/>
                  <a:pt x="562" y="185"/>
                </a:cubicBezTo>
                <a:cubicBezTo>
                  <a:pt x="561" y="184"/>
                  <a:pt x="563" y="184"/>
                  <a:pt x="563" y="184"/>
                </a:cubicBezTo>
                <a:cubicBezTo>
                  <a:pt x="564" y="182"/>
                  <a:pt x="562" y="180"/>
                  <a:pt x="562" y="181"/>
                </a:cubicBezTo>
                <a:cubicBezTo>
                  <a:pt x="563" y="179"/>
                  <a:pt x="565" y="179"/>
                  <a:pt x="565" y="178"/>
                </a:cubicBezTo>
                <a:cubicBezTo>
                  <a:pt x="565" y="178"/>
                  <a:pt x="565" y="178"/>
                  <a:pt x="564" y="178"/>
                </a:cubicBezTo>
                <a:cubicBezTo>
                  <a:pt x="564" y="177"/>
                  <a:pt x="565" y="177"/>
                  <a:pt x="565" y="177"/>
                </a:cubicBezTo>
                <a:cubicBezTo>
                  <a:pt x="565" y="176"/>
                  <a:pt x="564" y="174"/>
                  <a:pt x="565" y="173"/>
                </a:cubicBezTo>
                <a:cubicBezTo>
                  <a:pt x="565" y="173"/>
                  <a:pt x="565" y="173"/>
                  <a:pt x="565" y="173"/>
                </a:cubicBezTo>
                <a:cubicBezTo>
                  <a:pt x="565" y="173"/>
                  <a:pt x="565" y="172"/>
                  <a:pt x="565" y="172"/>
                </a:cubicBezTo>
                <a:cubicBezTo>
                  <a:pt x="564" y="172"/>
                  <a:pt x="564" y="171"/>
                  <a:pt x="566" y="170"/>
                </a:cubicBezTo>
                <a:cubicBezTo>
                  <a:pt x="566" y="170"/>
                  <a:pt x="566" y="170"/>
                  <a:pt x="566" y="170"/>
                </a:cubicBezTo>
                <a:cubicBezTo>
                  <a:pt x="566" y="170"/>
                  <a:pt x="565" y="170"/>
                  <a:pt x="565" y="170"/>
                </a:cubicBezTo>
                <a:cubicBezTo>
                  <a:pt x="564" y="170"/>
                  <a:pt x="563" y="170"/>
                  <a:pt x="563" y="169"/>
                </a:cubicBezTo>
                <a:cubicBezTo>
                  <a:pt x="562" y="169"/>
                  <a:pt x="562" y="169"/>
                  <a:pt x="562" y="169"/>
                </a:cubicBezTo>
                <a:cubicBezTo>
                  <a:pt x="562" y="169"/>
                  <a:pt x="562" y="168"/>
                  <a:pt x="563" y="167"/>
                </a:cubicBezTo>
                <a:cubicBezTo>
                  <a:pt x="563" y="167"/>
                  <a:pt x="563" y="166"/>
                  <a:pt x="562" y="166"/>
                </a:cubicBezTo>
                <a:cubicBezTo>
                  <a:pt x="563" y="165"/>
                  <a:pt x="566" y="165"/>
                  <a:pt x="568" y="164"/>
                </a:cubicBezTo>
                <a:cubicBezTo>
                  <a:pt x="567" y="165"/>
                  <a:pt x="568" y="167"/>
                  <a:pt x="569" y="165"/>
                </a:cubicBezTo>
                <a:cubicBezTo>
                  <a:pt x="571" y="164"/>
                  <a:pt x="569" y="164"/>
                  <a:pt x="569" y="164"/>
                </a:cubicBezTo>
                <a:cubicBezTo>
                  <a:pt x="569" y="164"/>
                  <a:pt x="570" y="163"/>
                  <a:pt x="569" y="162"/>
                </a:cubicBezTo>
                <a:cubicBezTo>
                  <a:pt x="569" y="162"/>
                  <a:pt x="569" y="162"/>
                  <a:pt x="569" y="162"/>
                </a:cubicBezTo>
                <a:cubicBezTo>
                  <a:pt x="567" y="163"/>
                  <a:pt x="565" y="164"/>
                  <a:pt x="563" y="163"/>
                </a:cubicBezTo>
                <a:cubicBezTo>
                  <a:pt x="563" y="163"/>
                  <a:pt x="563" y="163"/>
                  <a:pt x="563" y="164"/>
                </a:cubicBezTo>
                <a:cubicBezTo>
                  <a:pt x="563" y="164"/>
                  <a:pt x="564" y="164"/>
                  <a:pt x="564" y="164"/>
                </a:cubicBezTo>
                <a:cubicBezTo>
                  <a:pt x="563" y="165"/>
                  <a:pt x="563" y="164"/>
                  <a:pt x="563" y="163"/>
                </a:cubicBezTo>
                <a:cubicBezTo>
                  <a:pt x="562" y="163"/>
                  <a:pt x="562" y="162"/>
                  <a:pt x="562" y="161"/>
                </a:cubicBezTo>
                <a:cubicBezTo>
                  <a:pt x="562" y="160"/>
                  <a:pt x="564" y="158"/>
                  <a:pt x="567" y="158"/>
                </a:cubicBezTo>
                <a:cubicBezTo>
                  <a:pt x="566" y="157"/>
                  <a:pt x="565" y="156"/>
                  <a:pt x="566" y="155"/>
                </a:cubicBezTo>
                <a:cubicBezTo>
                  <a:pt x="566" y="153"/>
                  <a:pt x="570" y="153"/>
                  <a:pt x="569" y="152"/>
                </a:cubicBezTo>
                <a:cubicBezTo>
                  <a:pt x="570" y="152"/>
                  <a:pt x="572" y="151"/>
                  <a:pt x="574" y="151"/>
                </a:cubicBezTo>
                <a:cubicBezTo>
                  <a:pt x="576" y="153"/>
                  <a:pt x="575" y="153"/>
                  <a:pt x="579" y="152"/>
                </a:cubicBezTo>
                <a:cubicBezTo>
                  <a:pt x="579" y="152"/>
                  <a:pt x="580" y="151"/>
                  <a:pt x="581" y="151"/>
                </a:cubicBezTo>
                <a:cubicBezTo>
                  <a:pt x="584" y="150"/>
                  <a:pt x="583" y="150"/>
                  <a:pt x="582" y="148"/>
                </a:cubicBezTo>
                <a:cubicBezTo>
                  <a:pt x="584" y="150"/>
                  <a:pt x="583" y="148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1" y="147"/>
                  <a:pt x="581" y="147"/>
                </a:cubicBezTo>
                <a:cubicBezTo>
                  <a:pt x="581" y="147"/>
                  <a:pt x="580" y="147"/>
                  <a:pt x="580" y="147"/>
                </a:cubicBezTo>
                <a:cubicBezTo>
                  <a:pt x="580" y="147"/>
                  <a:pt x="579" y="149"/>
                  <a:pt x="578" y="148"/>
                </a:cubicBezTo>
                <a:cubicBezTo>
                  <a:pt x="577" y="147"/>
                  <a:pt x="581" y="144"/>
                  <a:pt x="577" y="144"/>
                </a:cubicBezTo>
                <a:cubicBezTo>
                  <a:pt x="583" y="142"/>
                  <a:pt x="575" y="140"/>
                  <a:pt x="573" y="139"/>
                </a:cubicBezTo>
                <a:cubicBezTo>
                  <a:pt x="572" y="138"/>
                  <a:pt x="571" y="137"/>
                  <a:pt x="570" y="135"/>
                </a:cubicBezTo>
                <a:cubicBezTo>
                  <a:pt x="570" y="135"/>
                  <a:pt x="569" y="134"/>
                  <a:pt x="569" y="134"/>
                </a:cubicBezTo>
                <a:cubicBezTo>
                  <a:pt x="569" y="134"/>
                  <a:pt x="569" y="134"/>
                  <a:pt x="569" y="133"/>
                </a:cubicBezTo>
                <a:cubicBezTo>
                  <a:pt x="569" y="133"/>
                  <a:pt x="568" y="132"/>
                  <a:pt x="568" y="132"/>
                </a:cubicBezTo>
                <a:cubicBezTo>
                  <a:pt x="567" y="132"/>
                  <a:pt x="567" y="132"/>
                  <a:pt x="567" y="132"/>
                </a:cubicBezTo>
                <a:cubicBezTo>
                  <a:pt x="567" y="132"/>
                  <a:pt x="566" y="133"/>
                  <a:pt x="566" y="133"/>
                </a:cubicBezTo>
                <a:cubicBezTo>
                  <a:pt x="566" y="134"/>
                  <a:pt x="564" y="135"/>
                  <a:pt x="563" y="135"/>
                </a:cubicBezTo>
                <a:cubicBezTo>
                  <a:pt x="562" y="135"/>
                  <a:pt x="561" y="134"/>
                  <a:pt x="561" y="133"/>
                </a:cubicBezTo>
                <a:cubicBezTo>
                  <a:pt x="560" y="134"/>
                  <a:pt x="559" y="134"/>
                  <a:pt x="558" y="134"/>
                </a:cubicBezTo>
                <a:cubicBezTo>
                  <a:pt x="557" y="134"/>
                  <a:pt x="559" y="133"/>
                  <a:pt x="560" y="133"/>
                </a:cubicBezTo>
                <a:cubicBezTo>
                  <a:pt x="560" y="132"/>
                  <a:pt x="560" y="131"/>
                  <a:pt x="561" y="131"/>
                </a:cubicBezTo>
                <a:cubicBezTo>
                  <a:pt x="560" y="131"/>
                  <a:pt x="558" y="131"/>
                  <a:pt x="557" y="131"/>
                </a:cubicBezTo>
                <a:cubicBezTo>
                  <a:pt x="557" y="131"/>
                  <a:pt x="557" y="131"/>
                  <a:pt x="557" y="131"/>
                </a:cubicBezTo>
                <a:cubicBezTo>
                  <a:pt x="558" y="131"/>
                  <a:pt x="559" y="131"/>
                  <a:pt x="559" y="132"/>
                </a:cubicBezTo>
                <a:cubicBezTo>
                  <a:pt x="558" y="132"/>
                  <a:pt x="557" y="132"/>
                  <a:pt x="556" y="132"/>
                </a:cubicBezTo>
                <a:cubicBezTo>
                  <a:pt x="555" y="132"/>
                  <a:pt x="555" y="132"/>
                  <a:pt x="555" y="133"/>
                </a:cubicBezTo>
                <a:cubicBezTo>
                  <a:pt x="556" y="133"/>
                  <a:pt x="555" y="135"/>
                  <a:pt x="554" y="134"/>
                </a:cubicBezTo>
                <a:cubicBezTo>
                  <a:pt x="553" y="135"/>
                  <a:pt x="552" y="135"/>
                  <a:pt x="552" y="135"/>
                </a:cubicBezTo>
                <a:cubicBezTo>
                  <a:pt x="552" y="134"/>
                  <a:pt x="552" y="134"/>
                  <a:pt x="553" y="133"/>
                </a:cubicBezTo>
                <a:cubicBezTo>
                  <a:pt x="552" y="133"/>
                  <a:pt x="551" y="131"/>
                  <a:pt x="553" y="132"/>
                </a:cubicBezTo>
                <a:cubicBezTo>
                  <a:pt x="553" y="132"/>
                  <a:pt x="553" y="132"/>
                  <a:pt x="553" y="132"/>
                </a:cubicBezTo>
                <a:cubicBezTo>
                  <a:pt x="553" y="133"/>
                  <a:pt x="553" y="133"/>
                  <a:pt x="553" y="133"/>
                </a:cubicBezTo>
                <a:cubicBezTo>
                  <a:pt x="554" y="133"/>
                  <a:pt x="554" y="132"/>
                  <a:pt x="554" y="132"/>
                </a:cubicBezTo>
                <a:cubicBezTo>
                  <a:pt x="553" y="132"/>
                  <a:pt x="552" y="131"/>
                  <a:pt x="552" y="131"/>
                </a:cubicBezTo>
                <a:cubicBezTo>
                  <a:pt x="552" y="131"/>
                  <a:pt x="553" y="131"/>
                  <a:pt x="555" y="131"/>
                </a:cubicBezTo>
                <a:cubicBezTo>
                  <a:pt x="554" y="130"/>
                  <a:pt x="554" y="130"/>
                  <a:pt x="554" y="130"/>
                </a:cubicBezTo>
                <a:cubicBezTo>
                  <a:pt x="553" y="130"/>
                  <a:pt x="552" y="131"/>
                  <a:pt x="552" y="131"/>
                </a:cubicBezTo>
                <a:cubicBezTo>
                  <a:pt x="551" y="130"/>
                  <a:pt x="550" y="127"/>
                  <a:pt x="548" y="129"/>
                </a:cubicBezTo>
                <a:cubicBezTo>
                  <a:pt x="548" y="130"/>
                  <a:pt x="549" y="131"/>
                  <a:pt x="549" y="130"/>
                </a:cubicBezTo>
                <a:cubicBezTo>
                  <a:pt x="549" y="131"/>
                  <a:pt x="549" y="131"/>
                  <a:pt x="549" y="131"/>
                </a:cubicBezTo>
                <a:cubicBezTo>
                  <a:pt x="549" y="131"/>
                  <a:pt x="549" y="131"/>
                  <a:pt x="550" y="131"/>
                </a:cubicBezTo>
                <a:cubicBezTo>
                  <a:pt x="551" y="131"/>
                  <a:pt x="549" y="133"/>
                  <a:pt x="549" y="132"/>
                </a:cubicBezTo>
                <a:cubicBezTo>
                  <a:pt x="549" y="132"/>
                  <a:pt x="549" y="132"/>
                  <a:pt x="549" y="132"/>
                </a:cubicBezTo>
                <a:cubicBezTo>
                  <a:pt x="548" y="133"/>
                  <a:pt x="544" y="131"/>
                  <a:pt x="543" y="131"/>
                </a:cubicBezTo>
                <a:cubicBezTo>
                  <a:pt x="545" y="130"/>
                  <a:pt x="543" y="130"/>
                  <a:pt x="542" y="129"/>
                </a:cubicBezTo>
                <a:cubicBezTo>
                  <a:pt x="540" y="130"/>
                  <a:pt x="539" y="131"/>
                  <a:pt x="537" y="132"/>
                </a:cubicBezTo>
                <a:cubicBezTo>
                  <a:pt x="538" y="130"/>
                  <a:pt x="540" y="129"/>
                  <a:pt x="542" y="129"/>
                </a:cubicBezTo>
                <a:cubicBezTo>
                  <a:pt x="541" y="128"/>
                  <a:pt x="541" y="127"/>
                  <a:pt x="541" y="127"/>
                </a:cubicBezTo>
                <a:cubicBezTo>
                  <a:pt x="542" y="125"/>
                  <a:pt x="546" y="126"/>
                  <a:pt x="546" y="124"/>
                </a:cubicBezTo>
                <a:cubicBezTo>
                  <a:pt x="547" y="123"/>
                  <a:pt x="545" y="124"/>
                  <a:pt x="545" y="124"/>
                </a:cubicBezTo>
                <a:cubicBezTo>
                  <a:pt x="546" y="122"/>
                  <a:pt x="547" y="121"/>
                  <a:pt x="545" y="120"/>
                </a:cubicBezTo>
                <a:cubicBezTo>
                  <a:pt x="545" y="120"/>
                  <a:pt x="540" y="120"/>
                  <a:pt x="538" y="120"/>
                </a:cubicBezTo>
                <a:cubicBezTo>
                  <a:pt x="536" y="120"/>
                  <a:pt x="534" y="121"/>
                  <a:pt x="531" y="119"/>
                </a:cubicBezTo>
                <a:cubicBezTo>
                  <a:pt x="534" y="119"/>
                  <a:pt x="535" y="117"/>
                  <a:pt x="537" y="117"/>
                </a:cubicBezTo>
                <a:cubicBezTo>
                  <a:pt x="537" y="117"/>
                  <a:pt x="537" y="116"/>
                  <a:pt x="537" y="116"/>
                </a:cubicBezTo>
                <a:cubicBezTo>
                  <a:pt x="537" y="116"/>
                  <a:pt x="537" y="117"/>
                  <a:pt x="537" y="117"/>
                </a:cubicBezTo>
                <a:cubicBezTo>
                  <a:pt x="538" y="116"/>
                  <a:pt x="538" y="116"/>
                  <a:pt x="539" y="116"/>
                </a:cubicBezTo>
                <a:cubicBezTo>
                  <a:pt x="542" y="115"/>
                  <a:pt x="545" y="118"/>
                  <a:pt x="548" y="117"/>
                </a:cubicBezTo>
                <a:cubicBezTo>
                  <a:pt x="548" y="117"/>
                  <a:pt x="551" y="114"/>
                  <a:pt x="552" y="114"/>
                </a:cubicBezTo>
                <a:cubicBezTo>
                  <a:pt x="553" y="114"/>
                  <a:pt x="554" y="115"/>
                  <a:pt x="554" y="114"/>
                </a:cubicBezTo>
                <a:cubicBezTo>
                  <a:pt x="553" y="114"/>
                  <a:pt x="553" y="113"/>
                  <a:pt x="553" y="113"/>
                </a:cubicBezTo>
                <a:cubicBezTo>
                  <a:pt x="553" y="113"/>
                  <a:pt x="552" y="113"/>
                  <a:pt x="552" y="113"/>
                </a:cubicBezTo>
                <a:cubicBezTo>
                  <a:pt x="552" y="114"/>
                  <a:pt x="551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9" y="114"/>
                  <a:pt x="549" y="114"/>
                  <a:pt x="549" y="114"/>
                </a:cubicBezTo>
                <a:cubicBezTo>
                  <a:pt x="548" y="114"/>
                  <a:pt x="547" y="114"/>
                  <a:pt x="547" y="114"/>
                </a:cubicBezTo>
                <a:cubicBezTo>
                  <a:pt x="547" y="114"/>
                  <a:pt x="547" y="113"/>
                  <a:pt x="547" y="113"/>
                </a:cubicBezTo>
                <a:cubicBezTo>
                  <a:pt x="547" y="112"/>
                  <a:pt x="548" y="111"/>
                  <a:pt x="549" y="110"/>
                </a:cubicBezTo>
                <a:cubicBezTo>
                  <a:pt x="550" y="110"/>
                  <a:pt x="552" y="111"/>
                  <a:pt x="552" y="112"/>
                </a:cubicBezTo>
                <a:cubicBezTo>
                  <a:pt x="552" y="112"/>
                  <a:pt x="552" y="112"/>
                  <a:pt x="553" y="112"/>
                </a:cubicBezTo>
                <a:cubicBezTo>
                  <a:pt x="552" y="111"/>
                  <a:pt x="554" y="110"/>
                  <a:pt x="555" y="111"/>
                </a:cubicBezTo>
                <a:cubicBezTo>
                  <a:pt x="555" y="110"/>
                  <a:pt x="555" y="110"/>
                  <a:pt x="554" y="109"/>
                </a:cubicBezTo>
                <a:cubicBezTo>
                  <a:pt x="554" y="110"/>
                  <a:pt x="554" y="110"/>
                  <a:pt x="554" y="110"/>
                </a:cubicBezTo>
                <a:cubicBezTo>
                  <a:pt x="554" y="110"/>
                  <a:pt x="554" y="109"/>
                  <a:pt x="554" y="109"/>
                </a:cubicBezTo>
                <a:cubicBezTo>
                  <a:pt x="553" y="108"/>
                  <a:pt x="550" y="108"/>
                  <a:pt x="549" y="107"/>
                </a:cubicBezTo>
                <a:cubicBezTo>
                  <a:pt x="550" y="106"/>
                  <a:pt x="551" y="106"/>
                  <a:pt x="550" y="105"/>
                </a:cubicBezTo>
                <a:cubicBezTo>
                  <a:pt x="549" y="106"/>
                  <a:pt x="546" y="106"/>
                  <a:pt x="548" y="104"/>
                </a:cubicBezTo>
                <a:cubicBezTo>
                  <a:pt x="548" y="104"/>
                  <a:pt x="548" y="104"/>
                  <a:pt x="548" y="104"/>
                </a:cubicBezTo>
                <a:cubicBezTo>
                  <a:pt x="548" y="104"/>
                  <a:pt x="547" y="103"/>
                  <a:pt x="547" y="103"/>
                </a:cubicBezTo>
                <a:cubicBezTo>
                  <a:pt x="545" y="104"/>
                  <a:pt x="543" y="105"/>
                  <a:pt x="541" y="106"/>
                </a:cubicBezTo>
                <a:cubicBezTo>
                  <a:pt x="537" y="107"/>
                  <a:pt x="541" y="104"/>
                  <a:pt x="543" y="103"/>
                </a:cubicBezTo>
                <a:cubicBezTo>
                  <a:pt x="544" y="103"/>
                  <a:pt x="546" y="102"/>
                  <a:pt x="548" y="101"/>
                </a:cubicBezTo>
                <a:cubicBezTo>
                  <a:pt x="548" y="101"/>
                  <a:pt x="548" y="101"/>
                  <a:pt x="548" y="100"/>
                </a:cubicBezTo>
                <a:cubicBezTo>
                  <a:pt x="549" y="100"/>
                  <a:pt x="549" y="100"/>
                  <a:pt x="550" y="100"/>
                </a:cubicBezTo>
                <a:cubicBezTo>
                  <a:pt x="552" y="99"/>
                  <a:pt x="553" y="99"/>
                  <a:pt x="554" y="98"/>
                </a:cubicBezTo>
                <a:cubicBezTo>
                  <a:pt x="555" y="97"/>
                  <a:pt x="555" y="95"/>
                  <a:pt x="555" y="94"/>
                </a:cubicBezTo>
                <a:cubicBezTo>
                  <a:pt x="554" y="95"/>
                  <a:pt x="554" y="94"/>
                  <a:pt x="553" y="94"/>
                </a:cubicBezTo>
                <a:cubicBezTo>
                  <a:pt x="553" y="94"/>
                  <a:pt x="553" y="94"/>
                  <a:pt x="553" y="94"/>
                </a:cubicBezTo>
                <a:cubicBezTo>
                  <a:pt x="553" y="94"/>
                  <a:pt x="553" y="94"/>
                  <a:pt x="552" y="94"/>
                </a:cubicBezTo>
                <a:cubicBezTo>
                  <a:pt x="552" y="94"/>
                  <a:pt x="550" y="93"/>
                  <a:pt x="550" y="93"/>
                </a:cubicBezTo>
                <a:cubicBezTo>
                  <a:pt x="550" y="93"/>
                  <a:pt x="550" y="93"/>
                  <a:pt x="550" y="92"/>
                </a:cubicBezTo>
                <a:cubicBezTo>
                  <a:pt x="549" y="91"/>
                  <a:pt x="551" y="90"/>
                  <a:pt x="552" y="90"/>
                </a:cubicBezTo>
                <a:cubicBezTo>
                  <a:pt x="552" y="89"/>
                  <a:pt x="552" y="89"/>
                  <a:pt x="553" y="88"/>
                </a:cubicBezTo>
                <a:cubicBezTo>
                  <a:pt x="553" y="88"/>
                  <a:pt x="553" y="88"/>
                  <a:pt x="553" y="88"/>
                </a:cubicBezTo>
                <a:cubicBezTo>
                  <a:pt x="552" y="87"/>
                  <a:pt x="550" y="87"/>
                  <a:pt x="549" y="87"/>
                </a:cubicBezTo>
                <a:cubicBezTo>
                  <a:pt x="548" y="87"/>
                  <a:pt x="546" y="87"/>
                  <a:pt x="546" y="86"/>
                </a:cubicBezTo>
                <a:cubicBezTo>
                  <a:pt x="545" y="86"/>
                  <a:pt x="544" y="85"/>
                  <a:pt x="544" y="84"/>
                </a:cubicBezTo>
                <a:cubicBezTo>
                  <a:pt x="543" y="85"/>
                  <a:pt x="542" y="85"/>
                  <a:pt x="542" y="84"/>
                </a:cubicBezTo>
                <a:cubicBezTo>
                  <a:pt x="541" y="84"/>
                  <a:pt x="540" y="82"/>
                  <a:pt x="542" y="81"/>
                </a:cubicBezTo>
                <a:cubicBezTo>
                  <a:pt x="542" y="81"/>
                  <a:pt x="542" y="81"/>
                  <a:pt x="542" y="81"/>
                </a:cubicBezTo>
                <a:cubicBezTo>
                  <a:pt x="541" y="80"/>
                  <a:pt x="542" y="80"/>
                  <a:pt x="542" y="79"/>
                </a:cubicBezTo>
                <a:cubicBezTo>
                  <a:pt x="541" y="80"/>
                  <a:pt x="540" y="80"/>
                  <a:pt x="539" y="80"/>
                </a:cubicBezTo>
                <a:cubicBezTo>
                  <a:pt x="539" y="80"/>
                  <a:pt x="538" y="81"/>
                  <a:pt x="539" y="82"/>
                </a:cubicBezTo>
                <a:cubicBezTo>
                  <a:pt x="538" y="82"/>
                  <a:pt x="536" y="83"/>
                  <a:pt x="535" y="84"/>
                </a:cubicBezTo>
                <a:cubicBezTo>
                  <a:pt x="534" y="85"/>
                  <a:pt x="533" y="85"/>
                  <a:pt x="532" y="86"/>
                </a:cubicBezTo>
                <a:cubicBezTo>
                  <a:pt x="532" y="86"/>
                  <a:pt x="532" y="87"/>
                  <a:pt x="532" y="87"/>
                </a:cubicBezTo>
                <a:cubicBezTo>
                  <a:pt x="531" y="87"/>
                  <a:pt x="530" y="86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9" y="87"/>
                </a:cubicBezTo>
                <a:cubicBezTo>
                  <a:pt x="529" y="87"/>
                  <a:pt x="529" y="87"/>
                  <a:pt x="528" y="87"/>
                </a:cubicBezTo>
                <a:cubicBezTo>
                  <a:pt x="527" y="87"/>
                  <a:pt x="527" y="88"/>
                  <a:pt x="526" y="88"/>
                </a:cubicBezTo>
                <a:cubicBezTo>
                  <a:pt x="526" y="88"/>
                  <a:pt x="526" y="87"/>
                  <a:pt x="526" y="87"/>
                </a:cubicBezTo>
                <a:cubicBezTo>
                  <a:pt x="525" y="85"/>
                  <a:pt x="521" y="83"/>
                  <a:pt x="520" y="81"/>
                </a:cubicBezTo>
                <a:cubicBezTo>
                  <a:pt x="520" y="79"/>
                  <a:pt x="524" y="78"/>
                  <a:pt x="525" y="76"/>
                </a:cubicBezTo>
                <a:cubicBezTo>
                  <a:pt x="526" y="76"/>
                  <a:pt x="524" y="74"/>
                  <a:pt x="525" y="74"/>
                </a:cubicBezTo>
                <a:cubicBezTo>
                  <a:pt x="526" y="73"/>
                  <a:pt x="526" y="75"/>
                  <a:pt x="527" y="75"/>
                </a:cubicBezTo>
                <a:cubicBezTo>
                  <a:pt x="528" y="76"/>
                  <a:pt x="533" y="76"/>
                  <a:pt x="535" y="76"/>
                </a:cubicBezTo>
                <a:cubicBezTo>
                  <a:pt x="536" y="76"/>
                  <a:pt x="537" y="76"/>
                  <a:pt x="538" y="77"/>
                </a:cubicBezTo>
                <a:cubicBezTo>
                  <a:pt x="539" y="75"/>
                  <a:pt x="543" y="75"/>
                  <a:pt x="543" y="74"/>
                </a:cubicBezTo>
                <a:cubicBezTo>
                  <a:pt x="544" y="74"/>
                  <a:pt x="542" y="74"/>
                  <a:pt x="542" y="73"/>
                </a:cubicBezTo>
                <a:cubicBezTo>
                  <a:pt x="543" y="73"/>
                  <a:pt x="544" y="73"/>
                  <a:pt x="545" y="74"/>
                </a:cubicBezTo>
                <a:cubicBezTo>
                  <a:pt x="547" y="73"/>
                  <a:pt x="550" y="72"/>
                  <a:pt x="553" y="72"/>
                </a:cubicBezTo>
                <a:cubicBezTo>
                  <a:pt x="552" y="71"/>
                  <a:pt x="552" y="70"/>
                  <a:pt x="551" y="70"/>
                </a:cubicBezTo>
                <a:cubicBezTo>
                  <a:pt x="551" y="70"/>
                  <a:pt x="550" y="71"/>
                  <a:pt x="550" y="71"/>
                </a:cubicBezTo>
                <a:cubicBezTo>
                  <a:pt x="550" y="71"/>
                  <a:pt x="547" y="70"/>
                  <a:pt x="545" y="69"/>
                </a:cubicBezTo>
                <a:cubicBezTo>
                  <a:pt x="544" y="69"/>
                  <a:pt x="543" y="69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3" y="68"/>
                  <a:pt x="543" y="68"/>
                  <a:pt x="543" y="68"/>
                </a:cubicBezTo>
                <a:cubicBezTo>
                  <a:pt x="542" y="67"/>
                  <a:pt x="543" y="66"/>
                  <a:pt x="542" y="66"/>
                </a:cubicBezTo>
                <a:cubicBezTo>
                  <a:pt x="540" y="64"/>
                  <a:pt x="537" y="66"/>
                  <a:pt x="535" y="66"/>
                </a:cubicBezTo>
                <a:cubicBezTo>
                  <a:pt x="535" y="66"/>
                  <a:pt x="534" y="65"/>
                  <a:pt x="534" y="65"/>
                </a:cubicBezTo>
                <a:cubicBezTo>
                  <a:pt x="534" y="65"/>
                  <a:pt x="534" y="65"/>
                  <a:pt x="534" y="65"/>
                </a:cubicBezTo>
                <a:cubicBezTo>
                  <a:pt x="534" y="67"/>
                  <a:pt x="529" y="69"/>
                  <a:pt x="528" y="68"/>
                </a:cubicBezTo>
                <a:cubicBezTo>
                  <a:pt x="527" y="66"/>
                  <a:pt x="528" y="64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3"/>
                  <a:pt x="529" y="63"/>
                </a:cubicBezTo>
                <a:cubicBezTo>
                  <a:pt x="529" y="63"/>
                  <a:pt x="529" y="62"/>
                  <a:pt x="529" y="62"/>
                </a:cubicBezTo>
                <a:cubicBezTo>
                  <a:pt x="529" y="62"/>
                  <a:pt x="529" y="62"/>
                  <a:pt x="529" y="62"/>
                </a:cubicBezTo>
                <a:cubicBezTo>
                  <a:pt x="528" y="62"/>
                  <a:pt x="527" y="63"/>
                  <a:pt x="526" y="63"/>
                </a:cubicBezTo>
                <a:cubicBezTo>
                  <a:pt x="526" y="63"/>
                  <a:pt x="526" y="63"/>
                  <a:pt x="526" y="63"/>
                </a:cubicBezTo>
                <a:cubicBezTo>
                  <a:pt x="526" y="64"/>
                  <a:pt x="526" y="64"/>
                  <a:pt x="526" y="65"/>
                </a:cubicBezTo>
                <a:cubicBezTo>
                  <a:pt x="525" y="66"/>
                  <a:pt x="522" y="66"/>
                  <a:pt x="520" y="68"/>
                </a:cubicBezTo>
                <a:cubicBezTo>
                  <a:pt x="519" y="69"/>
                  <a:pt x="517" y="72"/>
                  <a:pt x="515" y="72"/>
                </a:cubicBezTo>
                <a:cubicBezTo>
                  <a:pt x="514" y="71"/>
                  <a:pt x="514" y="70"/>
                  <a:pt x="513" y="70"/>
                </a:cubicBezTo>
                <a:cubicBezTo>
                  <a:pt x="513" y="69"/>
                  <a:pt x="513" y="70"/>
                  <a:pt x="512" y="70"/>
                </a:cubicBezTo>
                <a:cubicBezTo>
                  <a:pt x="511" y="71"/>
                  <a:pt x="510" y="70"/>
                  <a:pt x="510" y="69"/>
                </a:cubicBezTo>
                <a:cubicBezTo>
                  <a:pt x="509" y="69"/>
                  <a:pt x="508" y="69"/>
                  <a:pt x="508" y="68"/>
                </a:cubicBezTo>
                <a:cubicBezTo>
                  <a:pt x="508" y="68"/>
                  <a:pt x="509" y="67"/>
                  <a:pt x="510" y="66"/>
                </a:cubicBezTo>
                <a:cubicBezTo>
                  <a:pt x="510" y="65"/>
                  <a:pt x="511" y="65"/>
                  <a:pt x="512" y="66"/>
                </a:cubicBezTo>
                <a:cubicBezTo>
                  <a:pt x="513" y="67"/>
                  <a:pt x="513" y="66"/>
                  <a:pt x="513" y="65"/>
                </a:cubicBezTo>
                <a:cubicBezTo>
                  <a:pt x="512" y="64"/>
                  <a:pt x="511" y="64"/>
                  <a:pt x="511" y="63"/>
                </a:cubicBezTo>
                <a:cubicBezTo>
                  <a:pt x="511" y="63"/>
                  <a:pt x="511" y="62"/>
                  <a:pt x="513" y="61"/>
                </a:cubicBezTo>
                <a:cubicBezTo>
                  <a:pt x="511" y="61"/>
                  <a:pt x="510" y="60"/>
                  <a:pt x="509" y="59"/>
                </a:cubicBezTo>
                <a:cubicBezTo>
                  <a:pt x="509" y="59"/>
                  <a:pt x="510" y="56"/>
                  <a:pt x="511" y="55"/>
                </a:cubicBezTo>
                <a:cubicBezTo>
                  <a:pt x="512" y="54"/>
                  <a:pt x="515" y="54"/>
                  <a:pt x="515" y="53"/>
                </a:cubicBezTo>
                <a:cubicBezTo>
                  <a:pt x="515" y="53"/>
                  <a:pt x="514" y="53"/>
                  <a:pt x="514" y="53"/>
                </a:cubicBezTo>
                <a:cubicBezTo>
                  <a:pt x="514" y="53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3" y="54"/>
                  <a:pt x="513" y="54"/>
                  <a:pt x="513" y="54"/>
                </a:cubicBezTo>
                <a:cubicBezTo>
                  <a:pt x="512" y="54"/>
                  <a:pt x="511" y="55"/>
                  <a:pt x="510" y="54"/>
                </a:cubicBezTo>
                <a:cubicBezTo>
                  <a:pt x="510" y="54"/>
                  <a:pt x="510" y="53"/>
                  <a:pt x="510" y="53"/>
                </a:cubicBezTo>
                <a:cubicBezTo>
                  <a:pt x="510" y="53"/>
                  <a:pt x="510" y="53"/>
                  <a:pt x="510" y="53"/>
                </a:cubicBezTo>
                <a:cubicBezTo>
                  <a:pt x="510" y="53"/>
                  <a:pt x="510" y="52"/>
                  <a:pt x="510" y="52"/>
                </a:cubicBezTo>
                <a:cubicBezTo>
                  <a:pt x="510" y="52"/>
                  <a:pt x="510" y="52"/>
                  <a:pt x="510" y="52"/>
                </a:cubicBezTo>
                <a:cubicBezTo>
                  <a:pt x="511" y="51"/>
                  <a:pt x="513" y="51"/>
                  <a:pt x="513" y="52"/>
                </a:cubicBezTo>
                <a:cubicBezTo>
                  <a:pt x="515" y="52"/>
                  <a:pt x="517" y="52"/>
                  <a:pt x="516" y="53"/>
                </a:cubicBezTo>
                <a:cubicBezTo>
                  <a:pt x="516" y="53"/>
                  <a:pt x="515" y="54"/>
                  <a:pt x="515" y="54"/>
                </a:cubicBezTo>
                <a:cubicBezTo>
                  <a:pt x="516" y="54"/>
                  <a:pt x="517" y="54"/>
                  <a:pt x="517" y="54"/>
                </a:cubicBezTo>
                <a:cubicBezTo>
                  <a:pt x="518" y="54"/>
                  <a:pt x="519" y="55"/>
                  <a:pt x="520" y="55"/>
                </a:cubicBezTo>
                <a:cubicBezTo>
                  <a:pt x="521" y="55"/>
                  <a:pt x="522" y="55"/>
                  <a:pt x="522" y="56"/>
                </a:cubicBezTo>
                <a:cubicBezTo>
                  <a:pt x="522" y="57"/>
                  <a:pt x="522" y="57"/>
                  <a:pt x="521" y="57"/>
                </a:cubicBezTo>
                <a:cubicBezTo>
                  <a:pt x="521" y="57"/>
                  <a:pt x="521" y="58"/>
                  <a:pt x="521" y="58"/>
                </a:cubicBezTo>
                <a:cubicBezTo>
                  <a:pt x="522" y="57"/>
                  <a:pt x="523" y="57"/>
                  <a:pt x="525" y="58"/>
                </a:cubicBezTo>
                <a:cubicBezTo>
                  <a:pt x="525" y="59"/>
                  <a:pt x="524" y="59"/>
                  <a:pt x="524" y="59"/>
                </a:cubicBezTo>
                <a:cubicBezTo>
                  <a:pt x="525" y="59"/>
                  <a:pt x="526" y="58"/>
                  <a:pt x="528" y="58"/>
                </a:cubicBezTo>
                <a:cubicBezTo>
                  <a:pt x="528" y="58"/>
                  <a:pt x="528" y="57"/>
                  <a:pt x="528" y="57"/>
                </a:cubicBezTo>
                <a:cubicBezTo>
                  <a:pt x="528" y="57"/>
                  <a:pt x="527" y="57"/>
                  <a:pt x="527" y="56"/>
                </a:cubicBezTo>
                <a:cubicBezTo>
                  <a:pt x="527" y="54"/>
                  <a:pt x="532" y="55"/>
                  <a:pt x="530" y="57"/>
                </a:cubicBezTo>
                <a:cubicBezTo>
                  <a:pt x="530" y="57"/>
                  <a:pt x="530" y="57"/>
                  <a:pt x="530" y="57"/>
                </a:cubicBezTo>
                <a:cubicBezTo>
                  <a:pt x="531" y="56"/>
                  <a:pt x="533" y="55"/>
                  <a:pt x="533" y="55"/>
                </a:cubicBezTo>
                <a:cubicBezTo>
                  <a:pt x="532" y="54"/>
                  <a:pt x="530" y="55"/>
                  <a:pt x="529" y="54"/>
                </a:cubicBezTo>
                <a:cubicBezTo>
                  <a:pt x="529" y="53"/>
                  <a:pt x="532" y="51"/>
                  <a:pt x="532" y="51"/>
                </a:cubicBezTo>
                <a:cubicBezTo>
                  <a:pt x="532" y="51"/>
                  <a:pt x="532" y="50"/>
                  <a:pt x="532" y="50"/>
                </a:cubicBezTo>
                <a:cubicBezTo>
                  <a:pt x="530" y="52"/>
                  <a:pt x="527" y="52"/>
                  <a:pt x="525" y="52"/>
                </a:cubicBezTo>
                <a:cubicBezTo>
                  <a:pt x="523" y="51"/>
                  <a:pt x="522" y="48"/>
                  <a:pt x="521" y="48"/>
                </a:cubicBezTo>
                <a:cubicBezTo>
                  <a:pt x="520" y="48"/>
                  <a:pt x="518" y="48"/>
                  <a:pt x="516" y="49"/>
                </a:cubicBezTo>
                <a:cubicBezTo>
                  <a:pt x="517" y="48"/>
                  <a:pt x="518" y="48"/>
                  <a:pt x="519" y="47"/>
                </a:cubicBezTo>
                <a:cubicBezTo>
                  <a:pt x="519" y="47"/>
                  <a:pt x="520" y="47"/>
                  <a:pt x="520" y="47"/>
                </a:cubicBezTo>
                <a:cubicBezTo>
                  <a:pt x="521" y="46"/>
                  <a:pt x="521" y="46"/>
                  <a:pt x="521" y="45"/>
                </a:cubicBezTo>
                <a:cubicBezTo>
                  <a:pt x="520" y="45"/>
                  <a:pt x="520" y="45"/>
                  <a:pt x="519" y="45"/>
                </a:cubicBezTo>
                <a:cubicBezTo>
                  <a:pt x="519" y="44"/>
                  <a:pt x="520" y="44"/>
                  <a:pt x="521" y="44"/>
                </a:cubicBezTo>
                <a:cubicBezTo>
                  <a:pt x="521" y="44"/>
                  <a:pt x="521" y="44"/>
                  <a:pt x="521" y="44"/>
                </a:cubicBezTo>
                <a:cubicBezTo>
                  <a:pt x="521" y="43"/>
                  <a:pt x="521" y="41"/>
                  <a:pt x="521" y="40"/>
                </a:cubicBezTo>
                <a:cubicBezTo>
                  <a:pt x="521" y="40"/>
                  <a:pt x="520" y="40"/>
                  <a:pt x="520" y="40"/>
                </a:cubicBezTo>
                <a:cubicBezTo>
                  <a:pt x="520" y="40"/>
                  <a:pt x="520" y="40"/>
                  <a:pt x="520" y="40"/>
                </a:cubicBezTo>
                <a:cubicBezTo>
                  <a:pt x="520" y="40"/>
                  <a:pt x="520" y="40"/>
                  <a:pt x="520" y="39"/>
                </a:cubicBezTo>
                <a:cubicBezTo>
                  <a:pt x="520" y="39"/>
                  <a:pt x="520" y="39"/>
                  <a:pt x="520" y="39"/>
                </a:cubicBezTo>
                <a:cubicBezTo>
                  <a:pt x="510" y="34"/>
                  <a:pt x="501" y="30"/>
                  <a:pt x="491" y="26"/>
                </a:cubicBezTo>
                <a:cubicBezTo>
                  <a:pt x="491" y="26"/>
                  <a:pt x="489" y="27"/>
                  <a:pt x="489" y="27"/>
                </a:cubicBezTo>
                <a:cubicBezTo>
                  <a:pt x="489" y="26"/>
                  <a:pt x="489" y="26"/>
                  <a:pt x="490" y="26"/>
                </a:cubicBezTo>
                <a:cubicBezTo>
                  <a:pt x="487" y="24"/>
                  <a:pt x="483" y="23"/>
                  <a:pt x="480" y="22"/>
                </a:cubicBezTo>
                <a:cubicBezTo>
                  <a:pt x="480" y="22"/>
                  <a:pt x="480" y="22"/>
                  <a:pt x="480" y="22"/>
                </a:cubicBezTo>
                <a:cubicBezTo>
                  <a:pt x="478" y="22"/>
                  <a:pt x="476" y="25"/>
                  <a:pt x="474" y="25"/>
                </a:cubicBezTo>
                <a:cubicBezTo>
                  <a:pt x="472" y="25"/>
                  <a:pt x="473" y="25"/>
                  <a:pt x="471" y="25"/>
                </a:cubicBezTo>
                <a:cubicBezTo>
                  <a:pt x="471" y="25"/>
                  <a:pt x="469" y="26"/>
                  <a:pt x="468" y="27"/>
                </a:cubicBezTo>
                <a:cubicBezTo>
                  <a:pt x="467" y="27"/>
                  <a:pt x="464" y="29"/>
                  <a:pt x="464" y="29"/>
                </a:cubicBezTo>
                <a:cubicBezTo>
                  <a:pt x="462" y="30"/>
                  <a:pt x="464" y="30"/>
                  <a:pt x="462" y="30"/>
                </a:cubicBezTo>
                <a:cubicBezTo>
                  <a:pt x="461" y="30"/>
                  <a:pt x="461" y="30"/>
                  <a:pt x="460" y="30"/>
                </a:cubicBezTo>
                <a:cubicBezTo>
                  <a:pt x="461" y="30"/>
                  <a:pt x="461" y="30"/>
                  <a:pt x="461" y="30"/>
                </a:cubicBezTo>
                <a:cubicBezTo>
                  <a:pt x="462" y="31"/>
                  <a:pt x="459" y="32"/>
                  <a:pt x="459" y="31"/>
                </a:cubicBezTo>
                <a:cubicBezTo>
                  <a:pt x="459" y="31"/>
                  <a:pt x="458" y="32"/>
                  <a:pt x="458" y="32"/>
                </a:cubicBezTo>
                <a:cubicBezTo>
                  <a:pt x="458" y="32"/>
                  <a:pt x="458" y="33"/>
                  <a:pt x="458" y="33"/>
                </a:cubicBezTo>
                <a:cubicBezTo>
                  <a:pt x="461" y="34"/>
                  <a:pt x="463" y="32"/>
                  <a:pt x="461" y="36"/>
                </a:cubicBezTo>
                <a:cubicBezTo>
                  <a:pt x="461" y="37"/>
                  <a:pt x="462" y="37"/>
                  <a:pt x="461" y="37"/>
                </a:cubicBezTo>
                <a:cubicBezTo>
                  <a:pt x="460" y="39"/>
                  <a:pt x="459" y="37"/>
                  <a:pt x="459" y="36"/>
                </a:cubicBezTo>
                <a:cubicBezTo>
                  <a:pt x="458" y="37"/>
                  <a:pt x="458" y="38"/>
                  <a:pt x="460" y="39"/>
                </a:cubicBezTo>
                <a:cubicBezTo>
                  <a:pt x="460" y="39"/>
                  <a:pt x="457" y="39"/>
                  <a:pt x="456" y="39"/>
                </a:cubicBezTo>
                <a:cubicBezTo>
                  <a:pt x="456" y="39"/>
                  <a:pt x="454" y="36"/>
                  <a:pt x="453" y="35"/>
                </a:cubicBezTo>
                <a:cubicBezTo>
                  <a:pt x="452" y="35"/>
                  <a:pt x="451" y="36"/>
                  <a:pt x="451" y="36"/>
                </a:cubicBezTo>
                <a:cubicBezTo>
                  <a:pt x="449" y="37"/>
                  <a:pt x="446" y="38"/>
                  <a:pt x="444" y="39"/>
                </a:cubicBezTo>
                <a:cubicBezTo>
                  <a:pt x="443" y="40"/>
                  <a:pt x="443" y="40"/>
                  <a:pt x="442" y="40"/>
                </a:cubicBezTo>
                <a:cubicBezTo>
                  <a:pt x="441" y="40"/>
                  <a:pt x="440" y="41"/>
                  <a:pt x="439" y="41"/>
                </a:cubicBezTo>
                <a:cubicBezTo>
                  <a:pt x="437" y="42"/>
                  <a:pt x="435" y="43"/>
                  <a:pt x="432" y="44"/>
                </a:cubicBezTo>
                <a:cubicBezTo>
                  <a:pt x="433" y="44"/>
                  <a:pt x="433" y="44"/>
                  <a:pt x="433" y="44"/>
                </a:cubicBezTo>
                <a:cubicBezTo>
                  <a:pt x="433" y="44"/>
                  <a:pt x="433" y="44"/>
                  <a:pt x="432" y="44"/>
                </a:cubicBezTo>
                <a:cubicBezTo>
                  <a:pt x="432" y="44"/>
                  <a:pt x="431" y="44"/>
                  <a:pt x="431" y="44"/>
                </a:cubicBezTo>
                <a:cubicBezTo>
                  <a:pt x="430" y="44"/>
                  <a:pt x="427" y="45"/>
                  <a:pt x="427" y="46"/>
                </a:cubicBezTo>
                <a:cubicBezTo>
                  <a:pt x="427" y="46"/>
                  <a:pt x="433" y="44"/>
                  <a:pt x="432" y="48"/>
                </a:cubicBezTo>
                <a:cubicBezTo>
                  <a:pt x="432" y="49"/>
                  <a:pt x="431" y="49"/>
                  <a:pt x="431" y="49"/>
                </a:cubicBezTo>
                <a:cubicBezTo>
                  <a:pt x="435" y="49"/>
                  <a:pt x="440" y="49"/>
                  <a:pt x="444" y="50"/>
                </a:cubicBezTo>
                <a:cubicBezTo>
                  <a:pt x="444" y="47"/>
                  <a:pt x="436" y="48"/>
                  <a:pt x="436" y="45"/>
                </a:cubicBezTo>
                <a:cubicBezTo>
                  <a:pt x="436" y="42"/>
                  <a:pt x="442" y="45"/>
                  <a:pt x="444" y="43"/>
                </a:cubicBezTo>
                <a:cubicBezTo>
                  <a:pt x="445" y="43"/>
                  <a:pt x="444" y="42"/>
                  <a:pt x="445" y="42"/>
                </a:cubicBezTo>
                <a:cubicBezTo>
                  <a:pt x="446" y="42"/>
                  <a:pt x="449" y="43"/>
                  <a:pt x="448" y="41"/>
                </a:cubicBezTo>
                <a:cubicBezTo>
                  <a:pt x="448" y="38"/>
                  <a:pt x="459" y="43"/>
                  <a:pt x="460" y="46"/>
                </a:cubicBezTo>
                <a:cubicBezTo>
                  <a:pt x="460" y="48"/>
                  <a:pt x="459" y="52"/>
                  <a:pt x="458" y="52"/>
                </a:cubicBezTo>
                <a:cubicBezTo>
                  <a:pt x="458" y="53"/>
                  <a:pt x="452" y="54"/>
                  <a:pt x="452" y="54"/>
                </a:cubicBezTo>
                <a:cubicBezTo>
                  <a:pt x="451" y="53"/>
                  <a:pt x="449" y="53"/>
                  <a:pt x="448" y="53"/>
                </a:cubicBezTo>
                <a:cubicBezTo>
                  <a:pt x="449" y="53"/>
                  <a:pt x="449" y="53"/>
                  <a:pt x="449" y="54"/>
                </a:cubicBezTo>
                <a:cubicBezTo>
                  <a:pt x="450" y="55"/>
                  <a:pt x="450" y="57"/>
                  <a:pt x="450" y="58"/>
                </a:cubicBezTo>
                <a:cubicBezTo>
                  <a:pt x="447" y="62"/>
                  <a:pt x="436" y="61"/>
                  <a:pt x="432" y="59"/>
                </a:cubicBezTo>
                <a:cubicBezTo>
                  <a:pt x="432" y="60"/>
                  <a:pt x="432" y="61"/>
                  <a:pt x="432" y="62"/>
                </a:cubicBezTo>
                <a:cubicBezTo>
                  <a:pt x="431" y="65"/>
                  <a:pt x="423" y="63"/>
                  <a:pt x="423" y="60"/>
                </a:cubicBezTo>
                <a:cubicBezTo>
                  <a:pt x="423" y="61"/>
                  <a:pt x="421" y="60"/>
                  <a:pt x="421" y="60"/>
                </a:cubicBezTo>
                <a:cubicBezTo>
                  <a:pt x="421" y="59"/>
                  <a:pt x="423" y="59"/>
                  <a:pt x="423" y="60"/>
                </a:cubicBezTo>
                <a:cubicBezTo>
                  <a:pt x="424" y="58"/>
                  <a:pt x="427" y="58"/>
                  <a:pt x="429" y="58"/>
                </a:cubicBezTo>
                <a:cubicBezTo>
                  <a:pt x="430" y="58"/>
                  <a:pt x="431" y="57"/>
                  <a:pt x="432" y="55"/>
                </a:cubicBezTo>
                <a:cubicBezTo>
                  <a:pt x="432" y="55"/>
                  <a:pt x="432" y="53"/>
                  <a:pt x="432" y="54"/>
                </a:cubicBezTo>
                <a:cubicBezTo>
                  <a:pt x="432" y="53"/>
                  <a:pt x="434" y="52"/>
                  <a:pt x="435" y="52"/>
                </a:cubicBezTo>
                <a:cubicBezTo>
                  <a:pt x="435" y="50"/>
                  <a:pt x="431" y="50"/>
                  <a:pt x="429" y="50"/>
                </a:cubicBezTo>
                <a:cubicBezTo>
                  <a:pt x="427" y="50"/>
                  <a:pt x="423" y="49"/>
                  <a:pt x="422" y="48"/>
                </a:cubicBezTo>
                <a:cubicBezTo>
                  <a:pt x="422" y="48"/>
                  <a:pt x="422" y="47"/>
                  <a:pt x="422" y="47"/>
                </a:cubicBezTo>
                <a:cubicBezTo>
                  <a:pt x="422" y="47"/>
                  <a:pt x="421" y="47"/>
                  <a:pt x="421" y="48"/>
                </a:cubicBezTo>
                <a:cubicBezTo>
                  <a:pt x="420" y="48"/>
                  <a:pt x="419" y="49"/>
                  <a:pt x="417" y="50"/>
                </a:cubicBezTo>
                <a:cubicBezTo>
                  <a:pt x="417" y="50"/>
                  <a:pt x="416" y="50"/>
                  <a:pt x="416" y="51"/>
                </a:cubicBezTo>
                <a:cubicBezTo>
                  <a:pt x="418" y="53"/>
                  <a:pt x="416" y="54"/>
                  <a:pt x="414" y="54"/>
                </a:cubicBezTo>
                <a:cubicBezTo>
                  <a:pt x="413" y="54"/>
                  <a:pt x="412" y="54"/>
                  <a:pt x="412" y="54"/>
                </a:cubicBezTo>
                <a:cubicBezTo>
                  <a:pt x="412" y="54"/>
                  <a:pt x="412" y="54"/>
                  <a:pt x="412" y="53"/>
                </a:cubicBezTo>
                <a:cubicBezTo>
                  <a:pt x="411" y="53"/>
                  <a:pt x="411" y="53"/>
                  <a:pt x="411" y="53"/>
                </a:cubicBezTo>
                <a:cubicBezTo>
                  <a:pt x="410" y="53"/>
                  <a:pt x="410" y="53"/>
                  <a:pt x="410" y="53"/>
                </a:cubicBezTo>
                <a:cubicBezTo>
                  <a:pt x="409" y="53"/>
                  <a:pt x="409" y="54"/>
                  <a:pt x="409" y="54"/>
                </a:cubicBezTo>
                <a:cubicBezTo>
                  <a:pt x="408" y="55"/>
                  <a:pt x="407" y="54"/>
                  <a:pt x="407" y="55"/>
                </a:cubicBezTo>
                <a:cubicBezTo>
                  <a:pt x="406" y="55"/>
                  <a:pt x="405" y="56"/>
                  <a:pt x="404" y="57"/>
                </a:cubicBezTo>
                <a:cubicBezTo>
                  <a:pt x="404" y="57"/>
                  <a:pt x="404" y="58"/>
                  <a:pt x="402" y="58"/>
                </a:cubicBezTo>
                <a:cubicBezTo>
                  <a:pt x="401" y="59"/>
                  <a:pt x="401" y="59"/>
                  <a:pt x="400" y="60"/>
                </a:cubicBezTo>
                <a:cubicBezTo>
                  <a:pt x="396" y="62"/>
                  <a:pt x="392" y="63"/>
                  <a:pt x="388" y="64"/>
                </a:cubicBezTo>
                <a:cubicBezTo>
                  <a:pt x="387" y="65"/>
                  <a:pt x="387" y="65"/>
                  <a:pt x="387" y="65"/>
                </a:cubicBezTo>
                <a:cubicBezTo>
                  <a:pt x="387" y="65"/>
                  <a:pt x="388" y="65"/>
                  <a:pt x="388" y="65"/>
                </a:cubicBezTo>
                <a:cubicBezTo>
                  <a:pt x="389" y="65"/>
                  <a:pt x="391" y="66"/>
                  <a:pt x="392" y="67"/>
                </a:cubicBezTo>
                <a:cubicBezTo>
                  <a:pt x="392" y="67"/>
                  <a:pt x="393" y="68"/>
                  <a:pt x="392" y="68"/>
                </a:cubicBezTo>
                <a:cubicBezTo>
                  <a:pt x="393" y="69"/>
                  <a:pt x="394" y="70"/>
                  <a:pt x="393" y="71"/>
                </a:cubicBezTo>
                <a:cubicBezTo>
                  <a:pt x="393" y="78"/>
                  <a:pt x="380" y="78"/>
                  <a:pt x="374" y="76"/>
                </a:cubicBezTo>
                <a:cubicBezTo>
                  <a:pt x="373" y="75"/>
                  <a:pt x="371" y="73"/>
                  <a:pt x="370" y="72"/>
                </a:cubicBezTo>
                <a:cubicBezTo>
                  <a:pt x="368" y="73"/>
                  <a:pt x="366" y="74"/>
                  <a:pt x="366" y="73"/>
                </a:cubicBezTo>
                <a:cubicBezTo>
                  <a:pt x="365" y="72"/>
                  <a:pt x="367" y="71"/>
                  <a:pt x="369" y="70"/>
                </a:cubicBezTo>
                <a:cubicBezTo>
                  <a:pt x="369" y="70"/>
                  <a:pt x="369" y="70"/>
                  <a:pt x="369" y="70"/>
                </a:cubicBezTo>
                <a:cubicBezTo>
                  <a:pt x="368" y="69"/>
                  <a:pt x="366" y="69"/>
                  <a:pt x="366" y="69"/>
                </a:cubicBezTo>
                <a:cubicBezTo>
                  <a:pt x="366" y="67"/>
                  <a:pt x="370" y="65"/>
                  <a:pt x="374" y="64"/>
                </a:cubicBezTo>
                <a:cubicBezTo>
                  <a:pt x="369" y="65"/>
                  <a:pt x="362" y="65"/>
                  <a:pt x="358" y="66"/>
                </a:cubicBezTo>
                <a:cubicBezTo>
                  <a:pt x="358" y="66"/>
                  <a:pt x="351" y="68"/>
                  <a:pt x="351" y="67"/>
                </a:cubicBezTo>
                <a:cubicBezTo>
                  <a:pt x="350" y="66"/>
                  <a:pt x="356" y="66"/>
                  <a:pt x="357" y="65"/>
                </a:cubicBezTo>
                <a:cubicBezTo>
                  <a:pt x="363" y="65"/>
                  <a:pt x="372" y="62"/>
                  <a:pt x="379" y="62"/>
                </a:cubicBezTo>
                <a:cubicBezTo>
                  <a:pt x="379" y="62"/>
                  <a:pt x="379" y="62"/>
                  <a:pt x="379" y="62"/>
                </a:cubicBezTo>
                <a:cubicBezTo>
                  <a:pt x="379" y="62"/>
                  <a:pt x="380" y="62"/>
                  <a:pt x="379" y="62"/>
                </a:cubicBezTo>
                <a:cubicBezTo>
                  <a:pt x="379" y="63"/>
                  <a:pt x="379" y="63"/>
                  <a:pt x="378" y="63"/>
                </a:cubicBezTo>
                <a:cubicBezTo>
                  <a:pt x="379" y="63"/>
                  <a:pt x="381" y="63"/>
                  <a:pt x="382" y="63"/>
                </a:cubicBezTo>
                <a:cubicBezTo>
                  <a:pt x="382" y="62"/>
                  <a:pt x="383" y="61"/>
                  <a:pt x="383" y="61"/>
                </a:cubicBezTo>
                <a:cubicBezTo>
                  <a:pt x="384" y="61"/>
                  <a:pt x="384" y="62"/>
                  <a:pt x="384" y="62"/>
                </a:cubicBezTo>
                <a:cubicBezTo>
                  <a:pt x="385" y="61"/>
                  <a:pt x="385" y="60"/>
                  <a:pt x="386" y="60"/>
                </a:cubicBezTo>
                <a:cubicBezTo>
                  <a:pt x="387" y="59"/>
                  <a:pt x="389" y="59"/>
                  <a:pt x="390" y="59"/>
                </a:cubicBezTo>
                <a:cubicBezTo>
                  <a:pt x="392" y="58"/>
                  <a:pt x="393" y="57"/>
                  <a:pt x="395" y="56"/>
                </a:cubicBezTo>
                <a:cubicBezTo>
                  <a:pt x="396" y="56"/>
                  <a:pt x="396" y="56"/>
                  <a:pt x="396" y="56"/>
                </a:cubicBezTo>
                <a:cubicBezTo>
                  <a:pt x="398" y="55"/>
                  <a:pt x="399" y="53"/>
                  <a:pt x="400" y="52"/>
                </a:cubicBezTo>
                <a:cubicBezTo>
                  <a:pt x="401" y="52"/>
                  <a:pt x="402" y="53"/>
                  <a:pt x="402" y="52"/>
                </a:cubicBezTo>
                <a:cubicBezTo>
                  <a:pt x="404" y="52"/>
                  <a:pt x="405" y="51"/>
                  <a:pt x="407" y="50"/>
                </a:cubicBezTo>
                <a:cubicBezTo>
                  <a:pt x="409" y="50"/>
                  <a:pt x="411" y="48"/>
                  <a:pt x="411" y="48"/>
                </a:cubicBezTo>
                <a:cubicBezTo>
                  <a:pt x="412" y="48"/>
                  <a:pt x="412" y="49"/>
                  <a:pt x="412" y="49"/>
                </a:cubicBezTo>
                <a:cubicBezTo>
                  <a:pt x="413" y="48"/>
                  <a:pt x="413" y="48"/>
                  <a:pt x="413" y="47"/>
                </a:cubicBezTo>
                <a:cubicBezTo>
                  <a:pt x="414" y="47"/>
                  <a:pt x="414" y="48"/>
                  <a:pt x="415" y="48"/>
                </a:cubicBezTo>
                <a:cubicBezTo>
                  <a:pt x="415" y="47"/>
                  <a:pt x="415" y="47"/>
                  <a:pt x="416" y="46"/>
                </a:cubicBezTo>
                <a:cubicBezTo>
                  <a:pt x="416" y="46"/>
                  <a:pt x="416" y="47"/>
                  <a:pt x="417" y="47"/>
                </a:cubicBezTo>
                <a:cubicBezTo>
                  <a:pt x="417" y="47"/>
                  <a:pt x="417" y="46"/>
                  <a:pt x="418" y="45"/>
                </a:cubicBezTo>
                <a:cubicBezTo>
                  <a:pt x="419" y="45"/>
                  <a:pt x="419" y="46"/>
                  <a:pt x="420" y="45"/>
                </a:cubicBezTo>
                <a:cubicBezTo>
                  <a:pt x="420" y="45"/>
                  <a:pt x="420" y="44"/>
                  <a:pt x="421" y="44"/>
                </a:cubicBezTo>
                <a:cubicBezTo>
                  <a:pt x="422" y="43"/>
                  <a:pt x="424" y="43"/>
                  <a:pt x="425" y="42"/>
                </a:cubicBezTo>
                <a:cubicBezTo>
                  <a:pt x="427" y="40"/>
                  <a:pt x="432" y="39"/>
                  <a:pt x="435" y="36"/>
                </a:cubicBezTo>
                <a:cubicBezTo>
                  <a:pt x="438" y="35"/>
                  <a:pt x="441" y="33"/>
                  <a:pt x="444" y="32"/>
                </a:cubicBezTo>
                <a:cubicBezTo>
                  <a:pt x="444" y="32"/>
                  <a:pt x="443" y="32"/>
                  <a:pt x="443" y="32"/>
                </a:cubicBezTo>
                <a:cubicBezTo>
                  <a:pt x="440" y="31"/>
                  <a:pt x="439" y="28"/>
                  <a:pt x="438" y="28"/>
                </a:cubicBezTo>
                <a:cubicBezTo>
                  <a:pt x="437" y="28"/>
                  <a:pt x="437" y="28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6" y="29"/>
                  <a:pt x="436" y="29"/>
                  <a:pt x="436" y="29"/>
                </a:cubicBezTo>
                <a:cubicBezTo>
                  <a:pt x="435" y="30"/>
                  <a:pt x="434" y="30"/>
                  <a:pt x="433" y="31"/>
                </a:cubicBezTo>
                <a:cubicBezTo>
                  <a:pt x="432" y="31"/>
                  <a:pt x="431" y="31"/>
                  <a:pt x="431" y="30"/>
                </a:cubicBezTo>
                <a:cubicBezTo>
                  <a:pt x="431" y="30"/>
                  <a:pt x="431" y="30"/>
                  <a:pt x="431" y="30"/>
                </a:cubicBezTo>
                <a:cubicBezTo>
                  <a:pt x="430" y="30"/>
                  <a:pt x="430" y="31"/>
                  <a:pt x="429" y="31"/>
                </a:cubicBezTo>
                <a:cubicBezTo>
                  <a:pt x="428" y="32"/>
                  <a:pt x="425" y="32"/>
                  <a:pt x="424" y="31"/>
                </a:cubicBezTo>
                <a:cubicBezTo>
                  <a:pt x="424" y="31"/>
                  <a:pt x="425" y="30"/>
                  <a:pt x="426" y="30"/>
                </a:cubicBezTo>
                <a:cubicBezTo>
                  <a:pt x="426" y="30"/>
                  <a:pt x="425" y="29"/>
                  <a:pt x="425" y="29"/>
                </a:cubicBezTo>
                <a:cubicBezTo>
                  <a:pt x="424" y="30"/>
                  <a:pt x="423" y="30"/>
                  <a:pt x="423" y="30"/>
                </a:cubicBezTo>
                <a:cubicBezTo>
                  <a:pt x="418" y="29"/>
                  <a:pt x="416" y="25"/>
                  <a:pt x="419" y="23"/>
                </a:cubicBezTo>
                <a:cubicBezTo>
                  <a:pt x="421" y="21"/>
                  <a:pt x="429" y="22"/>
                  <a:pt x="429" y="26"/>
                </a:cubicBezTo>
                <a:cubicBezTo>
                  <a:pt x="429" y="29"/>
                  <a:pt x="428" y="27"/>
                  <a:pt x="431" y="27"/>
                </a:cubicBezTo>
                <a:cubicBezTo>
                  <a:pt x="434" y="26"/>
                  <a:pt x="435" y="27"/>
                  <a:pt x="436" y="25"/>
                </a:cubicBezTo>
                <a:cubicBezTo>
                  <a:pt x="439" y="21"/>
                  <a:pt x="442" y="21"/>
                  <a:pt x="446" y="22"/>
                </a:cubicBezTo>
                <a:cubicBezTo>
                  <a:pt x="446" y="21"/>
                  <a:pt x="448" y="21"/>
                  <a:pt x="449" y="22"/>
                </a:cubicBezTo>
                <a:cubicBezTo>
                  <a:pt x="450" y="22"/>
                  <a:pt x="450" y="21"/>
                  <a:pt x="451" y="21"/>
                </a:cubicBezTo>
                <a:cubicBezTo>
                  <a:pt x="452" y="22"/>
                  <a:pt x="451" y="23"/>
                  <a:pt x="450" y="24"/>
                </a:cubicBezTo>
                <a:cubicBezTo>
                  <a:pt x="451" y="25"/>
                  <a:pt x="452" y="26"/>
                  <a:pt x="452" y="28"/>
                </a:cubicBezTo>
                <a:cubicBezTo>
                  <a:pt x="451" y="28"/>
                  <a:pt x="451" y="29"/>
                  <a:pt x="451" y="30"/>
                </a:cubicBezTo>
                <a:cubicBezTo>
                  <a:pt x="451" y="29"/>
                  <a:pt x="451" y="29"/>
                  <a:pt x="452" y="29"/>
                </a:cubicBezTo>
                <a:cubicBezTo>
                  <a:pt x="453" y="29"/>
                  <a:pt x="455" y="29"/>
                  <a:pt x="457" y="29"/>
                </a:cubicBezTo>
                <a:cubicBezTo>
                  <a:pt x="458" y="28"/>
                  <a:pt x="458" y="27"/>
                  <a:pt x="460" y="27"/>
                </a:cubicBezTo>
                <a:cubicBezTo>
                  <a:pt x="461" y="26"/>
                  <a:pt x="463" y="26"/>
                  <a:pt x="465" y="26"/>
                </a:cubicBezTo>
                <a:cubicBezTo>
                  <a:pt x="463" y="25"/>
                  <a:pt x="462" y="25"/>
                  <a:pt x="460" y="25"/>
                </a:cubicBezTo>
                <a:cubicBezTo>
                  <a:pt x="462" y="25"/>
                  <a:pt x="462" y="23"/>
                  <a:pt x="461" y="23"/>
                </a:cubicBezTo>
                <a:cubicBezTo>
                  <a:pt x="461" y="23"/>
                  <a:pt x="462" y="21"/>
                  <a:pt x="463" y="20"/>
                </a:cubicBezTo>
                <a:cubicBezTo>
                  <a:pt x="464" y="20"/>
                  <a:pt x="465" y="20"/>
                  <a:pt x="466" y="20"/>
                </a:cubicBezTo>
                <a:cubicBezTo>
                  <a:pt x="466" y="20"/>
                  <a:pt x="467" y="20"/>
                  <a:pt x="468" y="20"/>
                </a:cubicBezTo>
                <a:cubicBezTo>
                  <a:pt x="468" y="21"/>
                  <a:pt x="467" y="21"/>
                  <a:pt x="466" y="21"/>
                </a:cubicBezTo>
                <a:cubicBezTo>
                  <a:pt x="468" y="22"/>
                  <a:pt x="468" y="23"/>
                  <a:pt x="468" y="24"/>
                </a:cubicBezTo>
                <a:cubicBezTo>
                  <a:pt x="469" y="23"/>
                  <a:pt x="470" y="23"/>
                  <a:pt x="471" y="22"/>
                </a:cubicBezTo>
                <a:cubicBezTo>
                  <a:pt x="471" y="22"/>
                  <a:pt x="470" y="22"/>
                  <a:pt x="470" y="21"/>
                </a:cubicBezTo>
                <a:cubicBezTo>
                  <a:pt x="469" y="20"/>
                  <a:pt x="471" y="19"/>
                  <a:pt x="473" y="19"/>
                </a:cubicBezTo>
                <a:cubicBezTo>
                  <a:pt x="473" y="19"/>
                  <a:pt x="473" y="19"/>
                  <a:pt x="473" y="19"/>
                </a:cubicBezTo>
                <a:cubicBezTo>
                  <a:pt x="456" y="13"/>
                  <a:pt x="438" y="9"/>
                  <a:pt x="419" y="5"/>
                </a:cubicBezTo>
                <a:cubicBezTo>
                  <a:pt x="427" y="10"/>
                  <a:pt x="416" y="16"/>
                  <a:pt x="410" y="12"/>
                </a:cubicBezTo>
                <a:cubicBezTo>
                  <a:pt x="408" y="10"/>
                  <a:pt x="409" y="9"/>
                  <a:pt x="407" y="7"/>
                </a:cubicBezTo>
                <a:cubicBezTo>
                  <a:pt x="408" y="6"/>
                  <a:pt x="410" y="5"/>
                  <a:pt x="412" y="4"/>
                </a:cubicBezTo>
                <a:cubicBezTo>
                  <a:pt x="408" y="4"/>
                  <a:pt x="405" y="3"/>
                  <a:pt x="401" y="3"/>
                </a:cubicBezTo>
                <a:cubicBezTo>
                  <a:pt x="401" y="3"/>
                  <a:pt x="401" y="3"/>
                  <a:pt x="401" y="3"/>
                </a:cubicBezTo>
                <a:cubicBezTo>
                  <a:pt x="398" y="2"/>
                  <a:pt x="396" y="2"/>
                  <a:pt x="393" y="2"/>
                </a:cubicBezTo>
                <a:cubicBezTo>
                  <a:pt x="392" y="6"/>
                  <a:pt x="385" y="4"/>
                  <a:pt x="382" y="1"/>
                </a:cubicBezTo>
                <a:cubicBezTo>
                  <a:pt x="374" y="0"/>
                  <a:pt x="366" y="0"/>
                  <a:pt x="357" y="0"/>
                </a:cubicBezTo>
                <a:cubicBezTo>
                  <a:pt x="343" y="0"/>
                  <a:pt x="328" y="1"/>
                  <a:pt x="314" y="3"/>
                </a:cubicBezTo>
                <a:cubicBezTo>
                  <a:pt x="314" y="3"/>
                  <a:pt x="314" y="3"/>
                  <a:pt x="315" y="3"/>
                </a:cubicBezTo>
                <a:cubicBezTo>
                  <a:pt x="315" y="3"/>
                  <a:pt x="315" y="3"/>
                  <a:pt x="315" y="3"/>
                </a:cubicBezTo>
                <a:cubicBezTo>
                  <a:pt x="315" y="4"/>
                  <a:pt x="314" y="3"/>
                  <a:pt x="314" y="3"/>
                </a:cubicBezTo>
                <a:cubicBezTo>
                  <a:pt x="138" y="24"/>
                  <a:pt x="1" y="173"/>
                  <a:pt x="0" y="354"/>
                </a:cubicBezTo>
                <a:cubicBezTo>
                  <a:pt x="0" y="354"/>
                  <a:pt x="0" y="353"/>
                  <a:pt x="1" y="353"/>
                </a:cubicBezTo>
                <a:cubicBezTo>
                  <a:pt x="1" y="353"/>
                  <a:pt x="2" y="356"/>
                  <a:pt x="1" y="356"/>
                </a:cubicBezTo>
                <a:cubicBezTo>
                  <a:pt x="0" y="357"/>
                  <a:pt x="0" y="356"/>
                  <a:pt x="0" y="356"/>
                </a:cubicBezTo>
                <a:cubicBezTo>
                  <a:pt x="0" y="356"/>
                  <a:pt x="0" y="357"/>
                  <a:pt x="0" y="357"/>
                </a:cubicBezTo>
                <a:cubicBezTo>
                  <a:pt x="0" y="375"/>
                  <a:pt x="1" y="392"/>
                  <a:pt x="4" y="409"/>
                </a:cubicBezTo>
                <a:cubicBezTo>
                  <a:pt x="4" y="409"/>
                  <a:pt x="4" y="409"/>
                  <a:pt x="4" y="409"/>
                </a:cubicBezTo>
                <a:cubicBezTo>
                  <a:pt x="5" y="409"/>
                  <a:pt x="5" y="412"/>
                  <a:pt x="5" y="412"/>
                </a:cubicBezTo>
                <a:cubicBezTo>
                  <a:pt x="4" y="413"/>
                  <a:pt x="4" y="413"/>
                  <a:pt x="4" y="413"/>
                </a:cubicBezTo>
                <a:cubicBezTo>
                  <a:pt x="5" y="418"/>
                  <a:pt x="6" y="424"/>
                  <a:pt x="7" y="429"/>
                </a:cubicBezTo>
                <a:cubicBezTo>
                  <a:pt x="8" y="429"/>
                  <a:pt x="8" y="429"/>
                  <a:pt x="8" y="429"/>
                </a:cubicBezTo>
                <a:cubicBezTo>
                  <a:pt x="9" y="430"/>
                  <a:pt x="8" y="430"/>
                  <a:pt x="7" y="431"/>
                </a:cubicBezTo>
                <a:cubicBezTo>
                  <a:pt x="8" y="433"/>
                  <a:pt x="8" y="435"/>
                  <a:pt x="9" y="438"/>
                </a:cubicBezTo>
                <a:cubicBezTo>
                  <a:pt x="9" y="438"/>
                  <a:pt x="9" y="438"/>
                  <a:pt x="9" y="438"/>
                </a:cubicBezTo>
                <a:cubicBezTo>
                  <a:pt x="9" y="440"/>
                  <a:pt x="10" y="441"/>
                  <a:pt x="10" y="443"/>
                </a:cubicBezTo>
                <a:cubicBezTo>
                  <a:pt x="10" y="443"/>
                  <a:pt x="10" y="443"/>
                  <a:pt x="10" y="442"/>
                </a:cubicBezTo>
                <a:cubicBezTo>
                  <a:pt x="10" y="442"/>
                  <a:pt x="10" y="442"/>
                  <a:pt x="10" y="441"/>
                </a:cubicBezTo>
                <a:cubicBezTo>
                  <a:pt x="10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1" y="441"/>
                  <a:pt x="11" y="441"/>
                  <a:pt x="11" y="441"/>
                </a:cubicBezTo>
                <a:cubicBezTo>
                  <a:pt x="12" y="441"/>
                  <a:pt x="13" y="440"/>
                  <a:pt x="14" y="440"/>
                </a:cubicBezTo>
                <a:cubicBezTo>
                  <a:pt x="14" y="439"/>
                  <a:pt x="15" y="438"/>
                  <a:pt x="16" y="439"/>
                </a:cubicBezTo>
                <a:cubicBezTo>
                  <a:pt x="17" y="439"/>
                  <a:pt x="17" y="439"/>
                  <a:pt x="18" y="440"/>
                </a:cubicBezTo>
                <a:cubicBezTo>
                  <a:pt x="20" y="443"/>
                  <a:pt x="19" y="438"/>
                  <a:pt x="18" y="438"/>
                </a:cubicBezTo>
                <a:cubicBezTo>
                  <a:pt x="18" y="438"/>
                  <a:pt x="18" y="438"/>
                  <a:pt x="17" y="437"/>
                </a:cubicBezTo>
                <a:cubicBezTo>
                  <a:pt x="17" y="437"/>
                  <a:pt x="17" y="437"/>
                  <a:pt x="17" y="436"/>
                </a:cubicBezTo>
                <a:cubicBezTo>
                  <a:pt x="17" y="435"/>
                  <a:pt x="17" y="432"/>
                  <a:pt x="17" y="431"/>
                </a:cubicBezTo>
                <a:cubicBezTo>
                  <a:pt x="17" y="433"/>
                  <a:pt x="18" y="434"/>
                  <a:pt x="19" y="435"/>
                </a:cubicBezTo>
                <a:cubicBezTo>
                  <a:pt x="19" y="435"/>
                  <a:pt x="19" y="435"/>
                  <a:pt x="19" y="435"/>
                </a:cubicBezTo>
                <a:cubicBezTo>
                  <a:pt x="20" y="435"/>
                  <a:pt x="19" y="436"/>
                  <a:pt x="19" y="436"/>
                </a:cubicBezTo>
                <a:cubicBezTo>
                  <a:pt x="19" y="437"/>
                  <a:pt x="19" y="437"/>
                  <a:pt x="19" y="438"/>
                </a:cubicBezTo>
                <a:cubicBezTo>
                  <a:pt x="20" y="437"/>
                  <a:pt x="19" y="435"/>
                  <a:pt x="21" y="434"/>
                </a:cubicBezTo>
                <a:cubicBezTo>
                  <a:pt x="20" y="436"/>
                  <a:pt x="20" y="437"/>
                  <a:pt x="21" y="438"/>
                </a:cubicBezTo>
                <a:cubicBezTo>
                  <a:pt x="21" y="438"/>
                  <a:pt x="22" y="438"/>
                  <a:pt x="22" y="438"/>
                </a:cubicBezTo>
                <a:cubicBezTo>
                  <a:pt x="22" y="438"/>
                  <a:pt x="22" y="438"/>
                  <a:pt x="22" y="438"/>
                </a:cubicBezTo>
                <a:cubicBezTo>
                  <a:pt x="23" y="438"/>
                  <a:pt x="23" y="438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3" y="437"/>
                  <a:pt x="23" y="437"/>
                  <a:pt x="23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7"/>
                </a:cubicBezTo>
                <a:cubicBezTo>
                  <a:pt x="22" y="437"/>
                  <a:pt x="22" y="437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2" y="436"/>
                  <a:pt x="22" y="436"/>
                  <a:pt x="22" y="436"/>
                </a:cubicBezTo>
                <a:cubicBezTo>
                  <a:pt x="23" y="435"/>
                  <a:pt x="23" y="434"/>
                  <a:pt x="23" y="434"/>
                </a:cubicBezTo>
                <a:cubicBezTo>
                  <a:pt x="23" y="433"/>
                  <a:pt x="22" y="433"/>
                  <a:pt x="21" y="434"/>
                </a:cubicBezTo>
                <a:cubicBezTo>
                  <a:pt x="20" y="434"/>
                  <a:pt x="20" y="435"/>
                  <a:pt x="19" y="434"/>
                </a:cubicBezTo>
                <a:cubicBezTo>
                  <a:pt x="19" y="434"/>
                  <a:pt x="19" y="434"/>
                  <a:pt x="19" y="433"/>
                </a:cubicBezTo>
                <a:cubicBezTo>
                  <a:pt x="19" y="433"/>
                  <a:pt x="19" y="433"/>
                  <a:pt x="19" y="433"/>
                </a:cubicBezTo>
                <a:cubicBezTo>
                  <a:pt x="18" y="433"/>
                  <a:pt x="19" y="431"/>
                  <a:pt x="18" y="429"/>
                </a:cubicBezTo>
                <a:cubicBezTo>
                  <a:pt x="17" y="430"/>
                  <a:pt x="16" y="429"/>
                  <a:pt x="16" y="426"/>
                </a:cubicBezTo>
                <a:cubicBezTo>
                  <a:pt x="16" y="426"/>
                  <a:pt x="16" y="426"/>
                  <a:pt x="16" y="426"/>
                </a:cubicBezTo>
                <a:cubicBezTo>
                  <a:pt x="16" y="427"/>
                  <a:pt x="14" y="432"/>
                  <a:pt x="15" y="433"/>
                </a:cubicBezTo>
                <a:cubicBezTo>
                  <a:pt x="15" y="433"/>
                  <a:pt x="16" y="437"/>
                  <a:pt x="14" y="435"/>
                </a:cubicBezTo>
                <a:cubicBezTo>
                  <a:pt x="12" y="434"/>
                  <a:pt x="15" y="429"/>
                  <a:pt x="15" y="426"/>
                </a:cubicBezTo>
                <a:cubicBezTo>
                  <a:pt x="14" y="426"/>
                  <a:pt x="14" y="426"/>
                  <a:pt x="14" y="425"/>
                </a:cubicBezTo>
                <a:cubicBezTo>
                  <a:pt x="13" y="424"/>
                  <a:pt x="14" y="424"/>
                  <a:pt x="14" y="423"/>
                </a:cubicBezTo>
                <a:cubicBezTo>
                  <a:pt x="14" y="423"/>
                  <a:pt x="14" y="422"/>
                  <a:pt x="15" y="422"/>
                </a:cubicBezTo>
                <a:cubicBezTo>
                  <a:pt x="14" y="421"/>
                  <a:pt x="13" y="422"/>
                  <a:pt x="12" y="421"/>
                </a:cubicBezTo>
                <a:cubicBezTo>
                  <a:pt x="13" y="421"/>
                  <a:pt x="11" y="419"/>
                  <a:pt x="11" y="420"/>
                </a:cubicBezTo>
                <a:cubicBezTo>
                  <a:pt x="11" y="417"/>
                  <a:pt x="14" y="417"/>
                  <a:pt x="15" y="419"/>
                </a:cubicBezTo>
                <a:cubicBezTo>
                  <a:pt x="14" y="418"/>
                  <a:pt x="16" y="419"/>
                  <a:pt x="17" y="418"/>
                </a:cubicBezTo>
                <a:cubicBezTo>
                  <a:pt x="16" y="418"/>
                  <a:pt x="17" y="413"/>
                  <a:pt x="19" y="413"/>
                </a:cubicBezTo>
                <a:cubicBezTo>
                  <a:pt x="19" y="413"/>
                  <a:pt x="18" y="416"/>
                  <a:pt x="19" y="417"/>
                </a:cubicBezTo>
                <a:cubicBezTo>
                  <a:pt x="19" y="417"/>
                  <a:pt x="19" y="417"/>
                  <a:pt x="19" y="417"/>
                </a:cubicBezTo>
                <a:cubicBezTo>
                  <a:pt x="19" y="417"/>
                  <a:pt x="19" y="416"/>
                  <a:pt x="20" y="417"/>
                </a:cubicBezTo>
                <a:cubicBezTo>
                  <a:pt x="20" y="417"/>
                  <a:pt x="21" y="418"/>
                  <a:pt x="20" y="419"/>
                </a:cubicBezTo>
                <a:cubicBezTo>
                  <a:pt x="20" y="419"/>
                  <a:pt x="20" y="419"/>
                  <a:pt x="20" y="419"/>
                </a:cubicBezTo>
                <a:cubicBezTo>
                  <a:pt x="21" y="419"/>
                  <a:pt x="20" y="420"/>
                  <a:pt x="19" y="420"/>
                </a:cubicBezTo>
                <a:cubicBezTo>
                  <a:pt x="17" y="421"/>
                  <a:pt x="19" y="421"/>
                  <a:pt x="20" y="422"/>
                </a:cubicBezTo>
                <a:cubicBezTo>
                  <a:pt x="20" y="422"/>
                  <a:pt x="20" y="422"/>
                  <a:pt x="21" y="422"/>
                </a:cubicBezTo>
                <a:cubicBezTo>
                  <a:pt x="21" y="422"/>
                  <a:pt x="21" y="422"/>
                  <a:pt x="21" y="422"/>
                </a:cubicBezTo>
                <a:cubicBezTo>
                  <a:pt x="22" y="423"/>
                  <a:pt x="22" y="423"/>
                  <a:pt x="22" y="424"/>
                </a:cubicBezTo>
                <a:cubicBezTo>
                  <a:pt x="22" y="424"/>
                  <a:pt x="23" y="423"/>
                  <a:pt x="24" y="423"/>
                </a:cubicBezTo>
                <a:cubicBezTo>
                  <a:pt x="25" y="423"/>
                  <a:pt x="24" y="425"/>
                  <a:pt x="26" y="425"/>
                </a:cubicBezTo>
                <a:cubicBezTo>
                  <a:pt x="26" y="425"/>
                  <a:pt x="26" y="425"/>
                  <a:pt x="26" y="425"/>
                </a:cubicBezTo>
                <a:cubicBezTo>
                  <a:pt x="27" y="422"/>
                  <a:pt x="30" y="417"/>
                  <a:pt x="26" y="418"/>
                </a:cubicBezTo>
                <a:cubicBezTo>
                  <a:pt x="29" y="416"/>
                  <a:pt x="25" y="414"/>
                  <a:pt x="24" y="414"/>
                </a:cubicBezTo>
                <a:cubicBezTo>
                  <a:pt x="23" y="412"/>
                  <a:pt x="25" y="415"/>
                  <a:pt x="25" y="414"/>
                </a:cubicBezTo>
                <a:cubicBezTo>
                  <a:pt x="27" y="413"/>
                  <a:pt x="24" y="411"/>
                  <a:pt x="24" y="408"/>
                </a:cubicBezTo>
                <a:cubicBezTo>
                  <a:pt x="24" y="408"/>
                  <a:pt x="26" y="406"/>
                  <a:pt x="26" y="406"/>
                </a:cubicBezTo>
                <a:cubicBezTo>
                  <a:pt x="27" y="404"/>
                  <a:pt x="24" y="405"/>
                  <a:pt x="27" y="404"/>
                </a:cubicBezTo>
                <a:cubicBezTo>
                  <a:pt x="29" y="404"/>
                  <a:pt x="29" y="400"/>
                  <a:pt x="30" y="399"/>
                </a:cubicBezTo>
                <a:cubicBezTo>
                  <a:pt x="30" y="399"/>
                  <a:pt x="34" y="398"/>
                  <a:pt x="34" y="396"/>
                </a:cubicBezTo>
                <a:cubicBezTo>
                  <a:pt x="30" y="400"/>
                  <a:pt x="28" y="395"/>
                  <a:pt x="29" y="394"/>
                </a:cubicBezTo>
                <a:cubicBezTo>
                  <a:pt x="29" y="394"/>
                  <a:pt x="28" y="391"/>
                  <a:pt x="31" y="391"/>
                </a:cubicBezTo>
                <a:cubicBezTo>
                  <a:pt x="33" y="390"/>
                  <a:pt x="32" y="391"/>
                  <a:pt x="34" y="389"/>
                </a:cubicBezTo>
                <a:cubicBezTo>
                  <a:pt x="35" y="388"/>
                  <a:pt x="34" y="396"/>
                  <a:pt x="35" y="396"/>
                </a:cubicBezTo>
                <a:cubicBezTo>
                  <a:pt x="36" y="398"/>
                  <a:pt x="36" y="395"/>
                  <a:pt x="37" y="398"/>
                </a:cubicBezTo>
                <a:cubicBezTo>
                  <a:pt x="38" y="404"/>
                  <a:pt x="42" y="414"/>
                  <a:pt x="34" y="417"/>
                </a:cubicBezTo>
                <a:cubicBezTo>
                  <a:pt x="32" y="418"/>
                  <a:pt x="31" y="417"/>
                  <a:pt x="30" y="418"/>
                </a:cubicBezTo>
                <a:cubicBezTo>
                  <a:pt x="28" y="420"/>
                  <a:pt x="28" y="422"/>
                  <a:pt x="27" y="425"/>
                </a:cubicBezTo>
                <a:cubicBezTo>
                  <a:pt x="27" y="425"/>
                  <a:pt x="27" y="425"/>
                  <a:pt x="27" y="425"/>
                </a:cubicBezTo>
                <a:cubicBezTo>
                  <a:pt x="28" y="425"/>
                  <a:pt x="27" y="426"/>
                  <a:pt x="28" y="427"/>
                </a:cubicBezTo>
                <a:cubicBezTo>
                  <a:pt x="28" y="427"/>
                  <a:pt x="29" y="427"/>
                  <a:pt x="30" y="427"/>
                </a:cubicBezTo>
                <a:cubicBezTo>
                  <a:pt x="30" y="426"/>
                  <a:pt x="30" y="426"/>
                  <a:pt x="31" y="426"/>
                </a:cubicBezTo>
                <a:cubicBezTo>
                  <a:pt x="31" y="426"/>
                  <a:pt x="31" y="426"/>
                  <a:pt x="31" y="427"/>
                </a:cubicBezTo>
                <a:cubicBezTo>
                  <a:pt x="31" y="427"/>
                  <a:pt x="32" y="427"/>
                  <a:pt x="32" y="427"/>
                </a:cubicBezTo>
                <a:cubicBezTo>
                  <a:pt x="32" y="428"/>
                  <a:pt x="31" y="430"/>
                  <a:pt x="33" y="429"/>
                </a:cubicBezTo>
                <a:cubicBezTo>
                  <a:pt x="33" y="430"/>
                  <a:pt x="33" y="432"/>
                  <a:pt x="33" y="433"/>
                </a:cubicBezTo>
                <a:cubicBezTo>
                  <a:pt x="33" y="433"/>
                  <a:pt x="33" y="433"/>
                  <a:pt x="33" y="433"/>
                </a:cubicBezTo>
                <a:cubicBezTo>
                  <a:pt x="34" y="433"/>
                  <a:pt x="36" y="432"/>
                  <a:pt x="35" y="432"/>
                </a:cubicBezTo>
                <a:cubicBezTo>
                  <a:pt x="36" y="432"/>
                  <a:pt x="35" y="435"/>
                  <a:pt x="34" y="436"/>
                </a:cubicBezTo>
                <a:cubicBezTo>
                  <a:pt x="34" y="437"/>
                  <a:pt x="34" y="437"/>
                  <a:pt x="35" y="437"/>
                </a:cubicBezTo>
                <a:cubicBezTo>
                  <a:pt x="34" y="437"/>
                  <a:pt x="38" y="431"/>
                  <a:pt x="39" y="435"/>
                </a:cubicBezTo>
                <a:cubicBezTo>
                  <a:pt x="39" y="434"/>
                  <a:pt x="39" y="434"/>
                  <a:pt x="39" y="434"/>
                </a:cubicBezTo>
                <a:cubicBezTo>
                  <a:pt x="39" y="434"/>
                  <a:pt x="41" y="432"/>
                  <a:pt x="41" y="432"/>
                </a:cubicBezTo>
                <a:cubicBezTo>
                  <a:pt x="43" y="433"/>
                  <a:pt x="41" y="437"/>
                  <a:pt x="40" y="439"/>
                </a:cubicBezTo>
                <a:cubicBezTo>
                  <a:pt x="42" y="439"/>
                  <a:pt x="43" y="440"/>
                  <a:pt x="42" y="441"/>
                </a:cubicBezTo>
                <a:cubicBezTo>
                  <a:pt x="42" y="441"/>
                  <a:pt x="42" y="442"/>
                  <a:pt x="42" y="442"/>
                </a:cubicBezTo>
                <a:cubicBezTo>
                  <a:pt x="42" y="442"/>
                  <a:pt x="42" y="443"/>
                  <a:pt x="41" y="443"/>
                </a:cubicBezTo>
                <a:cubicBezTo>
                  <a:pt x="41" y="443"/>
                  <a:pt x="40" y="444"/>
                  <a:pt x="40" y="444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3"/>
                  <a:pt x="39" y="443"/>
                  <a:pt x="39" y="443"/>
                </a:cubicBezTo>
                <a:cubicBezTo>
                  <a:pt x="39" y="445"/>
                  <a:pt x="39" y="447"/>
                  <a:pt x="38" y="448"/>
                </a:cubicBezTo>
                <a:cubicBezTo>
                  <a:pt x="38" y="449"/>
                  <a:pt x="38" y="449"/>
                  <a:pt x="38" y="450"/>
                </a:cubicBezTo>
                <a:cubicBezTo>
                  <a:pt x="38" y="450"/>
                  <a:pt x="38" y="450"/>
                  <a:pt x="39" y="450"/>
                </a:cubicBezTo>
                <a:cubicBezTo>
                  <a:pt x="39" y="449"/>
                  <a:pt x="40" y="448"/>
                  <a:pt x="41" y="447"/>
                </a:cubicBezTo>
                <a:cubicBezTo>
                  <a:pt x="41" y="448"/>
                  <a:pt x="40" y="450"/>
                  <a:pt x="39" y="451"/>
                </a:cubicBezTo>
                <a:cubicBezTo>
                  <a:pt x="39" y="451"/>
                  <a:pt x="39" y="451"/>
                  <a:pt x="39" y="451"/>
                </a:cubicBezTo>
                <a:cubicBezTo>
                  <a:pt x="39" y="451"/>
                  <a:pt x="40" y="451"/>
                  <a:pt x="40" y="451"/>
                </a:cubicBezTo>
                <a:cubicBezTo>
                  <a:pt x="40" y="451"/>
                  <a:pt x="39" y="452"/>
                  <a:pt x="39" y="451"/>
                </a:cubicBezTo>
                <a:cubicBezTo>
                  <a:pt x="38" y="453"/>
                  <a:pt x="35" y="455"/>
                  <a:pt x="35" y="457"/>
                </a:cubicBezTo>
                <a:cubicBezTo>
                  <a:pt x="35" y="456"/>
                  <a:pt x="35" y="456"/>
                  <a:pt x="35" y="456"/>
                </a:cubicBezTo>
                <a:cubicBezTo>
                  <a:pt x="36" y="456"/>
                  <a:pt x="36" y="458"/>
                  <a:pt x="36" y="459"/>
                </a:cubicBezTo>
                <a:cubicBezTo>
                  <a:pt x="36" y="459"/>
                  <a:pt x="37" y="459"/>
                  <a:pt x="37" y="460"/>
                </a:cubicBezTo>
                <a:cubicBezTo>
                  <a:pt x="37" y="461"/>
                  <a:pt x="35" y="463"/>
                  <a:pt x="34" y="463"/>
                </a:cubicBezTo>
                <a:cubicBezTo>
                  <a:pt x="34" y="463"/>
                  <a:pt x="34" y="462"/>
                  <a:pt x="34" y="462"/>
                </a:cubicBezTo>
                <a:cubicBezTo>
                  <a:pt x="34" y="462"/>
                  <a:pt x="34" y="462"/>
                  <a:pt x="34" y="462"/>
                </a:cubicBezTo>
                <a:cubicBezTo>
                  <a:pt x="34" y="462"/>
                  <a:pt x="33" y="463"/>
                  <a:pt x="33" y="463"/>
                </a:cubicBezTo>
                <a:cubicBezTo>
                  <a:pt x="31" y="462"/>
                  <a:pt x="33" y="461"/>
                  <a:pt x="34" y="461"/>
                </a:cubicBezTo>
                <a:cubicBezTo>
                  <a:pt x="34" y="461"/>
                  <a:pt x="34" y="460"/>
                  <a:pt x="33" y="460"/>
                </a:cubicBezTo>
                <a:cubicBezTo>
                  <a:pt x="33" y="460"/>
                  <a:pt x="33" y="460"/>
                  <a:pt x="33" y="461"/>
                </a:cubicBezTo>
                <a:cubicBezTo>
                  <a:pt x="32" y="462"/>
                  <a:pt x="31" y="461"/>
                  <a:pt x="32" y="460"/>
                </a:cubicBezTo>
                <a:cubicBezTo>
                  <a:pt x="29" y="460"/>
                  <a:pt x="23" y="461"/>
                  <a:pt x="24" y="461"/>
                </a:cubicBezTo>
                <a:cubicBezTo>
                  <a:pt x="23" y="461"/>
                  <a:pt x="21" y="469"/>
                  <a:pt x="21" y="464"/>
                </a:cubicBezTo>
                <a:cubicBezTo>
                  <a:pt x="21" y="464"/>
                  <a:pt x="21" y="465"/>
                  <a:pt x="20" y="465"/>
                </a:cubicBezTo>
                <a:cubicBezTo>
                  <a:pt x="20" y="465"/>
                  <a:pt x="20" y="465"/>
                  <a:pt x="20" y="465"/>
                </a:cubicBezTo>
                <a:cubicBezTo>
                  <a:pt x="20" y="465"/>
                  <a:pt x="20" y="466"/>
                  <a:pt x="19" y="465"/>
                </a:cubicBezTo>
                <a:cubicBezTo>
                  <a:pt x="19" y="465"/>
                  <a:pt x="19" y="466"/>
                  <a:pt x="19" y="466"/>
                </a:cubicBezTo>
                <a:cubicBezTo>
                  <a:pt x="19" y="467"/>
                  <a:pt x="18" y="465"/>
                  <a:pt x="18" y="465"/>
                </a:cubicBezTo>
                <a:cubicBezTo>
                  <a:pt x="17" y="464"/>
                  <a:pt x="17" y="464"/>
                  <a:pt x="16" y="464"/>
                </a:cubicBezTo>
                <a:cubicBezTo>
                  <a:pt x="16" y="464"/>
                  <a:pt x="16" y="463"/>
                  <a:pt x="16" y="463"/>
                </a:cubicBezTo>
                <a:cubicBezTo>
                  <a:pt x="17" y="466"/>
                  <a:pt x="17" y="468"/>
                  <a:pt x="18" y="470"/>
                </a:cubicBezTo>
                <a:cubicBezTo>
                  <a:pt x="18" y="471"/>
                  <a:pt x="19" y="471"/>
                  <a:pt x="18" y="471"/>
                </a:cubicBezTo>
                <a:cubicBezTo>
                  <a:pt x="18" y="472"/>
                  <a:pt x="19" y="472"/>
                  <a:pt x="19" y="472"/>
                </a:cubicBezTo>
                <a:cubicBezTo>
                  <a:pt x="19" y="472"/>
                  <a:pt x="19" y="472"/>
                  <a:pt x="19" y="471"/>
                </a:cubicBezTo>
                <a:cubicBezTo>
                  <a:pt x="20" y="470"/>
                  <a:pt x="21" y="470"/>
                  <a:pt x="22" y="469"/>
                </a:cubicBezTo>
                <a:cubicBezTo>
                  <a:pt x="21" y="468"/>
                  <a:pt x="22" y="466"/>
                  <a:pt x="23" y="467"/>
                </a:cubicBezTo>
                <a:cubicBezTo>
                  <a:pt x="24" y="467"/>
                  <a:pt x="24" y="468"/>
                  <a:pt x="23" y="469"/>
                </a:cubicBezTo>
                <a:cubicBezTo>
                  <a:pt x="23" y="469"/>
                  <a:pt x="23" y="469"/>
                  <a:pt x="24" y="469"/>
                </a:cubicBezTo>
                <a:cubicBezTo>
                  <a:pt x="24" y="469"/>
                  <a:pt x="24" y="469"/>
                  <a:pt x="24" y="469"/>
                </a:cubicBezTo>
                <a:cubicBezTo>
                  <a:pt x="26" y="468"/>
                  <a:pt x="28" y="469"/>
                  <a:pt x="29" y="470"/>
                </a:cubicBezTo>
                <a:cubicBezTo>
                  <a:pt x="29" y="470"/>
                  <a:pt x="30" y="470"/>
                  <a:pt x="30" y="470"/>
                </a:cubicBezTo>
                <a:cubicBezTo>
                  <a:pt x="30" y="470"/>
                  <a:pt x="30" y="470"/>
                  <a:pt x="30" y="470"/>
                </a:cubicBezTo>
                <a:cubicBezTo>
                  <a:pt x="30" y="470"/>
                  <a:pt x="31" y="471"/>
                  <a:pt x="30" y="471"/>
                </a:cubicBezTo>
                <a:cubicBezTo>
                  <a:pt x="32" y="472"/>
                  <a:pt x="33" y="475"/>
                  <a:pt x="33" y="477"/>
                </a:cubicBezTo>
                <a:cubicBezTo>
                  <a:pt x="33" y="477"/>
                  <a:pt x="32" y="480"/>
                  <a:pt x="31" y="480"/>
                </a:cubicBezTo>
                <a:cubicBezTo>
                  <a:pt x="31" y="480"/>
                  <a:pt x="30" y="479"/>
                  <a:pt x="30" y="480"/>
                </a:cubicBezTo>
                <a:cubicBezTo>
                  <a:pt x="30" y="480"/>
                  <a:pt x="30" y="480"/>
                  <a:pt x="30" y="480"/>
                </a:cubicBezTo>
                <a:cubicBezTo>
                  <a:pt x="29" y="480"/>
                  <a:pt x="29" y="481"/>
                  <a:pt x="29" y="481"/>
                </a:cubicBezTo>
                <a:cubicBezTo>
                  <a:pt x="29" y="481"/>
                  <a:pt x="30" y="481"/>
                  <a:pt x="30" y="482"/>
                </a:cubicBezTo>
                <a:cubicBezTo>
                  <a:pt x="30" y="482"/>
                  <a:pt x="29" y="483"/>
                  <a:pt x="28" y="482"/>
                </a:cubicBezTo>
                <a:cubicBezTo>
                  <a:pt x="28" y="482"/>
                  <a:pt x="28" y="482"/>
                  <a:pt x="28" y="482"/>
                </a:cubicBezTo>
                <a:cubicBezTo>
                  <a:pt x="28" y="483"/>
                  <a:pt x="28" y="484"/>
                  <a:pt x="28" y="485"/>
                </a:cubicBezTo>
                <a:cubicBezTo>
                  <a:pt x="29" y="485"/>
                  <a:pt x="31" y="483"/>
                  <a:pt x="32" y="485"/>
                </a:cubicBezTo>
                <a:cubicBezTo>
                  <a:pt x="29" y="485"/>
                  <a:pt x="31" y="486"/>
                  <a:pt x="31" y="489"/>
                </a:cubicBezTo>
                <a:cubicBezTo>
                  <a:pt x="31" y="493"/>
                  <a:pt x="30" y="491"/>
                  <a:pt x="32" y="488"/>
                </a:cubicBezTo>
                <a:cubicBezTo>
                  <a:pt x="33" y="487"/>
                  <a:pt x="33" y="489"/>
                  <a:pt x="35" y="487"/>
                </a:cubicBezTo>
                <a:cubicBezTo>
                  <a:pt x="35" y="486"/>
                  <a:pt x="35" y="484"/>
                  <a:pt x="35" y="482"/>
                </a:cubicBezTo>
                <a:cubicBezTo>
                  <a:pt x="35" y="482"/>
                  <a:pt x="35" y="482"/>
                  <a:pt x="35" y="482"/>
                </a:cubicBezTo>
                <a:cubicBezTo>
                  <a:pt x="35" y="481"/>
                  <a:pt x="35" y="481"/>
                  <a:pt x="35" y="480"/>
                </a:cubicBezTo>
                <a:cubicBezTo>
                  <a:pt x="35" y="482"/>
                  <a:pt x="31" y="480"/>
                  <a:pt x="33" y="479"/>
                </a:cubicBezTo>
                <a:cubicBezTo>
                  <a:pt x="33" y="479"/>
                  <a:pt x="33" y="479"/>
                  <a:pt x="34" y="478"/>
                </a:cubicBezTo>
                <a:cubicBezTo>
                  <a:pt x="34" y="477"/>
                  <a:pt x="35" y="474"/>
                  <a:pt x="36" y="473"/>
                </a:cubicBezTo>
                <a:cubicBezTo>
                  <a:pt x="36" y="470"/>
                  <a:pt x="37" y="470"/>
                  <a:pt x="36" y="473"/>
                </a:cubicBezTo>
                <a:cubicBezTo>
                  <a:pt x="36" y="475"/>
                  <a:pt x="36" y="477"/>
                  <a:pt x="35" y="478"/>
                </a:cubicBezTo>
                <a:cubicBezTo>
                  <a:pt x="37" y="477"/>
                  <a:pt x="35" y="476"/>
                  <a:pt x="36" y="475"/>
                </a:cubicBezTo>
                <a:cubicBezTo>
                  <a:pt x="36" y="474"/>
                  <a:pt x="38" y="473"/>
                  <a:pt x="39" y="472"/>
                </a:cubicBezTo>
                <a:cubicBezTo>
                  <a:pt x="39" y="472"/>
                  <a:pt x="39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40" y="471"/>
                  <a:pt x="40" y="471"/>
                  <a:pt x="40" y="471"/>
                </a:cubicBezTo>
                <a:cubicBezTo>
                  <a:pt x="39" y="469"/>
                  <a:pt x="43" y="469"/>
                  <a:pt x="42" y="470"/>
                </a:cubicBezTo>
                <a:cubicBezTo>
                  <a:pt x="43" y="470"/>
                  <a:pt x="43" y="470"/>
                  <a:pt x="43" y="470"/>
                </a:cubicBezTo>
                <a:cubicBezTo>
                  <a:pt x="43" y="470"/>
                  <a:pt x="44" y="470"/>
                  <a:pt x="44" y="471"/>
                </a:cubicBezTo>
                <a:cubicBezTo>
                  <a:pt x="44" y="471"/>
                  <a:pt x="44" y="471"/>
                  <a:pt x="44" y="471"/>
                </a:cubicBezTo>
                <a:cubicBezTo>
                  <a:pt x="44" y="471"/>
                  <a:pt x="45" y="473"/>
                  <a:pt x="46" y="474"/>
                </a:cubicBezTo>
                <a:cubicBezTo>
                  <a:pt x="46" y="474"/>
                  <a:pt x="47" y="474"/>
                  <a:pt x="47" y="474"/>
                </a:cubicBezTo>
                <a:cubicBezTo>
                  <a:pt x="47" y="474"/>
                  <a:pt x="47" y="475"/>
                  <a:pt x="47" y="475"/>
                </a:cubicBezTo>
                <a:cubicBezTo>
                  <a:pt x="47" y="475"/>
                  <a:pt x="48" y="475"/>
                  <a:pt x="48" y="474"/>
                </a:cubicBezTo>
                <a:cubicBezTo>
                  <a:pt x="48" y="474"/>
                  <a:pt x="48" y="473"/>
                  <a:pt x="48" y="473"/>
                </a:cubicBezTo>
                <a:cubicBezTo>
                  <a:pt x="49" y="473"/>
                  <a:pt x="56" y="472"/>
                  <a:pt x="53" y="470"/>
                </a:cubicBezTo>
                <a:cubicBezTo>
                  <a:pt x="52" y="470"/>
                  <a:pt x="52" y="471"/>
                  <a:pt x="52" y="471"/>
                </a:cubicBezTo>
                <a:cubicBezTo>
                  <a:pt x="52" y="471"/>
                  <a:pt x="52" y="470"/>
                  <a:pt x="51" y="470"/>
                </a:cubicBezTo>
                <a:cubicBezTo>
                  <a:pt x="50" y="470"/>
                  <a:pt x="49" y="472"/>
                  <a:pt x="48" y="472"/>
                </a:cubicBezTo>
                <a:cubicBezTo>
                  <a:pt x="50" y="471"/>
                  <a:pt x="48" y="468"/>
                  <a:pt x="49" y="467"/>
                </a:cubicBezTo>
                <a:cubicBezTo>
                  <a:pt x="51" y="467"/>
                  <a:pt x="53" y="470"/>
                  <a:pt x="55" y="470"/>
                </a:cubicBezTo>
                <a:cubicBezTo>
                  <a:pt x="58" y="469"/>
                  <a:pt x="59" y="467"/>
                  <a:pt x="60" y="465"/>
                </a:cubicBezTo>
                <a:cubicBezTo>
                  <a:pt x="59" y="466"/>
                  <a:pt x="57" y="466"/>
                  <a:pt x="56" y="465"/>
                </a:cubicBezTo>
                <a:cubicBezTo>
                  <a:pt x="55" y="466"/>
                  <a:pt x="54" y="467"/>
                  <a:pt x="53" y="465"/>
                </a:cubicBezTo>
                <a:cubicBezTo>
                  <a:pt x="52" y="463"/>
                  <a:pt x="48" y="460"/>
                  <a:pt x="50" y="458"/>
                </a:cubicBezTo>
                <a:cubicBezTo>
                  <a:pt x="53" y="455"/>
                  <a:pt x="58" y="451"/>
                  <a:pt x="59" y="445"/>
                </a:cubicBezTo>
                <a:cubicBezTo>
                  <a:pt x="55" y="450"/>
                  <a:pt x="54" y="444"/>
                  <a:pt x="59" y="443"/>
                </a:cubicBezTo>
                <a:cubicBezTo>
                  <a:pt x="58" y="445"/>
                  <a:pt x="60" y="444"/>
                  <a:pt x="61" y="445"/>
                </a:cubicBezTo>
                <a:cubicBezTo>
                  <a:pt x="61" y="445"/>
                  <a:pt x="61" y="446"/>
                  <a:pt x="61" y="446"/>
                </a:cubicBezTo>
                <a:cubicBezTo>
                  <a:pt x="61" y="446"/>
                  <a:pt x="61" y="446"/>
                  <a:pt x="61" y="446"/>
                </a:cubicBezTo>
                <a:cubicBezTo>
                  <a:pt x="63" y="446"/>
                  <a:pt x="60" y="450"/>
                  <a:pt x="60" y="447"/>
                </a:cubicBezTo>
                <a:cubicBezTo>
                  <a:pt x="60" y="447"/>
                  <a:pt x="60" y="447"/>
                  <a:pt x="60" y="447"/>
                </a:cubicBezTo>
                <a:cubicBezTo>
                  <a:pt x="60" y="448"/>
                  <a:pt x="59" y="448"/>
                  <a:pt x="59" y="449"/>
                </a:cubicBezTo>
                <a:cubicBezTo>
                  <a:pt x="59" y="452"/>
                  <a:pt x="59" y="456"/>
                  <a:pt x="60" y="459"/>
                </a:cubicBezTo>
                <a:cubicBezTo>
                  <a:pt x="61" y="459"/>
                  <a:pt x="61" y="459"/>
                  <a:pt x="62" y="460"/>
                </a:cubicBezTo>
                <a:cubicBezTo>
                  <a:pt x="62" y="460"/>
                  <a:pt x="62" y="460"/>
                  <a:pt x="62" y="461"/>
                </a:cubicBezTo>
                <a:cubicBezTo>
                  <a:pt x="63" y="462"/>
                  <a:pt x="64" y="461"/>
                  <a:pt x="66" y="457"/>
                </a:cubicBezTo>
                <a:cubicBezTo>
                  <a:pt x="67" y="464"/>
                  <a:pt x="71" y="455"/>
                  <a:pt x="70" y="453"/>
                </a:cubicBezTo>
                <a:cubicBezTo>
                  <a:pt x="70" y="453"/>
                  <a:pt x="68" y="453"/>
                  <a:pt x="68" y="452"/>
                </a:cubicBezTo>
                <a:cubicBezTo>
                  <a:pt x="67" y="452"/>
                  <a:pt x="68" y="449"/>
                  <a:pt x="68" y="447"/>
                </a:cubicBezTo>
                <a:cubicBezTo>
                  <a:pt x="69" y="446"/>
                  <a:pt x="73" y="440"/>
                  <a:pt x="72" y="445"/>
                </a:cubicBezTo>
                <a:cubicBezTo>
                  <a:pt x="71" y="446"/>
                  <a:pt x="71" y="448"/>
                  <a:pt x="71" y="449"/>
                </a:cubicBezTo>
                <a:cubicBezTo>
                  <a:pt x="72" y="449"/>
                  <a:pt x="72" y="449"/>
                  <a:pt x="71" y="449"/>
                </a:cubicBezTo>
                <a:cubicBezTo>
                  <a:pt x="71" y="449"/>
                  <a:pt x="71" y="449"/>
                  <a:pt x="71" y="449"/>
                </a:cubicBezTo>
                <a:cubicBezTo>
                  <a:pt x="71" y="450"/>
                  <a:pt x="71" y="452"/>
                  <a:pt x="71" y="453"/>
                </a:cubicBezTo>
                <a:cubicBezTo>
                  <a:pt x="71" y="455"/>
                  <a:pt x="70" y="457"/>
                  <a:pt x="70" y="458"/>
                </a:cubicBezTo>
                <a:cubicBezTo>
                  <a:pt x="70" y="458"/>
                  <a:pt x="70" y="458"/>
                  <a:pt x="71" y="459"/>
                </a:cubicBezTo>
                <a:cubicBezTo>
                  <a:pt x="71" y="459"/>
                  <a:pt x="72" y="459"/>
                  <a:pt x="72" y="460"/>
                </a:cubicBezTo>
                <a:cubicBezTo>
                  <a:pt x="71" y="460"/>
                  <a:pt x="71" y="460"/>
                  <a:pt x="71" y="460"/>
                </a:cubicBezTo>
                <a:cubicBezTo>
                  <a:pt x="71" y="461"/>
                  <a:pt x="72" y="461"/>
                  <a:pt x="72" y="461"/>
                </a:cubicBezTo>
                <a:cubicBezTo>
                  <a:pt x="74" y="461"/>
                  <a:pt x="74" y="453"/>
                  <a:pt x="73" y="450"/>
                </a:cubicBezTo>
                <a:cubicBezTo>
                  <a:pt x="73" y="450"/>
                  <a:pt x="73" y="451"/>
                  <a:pt x="73" y="450"/>
                </a:cubicBezTo>
                <a:cubicBezTo>
                  <a:pt x="72" y="450"/>
                  <a:pt x="73" y="449"/>
                  <a:pt x="73" y="449"/>
                </a:cubicBezTo>
                <a:cubicBezTo>
                  <a:pt x="73" y="449"/>
                  <a:pt x="73" y="449"/>
                  <a:pt x="73" y="449"/>
                </a:cubicBezTo>
                <a:cubicBezTo>
                  <a:pt x="73" y="449"/>
                  <a:pt x="74" y="448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7"/>
                  <a:pt x="74" y="447"/>
                  <a:pt x="74" y="447"/>
                </a:cubicBezTo>
                <a:cubicBezTo>
                  <a:pt x="74" y="445"/>
                  <a:pt x="74" y="442"/>
                  <a:pt x="75" y="442"/>
                </a:cubicBezTo>
                <a:cubicBezTo>
                  <a:pt x="78" y="440"/>
                  <a:pt x="73" y="455"/>
                  <a:pt x="78" y="450"/>
                </a:cubicBezTo>
                <a:cubicBezTo>
                  <a:pt x="79" y="450"/>
                  <a:pt x="83" y="445"/>
                  <a:pt x="83" y="445"/>
                </a:cubicBezTo>
                <a:cubicBezTo>
                  <a:pt x="82" y="444"/>
                  <a:pt x="81" y="445"/>
                  <a:pt x="80" y="445"/>
                </a:cubicBezTo>
                <a:cubicBezTo>
                  <a:pt x="78" y="444"/>
                  <a:pt x="79" y="441"/>
                  <a:pt x="80" y="441"/>
                </a:cubicBezTo>
                <a:cubicBezTo>
                  <a:pt x="82" y="440"/>
                  <a:pt x="82" y="442"/>
                  <a:pt x="83" y="442"/>
                </a:cubicBezTo>
                <a:cubicBezTo>
                  <a:pt x="85" y="441"/>
                  <a:pt x="85" y="439"/>
                  <a:pt x="86" y="437"/>
                </a:cubicBezTo>
                <a:cubicBezTo>
                  <a:pt x="86" y="438"/>
                  <a:pt x="85" y="438"/>
                  <a:pt x="85" y="438"/>
                </a:cubicBezTo>
                <a:cubicBezTo>
                  <a:pt x="85" y="437"/>
                  <a:pt x="86" y="437"/>
                  <a:pt x="86" y="437"/>
                </a:cubicBezTo>
                <a:cubicBezTo>
                  <a:pt x="86" y="435"/>
                  <a:pt x="87" y="434"/>
                  <a:pt x="88" y="432"/>
                </a:cubicBezTo>
                <a:cubicBezTo>
                  <a:pt x="90" y="430"/>
                  <a:pt x="91" y="426"/>
                  <a:pt x="91" y="426"/>
                </a:cubicBezTo>
                <a:cubicBezTo>
                  <a:pt x="91" y="426"/>
                  <a:pt x="93" y="428"/>
                  <a:pt x="95" y="428"/>
                </a:cubicBezTo>
                <a:cubicBezTo>
                  <a:pt x="97" y="428"/>
                  <a:pt x="96" y="426"/>
                  <a:pt x="97" y="428"/>
                </a:cubicBezTo>
                <a:cubicBezTo>
                  <a:pt x="97" y="430"/>
                  <a:pt x="98" y="428"/>
                  <a:pt x="98" y="430"/>
                </a:cubicBezTo>
                <a:cubicBezTo>
                  <a:pt x="98" y="432"/>
                  <a:pt x="95" y="437"/>
                  <a:pt x="92" y="435"/>
                </a:cubicBezTo>
                <a:cubicBezTo>
                  <a:pt x="91" y="435"/>
                  <a:pt x="91" y="433"/>
                  <a:pt x="89" y="435"/>
                </a:cubicBezTo>
                <a:cubicBezTo>
                  <a:pt x="89" y="436"/>
                  <a:pt x="90" y="437"/>
                  <a:pt x="89" y="439"/>
                </a:cubicBezTo>
                <a:cubicBezTo>
                  <a:pt x="88" y="441"/>
                  <a:pt x="84" y="445"/>
                  <a:pt x="83" y="448"/>
                </a:cubicBezTo>
                <a:cubicBezTo>
                  <a:pt x="82" y="450"/>
                  <a:pt x="83" y="453"/>
                  <a:pt x="81" y="456"/>
                </a:cubicBezTo>
                <a:cubicBezTo>
                  <a:pt x="80" y="458"/>
                  <a:pt x="75" y="461"/>
                  <a:pt x="75" y="463"/>
                </a:cubicBezTo>
                <a:cubicBezTo>
                  <a:pt x="75" y="463"/>
                  <a:pt x="76" y="464"/>
                  <a:pt x="76" y="464"/>
                </a:cubicBezTo>
                <a:cubicBezTo>
                  <a:pt x="77" y="464"/>
                  <a:pt x="77" y="464"/>
                  <a:pt x="77" y="464"/>
                </a:cubicBezTo>
                <a:cubicBezTo>
                  <a:pt x="77" y="465"/>
                  <a:pt x="77" y="465"/>
                  <a:pt x="77" y="465"/>
                </a:cubicBezTo>
                <a:cubicBezTo>
                  <a:pt x="79" y="466"/>
                  <a:pt x="83" y="467"/>
                  <a:pt x="86" y="467"/>
                </a:cubicBezTo>
                <a:cubicBezTo>
                  <a:pt x="86" y="467"/>
                  <a:pt x="86" y="466"/>
                  <a:pt x="86" y="466"/>
                </a:cubicBezTo>
                <a:cubicBezTo>
                  <a:pt x="86" y="465"/>
                  <a:pt x="86" y="465"/>
                  <a:pt x="86" y="464"/>
                </a:cubicBezTo>
                <a:cubicBezTo>
                  <a:pt x="87" y="460"/>
                  <a:pt x="94" y="456"/>
                  <a:pt x="98" y="458"/>
                </a:cubicBezTo>
                <a:cubicBezTo>
                  <a:pt x="98" y="458"/>
                  <a:pt x="98" y="459"/>
                  <a:pt x="99" y="459"/>
                </a:cubicBezTo>
                <a:cubicBezTo>
                  <a:pt x="99" y="459"/>
                  <a:pt x="99" y="459"/>
                  <a:pt x="99" y="459"/>
                </a:cubicBezTo>
                <a:cubicBezTo>
                  <a:pt x="100" y="458"/>
                  <a:pt x="99" y="459"/>
                  <a:pt x="99" y="459"/>
                </a:cubicBezTo>
                <a:cubicBezTo>
                  <a:pt x="99" y="459"/>
                  <a:pt x="99" y="459"/>
                  <a:pt x="99" y="460"/>
                </a:cubicBezTo>
                <a:cubicBezTo>
                  <a:pt x="100" y="459"/>
                  <a:pt x="101" y="459"/>
                  <a:pt x="101" y="458"/>
                </a:cubicBezTo>
                <a:cubicBezTo>
                  <a:pt x="103" y="459"/>
                  <a:pt x="103" y="456"/>
                  <a:pt x="105" y="456"/>
                </a:cubicBezTo>
                <a:cubicBezTo>
                  <a:pt x="106" y="455"/>
                  <a:pt x="108" y="458"/>
                  <a:pt x="108" y="455"/>
                </a:cubicBezTo>
                <a:cubicBezTo>
                  <a:pt x="108" y="460"/>
                  <a:pt x="116" y="452"/>
                  <a:pt x="116" y="451"/>
                </a:cubicBezTo>
                <a:cubicBezTo>
                  <a:pt x="116" y="451"/>
                  <a:pt x="110" y="450"/>
                  <a:pt x="110" y="450"/>
                </a:cubicBezTo>
                <a:cubicBezTo>
                  <a:pt x="110" y="450"/>
                  <a:pt x="110" y="450"/>
                  <a:pt x="110" y="450"/>
                </a:cubicBezTo>
                <a:cubicBezTo>
                  <a:pt x="110" y="451"/>
                  <a:pt x="110" y="451"/>
                  <a:pt x="110" y="451"/>
                </a:cubicBezTo>
                <a:cubicBezTo>
                  <a:pt x="109" y="451"/>
                  <a:pt x="109" y="452"/>
                  <a:pt x="108" y="451"/>
                </a:cubicBezTo>
                <a:cubicBezTo>
                  <a:pt x="107" y="450"/>
                  <a:pt x="109" y="450"/>
                  <a:pt x="110" y="449"/>
                </a:cubicBezTo>
                <a:cubicBezTo>
                  <a:pt x="110" y="449"/>
                  <a:pt x="110" y="449"/>
                  <a:pt x="109" y="449"/>
                </a:cubicBezTo>
                <a:cubicBezTo>
                  <a:pt x="109" y="449"/>
                  <a:pt x="108" y="448"/>
                  <a:pt x="108" y="447"/>
                </a:cubicBezTo>
                <a:cubicBezTo>
                  <a:pt x="108" y="447"/>
                  <a:pt x="108" y="446"/>
                  <a:pt x="108" y="446"/>
                </a:cubicBezTo>
                <a:cubicBezTo>
                  <a:pt x="108" y="446"/>
                  <a:pt x="108" y="445"/>
                  <a:pt x="108" y="444"/>
                </a:cubicBezTo>
                <a:cubicBezTo>
                  <a:pt x="108" y="444"/>
                  <a:pt x="110" y="441"/>
                  <a:pt x="111" y="441"/>
                </a:cubicBezTo>
                <a:cubicBezTo>
                  <a:pt x="112" y="440"/>
                  <a:pt x="114" y="435"/>
                  <a:pt x="115" y="436"/>
                </a:cubicBezTo>
                <a:cubicBezTo>
                  <a:pt x="116" y="436"/>
                  <a:pt x="114" y="438"/>
                  <a:pt x="115" y="439"/>
                </a:cubicBezTo>
                <a:cubicBezTo>
                  <a:pt x="115" y="440"/>
                  <a:pt x="117" y="439"/>
                  <a:pt x="118" y="439"/>
                </a:cubicBezTo>
                <a:cubicBezTo>
                  <a:pt x="119" y="439"/>
                  <a:pt x="118" y="441"/>
                  <a:pt x="119" y="442"/>
                </a:cubicBezTo>
                <a:cubicBezTo>
                  <a:pt x="119" y="441"/>
                  <a:pt x="121" y="440"/>
                  <a:pt x="122" y="442"/>
                </a:cubicBezTo>
                <a:cubicBezTo>
                  <a:pt x="122" y="444"/>
                  <a:pt x="120" y="443"/>
                  <a:pt x="120" y="444"/>
                </a:cubicBezTo>
                <a:cubicBezTo>
                  <a:pt x="119" y="444"/>
                  <a:pt x="120" y="445"/>
                  <a:pt x="120" y="445"/>
                </a:cubicBezTo>
                <a:cubicBezTo>
                  <a:pt x="121" y="446"/>
                  <a:pt x="119" y="447"/>
                  <a:pt x="118" y="448"/>
                </a:cubicBezTo>
                <a:cubicBezTo>
                  <a:pt x="118" y="449"/>
                  <a:pt x="119" y="450"/>
                  <a:pt x="119" y="450"/>
                </a:cubicBezTo>
                <a:cubicBezTo>
                  <a:pt x="117" y="453"/>
                  <a:pt x="112" y="455"/>
                  <a:pt x="113" y="460"/>
                </a:cubicBezTo>
                <a:cubicBezTo>
                  <a:pt x="113" y="461"/>
                  <a:pt x="114" y="460"/>
                  <a:pt x="115" y="460"/>
                </a:cubicBezTo>
                <a:cubicBezTo>
                  <a:pt x="114" y="463"/>
                  <a:pt x="112" y="471"/>
                  <a:pt x="107" y="472"/>
                </a:cubicBezTo>
                <a:cubicBezTo>
                  <a:pt x="106" y="472"/>
                  <a:pt x="104" y="471"/>
                  <a:pt x="103" y="471"/>
                </a:cubicBezTo>
                <a:cubicBezTo>
                  <a:pt x="102" y="471"/>
                  <a:pt x="102" y="470"/>
                  <a:pt x="101" y="469"/>
                </a:cubicBezTo>
                <a:cubicBezTo>
                  <a:pt x="101" y="469"/>
                  <a:pt x="100" y="469"/>
                  <a:pt x="100" y="468"/>
                </a:cubicBezTo>
                <a:cubicBezTo>
                  <a:pt x="100" y="468"/>
                  <a:pt x="100" y="468"/>
                  <a:pt x="100" y="468"/>
                </a:cubicBezTo>
                <a:cubicBezTo>
                  <a:pt x="100" y="468"/>
                  <a:pt x="100" y="467"/>
                  <a:pt x="99" y="467"/>
                </a:cubicBezTo>
                <a:cubicBezTo>
                  <a:pt x="98" y="468"/>
                  <a:pt x="96" y="470"/>
                  <a:pt x="95" y="470"/>
                </a:cubicBezTo>
                <a:cubicBezTo>
                  <a:pt x="96" y="472"/>
                  <a:pt x="98" y="470"/>
                  <a:pt x="99" y="470"/>
                </a:cubicBezTo>
                <a:cubicBezTo>
                  <a:pt x="98" y="471"/>
                  <a:pt x="98" y="471"/>
                  <a:pt x="98" y="472"/>
                </a:cubicBezTo>
                <a:cubicBezTo>
                  <a:pt x="99" y="472"/>
                  <a:pt x="100" y="472"/>
                  <a:pt x="100" y="472"/>
                </a:cubicBezTo>
                <a:cubicBezTo>
                  <a:pt x="101" y="473"/>
                  <a:pt x="99" y="473"/>
                  <a:pt x="99" y="473"/>
                </a:cubicBezTo>
                <a:cubicBezTo>
                  <a:pt x="98" y="475"/>
                  <a:pt x="100" y="474"/>
                  <a:pt x="99" y="476"/>
                </a:cubicBezTo>
                <a:cubicBezTo>
                  <a:pt x="98" y="478"/>
                  <a:pt x="95" y="477"/>
                  <a:pt x="94" y="478"/>
                </a:cubicBezTo>
                <a:cubicBezTo>
                  <a:pt x="94" y="478"/>
                  <a:pt x="94" y="478"/>
                  <a:pt x="94" y="479"/>
                </a:cubicBezTo>
                <a:cubicBezTo>
                  <a:pt x="95" y="479"/>
                  <a:pt x="95" y="479"/>
                  <a:pt x="96" y="479"/>
                </a:cubicBezTo>
                <a:cubicBezTo>
                  <a:pt x="96" y="480"/>
                  <a:pt x="94" y="481"/>
                  <a:pt x="95" y="483"/>
                </a:cubicBezTo>
                <a:cubicBezTo>
                  <a:pt x="95" y="483"/>
                  <a:pt x="96" y="483"/>
                  <a:pt x="96" y="483"/>
                </a:cubicBezTo>
                <a:cubicBezTo>
                  <a:pt x="96" y="483"/>
                  <a:pt x="97" y="487"/>
                  <a:pt x="97" y="487"/>
                </a:cubicBezTo>
                <a:cubicBezTo>
                  <a:pt x="96" y="489"/>
                  <a:pt x="94" y="487"/>
                  <a:pt x="92" y="488"/>
                </a:cubicBezTo>
                <a:cubicBezTo>
                  <a:pt x="93" y="488"/>
                  <a:pt x="90" y="490"/>
                  <a:pt x="90" y="490"/>
                </a:cubicBezTo>
                <a:cubicBezTo>
                  <a:pt x="90" y="491"/>
                  <a:pt x="91" y="491"/>
                  <a:pt x="91" y="492"/>
                </a:cubicBezTo>
                <a:cubicBezTo>
                  <a:pt x="90" y="495"/>
                  <a:pt x="89" y="494"/>
                  <a:pt x="89" y="497"/>
                </a:cubicBezTo>
                <a:cubicBezTo>
                  <a:pt x="89" y="498"/>
                  <a:pt x="86" y="502"/>
                  <a:pt x="84" y="502"/>
                </a:cubicBezTo>
                <a:cubicBezTo>
                  <a:pt x="80" y="502"/>
                  <a:pt x="82" y="494"/>
                  <a:pt x="76" y="496"/>
                </a:cubicBezTo>
                <a:cubicBezTo>
                  <a:pt x="75" y="491"/>
                  <a:pt x="70" y="501"/>
                  <a:pt x="69" y="501"/>
                </a:cubicBezTo>
                <a:cubicBezTo>
                  <a:pt x="69" y="501"/>
                  <a:pt x="69" y="501"/>
                  <a:pt x="69" y="501"/>
                </a:cubicBezTo>
                <a:cubicBezTo>
                  <a:pt x="69" y="501"/>
                  <a:pt x="69" y="502"/>
                  <a:pt x="68" y="501"/>
                </a:cubicBezTo>
                <a:cubicBezTo>
                  <a:pt x="68" y="501"/>
                  <a:pt x="68" y="501"/>
                  <a:pt x="68" y="501"/>
                </a:cubicBezTo>
                <a:cubicBezTo>
                  <a:pt x="68" y="500"/>
                  <a:pt x="69" y="500"/>
                  <a:pt x="69" y="501"/>
                </a:cubicBezTo>
                <a:cubicBezTo>
                  <a:pt x="69" y="499"/>
                  <a:pt x="73" y="494"/>
                  <a:pt x="68" y="496"/>
                </a:cubicBezTo>
                <a:cubicBezTo>
                  <a:pt x="67" y="497"/>
                  <a:pt x="69" y="499"/>
                  <a:pt x="68" y="500"/>
                </a:cubicBezTo>
                <a:cubicBezTo>
                  <a:pt x="67" y="501"/>
                  <a:pt x="64" y="500"/>
                  <a:pt x="62" y="500"/>
                </a:cubicBezTo>
                <a:cubicBezTo>
                  <a:pt x="62" y="500"/>
                  <a:pt x="61" y="504"/>
                  <a:pt x="61" y="505"/>
                </a:cubicBezTo>
                <a:cubicBezTo>
                  <a:pt x="62" y="506"/>
                  <a:pt x="63" y="506"/>
                  <a:pt x="62" y="508"/>
                </a:cubicBezTo>
                <a:cubicBezTo>
                  <a:pt x="62" y="508"/>
                  <a:pt x="62" y="507"/>
                  <a:pt x="63" y="507"/>
                </a:cubicBezTo>
                <a:cubicBezTo>
                  <a:pt x="62" y="508"/>
                  <a:pt x="62" y="509"/>
                  <a:pt x="65" y="508"/>
                </a:cubicBezTo>
                <a:cubicBezTo>
                  <a:pt x="63" y="511"/>
                  <a:pt x="60" y="511"/>
                  <a:pt x="61" y="514"/>
                </a:cubicBezTo>
                <a:cubicBezTo>
                  <a:pt x="61" y="514"/>
                  <a:pt x="67" y="516"/>
                  <a:pt x="66" y="517"/>
                </a:cubicBezTo>
                <a:cubicBezTo>
                  <a:pt x="70" y="515"/>
                  <a:pt x="64" y="513"/>
                  <a:pt x="65" y="510"/>
                </a:cubicBezTo>
                <a:cubicBezTo>
                  <a:pt x="66" y="507"/>
                  <a:pt x="68" y="514"/>
                  <a:pt x="69" y="514"/>
                </a:cubicBezTo>
                <a:cubicBezTo>
                  <a:pt x="70" y="515"/>
                  <a:pt x="69" y="514"/>
                  <a:pt x="70" y="514"/>
                </a:cubicBezTo>
                <a:cubicBezTo>
                  <a:pt x="72" y="513"/>
                  <a:pt x="73" y="516"/>
                  <a:pt x="74" y="514"/>
                </a:cubicBezTo>
                <a:cubicBezTo>
                  <a:pt x="74" y="514"/>
                  <a:pt x="71" y="514"/>
                  <a:pt x="72" y="512"/>
                </a:cubicBezTo>
                <a:cubicBezTo>
                  <a:pt x="73" y="511"/>
                  <a:pt x="75" y="513"/>
                  <a:pt x="75" y="513"/>
                </a:cubicBezTo>
                <a:cubicBezTo>
                  <a:pt x="76" y="513"/>
                  <a:pt x="77" y="513"/>
                  <a:pt x="78" y="514"/>
                </a:cubicBezTo>
                <a:cubicBezTo>
                  <a:pt x="78" y="513"/>
                  <a:pt x="78" y="513"/>
                  <a:pt x="78" y="513"/>
                </a:cubicBezTo>
                <a:cubicBezTo>
                  <a:pt x="78" y="513"/>
                  <a:pt x="78" y="514"/>
                  <a:pt x="78" y="515"/>
                </a:cubicBezTo>
                <a:cubicBezTo>
                  <a:pt x="78" y="517"/>
                  <a:pt x="78" y="519"/>
                  <a:pt x="78" y="520"/>
                </a:cubicBezTo>
                <a:cubicBezTo>
                  <a:pt x="78" y="520"/>
                  <a:pt x="78" y="520"/>
                  <a:pt x="78" y="520"/>
                </a:cubicBezTo>
                <a:cubicBezTo>
                  <a:pt x="79" y="520"/>
                  <a:pt x="78" y="519"/>
                  <a:pt x="79" y="519"/>
                </a:cubicBezTo>
                <a:cubicBezTo>
                  <a:pt x="80" y="520"/>
                  <a:pt x="80" y="520"/>
                  <a:pt x="81" y="520"/>
                </a:cubicBezTo>
                <a:cubicBezTo>
                  <a:pt x="81" y="518"/>
                  <a:pt x="82" y="515"/>
                  <a:pt x="82" y="515"/>
                </a:cubicBezTo>
                <a:cubicBezTo>
                  <a:pt x="84" y="514"/>
                  <a:pt x="85" y="516"/>
                  <a:pt x="86" y="514"/>
                </a:cubicBezTo>
                <a:cubicBezTo>
                  <a:pt x="86" y="513"/>
                  <a:pt x="84" y="512"/>
                  <a:pt x="84" y="511"/>
                </a:cubicBezTo>
                <a:cubicBezTo>
                  <a:pt x="84" y="511"/>
                  <a:pt x="83" y="509"/>
                  <a:pt x="84" y="509"/>
                </a:cubicBezTo>
                <a:cubicBezTo>
                  <a:pt x="82" y="509"/>
                  <a:pt x="80" y="511"/>
                  <a:pt x="80" y="510"/>
                </a:cubicBezTo>
                <a:cubicBezTo>
                  <a:pt x="79" y="510"/>
                  <a:pt x="80" y="508"/>
                  <a:pt x="81" y="507"/>
                </a:cubicBezTo>
                <a:cubicBezTo>
                  <a:pt x="82" y="510"/>
                  <a:pt x="84" y="506"/>
                  <a:pt x="85" y="505"/>
                </a:cubicBezTo>
                <a:cubicBezTo>
                  <a:pt x="86" y="504"/>
                  <a:pt x="89" y="504"/>
                  <a:pt x="89" y="504"/>
                </a:cubicBezTo>
                <a:cubicBezTo>
                  <a:pt x="90" y="503"/>
                  <a:pt x="88" y="501"/>
                  <a:pt x="90" y="501"/>
                </a:cubicBezTo>
                <a:cubicBezTo>
                  <a:pt x="91" y="501"/>
                  <a:pt x="90" y="502"/>
                  <a:pt x="90" y="502"/>
                </a:cubicBezTo>
                <a:cubicBezTo>
                  <a:pt x="91" y="503"/>
                  <a:pt x="93" y="501"/>
                  <a:pt x="94" y="502"/>
                </a:cubicBezTo>
                <a:cubicBezTo>
                  <a:pt x="95" y="502"/>
                  <a:pt x="94" y="504"/>
                  <a:pt x="94" y="505"/>
                </a:cubicBezTo>
                <a:cubicBezTo>
                  <a:pt x="94" y="506"/>
                  <a:pt x="94" y="507"/>
                  <a:pt x="94" y="508"/>
                </a:cubicBezTo>
                <a:cubicBezTo>
                  <a:pt x="97" y="507"/>
                  <a:pt x="101" y="507"/>
                  <a:pt x="102" y="508"/>
                </a:cubicBezTo>
                <a:cubicBezTo>
                  <a:pt x="103" y="509"/>
                  <a:pt x="101" y="511"/>
                  <a:pt x="104" y="510"/>
                </a:cubicBezTo>
                <a:cubicBezTo>
                  <a:pt x="102" y="512"/>
                  <a:pt x="106" y="513"/>
                  <a:pt x="106" y="514"/>
                </a:cubicBezTo>
                <a:cubicBezTo>
                  <a:pt x="106" y="515"/>
                  <a:pt x="104" y="516"/>
                  <a:pt x="104" y="516"/>
                </a:cubicBezTo>
                <a:cubicBezTo>
                  <a:pt x="104" y="516"/>
                  <a:pt x="105" y="517"/>
                  <a:pt x="104" y="518"/>
                </a:cubicBezTo>
                <a:cubicBezTo>
                  <a:pt x="104" y="518"/>
                  <a:pt x="104" y="518"/>
                  <a:pt x="104" y="518"/>
                </a:cubicBezTo>
                <a:cubicBezTo>
                  <a:pt x="105" y="519"/>
                  <a:pt x="106" y="520"/>
                  <a:pt x="106" y="522"/>
                </a:cubicBezTo>
                <a:cubicBezTo>
                  <a:pt x="106" y="522"/>
                  <a:pt x="107" y="522"/>
                  <a:pt x="107" y="522"/>
                </a:cubicBezTo>
                <a:cubicBezTo>
                  <a:pt x="107" y="521"/>
                  <a:pt x="106" y="521"/>
                  <a:pt x="106" y="520"/>
                </a:cubicBezTo>
                <a:cubicBezTo>
                  <a:pt x="106" y="519"/>
                  <a:pt x="107" y="518"/>
                  <a:pt x="108" y="518"/>
                </a:cubicBezTo>
                <a:cubicBezTo>
                  <a:pt x="108" y="517"/>
                  <a:pt x="108" y="517"/>
                  <a:pt x="109" y="516"/>
                </a:cubicBezTo>
                <a:cubicBezTo>
                  <a:pt x="109" y="516"/>
                  <a:pt x="108" y="516"/>
                  <a:pt x="108" y="516"/>
                </a:cubicBezTo>
                <a:cubicBezTo>
                  <a:pt x="108" y="515"/>
                  <a:pt x="109" y="515"/>
                  <a:pt x="109" y="515"/>
                </a:cubicBezTo>
                <a:cubicBezTo>
                  <a:pt x="111" y="514"/>
                  <a:pt x="112" y="513"/>
                  <a:pt x="113" y="512"/>
                </a:cubicBezTo>
                <a:cubicBezTo>
                  <a:pt x="112" y="514"/>
                  <a:pt x="115" y="514"/>
                  <a:pt x="115" y="514"/>
                </a:cubicBezTo>
                <a:cubicBezTo>
                  <a:pt x="115" y="514"/>
                  <a:pt x="116" y="514"/>
                  <a:pt x="116" y="514"/>
                </a:cubicBezTo>
                <a:cubicBezTo>
                  <a:pt x="116" y="514"/>
                  <a:pt x="116" y="514"/>
                  <a:pt x="116" y="514"/>
                </a:cubicBezTo>
                <a:cubicBezTo>
                  <a:pt x="115" y="514"/>
                  <a:pt x="115" y="513"/>
                  <a:pt x="115" y="513"/>
                </a:cubicBezTo>
                <a:cubicBezTo>
                  <a:pt x="114" y="512"/>
                  <a:pt x="115" y="508"/>
                  <a:pt x="115" y="507"/>
                </a:cubicBezTo>
                <a:cubicBezTo>
                  <a:pt x="116" y="507"/>
                  <a:pt x="116" y="508"/>
                  <a:pt x="117" y="508"/>
                </a:cubicBezTo>
                <a:cubicBezTo>
                  <a:pt x="118" y="507"/>
                  <a:pt x="120" y="504"/>
                  <a:pt x="123" y="505"/>
                </a:cubicBezTo>
                <a:cubicBezTo>
                  <a:pt x="122" y="507"/>
                  <a:pt x="120" y="506"/>
                  <a:pt x="120" y="507"/>
                </a:cubicBezTo>
                <a:cubicBezTo>
                  <a:pt x="119" y="508"/>
                  <a:pt x="121" y="508"/>
                  <a:pt x="121" y="508"/>
                </a:cubicBezTo>
                <a:cubicBezTo>
                  <a:pt x="122" y="510"/>
                  <a:pt x="120" y="514"/>
                  <a:pt x="117" y="514"/>
                </a:cubicBezTo>
                <a:cubicBezTo>
                  <a:pt x="117" y="515"/>
                  <a:pt x="117" y="516"/>
                  <a:pt x="116" y="517"/>
                </a:cubicBezTo>
                <a:cubicBezTo>
                  <a:pt x="117" y="517"/>
                  <a:pt x="117" y="517"/>
                  <a:pt x="117" y="517"/>
                </a:cubicBezTo>
                <a:cubicBezTo>
                  <a:pt x="118" y="515"/>
                  <a:pt x="121" y="515"/>
                  <a:pt x="122" y="513"/>
                </a:cubicBezTo>
                <a:cubicBezTo>
                  <a:pt x="122" y="512"/>
                  <a:pt x="122" y="511"/>
                  <a:pt x="122" y="510"/>
                </a:cubicBezTo>
                <a:cubicBezTo>
                  <a:pt x="122" y="510"/>
                  <a:pt x="123" y="509"/>
                  <a:pt x="123" y="508"/>
                </a:cubicBezTo>
                <a:cubicBezTo>
                  <a:pt x="123" y="507"/>
                  <a:pt x="122" y="508"/>
                  <a:pt x="122" y="507"/>
                </a:cubicBezTo>
                <a:cubicBezTo>
                  <a:pt x="123" y="506"/>
                  <a:pt x="124" y="505"/>
                  <a:pt x="124" y="506"/>
                </a:cubicBezTo>
                <a:cubicBezTo>
                  <a:pt x="125" y="506"/>
                  <a:pt x="124" y="508"/>
                  <a:pt x="125" y="510"/>
                </a:cubicBezTo>
                <a:cubicBezTo>
                  <a:pt x="125" y="510"/>
                  <a:pt x="127" y="510"/>
                  <a:pt x="128" y="510"/>
                </a:cubicBezTo>
                <a:cubicBezTo>
                  <a:pt x="129" y="511"/>
                  <a:pt x="129" y="513"/>
                  <a:pt x="132" y="511"/>
                </a:cubicBezTo>
                <a:cubicBezTo>
                  <a:pt x="129" y="514"/>
                  <a:pt x="133" y="512"/>
                  <a:pt x="134" y="513"/>
                </a:cubicBezTo>
                <a:cubicBezTo>
                  <a:pt x="133" y="513"/>
                  <a:pt x="134" y="519"/>
                  <a:pt x="134" y="520"/>
                </a:cubicBezTo>
                <a:cubicBezTo>
                  <a:pt x="134" y="521"/>
                  <a:pt x="132" y="523"/>
                  <a:pt x="132" y="525"/>
                </a:cubicBezTo>
                <a:cubicBezTo>
                  <a:pt x="132" y="525"/>
                  <a:pt x="133" y="524"/>
                  <a:pt x="133" y="524"/>
                </a:cubicBezTo>
                <a:cubicBezTo>
                  <a:pt x="133" y="525"/>
                  <a:pt x="133" y="525"/>
                  <a:pt x="132" y="526"/>
                </a:cubicBezTo>
                <a:cubicBezTo>
                  <a:pt x="132" y="526"/>
                  <a:pt x="132" y="526"/>
                  <a:pt x="132" y="527"/>
                </a:cubicBezTo>
                <a:cubicBezTo>
                  <a:pt x="133" y="526"/>
                  <a:pt x="133" y="526"/>
                  <a:pt x="133" y="526"/>
                </a:cubicBezTo>
                <a:cubicBezTo>
                  <a:pt x="133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4" y="525"/>
                  <a:pt x="134" y="525"/>
                  <a:pt x="134" y="525"/>
                </a:cubicBezTo>
                <a:cubicBezTo>
                  <a:pt x="136" y="524"/>
                  <a:pt x="142" y="524"/>
                  <a:pt x="145" y="524"/>
                </a:cubicBezTo>
                <a:cubicBezTo>
                  <a:pt x="145" y="523"/>
                  <a:pt x="146" y="522"/>
                  <a:pt x="146" y="522"/>
                </a:cubicBezTo>
                <a:cubicBezTo>
                  <a:pt x="147" y="522"/>
                  <a:pt x="147" y="523"/>
                  <a:pt x="147" y="524"/>
                </a:cubicBezTo>
                <a:cubicBezTo>
                  <a:pt x="147" y="524"/>
                  <a:pt x="148" y="524"/>
                  <a:pt x="148" y="525"/>
                </a:cubicBezTo>
                <a:cubicBezTo>
                  <a:pt x="148" y="526"/>
                  <a:pt x="147" y="526"/>
                  <a:pt x="145" y="527"/>
                </a:cubicBezTo>
                <a:cubicBezTo>
                  <a:pt x="146" y="527"/>
                  <a:pt x="146" y="527"/>
                  <a:pt x="146" y="527"/>
                </a:cubicBezTo>
                <a:cubicBezTo>
                  <a:pt x="146" y="529"/>
                  <a:pt x="146" y="530"/>
                  <a:pt x="145" y="530"/>
                </a:cubicBezTo>
                <a:cubicBezTo>
                  <a:pt x="145" y="531"/>
                  <a:pt x="145" y="532"/>
                  <a:pt x="144" y="533"/>
                </a:cubicBezTo>
                <a:cubicBezTo>
                  <a:pt x="144" y="533"/>
                  <a:pt x="143" y="533"/>
                  <a:pt x="142" y="533"/>
                </a:cubicBezTo>
                <a:cubicBezTo>
                  <a:pt x="142" y="534"/>
                  <a:pt x="143" y="534"/>
                  <a:pt x="144" y="533"/>
                </a:cubicBezTo>
                <a:cubicBezTo>
                  <a:pt x="145" y="533"/>
                  <a:pt x="147" y="530"/>
                  <a:pt x="147" y="530"/>
                </a:cubicBezTo>
                <a:cubicBezTo>
                  <a:pt x="148" y="530"/>
                  <a:pt x="148" y="529"/>
                  <a:pt x="147" y="529"/>
                </a:cubicBezTo>
                <a:cubicBezTo>
                  <a:pt x="151" y="528"/>
                  <a:pt x="150" y="537"/>
                  <a:pt x="148" y="535"/>
                </a:cubicBezTo>
                <a:cubicBezTo>
                  <a:pt x="148" y="535"/>
                  <a:pt x="147" y="533"/>
                  <a:pt x="147" y="533"/>
                </a:cubicBezTo>
                <a:cubicBezTo>
                  <a:pt x="146" y="533"/>
                  <a:pt x="143" y="537"/>
                  <a:pt x="141" y="538"/>
                </a:cubicBezTo>
                <a:cubicBezTo>
                  <a:pt x="140" y="538"/>
                  <a:pt x="140" y="538"/>
                  <a:pt x="139" y="539"/>
                </a:cubicBezTo>
                <a:cubicBezTo>
                  <a:pt x="140" y="540"/>
                  <a:pt x="141" y="541"/>
                  <a:pt x="140" y="542"/>
                </a:cubicBezTo>
                <a:cubicBezTo>
                  <a:pt x="140" y="542"/>
                  <a:pt x="139" y="543"/>
                  <a:pt x="139" y="543"/>
                </a:cubicBezTo>
                <a:cubicBezTo>
                  <a:pt x="139" y="543"/>
                  <a:pt x="138" y="546"/>
                  <a:pt x="138" y="547"/>
                </a:cubicBezTo>
                <a:cubicBezTo>
                  <a:pt x="138" y="547"/>
                  <a:pt x="140" y="546"/>
                  <a:pt x="139" y="546"/>
                </a:cubicBezTo>
                <a:cubicBezTo>
                  <a:pt x="139" y="546"/>
                  <a:pt x="141" y="548"/>
                  <a:pt x="140" y="549"/>
                </a:cubicBezTo>
                <a:cubicBezTo>
                  <a:pt x="140" y="549"/>
                  <a:pt x="140" y="549"/>
                  <a:pt x="139" y="549"/>
                </a:cubicBezTo>
                <a:cubicBezTo>
                  <a:pt x="140" y="549"/>
                  <a:pt x="140" y="550"/>
                  <a:pt x="141" y="550"/>
                </a:cubicBezTo>
                <a:cubicBezTo>
                  <a:pt x="141" y="549"/>
                  <a:pt x="141" y="548"/>
                  <a:pt x="142" y="548"/>
                </a:cubicBezTo>
                <a:cubicBezTo>
                  <a:pt x="141" y="548"/>
                  <a:pt x="141" y="548"/>
                  <a:pt x="140" y="548"/>
                </a:cubicBezTo>
                <a:cubicBezTo>
                  <a:pt x="140" y="547"/>
                  <a:pt x="140" y="547"/>
                  <a:pt x="141" y="547"/>
                </a:cubicBezTo>
                <a:cubicBezTo>
                  <a:pt x="141" y="546"/>
                  <a:pt x="142" y="544"/>
                  <a:pt x="142" y="546"/>
                </a:cubicBezTo>
                <a:cubicBezTo>
                  <a:pt x="143" y="546"/>
                  <a:pt x="142" y="546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2" y="547"/>
                  <a:pt x="142" y="547"/>
                  <a:pt x="142" y="547"/>
                </a:cubicBezTo>
                <a:cubicBezTo>
                  <a:pt x="143" y="546"/>
                  <a:pt x="144" y="546"/>
                  <a:pt x="145" y="548"/>
                </a:cubicBezTo>
                <a:cubicBezTo>
                  <a:pt x="146" y="549"/>
                  <a:pt x="145" y="550"/>
                  <a:pt x="145" y="551"/>
                </a:cubicBezTo>
                <a:cubicBezTo>
                  <a:pt x="145" y="551"/>
                  <a:pt x="145" y="551"/>
                  <a:pt x="145" y="551"/>
                </a:cubicBezTo>
                <a:cubicBezTo>
                  <a:pt x="147" y="551"/>
                  <a:pt x="145" y="551"/>
                  <a:pt x="146" y="552"/>
                </a:cubicBezTo>
                <a:cubicBezTo>
                  <a:pt x="146" y="552"/>
                  <a:pt x="146" y="552"/>
                  <a:pt x="147" y="552"/>
                </a:cubicBezTo>
                <a:cubicBezTo>
                  <a:pt x="147" y="552"/>
                  <a:pt x="147" y="552"/>
                  <a:pt x="147" y="552"/>
                </a:cubicBezTo>
                <a:cubicBezTo>
                  <a:pt x="147" y="551"/>
                  <a:pt x="148" y="551"/>
                  <a:pt x="148" y="551"/>
                </a:cubicBezTo>
                <a:cubicBezTo>
                  <a:pt x="151" y="552"/>
                  <a:pt x="148" y="556"/>
                  <a:pt x="149" y="558"/>
                </a:cubicBezTo>
                <a:cubicBezTo>
                  <a:pt x="150" y="558"/>
                  <a:pt x="152" y="558"/>
                  <a:pt x="152" y="557"/>
                </a:cubicBezTo>
                <a:cubicBezTo>
                  <a:pt x="153" y="557"/>
                  <a:pt x="153" y="556"/>
                  <a:pt x="154" y="555"/>
                </a:cubicBezTo>
                <a:cubicBezTo>
                  <a:pt x="152" y="554"/>
                  <a:pt x="152" y="553"/>
                  <a:pt x="152" y="551"/>
                </a:cubicBezTo>
                <a:cubicBezTo>
                  <a:pt x="154" y="547"/>
                  <a:pt x="159" y="548"/>
                  <a:pt x="160" y="551"/>
                </a:cubicBezTo>
                <a:cubicBezTo>
                  <a:pt x="161" y="551"/>
                  <a:pt x="161" y="551"/>
                  <a:pt x="162" y="550"/>
                </a:cubicBezTo>
                <a:cubicBezTo>
                  <a:pt x="161" y="550"/>
                  <a:pt x="161" y="551"/>
                  <a:pt x="161" y="551"/>
                </a:cubicBezTo>
                <a:cubicBezTo>
                  <a:pt x="163" y="550"/>
                  <a:pt x="165" y="549"/>
                  <a:pt x="167" y="550"/>
                </a:cubicBezTo>
                <a:cubicBezTo>
                  <a:pt x="169" y="549"/>
                  <a:pt x="170" y="549"/>
                  <a:pt x="170" y="549"/>
                </a:cubicBezTo>
                <a:cubicBezTo>
                  <a:pt x="171" y="550"/>
                  <a:pt x="170" y="550"/>
                  <a:pt x="168" y="551"/>
                </a:cubicBezTo>
                <a:cubicBezTo>
                  <a:pt x="168" y="551"/>
                  <a:pt x="169" y="551"/>
                  <a:pt x="169" y="551"/>
                </a:cubicBezTo>
                <a:cubicBezTo>
                  <a:pt x="169" y="552"/>
                  <a:pt x="169" y="553"/>
                  <a:pt x="169" y="554"/>
                </a:cubicBezTo>
                <a:cubicBezTo>
                  <a:pt x="171" y="554"/>
                  <a:pt x="172" y="555"/>
                  <a:pt x="171" y="557"/>
                </a:cubicBezTo>
                <a:cubicBezTo>
                  <a:pt x="170" y="559"/>
                  <a:pt x="171" y="560"/>
                  <a:pt x="171" y="561"/>
                </a:cubicBezTo>
                <a:cubicBezTo>
                  <a:pt x="171" y="561"/>
                  <a:pt x="170" y="562"/>
                  <a:pt x="170" y="563"/>
                </a:cubicBezTo>
                <a:cubicBezTo>
                  <a:pt x="172" y="561"/>
                  <a:pt x="173" y="559"/>
                  <a:pt x="175" y="558"/>
                </a:cubicBezTo>
                <a:cubicBezTo>
                  <a:pt x="173" y="556"/>
                  <a:pt x="171" y="554"/>
                  <a:pt x="175" y="552"/>
                </a:cubicBezTo>
                <a:cubicBezTo>
                  <a:pt x="175" y="551"/>
                  <a:pt x="176" y="551"/>
                  <a:pt x="177" y="551"/>
                </a:cubicBezTo>
                <a:cubicBezTo>
                  <a:pt x="175" y="551"/>
                  <a:pt x="176" y="547"/>
                  <a:pt x="178" y="548"/>
                </a:cubicBezTo>
                <a:cubicBezTo>
                  <a:pt x="179" y="549"/>
                  <a:pt x="178" y="550"/>
                  <a:pt x="178" y="550"/>
                </a:cubicBezTo>
                <a:cubicBezTo>
                  <a:pt x="177" y="551"/>
                  <a:pt x="177" y="551"/>
                  <a:pt x="177" y="551"/>
                </a:cubicBezTo>
                <a:cubicBezTo>
                  <a:pt x="179" y="551"/>
                  <a:pt x="181" y="550"/>
                  <a:pt x="182" y="550"/>
                </a:cubicBezTo>
                <a:cubicBezTo>
                  <a:pt x="184" y="548"/>
                  <a:pt x="183" y="547"/>
                  <a:pt x="185" y="549"/>
                </a:cubicBezTo>
                <a:cubicBezTo>
                  <a:pt x="186" y="549"/>
                  <a:pt x="186" y="550"/>
                  <a:pt x="188" y="549"/>
                </a:cubicBezTo>
                <a:cubicBezTo>
                  <a:pt x="188" y="549"/>
                  <a:pt x="191" y="545"/>
                  <a:pt x="191" y="548"/>
                </a:cubicBezTo>
                <a:cubicBezTo>
                  <a:pt x="191" y="549"/>
                  <a:pt x="189" y="549"/>
                  <a:pt x="189" y="549"/>
                </a:cubicBezTo>
                <a:cubicBezTo>
                  <a:pt x="190" y="550"/>
                  <a:pt x="194" y="550"/>
                  <a:pt x="194" y="550"/>
                </a:cubicBezTo>
                <a:cubicBezTo>
                  <a:pt x="194" y="551"/>
                  <a:pt x="190" y="553"/>
                  <a:pt x="192" y="555"/>
                </a:cubicBezTo>
                <a:cubicBezTo>
                  <a:pt x="193" y="555"/>
                  <a:pt x="194" y="555"/>
                  <a:pt x="194" y="555"/>
                </a:cubicBezTo>
                <a:cubicBezTo>
                  <a:pt x="194" y="555"/>
                  <a:pt x="193" y="556"/>
                  <a:pt x="193" y="556"/>
                </a:cubicBezTo>
                <a:cubicBezTo>
                  <a:pt x="192" y="558"/>
                  <a:pt x="192" y="558"/>
                  <a:pt x="193" y="558"/>
                </a:cubicBezTo>
                <a:cubicBezTo>
                  <a:pt x="194" y="558"/>
                  <a:pt x="195" y="558"/>
                  <a:pt x="196" y="559"/>
                </a:cubicBezTo>
                <a:cubicBezTo>
                  <a:pt x="196" y="560"/>
                  <a:pt x="195" y="560"/>
                  <a:pt x="194" y="560"/>
                </a:cubicBezTo>
                <a:cubicBezTo>
                  <a:pt x="194" y="561"/>
                  <a:pt x="194" y="561"/>
                  <a:pt x="194" y="561"/>
                </a:cubicBezTo>
                <a:cubicBezTo>
                  <a:pt x="194" y="562"/>
                  <a:pt x="196" y="561"/>
                  <a:pt x="196" y="562"/>
                </a:cubicBezTo>
                <a:cubicBezTo>
                  <a:pt x="197" y="563"/>
                  <a:pt x="195" y="565"/>
                  <a:pt x="195" y="566"/>
                </a:cubicBezTo>
                <a:cubicBezTo>
                  <a:pt x="197" y="568"/>
                  <a:pt x="199" y="565"/>
                  <a:pt x="201" y="566"/>
                </a:cubicBezTo>
                <a:cubicBezTo>
                  <a:pt x="201" y="566"/>
                  <a:pt x="203" y="568"/>
                  <a:pt x="205" y="566"/>
                </a:cubicBezTo>
                <a:cubicBezTo>
                  <a:pt x="206" y="565"/>
                  <a:pt x="204" y="563"/>
                  <a:pt x="208" y="562"/>
                </a:cubicBezTo>
                <a:cubicBezTo>
                  <a:pt x="209" y="561"/>
                  <a:pt x="214" y="560"/>
                  <a:pt x="214" y="562"/>
                </a:cubicBezTo>
                <a:cubicBezTo>
                  <a:pt x="214" y="563"/>
                  <a:pt x="213" y="562"/>
                  <a:pt x="212" y="563"/>
                </a:cubicBezTo>
                <a:cubicBezTo>
                  <a:pt x="211" y="563"/>
                  <a:pt x="213" y="566"/>
                  <a:pt x="213" y="566"/>
                </a:cubicBezTo>
                <a:cubicBezTo>
                  <a:pt x="212" y="567"/>
                  <a:pt x="210" y="567"/>
                  <a:pt x="210" y="568"/>
                </a:cubicBezTo>
                <a:cubicBezTo>
                  <a:pt x="210" y="568"/>
                  <a:pt x="210" y="568"/>
                  <a:pt x="210" y="568"/>
                </a:cubicBezTo>
                <a:cubicBezTo>
                  <a:pt x="210" y="569"/>
                  <a:pt x="210" y="569"/>
                  <a:pt x="210" y="569"/>
                </a:cubicBezTo>
                <a:cubicBezTo>
                  <a:pt x="210" y="570"/>
                  <a:pt x="211" y="572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09" y="573"/>
                  <a:pt x="209" y="573"/>
                  <a:pt x="209" y="573"/>
                </a:cubicBezTo>
                <a:cubicBezTo>
                  <a:pt x="210" y="574"/>
                  <a:pt x="210" y="575"/>
                  <a:pt x="208" y="576"/>
                </a:cubicBezTo>
                <a:cubicBezTo>
                  <a:pt x="208" y="576"/>
                  <a:pt x="208" y="576"/>
                  <a:pt x="208" y="576"/>
                </a:cubicBezTo>
                <a:cubicBezTo>
                  <a:pt x="208" y="576"/>
                  <a:pt x="209" y="576"/>
                  <a:pt x="209" y="576"/>
                </a:cubicBezTo>
                <a:cubicBezTo>
                  <a:pt x="210" y="576"/>
                  <a:pt x="210" y="576"/>
                  <a:pt x="211" y="577"/>
                </a:cubicBezTo>
                <a:cubicBezTo>
                  <a:pt x="211" y="577"/>
                  <a:pt x="212" y="577"/>
                  <a:pt x="212" y="577"/>
                </a:cubicBezTo>
                <a:cubicBezTo>
                  <a:pt x="212" y="578"/>
                  <a:pt x="211" y="578"/>
                  <a:pt x="211" y="579"/>
                </a:cubicBezTo>
                <a:cubicBezTo>
                  <a:pt x="211" y="579"/>
                  <a:pt x="211" y="580"/>
                  <a:pt x="211" y="580"/>
                </a:cubicBezTo>
                <a:cubicBezTo>
                  <a:pt x="210" y="581"/>
                  <a:pt x="207" y="580"/>
                  <a:pt x="205" y="581"/>
                </a:cubicBezTo>
                <a:cubicBezTo>
                  <a:pt x="206" y="580"/>
                  <a:pt x="206" y="578"/>
                  <a:pt x="204" y="580"/>
                </a:cubicBezTo>
                <a:cubicBezTo>
                  <a:pt x="202" y="581"/>
                  <a:pt x="204" y="581"/>
                  <a:pt x="204" y="582"/>
                </a:cubicBezTo>
                <a:cubicBezTo>
                  <a:pt x="204" y="582"/>
                  <a:pt x="203" y="582"/>
                  <a:pt x="204" y="583"/>
                </a:cubicBezTo>
                <a:cubicBezTo>
                  <a:pt x="204" y="583"/>
                  <a:pt x="204" y="583"/>
                  <a:pt x="204" y="583"/>
                </a:cubicBezTo>
                <a:cubicBezTo>
                  <a:pt x="206" y="582"/>
                  <a:pt x="208" y="582"/>
                  <a:pt x="210" y="583"/>
                </a:cubicBezTo>
                <a:cubicBezTo>
                  <a:pt x="209" y="583"/>
                  <a:pt x="209" y="582"/>
                  <a:pt x="209" y="582"/>
                </a:cubicBezTo>
                <a:cubicBezTo>
                  <a:pt x="209" y="582"/>
                  <a:pt x="209" y="582"/>
                  <a:pt x="209" y="582"/>
                </a:cubicBezTo>
                <a:cubicBezTo>
                  <a:pt x="210" y="581"/>
                  <a:pt x="210" y="582"/>
                  <a:pt x="210" y="583"/>
                </a:cubicBezTo>
                <a:cubicBezTo>
                  <a:pt x="210" y="583"/>
                  <a:pt x="211" y="584"/>
                  <a:pt x="210" y="585"/>
                </a:cubicBezTo>
                <a:cubicBezTo>
                  <a:pt x="210" y="586"/>
                  <a:pt x="208" y="588"/>
                  <a:pt x="205" y="588"/>
                </a:cubicBezTo>
                <a:cubicBezTo>
                  <a:pt x="206" y="588"/>
                  <a:pt x="206" y="590"/>
                  <a:pt x="206" y="591"/>
                </a:cubicBezTo>
                <a:cubicBezTo>
                  <a:pt x="205" y="592"/>
                  <a:pt x="201" y="592"/>
                  <a:pt x="202" y="593"/>
                </a:cubicBezTo>
                <a:cubicBezTo>
                  <a:pt x="201" y="593"/>
                  <a:pt x="199" y="594"/>
                  <a:pt x="198" y="593"/>
                </a:cubicBezTo>
                <a:cubicBezTo>
                  <a:pt x="195" y="591"/>
                  <a:pt x="196" y="591"/>
                  <a:pt x="192" y="592"/>
                </a:cubicBezTo>
                <a:cubicBezTo>
                  <a:pt x="192" y="592"/>
                  <a:pt x="191" y="592"/>
                  <a:pt x="190" y="592"/>
                </a:cubicBezTo>
                <a:cubicBezTo>
                  <a:pt x="188" y="592"/>
                  <a:pt x="189" y="593"/>
                  <a:pt x="189" y="595"/>
                </a:cubicBezTo>
                <a:cubicBezTo>
                  <a:pt x="187" y="593"/>
                  <a:pt x="188" y="595"/>
                  <a:pt x="189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0" y="596"/>
                  <a:pt x="190" y="596"/>
                </a:cubicBezTo>
                <a:cubicBezTo>
                  <a:pt x="190" y="596"/>
                  <a:pt x="191" y="597"/>
                  <a:pt x="191" y="596"/>
                </a:cubicBezTo>
                <a:cubicBezTo>
                  <a:pt x="190" y="597"/>
                  <a:pt x="192" y="594"/>
                  <a:pt x="193" y="596"/>
                </a:cubicBezTo>
                <a:cubicBezTo>
                  <a:pt x="193" y="596"/>
                  <a:pt x="190" y="600"/>
                  <a:pt x="193" y="600"/>
                </a:cubicBezTo>
                <a:cubicBezTo>
                  <a:pt x="187" y="601"/>
                  <a:pt x="195" y="604"/>
                  <a:pt x="197" y="605"/>
                </a:cubicBezTo>
                <a:cubicBezTo>
                  <a:pt x="198" y="606"/>
                  <a:pt x="198" y="608"/>
                  <a:pt x="198" y="609"/>
                </a:cubicBezTo>
                <a:cubicBezTo>
                  <a:pt x="199" y="610"/>
                  <a:pt x="200" y="610"/>
                  <a:pt x="199" y="611"/>
                </a:cubicBezTo>
                <a:cubicBezTo>
                  <a:pt x="199" y="611"/>
                  <a:pt x="199" y="611"/>
                  <a:pt x="199" y="611"/>
                </a:cubicBezTo>
                <a:cubicBezTo>
                  <a:pt x="200" y="612"/>
                  <a:pt x="200" y="613"/>
                  <a:pt x="201" y="613"/>
                </a:cubicBezTo>
                <a:cubicBezTo>
                  <a:pt x="201" y="613"/>
                  <a:pt x="201" y="613"/>
                  <a:pt x="202" y="613"/>
                </a:cubicBezTo>
                <a:cubicBezTo>
                  <a:pt x="202" y="613"/>
                  <a:pt x="202" y="613"/>
                  <a:pt x="202" y="612"/>
                </a:cubicBezTo>
                <a:cubicBezTo>
                  <a:pt x="203" y="611"/>
                  <a:pt x="204" y="611"/>
                  <a:pt x="206" y="611"/>
                </a:cubicBezTo>
                <a:cubicBezTo>
                  <a:pt x="207" y="611"/>
                  <a:pt x="208" y="612"/>
                  <a:pt x="208" y="613"/>
                </a:cubicBezTo>
                <a:cubicBezTo>
                  <a:pt x="209" y="613"/>
                  <a:pt x="209" y="612"/>
                  <a:pt x="211" y="612"/>
                </a:cubicBezTo>
                <a:cubicBezTo>
                  <a:pt x="211" y="613"/>
                  <a:pt x="210" y="613"/>
                  <a:pt x="208" y="613"/>
                </a:cubicBezTo>
                <a:cubicBezTo>
                  <a:pt x="208" y="614"/>
                  <a:pt x="208" y="615"/>
                  <a:pt x="207" y="615"/>
                </a:cubicBezTo>
                <a:cubicBezTo>
                  <a:pt x="209" y="616"/>
                  <a:pt x="211" y="616"/>
                  <a:pt x="211" y="616"/>
                </a:cubicBezTo>
                <a:cubicBezTo>
                  <a:pt x="211" y="616"/>
                  <a:pt x="211" y="616"/>
                  <a:pt x="212" y="616"/>
                </a:cubicBezTo>
                <a:cubicBezTo>
                  <a:pt x="211" y="615"/>
                  <a:pt x="210" y="615"/>
                  <a:pt x="209" y="615"/>
                </a:cubicBezTo>
                <a:cubicBezTo>
                  <a:pt x="210" y="614"/>
                  <a:pt x="211" y="614"/>
                  <a:pt x="213" y="615"/>
                </a:cubicBezTo>
                <a:cubicBezTo>
                  <a:pt x="213" y="614"/>
                  <a:pt x="213" y="614"/>
                  <a:pt x="213" y="614"/>
                </a:cubicBezTo>
                <a:cubicBezTo>
                  <a:pt x="213" y="614"/>
                  <a:pt x="214" y="612"/>
                  <a:pt x="215" y="613"/>
                </a:cubicBezTo>
                <a:cubicBezTo>
                  <a:pt x="216" y="612"/>
                  <a:pt x="216" y="612"/>
                  <a:pt x="217" y="613"/>
                </a:cubicBezTo>
                <a:cubicBezTo>
                  <a:pt x="217" y="613"/>
                  <a:pt x="216" y="613"/>
                  <a:pt x="216" y="614"/>
                </a:cubicBezTo>
                <a:cubicBezTo>
                  <a:pt x="216" y="614"/>
                  <a:pt x="217" y="616"/>
                  <a:pt x="216" y="615"/>
                </a:cubicBezTo>
                <a:cubicBezTo>
                  <a:pt x="216" y="615"/>
                  <a:pt x="215" y="615"/>
                  <a:pt x="215" y="615"/>
                </a:cubicBezTo>
                <a:cubicBezTo>
                  <a:pt x="215" y="614"/>
                  <a:pt x="215" y="614"/>
                  <a:pt x="215" y="614"/>
                </a:cubicBezTo>
                <a:cubicBezTo>
                  <a:pt x="215" y="614"/>
                  <a:pt x="214" y="615"/>
                  <a:pt x="214" y="615"/>
                </a:cubicBezTo>
                <a:cubicBezTo>
                  <a:pt x="215" y="615"/>
                  <a:pt x="216" y="616"/>
                  <a:pt x="216" y="616"/>
                </a:cubicBezTo>
                <a:cubicBezTo>
                  <a:pt x="216" y="617"/>
                  <a:pt x="215" y="616"/>
                  <a:pt x="214" y="616"/>
                </a:cubicBezTo>
                <a:cubicBezTo>
                  <a:pt x="214" y="616"/>
                  <a:pt x="214" y="617"/>
                  <a:pt x="214" y="617"/>
                </a:cubicBezTo>
                <a:cubicBezTo>
                  <a:pt x="215" y="617"/>
                  <a:pt x="216" y="616"/>
                  <a:pt x="216" y="616"/>
                </a:cubicBezTo>
                <a:cubicBezTo>
                  <a:pt x="217" y="617"/>
                  <a:pt x="218" y="620"/>
                  <a:pt x="220" y="618"/>
                </a:cubicBezTo>
                <a:cubicBezTo>
                  <a:pt x="220" y="618"/>
                  <a:pt x="219" y="617"/>
                  <a:pt x="219" y="617"/>
                </a:cubicBezTo>
                <a:cubicBezTo>
                  <a:pt x="219" y="617"/>
                  <a:pt x="219" y="617"/>
                  <a:pt x="219" y="617"/>
                </a:cubicBezTo>
                <a:cubicBezTo>
                  <a:pt x="219" y="617"/>
                  <a:pt x="219" y="617"/>
                  <a:pt x="218" y="617"/>
                </a:cubicBezTo>
                <a:cubicBezTo>
                  <a:pt x="218" y="616"/>
                  <a:pt x="219" y="615"/>
                  <a:pt x="220" y="616"/>
                </a:cubicBezTo>
                <a:cubicBezTo>
                  <a:pt x="220" y="616"/>
                  <a:pt x="220" y="616"/>
                  <a:pt x="220" y="616"/>
                </a:cubicBezTo>
                <a:cubicBezTo>
                  <a:pt x="221" y="615"/>
                  <a:pt x="224" y="617"/>
                  <a:pt x="225" y="617"/>
                </a:cubicBezTo>
                <a:cubicBezTo>
                  <a:pt x="223" y="618"/>
                  <a:pt x="225" y="619"/>
                  <a:pt x="226" y="620"/>
                </a:cubicBezTo>
                <a:cubicBezTo>
                  <a:pt x="227" y="619"/>
                  <a:pt x="229" y="618"/>
                  <a:pt x="231" y="618"/>
                </a:cubicBezTo>
                <a:cubicBezTo>
                  <a:pt x="230" y="619"/>
                  <a:pt x="228" y="620"/>
                  <a:pt x="226" y="620"/>
                </a:cubicBezTo>
                <a:cubicBezTo>
                  <a:pt x="227" y="621"/>
                  <a:pt x="227" y="621"/>
                  <a:pt x="226" y="622"/>
                </a:cubicBezTo>
                <a:cubicBezTo>
                  <a:pt x="225" y="624"/>
                  <a:pt x="222" y="622"/>
                  <a:pt x="221" y="624"/>
                </a:cubicBezTo>
                <a:cubicBezTo>
                  <a:pt x="220" y="624"/>
                  <a:pt x="222" y="624"/>
                  <a:pt x="222" y="624"/>
                </a:cubicBezTo>
                <a:cubicBezTo>
                  <a:pt x="221" y="626"/>
                  <a:pt x="219" y="627"/>
                  <a:pt x="222" y="628"/>
                </a:cubicBezTo>
                <a:cubicBezTo>
                  <a:pt x="222" y="628"/>
                  <a:pt x="227" y="629"/>
                  <a:pt x="228" y="629"/>
                </a:cubicBezTo>
                <a:cubicBezTo>
                  <a:pt x="231" y="629"/>
                  <a:pt x="233" y="629"/>
                  <a:pt x="235" y="631"/>
                </a:cubicBezTo>
                <a:cubicBezTo>
                  <a:pt x="232" y="631"/>
                  <a:pt x="231" y="632"/>
                  <a:pt x="228" y="633"/>
                </a:cubicBezTo>
                <a:cubicBezTo>
                  <a:pt x="228" y="633"/>
                  <a:pt x="229" y="633"/>
                  <a:pt x="229" y="633"/>
                </a:cubicBezTo>
                <a:cubicBezTo>
                  <a:pt x="229" y="633"/>
                  <a:pt x="228" y="633"/>
                  <a:pt x="228" y="633"/>
                </a:cubicBezTo>
                <a:cubicBezTo>
                  <a:pt x="228" y="633"/>
                  <a:pt x="228" y="633"/>
                  <a:pt x="227" y="633"/>
                </a:cubicBezTo>
                <a:cubicBezTo>
                  <a:pt x="224" y="633"/>
                  <a:pt x="221" y="630"/>
                  <a:pt x="218" y="630"/>
                </a:cubicBezTo>
                <a:cubicBezTo>
                  <a:pt x="218" y="630"/>
                  <a:pt x="215" y="633"/>
                  <a:pt x="214" y="633"/>
                </a:cubicBezTo>
                <a:cubicBezTo>
                  <a:pt x="213" y="633"/>
                  <a:pt x="212" y="632"/>
                  <a:pt x="212" y="633"/>
                </a:cubicBezTo>
                <a:cubicBezTo>
                  <a:pt x="212" y="633"/>
                  <a:pt x="213" y="633"/>
                  <a:pt x="213" y="634"/>
                </a:cubicBezTo>
                <a:cubicBezTo>
                  <a:pt x="213" y="634"/>
                  <a:pt x="213" y="634"/>
                  <a:pt x="214" y="634"/>
                </a:cubicBezTo>
                <a:cubicBezTo>
                  <a:pt x="214" y="633"/>
                  <a:pt x="215" y="633"/>
                  <a:pt x="216" y="633"/>
                </a:cubicBezTo>
                <a:cubicBezTo>
                  <a:pt x="216" y="633"/>
                  <a:pt x="217" y="633"/>
                  <a:pt x="217" y="633"/>
                </a:cubicBezTo>
                <a:cubicBezTo>
                  <a:pt x="217" y="633"/>
                  <a:pt x="217" y="633"/>
                  <a:pt x="217" y="633"/>
                </a:cubicBezTo>
                <a:cubicBezTo>
                  <a:pt x="218" y="633"/>
                  <a:pt x="219" y="633"/>
                  <a:pt x="219" y="634"/>
                </a:cubicBezTo>
                <a:cubicBezTo>
                  <a:pt x="219" y="634"/>
                  <a:pt x="219" y="635"/>
                  <a:pt x="218" y="635"/>
                </a:cubicBezTo>
                <a:cubicBezTo>
                  <a:pt x="218" y="636"/>
                  <a:pt x="217" y="637"/>
                  <a:pt x="216" y="637"/>
                </a:cubicBezTo>
                <a:cubicBezTo>
                  <a:pt x="215" y="637"/>
                  <a:pt x="213" y="636"/>
                  <a:pt x="213" y="635"/>
                </a:cubicBezTo>
                <a:cubicBezTo>
                  <a:pt x="213" y="635"/>
                  <a:pt x="213" y="635"/>
                  <a:pt x="213" y="635"/>
                </a:cubicBezTo>
                <a:cubicBezTo>
                  <a:pt x="213" y="636"/>
                  <a:pt x="211" y="636"/>
                  <a:pt x="210" y="636"/>
                </a:cubicBezTo>
                <a:cubicBezTo>
                  <a:pt x="210" y="636"/>
                  <a:pt x="210" y="637"/>
                  <a:pt x="211" y="637"/>
                </a:cubicBezTo>
                <a:cubicBezTo>
                  <a:pt x="211" y="637"/>
                  <a:pt x="211" y="637"/>
                  <a:pt x="211" y="637"/>
                </a:cubicBezTo>
                <a:cubicBezTo>
                  <a:pt x="212" y="637"/>
                  <a:pt x="211" y="637"/>
                  <a:pt x="211" y="637"/>
                </a:cubicBezTo>
                <a:cubicBezTo>
                  <a:pt x="212" y="639"/>
                  <a:pt x="215" y="640"/>
                  <a:pt x="216" y="641"/>
                </a:cubicBezTo>
                <a:cubicBezTo>
                  <a:pt x="214" y="641"/>
                  <a:pt x="214" y="642"/>
                  <a:pt x="214" y="642"/>
                </a:cubicBezTo>
                <a:cubicBezTo>
                  <a:pt x="216" y="641"/>
                  <a:pt x="219" y="642"/>
                  <a:pt x="216" y="643"/>
                </a:cubicBezTo>
                <a:cubicBezTo>
                  <a:pt x="216" y="643"/>
                  <a:pt x="216" y="644"/>
                  <a:pt x="216" y="644"/>
                </a:cubicBezTo>
                <a:cubicBezTo>
                  <a:pt x="216" y="644"/>
                  <a:pt x="217" y="644"/>
                  <a:pt x="217" y="645"/>
                </a:cubicBezTo>
                <a:cubicBezTo>
                  <a:pt x="219" y="644"/>
                  <a:pt x="222" y="643"/>
                  <a:pt x="224" y="643"/>
                </a:cubicBezTo>
                <a:cubicBezTo>
                  <a:pt x="228" y="642"/>
                  <a:pt x="223" y="645"/>
                  <a:pt x="221" y="645"/>
                </a:cubicBezTo>
                <a:cubicBezTo>
                  <a:pt x="220" y="645"/>
                  <a:pt x="218" y="646"/>
                  <a:pt x="216" y="646"/>
                </a:cubicBezTo>
                <a:cubicBezTo>
                  <a:pt x="216" y="647"/>
                  <a:pt x="216" y="647"/>
                  <a:pt x="215" y="647"/>
                </a:cubicBezTo>
                <a:cubicBezTo>
                  <a:pt x="215" y="647"/>
                  <a:pt x="214" y="647"/>
                  <a:pt x="214" y="647"/>
                </a:cubicBezTo>
                <a:cubicBezTo>
                  <a:pt x="212" y="648"/>
                  <a:pt x="211" y="648"/>
                  <a:pt x="210" y="649"/>
                </a:cubicBezTo>
                <a:cubicBezTo>
                  <a:pt x="209" y="650"/>
                  <a:pt x="208" y="651"/>
                  <a:pt x="208" y="652"/>
                </a:cubicBezTo>
                <a:cubicBezTo>
                  <a:pt x="209" y="652"/>
                  <a:pt x="209" y="652"/>
                  <a:pt x="210" y="653"/>
                </a:cubicBezTo>
                <a:cubicBezTo>
                  <a:pt x="210" y="653"/>
                  <a:pt x="210" y="653"/>
                  <a:pt x="210" y="653"/>
                </a:cubicBezTo>
                <a:cubicBezTo>
                  <a:pt x="210" y="653"/>
                  <a:pt x="210" y="653"/>
                  <a:pt x="211" y="653"/>
                </a:cubicBezTo>
                <a:cubicBezTo>
                  <a:pt x="211" y="653"/>
                  <a:pt x="213" y="654"/>
                  <a:pt x="213" y="654"/>
                </a:cubicBezTo>
                <a:cubicBezTo>
                  <a:pt x="213" y="654"/>
                  <a:pt x="213" y="655"/>
                  <a:pt x="213" y="655"/>
                </a:cubicBezTo>
                <a:cubicBezTo>
                  <a:pt x="213" y="656"/>
                  <a:pt x="212" y="657"/>
                  <a:pt x="210" y="657"/>
                </a:cubicBezTo>
                <a:cubicBezTo>
                  <a:pt x="210" y="658"/>
                  <a:pt x="210" y="658"/>
                  <a:pt x="209" y="659"/>
                </a:cubicBezTo>
                <a:cubicBezTo>
                  <a:pt x="209" y="659"/>
                  <a:pt x="209" y="659"/>
                  <a:pt x="209" y="659"/>
                </a:cubicBezTo>
                <a:cubicBezTo>
                  <a:pt x="210" y="660"/>
                  <a:pt x="212" y="660"/>
                  <a:pt x="213" y="660"/>
                </a:cubicBezTo>
                <a:cubicBezTo>
                  <a:pt x="214" y="660"/>
                  <a:pt x="216" y="660"/>
                  <a:pt x="216" y="661"/>
                </a:cubicBezTo>
                <a:cubicBezTo>
                  <a:pt x="217" y="662"/>
                  <a:pt x="218" y="663"/>
                  <a:pt x="218" y="663"/>
                </a:cubicBezTo>
                <a:cubicBezTo>
                  <a:pt x="218" y="663"/>
                  <a:pt x="219" y="663"/>
                  <a:pt x="220" y="664"/>
                </a:cubicBezTo>
                <a:cubicBezTo>
                  <a:pt x="221" y="665"/>
                  <a:pt x="221" y="667"/>
                  <a:pt x="219" y="667"/>
                </a:cubicBezTo>
                <a:cubicBezTo>
                  <a:pt x="219" y="667"/>
                  <a:pt x="219" y="667"/>
                  <a:pt x="219" y="667"/>
                </a:cubicBezTo>
                <a:cubicBezTo>
                  <a:pt x="219" y="668"/>
                  <a:pt x="219" y="668"/>
                  <a:pt x="219" y="669"/>
                </a:cubicBezTo>
                <a:cubicBezTo>
                  <a:pt x="220" y="669"/>
                  <a:pt x="221" y="668"/>
                  <a:pt x="222" y="669"/>
                </a:cubicBezTo>
                <a:cubicBezTo>
                  <a:pt x="222" y="668"/>
                  <a:pt x="223" y="667"/>
                  <a:pt x="223" y="667"/>
                </a:cubicBezTo>
                <a:cubicBezTo>
                  <a:pt x="223" y="667"/>
                  <a:pt x="225" y="666"/>
                  <a:pt x="226" y="666"/>
                </a:cubicBezTo>
                <a:cubicBezTo>
                  <a:pt x="227" y="664"/>
                  <a:pt x="228" y="664"/>
                  <a:pt x="229" y="664"/>
                </a:cubicBezTo>
                <a:cubicBezTo>
                  <a:pt x="230" y="664"/>
                  <a:pt x="229" y="663"/>
                  <a:pt x="230" y="663"/>
                </a:cubicBezTo>
                <a:cubicBezTo>
                  <a:pt x="231" y="662"/>
                  <a:pt x="232" y="664"/>
                  <a:pt x="232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3" y="663"/>
                </a:cubicBezTo>
                <a:cubicBezTo>
                  <a:pt x="233" y="663"/>
                  <a:pt x="233" y="663"/>
                  <a:pt x="234" y="663"/>
                </a:cubicBezTo>
                <a:cubicBezTo>
                  <a:pt x="235" y="664"/>
                  <a:pt x="235" y="662"/>
                  <a:pt x="236" y="663"/>
                </a:cubicBezTo>
                <a:cubicBezTo>
                  <a:pt x="236" y="663"/>
                  <a:pt x="235" y="664"/>
                  <a:pt x="235" y="664"/>
                </a:cubicBezTo>
                <a:cubicBezTo>
                  <a:pt x="236" y="665"/>
                  <a:pt x="241" y="668"/>
                  <a:pt x="241" y="670"/>
                </a:cubicBezTo>
                <a:cubicBezTo>
                  <a:pt x="241" y="672"/>
                  <a:pt x="236" y="672"/>
                  <a:pt x="235" y="674"/>
                </a:cubicBezTo>
                <a:cubicBezTo>
                  <a:pt x="235" y="675"/>
                  <a:pt x="236" y="676"/>
                  <a:pt x="235" y="677"/>
                </a:cubicBezTo>
                <a:cubicBezTo>
                  <a:pt x="233" y="677"/>
                  <a:pt x="234" y="675"/>
                  <a:pt x="233" y="675"/>
                </a:cubicBezTo>
                <a:cubicBezTo>
                  <a:pt x="232" y="674"/>
                  <a:pt x="227" y="674"/>
                  <a:pt x="225" y="673"/>
                </a:cubicBezTo>
                <a:cubicBezTo>
                  <a:pt x="225" y="673"/>
                  <a:pt x="224" y="672"/>
                  <a:pt x="223" y="672"/>
                </a:cubicBezTo>
                <a:cubicBezTo>
                  <a:pt x="221" y="673"/>
                  <a:pt x="217" y="673"/>
                  <a:pt x="217" y="674"/>
                </a:cubicBezTo>
                <a:cubicBezTo>
                  <a:pt x="216" y="674"/>
                  <a:pt x="218" y="674"/>
                  <a:pt x="218" y="675"/>
                </a:cubicBezTo>
                <a:cubicBezTo>
                  <a:pt x="217" y="675"/>
                  <a:pt x="216" y="674"/>
                  <a:pt x="215" y="674"/>
                </a:cubicBezTo>
                <a:cubicBezTo>
                  <a:pt x="213" y="674"/>
                  <a:pt x="210" y="675"/>
                  <a:pt x="207" y="675"/>
                </a:cubicBezTo>
                <a:cubicBezTo>
                  <a:pt x="208" y="676"/>
                  <a:pt x="208" y="677"/>
                  <a:pt x="208" y="677"/>
                </a:cubicBezTo>
                <a:cubicBezTo>
                  <a:pt x="209" y="677"/>
                  <a:pt x="209" y="676"/>
                  <a:pt x="209" y="676"/>
                </a:cubicBezTo>
                <a:cubicBezTo>
                  <a:pt x="210" y="676"/>
                  <a:pt x="212" y="677"/>
                  <a:pt x="214" y="679"/>
                </a:cubicBezTo>
                <a:cubicBezTo>
                  <a:pt x="215" y="679"/>
                  <a:pt x="216" y="679"/>
                  <a:pt x="216" y="679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6" y="680"/>
                  <a:pt x="216" y="680"/>
                  <a:pt x="216" y="680"/>
                </a:cubicBezTo>
                <a:cubicBezTo>
                  <a:pt x="217" y="681"/>
                  <a:pt x="216" y="682"/>
                  <a:pt x="216" y="682"/>
                </a:cubicBezTo>
                <a:cubicBezTo>
                  <a:pt x="218" y="684"/>
                  <a:pt x="222" y="683"/>
                  <a:pt x="224" y="683"/>
                </a:cubicBezTo>
                <a:cubicBezTo>
                  <a:pt x="224" y="683"/>
                  <a:pt x="224" y="684"/>
                  <a:pt x="225" y="684"/>
                </a:cubicBezTo>
                <a:cubicBezTo>
                  <a:pt x="225" y="684"/>
                  <a:pt x="225" y="684"/>
                  <a:pt x="225" y="684"/>
                </a:cubicBezTo>
                <a:cubicBezTo>
                  <a:pt x="225" y="683"/>
                  <a:pt x="230" y="681"/>
                  <a:pt x="231" y="682"/>
                </a:cubicBezTo>
                <a:cubicBezTo>
                  <a:pt x="232" y="684"/>
                  <a:pt x="231" y="686"/>
                  <a:pt x="229" y="686"/>
                </a:cubicBezTo>
                <a:cubicBezTo>
                  <a:pt x="229" y="686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29" y="687"/>
                  <a:pt x="229" y="687"/>
                  <a:pt x="229" y="687"/>
                </a:cubicBezTo>
                <a:cubicBezTo>
                  <a:pt x="230" y="688"/>
                  <a:pt x="231" y="688"/>
                  <a:pt x="232" y="687"/>
                </a:cubicBezTo>
                <a:cubicBezTo>
                  <a:pt x="232" y="687"/>
                  <a:pt x="232" y="687"/>
                  <a:pt x="232" y="687"/>
                </a:cubicBezTo>
                <a:cubicBezTo>
                  <a:pt x="232" y="687"/>
                  <a:pt x="233" y="686"/>
                  <a:pt x="233" y="686"/>
                </a:cubicBezTo>
                <a:cubicBezTo>
                  <a:pt x="234" y="685"/>
                  <a:pt x="237" y="685"/>
                  <a:pt x="239" y="683"/>
                </a:cubicBezTo>
                <a:cubicBezTo>
                  <a:pt x="240" y="682"/>
                  <a:pt x="243" y="680"/>
                  <a:pt x="244" y="680"/>
                </a:cubicBezTo>
                <a:cubicBezTo>
                  <a:pt x="245" y="681"/>
                  <a:pt x="245" y="682"/>
                  <a:pt x="246" y="683"/>
                </a:cubicBezTo>
                <a:cubicBezTo>
                  <a:pt x="246" y="683"/>
                  <a:pt x="246" y="682"/>
                  <a:pt x="247" y="682"/>
                </a:cubicBezTo>
                <a:cubicBezTo>
                  <a:pt x="248" y="682"/>
                  <a:pt x="249" y="683"/>
                  <a:pt x="249" y="684"/>
                </a:cubicBezTo>
                <a:cubicBezTo>
                  <a:pt x="250" y="684"/>
                  <a:pt x="251" y="684"/>
                  <a:pt x="251" y="685"/>
                </a:cubicBezTo>
                <a:cubicBezTo>
                  <a:pt x="251" y="685"/>
                  <a:pt x="250" y="686"/>
                  <a:pt x="249" y="686"/>
                </a:cubicBezTo>
                <a:cubicBezTo>
                  <a:pt x="248" y="687"/>
                  <a:pt x="247" y="688"/>
                  <a:pt x="246" y="686"/>
                </a:cubicBezTo>
                <a:cubicBezTo>
                  <a:pt x="246" y="685"/>
                  <a:pt x="246" y="686"/>
                  <a:pt x="246" y="687"/>
                </a:cubicBezTo>
                <a:cubicBezTo>
                  <a:pt x="247" y="688"/>
                  <a:pt x="248" y="688"/>
                  <a:pt x="248" y="689"/>
                </a:cubicBezTo>
                <a:cubicBezTo>
                  <a:pt x="248" y="690"/>
                  <a:pt x="247" y="690"/>
                  <a:pt x="245" y="691"/>
                </a:cubicBezTo>
                <a:cubicBezTo>
                  <a:pt x="247" y="692"/>
                  <a:pt x="248" y="693"/>
                  <a:pt x="248" y="694"/>
                </a:cubicBezTo>
                <a:cubicBezTo>
                  <a:pt x="248" y="694"/>
                  <a:pt x="247" y="696"/>
                  <a:pt x="246" y="697"/>
                </a:cubicBezTo>
                <a:cubicBezTo>
                  <a:pt x="252" y="699"/>
                  <a:pt x="257" y="700"/>
                  <a:pt x="263" y="702"/>
                </a:cubicBezTo>
                <a:cubicBezTo>
                  <a:pt x="263" y="702"/>
                  <a:pt x="263" y="702"/>
                  <a:pt x="264" y="701"/>
                </a:cubicBezTo>
                <a:cubicBezTo>
                  <a:pt x="264" y="701"/>
                  <a:pt x="265" y="702"/>
                  <a:pt x="266" y="702"/>
                </a:cubicBezTo>
                <a:cubicBezTo>
                  <a:pt x="267" y="702"/>
                  <a:pt x="267" y="701"/>
                  <a:pt x="268" y="701"/>
                </a:cubicBezTo>
                <a:cubicBezTo>
                  <a:pt x="269" y="701"/>
                  <a:pt x="271" y="702"/>
                  <a:pt x="273" y="702"/>
                </a:cubicBezTo>
                <a:cubicBezTo>
                  <a:pt x="274" y="703"/>
                  <a:pt x="274" y="702"/>
                  <a:pt x="274" y="703"/>
                </a:cubicBezTo>
                <a:cubicBezTo>
                  <a:pt x="275" y="703"/>
                  <a:pt x="274" y="704"/>
                  <a:pt x="274" y="705"/>
                </a:cubicBezTo>
                <a:cubicBezTo>
                  <a:pt x="281" y="707"/>
                  <a:pt x="289" y="708"/>
                  <a:pt x="296" y="709"/>
                </a:cubicBezTo>
                <a:cubicBezTo>
                  <a:pt x="297" y="708"/>
                  <a:pt x="297" y="708"/>
                  <a:pt x="298" y="707"/>
                </a:cubicBezTo>
                <a:cubicBezTo>
                  <a:pt x="298" y="707"/>
                  <a:pt x="304" y="707"/>
                  <a:pt x="305" y="707"/>
                </a:cubicBezTo>
                <a:cubicBezTo>
                  <a:pt x="306" y="707"/>
                  <a:pt x="307" y="708"/>
                  <a:pt x="308" y="708"/>
                </a:cubicBezTo>
                <a:cubicBezTo>
                  <a:pt x="307" y="708"/>
                  <a:pt x="307" y="708"/>
                  <a:pt x="307" y="707"/>
                </a:cubicBezTo>
                <a:cubicBezTo>
                  <a:pt x="306" y="706"/>
                  <a:pt x="306" y="704"/>
                  <a:pt x="307" y="703"/>
                </a:cubicBezTo>
                <a:cubicBezTo>
                  <a:pt x="311" y="699"/>
                  <a:pt x="321" y="702"/>
                  <a:pt x="325" y="704"/>
                </a:cubicBezTo>
                <a:cubicBezTo>
                  <a:pt x="325" y="703"/>
                  <a:pt x="325" y="703"/>
                  <a:pt x="325" y="702"/>
                </a:cubicBezTo>
                <a:cubicBezTo>
                  <a:pt x="326" y="699"/>
                  <a:pt x="334" y="701"/>
                  <a:pt x="334" y="704"/>
                </a:cubicBezTo>
                <a:cubicBezTo>
                  <a:pt x="334" y="704"/>
                  <a:pt x="336" y="705"/>
                  <a:pt x="336" y="705"/>
                </a:cubicBezTo>
                <a:cubicBezTo>
                  <a:pt x="336" y="706"/>
                  <a:pt x="334" y="706"/>
                  <a:pt x="334" y="705"/>
                </a:cubicBezTo>
                <a:cubicBezTo>
                  <a:pt x="333" y="706"/>
                  <a:pt x="330" y="707"/>
                  <a:pt x="328" y="706"/>
                </a:cubicBezTo>
                <a:cubicBezTo>
                  <a:pt x="327" y="706"/>
                  <a:pt x="325" y="706"/>
                  <a:pt x="324" y="708"/>
                </a:cubicBezTo>
                <a:cubicBezTo>
                  <a:pt x="324" y="708"/>
                  <a:pt x="324" y="710"/>
                  <a:pt x="324" y="710"/>
                </a:cubicBezTo>
                <a:cubicBezTo>
                  <a:pt x="323" y="711"/>
                  <a:pt x="321" y="711"/>
                  <a:pt x="321" y="711"/>
                </a:cubicBezTo>
                <a:cubicBezTo>
                  <a:pt x="321" y="712"/>
                  <a:pt x="322" y="713"/>
                  <a:pt x="323" y="713"/>
                </a:cubicBezTo>
                <a:cubicBezTo>
                  <a:pt x="328" y="713"/>
                  <a:pt x="334" y="714"/>
                  <a:pt x="339" y="714"/>
                </a:cubicBezTo>
                <a:cubicBezTo>
                  <a:pt x="338" y="712"/>
                  <a:pt x="340" y="712"/>
                  <a:pt x="342" y="712"/>
                </a:cubicBezTo>
                <a:cubicBezTo>
                  <a:pt x="342" y="712"/>
                  <a:pt x="343" y="712"/>
                  <a:pt x="344" y="712"/>
                </a:cubicBezTo>
                <a:cubicBezTo>
                  <a:pt x="344" y="712"/>
                  <a:pt x="344" y="713"/>
                  <a:pt x="344" y="713"/>
                </a:cubicBezTo>
                <a:cubicBezTo>
                  <a:pt x="344" y="713"/>
                  <a:pt x="345" y="713"/>
                  <a:pt x="345" y="714"/>
                </a:cubicBezTo>
                <a:cubicBezTo>
                  <a:pt x="345" y="714"/>
                  <a:pt x="346" y="714"/>
                  <a:pt x="346" y="714"/>
                </a:cubicBezTo>
                <a:cubicBezTo>
                  <a:pt x="346" y="713"/>
                  <a:pt x="347" y="712"/>
                  <a:pt x="347" y="712"/>
                </a:cubicBezTo>
                <a:cubicBezTo>
                  <a:pt x="348" y="712"/>
                  <a:pt x="349" y="712"/>
                  <a:pt x="349" y="712"/>
                </a:cubicBezTo>
                <a:cubicBezTo>
                  <a:pt x="350" y="712"/>
                  <a:pt x="351" y="711"/>
                  <a:pt x="352" y="711"/>
                </a:cubicBezTo>
                <a:cubicBezTo>
                  <a:pt x="352" y="710"/>
                  <a:pt x="352" y="710"/>
                  <a:pt x="354" y="709"/>
                </a:cubicBezTo>
                <a:cubicBezTo>
                  <a:pt x="355" y="709"/>
                  <a:pt x="355" y="708"/>
                  <a:pt x="357" y="708"/>
                </a:cubicBezTo>
                <a:cubicBezTo>
                  <a:pt x="360" y="707"/>
                  <a:pt x="365" y="706"/>
                  <a:pt x="369" y="705"/>
                </a:cubicBezTo>
                <a:cubicBezTo>
                  <a:pt x="370" y="705"/>
                  <a:pt x="370" y="705"/>
                  <a:pt x="370" y="705"/>
                </a:cubicBezTo>
                <a:cubicBezTo>
                  <a:pt x="370" y="705"/>
                  <a:pt x="369" y="705"/>
                  <a:pt x="369" y="705"/>
                </a:cubicBezTo>
                <a:cubicBezTo>
                  <a:pt x="368" y="705"/>
                  <a:pt x="367" y="704"/>
                  <a:pt x="366" y="702"/>
                </a:cubicBezTo>
                <a:cubicBezTo>
                  <a:pt x="365" y="702"/>
                  <a:pt x="365" y="702"/>
                  <a:pt x="365" y="701"/>
                </a:cubicBezTo>
                <a:cubicBezTo>
                  <a:pt x="365" y="700"/>
                  <a:pt x="364" y="699"/>
                  <a:pt x="365" y="698"/>
                </a:cubicBezTo>
                <a:cubicBezTo>
                  <a:pt x="366" y="692"/>
                  <a:pt x="379" y="693"/>
                  <a:pt x="384" y="696"/>
                </a:cubicBezTo>
                <a:cubicBezTo>
                  <a:pt x="386" y="697"/>
                  <a:pt x="387" y="699"/>
                  <a:pt x="388" y="701"/>
                </a:cubicBezTo>
                <a:cubicBezTo>
                  <a:pt x="390" y="700"/>
                  <a:pt x="392" y="699"/>
                  <a:pt x="392" y="700"/>
                </a:cubicBezTo>
                <a:cubicBezTo>
                  <a:pt x="393" y="701"/>
                  <a:pt x="391" y="702"/>
                  <a:pt x="389" y="702"/>
                </a:cubicBezTo>
                <a:cubicBezTo>
                  <a:pt x="389" y="702"/>
                  <a:pt x="389" y="702"/>
                  <a:pt x="389" y="702"/>
                </a:cubicBezTo>
                <a:cubicBezTo>
                  <a:pt x="390" y="703"/>
                  <a:pt x="391" y="704"/>
                  <a:pt x="391" y="704"/>
                </a:cubicBezTo>
                <a:cubicBezTo>
                  <a:pt x="391" y="706"/>
                  <a:pt x="387" y="707"/>
                  <a:pt x="383" y="708"/>
                </a:cubicBezTo>
                <a:cubicBezTo>
                  <a:pt x="388" y="708"/>
                  <a:pt x="395" y="708"/>
                  <a:pt x="399" y="708"/>
                </a:cubicBezTo>
                <a:cubicBezTo>
                  <a:pt x="399" y="708"/>
                  <a:pt x="406" y="707"/>
                  <a:pt x="406" y="708"/>
                </a:cubicBezTo>
                <a:cubicBezTo>
                  <a:pt x="407" y="710"/>
                  <a:pt x="401" y="709"/>
                  <a:pt x="400" y="709"/>
                </a:cubicBezTo>
                <a:cubicBezTo>
                  <a:pt x="394" y="709"/>
                  <a:pt x="384" y="709"/>
                  <a:pt x="378" y="709"/>
                </a:cubicBezTo>
                <a:cubicBezTo>
                  <a:pt x="378" y="709"/>
                  <a:pt x="377" y="709"/>
                  <a:pt x="377" y="709"/>
                </a:cubicBezTo>
                <a:cubicBezTo>
                  <a:pt x="377" y="709"/>
                  <a:pt x="377" y="709"/>
                  <a:pt x="377" y="708"/>
                </a:cubicBezTo>
                <a:cubicBezTo>
                  <a:pt x="378" y="708"/>
                  <a:pt x="378" y="708"/>
                  <a:pt x="379" y="708"/>
                </a:cubicBezTo>
                <a:cubicBezTo>
                  <a:pt x="377" y="708"/>
                  <a:pt x="376" y="708"/>
                  <a:pt x="375" y="708"/>
                </a:cubicBezTo>
                <a:cubicBezTo>
                  <a:pt x="374" y="708"/>
                  <a:pt x="374" y="709"/>
                  <a:pt x="373" y="709"/>
                </a:cubicBezTo>
                <a:cubicBezTo>
                  <a:pt x="373" y="709"/>
                  <a:pt x="372" y="709"/>
                  <a:pt x="372" y="709"/>
                </a:cubicBezTo>
                <a:cubicBezTo>
                  <a:pt x="372" y="709"/>
                  <a:pt x="371" y="710"/>
                  <a:pt x="370" y="710"/>
                </a:cubicBezTo>
                <a:cubicBezTo>
                  <a:pt x="369" y="710"/>
                  <a:pt x="367" y="710"/>
                  <a:pt x="366" y="711"/>
                </a:cubicBezTo>
                <a:cubicBezTo>
                  <a:pt x="364" y="711"/>
                  <a:pt x="363" y="712"/>
                  <a:pt x="361" y="713"/>
                </a:cubicBezTo>
                <a:cubicBezTo>
                  <a:pt x="360" y="713"/>
                  <a:pt x="360" y="713"/>
                  <a:pt x="360" y="713"/>
                </a:cubicBezTo>
                <a:cubicBezTo>
                  <a:pt x="359" y="713"/>
                  <a:pt x="358" y="714"/>
                  <a:pt x="357" y="715"/>
                </a:cubicBezTo>
                <a:cubicBezTo>
                  <a:pt x="357" y="715"/>
                  <a:pt x="357" y="715"/>
                  <a:pt x="357" y="715"/>
                </a:cubicBezTo>
                <a:cubicBezTo>
                  <a:pt x="554" y="715"/>
                  <a:pt x="714" y="555"/>
                  <a:pt x="714" y="357"/>
                </a:cubicBezTo>
                <a:cubicBezTo>
                  <a:pt x="714" y="339"/>
                  <a:pt x="713" y="322"/>
                  <a:pt x="710" y="304"/>
                </a:cubicBezTo>
                <a:close/>
                <a:moveTo>
                  <a:pt x="703" y="277"/>
                </a:moveTo>
                <a:cubicBezTo>
                  <a:pt x="704" y="277"/>
                  <a:pt x="703" y="279"/>
                  <a:pt x="702" y="279"/>
                </a:cubicBezTo>
                <a:cubicBezTo>
                  <a:pt x="702" y="278"/>
                  <a:pt x="703" y="278"/>
                  <a:pt x="703" y="277"/>
                </a:cubicBezTo>
                <a:close/>
                <a:moveTo>
                  <a:pt x="702" y="292"/>
                </a:moveTo>
                <a:cubicBezTo>
                  <a:pt x="702" y="292"/>
                  <a:pt x="702" y="292"/>
                  <a:pt x="702" y="292"/>
                </a:cubicBezTo>
                <a:cubicBezTo>
                  <a:pt x="702" y="292"/>
                  <a:pt x="701" y="293"/>
                  <a:pt x="701" y="293"/>
                </a:cubicBezTo>
                <a:cubicBezTo>
                  <a:pt x="701" y="293"/>
                  <a:pt x="701" y="292"/>
                  <a:pt x="702" y="292"/>
                </a:cubicBezTo>
                <a:close/>
                <a:moveTo>
                  <a:pt x="699" y="271"/>
                </a:moveTo>
                <a:cubicBezTo>
                  <a:pt x="697" y="274"/>
                  <a:pt x="700" y="270"/>
                  <a:pt x="699" y="271"/>
                </a:cubicBezTo>
                <a:close/>
                <a:moveTo>
                  <a:pt x="681" y="279"/>
                </a:moveTo>
                <a:cubicBezTo>
                  <a:pt x="681" y="277"/>
                  <a:pt x="683" y="278"/>
                  <a:pt x="681" y="279"/>
                </a:cubicBezTo>
                <a:close/>
                <a:moveTo>
                  <a:pt x="682" y="275"/>
                </a:moveTo>
                <a:cubicBezTo>
                  <a:pt x="683" y="276"/>
                  <a:pt x="681" y="277"/>
                  <a:pt x="682" y="275"/>
                </a:cubicBezTo>
                <a:close/>
                <a:moveTo>
                  <a:pt x="686" y="247"/>
                </a:moveTo>
                <a:cubicBezTo>
                  <a:pt x="687" y="248"/>
                  <a:pt x="687" y="250"/>
                  <a:pt x="687" y="252"/>
                </a:cubicBezTo>
                <a:cubicBezTo>
                  <a:pt x="686" y="251"/>
                  <a:pt x="686" y="249"/>
                  <a:pt x="686" y="247"/>
                </a:cubicBezTo>
                <a:close/>
                <a:moveTo>
                  <a:pt x="680" y="254"/>
                </a:moveTo>
                <a:cubicBezTo>
                  <a:pt x="680" y="255"/>
                  <a:pt x="681" y="252"/>
                  <a:pt x="680" y="254"/>
                </a:cubicBezTo>
                <a:close/>
                <a:moveTo>
                  <a:pt x="684" y="227"/>
                </a:moveTo>
                <a:cubicBezTo>
                  <a:pt x="687" y="230"/>
                  <a:pt x="682" y="233"/>
                  <a:pt x="680" y="234"/>
                </a:cubicBezTo>
                <a:cubicBezTo>
                  <a:pt x="678" y="231"/>
                  <a:pt x="681" y="225"/>
                  <a:pt x="684" y="227"/>
                </a:cubicBezTo>
                <a:close/>
                <a:moveTo>
                  <a:pt x="634" y="190"/>
                </a:moveTo>
                <a:cubicBezTo>
                  <a:pt x="634" y="190"/>
                  <a:pt x="634" y="191"/>
                  <a:pt x="634" y="191"/>
                </a:cubicBezTo>
                <a:cubicBezTo>
                  <a:pt x="635" y="194"/>
                  <a:pt x="630" y="192"/>
                  <a:pt x="634" y="190"/>
                </a:cubicBezTo>
                <a:close/>
                <a:moveTo>
                  <a:pt x="574" y="146"/>
                </a:moveTo>
                <a:cubicBezTo>
                  <a:pt x="575" y="147"/>
                  <a:pt x="573" y="147"/>
                  <a:pt x="573" y="146"/>
                </a:cubicBezTo>
                <a:cubicBezTo>
                  <a:pt x="572" y="146"/>
                  <a:pt x="574" y="145"/>
                  <a:pt x="574" y="146"/>
                </a:cubicBezTo>
                <a:close/>
                <a:moveTo>
                  <a:pt x="571" y="138"/>
                </a:moveTo>
                <a:cubicBezTo>
                  <a:pt x="571" y="138"/>
                  <a:pt x="571" y="138"/>
                  <a:pt x="571" y="138"/>
                </a:cubicBezTo>
                <a:cubicBezTo>
                  <a:pt x="572" y="140"/>
                  <a:pt x="569" y="137"/>
                  <a:pt x="571" y="138"/>
                </a:cubicBezTo>
                <a:close/>
                <a:moveTo>
                  <a:pt x="566" y="136"/>
                </a:moveTo>
                <a:cubicBezTo>
                  <a:pt x="566" y="137"/>
                  <a:pt x="564" y="137"/>
                  <a:pt x="564" y="137"/>
                </a:cubicBezTo>
                <a:cubicBezTo>
                  <a:pt x="564" y="136"/>
                  <a:pt x="566" y="135"/>
                  <a:pt x="566" y="136"/>
                </a:cubicBezTo>
                <a:close/>
                <a:moveTo>
                  <a:pt x="562" y="145"/>
                </a:moveTo>
                <a:cubicBezTo>
                  <a:pt x="563" y="146"/>
                  <a:pt x="562" y="146"/>
                  <a:pt x="562" y="146"/>
                </a:cubicBezTo>
                <a:cubicBezTo>
                  <a:pt x="561" y="145"/>
                  <a:pt x="562" y="145"/>
                  <a:pt x="562" y="145"/>
                </a:cubicBezTo>
                <a:close/>
                <a:moveTo>
                  <a:pt x="549" y="88"/>
                </a:moveTo>
                <a:cubicBezTo>
                  <a:pt x="549" y="88"/>
                  <a:pt x="549" y="88"/>
                  <a:pt x="549" y="88"/>
                </a:cubicBezTo>
                <a:cubicBezTo>
                  <a:pt x="549" y="88"/>
                  <a:pt x="549" y="88"/>
                  <a:pt x="549" y="88"/>
                </a:cubicBezTo>
                <a:close/>
                <a:moveTo>
                  <a:pt x="549" y="88"/>
                </a:moveTo>
                <a:cubicBezTo>
                  <a:pt x="549" y="88"/>
                  <a:pt x="548" y="88"/>
                  <a:pt x="549" y="88"/>
                </a:cubicBezTo>
                <a:close/>
                <a:moveTo>
                  <a:pt x="549" y="90"/>
                </a:moveTo>
                <a:cubicBezTo>
                  <a:pt x="549" y="91"/>
                  <a:pt x="548" y="91"/>
                  <a:pt x="548" y="91"/>
                </a:cubicBezTo>
                <a:cubicBezTo>
                  <a:pt x="548" y="91"/>
                  <a:pt x="549" y="90"/>
                  <a:pt x="549" y="90"/>
                </a:cubicBezTo>
                <a:close/>
                <a:moveTo>
                  <a:pt x="547" y="89"/>
                </a:moveTo>
                <a:cubicBezTo>
                  <a:pt x="546" y="89"/>
                  <a:pt x="546" y="90"/>
                  <a:pt x="545" y="90"/>
                </a:cubicBezTo>
                <a:cubicBezTo>
                  <a:pt x="546" y="90"/>
                  <a:pt x="544" y="88"/>
                  <a:pt x="544" y="88"/>
                </a:cubicBezTo>
                <a:cubicBezTo>
                  <a:pt x="545" y="87"/>
                  <a:pt x="547" y="87"/>
                  <a:pt x="547" y="89"/>
                </a:cubicBezTo>
                <a:close/>
                <a:moveTo>
                  <a:pt x="540" y="94"/>
                </a:moveTo>
                <a:cubicBezTo>
                  <a:pt x="541" y="94"/>
                  <a:pt x="539" y="94"/>
                  <a:pt x="539" y="94"/>
                </a:cubicBezTo>
                <a:cubicBezTo>
                  <a:pt x="539" y="93"/>
                  <a:pt x="540" y="93"/>
                  <a:pt x="540" y="94"/>
                </a:cubicBezTo>
                <a:close/>
                <a:moveTo>
                  <a:pt x="540" y="97"/>
                </a:moveTo>
                <a:cubicBezTo>
                  <a:pt x="540" y="96"/>
                  <a:pt x="538" y="98"/>
                  <a:pt x="539" y="97"/>
                </a:cubicBezTo>
                <a:cubicBezTo>
                  <a:pt x="539" y="96"/>
                  <a:pt x="542" y="93"/>
                  <a:pt x="544" y="93"/>
                </a:cubicBezTo>
                <a:cubicBezTo>
                  <a:pt x="546" y="93"/>
                  <a:pt x="549" y="94"/>
                  <a:pt x="548" y="96"/>
                </a:cubicBezTo>
                <a:cubicBezTo>
                  <a:pt x="548" y="98"/>
                  <a:pt x="544" y="100"/>
                  <a:pt x="542" y="100"/>
                </a:cubicBezTo>
                <a:cubicBezTo>
                  <a:pt x="541" y="100"/>
                  <a:pt x="540" y="99"/>
                  <a:pt x="540" y="99"/>
                </a:cubicBezTo>
                <a:cubicBezTo>
                  <a:pt x="539" y="99"/>
                  <a:pt x="538" y="101"/>
                  <a:pt x="538" y="99"/>
                </a:cubicBezTo>
                <a:cubicBezTo>
                  <a:pt x="538" y="99"/>
                  <a:pt x="540" y="97"/>
                  <a:pt x="540" y="97"/>
                </a:cubicBezTo>
                <a:close/>
                <a:moveTo>
                  <a:pt x="535" y="95"/>
                </a:moveTo>
                <a:cubicBezTo>
                  <a:pt x="536" y="96"/>
                  <a:pt x="533" y="95"/>
                  <a:pt x="535" y="95"/>
                </a:cubicBezTo>
                <a:close/>
                <a:moveTo>
                  <a:pt x="535" y="97"/>
                </a:moveTo>
                <a:cubicBezTo>
                  <a:pt x="535" y="97"/>
                  <a:pt x="535" y="96"/>
                  <a:pt x="535" y="96"/>
                </a:cubicBezTo>
                <a:cubicBezTo>
                  <a:pt x="535" y="97"/>
                  <a:pt x="536" y="97"/>
                  <a:pt x="535" y="97"/>
                </a:cubicBezTo>
                <a:close/>
                <a:moveTo>
                  <a:pt x="534" y="111"/>
                </a:moveTo>
                <a:cubicBezTo>
                  <a:pt x="534" y="110"/>
                  <a:pt x="535" y="109"/>
                  <a:pt x="536" y="110"/>
                </a:cubicBezTo>
                <a:cubicBezTo>
                  <a:pt x="537" y="111"/>
                  <a:pt x="535" y="111"/>
                  <a:pt x="534" y="111"/>
                </a:cubicBezTo>
                <a:close/>
                <a:moveTo>
                  <a:pt x="535" y="84"/>
                </a:moveTo>
                <a:cubicBezTo>
                  <a:pt x="538" y="83"/>
                  <a:pt x="536" y="88"/>
                  <a:pt x="534" y="87"/>
                </a:cubicBezTo>
                <a:cubicBezTo>
                  <a:pt x="532" y="86"/>
                  <a:pt x="534" y="85"/>
                  <a:pt x="535" y="84"/>
                </a:cubicBezTo>
                <a:close/>
                <a:moveTo>
                  <a:pt x="545" y="73"/>
                </a:moveTo>
                <a:cubicBezTo>
                  <a:pt x="544" y="74"/>
                  <a:pt x="544" y="72"/>
                  <a:pt x="545" y="73"/>
                </a:cubicBezTo>
                <a:close/>
                <a:moveTo>
                  <a:pt x="541" y="72"/>
                </a:moveTo>
                <a:cubicBezTo>
                  <a:pt x="540" y="73"/>
                  <a:pt x="539" y="73"/>
                  <a:pt x="537" y="73"/>
                </a:cubicBezTo>
                <a:cubicBezTo>
                  <a:pt x="539" y="73"/>
                  <a:pt x="539" y="71"/>
                  <a:pt x="541" y="72"/>
                </a:cubicBezTo>
                <a:close/>
                <a:moveTo>
                  <a:pt x="534" y="73"/>
                </a:moveTo>
                <a:cubicBezTo>
                  <a:pt x="534" y="74"/>
                  <a:pt x="532" y="75"/>
                  <a:pt x="532" y="74"/>
                </a:cubicBezTo>
                <a:cubicBezTo>
                  <a:pt x="531" y="74"/>
                  <a:pt x="534" y="73"/>
                  <a:pt x="534" y="73"/>
                </a:cubicBezTo>
                <a:close/>
                <a:moveTo>
                  <a:pt x="531" y="74"/>
                </a:moveTo>
                <a:cubicBezTo>
                  <a:pt x="532" y="75"/>
                  <a:pt x="530" y="74"/>
                  <a:pt x="530" y="74"/>
                </a:cubicBezTo>
                <a:cubicBezTo>
                  <a:pt x="529" y="73"/>
                  <a:pt x="531" y="73"/>
                  <a:pt x="531" y="74"/>
                </a:cubicBezTo>
                <a:close/>
                <a:moveTo>
                  <a:pt x="458" y="41"/>
                </a:moveTo>
                <a:cubicBezTo>
                  <a:pt x="458" y="42"/>
                  <a:pt x="458" y="42"/>
                  <a:pt x="458" y="42"/>
                </a:cubicBezTo>
                <a:cubicBezTo>
                  <a:pt x="458" y="41"/>
                  <a:pt x="457" y="40"/>
                  <a:pt x="458" y="41"/>
                </a:cubicBezTo>
                <a:close/>
                <a:moveTo>
                  <a:pt x="421" y="34"/>
                </a:moveTo>
                <a:cubicBezTo>
                  <a:pt x="420" y="34"/>
                  <a:pt x="420" y="33"/>
                  <a:pt x="421" y="34"/>
                </a:cubicBezTo>
                <a:close/>
                <a:moveTo>
                  <a:pt x="421" y="29"/>
                </a:moveTo>
                <a:cubicBezTo>
                  <a:pt x="422" y="30"/>
                  <a:pt x="420" y="30"/>
                  <a:pt x="420" y="30"/>
                </a:cubicBezTo>
                <a:cubicBezTo>
                  <a:pt x="419" y="29"/>
                  <a:pt x="421" y="29"/>
                  <a:pt x="421" y="29"/>
                </a:cubicBezTo>
                <a:close/>
                <a:moveTo>
                  <a:pt x="461" y="19"/>
                </a:moveTo>
                <a:cubicBezTo>
                  <a:pt x="461" y="20"/>
                  <a:pt x="458" y="20"/>
                  <a:pt x="458" y="19"/>
                </a:cubicBezTo>
                <a:cubicBezTo>
                  <a:pt x="457" y="18"/>
                  <a:pt x="461" y="17"/>
                  <a:pt x="461" y="19"/>
                </a:cubicBezTo>
                <a:close/>
                <a:moveTo>
                  <a:pt x="456" y="20"/>
                </a:moveTo>
                <a:cubicBezTo>
                  <a:pt x="457" y="21"/>
                  <a:pt x="454" y="22"/>
                  <a:pt x="454" y="20"/>
                </a:cubicBezTo>
                <a:cubicBezTo>
                  <a:pt x="454" y="20"/>
                  <a:pt x="456" y="20"/>
                  <a:pt x="456" y="20"/>
                </a:cubicBezTo>
                <a:close/>
                <a:moveTo>
                  <a:pt x="455" y="23"/>
                </a:moveTo>
                <a:cubicBezTo>
                  <a:pt x="456" y="24"/>
                  <a:pt x="453" y="23"/>
                  <a:pt x="453" y="23"/>
                </a:cubicBezTo>
                <a:cubicBezTo>
                  <a:pt x="453" y="22"/>
                  <a:pt x="455" y="22"/>
                  <a:pt x="455" y="23"/>
                </a:cubicBezTo>
                <a:close/>
                <a:moveTo>
                  <a:pt x="434" y="24"/>
                </a:moveTo>
                <a:cubicBezTo>
                  <a:pt x="434" y="25"/>
                  <a:pt x="430" y="24"/>
                  <a:pt x="430" y="23"/>
                </a:cubicBezTo>
                <a:cubicBezTo>
                  <a:pt x="430" y="22"/>
                  <a:pt x="433" y="22"/>
                  <a:pt x="434" y="24"/>
                </a:cubicBezTo>
                <a:close/>
                <a:moveTo>
                  <a:pt x="427" y="20"/>
                </a:moveTo>
                <a:cubicBezTo>
                  <a:pt x="427" y="21"/>
                  <a:pt x="425" y="20"/>
                  <a:pt x="425" y="20"/>
                </a:cubicBezTo>
                <a:cubicBezTo>
                  <a:pt x="425" y="20"/>
                  <a:pt x="427" y="19"/>
                  <a:pt x="427" y="20"/>
                </a:cubicBezTo>
                <a:close/>
                <a:moveTo>
                  <a:pt x="418" y="41"/>
                </a:moveTo>
                <a:cubicBezTo>
                  <a:pt x="418" y="41"/>
                  <a:pt x="418" y="40"/>
                  <a:pt x="418" y="40"/>
                </a:cubicBezTo>
                <a:cubicBezTo>
                  <a:pt x="416" y="39"/>
                  <a:pt x="420" y="40"/>
                  <a:pt x="418" y="41"/>
                </a:cubicBezTo>
                <a:close/>
                <a:moveTo>
                  <a:pt x="415" y="43"/>
                </a:moveTo>
                <a:cubicBezTo>
                  <a:pt x="416" y="44"/>
                  <a:pt x="414" y="44"/>
                  <a:pt x="414" y="44"/>
                </a:cubicBezTo>
                <a:cubicBezTo>
                  <a:pt x="414" y="44"/>
                  <a:pt x="414" y="43"/>
                  <a:pt x="415" y="43"/>
                </a:cubicBezTo>
                <a:close/>
                <a:moveTo>
                  <a:pt x="388" y="45"/>
                </a:moveTo>
                <a:cubicBezTo>
                  <a:pt x="388" y="43"/>
                  <a:pt x="393" y="43"/>
                  <a:pt x="393" y="45"/>
                </a:cubicBezTo>
                <a:cubicBezTo>
                  <a:pt x="393" y="48"/>
                  <a:pt x="388" y="46"/>
                  <a:pt x="388" y="45"/>
                </a:cubicBezTo>
                <a:close/>
                <a:moveTo>
                  <a:pt x="394" y="10"/>
                </a:moveTo>
                <a:cubicBezTo>
                  <a:pt x="394" y="11"/>
                  <a:pt x="393" y="11"/>
                  <a:pt x="392" y="11"/>
                </a:cubicBezTo>
                <a:cubicBezTo>
                  <a:pt x="393" y="10"/>
                  <a:pt x="394" y="10"/>
                  <a:pt x="394" y="10"/>
                </a:cubicBezTo>
                <a:close/>
                <a:moveTo>
                  <a:pt x="389" y="10"/>
                </a:moveTo>
                <a:cubicBezTo>
                  <a:pt x="391" y="9"/>
                  <a:pt x="391" y="12"/>
                  <a:pt x="389" y="10"/>
                </a:cubicBezTo>
                <a:close/>
                <a:moveTo>
                  <a:pt x="387" y="32"/>
                </a:moveTo>
                <a:cubicBezTo>
                  <a:pt x="393" y="30"/>
                  <a:pt x="399" y="30"/>
                  <a:pt x="404" y="30"/>
                </a:cubicBezTo>
                <a:cubicBezTo>
                  <a:pt x="399" y="31"/>
                  <a:pt x="391" y="32"/>
                  <a:pt x="384" y="33"/>
                </a:cubicBezTo>
                <a:cubicBezTo>
                  <a:pt x="379" y="35"/>
                  <a:pt x="386" y="32"/>
                  <a:pt x="387" y="32"/>
                </a:cubicBezTo>
                <a:close/>
                <a:moveTo>
                  <a:pt x="380" y="25"/>
                </a:moveTo>
                <a:cubicBezTo>
                  <a:pt x="381" y="24"/>
                  <a:pt x="382" y="26"/>
                  <a:pt x="380" y="25"/>
                </a:cubicBezTo>
                <a:close/>
                <a:moveTo>
                  <a:pt x="355" y="52"/>
                </a:moveTo>
                <a:cubicBezTo>
                  <a:pt x="355" y="51"/>
                  <a:pt x="357" y="50"/>
                  <a:pt x="357" y="51"/>
                </a:cubicBezTo>
                <a:cubicBezTo>
                  <a:pt x="358" y="53"/>
                  <a:pt x="356" y="52"/>
                  <a:pt x="355" y="52"/>
                </a:cubicBezTo>
                <a:close/>
                <a:moveTo>
                  <a:pt x="375" y="42"/>
                </a:move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ubicBezTo>
                  <a:pt x="375" y="42"/>
                  <a:pt x="375" y="42"/>
                  <a:pt x="375" y="42"/>
                </a:cubicBezTo>
                <a:close/>
                <a:moveTo>
                  <a:pt x="371" y="6"/>
                </a:moveTo>
                <a:cubicBezTo>
                  <a:pt x="372" y="5"/>
                  <a:pt x="373" y="7"/>
                  <a:pt x="371" y="6"/>
                </a:cubicBezTo>
                <a:close/>
                <a:moveTo>
                  <a:pt x="367" y="52"/>
                </a:moveTo>
                <a:cubicBezTo>
                  <a:pt x="366" y="53"/>
                  <a:pt x="365" y="53"/>
                  <a:pt x="364" y="53"/>
                </a:cubicBezTo>
                <a:cubicBezTo>
                  <a:pt x="365" y="52"/>
                  <a:pt x="366" y="52"/>
                  <a:pt x="367" y="52"/>
                </a:cubicBezTo>
                <a:close/>
                <a:moveTo>
                  <a:pt x="360" y="41"/>
                </a:moveTo>
                <a:cubicBezTo>
                  <a:pt x="358" y="42"/>
                  <a:pt x="354" y="43"/>
                  <a:pt x="351" y="41"/>
                </a:cubicBezTo>
                <a:cubicBezTo>
                  <a:pt x="351" y="40"/>
                  <a:pt x="360" y="41"/>
                  <a:pt x="360" y="41"/>
                </a:cubicBezTo>
                <a:close/>
                <a:moveTo>
                  <a:pt x="2" y="391"/>
                </a:moveTo>
                <a:cubicBezTo>
                  <a:pt x="2" y="392"/>
                  <a:pt x="2" y="389"/>
                  <a:pt x="2" y="391"/>
                </a:cubicBezTo>
                <a:close/>
                <a:moveTo>
                  <a:pt x="2" y="338"/>
                </a:moveTo>
                <a:cubicBezTo>
                  <a:pt x="1" y="339"/>
                  <a:pt x="1" y="336"/>
                  <a:pt x="2" y="337"/>
                </a:cubicBezTo>
                <a:cubicBezTo>
                  <a:pt x="2" y="337"/>
                  <a:pt x="2" y="337"/>
                  <a:pt x="2" y="338"/>
                </a:cubicBezTo>
                <a:close/>
                <a:moveTo>
                  <a:pt x="6" y="411"/>
                </a:moveTo>
                <a:cubicBezTo>
                  <a:pt x="7" y="410"/>
                  <a:pt x="8" y="410"/>
                  <a:pt x="6" y="411"/>
                </a:cubicBezTo>
                <a:close/>
                <a:moveTo>
                  <a:pt x="7" y="377"/>
                </a:moveTo>
                <a:cubicBezTo>
                  <a:pt x="8" y="377"/>
                  <a:pt x="8" y="378"/>
                  <a:pt x="7" y="379"/>
                </a:cubicBezTo>
                <a:cubicBezTo>
                  <a:pt x="6" y="380"/>
                  <a:pt x="7" y="377"/>
                  <a:pt x="7" y="377"/>
                </a:cubicBezTo>
                <a:close/>
                <a:moveTo>
                  <a:pt x="7" y="415"/>
                </a:moveTo>
                <a:cubicBezTo>
                  <a:pt x="7" y="416"/>
                  <a:pt x="7" y="413"/>
                  <a:pt x="8" y="414"/>
                </a:cubicBezTo>
                <a:cubicBezTo>
                  <a:pt x="9" y="414"/>
                  <a:pt x="8" y="415"/>
                  <a:pt x="7" y="415"/>
                </a:cubicBezTo>
                <a:close/>
                <a:moveTo>
                  <a:pt x="7" y="368"/>
                </a:moveTo>
                <a:cubicBezTo>
                  <a:pt x="6" y="367"/>
                  <a:pt x="7" y="364"/>
                  <a:pt x="8" y="363"/>
                </a:cubicBezTo>
                <a:cubicBezTo>
                  <a:pt x="8" y="365"/>
                  <a:pt x="7" y="366"/>
                  <a:pt x="7" y="368"/>
                </a:cubicBezTo>
                <a:close/>
                <a:moveTo>
                  <a:pt x="13" y="438"/>
                </a:moveTo>
                <a:cubicBezTo>
                  <a:pt x="13" y="438"/>
                  <a:pt x="13" y="439"/>
                  <a:pt x="13" y="439"/>
                </a:cubicBezTo>
                <a:cubicBezTo>
                  <a:pt x="13" y="441"/>
                  <a:pt x="12" y="437"/>
                  <a:pt x="13" y="438"/>
                </a:cubicBezTo>
                <a:close/>
                <a:moveTo>
                  <a:pt x="12" y="423"/>
                </a:moveTo>
                <a:cubicBezTo>
                  <a:pt x="13" y="423"/>
                  <a:pt x="11" y="425"/>
                  <a:pt x="12" y="423"/>
                </a:cubicBezTo>
                <a:close/>
                <a:moveTo>
                  <a:pt x="15" y="295"/>
                </a:moveTo>
                <a:cubicBezTo>
                  <a:pt x="15" y="298"/>
                  <a:pt x="13" y="296"/>
                  <a:pt x="15" y="295"/>
                </a:cubicBezTo>
                <a:close/>
                <a:moveTo>
                  <a:pt x="13" y="368"/>
                </a:moveTo>
                <a:cubicBezTo>
                  <a:pt x="14" y="368"/>
                  <a:pt x="13" y="369"/>
                  <a:pt x="13" y="369"/>
                </a:cubicBezTo>
                <a:cubicBezTo>
                  <a:pt x="12" y="370"/>
                  <a:pt x="12" y="367"/>
                  <a:pt x="13" y="368"/>
                </a:cubicBezTo>
                <a:close/>
                <a:moveTo>
                  <a:pt x="12" y="352"/>
                </a:moveTo>
                <a:cubicBezTo>
                  <a:pt x="11" y="353"/>
                  <a:pt x="11" y="350"/>
                  <a:pt x="12" y="351"/>
                </a:cubicBezTo>
                <a:cubicBezTo>
                  <a:pt x="13" y="351"/>
                  <a:pt x="12" y="352"/>
                  <a:pt x="12" y="352"/>
                </a:cubicBezTo>
                <a:close/>
                <a:moveTo>
                  <a:pt x="10" y="333"/>
                </a:moveTo>
                <a:cubicBezTo>
                  <a:pt x="12" y="332"/>
                  <a:pt x="14" y="337"/>
                  <a:pt x="12" y="338"/>
                </a:cubicBezTo>
                <a:cubicBezTo>
                  <a:pt x="9" y="339"/>
                  <a:pt x="9" y="334"/>
                  <a:pt x="10" y="333"/>
                </a:cubicBezTo>
                <a:close/>
                <a:moveTo>
                  <a:pt x="10" y="355"/>
                </a:moveTo>
                <a:cubicBezTo>
                  <a:pt x="9" y="356"/>
                  <a:pt x="10" y="353"/>
                  <a:pt x="10" y="353"/>
                </a:cubicBezTo>
                <a:cubicBezTo>
                  <a:pt x="11" y="354"/>
                  <a:pt x="10" y="355"/>
                  <a:pt x="10" y="355"/>
                </a:cubicBezTo>
                <a:close/>
                <a:moveTo>
                  <a:pt x="9" y="371"/>
                </a:moveTo>
                <a:cubicBezTo>
                  <a:pt x="8" y="372"/>
                  <a:pt x="8" y="369"/>
                  <a:pt x="9" y="370"/>
                </a:cubicBezTo>
                <a:cubicBezTo>
                  <a:pt x="9" y="370"/>
                  <a:pt x="9" y="371"/>
                  <a:pt x="9" y="371"/>
                </a:cubicBezTo>
                <a:close/>
                <a:moveTo>
                  <a:pt x="9" y="359"/>
                </a:moveTo>
                <a:cubicBezTo>
                  <a:pt x="8" y="359"/>
                  <a:pt x="9" y="357"/>
                  <a:pt x="10" y="357"/>
                </a:cubicBezTo>
                <a:cubicBezTo>
                  <a:pt x="9" y="358"/>
                  <a:pt x="9" y="358"/>
                  <a:pt x="9" y="359"/>
                </a:cubicBezTo>
                <a:close/>
                <a:moveTo>
                  <a:pt x="10" y="438"/>
                </a:moveTo>
                <a:cubicBezTo>
                  <a:pt x="9" y="439"/>
                  <a:pt x="10" y="436"/>
                  <a:pt x="11" y="436"/>
                </a:cubicBezTo>
                <a:cubicBezTo>
                  <a:pt x="12" y="437"/>
                  <a:pt x="11" y="437"/>
                  <a:pt x="10" y="438"/>
                </a:cubicBezTo>
                <a:close/>
                <a:moveTo>
                  <a:pt x="10" y="424"/>
                </a:moveTo>
                <a:cubicBezTo>
                  <a:pt x="9" y="425"/>
                  <a:pt x="10" y="422"/>
                  <a:pt x="11" y="423"/>
                </a:cubicBezTo>
                <a:cubicBezTo>
                  <a:pt x="12" y="424"/>
                  <a:pt x="11" y="424"/>
                  <a:pt x="10" y="424"/>
                </a:cubicBezTo>
                <a:close/>
                <a:moveTo>
                  <a:pt x="11" y="386"/>
                </a:moveTo>
                <a:cubicBezTo>
                  <a:pt x="10" y="386"/>
                  <a:pt x="10" y="387"/>
                  <a:pt x="10" y="385"/>
                </a:cubicBezTo>
                <a:cubicBezTo>
                  <a:pt x="10" y="383"/>
                  <a:pt x="14" y="374"/>
                  <a:pt x="14" y="374"/>
                </a:cubicBezTo>
                <a:cubicBezTo>
                  <a:pt x="16" y="374"/>
                  <a:pt x="13" y="377"/>
                  <a:pt x="13" y="378"/>
                </a:cubicBezTo>
                <a:cubicBezTo>
                  <a:pt x="12" y="381"/>
                  <a:pt x="14" y="385"/>
                  <a:pt x="11" y="386"/>
                </a:cubicBezTo>
                <a:close/>
                <a:moveTo>
                  <a:pt x="14" y="394"/>
                </a:moveTo>
                <a:cubicBezTo>
                  <a:pt x="13" y="396"/>
                  <a:pt x="14" y="393"/>
                  <a:pt x="14" y="393"/>
                </a:cubicBezTo>
                <a:cubicBezTo>
                  <a:pt x="15" y="393"/>
                  <a:pt x="15" y="394"/>
                  <a:pt x="14" y="394"/>
                </a:cubicBezTo>
                <a:close/>
                <a:moveTo>
                  <a:pt x="15" y="388"/>
                </a:moveTo>
                <a:cubicBezTo>
                  <a:pt x="14" y="388"/>
                  <a:pt x="15" y="387"/>
                  <a:pt x="15" y="387"/>
                </a:cubicBezTo>
                <a:cubicBezTo>
                  <a:pt x="15" y="387"/>
                  <a:pt x="15" y="388"/>
                  <a:pt x="15" y="388"/>
                </a:cubicBezTo>
                <a:close/>
                <a:moveTo>
                  <a:pt x="15" y="300"/>
                </a:moveTo>
                <a:cubicBezTo>
                  <a:pt x="16" y="302"/>
                  <a:pt x="14" y="301"/>
                  <a:pt x="15" y="300"/>
                </a:cubicBezTo>
                <a:close/>
                <a:moveTo>
                  <a:pt x="16" y="366"/>
                </a:moveTo>
                <a:cubicBezTo>
                  <a:pt x="15" y="367"/>
                  <a:pt x="17" y="364"/>
                  <a:pt x="16" y="366"/>
                </a:cubicBezTo>
                <a:close/>
                <a:moveTo>
                  <a:pt x="17" y="380"/>
                </a:moveTo>
                <a:cubicBezTo>
                  <a:pt x="16" y="381"/>
                  <a:pt x="16" y="379"/>
                  <a:pt x="17" y="379"/>
                </a:cubicBezTo>
                <a:cubicBezTo>
                  <a:pt x="17" y="378"/>
                  <a:pt x="17" y="380"/>
                  <a:pt x="17" y="380"/>
                </a:cubicBezTo>
                <a:close/>
                <a:moveTo>
                  <a:pt x="27" y="420"/>
                </a:move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ubicBezTo>
                  <a:pt x="27" y="420"/>
                  <a:pt x="27" y="420"/>
                  <a:pt x="27" y="420"/>
                </a:cubicBezTo>
                <a:close/>
                <a:moveTo>
                  <a:pt x="23" y="346"/>
                </a:moveTo>
                <a:cubicBezTo>
                  <a:pt x="23" y="346"/>
                  <a:pt x="23" y="347"/>
                  <a:pt x="23" y="347"/>
                </a:cubicBezTo>
                <a:cubicBezTo>
                  <a:pt x="22" y="347"/>
                  <a:pt x="22" y="346"/>
                  <a:pt x="23" y="346"/>
                </a:cubicBezTo>
                <a:close/>
                <a:moveTo>
                  <a:pt x="19" y="405"/>
                </a:moveTo>
                <a:cubicBezTo>
                  <a:pt x="19" y="405"/>
                  <a:pt x="18" y="404"/>
                  <a:pt x="18" y="404"/>
                </a:cubicBezTo>
                <a:cubicBezTo>
                  <a:pt x="18" y="404"/>
                  <a:pt x="20" y="404"/>
                  <a:pt x="19" y="405"/>
                </a:cubicBezTo>
                <a:close/>
                <a:moveTo>
                  <a:pt x="20" y="406"/>
                </a:moveTo>
                <a:cubicBezTo>
                  <a:pt x="19" y="406"/>
                  <a:pt x="20" y="405"/>
                  <a:pt x="20" y="404"/>
                </a:cubicBezTo>
                <a:cubicBezTo>
                  <a:pt x="21" y="404"/>
                  <a:pt x="20" y="405"/>
                  <a:pt x="20" y="406"/>
                </a:cubicBezTo>
                <a:close/>
                <a:moveTo>
                  <a:pt x="20" y="360"/>
                </a:moveTo>
                <a:cubicBezTo>
                  <a:pt x="19" y="359"/>
                  <a:pt x="21" y="359"/>
                  <a:pt x="20" y="360"/>
                </a:cubicBezTo>
                <a:close/>
                <a:moveTo>
                  <a:pt x="22" y="268"/>
                </a:moveTo>
                <a:cubicBezTo>
                  <a:pt x="23" y="268"/>
                  <a:pt x="22" y="270"/>
                  <a:pt x="22" y="271"/>
                </a:cubicBezTo>
                <a:cubicBezTo>
                  <a:pt x="19" y="273"/>
                  <a:pt x="19" y="267"/>
                  <a:pt x="22" y="268"/>
                </a:cubicBezTo>
                <a:close/>
                <a:moveTo>
                  <a:pt x="21" y="397"/>
                </a:moveTo>
                <a:cubicBezTo>
                  <a:pt x="21" y="396"/>
                  <a:pt x="22" y="397"/>
                  <a:pt x="22" y="398"/>
                </a:cubicBezTo>
                <a:cubicBezTo>
                  <a:pt x="21" y="399"/>
                  <a:pt x="20" y="397"/>
                  <a:pt x="21" y="397"/>
                </a:cubicBezTo>
                <a:close/>
                <a:moveTo>
                  <a:pt x="21" y="415"/>
                </a:moveTo>
                <a:cubicBezTo>
                  <a:pt x="22" y="416"/>
                  <a:pt x="21" y="417"/>
                  <a:pt x="21" y="415"/>
                </a:cubicBezTo>
                <a:close/>
                <a:moveTo>
                  <a:pt x="21" y="413"/>
                </a:moveTo>
                <a:cubicBezTo>
                  <a:pt x="21" y="413"/>
                  <a:pt x="23" y="413"/>
                  <a:pt x="23" y="413"/>
                </a:cubicBezTo>
                <a:cubicBezTo>
                  <a:pt x="23" y="414"/>
                  <a:pt x="20" y="414"/>
                  <a:pt x="21" y="413"/>
                </a:cubicBezTo>
                <a:close/>
                <a:moveTo>
                  <a:pt x="24" y="367"/>
                </a:moveTo>
                <a:cubicBezTo>
                  <a:pt x="25" y="368"/>
                  <a:pt x="23" y="369"/>
                  <a:pt x="24" y="367"/>
                </a:cubicBezTo>
                <a:close/>
                <a:moveTo>
                  <a:pt x="24" y="412"/>
                </a:moveTo>
                <a:cubicBezTo>
                  <a:pt x="24" y="413"/>
                  <a:pt x="24" y="410"/>
                  <a:pt x="24" y="412"/>
                </a:cubicBezTo>
                <a:close/>
                <a:moveTo>
                  <a:pt x="25" y="401"/>
                </a:moveTo>
                <a:cubicBezTo>
                  <a:pt x="24" y="402"/>
                  <a:pt x="24" y="400"/>
                  <a:pt x="24" y="399"/>
                </a:cubicBezTo>
                <a:cubicBezTo>
                  <a:pt x="25" y="399"/>
                  <a:pt x="25" y="401"/>
                  <a:pt x="25" y="401"/>
                </a:cubicBezTo>
                <a:close/>
                <a:moveTo>
                  <a:pt x="27" y="397"/>
                </a:moveTo>
                <a:cubicBezTo>
                  <a:pt x="27" y="398"/>
                  <a:pt x="28" y="396"/>
                  <a:pt x="27" y="397"/>
                </a:cubicBezTo>
                <a:close/>
                <a:moveTo>
                  <a:pt x="25" y="343"/>
                </a:moveTo>
                <a:cubicBezTo>
                  <a:pt x="23" y="342"/>
                  <a:pt x="25" y="340"/>
                  <a:pt x="25" y="338"/>
                </a:cubicBezTo>
                <a:cubicBezTo>
                  <a:pt x="25" y="340"/>
                  <a:pt x="26" y="339"/>
                  <a:pt x="27" y="340"/>
                </a:cubicBezTo>
                <a:cubicBezTo>
                  <a:pt x="29" y="342"/>
                  <a:pt x="26" y="345"/>
                  <a:pt x="25" y="343"/>
                </a:cubicBezTo>
                <a:close/>
                <a:moveTo>
                  <a:pt x="31" y="233"/>
                </a:moveTo>
                <a:cubicBezTo>
                  <a:pt x="30" y="234"/>
                  <a:pt x="30" y="231"/>
                  <a:pt x="30" y="231"/>
                </a:cubicBezTo>
                <a:cubicBezTo>
                  <a:pt x="32" y="231"/>
                  <a:pt x="31" y="233"/>
                  <a:pt x="31" y="233"/>
                </a:cubicBezTo>
                <a:close/>
                <a:moveTo>
                  <a:pt x="33" y="290"/>
                </a:moveTo>
                <a:cubicBezTo>
                  <a:pt x="32" y="291"/>
                  <a:pt x="32" y="288"/>
                  <a:pt x="33" y="289"/>
                </a:cubicBezTo>
                <a:cubicBezTo>
                  <a:pt x="34" y="289"/>
                  <a:pt x="33" y="290"/>
                  <a:pt x="33" y="290"/>
                </a:cubicBezTo>
                <a:close/>
                <a:moveTo>
                  <a:pt x="34" y="385"/>
                </a:moveTo>
                <a:cubicBezTo>
                  <a:pt x="33" y="386"/>
                  <a:pt x="34" y="383"/>
                  <a:pt x="35" y="383"/>
                </a:cubicBezTo>
                <a:cubicBezTo>
                  <a:pt x="35" y="384"/>
                  <a:pt x="34" y="385"/>
                  <a:pt x="34" y="385"/>
                </a:cubicBezTo>
                <a:close/>
                <a:moveTo>
                  <a:pt x="36" y="305"/>
                </a:moveTo>
                <a:cubicBezTo>
                  <a:pt x="35" y="307"/>
                  <a:pt x="37" y="303"/>
                  <a:pt x="36" y="305"/>
                </a:cubicBezTo>
                <a:close/>
                <a:moveTo>
                  <a:pt x="37" y="344"/>
                </a:moveTo>
                <a:cubicBezTo>
                  <a:pt x="37" y="344"/>
                  <a:pt x="38" y="344"/>
                  <a:pt x="38" y="344"/>
                </a:cubicBezTo>
                <a:cubicBezTo>
                  <a:pt x="38" y="345"/>
                  <a:pt x="37" y="345"/>
                  <a:pt x="37" y="344"/>
                </a:cubicBezTo>
                <a:close/>
                <a:moveTo>
                  <a:pt x="29" y="469"/>
                </a:moveTo>
                <a:cubicBezTo>
                  <a:pt x="25" y="471"/>
                  <a:pt x="25" y="463"/>
                  <a:pt x="29" y="464"/>
                </a:cubicBezTo>
                <a:cubicBezTo>
                  <a:pt x="31" y="464"/>
                  <a:pt x="31" y="468"/>
                  <a:pt x="29" y="469"/>
                </a:cubicBezTo>
                <a:close/>
                <a:moveTo>
                  <a:pt x="34" y="484"/>
                </a:moveTo>
                <a:cubicBezTo>
                  <a:pt x="34" y="485"/>
                  <a:pt x="34" y="485"/>
                  <a:pt x="33" y="485"/>
                </a:cubicBezTo>
                <a:cubicBezTo>
                  <a:pt x="32" y="486"/>
                  <a:pt x="33" y="483"/>
                  <a:pt x="34" y="484"/>
                </a:cubicBezTo>
                <a:close/>
                <a:moveTo>
                  <a:pt x="36" y="466"/>
                </a:moveTo>
                <a:cubicBezTo>
                  <a:pt x="34" y="467"/>
                  <a:pt x="34" y="464"/>
                  <a:pt x="35" y="463"/>
                </a:cubicBezTo>
                <a:cubicBezTo>
                  <a:pt x="36" y="463"/>
                  <a:pt x="37" y="465"/>
                  <a:pt x="36" y="466"/>
                </a:cubicBezTo>
                <a:close/>
                <a:moveTo>
                  <a:pt x="38" y="455"/>
                </a:moveTo>
                <a:cubicBezTo>
                  <a:pt x="38" y="455"/>
                  <a:pt x="38" y="456"/>
                  <a:pt x="38" y="456"/>
                </a:cubicBezTo>
                <a:cubicBezTo>
                  <a:pt x="37" y="458"/>
                  <a:pt x="36" y="454"/>
                  <a:pt x="38" y="455"/>
                </a:cubicBezTo>
                <a:close/>
                <a:moveTo>
                  <a:pt x="38" y="461"/>
                </a:moveTo>
                <a:cubicBezTo>
                  <a:pt x="36" y="462"/>
                  <a:pt x="38" y="459"/>
                  <a:pt x="39" y="459"/>
                </a:cubicBezTo>
                <a:cubicBezTo>
                  <a:pt x="39" y="460"/>
                  <a:pt x="38" y="461"/>
                  <a:pt x="38" y="461"/>
                </a:cubicBezTo>
                <a:close/>
                <a:moveTo>
                  <a:pt x="66" y="337"/>
                </a:moveTo>
                <a:cubicBezTo>
                  <a:pt x="66" y="337"/>
                  <a:pt x="66" y="338"/>
                  <a:pt x="66" y="338"/>
                </a:cubicBezTo>
                <a:cubicBezTo>
                  <a:pt x="65" y="339"/>
                  <a:pt x="65" y="336"/>
                  <a:pt x="66" y="337"/>
                </a:cubicBezTo>
                <a:close/>
                <a:moveTo>
                  <a:pt x="66" y="380"/>
                </a:moveTo>
                <a:cubicBezTo>
                  <a:pt x="67" y="380"/>
                  <a:pt x="67" y="382"/>
                  <a:pt x="66" y="382"/>
                </a:cubicBezTo>
                <a:cubicBezTo>
                  <a:pt x="65" y="384"/>
                  <a:pt x="65" y="379"/>
                  <a:pt x="66" y="380"/>
                </a:cubicBezTo>
                <a:close/>
                <a:moveTo>
                  <a:pt x="63" y="330"/>
                </a:moveTo>
                <a:cubicBezTo>
                  <a:pt x="62" y="331"/>
                  <a:pt x="64" y="329"/>
                  <a:pt x="63" y="330"/>
                </a:cubicBezTo>
                <a:close/>
                <a:moveTo>
                  <a:pt x="64" y="346"/>
                </a:moveTo>
                <a:cubicBezTo>
                  <a:pt x="66" y="346"/>
                  <a:pt x="65" y="351"/>
                  <a:pt x="62" y="351"/>
                </a:cubicBezTo>
                <a:cubicBezTo>
                  <a:pt x="62" y="351"/>
                  <a:pt x="62" y="345"/>
                  <a:pt x="64" y="346"/>
                </a:cubicBezTo>
                <a:close/>
                <a:moveTo>
                  <a:pt x="64" y="393"/>
                </a:moveTo>
                <a:cubicBezTo>
                  <a:pt x="64" y="392"/>
                  <a:pt x="65" y="394"/>
                  <a:pt x="64" y="393"/>
                </a:cubicBezTo>
                <a:close/>
                <a:moveTo>
                  <a:pt x="61" y="364"/>
                </a:moveTo>
                <a:cubicBezTo>
                  <a:pt x="61" y="362"/>
                  <a:pt x="62" y="363"/>
                  <a:pt x="61" y="364"/>
                </a:cubicBezTo>
                <a:close/>
                <a:moveTo>
                  <a:pt x="61" y="403"/>
                </a:moveTo>
                <a:cubicBezTo>
                  <a:pt x="61" y="403"/>
                  <a:pt x="61" y="403"/>
                  <a:pt x="62" y="403"/>
                </a:cubicBezTo>
                <a:cubicBezTo>
                  <a:pt x="63" y="402"/>
                  <a:pt x="61" y="403"/>
                  <a:pt x="61" y="403"/>
                </a:cubicBezTo>
                <a:close/>
                <a:moveTo>
                  <a:pt x="61" y="365"/>
                </a:moveTo>
                <a:cubicBezTo>
                  <a:pt x="61" y="366"/>
                  <a:pt x="59" y="365"/>
                  <a:pt x="61" y="365"/>
                </a:cubicBezTo>
                <a:close/>
                <a:moveTo>
                  <a:pt x="58" y="357"/>
                </a:moveTo>
                <a:cubicBezTo>
                  <a:pt x="59" y="357"/>
                  <a:pt x="58" y="359"/>
                  <a:pt x="58" y="359"/>
                </a:cubicBezTo>
                <a:cubicBezTo>
                  <a:pt x="56" y="361"/>
                  <a:pt x="55" y="356"/>
                  <a:pt x="58" y="357"/>
                </a:cubicBezTo>
                <a:close/>
                <a:moveTo>
                  <a:pt x="56" y="405"/>
                </a:moveTo>
                <a:cubicBezTo>
                  <a:pt x="56" y="405"/>
                  <a:pt x="56" y="406"/>
                  <a:pt x="56" y="406"/>
                </a:cubicBezTo>
                <a:cubicBezTo>
                  <a:pt x="55" y="407"/>
                  <a:pt x="55" y="405"/>
                  <a:pt x="56" y="405"/>
                </a:cubicBezTo>
                <a:close/>
                <a:moveTo>
                  <a:pt x="54" y="374"/>
                </a:moveTo>
                <a:cubicBezTo>
                  <a:pt x="55" y="374"/>
                  <a:pt x="55" y="375"/>
                  <a:pt x="54" y="375"/>
                </a:cubicBezTo>
                <a:cubicBezTo>
                  <a:pt x="53" y="376"/>
                  <a:pt x="53" y="374"/>
                  <a:pt x="54" y="374"/>
                </a:cubicBezTo>
                <a:close/>
                <a:moveTo>
                  <a:pt x="49" y="398"/>
                </a:moveTo>
                <a:cubicBezTo>
                  <a:pt x="51" y="396"/>
                  <a:pt x="52" y="393"/>
                  <a:pt x="54" y="390"/>
                </a:cubicBezTo>
                <a:cubicBezTo>
                  <a:pt x="53" y="393"/>
                  <a:pt x="51" y="396"/>
                  <a:pt x="49" y="398"/>
                </a:cubicBezTo>
                <a:close/>
                <a:moveTo>
                  <a:pt x="51" y="408"/>
                </a:moveTo>
                <a:cubicBezTo>
                  <a:pt x="50" y="407"/>
                  <a:pt x="52" y="406"/>
                  <a:pt x="52" y="407"/>
                </a:cubicBezTo>
                <a:cubicBezTo>
                  <a:pt x="54" y="408"/>
                  <a:pt x="52" y="410"/>
                  <a:pt x="51" y="408"/>
                </a:cubicBezTo>
                <a:close/>
                <a:moveTo>
                  <a:pt x="46" y="404"/>
                </a:moveTo>
                <a:cubicBezTo>
                  <a:pt x="46" y="404"/>
                  <a:pt x="47" y="400"/>
                  <a:pt x="48" y="399"/>
                </a:cubicBezTo>
                <a:cubicBezTo>
                  <a:pt x="48" y="400"/>
                  <a:pt x="47" y="404"/>
                  <a:pt x="46" y="404"/>
                </a:cubicBezTo>
                <a:close/>
                <a:moveTo>
                  <a:pt x="47" y="409"/>
                </a:moveTo>
                <a:cubicBezTo>
                  <a:pt x="48" y="408"/>
                  <a:pt x="47" y="410"/>
                  <a:pt x="47" y="409"/>
                </a:cubicBezTo>
                <a:close/>
                <a:moveTo>
                  <a:pt x="48" y="392"/>
                </a:moveTo>
                <a:cubicBezTo>
                  <a:pt x="46" y="393"/>
                  <a:pt x="46" y="388"/>
                  <a:pt x="49" y="389"/>
                </a:cubicBezTo>
                <a:cubicBezTo>
                  <a:pt x="50" y="389"/>
                  <a:pt x="49" y="392"/>
                  <a:pt x="48" y="392"/>
                </a:cubicBezTo>
                <a:close/>
                <a:moveTo>
                  <a:pt x="53" y="323"/>
                </a:moveTo>
                <a:cubicBezTo>
                  <a:pt x="54" y="323"/>
                  <a:pt x="54" y="325"/>
                  <a:pt x="53" y="325"/>
                </a:cubicBezTo>
                <a:cubicBezTo>
                  <a:pt x="52" y="326"/>
                  <a:pt x="52" y="323"/>
                  <a:pt x="53" y="323"/>
                </a:cubicBezTo>
                <a:close/>
                <a:moveTo>
                  <a:pt x="50" y="354"/>
                </a:moveTo>
                <a:cubicBezTo>
                  <a:pt x="53" y="355"/>
                  <a:pt x="51" y="360"/>
                  <a:pt x="50" y="360"/>
                </a:cubicBezTo>
                <a:cubicBezTo>
                  <a:pt x="45" y="362"/>
                  <a:pt x="47" y="352"/>
                  <a:pt x="50" y="354"/>
                </a:cubicBezTo>
                <a:close/>
                <a:moveTo>
                  <a:pt x="47" y="328"/>
                </a:moveTo>
                <a:cubicBezTo>
                  <a:pt x="47" y="328"/>
                  <a:pt x="48" y="328"/>
                  <a:pt x="48" y="327"/>
                </a:cubicBezTo>
                <a:cubicBezTo>
                  <a:pt x="49" y="327"/>
                  <a:pt x="49" y="328"/>
                  <a:pt x="47" y="328"/>
                </a:cubicBezTo>
                <a:close/>
                <a:moveTo>
                  <a:pt x="48" y="267"/>
                </a:moveTo>
                <a:cubicBezTo>
                  <a:pt x="47" y="267"/>
                  <a:pt x="47" y="267"/>
                  <a:pt x="47" y="266"/>
                </a:cubicBezTo>
                <a:cubicBezTo>
                  <a:pt x="47" y="266"/>
                  <a:pt x="49" y="266"/>
                  <a:pt x="48" y="267"/>
                </a:cubicBezTo>
                <a:close/>
                <a:moveTo>
                  <a:pt x="46" y="377"/>
                </a:moveTo>
                <a:cubicBezTo>
                  <a:pt x="45" y="378"/>
                  <a:pt x="45" y="376"/>
                  <a:pt x="46" y="376"/>
                </a:cubicBezTo>
                <a:cubicBezTo>
                  <a:pt x="47" y="376"/>
                  <a:pt x="46" y="377"/>
                  <a:pt x="46" y="377"/>
                </a:cubicBezTo>
                <a:close/>
                <a:moveTo>
                  <a:pt x="45" y="192"/>
                </a:moveTo>
                <a:cubicBezTo>
                  <a:pt x="46" y="192"/>
                  <a:pt x="46" y="193"/>
                  <a:pt x="46" y="193"/>
                </a:cubicBezTo>
                <a:cubicBezTo>
                  <a:pt x="44" y="195"/>
                  <a:pt x="44" y="191"/>
                  <a:pt x="45" y="192"/>
                </a:cubicBezTo>
                <a:close/>
                <a:moveTo>
                  <a:pt x="45" y="207"/>
                </a:moveTo>
                <a:cubicBezTo>
                  <a:pt x="46" y="207"/>
                  <a:pt x="45" y="208"/>
                  <a:pt x="45" y="209"/>
                </a:cubicBezTo>
                <a:cubicBezTo>
                  <a:pt x="44" y="210"/>
                  <a:pt x="44" y="207"/>
                  <a:pt x="45" y="207"/>
                </a:cubicBezTo>
                <a:close/>
                <a:moveTo>
                  <a:pt x="44" y="360"/>
                </a:moveTo>
                <a:cubicBezTo>
                  <a:pt x="45" y="361"/>
                  <a:pt x="44" y="363"/>
                  <a:pt x="44" y="363"/>
                </a:cubicBezTo>
                <a:cubicBezTo>
                  <a:pt x="42" y="364"/>
                  <a:pt x="43" y="360"/>
                  <a:pt x="44" y="360"/>
                </a:cubicBezTo>
                <a:close/>
                <a:moveTo>
                  <a:pt x="43" y="227"/>
                </a:moveTo>
                <a:cubicBezTo>
                  <a:pt x="43" y="227"/>
                  <a:pt x="43" y="228"/>
                  <a:pt x="43" y="228"/>
                </a:cubicBezTo>
                <a:cubicBezTo>
                  <a:pt x="42" y="229"/>
                  <a:pt x="43" y="226"/>
                  <a:pt x="43" y="227"/>
                </a:cubicBezTo>
                <a:close/>
                <a:moveTo>
                  <a:pt x="40" y="322"/>
                </a:moveTo>
                <a:cubicBezTo>
                  <a:pt x="41" y="320"/>
                  <a:pt x="39" y="322"/>
                  <a:pt x="40" y="322"/>
                </a:cubicBezTo>
                <a:close/>
                <a:moveTo>
                  <a:pt x="36" y="429"/>
                </a:moveTo>
                <a:cubicBezTo>
                  <a:pt x="35" y="431"/>
                  <a:pt x="35" y="428"/>
                  <a:pt x="36" y="428"/>
                </a:cubicBezTo>
                <a:cubicBezTo>
                  <a:pt x="36" y="429"/>
                  <a:pt x="36" y="429"/>
                  <a:pt x="36" y="429"/>
                </a:cubicBezTo>
                <a:close/>
                <a:moveTo>
                  <a:pt x="35" y="428"/>
                </a:moveTo>
                <a:cubicBezTo>
                  <a:pt x="34" y="427"/>
                  <a:pt x="36" y="425"/>
                  <a:pt x="36" y="426"/>
                </a:cubicBezTo>
                <a:cubicBezTo>
                  <a:pt x="37" y="428"/>
                  <a:pt x="35" y="429"/>
                  <a:pt x="35" y="428"/>
                </a:cubicBezTo>
                <a:close/>
                <a:moveTo>
                  <a:pt x="38" y="424"/>
                </a:moveTo>
                <a:cubicBezTo>
                  <a:pt x="35" y="427"/>
                  <a:pt x="33" y="418"/>
                  <a:pt x="37" y="417"/>
                </a:cubicBezTo>
                <a:cubicBezTo>
                  <a:pt x="35" y="420"/>
                  <a:pt x="39" y="419"/>
                  <a:pt x="39" y="420"/>
                </a:cubicBezTo>
                <a:cubicBezTo>
                  <a:pt x="39" y="421"/>
                  <a:pt x="39" y="423"/>
                  <a:pt x="38" y="424"/>
                </a:cubicBezTo>
                <a:close/>
                <a:moveTo>
                  <a:pt x="40" y="358"/>
                </a:moveTo>
                <a:cubicBezTo>
                  <a:pt x="38" y="358"/>
                  <a:pt x="41" y="356"/>
                  <a:pt x="40" y="357"/>
                </a:cubicBezTo>
                <a:cubicBezTo>
                  <a:pt x="40" y="357"/>
                  <a:pt x="40" y="358"/>
                  <a:pt x="40" y="358"/>
                </a:cubicBezTo>
                <a:close/>
                <a:moveTo>
                  <a:pt x="41" y="431"/>
                </a:moveTo>
                <a:cubicBezTo>
                  <a:pt x="42" y="430"/>
                  <a:pt x="43" y="432"/>
                  <a:pt x="41" y="431"/>
                </a:cubicBezTo>
                <a:close/>
                <a:moveTo>
                  <a:pt x="42" y="382"/>
                </a:moveTo>
                <a:cubicBezTo>
                  <a:pt x="42" y="380"/>
                  <a:pt x="43" y="381"/>
                  <a:pt x="44" y="380"/>
                </a:cubicBezTo>
                <a:cubicBezTo>
                  <a:pt x="44" y="379"/>
                  <a:pt x="44" y="378"/>
                  <a:pt x="46" y="378"/>
                </a:cubicBezTo>
                <a:cubicBezTo>
                  <a:pt x="50" y="378"/>
                  <a:pt x="48" y="384"/>
                  <a:pt x="45" y="385"/>
                </a:cubicBezTo>
                <a:cubicBezTo>
                  <a:pt x="43" y="385"/>
                  <a:pt x="41" y="385"/>
                  <a:pt x="42" y="382"/>
                </a:cubicBezTo>
                <a:close/>
                <a:moveTo>
                  <a:pt x="44" y="391"/>
                </a:moveTo>
                <a:cubicBezTo>
                  <a:pt x="43" y="392"/>
                  <a:pt x="45" y="389"/>
                  <a:pt x="44" y="391"/>
                </a:cubicBezTo>
                <a:close/>
                <a:moveTo>
                  <a:pt x="42" y="449"/>
                </a:moveTo>
                <a:cubicBezTo>
                  <a:pt x="42" y="450"/>
                  <a:pt x="43" y="447"/>
                  <a:pt x="42" y="449"/>
                </a:cubicBezTo>
                <a:close/>
                <a:moveTo>
                  <a:pt x="44" y="465"/>
                </a:moveTo>
                <a:cubicBezTo>
                  <a:pt x="45" y="464"/>
                  <a:pt x="43" y="466"/>
                  <a:pt x="44" y="465"/>
                </a:cubicBezTo>
                <a:close/>
                <a:moveTo>
                  <a:pt x="45" y="462"/>
                </a:moveTo>
                <a:cubicBezTo>
                  <a:pt x="45" y="462"/>
                  <a:pt x="45" y="462"/>
                  <a:pt x="46" y="462"/>
                </a:cubicBezTo>
                <a:cubicBezTo>
                  <a:pt x="46" y="462"/>
                  <a:pt x="46" y="462"/>
                  <a:pt x="46" y="462"/>
                </a:cubicBezTo>
                <a:cubicBezTo>
                  <a:pt x="46" y="462"/>
                  <a:pt x="45" y="462"/>
                  <a:pt x="45" y="462"/>
                </a:cubicBezTo>
                <a:close/>
                <a:moveTo>
                  <a:pt x="43" y="445"/>
                </a:moveTo>
                <a:cubicBezTo>
                  <a:pt x="43" y="443"/>
                  <a:pt x="45" y="441"/>
                  <a:pt x="47" y="439"/>
                </a:cubicBezTo>
                <a:cubicBezTo>
                  <a:pt x="47" y="442"/>
                  <a:pt x="44" y="443"/>
                  <a:pt x="43" y="445"/>
                </a:cubicBezTo>
                <a:close/>
                <a:moveTo>
                  <a:pt x="46" y="434"/>
                </a:moveTo>
                <a:cubicBezTo>
                  <a:pt x="46" y="434"/>
                  <a:pt x="47" y="433"/>
                  <a:pt x="46" y="434"/>
                </a:cubicBezTo>
                <a:cubicBezTo>
                  <a:pt x="46" y="434"/>
                  <a:pt x="46" y="434"/>
                  <a:pt x="46" y="434"/>
                </a:cubicBezTo>
                <a:close/>
                <a:moveTo>
                  <a:pt x="47" y="432"/>
                </a:moveTo>
                <a:cubicBezTo>
                  <a:pt x="48" y="430"/>
                  <a:pt x="50" y="431"/>
                  <a:pt x="47" y="432"/>
                </a:cubicBezTo>
                <a:close/>
                <a:moveTo>
                  <a:pt x="50" y="418"/>
                </a:moveTo>
                <a:cubicBezTo>
                  <a:pt x="50" y="419"/>
                  <a:pt x="52" y="419"/>
                  <a:pt x="51" y="420"/>
                </a:cubicBezTo>
                <a:cubicBezTo>
                  <a:pt x="52" y="419"/>
                  <a:pt x="48" y="420"/>
                  <a:pt x="49" y="421"/>
                </a:cubicBezTo>
                <a:cubicBezTo>
                  <a:pt x="48" y="420"/>
                  <a:pt x="48" y="419"/>
                  <a:pt x="49" y="418"/>
                </a:cubicBezTo>
                <a:cubicBezTo>
                  <a:pt x="47" y="418"/>
                  <a:pt x="45" y="417"/>
                  <a:pt x="45" y="416"/>
                </a:cubicBezTo>
                <a:cubicBezTo>
                  <a:pt x="44" y="413"/>
                  <a:pt x="47" y="411"/>
                  <a:pt x="49" y="410"/>
                </a:cubicBezTo>
                <a:cubicBezTo>
                  <a:pt x="49" y="410"/>
                  <a:pt x="49" y="409"/>
                  <a:pt x="49" y="409"/>
                </a:cubicBezTo>
                <a:cubicBezTo>
                  <a:pt x="50" y="409"/>
                  <a:pt x="51" y="411"/>
                  <a:pt x="51" y="411"/>
                </a:cubicBezTo>
                <a:cubicBezTo>
                  <a:pt x="53" y="412"/>
                  <a:pt x="52" y="407"/>
                  <a:pt x="54" y="407"/>
                </a:cubicBezTo>
                <a:cubicBezTo>
                  <a:pt x="56" y="408"/>
                  <a:pt x="54" y="410"/>
                  <a:pt x="54" y="411"/>
                </a:cubicBezTo>
                <a:cubicBezTo>
                  <a:pt x="54" y="413"/>
                  <a:pt x="55" y="413"/>
                  <a:pt x="53" y="414"/>
                </a:cubicBezTo>
                <a:cubicBezTo>
                  <a:pt x="52" y="415"/>
                  <a:pt x="51" y="418"/>
                  <a:pt x="50" y="418"/>
                </a:cubicBezTo>
                <a:close/>
                <a:moveTo>
                  <a:pt x="58" y="443"/>
                </a:moveTo>
                <a:cubicBezTo>
                  <a:pt x="57" y="444"/>
                  <a:pt x="57" y="442"/>
                  <a:pt x="58" y="441"/>
                </a:cubicBezTo>
                <a:cubicBezTo>
                  <a:pt x="59" y="441"/>
                  <a:pt x="58" y="442"/>
                  <a:pt x="58" y="443"/>
                </a:cubicBezTo>
                <a:close/>
                <a:moveTo>
                  <a:pt x="59" y="440"/>
                </a:moveTo>
                <a:cubicBezTo>
                  <a:pt x="57" y="441"/>
                  <a:pt x="59" y="437"/>
                  <a:pt x="60" y="439"/>
                </a:cubicBezTo>
                <a:cubicBezTo>
                  <a:pt x="60" y="439"/>
                  <a:pt x="59" y="440"/>
                  <a:pt x="59" y="440"/>
                </a:cubicBezTo>
                <a:close/>
                <a:moveTo>
                  <a:pt x="63" y="454"/>
                </a:moveTo>
                <a:cubicBezTo>
                  <a:pt x="64" y="455"/>
                  <a:pt x="62" y="456"/>
                  <a:pt x="63" y="454"/>
                </a:cubicBezTo>
                <a:close/>
                <a:moveTo>
                  <a:pt x="60" y="436"/>
                </a:moveTo>
                <a:cubicBezTo>
                  <a:pt x="60" y="435"/>
                  <a:pt x="64" y="434"/>
                  <a:pt x="64" y="437"/>
                </a:cubicBezTo>
                <a:cubicBezTo>
                  <a:pt x="64" y="439"/>
                  <a:pt x="58" y="440"/>
                  <a:pt x="60" y="436"/>
                </a:cubicBezTo>
                <a:close/>
                <a:moveTo>
                  <a:pt x="63" y="432"/>
                </a:moveTo>
                <a:cubicBezTo>
                  <a:pt x="62" y="431"/>
                  <a:pt x="64" y="430"/>
                  <a:pt x="63" y="432"/>
                </a:cubicBezTo>
                <a:close/>
                <a:moveTo>
                  <a:pt x="64" y="427"/>
                </a:moveTo>
                <a:cubicBezTo>
                  <a:pt x="64" y="427"/>
                  <a:pt x="64" y="428"/>
                  <a:pt x="64" y="428"/>
                </a:cubicBezTo>
                <a:cubicBezTo>
                  <a:pt x="63" y="429"/>
                  <a:pt x="63" y="426"/>
                  <a:pt x="64" y="427"/>
                </a:cubicBezTo>
                <a:close/>
                <a:moveTo>
                  <a:pt x="64" y="419"/>
                </a:moveTo>
                <a:cubicBezTo>
                  <a:pt x="62" y="420"/>
                  <a:pt x="59" y="423"/>
                  <a:pt x="58" y="424"/>
                </a:cubicBezTo>
                <a:cubicBezTo>
                  <a:pt x="57" y="426"/>
                  <a:pt x="56" y="428"/>
                  <a:pt x="54" y="429"/>
                </a:cubicBezTo>
                <a:cubicBezTo>
                  <a:pt x="57" y="423"/>
                  <a:pt x="63" y="418"/>
                  <a:pt x="66" y="413"/>
                </a:cubicBezTo>
                <a:cubicBezTo>
                  <a:pt x="69" y="409"/>
                  <a:pt x="65" y="417"/>
                  <a:pt x="64" y="419"/>
                </a:cubicBezTo>
                <a:close/>
                <a:moveTo>
                  <a:pt x="66" y="423"/>
                </a:moveTo>
                <a:cubicBezTo>
                  <a:pt x="66" y="423"/>
                  <a:pt x="65" y="423"/>
                  <a:pt x="65" y="423"/>
                </a:cubicBezTo>
                <a:cubicBezTo>
                  <a:pt x="64" y="423"/>
                  <a:pt x="66" y="422"/>
                  <a:pt x="66" y="423"/>
                </a:cubicBezTo>
                <a:close/>
                <a:moveTo>
                  <a:pt x="67" y="443"/>
                </a:moveTo>
                <a:cubicBezTo>
                  <a:pt x="67" y="443"/>
                  <a:pt x="67" y="443"/>
                  <a:pt x="67" y="443"/>
                </a:cubicBezTo>
                <a:cubicBezTo>
                  <a:pt x="67" y="441"/>
                  <a:pt x="69" y="445"/>
                  <a:pt x="67" y="443"/>
                </a:cubicBezTo>
                <a:close/>
                <a:moveTo>
                  <a:pt x="67" y="430"/>
                </a:moveTo>
                <a:cubicBezTo>
                  <a:pt x="67" y="431"/>
                  <a:pt x="66" y="432"/>
                  <a:pt x="66" y="431"/>
                </a:cubicBezTo>
                <a:cubicBezTo>
                  <a:pt x="62" y="428"/>
                  <a:pt x="71" y="428"/>
                  <a:pt x="67" y="430"/>
                </a:cubicBezTo>
                <a:close/>
                <a:moveTo>
                  <a:pt x="68" y="358"/>
                </a:moveTo>
                <a:cubicBezTo>
                  <a:pt x="65" y="360"/>
                  <a:pt x="65" y="354"/>
                  <a:pt x="67" y="355"/>
                </a:cubicBezTo>
                <a:cubicBezTo>
                  <a:pt x="69" y="355"/>
                  <a:pt x="68" y="357"/>
                  <a:pt x="68" y="358"/>
                </a:cubicBezTo>
                <a:close/>
                <a:moveTo>
                  <a:pt x="80" y="396"/>
                </a:moveTo>
                <a:cubicBezTo>
                  <a:pt x="79" y="397"/>
                  <a:pt x="80" y="395"/>
                  <a:pt x="80" y="396"/>
                </a:cubicBezTo>
                <a:close/>
                <a:moveTo>
                  <a:pt x="76" y="428"/>
                </a:moveTo>
                <a:cubicBezTo>
                  <a:pt x="76" y="428"/>
                  <a:pt x="76" y="428"/>
                  <a:pt x="76" y="428"/>
                </a:cubicBezTo>
                <a:cubicBezTo>
                  <a:pt x="77" y="427"/>
                  <a:pt x="76" y="428"/>
                  <a:pt x="76" y="428"/>
                </a:cubicBezTo>
                <a:close/>
                <a:moveTo>
                  <a:pt x="76" y="353"/>
                </a:moveTo>
                <a:cubicBezTo>
                  <a:pt x="76" y="355"/>
                  <a:pt x="75" y="355"/>
                  <a:pt x="75" y="356"/>
                </a:cubicBezTo>
                <a:cubicBezTo>
                  <a:pt x="74" y="355"/>
                  <a:pt x="76" y="354"/>
                  <a:pt x="76" y="353"/>
                </a:cubicBezTo>
                <a:close/>
                <a:moveTo>
                  <a:pt x="75" y="387"/>
                </a:moveTo>
                <a:cubicBezTo>
                  <a:pt x="74" y="387"/>
                  <a:pt x="77" y="386"/>
                  <a:pt x="75" y="387"/>
                </a:cubicBezTo>
                <a:close/>
                <a:moveTo>
                  <a:pt x="73" y="290"/>
                </a:moveTo>
                <a:cubicBezTo>
                  <a:pt x="73" y="291"/>
                  <a:pt x="73" y="292"/>
                  <a:pt x="72" y="293"/>
                </a:cubicBezTo>
                <a:cubicBezTo>
                  <a:pt x="72" y="292"/>
                  <a:pt x="73" y="290"/>
                  <a:pt x="73" y="290"/>
                </a:cubicBezTo>
                <a:close/>
                <a:moveTo>
                  <a:pt x="69" y="327"/>
                </a:moveTo>
                <a:cubicBezTo>
                  <a:pt x="69" y="326"/>
                  <a:pt x="71" y="325"/>
                  <a:pt x="72" y="324"/>
                </a:cubicBezTo>
                <a:cubicBezTo>
                  <a:pt x="72" y="326"/>
                  <a:pt x="70" y="326"/>
                  <a:pt x="69" y="327"/>
                </a:cubicBezTo>
                <a:close/>
                <a:moveTo>
                  <a:pt x="72" y="428"/>
                </a:moveTo>
                <a:cubicBezTo>
                  <a:pt x="70" y="430"/>
                  <a:pt x="71" y="426"/>
                  <a:pt x="72" y="427"/>
                </a:cubicBezTo>
                <a:cubicBezTo>
                  <a:pt x="73" y="427"/>
                  <a:pt x="73" y="428"/>
                  <a:pt x="72" y="428"/>
                </a:cubicBezTo>
                <a:close/>
                <a:moveTo>
                  <a:pt x="72" y="367"/>
                </a:moveTo>
                <a:cubicBezTo>
                  <a:pt x="72" y="367"/>
                  <a:pt x="72" y="368"/>
                  <a:pt x="72" y="368"/>
                </a:cubicBezTo>
                <a:cubicBezTo>
                  <a:pt x="71" y="369"/>
                  <a:pt x="71" y="366"/>
                  <a:pt x="72" y="367"/>
                </a:cubicBezTo>
                <a:close/>
                <a:moveTo>
                  <a:pt x="73" y="356"/>
                </a:moveTo>
                <a:cubicBezTo>
                  <a:pt x="70" y="358"/>
                  <a:pt x="71" y="351"/>
                  <a:pt x="73" y="352"/>
                </a:cubicBezTo>
                <a:cubicBezTo>
                  <a:pt x="75" y="353"/>
                  <a:pt x="73" y="356"/>
                  <a:pt x="73" y="356"/>
                </a:cubicBezTo>
                <a:close/>
                <a:moveTo>
                  <a:pt x="75" y="401"/>
                </a:moveTo>
                <a:cubicBezTo>
                  <a:pt x="73" y="402"/>
                  <a:pt x="73" y="397"/>
                  <a:pt x="75" y="398"/>
                </a:cubicBezTo>
                <a:cubicBezTo>
                  <a:pt x="76" y="399"/>
                  <a:pt x="76" y="400"/>
                  <a:pt x="75" y="401"/>
                </a:cubicBezTo>
                <a:close/>
                <a:moveTo>
                  <a:pt x="76" y="434"/>
                </a:moveTo>
                <a:cubicBezTo>
                  <a:pt x="77" y="432"/>
                  <a:pt x="79" y="430"/>
                  <a:pt x="80" y="429"/>
                </a:cubicBezTo>
                <a:cubicBezTo>
                  <a:pt x="79" y="431"/>
                  <a:pt x="78" y="432"/>
                  <a:pt x="76" y="434"/>
                </a:cubicBezTo>
                <a:close/>
                <a:moveTo>
                  <a:pt x="81" y="418"/>
                </a:moveTo>
                <a:cubicBezTo>
                  <a:pt x="80" y="418"/>
                  <a:pt x="82" y="417"/>
                  <a:pt x="81" y="418"/>
                </a:cubicBezTo>
                <a:close/>
                <a:moveTo>
                  <a:pt x="81" y="339"/>
                </a:moveTo>
                <a:cubicBezTo>
                  <a:pt x="80" y="339"/>
                  <a:pt x="81" y="337"/>
                  <a:pt x="82" y="337"/>
                </a:cubicBezTo>
                <a:cubicBezTo>
                  <a:pt x="82" y="338"/>
                  <a:pt x="81" y="338"/>
                  <a:pt x="81" y="339"/>
                </a:cubicBezTo>
                <a:close/>
                <a:moveTo>
                  <a:pt x="87" y="450"/>
                </a:moveTo>
                <a:cubicBezTo>
                  <a:pt x="87" y="450"/>
                  <a:pt x="88" y="449"/>
                  <a:pt x="89" y="449"/>
                </a:cubicBezTo>
                <a:cubicBezTo>
                  <a:pt x="89" y="449"/>
                  <a:pt x="88" y="450"/>
                  <a:pt x="87" y="450"/>
                </a:cubicBezTo>
                <a:close/>
                <a:moveTo>
                  <a:pt x="90" y="457"/>
                </a:moveTo>
                <a:cubicBezTo>
                  <a:pt x="90" y="457"/>
                  <a:pt x="90" y="457"/>
                  <a:pt x="90" y="456"/>
                </a:cubicBezTo>
                <a:cubicBezTo>
                  <a:pt x="92" y="455"/>
                  <a:pt x="91" y="456"/>
                  <a:pt x="90" y="457"/>
                </a:cubicBezTo>
                <a:close/>
                <a:moveTo>
                  <a:pt x="91" y="435"/>
                </a:moveTo>
                <a:cubicBezTo>
                  <a:pt x="89" y="437"/>
                  <a:pt x="92" y="434"/>
                  <a:pt x="91" y="435"/>
                </a:cubicBezTo>
                <a:close/>
                <a:moveTo>
                  <a:pt x="109" y="452"/>
                </a:moveTo>
                <a:cubicBezTo>
                  <a:pt x="109" y="453"/>
                  <a:pt x="108" y="452"/>
                  <a:pt x="109" y="452"/>
                </a:cubicBezTo>
                <a:close/>
                <a:moveTo>
                  <a:pt x="104" y="235"/>
                </a:moveTo>
                <a:cubicBezTo>
                  <a:pt x="103" y="236"/>
                  <a:pt x="105" y="234"/>
                  <a:pt x="104" y="235"/>
                </a:cubicBezTo>
                <a:close/>
                <a:moveTo>
                  <a:pt x="100" y="336"/>
                </a:moveTo>
                <a:cubicBezTo>
                  <a:pt x="101" y="335"/>
                  <a:pt x="101" y="335"/>
                  <a:pt x="100" y="336"/>
                </a:cubicBezTo>
                <a:close/>
                <a:moveTo>
                  <a:pt x="98" y="332"/>
                </a:moveTo>
                <a:cubicBezTo>
                  <a:pt x="97" y="331"/>
                  <a:pt x="100" y="331"/>
                  <a:pt x="98" y="332"/>
                </a:cubicBezTo>
                <a:close/>
                <a:moveTo>
                  <a:pt x="96" y="215"/>
                </a:moveTo>
                <a:cubicBezTo>
                  <a:pt x="97" y="215"/>
                  <a:pt x="97" y="216"/>
                  <a:pt x="96" y="217"/>
                </a:cubicBezTo>
                <a:cubicBezTo>
                  <a:pt x="95" y="219"/>
                  <a:pt x="95" y="214"/>
                  <a:pt x="96" y="215"/>
                </a:cubicBezTo>
                <a:close/>
                <a:moveTo>
                  <a:pt x="87" y="329"/>
                </a:moveTo>
                <a:cubicBezTo>
                  <a:pt x="87" y="330"/>
                  <a:pt x="86" y="330"/>
                  <a:pt x="86" y="331"/>
                </a:cubicBezTo>
                <a:cubicBezTo>
                  <a:pt x="85" y="331"/>
                  <a:pt x="86" y="329"/>
                  <a:pt x="87" y="329"/>
                </a:cubicBezTo>
                <a:close/>
                <a:moveTo>
                  <a:pt x="85" y="293"/>
                </a:moveTo>
                <a:cubicBezTo>
                  <a:pt x="85" y="293"/>
                  <a:pt x="85" y="294"/>
                  <a:pt x="85" y="294"/>
                </a:cubicBezTo>
                <a:cubicBezTo>
                  <a:pt x="83" y="296"/>
                  <a:pt x="83" y="291"/>
                  <a:pt x="85" y="293"/>
                </a:cubicBezTo>
                <a:close/>
                <a:moveTo>
                  <a:pt x="84" y="332"/>
                </a:moveTo>
                <a:cubicBezTo>
                  <a:pt x="86" y="333"/>
                  <a:pt x="84" y="335"/>
                  <a:pt x="82" y="336"/>
                </a:cubicBezTo>
                <a:cubicBezTo>
                  <a:pt x="83" y="334"/>
                  <a:pt x="85" y="333"/>
                  <a:pt x="84" y="332"/>
                </a:cubicBezTo>
                <a:close/>
                <a:moveTo>
                  <a:pt x="83" y="441"/>
                </a:moveTo>
                <a:cubicBezTo>
                  <a:pt x="82" y="442"/>
                  <a:pt x="84" y="440"/>
                  <a:pt x="83" y="441"/>
                </a:cubicBezTo>
                <a:close/>
                <a:moveTo>
                  <a:pt x="84" y="423"/>
                </a:moveTo>
                <a:cubicBezTo>
                  <a:pt x="83" y="424"/>
                  <a:pt x="84" y="421"/>
                  <a:pt x="85" y="422"/>
                </a:cubicBezTo>
                <a:cubicBezTo>
                  <a:pt x="86" y="422"/>
                  <a:pt x="85" y="423"/>
                  <a:pt x="84" y="423"/>
                </a:cubicBezTo>
                <a:close/>
                <a:moveTo>
                  <a:pt x="88" y="356"/>
                </a:moveTo>
                <a:cubicBezTo>
                  <a:pt x="86" y="358"/>
                  <a:pt x="87" y="353"/>
                  <a:pt x="88" y="354"/>
                </a:cubicBezTo>
                <a:cubicBezTo>
                  <a:pt x="89" y="355"/>
                  <a:pt x="88" y="356"/>
                  <a:pt x="88" y="356"/>
                </a:cubicBezTo>
                <a:close/>
                <a:moveTo>
                  <a:pt x="96" y="325"/>
                </a:moveTo>
                <a:cubicBezTo>
                  <a:pt x="96" y="326"/>
                  <a:pt x="95" y="326"/>
                  <a:pt x="94" y="328"/>
                </a:cubicBezTo>
                <a:cubicBezTo>
                  <a:pt x="92" y="330"/>
                  <a:pt x="89" y="335"/>
                  <a:pt x="87" y="340"/>
                </a:cubicBezTo>
                <a:cubicBezTo>
                  <a:pt x="85" y="344"/>
                  <a:pt x="85" y="347"/>
                  <a:pt x="83" y="350"/>
                </a:cubicBezTo>
                <a:cubicBezTo>
                  <a:pt x="83" y="350"/>
                  <a:pt x="82" y="350"/>
                  <a:pt x="82" y="350"/>
                </a:cubicBezTo>
                <a:cubicBezTo>
                  <a:pt x="81" y="350"/>
                  <a:pt x="84" y="344"/>
                  <a:pt x="85" y="342"/>
                </a:cubicBezTo>
                <a:cubicBezTo>
                  <a:pt x="86" y="339"/>
                  <a:pt x="87" y="337"/>
                  <a:pt x="89" y="334"/>
                </a:cubicBezTo>
                <a:cubicBezTo>
                  <a:pt x="90" y="332"/>
                  <a:pt x="93" y="329"/>
                  <a:pt x="93" y="326"/>
                </a:cubicBezTo>
                <a:cubicBezTo>
                  <a:pt x="93" y="326"/>
                  <a:pt x="92" y="325"/>
                  <a:pt x="92" y="324"/>
                </a:cubicBezTo>
                <a:cubicBezTo>
                  <a:pt x="92" y="320"/>
                  <a:pt x="99" y="320"/>
                  <a:pt x="96" y="325"/>
                </a:cubicBezTo>
                <a:close/>
                <a:moveTo>
                  <a:pt x="96" y="227"/>
                </a:moveTo>
                <a:cubicBezTo>
                  <a:pt x="97" y="227"/>
                  <a:pt x="97" y="228"/>
                  <a:pt x="97" y="229"/>
                </a:cubicBezTo>
                <a:cubicBezTo>
                  <a:pt x="96" y="230"/>
                  <a:pt x="96" y="227"/>
                  <a:pt x="96" y="227"/>
                </a:cubicBezTo>
                <a:close/>
                <a:moveTo>
                  <a:pt x="98" y="402"/>
                </a:moveTo>
                <a:cubicBezTo>
                  <a:pt x="98" y="402"/>
                  <a:pt x="98" y="402"/>
                  <a:pt x="97" y="402"/>
                </a:cubicBezTo>
                <a:cubicBezTo>
                  <a:pt x="95" y="401"/>
                  <a:pt x="100" y="400"/>
                  <a:pt x="98" y="402"/>
                </a:cubicBezTo>
                <a:close/>
                <a:moveTo>
                  <a:pt x="99" y="416"/>
                </a:moveTo>
                <a:cubicBezTo>
                  <a:pt x="101" y="416"/>
                  <a:pt x="100" y="421"/>
                  <a:pt x="99" y="422"/>
                </a:cubicBezTo>
                <a:cubicBezTo>
                  <a:pt x="94" y="424"/>
                  <a:pt x="98" y="416"/>
                  <a:pt x="99" y="416"/>
                </a:cubicBezTo>
                <a:close/>
                <a:moveTo>
                  <a:pt x="101" y="433"/>
                </a:moveTo>
                <a:cubicBezTo>
                  <a:pt x="103" y="434"/>
                  <a:pt x="100" y="438"/>
                  <a:pt x="100" y="439"/>
                </a:cubicBezTo>
                <a:cubicBezTo>
                  <a:pt x="94" y="441"/>
                  <a:pt x="98" y="431"/>
                  <a:pt x="101" y="433"/>
                </a:cubicBezTo>
                <a:close/>
                <a:moveTo>
                  <a:pt x="100" y="444"/>
                </a:moveTo>
                <a:cubicBezTo>
                  <a:pt x="101" y="443"/>
                  <a:pt x="99" y="445"/>
                  <a:pt x="100" y="444"/>
                </a:cubicBezTo>
                <a:close/>
                <a:moveTo>
                  <a:pt x="102" y="444"/>
                </a:moveTo>
                <a:cubicBezTo>
                  <a:pt x="102" y="445"/>
                  <a:pt x="101" y="445"/>
                  <a:pt x="101" y="445"/>
                </a:cubicBezTo>
                <a:cubicBezTo>
                  <a:pt x="99" y="443"/>
                  <a:pt x="104" y="442"/>
                  <a:pt x="102" y="444"/>
                </a:cubicBezTo>
                <a:close/>
                <a:moveTo>
                  <a:pt x="102" y="431"/>
                </a:moveTo>
                <a:cubicBezTo>
                  <a:pt x="100" y="432"/>
                  <a:pt x="100" y="428"/>
                  <a:pt x="102" y="429"/>
                </a:cubicBezTo>
                <a:cubicBezTo>
                  <a:pt x="103" y="429"/>
                  <a:pt x="103" y="430"/>
                  <a:pt x="102" y="431"/>
                </a:cubicBezTo>
                <a:close/>
                <a:moveTo>
                  <a:pt x="103" y="445"/>
                </a:moveTo>
                <a:cubicBezTo>
                  <a:pt x="102" y="447"/>
                  <a:pt x="105" y="444"/>
                  <a:pt x="103" y="445"/>
                </a:cubicBezTo>
                <a:close/>
                <a:moveTo>
                  <a:pt x="104" y="399"/>
                </a:moveTo>
                <a:cubicBezTo>
                  <a:pt x="103" y="399"/>
                  <a:pt x="103" y="397"/>
                  <a:pt x="104" y="398"/>
                </a:cubicBezTo>
                <a:cubicBezTo>
                  <a:pt x="104" y="398"/>
                  <a:pt x="104" y="399"/>
                  <a:pt x="104" y="399"/>
                </a:cubicBezTo>
                <a:close/>
                <a:moveTo>
                  <a:pt x="104" y="288"/>
                </a:moveTo>
                <a:cubicBezTo>
                  <a:pt x="103" y="290"/>
                  <a:pt x="105" y="287"/>
                  <a:pt x="104" y="288"/>
                </a:cubicBezTo>
                <a:close/>
                <a:moveTo>
                  <a:pt x="105" y="307"/>
                </a:moveTo>
                <a:cubicBezTo>
                  <a:pt x="104" y="306"/>
                  <a:pt x="106" y="303"/>
                  <a:pt x="107" y="302"/>
                </a:cubicBezTo>
                <a:cubicBezTo>
                  <a:pt x="107" y="304"/>
                  <a:pt x="106" y="306"/>
                  <a:pt x="105" y="307"/>
                </a:cubicBezTo>
                <a:close/>
                <a:moveTo>
                  <a:pt x="106" y="414"/>
                </a:moveTo>
                <a:cubicBezTo>
                  <a:pt x="106" y="413"/>
                  <a:pt x="108" y="413"/>
                  <a:pt x="106" y="414"/>
                </a:cubicBezTo>
                <a:close/>
                <a:moveTo>
                  <a:pt x="108" y="455"/>
                </a:moveTo>
                <a:cubicBezTo>
                  <a:pt x="107" y="454"/>
                  <a:pt x="109" y="454"/>
                  <a:pt x="108" y="455"/>
                </a:cubicBezTo>
                <a:close/>
                <a:moveTo>
                  <a:pt x="107" y="441"/>
                </a:moveTo>
                <a:cubicBezTo>
                  <a:pt x="106" y="441"/>
                  <a:pt x="108" y="440"/>
                  <a:pt x="108" y="440"/>
                </a:cubicBezTo>
                <a:cubicBezTo>
                  <a:pt x="108" y="440"/>
                  <a:pt x="107" y="440"/>
                  <a:pt x="107" y="441"/>
                </a:cubicBezTo>
                <a:close/>
                <a:moveTo>
                  <a:pt x="108" y="388"/>
                </a:moveTo>
                <a:cubicBezTo>
                  <a:pt x="107" y="390"/>
                  <a:pt x="107" y="386"/>
                  <a:pt x="108" y="387"/>
                </a:cubicBezTo>
                <a:cubicBezTo>
                  <a:pt x="109" y="387"/>
                  <a:pt x="108" y="388"/>
                  <a:pt x="108" y="388"/>
                </a:cubicBezTo>
                <a:close/>
                <a:moveTo>
                  <a:pt x="109" y="420"/>
                </a:moveTo>
                <a:cubicBezTo>
                  <a:pt x="109" y="421"/>
                  <a:pt x="109" y="418"/>
                  <a:pt x="109" y="420"/>
                </a:cubicBezTo>
                <a:close/>
                <a:moveTo>
                  <a:pt x="108" y="301"/>
                </a:moveTo>
                <a:cubicBezTo>
                  <a:pt x="107" y="300"/>
                  <a:pt x="108" y="298"/>
                  <a:pt x="110" y="298"/>
                </a:cubicBezTo>
                <a:cubicBezTo>
                  <a:pt x="110" y="299"/>
                  <a:pt x="108" y="300"/>
                  <a:pt x="108" y="301"/>
                </a:cubicBezTo>
                <a:close/>
                <a:moveTo>
                  <a:pt x="110" y="401"/>
                </a:moveTo>
                <a:cubicBezTo>
                  <a:pt x="110" y="401"/>
                  <a:pt x="110" y="401"/>
                  <a:pt x="110" y="401"/>
                </a:cubicBezTo>
                <a:cubicBezTo>
                  <a:pt x="110" y="401"/>
                  <a:pt x="110" y="400"/>
                  <a:pt x="110" y="401"/>
                </a:cubicBezTo>
                <a:close/>
                <a:moveTo>
                  <a:pt x="69" y="513"/>
                </a:moveTo>
                <a:cubicBezTo>
                  <a:pt x="69" y="513"/>
                  <a:pt x="70" y="512"/>
                  <a:pt x="70" y="512"/>
                </a:cubicBezTo>
                <a:cubicBezTo>
                  <a:pt x="70" y="513"/>
                  <a:pt x="69" y="513"/>
                  <a:pt x="69" y="513"/>
                </a:cubicBezTo>
                <a:close/>
                <a:moveTo>
                  <a:pt x="73" y="498"/>
                </a:moveTo>
                <a:cubicBezTo>
                  <a:pt x="73" y="497"/>
                  <a:pt x="74" y="496"/>
                  <a:pt x="75" y="496"/>
                </a:cubicBezTo>
                <a:cubicBezTo>
                  <a:pt x="75" y="497"/>
                  <a:pt x="74" y="498"/>
                  <a:pt x="73" y="498"/>
                </a:cubicBezTo>
                <a:close/>
                <a:moveTo>
                  <a:pt x="76" y="499"/>
                </a:moveTo>
                <a:cubicBezTo>
                  <a:pt x="76" y="500"/>
                  <a:pt x="77" y="498"/>
                  <a:pt x="76" y="499"/>
                </a:cubicBezTo>
                <a:close/>
                <a:moveTo>
                  <a:pt x="87" y="502"/>
                </a:moveTo>
                <a:cubicBezTo>
                  <a:pt x="86" y="500"/>
                  <a:pt x="89" y="499"/>
                  <a:pt x="87" y="502"/>
                </a:cubicBezTo>
                <a:close/>
                <a:moveTo>
                  <a:pt x="100" y="477"/>
                </a:moveTo>
                <a:cubicBezTo>
                  <a:pt x="101" y="479"/>
                  <a:pt x="100" y="481"/>
                  <a:pt x="100" y="483"/>
                </a:cubicBezTo>
                <a:cubicBezTo>
                  <a:pt x="99" y="481"/>
                  <a:pt x="99" y="479"/>
                  <a:pt x="100" y="477"/>
                </a:cubicBezTo>
                <a:close/>
                <a:moveTo>
                  <a:pt x="100" y="502"/>
                </a:moveTo>
                <a:cubicBezTo>
                  <a:pt x="97" y="499"/>
                  <a:pt x="102" y="497"/>
                  <a:pt x="104" y="496"/>
                </a:cubicBezTo>
                <a:cubicBezTo>
                  <a:pt x="105" y="499"/>
                  <a:pt x="102" y="505"/>
                  <a:pt x="100" y="502"/>
                </a:cubicBezTo>
                <a:close/>
                <a:moveTo>
                  <a:pt x="144" y="546"/>
                </a:moveTo>
                <a:cubicBezTo>
                  <a:pt x="143" y="546"/>
                  <a:pt x="144" y="546"/>
                  <a:pt x="144" y="545"/>
                </a:cubicBezTo>
                <a:cubicBezTo>
                  <a:pt x="143" y="542"/>
                  <a:pt x="147" y="545"/>
                  <a:pt x="144" y="546"/>
                </a:cubicBezTo>
                <a:close/>
                <a:moveTo>
                  <a:pt x="196" y="598"/>
                </a:moveTo>
                <a:cubicBezTo>
                  <a:pt x="196" y="598"/>
                  <a:pt x="198" y="597"/>
                  <a:pt x="198" y="598"/>
                </a:cubicBezTo>
                <a:cubicBezTo>
                  <a:pt x="198" y="599"/>
                  <a:pt x="197" y="599"/>
                  <a:pt x="196" y="598"/>
                </a:cubicBezTo>
                <a:close/>
                <a:moveTo>
                  <a:pt x="199" y="607"/>
                </a:moveTo>
                <a:cubicBezTo>
                  <a:pt x="198" y="607"/>
                  <a:pt x="198" y="607"/>
                  <a:pt x="198" y="607"/>
                </a:cubicBezTo>
                <a:cubicBezTo>
                  <a:pt x="198" y="605"/>
                  <a:pt x="200" y="608"/>
                  <a:pt x="199" y="607"/>
                </a:cubicBezTo>
                <a:close/>
                <a:moveTo>
                  <a:pt x="203" y="609"/>
                </a:moveTo>
                <a:cubicBezTo>
                  <a:pt x="203" y="608"/>
                  <a:pt x="205" y="608"/>
                  <a:pt x="205" y="609"/>
                </a:cubicBezTo>
                <a:cubicBezTo>
                  <a:pt x="205" y="609"/>
                  <a:pt x="203" y="610"/>
                  <a:pt x="203" y="609"/>
                </a:cubicBezTo>
                <a:close/>
                <a:moveTo>
                  <a:pt x="208" y="600"/>
                </a:moveTo>
                <a:cubicBezTo>
                  <a:pt x="207" y="600"/>
                  <a:pt x="209" y="600"/>
                  <a:pt x="209" y="600"/>
                </a:cubicBezTo>
                <a:cubicBezTo>
                  <a:pt x="209" y="601"/>
                  <a:pt x="208" y="601"/>
                  <a:pt x="208" y="600"/>
                </a:cubicBezTo>
                <a:close/>
                <a:moveTo>
                  <a:pt x="226" y="627"/>
                </a:moveTo>
                <a:cubicBezTo>
                  <a:pt x="225" y="627"/>
                  <a:pt x="223" y="627"/>
                  <a:pt x="224" y="625"/>
                </a:cubicBezTo>
                <a:cubicBezTo>
                  <a:pt x="225" y="624"/>
                  <a:pt x="229" y="624"/>
                  <a:pt x="229" y="625"/>
                </a:cubicBezTo>
                <a:cubicBezTo>
                  <a:pt x="229" y="626"/>
                  <a:pt x="229" y="626"/>
                  <a:pt x="228" y="627"/>
                </a:cubicBezTo>
                <a:cubicBezTo>
                  <a:pt x="229" y="627"/>
                  <a:pt x="229" y="627"/>
                  <a:pt x="229" y="627"/>
                </a:cubicBezTo>
                <a:cubicBezTo>
                  <a:pt x="228" y="628"/>
                  <a:pt x="227" y="628"/>
                  <a:pt x="226" y="627"/>
                </a:cubicBezTo>
                <a:close/>
                <a:moveTo>
                  <a:pt x="229" y="628"/>
                </a:moveTo>
                <a:cubicBezTo>
                  <a:pt x="229" y="628"/>
                  <a:pt x="231" y="628"/>
                  <a:pt x="231" y="628"/>
                </a:cubicBezTo>
                <a:cubicBezTo>
                  <a:pt x="231" y="629"/>
                  <a:pt x="229" y="628"/>
                  <a:pt x="229" y="628"/>
                </a:cubicBezTo>
                <a:close/>
                <a:moveTo>
                  <a:pt x="228" y="653"/>
                </a:moveTo>
                <a:cubicBezTo>
                  <a:pt x="228" y="653"/>
                  <a:pt x="228" y="653"/>
                  <a:pt x="228" y="653"/>
                </a:cubicBezTo>
                <a:cubicBezTo>
                  <a:pt x="228" y="653"/>
                  <a:pt x="228" y="652"/>
                  <a:pt x="228" y="653"/>
                </a:cubicBezTo>
                <a:close/>
                <a:moveTo>
                  <a:pt x="213" y="659"/>
                </a:moveTo>
                <a:cubicBezTo>
                  <a:pt x="213" y="659"/>
                  <a:pt x="213" y="659"/>
                  <a:pt x="213" y="659"/>
                </a:cubicBezTo>
                <a:cubicBezTo>
                  <a:pt x="213" y="659"/>
                  <a:pt x="213" y="659"/>
                  <a:pt x="213" y="659"/>
                </a:cubicBezTo>
                <a:close/>
                <a:moveTo>
                  <a:pt x="213" y="659"/>
                </a:moveTo>
                <a:cubicBezTo>
                  <a:pt x="214" y="659"/>
                  <a:pt x="213" y="659"/>
                  <a:pt x="213" y="659"/>
                </a:cubicBezTo>
                <a:close/>
                <a:moveTo>
                  <a:pt x="213" y="657"/>
                </a:moveTo>
                <a:cubicBezTo>
                  <a:pt x="213" y="656"/>
                  <a:pt x="214" y="656"/>
                  <a:pt x="214" y="656"/>
                </a:cubicBezTo>
                <a:cubicBezTo>
                  <a:pt x="215" y="657"/>
                  <a:pt x="214" y="657"/>
                  <a:pt x="213" y="657"/>
                </a:cubicBezTo>
                <a:close/>
                <a:moveTo>
                  <a:pt x="216" y="659"/>
                </a:moveTo>
                <a:cubicBezTo>
                  <a:pt x="216" y="658"/>
                  <a:pt x="216" y="657"/>
                  <a:pt x="217" y="658"/>
                </a:cubicBezTo>
                <a:cubicBezTo>
                  <a:pt x="216" y="658"/>
                  <a:pt x="218" y="660"/>
                  <a:pt x="218" y="660"/>
                </a:cubicBezTo>
                <a:cubicBezTo>
                  <a:pt x="217" y="661"/>
                  <a:pt x="215" y="661"/>
                  <a:pt x="216" y="659"/>
                </a:cubicBezTo>
                <a:close/>
                <a:moveTo>
                  <a:pt x="223" y="655"/>
                </a:moveTo>
                <a:cubicBezTo>
                  <a:pt x="222" y="654"/>
                  <a:pt x="224" y="654"/>
                  <a:pt x="224" y="655"/>
                </a:cubicBezTo>
                <a:cubicBezTo>
                  <a:pt x="224" y="655"/>
                  <a:pt x="223" y="655"/>
                  <a:pt x="223" y="655"/>
                </a:cubicBezTo>
                <a:close/>
                <a:moveTo>
                  <a:pt x="218" y="655"/>
                </a:moveTo>
                <a:cubicBezTo>
                  <a:pt x="217" y="655"/>
                  <a:pt x="214" y="653"/>
                  <a:pt x="215" y="651"/>
                </a:cubicBezTo>
                <a:cubicBezTo>
                  <a:pt x="216" y="650"/>
                  <a:pt x="220" y="648"/>
                  <a:pt x="222" y="648"/>
                </a:cubicBezTo>
                <a:cubicBezTo>
                  <a:pt x="223" y="649"/>
                  <a:pt x="224" y="649"/>
                  <a:pt x="224" y="650"/>
                </a:cubicBezTo>
                <a:cubicBezTo>
                  <a:pt x="224" y="650"/>
                  <a:pt x="226" y="648"/>
                  <a:pt x="225" y="650"/>
                </a:cubicBezTo>
                <a:cubicBezTo>
                  <a:pt x="225" y="650"/>
                  <a:pt x="223" y="651"/>
                  <a:pt x="223" y="652"/>
                </a:cubicBezTo>
                <a:cubicBezTo>
                  <a:pt x="224" y="652"/>
                  <a:pt x="225" y="651"/>
                  <a:pt x="225" y="652"/>
                </a:cubicBezTo>
                <a:cubicBezTo>
                  <a:pt x="224" y="652"/>
                  <a:pt x="221" y="655"/>
                  <a:pt x="218" y="655"/>
                </a:cubicBezTo>
                <a:close/>
                <a:moveTo>
                  <a:pt x="227" y="665"/>
                </a:moveTo>
                <a:cubicBezTo>
                  <a:pt x="223" y="666"/>
                  <a:pt x="226" y="661"/>
                  <a:pt x="228" y="662"/>
                </a:cubicBezTo>
                <a:cubicBezTo>
                  <a:pt x="229" y="664"/>
                  <a:pt x="228" y="664"/>
                  <a:pt x="227" y="665"/>
                </a:cubicBezTo>
                <a:close/>
                <a:moveTo>
                  <a:pt x="228" y="654"/>
                </a:moveTo>
                <a:cubicBezTo>
                  <a:pt x="227" y="653"/>
                  <a:pt x="230" y="655"/>
                  <a:pt x="228" y="654"/>
                </a:cubicBezTo>
                <a:close/>
                <a:moveTo>
                  <a:pt x="229" y="639"/>
                </a:moveTo>
                <a:cubicBezTo>
                  <a:pt x="228" y="638"/>
                  <a:pt x="231" y="638"/>
                  <a:pt x="231" y="639"/>
                </a:cubicBezTo>
                <a:cubicBezTo>
                  <a:pt x="231" y="639"/>
                  <a:pt x="230" y="640"/>
                  <a:pt x="229" y="639"/>
                </a:cubicBezTo>
                <a:close/>
                <a:moveTo>
                  <a:pt x="215" y="675"/>
                </a:moveTo>
                <a:cubicBezTo>
                  <a:pt x="216" y="673"/>
                  <a:pt x="216" y="675"/>
                  <a:pt x="215" y="675"/>
                </a:cubicBezTo>
                <a:close/>
                <a:moveTo>
                  <a:pt x="219" y="676"/>
                </a:moveTo>
                <a:cubicBezTo>
                  <a:pt x="220" y="675"/>
                  <a:pt x="221" y="676"/>
                  <a:pt x="223" y="676"/>
                </a:cubicBezTo>
                <a:cubicBezTo>
                  <a:pt x="221" y="676"/>
                  <a:pt x="220" y="677"/>
                  <a:pt x="219" y="676"/>
                </a:cubicBezTo>
                <a:close/>
                <a:moveTo>
                  <a:pt x="226" y="676"/>
                </a:moveTo>
                <a:cubicBezTo>
                  <a:pt x="226" y="675"/>
                  <a:pt x="228" y="675"/>
                  <a:pt x="228" y="675"/>
                </a:cubicBezTo>
                <a:cubicBezTo>
                  <a:pt x="228" y="676"/>
                  <a:pt x="226" y="676"/>
                  <a:pt x="226" y="676"/>
                </a:cubicBezTo>
                <a:close/>
                <a:moveTo>
                  <a:pt x="229" y="676"/>
                </a:moveTo>
                <a:cubicBezTo>
                  <a:pt x="229" y="675"/>
                  <a:pt x="230" y="676"/>
                  <a:pt x="230" y="676"/>
                </a:cubicBezTo>
                <a:cubicBezTo>
                  <a:pt x="230" y="676"/>
                  <a:pt x="229" y="677"/>
                  <a:pt x="229" y="676"/>
                </a:cubicBezTo>
                <a:close/>
                <a:moveTo>
                  <a:pt x="234" y="679"/>
                </a:moveTo>
                <a:cubicBezTo>
                  <a:pt x="234" y="678"/>
                  <a:pt x="235" y="678"/>
                  <a:pt x="235" y="678"/>
                </a:cubicBezTo>
                <a:cubicBezTo>
                  <a:pt x="236" y="679"/>
                  <a:pt x="234" y="679"/>
                  <a:pt x="234" y="679"/>
                </a:cubicBezTo>
                <a:close/>
                <a:moveTo>
                  <a:pt x="248" y="692"/>
                </a:moveTo>
                <a:cubicBezTo>
                  <a:pt x="248" y="691"/>
                  <a:pt x="250" y="691"/>
                  <a:pt x="250" y="691"/>
                </a:cubicBezTo>
                <a:cubicBezTo>
                  <a:pt x="251" y="692"/>
                  <a:pt x="249" y="692"/>
                  <a:pt x="248" y="692"/>
                </a:cubicBezTo>
                <a:close/>
                <a:moveTo>
                  <a:pt x="349" y="41"/>
                </a:moveTo>
                <a:cubicBezTo>
                  <a:pt x="348" y="41"/>
                  <a:pt x="345" y="42"/>
                  <a:pt x="344" y="41"/>
                </a:cubicBezTo>
                <a:cubicBezTo>
                  <a:pt x="344" y="40"/>
                  <a:pt x="348" y="40"/>
                  <a:pt x="349" y="41"/>
                </a:cubicBezTo>
                <a:close/>
                <a:moveTo>
                  <a:pt x="343" y="7"/>
                </a:moveTo>
                <a:cubicBezTo>
                  <a:pt x="344" y="6"/>
                  <a:pt x="345" y="8"/>
                  <a:pt x="343" y="7"/>
                </a:cubicBezTo>
                <a:close/>
                <a:moveTo>
                  <a:pt x="342" y="38"/>
                </a:moveTo>
                <a:cubicBezTo>
                  <a:pt x="341" y="38"/>
                  <a:pt x="340" y="37"/>
                  <a:pt x="339" y="38"/>
                </a:cubicBezTo>
                <a:cubicBezTo>
                  <a:pt x="339" y="37"/>
                  <a:pt x="341" y="37"/>
                  <a:pt x="342" y="38"/>
                </a:cubicBezTo>
                <a:close/>
                <a:moveTo>
                  <a:pt x="335" y="37"/>
                </a:moveTo>
                <a:cubicBezTo>
                  <a:pt x="336" y="36"/>
                  <a:pt x="337" y="39"/>
                  <a:pt x="335" y="37"/>
                </a:cubicBezTo>
                <a:close/>
                <a:moveTo>
                  <a:pt x="336" y="97"/>
                </a:move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5" y="96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ubicBezTo>
                  <a:pt x="336" y="97"/>
                  <a:pt x="336" y="97"/>
                  <a:pt x="336" y="97"/>
                </a:cubicBezTo>
                <a:close/>
                <a:moveTo>
                  <a:pt x="316" y="49"/>
                </a:moveTo>
                <a:cubicBezTo>
                  <a:pt x="316" y="49"/>
                  <a:pt x="313" y="50"/>
                  <a:pt x="313" y="49"/>
                </a:cubicBezTo>
                <a:cubicBezTo>
                  <a:pt x="312" y="49"/>
                  <a:pt x="315" y="48"/>
                  <a:pt x="316" y="49"/>
                </a:cubicBezTo>
                <a:close/>
                <a:moveTo>
                  <a:pt x="321" y="108"/>
                </a:moveTo>
                <a:cubicBezTo>
                  <a:pt x="319" y="109"/>
                  <a:pt x="315" y="112"/>
                  <a:pt x="311" y="111"/>
                </a:cubicBezTo>
                <a:cubicBezTo>
                  <a:pt x="314" y="109"/>
                  <a:pt x="317" y="109"/>
                  <a:pt x="321" y="108"/>
                </a:cubicBezTo>
                <a:close/>
                <a:moveTo>
                  <a:pt x="320" y="636"/>
                </a:moveTo>
                <a:cubicBezTo>
                  <a:pt x="319" y="636"/>
                  <a:pt x="320" y="635"/>
                  <a:pt x="320" y="635"/>
                </a:cubicBezTo>
                <a:cubicBezTo>
                  <a:pt x="321" y="635"/>
                  <a:pt x="320" y="636"/>
                  <a:pt x="320" y="636"/>
                </a:cubicBezTo>
                <a:close/>
                <a:moveTo>
                  <a:pt x="319" y="620"/>
                </a:moveTo>
                <a:cubicBezTo>
                  <a:pt x="319" y="620"/>
                  <a:pt x="318" y="620"/>
                  <a:pt x="317" y="620"/>
                </a:cubicBezTo>
                <a:cubicBezTo>
                  <a:pt x="318" y="620"/>
                  <a:pt x="319" y="619"/>
                  <a:pt x="319" y="620"/>
                </a:cubicBezTo>
                <a:close/>
                <a:moveTo>
                  <a:pt x="318" y="614"/>
                </a:moveTo>
                <a:cubicBezTo>
                  <a:pt x="317" y="613"/>
                  <a:pt x="319" y="615"/>
                  <a:pt x="318" y="614"/>
                </a:cubicBezTo>
                <a:close/>
                <a:moveTo>
                  <a:pt x="313" y="137"/>
                </a:moveTo>
                <a:cubicBezTo>
                  <a:pt x="312" y="140"/>
                  <a:pt x="312" y="135"/>
                  <a:pt x="312" y="137"/>
                </a:cubicBezTo>
                <a:cubicBezTo>
                  <a:pt x="312" y="137"/>
                  <a:pt x="313" y="137"/>
                  <a:pt x="313" y="137"/>
                </a:cubicBezTo>
                <a:close/>
                <a:moveTo>
                  <a:pt x="311" y="41"/>
                </a:moveTo>
                <a:cubicBezTo>
                  <a:pt x="310" y="42"/>
                  <a:pt x="309" y="40"/>
                  <a:pt x="311" y="41"/>
                </a:cubicBezTo>
                <a:close/>
                <a:moveTo>
                  <a:pt x="309" y="527"/>
                </a:moveTo>
                <a:cubicBezTo>
                  <a:pt x="309" y="528"/>
                  <a:pt x="306" y="529"/>
                  <a:pt x="306" y="527"/>
                </a:cubicBezTo>
                <a:cubicBezTo>
                  <a:pt x="306" y="525"/>
                  <a:pt x="309" y="526"/>
                  <a:pt x="309" y="527"/>
                </a:cubicBezTo>
                <a:close/>
                <a:moveTo>
                  <a:pt x="307" y="61"/>
                </a:moveTo>
                <a:cubicBezTo>
                  <a:pt x="306" y="60"/>
                  <a:pt x="308" y="61"/>
                  <a:pt x="307" y="61"/>
                </a:cubicBezTo>
                <a:close/>
                <a:moveTo>
                  <a:pt x="293" y="53"/>
                </a:moveTo>
                <a:cubicBezTo>
                  <a:pt x="298" y="52"/>
                  <a:pt x="304" y="52"/>
                  <a:pt x="309" y="51"/>
                </a:cubicBezTo>
                <a:cubicBezTo>
                  <a:pt x="304" y="53"/>
                  <a:pt x="299" y="53"/>
                  <a:pt x="293" y="53"/>
                </a:cubicBezTo>
                <a:close/>
                <a:moveTo>
                  <a:pt x="282" y="662"/>
                </a:moveTo>
                <a:cubicBezTo>
                  <a:pt x="281" y="662"/>
                  <a:pt x="279" y="663"/>
                  <a:pt x="277" y="663"/>
                </a:cubicBezTo>
                <a:cubicBezTo>
                  <a:pt x="279" y="662"/>
                  <a:pt x="281" y="661"/>
                  <a:pt x="282" y="662"/>
                </a:cubicBezTo>
                <a:close/>
                <a:moveTo>
                  <a:pt x="278" y="582"/>
                </a:moveTo>
                <a:cubicBezTo>
                  <a:pt x="278" y="581"/>
                  <a:pt x="280" y="581"/>
                  <a:pt x="279" y="582"/>
                </a:cubicBezTo>
                <a:cubicBezTo>
                  <a:pt x="279" y="582"/>
                  <a:pt x="279" y="582"/>
                  <a:pt x="278" y="582"/>
                </a:cubicBezTo>
                <a:close/>
                <a:moveTo>
                  <a:pt x="282" y="582"/>
                </a:moveTo>
                <a:cubicBezTo>
                  <a:pt x="282" y="582"/>
                  <a:pt x="280" y="583"/>
                  <a:pt x="280" y="581"/>
                </a:cubicBezTo>
                <a:cubicBezTo>
                  <a:pt x="280" y="580"/>
                  <a:pt x="282" y="581"/>
                  <a:pt x="282" y="582"/>
                </a:cubicBezTo>
                <a:close/>
                <a:moveTo>
                  <a:pt x="281" y="574"/>
                </a:moveTo>
                <a:cubicBezTo>
                  <a:pt x="281" y="575"/>
                  <a:pt x="280" y="575"/>
                  <a:pt x="280" y="574"/>
                </a:cubicBezTo>
                <a:cubicBezTo>
                  <a:pt x="279" y="574"/>
                  <a:pt x="281" y="573"/>
                  <a:pt x="281" y="574"/>
                </a:cubicBezTo>
                <a:close/>
                <a:moveTo>
                  <a:pt x="294" y="551"/>
                </a:moveTo>
                <a:cubicBezTo>
                  <a:pt x="291" y="553"/>
                  <a:pt x="287" y="555"/>
                  <a:pt x="285" y="556"/>
                </a:cubicBezTo>
                <a:cubicBezTo>
                  <a:pt x="285" y="556"/>
                  <a:pt x="283" y="557"/>
                  <a:pt x="284" y="556"/>
                </a:cubicBezTo>
                <a:cubicBezTo>
                  <a:pt x="286" y="553"/>
                  <a:pt x="291" y="553"/>
                  <a:pt x="294" y="551"/>
                </a:cubicBezTo>
                <a:close/>
                <a:moveTo>
                  <a:pt x="286" y="536"/>
                </a:moveTo>
                <a:cubicBezTo>
                  <a:pt x="286" y="535"/>
                  <a:pt x="286" y="536"/>
                  <a:pt x="286" y="536"/>
                </a:cubicBezTo>
                <a:cubicBezTo>
                  <a:pt x="285" y="536"/>
                  <a:pt x="286" y="535"/>
                  <a:pt x="286" y="536"/>
                </a:cubicBezTo>
                <a:close/>
                <a:moveTo>
                  <a:pt x="287" y="536"/>
                </a:moveTo>
                <a:cubicBezTo>
                  <a:pt x="287" y="534"/>
                  <a:pt x="289" y="534"/>
                  <a:pt x="289" y="536"/>
                </a:cubicBezTo>
                <a:cubicBezTo>
                  <a:pt x="289" y="537"/>
                  <a:pt x="287" y="536"/>
                  <a:pt x="287" y="536"/>
                </a:cubicBezTo>
                <a:close/>
                <a:moveTo>
                  <a:pt x="290" y="512"/>
                </a:moveTo>
                <a:cubicBezTo>
                  <a:pt x="291" y="510"/>
                  <a:pt x="293" y="509"/>
                  <a:pt x="294" y="508"/>
                </a:cubicBezTo>
                <a:cubicBezTo>
                  <a:pt x="294" y="509"/>
                  <a:pt x="292" y="510"/>
                  <a:pt x="290" y="512"/>
                </a:cubicBezTo>
                <a:close/>
                <a:moveTo>
                  <a:pt x="290" y="550"/>
                </a:moveTo>
                <a:cubicBezTo>
                  <a:pt x="290" y="549"/>
                  <a:pt x="291" y="548"/>
                  <a:pt x="292" y="549"/>
                </a:cubicBezTo>
                <a:cubicBezTo>
                  <a:pt x="292" y="550"/>
                  <a:pt x="290" y="551"/>
                  <a:pt x="290" y="550"/>
                </a:cubicBezTo>
                <a:close/>
                <a:moveTo>
                  <a:pt x="287" y="638"/>
                </a:moveTo>
                <a:cubicBezTo>
                  <a:pt x="288" y="637"/>
                  <a:pt x="289" y="637"/>
                  <a:pt x="290" y="637"/>
                </a:cubicBezTo>
                <a:cubicBezTo>
                  <a:pt x="289" y="637"/>
                  <a:pt x="288" y="638"/>
                  <a:pt x="287" y="638"/>
                </a:cubicBezTo>
                <a:close/>
                <a:moveTo>
                  <a:pt x="290" y="640"/>
                </a:moveTo>
                <a:cubicBezTo>
                  <a:pt x="289" y="641"/>
                  <a:pt x="288" y="640"/>
                  <a:pt x="287" y="641"/>
                </a:cubicBezTo>
                <a:cubicBezTo>
                  <a:pt x="287" y="640"/>
                  <a:pt x="289" y="639"/>
                  <a:pt x="290" y="640"/>
                </a:cubicBezTo>
                <a:close/>
                <a:moveTo>
                  <a:pt x="292" y="594"/>
                </a:moveTo>
                <a:cubicBezTo>
                  <a:pt x="292" y="595"/>
                  <a:pt x="288" y="596"/>
                  <a:pt x="288" y="593"/>
                </a:cubicBezTo>
                <a:cubicBezTo>
                  <a:pt x="288" y="591"/>
                  <a:pt x="292" y="592"/>
                  <a:pt x="292" y="594"/>
                </a:cubicBezTo>
                <a:close/>
                <a:moveTo>
                  <a:pt x="288" y="573"/>
                </a:moveTo>
                <a:cubicBezTo>
                  <a:pt x="288" y="572"/>
                  <a:pt x="290" y="571"/>
                  <a:pt x="291" y="571"/>
                </a:cubicBezTo>
                <a:cubicBezTo>
                  <a:pt x="290" y="572"/>
                  <a:pt x="289" y="572"/>
                  <a:pt x="288" y="573"/>
                </a:cubicBezTo>
                <a:close/>
                <a:moveTo>
                  <a:pt x="292" y="571"/>
                </a:moveTo>
                <a:cubicBezTo>
                  <a:pt x="292" y="570"/>
                  <a:pt x="293" y="569"/>
                  <a:pt x="294" y="570"/>
                </a:cubicBezTo>
                <a:cubicBezTo>
                  <a:pt x="294" y="571"/>
                  <a:pt x="292" y="571"/>
                  <a:pt x="292" y="571"/>
                </a:cubicBezTo>
                <a:close/>
                <a:moveTo>
                  <a:pt x="293" y="594"/>
                </a:moveTo>
                <a:cubicBezTo>
                  <a:pt x="293" y="596"/>
                  <a:pt x="291" y="595"/>
                  <a:pt x="293" y="594"/>
                </a:cubicBezTo>
                <a:close/>
                <a:moveTo>
                  <a:pt x="291" y="595"/>
                </a:moveTo>
                <a:cubicBezTo>
                  <a:pt x="290" y="597"/>
                  <a:pt x="288" y="596"/>
                  <a:pt x="291" y="595"/>
                </a:cubicBezTo>
                <a:close/>
                <a:moveTo>
                  <a:pt x="290" y="625"/>
                </a:moveTo>
                <a:cubicBezTo>
                  <a:pt x="291" y="626"/>
                  <a:pt x="290" y="625"/>
                  <a:pt x="290" y="625"/>
                </a:cubicBezTo>
                <a:cubicBezTo>
                  <a:pt x="290" y="625"/>
                  <a:pt x="290" y="625"/>
                  <a:pt x="290" y="625"/>
                </a:cubicBezTo>
                <a:close/>
                <a:moveTo>
                  <a:pt x="289" y="602"/>
                </a:moveTo>
                <a:cubicBezTo>
                  <a:pt x="289" y="601"/>
                  <a:pt x="292" y="601"/>
                  <a:pt x="293" y="601"/>
                </a:cubicBezTo>
                <a:cubicBezTo>
                  <a:pt x="292" y="602"/>
                  <a:pt x="290" y="602"/>
                  <a:pt x="289" y="602"/>
                </a:cubicBezTo>
                <a:close/>
                <a:moveTo>
                  <a:pt x="291" y="634"/>
                </a:moveTo>
                <a:cubicBezTo>
                  <a:pt x="292" y="634"/>
                  <a:pt x="293" y="634"/>
                  <a:pt x="292" y="635"/>
                </a:cubicBezTo>
                <a:cubicBezTo>
                  <a:pt x="292" y="636"/>
                  <a:pt x="291" y="635"/>
                  <a:pt x="291" y="634"/>
                </a:cubicBezTo>
                <a:close/>
                <a:moveTo>
                  <a:pt x="295" y="635"/>
                </a:moveTo>
                <a:cubicBezTo>
                  <a:pt x="294" y="636"/>
                  <a:pt x="293" y="637"/>
                  <a:pt x="291" y="636"/>
                </a:cubicBezTo>
                <a:cubicBezTo>
                  <a:pt x="292" y="636"/>
                  <a:pt x="294" y="636"/>
                  <a:pt x="295" y="635"/>
                </a:cubicBezTo>
                <a:close/>
                <a:moveTo>
                  <a:pt x="293" y="583"/>
                </a:moveTo>
                <a:cubicBezTo>
                  <a:pt x="293" y="583"/>
                  <a:pt x="294" y="583"/>
                  <a:pt x="294" y="583"/>
                </a:cubicBezTo>
                <a:cubicBezTo>
                  <a:pt x="295" y="584"/>
                  <a:pt x="293" y="585"/>
                  <a:pt x="293" y="583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538"/>
                </a:moveTo>
                <a:cubicBezTo>
                  <a:pt x="283" y="538"/>
                  <a:pt x="284" y="537"/>
                  <a:pt x="284" y="537"/>
                </a:cubicBezTo>
                <a:cubicBezTo>
                  <a:pt x="285" y="537"/>
                  <a:pt x="284" y="538"/>
                  <a:pt x="284" y="538"/>
                </a:cubicBezTo>
                <a:close/>
                <a:moveTo>
                  <a:pt x="285" y="588"/>
                </a:moveTo>
                <a:cubicBezTo>
                  <a:pt x="284" y="589"/>
                  <a:pt x="283" y="589"/>
                  <a:pt x="282" y="590"/>
                </a:cubicBezTo>
                <a:cubicBezTo>
                  <a:pt x="282" y="590"/>
                  <a:pt x="284" y="588"/>
                  <a:pt x="285" y="588"/>
                </a:cubicBezTo>
                <a:close/>
                <a:moveTo>
                  <a:pt x="285" y="657"/>
                </a:moveTo>
                <a:cubicBezTo>
                  <a:pt x="285" y="657"/>
                  <a:pt x="285" y="657"/>
                  <a:pt x="285" y="657"/>
                </a:cubicBezTo>
                <a:cubicBezTo>
                  <a:pt x="285" y="657"/>
                  <a:pt x="285" y="657"/>
                  <a:pt x="285" y="657"/>
                </a:cubicBezTo>
                <a:close/>
                <a:moveTo>
                  <a:pt x="284" y="612"/>
                </a:moveTo>
                <a:cubicBezTo>
                  <a:pt x="281" y="614"/>
                  <a:pt x="281" y="612"/>
                  <a:pt x="284" y="612"/>
                </a:cubicBezTo>
                <a:close/>
                <a:moveTo>
                  <a:pt x="283" y="648"/>
                </a:moveTo>
                <a:cubicBezTo>
                  <a:pt x="284" y="645"/>
                  <a:pt x="286" y="647"/>
                  <a:pt x="283" y="648"/>
                </a:cubicBezTo>
                <a:close/>
                <a:moveTo>
                  <a:pt x="287" y="661"/>
                </a:moveTo>
                <a:cubicBezTo>
                  <a:pt x="287" y="661"/>
                  <a:pt x="285" y="662"/>
                  <a:pt x="284" y="662"/>
                </a:cubicBezTo>
                <a:cubicBezTo>
                  <a:pt x="284" y="661"/>
                  <a:pt x="287" y="660"/>
                  <a:pt x="287" y="661"/>
                </a:cubicBezTo>
                <a:close/>
                <a:moveTo>
                  <a:pt x="288" y="667"/>
                </a:moveTo>
                <a:cubicBezTo>
                  <a:pt x="288" y="668"/>
                  <a:pt x="286" y="668"/>
                  <a:pt x="286" y="667"/>
                </a:cubicBezTo>
                <a:cubicBezTo>
                  <a:pt x="285" y="666"/>
                  <a:pt x="288" y="666"/>
                  <a:pt x="288" y="667"/>
                </a:cubicBezTo>
                <a:close/>
                <a:moveTo>
                  <a:pt x="287" y="650"/>
                </a:moveTo>
                <a:cubicBezTo>
                  <a:pt x="287" y="648"/>
                  <a:pt x="290" y="647"/>
                  <a:pt x="291" y="649"/>
                </a:cubicBezTo>
                <a:cubicBezTo>
                  <a:pt x="295" y="653"/>
                  <a:pt x="286" y="654"/>
                  <a:pt x="287" y="650"/>
                </a:cubicBezTo>
                <a:close/>
                <a:moveTo>
                  <a:pt x="292" y="691"/>
                </a:moveTo>
                <a:cubicBezTo>
                  <a:pt x="292" y="691"/>
                  <a:pt x="292" y="691"/>
                  <a:pt x="292" y="691"/>
                </a:cubicBezTo>
                <a:cubicBezTo>
                  <a:pt x="292" y="689"/>
                  <a:pt x="294" y="692"/>
                  <a:pt x="292" y="691"/>
                </a:cubicBezTo>
                <a:close/>
                <a:moveTo>
                  <a:pt x="292" y="646"/>
                </a:moveTo>
                <a:cubicBezTo>
                  <a:pt x="290" y="644"/>
                  <a:pt x="297" y="643"/>
                  <a:pt x="294" y="646"/>
                </a:cubicBezTo>
                <a:cubicBezTo>
                  <a:pt x="294" y="646"/>
                  <a:pt x="293" y="646"/>
                  <a:pt x="292" y="646"/>
                </a:cubicBezTo>
                <a:close/>
                <a:moveTo>
                  <a:pt x="294" y="600"/>
                </a:moveTo>
                <a:cubicBezTo>
                  <a:pt x="294" y="600"/>
                  <a:pt x="296" y="599"/>
                  <a:pt x="297" y="599"/>
                </a:cubicBezTo>
                <a:cubicBezTo>
                  <a:pt x="296" y="600"/>
                  <a:pt x="295" y="600"/>
                  <a:pt x="294" y="600"/>
                </a:cubicBezTo>
                <a:close/>
                <a:moveTo>
                  <a:pt x="293" y="530"/>
                </a:moveTo>
                <a:cubicBezTo>
                  <a:pt x="294" y="529"/>
                  <a:pt x="296" y="528"/>
                  <a:pt x="297" y="530"/>
                </a:cubicBezTo>
                <a:cubicBezTo>
                  <a:pt x="298" y="532"/>
                  <a:pt x="293" y="534"/>
                  <a:pt x="293" y="530"/>
                </a:cubicBezTo>
                <a:close/>
                <a:moveTo>
                  <a:pt x="303" y="581"/>
                </a:moveTo>
                <a:cubicBezTo>
                  <a:pt x="303" y="584"/>
                  <a:pt x="298" y="584"/>
                  <a:pt x="297" y="581"/>
                </a:cubicBezTo>
                <a:cubicBezTo>
                  <a:pt x="297" y="578"/>
                  <a:pt x="303" y="579"/>
                  <a:pt x="303" y="581"/>
                </a:cubicBezTo>
                <a:close/>
                <a:moveTo>
                  <a:pt x="298" y="504"/>
                </a:moveTo>
                <a:cubicBezTo>
                  <a:pt x="298" y="503"/>
                  <a:pt x="300" y="504"/>
                  <a:pt x="298" y="504"/>
                </a:cubicBezTo>
                <a:close/>
                <a:moveTo>
                  <a:pt x="300" y="102"/>
                </a:moveTo>
                <a:cubicBezTo>
                  <a:pt x="298" y="103"/>
                  <a:pt x="297" y="101"/>
                  <a:pt x="300" y="102"/>
                </a:cubicBezTo>
                <a:close/>
                <a:moveTo>
                  <a:pt x="299" y="578"/>
                </a:moveTo>
                <a:cubicBezTo>
                  <a:pt x="299" y="578"/>
                  <a:pt x="298" y="579"/>
                  <a:pt x="298" y="578"/>
                </a:cubicBezTo>
                <a:cubicBezTo>
                  <a:pt x="297" y="577"/>
                  <a:pt x="300" y="577"/>
                  <a:pt x="299" y="578"/>
                </a:cubicBezTo>
                <a:close/>
                <a:moveTo>
                  <a:pt x="303" y="67"/>
                </a:moveTo>
                <a:cubicBezTo>
                  <a:pt x="302" y="69"/>
                  <a:pt x="302" y="67"/>
                  <a:pt x="303" y="67"/>
                </a:cubicBezTo>
                <a:close/>
                <a:moveTo>
                  <a:pt x="304" y="592"/>
                </a:moveTo>
                <a:cubicBezTo>
                  <a:pt x="304" y="593"/>
                  <a:pt x="301" y="593"/>
                  <a:pt x="300" y="594"/>
                </a:cubicBezTo>
                <a:cubicBezTo>
                  <a:pt x="301" y="593"/>
                  <a:pt x="303" y="592"/>
                  <a:pt x="304" y="592"/>
                </a:cubicBezTo>
                <a:close/>
                <a:moveTo>
                  <a:pt x="304" y="660"/>
                </a:moveTo>
                <a:cubicBezTo>
                  <a:pt x="304" y="661"/>
                  <a:pt x="304" y="662"/>
                  <a:pt x="304" y="662"/>
                </a:cubicBezTo>
                <a:cubicBezTo>
                  <a:pt x="302" y="664"/>
                  <a:pt x="301" y="659"/>
                  <a:pt x="304" y="660"/>
                </a:cubicBezTo>
                <a:close/>
                <a:moveTo>
                  <a:pt x="308" y="41"/>
                </a:moveTo>
                <a:cubicBezTo>
                  <a:pt x="308" y="41"/>
                  <a:pt x="307" y="42"/>
                  <a:pt x="307" y="42"/>
                </a:cubicBezTo>
                <a:cubicBezTo>
                  <a:pt x="306" y="42"/>
                  <a:pt x="307" y="41"/>
                  <a:pt x="308" y="41"/>
                </a:cubicBezTo>
                <a:close/>
                <a:moveTo>
                  <a:pt x="298" y="26"/>
                </a:moveTo>
                <a:cubicBezTo>
                  <a:pt x="300" y="25"/>
                  <a:pt x="300" y="27"/>
                  <a:pt x="298" y="26"/>
                </a:cubicBezTo>
                <a:close/>
                <a:moveTo>
                  <a:pt x="299" y="30"/>
                </a:moveTo>
                <a:cubicBezTo>
                  <a:pt x="297" y="31"/>
                  <a:pt x="295" y="30"/>
                  <a:pt x="293" y="30"/>
                </a:cubicBezTo>
                <a:cubicBezTo>
                  <a:pt x="295" y="29"/>
                  <a:pt x="297" y="29"/>
                  <a:pt x="299" y="30"/>
                </a:cubicBezTo>
                <a:close/>
                <a:moveTo>
                  <a:pt x="291" y="53"/>
                </a:moveTo>
                <a:cubicBezTo>
                  <a:pt x="287" y="54"/>
                  <a:pt x="283" y="55"/>
                  <a:pt x="279" y="55"/>
                </a:cubicBezTo>
                <a:cubicBezTo>
                  <a:pt x="283" y="54"/>
                  <a:pt x="287" y="53"/>
                  <a:pt x="291" y="53"/>
                </a:cubicBezTo>
                <a:close/>
                <a:moveTo>
                  <a:pt x="288" y="513"/>
                </a:moveTo>
                <a:cubicBezTo>
                  <a:pt x="287" y="513"/>
                  <a:pt x="290" y="512"/>
                  <a:pt x="289" y="512"/>
                </a:cubicBezTo>
                <a:cubicBezTo>
                  <a:pt x="290" y="512"/>
                  <a:pt x="289" y="514"/>
                  <a:pt x="288" y="513"/>
                </a:cubicBezTo>
                <a:close/>
                <a:moveTo>
                  <a:pt x="282" y="526"/>
                </a:moveTo>
                <a:cubicBezTo>
                  <a:pt x="282" y="526"/>
                  <a:pt x="281" y="527"/>
                  <a:pt x="280" y="526"/>
                </a:cubicBezTo>
                <a:cubicBezTo>
                  <a:pt x="280" y="526"/>
                  <a:pt x="282" y="525"/>
                  <a:pt x="282" y="526"/>
                </a:cubicBezTo>
                <a:close/>
                <a:moveTo>
                  <a:pt x="286" y="526"/>
                </a:moveTo>
                <a:cubicBezTo>
                  <a:pt x="286" y="526"/>
                  <a:pt x="291" y="524"/>
                  <a:pt x="290" y="526"/>
                </a:cubicBezTo>
                <a:cubicBezTo>
                  <a:pt x="290" y="527"/>
                  <a:pt x="285" y="527"/>
                  <a:pt x="284" y="527"/>
                </a:cubicBezTo>
                <a:cubicBezTo>
                  <a:pt x="281" y="527"/>
                  <a:pt x="278" y="530"/>
                  <a:pt x="275" y="529"/>
                </a:cubicBezTo>
                <a:cubicBezTo>
                  <a:pt x="276" y="527"/>
                  <a:pt x="284" y="527"/>
                  <a:pt x="286" y="526"/>
                </a:cubicBezTo>
                <a:close/>
                <a:moveTo>
                  <a:pt x="277" y="694"/>
                </a:moveTo>
                <a:cubicBezTo>
                  <a:pt x="277" y="695"/>
                  <a:pt x="275" y="695"/>
                  <a:pt x="275" y="694"/>
                </a:cubicBezTo>
                <a:cubicBezTo>
                  <a:pt x="275" y="693"/>
                  <a:pt x="277" y="694"/>
                  <a:pt x="277" y="694"/>
                </a:cubicBezTo>
                <a:close/>
                <a:moveTo>
                  <a:pt x="266" y="653"/>
                </a:moveTo>
                <a:cubicBezTo>
                  <a:pt x="266" y="653"/>
                  <a:pt x="266" y="652"/>
                  <a:pt x="266" y="651"/>
                </a:cubicBezTo>
                <a:cubicBezTo>
                  <a:pt x="267" y="648"/>
                  <a:pt x="270" y="649"/>
                  <a:pt x="271" y="650"/>
                </a:cubicBezTo>
                <a:cubicBezTo>
                  <a:pt x="271" y="650"/>
                  <a:pt x="271" y="650"/>
                  <a:pt x="271" y="650"/>
                </a:cubicBezTo>
                <a:cubicBezTo>
                  <a:pt x="271" y="650"/>
                  <a:pt x="271" y="650"/>
                  <a:pt x="272" y="650"/>
                </a:cubicBezTo>
                <a:cubicBezTo>
                  <a:pt x="275" y="651"/>
                  <a:pt x="270" y="659"/>
                  <a:pt x="266" y="653"/>
                </a:cubicBezTo>
                <a:close/>
                <a:moveTo>
                  <a:pt x="268" y="657"/>
                </a:moveTo>
                <a:cubicBezTo>
                  <a:pt x="267" y="656"/>
                  <a:pt x="269" y="657"/>
                  <a:pt x="268" y="657"/>
                </a:cubicBezTo>
                <a:close/>
                <a:moveTo>
                  <a:pt x="264" y="633"/>
                </a:moveTo>
                <a:cubicBezTo>
                  <a:pt x="263" y="633"/>
                  <a:pt x="264" y="632"/>
                  <a:pt x="265" y="632"/>
                </a:cubicBezTo>
                <a:cubicBezTo>
                  <a:pt x="265" y="633"/>
                  <a:pt x="264" y="632"/>
                  <a:pt x="264" y="633"/>
                </a:cubicBezTo>
                <a:close/>
                <a:moveTo>
                  <a:pt x="263" y="663"/>
                </a:moveTo>
                <a:cubicBezTo>
                  <a:pt x="265" y="662"/>
                  <a:pt x="265" y="664"/>
                  <a:pt x="263" y="663"/>
                </a:cubicBezTo>
                <a:close/>
                <a:moveTo>
                  <a:pt x="265" y="623"/>
                </a:moveTo>
                <a:cubicBezTo>
                  <a:pt x="267" y="623"/>
                  <a:pt x="269" y="624"/>
                  <a:pt x="269" y="627"/>
                </a:cubicBezTo>
                <a:cubicBezTo>
                  <a:pt x="268" y="625"/>
                  <a:pt x="267" y="628"/>
                  <a:pt x="265" y="629"/>
                </a:cubicBezTo>
                <a:cubicBezTo>
                  <a:pt x="258" y="631"/>
                  <a:pt x="258" y="621"/>
                  <a:pt x="265" y="623"/>
                </a:cubicBezTo>
                <a:close/>
                <a:moveTo>
                  <a:pt x="271" y="560"/>
                </a:moveTo>
                <a:cubicBezTo>
                  <a:pt x="272" y="561"/>
                  <a:pt x="269" y="562"/>
                  <a:pt x="269" y="561"/>
                </a:cubicBezTo>
                <a:cubicBezTo>
                  <a:pt x="269" y="560"/>
                  <a:pt x="271" y="559"/>
                  <a:pt x="271" y="560"/>
                </a:cubicBezTo>
                <a:close/>
                <a:moveTo>
                  <a:pt x="271" y="507"/>
                </a:moveTo>
                <a:cubicBezTo>
                  <a:pt x="271" y="505"/>
                  <a:pt x="271" y="509"/>
                  <a:pt x="271" y="507"/>
                </a:cubicBezTo>
                <a:close/>
                <a:moveTo>
                  <a:pt x="273" y="532"/>
                </a:moveTo>
                <a:cubicBezTo>
                  <a:pt x="273" y="532"/>
                  <a:pt x="273" y="533"/>
                  <a:pt x="273" y="533"/>
                </a:cubicBezTo>
                <a:cubicBezTo>
                  <a:pt x="270" y="531"/>
                  <a:pt x="277" y="530"/>
                  <a:pt x="273" y="532"/>
                </a:cubicBezTo>
                <a:close/>
                <a:moveTo>
                  <a:pt x="273" y="556"/>
                </a:moveTo>
                <a:cubicBezTo>
                  <a:pt x="273" y="555"/>
                  <a:pt x="274" y="555"/>
                  <a:pt x="274" y="555"/>
                </a:cubicBezTo>
                <a:cubicBezTo>
                  <a:pt x="277" y="555"/>
                  <a:pt x="274" y="558"/>
                  <a:pt x="273" y="556"/>
                </a:cubicBezTo>
                <a:close/>
                <a:moveTo>
                  <a:pt x="270" y="624"/>
                </a:moveTo>
                <a:cubicBezTo>
                  <a:pt x="270" y="624"/>
                  <a:pt x="269" y="624"/>
                  <a:pt x="269" y="624"/>
                </a:cubicBezTo>
                <a:cubicBezTo>
                  <a:pt x="269" y="623"/>
                  <a:pt x="271" y="623"/>
                  <a:pt x="270" y="624"/>
                </a:cubicBezTo>
                <a:close/>
                <a:moveTo>
                  <a:pt x="266" y="617"/>
                </a:moveTo>
                <a:cubicBezTo>
                  <a:pt x="266" y="615"/>
                  <a:pt x="269" y="616"/>
                  <a:pt x="269" y="617"/>
                </a:cubicBezTo>
                <a:cubicBezTo>
                  <a:pt x="269" y="618"/>
                  <a:pt x="267" y="618"/>
                  <a:pt x="266" y="617"/>
                </a:cubicBezTo>
                <a:close/>
                <a:moveTo>
                  <a:pt x="271" y="647"/>
                </a:moveTo>
                <a:cubicBezTo>
                  <a:pt x="271" y="648"/>
                  <a:pt x="269" y="648"/>
                  <a:pt x="269" y="647"/>
                </a:cubicBezTo>
                <a:cubicBezTo>
                  <a:pt x="269" y="647"/>
                  <a:pt x="270" y="646"/>
                  <a:pt x="271" y="647"/>
                </a:cubicBezTo>
                <a:close/>
                <a:moveTo>
                  <a:pt x="270" y="628"/>
                </a:moveTo>
                <a:cubicBezTo>
                  <a:pt x="270" y="627"/>
                  <a:pt x="273" y="626"/>
                  <a:pt x="273" y="628"/>
                </a:cubicBezTo>
                <a:cubicBezTo>
                  <a:pt x="273" y="628"/>
                  <a:pt x="270" y="630"/>
                  <a:pt x="270" y="628"/>
                </a:cubicBezTo>
                <a:close/>
                <a:moveTo>
                  <a:pt x="273" y="613"/>
                </a:moveTo>
                <a:cubicBezTo>
                  <a:pt x="273" y="614"/>
                  <a:pt x="271" y="614"/>
                  <a:pt x="271" y="614"/>
                </a:cubicBezTo>
                <a:cubicBezTo>
                  <a:pt x="270" y="613"/>
                  <a:pt x="272" y="613"/>
                  <a:pt x="273" y="613"/>
                </a:cubicBezTo>
                <a:close/>
                <a:moveTo>
                  <a:pt x="270" y="571"/>
                </a:moveTo>
                <a:cubicBezTo>
                  <a:pt x="270" y="571"/>
                  <a:pt x="270" y="571"/>
                  <a:pt x="270" y="571"/>
                </a:cubicBezTo>
                <a:cubicBezTo>
                  <a:pt x="270" y="569"/>
                  <a:pt x="272" y="572"/>
                  <a:pt x="270" y="571"/>
                </a:cubicBezTo>
                <a:close/>
                <a:moveTo>
                  <a:pt x="271" y="564"/>
                </a:moveTo>
                <a:cubicBezTo>
                  <a:pt x="269" y="565"/>
                  <a:pt x="268" y="566"/>
                  <a:pt x="267" y="566"/>
                </a:cubicBezTo>
                <a:cubicBezTo>
                  <a:pt x="268" y="565"/>
                  <a:pt x="269" y="564"/>
                  <a:pt x="271" y="564"/>
                </a:cubicBezTo>
                <a:close/>
                <a:moveTo>
                  <a:pt x="271" y="572"/>
                </a:moveTo>
                <a:cubicBezTo>
                  <a:pt x="269" y="573"/>
                  <a:pt x="269" y="574"/>
                  <a:pt x="271" y="574"/>
                </a:cubicBezTo>
                <a:cubicBezTo>
                  <a:pt x="270" y="576"/>
                  <a:pt x="266" y="579"/>
                  <a:pt x="263" y="577"/>
                </a:cubicBezTo>
                <a:cubicBezTo>
                  <a:pt x="258" y="573"/>
                  <a:pt x="266" y="568"/>
                  <a:pt x="271" y="572"/>
                </a:cubicBezTo>
                <a:close/>
                <a:moveTo>
                  <a:pt x="264" y="612"/>
                </a:moveTo>
                <a:cubicBezTo>
                  <a:pt x="265" y="612"/>
                  <a:pt x="263" y="612"/>
                  <a:pt x="263" y="612"/>
                </a:cubicBezTo>
                <a:cubicBezTo>
                  <a:pt x="263" y="611"/>
                  <a:pt x="264" y="611"/>
                  <a:pt x="264" y="612"/>
                </a:cubicBezTo>
                <a:close/>
                <a:moveTo>
                  <a:pt x="266" y="632"/>
                </a:moveTo>
                <a:cubicBezTo>
                  <a:pt x="266" y="632"/>
                  <a:pt x="266" y="632"/>
                  <a:pt x="266" y="632"/>
                </a:cubicBezTo>
                <a:cubicBezTo>
                  <a:pt x="265" y="630"/>
                  <a:pt x="268" y="633"/>
                  <a:pt x="266" y="632"/>
                </a:cubicBezTo>
                <a:close/>
                <a:moveTo>
                  <a:pt x="276" y="663"/>
                </a:moveTo>
                <a:cubicBezTo>
                  <a:pt x="274" y="664"/>
                  <a:pt x="273" y="665"/>
                  <a:pt x="271" y="665"/>
                </a:cubicBezTo>
                <a:cubicBezTo>
                  <a:pt x="272" y="663"/>
                  <a:pt x="274" y="663"/>
                  <a:pt x="276" y="663"/>
                </a:cubicBezTo>
                <a:close/>
                <a:moveTo>
                  <a:pt x="270" y="486"/>
                </a:moveTo>
                <a:cubicBezTo>
                  <a:pt x="270" y="486"/>
                  <a:pt x="270" y="486"/>
                  <a:pt x="270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1" y="485"/>
                </a:cubicBezTo>
                <a:cubicBezTo>
                  <a:pt x="271" y="485"/>
                  <a:pt x="271" y="485"/>
                  <a:pt x="270" y="485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ubicBezTo>
                  <a:pt x="270" y="486"/>
                  <a:pt x="270" y="486"/>
                  <a:pt x="270" y="486"/>
                </a:cubicBezTo>
                <a:close/>
                <a:moveTo>
                  <a:pt x="274" y="496"/>
                </a:moveTo>
                <a:cubicBezTo>
                  <a:pt x="274" y="499"/>
                  <a:pt x="269" y="498"/>
                  <a:pt x="269" y="496"/>
                </a:cubicBezTo>
                <a:cubicBezTo>
                  <a:pt x="269" y="496"/>
                  <a:pt x="274" y="494"/>
                  <a:pt x="274" y="496"/>
                </a:cubicBezTo>
                <a:close/>
                <a:moveTo>
                  <a:pt x="276" y="504"/>
                </a:moveTo>
                <a:cubicBezTo>
                  <a:pt x="274" y="506"/>
                  <a:pt x="271" y="506"/>
                  <a:pt x="269" y="507"/>
                </a:cubicBezTo>
                <a:cubicBezTo>
                  <a:pt x="270" y="506"/>
                  <a:pt x="274" y="504"/>
                  <a:pt x="276" y="504"/>
                </a:cubicBezTo>
                <a:close/>
                <a:moveTo>
                  <a:pt x="268" y="467"/>
                </a:moveTo>
                <a:cubicBezTo>
                  <a:pt x="268" y="468"/>
                  <a:pt x="268" y="468"/>
                  <a:pt x="267" y="468"/>
                </a:cubicBezTo>
                <a:cubicBezTo>
                  <a:pt x="267" y="468"/>
                  <a:pt x="268" y="467"/>
                  <a:pt x="268" y="467"/>
                </a:cubicBezTo>
                <a:close/>
                <a:moveTo>
                  <a:pt x="267" y="506"/>
                </a:moveTo>
                <a:cubicBezTo>
                  <a:pt x="268" y="506"/>
                  <a:pt x="267" y="507"/>
                  <a:pt x="267" y="507"/>
                </a:cubicBezTo>
                <a:cubicBezTo>
                  <a:pt x="266" y="506"/>
                  <a:pt x="267" y="506"/>
                  <a:pt x="267" y="506"/>
                </a:cubicBezTo>
                <a:close/>
                <a:moveTo>
                  <a:pt x="264" y="562"/>
                </a:moveTo>
                <a:cubicBezTo>
                  <a:pt x="265" y="562"/>
                  <a:pt x="262" y="562"/>
                  <a:pt x="262" y="562"/>
                </a:cubicBezTo>
                <a:cubicBezTo>
                  <a:pt x="262" y="562"/>
                  <a:pt x="264" y="561"/>
                  <a:pt x="264" y="562"/>
                </a:cubicBezTo>
                <a:close/>
                <a:moveTo>
                  <a:pt x="262" y="562"/>
                </a:moveTo>
                <a:cubicBezTo>
                  <a:pt x="261" y="563"/>
                  <a:pt x="260" y="561"/>
                  <a:pt x="262" y="562"/>
                </a:cubicBezTo>
                <a:close/>
                <a:moveTo>
                  <a:pt x="260" y="440"/>
                </a:moveTo>
                <a:cubicBezTo>
                  <a:pt x="261" y="440"/>
                  <a:pt x="260" y="441"/>
                  <a:pt x="260" y="441"/>
                </a:cubicBezTo>
                <a:cubicBezTo>
                  <a:pt x="257" y="443"/>
                  <a:pt x="259" y="439"/>
                  <a:pt x="260" y="440"/>
                </a:cubicBezTo>
                <a:close/>
                <a:moveTo>
                  <a:pt x="257" y="484"/>
                </a:moveTo>
                <a:cubicBezTo>
                  <a:pt x="257" y="484"/>
                  <a:pt x="257" y="483"/>
                  <a:pt x="257" y="483"/>
                </a:cubicBezTo>
                <a:cubicBezTo>
                  <a:pt x="257" y="484"/>
                  <a:pt x="257" y="484"/>
                  <a:pt x="257" y="484"/>
                </a:cubicBezTo>
                <a:cubicBezTo>
                  <a:pt x="257" y="484"/>
                  <a:pt x="257" y="484"/>
                  <a:pt x="257" y="484"/>
                </a:cubicBezTo>
                <a:close/>
                <a:moveTo>
                  <a:pt x="256" y="495"/>
                </a:moveTo>
                <a:cubicBezTo>
                  <a:pt x="255" y="496"/>
                  <a:pt x="255" y="496"/>
                  <a:pt x="254" y="495"/>
                </a:cubicBezTo>
                <a:cubicBezTo>
                  <a:pt x="254" y="494"/>
                  <a:pt x="257" y="494"/>
                  <a:pt x="256" y="495"/>
                </a:cubicBezTo>
                <a:close/>
                <a:moveTo>
                  <a:pt x="252" y="519"/>
                </a:moveTo>
                <a:cubicBezTo>
                  <a:pt x="252" y="519"/>
                  <a:pt x="252" y="520"/>
                  <a:pt x="252" y="520"/>
                </a:cubicBezTo>
                <a:cubicBezTo>
                  <a:pt x="251" y="519"/>
                  <a:pt x="252" y="518"/>
                  <a:pt x="252" y="519"/>
                </a:cubicBezTo>
                <a:close/>
                <a:moveTo>
                  <a:pt x="250" y="460"/>
                </a:moveTo>
                <a:cubicBezTo>
                  <a:pt x="251" y="459"/>
                  <a:pt x="251" y="460"/>
                  <a:pt x="251" y="461"/>
                </a:cubicBezTo>
                <a:cubicBezTo>
                  <a:pt x="250" y="462"/>
                  <a:pt x="249" y="460"/>
                  <a:pt x="250" y="460"/>
                </a:cubicBezTo>
                <a:close/>
                <a:moveTo>
                  <a:pt x="253" y="530"/>
                </a:moveTo>
                <a:cubicBezTo>
                  <a:pt x="254" y="528"/>
                  <a:pt x="259" y="522"/>
                  <a:pt x="261" y="522"/>
                </a:cubicBezTo>
                <a:cubicBezTo>
                  <a:pt x="264" y="521"/>
                  <a:pt x="260" y="524"/>
                  <a:pt x="259" y="524"/>
                </a:cubicBezTo>
                <a:cubicBezTo>
                  <a:pt x="257" y="526"/>
                  <a:pt x="255" y="529"/>
                  <a:pt x="253" y="531"/>
                </a:cubicBezTo>
                <a:cubicBezTo>
                  <a:pt x="253" y="531"/>
                  <a:pt x="253" y="531"/>
                  <a:pt x="253" y="531"/>
                </a:cubicBezTo>
                <a:cubicBezTo>
                  <a:pt x="253" y="531"/>
                  <a:pt x="253" y="532"/>
                  <a:pt x="252" y="532"/>
                </a:cubicBezTo>
                <a:cubicBezTo>
                  <a:pt x="252" y="532"/>
                  <a:pt x="252" y="532"/>
                  <a:pt x="252" y="532"/>
                </a:cubicBezTo>
                <a:cubicBezTo>
                  <a:pt x="251" y="533"/>
                  <a:pt x="251" y="533"/>
                  <a:pt x="250" y="534"/>
                </a:cubicBezTo>
                <a:cubicBezTo>
                  <a:pt x="250" y="534"/>
                  <a:pt x="249" y="533"/>
                  <a:pt x="249" y="533"/>
                </a:cubicBezTo>
                <a:cubicBezTo>
                  <a:pt x="249" y="533"/>
                  <a:pt x="251" y="531"/>
                  <a:pt x="253" y="530"/>
                </a:cubicBezTo>
                <a:close/>
                <a:moveTo>
                  <a:pt x="253" y="640"/>
                </a:moveTo>
                <a:cubicBezTo>
                  <a:pt x="253" y="638"/>
                  <a:pt x="257" y="638"/>
                  <a:pt x="258" y="639"/>
                </a:cubicBezTo>
                <a:cubicBezTo>
                  <a:pt x="259" y="641"/>
                  <a:pt x="254" y="642"/>
                  <a:pt x="253" y="640"/>
                </a:cubicBezTo>
                <a:close/>
                <a:moveTo>
                  <a:pt x="255" y="652"/>
                </a:moveTo>
                <a:cubicBezTo>
                  <a:pt x="256" y="653"/>
                  <a:pt x="254" y="653"/>
                  <a:pt x="254" y="652"/>
                </a:cubicBezTo>
                <a:cubicBezTo>
                  <a:pt x="253" y="651"/>
                  <a:pt x="255" y="651"/>
                  <a:pt x="255" y="652"/>
                </a:cubicBezTo>
                <a:close/>
                <a:moveTo>
                  <a:pt x="240" y="645"/>
                </a:moveTo>
                <a:cubicBezTo>
                  <a:pt x="238" y="644"/>
                  <a:pt x="237" y="642"/>
                  <a:pt x="239" y="640"/>
                </a:cubicBezTo>
                <a:cubicBezTo>
                  <a:pt x="240" y="639"/>
                  <a:pt x="242" y="639"/>
                  <a:pt x="244" y="639"/>
                </a:cubicBezTo>
                <a:cubicBezTo>
                  <a:pt x="245" y="639"/>
                  <a:pt x="247" y="639"/>
                  <a:pt x="247" y="640"/>
                </a:cubicBezTo>
                <a:cubicBezTo>
                  <a:pt x="247" y="640"/>
                  <a:pt x="247" y="640"/>
                  <a:pt x="246" y="640"/>
                </a:cubicBezTo>
                <a:cubicBezTo>
                  <a:pt x="246" y="640"/>
                  <a:pt x="247" y="640"/>
                  <a:pt x="247" y="640"/>
                </a:cubicBezTo>
                <a:cubicBezTo>
                  <a:pt x="247" y="640"/>
                  <a:pt x="247" y="641"/>
                  <a:pt x="247" y="641"/>
                </a:cubicBezTo>
                <a:cubicBezTo>
                  <a:pt x="248" y="642"/>
                  <a:pt x="242" y="646"/>
                  <a:pt x="240" y="645"/>
                </a:cubicBezTo>
                <a:close/>
                <a:moveTo>
                  <a:pt x="241" y="660"/>
                </a:moveTo>
                <a:cubicBezTo>
                  <a:pt x="240" y="661"/>
                  <a:pt x="239" y="660"/>
                  <a:pt x="240" y="659"/>
                </a:cubicBezTo>
                <a:cubicBezTo>
                  <a:pt x="240" y="659"/>
                  <a:pt x="242" y="659"/>
                  <a:pt x="241" y="660"/>
                </a:cubicBezTo>
                <a:close/>
                <a:moveTo>
                  <a:pt x="250" y="593"/>
                </a:moveTo>
                <a:cubicBezTo>
                  <a:pt x="247" y="595"/>
                  <a:pt x="244" y="594"/>
                  <a:pt x="240" y="596"/>
                </a:cubicBezTo>
                <a:cubicBezTo>
                  <a:pt x="243" y="594"/>
                  <a:pt x="247" y="594"/>
                  <a:pt x="250" y="593"/>
                </a:cubicBezTo>
                <a:close/>
                <a:moveTo>
                  <a:pt x="245" y="578"/>
                </a:moveTo>
                <a:cubicBezTo>
                  <a:pt x="246" y="579"/>
                  <a:pt x="245" y="579"/>
                  <a:pt x="245" y="579"/>
                </a:cubicBezTo>
                <a:cubicBezTo>
                  <a:pt x="243" y="581"/>
                  <a:pt x="244" y="577"/>
                  <a:pt x="245" y="578"/>
                </a:cubicBezTo>
                <a:close/>
                <a:moveTo>
                  <a:pt x="253" y="551"/>
                </a:moveTo>
                <a:cubicBezTo>
                  <a:pt x="254" y="550"/>
                  <a:pt x="255" y="549"/>
                  <a:pt x="257" y="549"/>
                </a:cubicBezTo>
                <a:cubicBezTo>
                  <a:pt x="256" y="550"/>
                  <a:pt x="254" y="551"/>
                  <a:pt x="253" y="551"/>
                </a:cubicBezTo>
                <a:close/>
                <a:moveTo>
                  <a:pt x="255" y="555"/>
                </a:moveTo>
                <a:cubicBezTo>
                  <a:pt x="253" y="557"/>
                  <a:pt x="254" y="552"/>
                  <a:pt x="256" y="554"/>
                </a:cubicBezTo>
                <a:cubicBezTo>
                  <a:pt x="257" y="554"/>
                  <a:pt x="256" y="555"/>
                  <a:pt x="255" y="555"/>
                </a:cubicBezTo>
                <a:close/>
                <a:moveTo>
                  <a:pt x="258" y="564"/>
                </a:moveTo>
                <a:cubicBezTo>
                  <a:pt x="258" y="566"/>
                  <a:pt x="252" y="567"/>
                  <a:pt x="252" y="564"/>
                </a:cubicBezTo>
                <a:cubicBezTo>
                  <a:pt x="252" y="561"/>
                  <a:pt x="258" y="562"/>
                  <a:pt x="258" y="564"/>
                </a:cubicBezTo>
                <a:close/>
                <a:moveTo>
                  <a:pt x="257" y="589"/>
                </a:moveTo>
                <a:cubicBezTo>
                  <a:pt x="256" y="590"/>
                  <a:pt x="258" y="588"/>
                  <a:pt x="257" y="589"/>
                </a:cubicBezTo>
                <a:close/>
                <a:moveTo>
                  <a:pt x="254" y="619"/>
                </a:moveTo>
                <a:cubicBezTo>
                  <a:pt x="254" y="619"/>
                  <a:pt x="253" y="619"/>
                  <a:pt x="254" y="619"/>
                </a:cubicBezTo>
                <a:close/>
                <a:moveTo>
                  <a:pt x="254" y="612"/>
                </a:moveTo>
                <a:cubicBezTo>
                  <a:pt x="254" y="612"/>
                  <a:pt x="254" y="613"/>
                  <a:pt x="254" y="613"/>
                </a:cubicBezTo>
                <a:cubicBezTo>
                  <a:pt x="253" y="613"/>
                  <a:pt x="254" y="612"/>
                  <a:pt x="254" y="612"/>
                </a:cubicBezTo>
                <a:close/>
                <a:moveTo>
                  <a:pt x="254" y="619"/>
                </a:moveTo>
                <a:cubicBezTo>
                  <a:pt x="257" y="616"/>
                  <a:pt x="255" y="621"/>
                  <a:pt x="254" y="620"/>
                </a:cubicBezTo>
                <a:cubicBezTo>
                  <a:pt x="254" y="620"/>
                  <a:pt x="254" y="619"/>
                  <a:pt x="254" y="619"/>
                </a:cubicBezTo>
                <a:close/>
                <a:moveTo>
                  <a:pt x="253" y="608"/>
                </a:moveTo>
                <a:cubicBezTo>
                  <a:pt x="250" y="609"/>
                  <a:pt x="255" y="604"/>
                  <a:pt x="257" y="605"/>
                </a:cubicBezTo>
                <a:cubicBezTo>
                  <a:pt x="256" y="605"/>
                  <a:pt x="254" y="607"/>
                  <a:pt x="253" y="608"/>
                </a:cubicBezTo>
                <a:close/>
                <a:moveTo>
                  <a:pt x="255" y="600"/>
                </a:moveTo>
                <a:cubicBezTo>
                  <a:pt x="254" y="602"/>
                  <a:pt x="252" y="601"/>
                  <a:pt x="255" y="600"/>
                </a:cubicBezTo>
                <a:close/>
                <a:moveTo>
                  <a:pt x="256" y="599"/>
                </a:moveTo>
                <a:cubicBezTo>
                  <a:pt x="255" y="599"/>
                  <a:pt x="256" y="598"/>
                  <a:pt x="256" y="599"/>
                </a:cubicBezTo>
                <a:cubicBezTo>
                  <a:pt x="256" y="599"/>
                  <a:pt x="256" y="599"/>
                  <a:pt x="256" y="599"/>
                </a:cubicBezTo>
                <a:close/>
                <a:moveTo>
                  <a:pt x="253" y="571"/>
                </a:moveTo>
                <a:cubicBezTo>
                  <a:pt x="253" y="571"/>
                  <a:pt x="252" y="572"/>
                  <a:pt x="252" y="571"/>
                </a:cubicBezTo>
                <a:cubicBezTo>
                  <a:pt x="251" y="570"/>
                  <a:pt x="253" y="570"/>
                  <a:pt x="253" y="571"/>
                </a:cubicBezTo>
                <a:close/>
                <a:moveTo>
                  <a:pt x="251" y="558"/>
                </a:moveTo>
                <a:cubicBezTo>
                  <a:pt x="251" y="557"/>
                  <a:pt x="253" y="556"/>
                  <a:pt x="253" y="557"/>
                </a:cubicBezTo>
                <a:cubicBezTo>
                  <a:pt x="253" y="558"/>
                  <a:pt x="252" y="558"/>
                  <a:pt x="251" y="558"/>
                </a:cubicBezTo>
                <a:close/>
                <a:moveTo>
                  <a:pt x="246" y="555"/>
                </a:moveTo>
                <a:cubicBezTo>
                  <a:pt x="247" y="553"/>
                  <a:pt x="251" y="552"/>
                  <a:pt x="253" y="551"/>
                </a:cubicBezTo>
                <a:cubicBezTo>
                  <a:pt x="251" y="553"/>
                  <a:pt x="248" y="554"/>
                  <a:pt x="246" y="555"/>
                </a:cubicBezTo>
                <a:close/>
                <a:moveTo>
                  <a:pt x="245" y="613"/>
                </a:moveTo>
                <a:cubicBezTo>
                  <a:pt x="244" y="615"/>
                  <a:pt x="242" y="615"/>
                  <a:pt x="240" y="615"/>
                </a:cubicBezTo>
                <a:cubicBezTo>
                  <a:pt x="241" y="614"/>
                  <a:pt x="243" y="613"/>
                  <a:pt x="244" y="613"/>
                </a:cubicBezTo>
                <a:cubicBezTo>
                  <a:pt x="244" y="613"/>
                  <a:pt x="243" y="613"/>
                  <a:pt x="244" y="612"/>
                </a:cubicBezTo>
                <a:cubicBezTo>
                  <a:pt x="244" y="611"/>
                  <a:pt x="247" y="612"/>
                  <a:pt x="247" y="612"/>
                </a:cubicBezTo>
                <a:cubicBezTo>
                  <a:pt x="247" y="613"/>
                  <a:pt x="246" y="613"/>
                  <a:pt x="245" y="613"/>
                </a:cubicBezTo>
                <a:cubicBezTo>
                  <a:pt x="245" y="613"/>
                  <a:pt x="245" y="613"/>
                  <a:pt x="245" y="613"/>
                </a:cubicBezTo>
                <a:close/>
                <a:moveTo>
                  <a:pt x="241" y="634"/>
                </a:moveTo>
                <a:cubicBezTo>
                  <a:pt x="241" y="634"/>
                  <a:pt x="241" y="634"/>
                  <a:pt x="242" y="634"/>
                </a:cubicBezTo>
                <a:cubicBezTo>
                  <a:pt x="242" y="634"/>
                  <a:pt x="242" y="635"/>
                  <a:pt x="241" y="634"/>
                </a:cubicBezTo>
                <a:close/>
                <a:moveTo>
                  <a:pt x="240" y="485"/>
                </a:moveTo>
                <a:cubicBezTo>
                  <a:pt x="240" y="485"/>
                  <a:pt x="241" y="484"/>
                  <a:pt x="241" y="484"/>
                </a:cubicBezTo>
                <a:cubicBezTo>
                  <a:pt x="241" y="485"/>
                  <a:pt x="240" y="485"/>
                  <a:pt x="240" y="485"/>
                </a:cubicBezTo>
                <a:close/>
                <a:moveTo>
                  <a:pt x="240" y="535"/>
                </a:moveTo>
                <a:cubicBezTo>
                  <a:pt x="240" y="535"/>
                  <a:pt x="240" y="535"/>
                  <a:pt x="239" y="535"/>
                </a:cubicBezTo>
                <a:cubicBezTo>
                  <a:pt x="239" y="535"/>
                  <a:pt x="240" y="534"/>
                  <a:pt x="240" y="535"/>
                </a:cubicBezTo>
                <a:close/>
                <a:moveTo>
                  <a:pt x="243" y="647"/>
                </a:moveTo>
                <a:cubicBezTo>
                  <a:pt x="243" y="646"/>
                  <a:pt x="244" y="647"/>
                  <a:pt x="243" y="647"/>
                </a:cubicBezTo>
                <a:close/>
                <a:moveTo>
                  <a:pt x="243" y="664"/>
                </a:moveTo>
                <a:cubicBezTo>
                  <a:pt x="242" y="665"/>
                  <a:pt x="242" y="663"/>
                  <a:pt x="243" y="664"/>
                </a:cubicBezTo>
                <a:close/>
                <a:moveTo>
                  <a:pt x="244" y="665"/>
                </a:moveTo>
                <a:cubicBezTo>
                  <a:pt x="244" y="666"/>
                  <a:pt x="243" y="666"/>
                  <a:pt x="243" y="666"/>
                </a:cubicBezTo>
                <a:cubicBezTo>
                  <a:pt x="242" y="665"/>
                  <a:pt x="244" y="665"/>
                  <a:pt x="244" y="665"/>
                </a:cubicBezTo>
                <a:close/>
                <a:moveTo>
                  <a:pt x="244" y="658"/>
                </a:moveTo>
                <a:cubicBezTo>
                  <a:pt x="244" y="656"/>
                  <a:pt x="249" y="657"/>
                  <a:pt x="247" y="659"/>
                </a:cubicBezTo>
                <a:cubicBezTo>
                  <a:pt x="247" y="660"/>
                  <a:pt x="244" y="659"/>
                  <a:pt x="244" y="658"/>
                </a:cubicBezTo>
                <a:close/>
                <a:moveTo>
                  <a:pt x="248" y="619"/>
                </a:moveTo>
                <a:cubicBezTo>
                  <a:pt x="246" y="620"/>
                  <a:pt x="246" y="618"/>
                  <a:pt x="248" y="619"/>
                </a:cubicBezTo>
                <a:close/>
                <a:moveTo>
                  <a:pt x="249" y="639"/>
                </a:moveTo>
                <a:cubicBezTo>
                  <a:pt x="250" y="640"/>
                  <a:pt x="249" y="640"/>
                  <a:pt x="249" y="640"/>
                </a:cubicBezTo>
                <a:cubicBezTo>
                  <a:pt x="247" y="642"/>
                  <a:pt x="248" y="638"/>
                  <a:pt x="249" y="639"/>
                </a:cubicBezTo>
                <a:close/>
                <a:moveTo>
                  <a:pt x="249" y="606"/>
                </a:moveTo>
                <a:cubicBezTo>
                  <a:pt x="248" y="605"/>
                  <a:pt x="251" y="605"/>
                  <a:pt x="251" y="605"/>
                </a:cubicBezTo>
                <a:cubicBezTo>
                  <a:pt x="251" y="606"/>
                  <a:pt x="249" y="606"/>
                  <a:pt x="249" y="606"/>
                </a:cubicBezTo>
                <a:close/>
                <a:moveTo>
                  <a:pt x="247" y="598"/>
                </a:moveTo>
                <a:cubicBezTo>
                  <a:pt x="247" y="598"/>
                  <a:pt x="248" y="596"/>
                  <a:pt x="248" y="596"/>
                </a:cubicBezTo>
                <a:cubicBezTo>
                  <a:pt x="249" y="595"/>
                  <a:pt x="250" y="594"/>
                  <a:pt x="251" y="596"/>
                </a:cubicBezTo>
                <a:cubicBezTo>
                  <a:pt x="251" y="596"/>
                  <a:pt x="251" y="596"/>
                  <a:pt x="250" y="597"/>
                </a:cubicBezTo>
                <a:cubicBezTo>
                  <a:pt x="251" y="597"/>
                  <a:pt x="253" y="598"/>
                  <a:pt x="253" y="598"/>
                </a:cubicBezTo>
                <a:cubicBezTo>
                  <a:pt x="254" y="602"/>
                  <a:pt x="247" y="599"/>
                  <a:pt x="247" y="598"/>
                </a:cubicBezTo>
                <a:close/>
                <a:moveTo>
                  <a:pt x="253" y="601"/>
                </a:moveTo>
                <a:cubicBezTo>
                  <a:pt x="253" y="602"/>
                  <a:pt x="252" y="602"/>
                  <a:pt x="251" y="602"/>
                </a:cubicBezTo>
                <a:cubicBezTo>
                  <a:pt x="251" y="602"/>
                  <a:pt x="252" y="601"/>
                  <a:pt x="253" y="601"/>
                </a:cubicBezTo>
                <a:close/>
                <a:moveTo>
                  <a:pt x="253" y="609"/>
                </a:moveTo>
                <a:cubicBezTo>
                  <a:pt x="254" y="609"/>
                  <a:pt x="252" y="610"/>
                  <a:pt x="252" y="610"/>
                </a:cubicBezTo>
                <a:cubicBezTo>
                  <a:pt x="251" y="609"/>
                  <a:pt x="253" y="608"/>
                  <a:pt x="253" y="609"/>
                </a:cubicBezTo>
                <a:close/>
                <a:moveTo>
                  <a:pt x="254" y="650"/>
                </a:moveTo>
                <a:cubicBezTo>
                  <a:pt x="253" y="652"/>
                  <a:pt x="252" y="649"/>
                  <a:pt x="254" y="650"/>
                </a:cubicBezTo>
                <a:close/>
                <a:moveTo>
                  <a:pt x="256" y="592"/>
                </a:moveTo>
                <a:cubicBezTo>
                  <a:pt x="255" y="590"/>
                  <a:pt x="259" y="590"/>
                  <a:pt x="260" y="591"/>
                </a:cubicBezTo>
                <a:cubicBezTo>
                  <a:pt x="260" y="592"/>
                  <a:pt x="256" y="594"/>
                  <a:pt x="256" y="592"/>
                </a:cubicBezTo>
                <a:close/>
                <a:moveTo>
                  <a:pt x="249" y="520"/>
                </a:moveTo>
                <a:cubicBezTo>
                  <a:pt x="249" y="520"/>
                  <a:pt x="249" y="521"/>
                  <a:pt x="249" y="521"/>
                </a:cubicBezTo>
                <a:cubicBezTo>
                  <a:pt x="248" y="522"/>
                  <a:pt x="248" y="519"/>
                  <a:pt x="249" y="520"/>
                </a:cubicBezTo>
                <a:close/>
                <a:moveTo>
                  <a:pt x="249" y="536"/>
                </a:moveTo>
                <a:cubicBezTo>
                  <a:pt x="249" y="538"/>
                  <a:pt x="244" y="540"/>
                  <a:pt x="244" y="536"/>
                </a:cubicBezTo>
                <a:cubicBezTo>
                  <a:pt x="244" y="535"/>
                  <a:pt x="249" y="534"/>
                  <a:pt x="249" y="536"/>
                </a:cubicBezTo>
                <a:close/>
                <a:moveTo>
                  <a:pt x="244" y="450"/>
                </a:moveTo>
                <a:cubicBezTo>
                  <a:pt x="244" y="450"/>
                  <a:pt x="244" y="450"/>
                  <a:pt x="244" y="450"/>
                </a:cubicBezTo>
                <a:cubicBezTo>
                  <a:pt x="243" y="450"/>
                  <a:pt x="244" y="449"/>
                  <a:pt x="244" y="450"/>
                </a:cubicBezTo>
                <a:close/>
                <a:moveTo>
                  <a:pt x="243" y="420"/>
                </a:moveTo>
                <a:cubicBezTo>
                  <a:pt x="243" y="420"/>
                  <a:pt x="243" y="420"/>
                  <a:pt x="243" y="420"/>
                </a:cubicBezTo>
                <a:cubicBezTo>
                  <a:pt x="244" y="420"/>
                  <a:pt x="244" y="420"/>
                  <a:pt x="243" y="420"/>
                </a:cubicBezTo>
                <a:close/>
                <a:moveTo>
                  <a:pt x="241" y="504"/>
                </a:moveTo>
                <a:cubicBezTo>
                  <a:pt x="240" y="502"/>
                  <a:pt x="243" y="504"/>
                  <a:pt x="241" y="504"/>
                </a:cubicBezTo>
                <a:close/>
                <a:moveTo>
                  <a:pt x="235" y="479"/>
                </a:moveTo>
                <a:cubicBezTo>
                  <a:pt x="236" y="477"/>
                  <a:pt x="240" y="471"/>
                  <a:pt x="242" y="470"/>
                </a:cubicBezTo>
                <a:cubicBezTo>
                  <a:pt x="240" y="473"/>
                  <a:pt x="238" y="476"/>
                  <a:pt x="235" y="479"/>
                </a:cubicBezTo>
                <a:close/>
                <a:moveTo>
                  <a:pt x="236" y="507"/>
                </a:moveTo>
                <a:cubicBezTo>
                  <a:pt x="236" y="508"/>
                  <a:pt x="235" y="508"/>
                  <a:pt x="235" y="507"/>
                </a:cubicBezTo>
                <a:cubicBezTo>
                  <a:pt x="235" y="506"/>
                  <a:pt x="236" y="507"/>
                  <a:pt x="236" y="507"/>
                </a:cubicBezTo>
                <a:close/>
                <a:moveTo>
                  <a:pt x="242" y="337"/>
                </a:moveTo>
                <a:cubicBezTo>
                  <a:pt x="240" y="339"/>
                  <a:pt x="238" y="341"/>
                  <a:pt x="235" y="343"/>
                </a:cubicBezTo>
                <a:cubicBezTo>
                  <a:pt x="237" y="341"/>
                  <a:pt x="240" y="338"/>
                  <a:pt x="242" y="337"/>
                </a:cubicBezTo>
                <a:close/>
                <a:moveTo>
                  <a:pt x="235" y="428"/>
                </a:moveTo>
                <a:cubicBezTo>
                  <a:pt x="235" y="427"/>
                  <a:pt x="234" y="429"/>
                  <a:pt x="235" y="428"/>
                </a:cubicBezTo>
                <a:close/>
                <a:moveTo>
                  <a:pt x="236" y="488"/>
                </a:moveTo>
                <a:cubicBezTo>
                  <a:pt x="233" y="491"/>
                  <a:pt x="233" y="494"/>
                  <a:pt x="230" y="496"/>
                </a:cubicBezTo>
                <a:cubicBezTo>
                  <a:pt x="231" y="494"/>
                  <a:pt x="233" y="489"/>
                  <a:pt x="236" y="488"/>
                </a:cubicBezTo>
                <a:close/>
                <a:moveTo>
                  <a:pt x="235" y="529"/>
                </a:moveTo>
                <a:cubicBezTo>
                  <a:pt x="235" y="529"/>
                  <a:pt x="234" y="529"/>
                  <a:pt x="234" y="529"/>
                </a:cubicBezTo>
                <a:cubicBezTo>
                  <a:pt x="234" y="528"/>
                  <a:pt x="235" y="529"/>
                  <a:pt x="235" y="529"/>
                </a:cubicBezTo>
                <a:close/>
                <a:moveTo>
                  <a:pt x="232" y="503"/>
                </a:moveTo>
                <a:cubicBezTo>
                  <a:pt x="232" y="504"/>
                  <a:pt x="231" y="504"/>
                  <a:pt x="231" y="504"/>
                </a:cubicBezTo>
                <a:cubicBezTo>
                  <a:pt x="231" y="503"/>
                  <a:pt x="232" y="502"/>
                  <a:pt x="232" y="503"/>
                </a:cubicBezTo>
                <a:close/>
                <a:moveTo>
                  <a:pt x="233" y="322"/>
                </a:moveTo>
                <a:cubicBezTo>
                  <a:pt x="234" y="320"/>
                  <a:pt x="232" y="323"/>
                  <a:pt x="233" y="322"/>
                </a:cubicBezTo>
                <a:close/>
                <a:moveTo>
                  <a:pt x="233" y="463"/>
                </a:moveTo>
                <a:cubicBezTo>
                  <a:pt x="232" y="465"/>
                  <a:pt x="234" y="462"/>
                  <a:pt x="233" y="463"/>
                </a:cubicBezTo>
                <a:close/>
                <a:moveTo>
                  <a:pt x="232" y="465"/>
                </a:moveTo>
                <a:cubicBezTo>
                  <a:pt x="233" y="467"/>
                  <a:pt x="229" y="469"/>
                  <a:pt x="228" y="466"/>
                </a:cubicBezTo>
                <a:cubicBezTo>
                  <a:pt x="228" y="464"/>
                  <a:pt x="231" y="463"/>
                  <a:pt x="232" y="465"/>
                </a:cubicBezTo>
                <a:close/>
                <a:moveTo>
                  <a:pt x="231" y="364"/>
                </a:moveTo>
                <a:cubicBezTo>
                  <a:pt x="232" y="365"/>
                  <a:pt x="230" y="367"/>
                  <a:pt x="230" y="367"/>
                </a:cubicBezTo>
                <a:cubicBezTo>
                  <a:pt x="226" y="369"/>
                  <a:pt x="229" y="363"/>
                  <a:pt x="231" y="364"/>
                </a:cubicBezTo>
                <a:close/>
                <a:moveTo>
                  <a:pt x="227" y="421"/>
                </a:moveTo>
                <a:cubicBezTo>
                  <a:pt x="228" y="421"/>
                  <a:pt x="227" y="422"/>
                  <a:pt x="227" y="422"/>
                </a:cubicBezTo>
                <a:cubicBezTo>
                  <a:pt x="225" y="423"/>
                  <a:pt x="226" y="420"/>
                  <a:pt x="227" y="421"/>
                </a:cubicBezTo>
                <a:close/>
                <a:moveTo>
                  <a:pt x="227" y="484"/>
                </a:moveTo>
                <a:cubicBezTo>
                  <a:pt x="225" y="484"/>
                  <a:pt x="228" y="482"/>
                  <a:pt x="227" y="483"/>
                </a:cubicBezTo>
                <a:cubicBezTo>
                  <a:pt x="227" y="483"/>
                  <a:pt x="227" y="484"/>
                  <a:pt x="227" y="484"/>
                </a:cubicBezTo>
                <a:close/>
                <a:moveTo>
                  <a:pt x="227" y="436"/>
                </a:moveTo>
                <a:cubicBezTo>
                  <a:pt x="226" y="435"/>
                  <a:pt x="228" y="435"/>
                  <a:pt x="227" y="436"/>
                </a:cubicBezTo>
                <a:close/>
                <a:moveTo>
                  <a:pt x="227" y="526"/>
                </a:moveTo>
                <a:cubicBezTo>
                  <a:pt x="226" y="527"/>
                  <a:pt x="225" y="526"/>
                  <a:pt x="227" y="526"/>
                </a:cubicBezTo>
                <a:close/>
                <a:moveTo>
                  <a:pt x="227" y="527"/>
                </a:moveTo>
                <a:cubicBezTo>
                  <a:pt x="228" y="528"/>
                  <a:pt x="226" y="529"/>
                  <a:pt x="226" y="529"/>
                </a:cubicBezTo>
                <a:cubicBezTo>
                  <a:pt x="225" y="529"/>
                  <a:pt x="227" y="527"/>
                  <a:pt x="227" y="527"/>
                </a:cubicBezTo>
                <a:close/>
                <a:moveTo>
                  <a:pt x="225" y="375"/>
                </a:moveTo>
                <a:cubicBezTo>
                  <a:pt x="227" y="376"/>
                  <a:pt x="225" y="376"/>
                  <a:pt x="225" y="375"/>
                </a:cubicBezTo>
                <a:close/>
                <a:moveTo>
                  <a:pt x="224" y="359"/>
                </a:moveTo>
                <a:cubicBezTo>
                  <a:pt x="224" y="360"/>
                  <a:pt x="223" y="360"/>
                  <a:pt x="223" y="361"/>
                </a:cubicBezTo>
                <a:cubicBezTo>
                  <a:pt x="222" y="360"/>
                  <a:pt x="224" y="360"/>
                  <a:pt x="224" y="359"/>
                </a:cubicBezTo>
                <a:close/>
                <a:moveTo>
                  <a:pt x="222" y="500"/>
                </a:moveTo>
                <a:cubicBezTo>
                  <a:pt x="222" y="499"/>
                  <a:pt x="223" y="499"/>
                  <a:pt x="224" y="499"/>
                </a:cubicBezTo>
                <a:cubicBezTo>
                  <a:pt x="224" y="500"/>
                  <a:pt x="222" y="501"/>
                  <a:pt x="222" y="500"/>
                </a:cubicBezTo>
                <a:close/>
                <a:moveTo>
                  <a:pt x="222" y="564"/>
                </a:moveTo>
                <a:cubicBezTo>
                  <a:pt x="222" y="565"/>
                  <a:pt x="219" y="565"/>
                  <a:pt x="219" y="564"/>
                </a:cubicBezTo>
                <a:cubicBezTo>
                  <a:pt x="219" y="562"/>
                  <a:pt x="222" y="563"/>
                  <a:pt x="222" y="564"/>
                </a:cubicBezTo>
                <a:close/>
                <a:moveTo>
                  <a:pt x="224" y="489"/>
                </a:moveTo>
                <a:cubicBezTo>
                  <a:pt x="224" y="489"/>
                  <a:pt x="223" y="490"/>
                  <a:pt x="223" y="490"/>
                </a:cubicBezTo>
                <a:cubicBezTo>
                  <a:pt x="222" y="489"/>
                  <a:pt x="225" y="488"/>
                  <a:pt x="224" y="489"/>
                </a:cubicBezTo>
                <a:close/>
                <a:moveTo>
                  <a:pt x="224" y="467"/>
                </a:moveTo>
                <a:cubicBezTo>
                  <a:pt x="224" y="470"/>
                  <a:pt x="222" y="469"/>
                  <a:pt x="224" y="467"/>
                </a:cubicBezTo>
                <a:close/>
                <a:moveTo>
                  <a:pt x="223" y="272"/>
                </a:moveTo>
                <a:cubicBezTo>
                  <a:pt x="223" y="273"/>
                  <a:pt x="222" y="274"/>
                  <a:pt x="221" y="275"/>
                </a:cubicBezTo>
                <a:cubicBezTo>
                  <a:pt x="221" y="273"/>
                  <a:pt x="222" y="273"/>
                  <a:pt x="223" y="272"/>
                </a:cubicBezTo>
                <a:close/>
                <a:moveTo>
                  <a:pt x="222" y="308"/>
                </a:moveTo>
                <a:cubicBezTo>
                  <a:pt x="222" y="310"/>
                  <a:pt x="220" y="312"/>
                  <a:pt x="218" y="313"/>
                </a:cubicBezTo>
                <a:cubicBezTo>
                  <a:pt x="220" y="312"/>
                  <a:pt x="220" y="310"/>
                  <a:pt x="222" y="308"/>
                </a:cubicBezTo>
                <a:close/>
                <a:moveTo>
                  <a:pt x="218" y="378"/>
                </a:moveTo>
                <a:cubicBezTo>
                  <a:pt x="218" y="376"/>
                  <a:pt x="220" y="378"/>
                  <a:pt x="218" y="378"/>
                </a:cubicBezTo>
                <a:close/>
                <a:moveTo>
                  <a:pt x="218" y="467"/>
                </a:moveTo>
                <a:cubicBezTo>
                  <a:pt x="218" y="467"/>
                  <a:pt x="217" y="467"/>
                  <a:pt x="217" y="466"/>
                </a:cubicBezTo>
                <a:cubicBezTo>
                  <a:pt x="217" y="466"/>
                  <a:pt x="218" y="466"/>
                  <a:pt x="218" y="467"/>
                </a:cubicBezTo>
                <a:close/>
                <a:moveTo>
                  <a:pt x="217" y="315"/>
                </a:move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ubicBezTo>
                  <a:pt x="217" y="315"/>
                  <a:pt x="217" y="315"/>
                  <a:pt x="217" y="315"/>
                </a:cubicBezTo>
                <a:close/>
                <a:moveTo>
                  <a:pt x="218" y="382"/>
                </a:moveTo>
                <a:cubicBezTo>
                  <a:pt x="217" y="382"/>
                  <a:pt x="217" y="382"/>
                  <a:pt x="217" y="382"/>
                </a:cubicBezTo>
                <a:cubicBezTo>
                  <a:pt x="216" y="381"/>
                  <a:pt x="219" y="380"/>
                  <a:pt x="218" y="382"/>
                </a:cubicBezTo>
                <a:close/>
                <a:moveTo>
                  <a:pt x="212" y="322"/>
                </a:moveTo>
                <a:cubicBezTo>
                  <a:pt x="212" y="321"/>
                  <a:pt x="215" y="318"/>
                  <a:pt x="216" y="316"/>
                </a:cubicBezTo>
                <a:cubicBezTo>
                  <a:pt x="216" y="319"/>
                  <a:pt x="210" y="325"/>
                  <a:pt x="212" y="322"/>
                </a:cubicBezTo>
                <a:close/>
                <a:moveTo>
                  <a:pt x="215" y="450"/>
                </a:moveTo>
                <a:cubicBezTo>
                  <a:pt x="215" y="450"/>
                  <a:pt x="215" y="450"/>
                  <a:pt x="215" y="450"/>
                </a:cubicBezTo>
                <a:cubicBezTo>
                  <a:pt x="215" y="450"/>
                  <a:pt x="215" y="450"/>
                  <a:pt x="215" y="450"/>
                </a:cubicBezTo>
                <a:close/>
                <a:moveTo>
                  <a:pt x="214" y="449"/>
                </a:moveTo>
                <a:cubicBezTo>
                  <a:pt x="214" y="449"/>
                  <a:pt x="214" y="448"/>
                  <a:pt x="214" y="448"/>
                </a:cubicBezTo>
                <a:cubicBezTo>
                  <a:pt x="214" y="446"/>
                  <a:pt x="216" y="448"/>
                  <a:pt x="214" y="449"/>
                </a:cubicBezTo>
                <a:close/>
                <a:moveTo>
                  <a:pt x="214" y="524"/>
                </a:moveTo>
                <a:cubicBezTo>
                  <a:pt x="213" y="523"/>
                  <a:pt x="214" y="523"/>
                  <a:pt x="215" y="522"/>
                </a:cubicBezTo>
                <a:cubicBezTo>
                  <a:pt x="215" y="523"/>
                  <a:pt x="214" y="523"/>
                  <a:pt x="214" y="524"/>
                </a:cubicBezTo>
                <a:close/>
                <a:moveTo>
                  <a:pt x="212" y="508"/>
                </a:moveTo>
                <a:cubicBezTo>
                  <a:pt x="210" y="509"/>
                  <a:pt x="214" y="507"/>
                  <a:pt x="212" y="508"/>
                </a:cubicBezTo>
                <a:close/>
                <a:moveTo>
                  <a:pt x="202" y="518"/>
                </a:moveTo>
                <a:cubicBezTo>
                  <a:pt x="210" y="516"/>
                  <a:pt x="209" y="525"/>
                  <a:pt x="203" y="526"/>
                </a:cubicBezTo>
                <a:cubicBezTo>
                  <a:pt x="198" y="527"/>
                  <a:pt x="197" y="520"/>
                  <a:pt x="202" y="518"/>
                </a:cubicBezTo>
                <a:close/>
                <a:moveTo>
                  <a:pt x="201" y="548"/>
                </a:moveTo>
                <a:cubicBezTo>
                  <a:pt x="201" y="548"/>
                  <a:pt x="201" y="548"/>
                  <a:pt x="201" y="548"/>
                </a:cubicBezTo>
                <a:cubicBezTo>
                  <a:pt x="201" y="546"/>
                  <a:pt x="203" y="550"/>
                  <a:pt x="201" y="548"/>
                </a:cubicBezTo>
                <a:close/>
                <a:moveTo>
                  <a:pt x="199" y="549"/>
                </a:moveTo>
                <a:cubicBezTo>
                  <a:pt x="199" y="551"/>
                  <a:pt x="197" y="549"/>
                  <a:pt x="199" y="549"/>
                </a:cubicBezTo>
                <a:close/>
                <a:moveTo>
                  <a:pt x="200" y="494"/>
                </a:moveTo>
                <a:cubicBezTo>
                  <a:pt x="199" y="495"/>
                  <a:pt x="198" y="496"/>
                  <a:pt x="196" y="496"/>
                </a:cubicBezTo>
                <a:cubicBezTo>
                  <a:pt x="197" y="495"/>
                  <a:pt x="199" y="495"/>
                  <a:pt x="200" y="494"/>
                </a:cubicBezTo>
                <a:close/>
                <a:moveTo>
                  <a:pt x="202" y="420"/>
                </a:moveTo>
                <a:cubicBezTo>
                  <a:pt x="201" y="421"/>
                  <a:pt x="201" y="421"/>
                  <a:pt x="200" y="421"/>
                </a:cubicBezTo>
                <a:cubicBezTo>
                  <a:pt x="199" y="420"/>
                  <a:pt x="203" y="418"/>
                  <a:pt x="202" y="420"/>
                </a:cubicBezTo>
                <a:close/>
                <a:moveTo>
                  <a:pt x="203" y="493"/>
                </a:moveTo>
                <a:cubicBezTo>
                  <a:pt x="204" y="493"/>
                  <a:pt x="204" y="493"/>
                  <a:pt x="204" y="493"/>
                </a:cubicBezTo>
                <a:cubicBezTo>
                  <a:pt x="204" y="493"/>
                  <a:pt x="200" y="494"/>
                  <a:pt x="203" y="493"/>
                </a:cubicBezTo>
                <a:close/>
                <a:moveTo>
                  <a:pt x="206" y="456"/>
                </a:moveTo>
                <a:cubicBezTo>
                  <a:pt x="206" y="456"/>
                  <a:pt x="205" y="456"/>
                  <a:pt x="205" y="456"/>
                </a:cubicBezTo>
                <a:cubicBezTo>
                  <a:pt x="204" y="456"/>
                  <a:pt x="206" y="455"/>
                  <a:pt x="206" y="456"/>
                </a:cubicBezTo>
                <a:close/>
                <a:moveTo>
                  <a:pt x="206" y="475"/>
                </a:moveTo>
                <a:cubicBezTo>
                  <a:pt x="206" y="473"/>
                  <a:pt x="210" y="475"/>
                  <a:pt x="210" y="477"/>
                </a:cubicBezTo>
                <a:cubicBezTo>
                  <a:pt x="209" y="479"/>
                  <a:pt x="204" y="479"/>
                  <a:pt x="206" y="475"/>
                </a:cubicBezTo>
                <a:close/>
                <a:moveTo>
                  <a:pt x="208" y="439"/>
                </a:moveTo>
                <a:cubicBezTo>
                  <a:pt x="208" y="440"/>
                  <a:pt x="207" y="440"/>
                  <a:pt x="207" y="440"/>
                </a:cubicBezTo>
                <a:cubicBezTo>
                  <a:pt x="207" y="439"/>
                  <a:pt x="208" y="439"/>
                  <a:pt x="208" y="439"/>
                </a:cubicBezTo>
                <a:close/>
                <a:moveTo>
                  <a:pt x="208" y="405"/>
                </a:moveTo>
                <a:cubicBezTo>
                  <a:pt x="207" y="406"/>
                  <a:pt x="208" y="404"/>
                  <a:pt x="208" y="405"/>
                </a:cubicBezTo>
                <a:close/>
                <a:moveTo>
                  <a:pt x="209" y="467"/>
                </a:moveTo>
                <a:cubicBezTo>
                  <a:pt x="209" y="467"/>
                  <a:pt x="209" y="468"/>
                  <a:pt x="209" y="468"/>
                </a:cubicBezTo>
                <a:cubicBezTo>
                  <a:pt x="208" y="467"/>
                  <a:pt x="210" y="466"/>
                  <a:pt x="209" y="467"/>
                </a:cubicBezTo>
                <a:close/>
                <a:moveTo>
                  <a:pt x="210" y="509"/>
                </a:moveTo>
                <a:cubicBezTo>
                  <a:pt x="208" y="511"/>
                  <a:pt x="211" y="508"/>
                  <a:pt x="210" y="509"/>
                </a:cubicBezTo>
                <a:close/>
                <a:moveTo>
                  <a:pt x="210" y="444"/>
                </a:moveTo>
                <a:cubicBezTo>
                  <a:pt x="207" y="445"/>
                  <a:pt x="209" y="441"/>
                  <a:pt x="210" y="443"/>
                </a:cubicBezTo>
                <a:cubicBezTo>
                  <a:pt x="211" y="443"/>
                  <a:pt x="210" y="443"/>
                  <a:pt x="210" y="444"/>
                </a:cubicBezTo>
                <a:close/>
                <a:moveTo>
                  <a:pt x="210" y="185"/>
                </a:moveTo>
                <a:cubicBezTo>
                  <a:pt x="210" y="185"/>
                  <a:pt x="210" y="185"/>
                  <a:pt x="210" y="185"/>
                </a:cubicBezTo>
                <a:cubicBezTo>
                  <a:pt x="209" y="185"/>
                  <a:pt x="211" y="184"/>
                  <a:pt x="210" y="185"/>
                </a:cubicBezTo>
                <a:close/>
                <a:moveTo>
                  <a:pt x="210" y="203"/>
                </a:moveTo>
                <a:cubicBezTo>
                  <a:pt x="211" y="203"/>
                  <a:pt x="209" y="205"/>
                  <a:pt x="209" y="205"/>
                </a:cubicBezTo>
                <a:cubicBezTo>
                  <a:pt x="209" y="204"/>
                  <a:pt x="209" y="204"/>
                  <a:pt x="210" y="203"/>
                </a:cubicBezTo>
                <a:close/>
                <a:moveTo>
                  <a:pt x="210" y="371"/>
                </a:moveTo>
                <a:cubicBezTo>
                  <a:pt x="209" y="372"/>
                  <a:pt x="209" y="372"/>
                  <a:pt x="208" y="372"/>
                </a:cubicBezTo>
                <a:cubicBezTo>
                  <a:pt x="208" y="372"/>
                  <a:pt x="208" y="371"/>
                  <a:pt x="210" y="371"/>
                </a:cubicBezTo>
                <a:close/>
                <a:moveTo>
                  <a:pt x="208" y="181"/>
                </a:moveTo>
                <a:cubicBezTo>
                  <a:pt x="209" y="181"/>
                  <a:pt x="207" y="184"/>
                  <a:pt x="207" y="184"/>
                </a:cubicBezTo>
                <a:cubicBezTo>
                  <a:pt x="204" y="186"/>
                  <a:pt x="206" y="180"/>
                  <a:pt x="208" y="181"/>
                </a:cubicBezTo>
                <a:close/>
                <a:moveTo>
                  <a:pt x="207" y="374"/>
                </a:moveTo>
                <a:cubicBezTo>
                  <a:pt x="206" y="373"/>
                  <a:pt x="208" y="373"/>
                  <a:pt x="207" y="374"/>
                </a:cubicBezTo>
                <a:close/>
                <a:moveTo>
                  <a:pt x="207" y="387"/>
                </a:moveTo>
                <a:cubicBezTo>
                  <a:pt x="206" y="387"/>
                  <a:pt x="206" y="388"/>
                  <a:pt x="206" y="387"/>
                </a:cubicBezTo>
                <a:cubicBezTo>
                  <a:pt x="205" y="386"/>
                  <a:pt x="209" y="385"/>
                  <a:pt x="207" y="387"/>
                </a:cubicBezTo>
                <a:close/>
                <a:moveTo>
                  <a:pt x="204" y="211"/>
                </a:moveTo>
                <a:cubicBezTo>
                  <a:pt x="204" y="213"/>
                  <a:pt x="202" y="214"/>
                  <a:pt x="201" y="216"/>
                </a:cubicBezTo>
                <a:cubicBezTo>
                  <a:pt x="201" y="214"/>
                  <a:pt x="203" y="213"/>
                  <a:pt x="204" y="211"/>
                </a:cubicBezTo>
                <a:close/>
                <a:moveTo>
                  <a:pt x="202" y="326"/>
                </a:moveTo>
                <a:cubicBezTo>
                  <a:pt x="202" y="327"/>
                  <a:pt x="202" y="328"/>
                  <a:pt x="201" y="328"/>
                </a:cubicBezTo>
                <a:cubicBezTo>
                  <a:pt x="201" y="327"/>
                  <a:pt x="202" y="327"/>
                  <a:pt x="202" y="326"/>
                </a:cubicBezTo>
                <a:close/>
                <a:moveTo>
                  <a:pt x="205" y="387"/>
                </a:moveTo>
                <a:cubicBezTo>
                  <a:pt x="205" y="388"/>
                  <a:pt x="203" y="389"/>
                  <a:pt x="201" y="390"/>
                </a:cubicBezTo>
                <a:cubicBezTo>
                  <a:pt x="202" y="388"/>
                  <a:pt x="204" y="388"/>
                  <a:pt x="205" y="387"/>
                </a:cubicBezTo>
                <a:close/>
                <a:moveTo>
                  <a:pt x="196" y="218"/>
                </a:moveTo>
                <a:cubicBezTo>
                  <a:pt x="198" y="219"/>
                  <a:pt x="196" y="220"/>
                  <a:pt x="196" y="218"/>
                </a:cubicBezTo>
                <a:close/>
                <a:moveTo>
                  <a:pt x="196" y="249"/>
                </a:moveTo>
                <a:cubicBezTo>
                  <a:pt x="195" y="251"/>
                  <a:pt x="197" y="248"/>
                  <a:pt x="196" y="249"/>
                </a:cubicBezTo>
                <a:close/>
                <a:moveTo>
                  <a:pt x="198" y="349"/>
                </a:moveTo>
                <a:cubicBezTo>
                  <a:pt x="198" y="350"/>
                  <a:pt x="196" y="351"/>
                  <a:pt x="196" y="352"/>
                </a:cubicBezTo>
                <a:cubicBezTo>
                  <a:pt x="195" y="351"/>
                  <a:pt x="197" y="350"/>
                  <a:pt x="198" y="349"/>
                </a:cubicBezTo>
                <a:close/>
                <a:moveTo>
                  <a:pt x="196" y="296"/>
                </a:moveTo>
                <a:cubicBezTo>
                  <a:pt x="196" y="296"/>
                  <a:pt x="195" y="298"/>
                  <a:pt x="195" y="298"/>
                </a:cubicBezTo>
                <a:cubicBezTo>
                  <a:pt x="193" y="300"/>
                  <a:pt x="194" y="295"/>
                  <a:pt x="196" y="296"/>
                </a:cubicBezTo>
                <a:close/>
                <a:moveTo>
                  <a:pt x="194" y="353"/>
                </a:moveTo>
                <a:cubicBezTo>
                  <a:pt x="195" y="354"/>
                  <a:pt x="193" y="354"/>
                  <a:pt x="194" y="353"/>
                </a:cubicBezTo>
                <a:close/>
                <a:moveTo>
                  <a:pt x="192" y="213"/>
                </a:moveTo>
                <a:cubicBezTo>
                  <a:pt x="192" y="212"/>
                  <a:pt x="194" y="211"/>
                  <a:pt x="192" y="213"/>
                </a:cubicBezTo>
                <a:close/>
                <a:moveTo>
                  <a:pt x="193" y="252"/>
                </a:moveTo>
                <a:cubicBezTo>
                  <a:pt x="194" y="253"/>
                  <a:pt x="193" y="254"/>
                  <a:pt x="192" y="254"/>
                </a:cubicBezTo>
                <a:cubicBezTo>
                  <a:pt x="192" y="253"/>
                  <a:pt x="193" y="253"/>
                  <a:pt x="193" y="252"/>
                </a:cubicBezTo>
                <a:close/>
                <a:moveTo>
                  <a:pt x="193" y="354"/>
                </a:moveTo>
                <a:cubicBezTo>
                  <a:pt x="193" y="355"/>
                  <a:pt x="193" y="356"/>
                  <a:pt x="192" y="356"/>
                </a:cubicBezTo>
                <a:cubicBezTo>
                  <a:pt x="192" y="355"/>
                  <a:pt x="193" y="355"/>
                  <a:pt x="193" y="354"/>
                </a:cubicBezTo>
                <a:close/>
                <a:moveTo>
                  <a:pt x="192" y="305"/>
                </a:moveTo>
                <a:cubicBezTo>
                  <a:pt x="190" y="307"/>
                  <a:pt x="193" y="304"/>
                  <a:pt x="192" y="305"/>
                </a:cubicBezTo>
                <a:close/>
                <a:moveTo>
                  <a:pt x="188" y="397"/>
                </a:moveTo>
                <a:cubicBezTo>
                  <a:pt x="187" y="398"/>
                  <a:pt x="185" y="400"/>
                  <a:pt x="183" y="401"/>
                </a:cubicBezTo>
                <a:cubicBezTo>
                  <a:pt x="184" y="399"/>
                  <a:pt x="186" y="398"/>
                  <a:pt x="188" y="397"/>
                </a:cubicBezTo>
                <a:close/>
                <a:moveTo>
                  <a:pt x="184" y="384"/>
                </a:moveTo>
                <a:cubicBezTo>
                  <a:pt x="185" y="384"/>
                  <a:pt x="185" y="383"/>
                  <a:pt x="186" y="383"/>
                </a:cubicBezTo>
                <a:cubicBezTo>
                  <a:pt x="185" y="384"/>
                  <a:pt x="185" y="384"/>
                  <a:pt x="184" y="384"/>
                </a:cubicBezTo>
                <a:close/>
                <a:moveTo>
                  <a:pt x="184" y="243"/>
                </a:moveTo>
                <a:cubicBezTo>
                  <a:pt x="185" y="242"/>
                  <a:pt x="183" y="244"/>
                  <a:pt x="184" y="243"/>
                </a:cubicBezTo>
                <a:close/>
                <a:moveTo>
                  <a:pt x="182" y="186"/>
                </a:moveTo>
                <a:cubicBezTo>
                  <a:pt x="182" y="185"/>
                  <a:pt x="181" y="187"/>
                  <a:pt x="182" y="186"/>
                </a:cubicBezTo>
                <a:close/>
                <a:moveTo>
                  <a:pt x="184" y="243"/>
                </a:moveTo>
                <a:cubicBezTo>
                  <a:pt x="185" y="244"/>
                  <a:pt x="183" y="249"/>
                  <a:pt x="182" y="249"/>
                </a:cubicBezTo>
                <a:cubicBezTo>
                  <a:pt x="180" y="249"/>
                  <a:pt x="182" y="243"/>
                  <a:pt x="184" y="243"/>
                </a:cubicBezTo>
                <a:close/>
                <a:moveTo>
                  <a:pt x="177" y="208"/>
                </a:moveTo>
                <a:cubicBezTo>
                  <a:pt x="178" y="209"/>
                  <a:pt x="177" y="209"/>
                  <a:pt x="177" y="210"/>
                </a:cubicBezTo>
                <a:cubicBezTo>
                  <a:pt x="176" y="210"/>
                  <a:pt x="177" y="209"/>
                  <a:pt x="177" y="208"/>
                </a:cubicBezTo>
                <a:close/>
                <a:moveTo>
                  <a:pt x="182" y="322"/>
                </a:moveTo>
                <a:cubicBezTo>
                  <a:pt x="179" y="324"/>
                  <a:pt x="177" y="329"/>
                  <a:pt x="175" y="329"/>
                </a:cubicBezTo>
                <a:cubicBezTo>
                  <a:pt x="175" y="329"/>
                  <a:pt x="179" y="322"/>
                  <a:pt x="182" y="322"/>
                </a:cubicBezTo>
                <a:close/>
                <a:moveTo>
                  <a:pt x="180" y="403"/>
                </a:moveTo>
                <a:cubicBezTo>
                  <a:pt x="179" y="404"/>
                  <a:pt x="178" y="406"/>
                  <a:pt x="176" y="406"/>
                </a:cubicBezTo>
                <a:cubicBezTo>
                  <a:pt x="177" y="405"/>
                  <a:pt x="179" y="404"/>
                  <a:pt x="180" y="403"/>
                </a:cubicBezTo>
                <a:close/>
                <a:moveTo>
                  <a:pt x="178" y="383"/>
                </a:move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2"/>
                  <a:pt x="178" y="382"/>
                </a:cubicBezTo>
                <a:cubicBezTo>
                  <a:pt x="178" y="382"/>
                  <a:pt x="178" y="382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ubicBezTo>
                  <a:pt x="178" y="383"/>
                  <a:pt x="178" y="383"/>
                  <a:pt x="178" y="383"/>
                </a:cubicBezTo>
                <a:close/>
                <a:moveTo>
                  <a:pt x="181" y="393"/>
                </a:moveTo>
                <a:cubicBezTo>
                  <a:pt x="181" y="393"/>
                  <a:pt x="180" y="395"/>
                  <a:pt x="180" y="395"/>
                </a:cubicBezTo>
                <a:cubicBezTo>
                  <a:pt x="178" y="397"/>
                  <a:pt x="179" y="392"/>
                  <a:pt x="181" y="393"/>
                </a:cubicBezTo>
                <a:close/>
                <a:moveTo>
                  <a:pt x="179" y="358"/>
                </a:moveTo>
                <a:cubicBezTo>
                  <a:pt x="179" y="358"/>
                  <a:pt x="180" y="359"/>
                  <a:pt x="180" y="359"/>
                </a:cubicBezTo>
                <a:cubicBezTo>
                  <a:pt x="180" y="360"/>
                  <a:pt x="178" y="359"/>
                  <a:pt x="179" y="358"/>
                </a:cubicBezTo>
                <a:close/>
                <a:moveTo>
                  <a:pt x="182" y="418"/>
                </a:moveTo>
                <a:cubicBezTo>
                  <a:pt x="183" y="416"/>
                  <a:pt x="187" y="412"/>
                  <a:pt x="190" y="410"/>
                </a:cubicBezTo>
                <a:cubicBezTo>
                  <a:pt x="190" y="410"/>
                  <a:pt x="190" y="408"/>
                  <a:pt x="191" y="409"/>
                </a:cubicBezTo>
                <a:cubicBezTo>
                  <a:pt x="192" y="410"/>
                  <a:pt x="189" y="414"/>
                  <a:pt x="189" y="414"/>
                </a:cubicBezTo>
                <a:cubicBezTo>
                  <a:pt x="188" y="415"/>
                  <a:pt x="186" y="415"/>
                  <a:pt x="184" y="417"/>
                </a:cubicBezTo>
                <a:cubicBezTo>
                  <a:pt x="180" y="419"/>
                  <a:pt x="178" y="424"/>
                  <a:pt x="174" y="426"/>
                </a:cubicBezTo>
                <a:cubicBezTo>
                  <a:pt x="174" y="422"/>
                  <a:pt x="180" y="421"/>
                  <a:pt x="182" y="418"/>
                </a:cubicBezTo>
                <a:close/>
                <a:moveTo>
                  <a:pt x="193" y="479"/>
                </a:moveTo>
                <a:cubicBezTo>
                  <a:pt x="192" y="481"/>
                  <a:pt x="192" y="479"/>
                  <a:pt x="193" y="479"/>
                </a:cubicBezTo>
                <a:close/>
                <a:moveTo>
                  <a:pt x="193" y="432"/>
                </a:moveTo>
                <a:cubicBezTo>
                  <a:pt x="194" y="432"/>
                  <a:pt x="193" y="433"/>
                  <a:pt x="193" y="432"/>
                </a:cubicBezTo>
                <a:cubicBezTo>
                  <a:pt x="192" y="432"/>
                  <a:pt x="193" y="432"/>
                  <a:pt x="193" y="432"/>
                </a:cubicBezTo>
                <a:close/>
                <a:moveTo>
                  <a:pt x="191" y="460"/>
                </a:moveTo>
                <a:cubicBezTo>
                  <a:pt x="192" y="458"/>
                  <a:pt x="193" y="460"/>
                  <a:pt x="191" y="460"/>
                </a:cubicBezTo>
                <a:close/>
                <a:moveTo>
                  <a:pt x="193" y="489"/>
                </a:moveTo>
                <a:cubicBezTo>
                  <a:pt x="193" y="490"/>
                  <a:pt x="192" y="491"/>
                  <a:pt x="191" y="491"/>
                </a:cubicBezTo>
                <a:cubicBezTo>
                  <a:pt x="189" y="492"/>
                  <a:pt x="191" y="487"/>
                  <a:pt x="193" y="489"/>
                </a:cubicBezTo>
                <a:close/>
                <a:moveTo>
                  <a:pt x="190" y="440"/>
                </a:moveTo>
                <a:cubicBezTo>
                  <a:pt x="189" y="439"/>
                  <a:pt x="191" y="438"/>
                  <a:pt x="191" y="439"/>
                </a:cubicBezTo>
                <a:cubicBezTo>
                  <a:pt x="191" y="439"/>
                  <a:pt x="190" y="440"/>
                  <a:pt x="190" y="440"/>
                </a:cubicBezTo>
                <a:close/>
                <a:moveTo>
                  <a:pt x="189" y="511"/>
                </a:moveTo>
                <a:cubicBezTo>
                  <a:pt x="189" y="511"/>
                  <a:pt x="189" y="512"/>
                  <a:pt x="188" y="511"/>
                </a:cubicBezTo>
                <a:cubicBezTo>
                  <a:pt x="188" y="511"/>
                  <a:pt x="189" y="510"/>
                  <a:pt x="189" y="511"/>
                </a:cubicBezTo>
                <a:close/>
                <a:moveTo>
                  <a:pt x="186" y="470"/>
                </a:moveTo>
                <a:cubicBezTo>
                  <a:pt x="185" y="469"/>
                  <a:pt x="188" y="469"/>
                  <a:pt x="188" y="470"/>
                </a:cubicBezTo>
                <a:cubicBezTo>
                  <a:pt x="189" y="471"/>
                  <a:pt x="186" y="472"/>
                  <a:pt x="186" y="470"/>
                </a:cubicBezTo>
                <a:close/>
                <a:moveTo>
                  <a:pt x="184" y="470"/>
                </a:moveTo>
                <a:cubicBezTo>
                  <a:pt x="185" y="471"/>
                  <a:pt x="184" y="472"/>
                  <a:pt x="183" y="472"/>
                </a:cubicBezTo>
                <a:cubicBezTo>
                  <a:pt x="180" y="474"/>
                  <a:pt x="182" y="469"/>
                  <a:pt x="184" y="470"/>
                </a:cubicBezTo>
                <a:close/>
                <a:moveTo>
                  <a:pt x="183" y="435"/>
                </a:moveTo>
                <a:cubicBezTo>
                  <a:pt x="183" y="434"/>
                  <a:pt x="182" y="436"/>
                  <a:pt x="183" y="435"/>
                </a:cubicBezTo>
                <a:close/>
                <a:moveTo>
                  <a:pt x="180" y="443"/>
                </a:moveTo>
                <a:cubicBezTo>
                  <a:pt x="180" y="443"/>
                  <a:pt x="179" y="443"/>
                  <a:pt x="179" y="443"/>
                </a:cubicBezTo>
                <a:cubicBezTo>
                  <a:pt x="178" y="445"/>
                  <a:pt x="180" y="440"/>
                  <a:pt x="180" y="443"/>
                </a:cubicBezTo>
                <a:close/>
                <a:moveTo>
                  <a:pt x="174" y="445"/>
                </a:moveTo>
                <a:cubicBezTo>
                  <a:pt x="173" y="446"/>
                  <a:pt x="174" y="444"/>
                  <a:pt x="174" y="445"/>
                </a:cubicBezTo>
                <a:close/>
                <a:moveTo>
                  <a:pt x="173" y="182"/>
                </a:moveTo>
                <a:cubicBezTo>
                  <a:pt x="172" y="182"/>
                  <a:pt x="174" y="180"/>
                  <a:pt x="173" y="182"/>
                </a:cubicBezTo>
                <a:close/>
                <a:moveTo>
                  <a:pt x="173" y="438"/>
                </a:moveTo>
                <a:cubicBezTo>
                  <a:pt x="174" y="437"/>
                  <a:pt x="172" y="440"/>
                  <a:pt x="173" y="438"/>
                </a:cubicBezTo>
                <a:close/>
                <a:moveTo>
                  <a:pt x="173" y="477"/>
                </a:moveTo>
                <a:cubicBezTo>
                  <a:pt x="172" y="478"/>
                  <a:pt x="172" y="478"/>
                  <a:pt x="170" y="478"/>
                </a:cubicBezTo>
                <a:cubicBezTo>
                  <a:pt x="171" y="478"/>
                  <a:pt x="171" y="477"/>
                  <a:pt x="173" y="477"/>
                </a:cubicBezTo>
                <a:close/>
                <a:moveTo>
                  <a:pt x="173" y="314"/>
                </a:move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ubicBezTo>
                  <a:pt x="173" y="314"/>
                  <a:pt x="173" y="314"/>
                  <a:pt x="173" y="314"/>
                </a:cubicBezTo>
                <a:close/>
                <a:moveTo>
                  <a:pt x="171" y="307"/>
                </a:moveTo>
                <a:cubicBezTo>
                  <a:pt x="171" y="308"/>
                  <a:pt x="171" y="309"/>
                  <a:pt x="169" y="310"/>
                </a:cubicBezTo>
                <a:cubicBezTo>
                  <a:pt x="168" y="310"/>
                  <a:pt x="167" y="310"/>
                  <a:pt x="166" y="309"/>
                </a:cubicBezTo>
                <a:cubicBezTo>
                  <a:pt x="164" y="305"/>
                  <a:pt x="171" y="303"/>
                  <a:pt x="171" y="307"/>
                </a:cubicBezTo>
                <a:close/>
                <a:moveTo>
                  <a:pt x="168" y="501"/>
                </a:moveTo>
                <a:cubicBezTo>
                  <a:pt x="168" y="501"/>
                  <a:pt x="168" y="501"/>
                  <a:pt x="169" y="501"/>
                </a:cubicBezTo>
                <a:cubicBezTo>
                  <a:pt x="169" y="501"/>
                  <a:pt x="168" y="502"/>
                  <a:pt x="168" y="501"/>
                </a:cubicBezTo>
                <a:close/>
                <a:moveTo>
                  <a:pt x="166" y="342"/>
                </a:moveTo>
                <a:cubicBezTo>
                  <a:pt x="166" y="342"/>
                  <a:pt x="166" y="342"/>
                  <a:pt x="166" y="342"/>
                </a:cubicBezTo>
                <a:cubicBezTo>
                  <a:pt x="166" y="342"/>
                  <a:pt x="166" y="343"/>
                  <a:pt x="165" y="343"/>
                </a:cubicBezTo>
                <a:cubicBezTo>
                  <a:pt x="165" y="343"/>
                  <a:pt x="165" y="343"/>
                  <a:pt x="165" y="343"/>
                </a:cubicBezTo>
                <a:cubicBezTo>
                  <a:pt x="165" y="343"/>
                  <a:pt x="166" y="342"/>
                  <a:pt x="166" y="342"/>
                </a:cubicBezTo>
                <a:close/>
                <a:moveTo>
                  <a:pt x="165" y="307"/>
                </a:moveTo>
                <a:cubicBezTo>
                  <a:pt x="163" y="308"/>
                  <a:pt x="167" y="306"/>
                  <a:pt x="165" y="307"/>
                </a:cubicBezTo>
                <a:close/>
                <a:moveTo>
                  <a:pt x="164" y="344"/>
                </a:moveTo>
                <a:cubicBezTo>
                  <a:pt x="163" y="344"/>
                  <a:pt x="166" y="342"/>
                  <a:pt x="164" y="344"/>
                </a:cubicBezTo>
                <a:close/>
                <a:moveTo>
                  <a:pt x="165" y="345"/>
                </a:moveTo>
                <a:cubicBezTo>
                  <a:pt x="164" y="346"/>
                  <a:pt x="164" y="347"/>
                  <a:pt x="162" y="347"/>
                </a:cubicBezTo>
                <a:cubicBezTo>
                  <a:pt x="163" y="347"/>
                  <a:pt x="163" y="346"/>
                  <a:pt x="165" y="345"/>
                </a:cubicBezTo>
                <a:close/>
                <a:moveTo>
                  <a:pt x="161" y="347"/>
                </a:moveTo>
                <a:cubicBezTo>
                  <a:pt x="160" y="348"/>
                  <a:pt x="162" y="346"/>
                  <a:pt x="161" y="347"/>
                </a:cubicBezTo>
                <a:close/>
                <a:moveTo>
                  <a:pt x="160" y="350"/>
                </a:moveTo>
                <a:cubicBezTo>
                  <a:pt x="161" y="348"/>
                  <a:pt x="162" y="349"/>
                  <a:pt x="160" y="350"/>
                </a:cubicBezTo>
                <a:close/>
                <a:moveTo>
                  <a:pt x="168" y="370"/>
                </a:moveTo>
                <a:cubicBezTo>
                  <a:pt x="165" y="373"/>
                  <a:pt x="163" y="376"/>
                  <a:pt x="158" y="378"/>
                </a:cubicBezTo>
                <a:cubicBezTo>
                  <a:pt x="161" y="375"/>
                  <a:pt x="164" y="372"/>
                  <a:pt x="168" y="370"/>
                </a:cubicBezTo>
                <a:close/>
                <a:moveTo>
                  <a:pt x="167" y="392"/>
                </a:moveTo>
                <a:cubicBezTo>
                  <a:pt x="166" y="393"/>
                  <a:pt x="168" y="390"/>
                  <a:pt x="167" y="391"/>
                </a:cubicBezTo>
                <a:cubicBezTo>
                  <a:pt x="167" y="391"/>
                  <a:pt x="167" y="392"/>
                  <a:pt x="167" y="392"/>
                </a:cubicBezTo>
                <a:close/>
                <a:moveTo>
                  <a:pt x="168" y="424"/>
                </a:moveTo>
                <a:cubicBezTo>
                  <a:pt x="168" y="424"/>
                  <a:pt x="167" y="424"/>
                  <a:pt x="167" y="424"/>
                </a:cubicBezTo>
                <a:cubicBezTo>
                  <a:pt x="166" y="423"/>
                  <a:pt x="168" y="423"/>
                  <a:pt x="168" y="424"/>
                </a:cubicBezTo>
                <a:close/>
                <a:moveTo>
                  <a:pt x="161" y="457"/>
                </a:moveTo>
                <a:cubicBezTo>
                  <a:pt x="161" y="458"/>
                  <a:pt x="158" y="461"/>
                  <a:pt x="157" y="460"/>
                </a:cubicBezTo>
                <a:cubicBezTo>
                  <a:pt x="156" y="458"/>
                  <a:pt x="159" y="456"/>
                  <a:pt x="161" y="457"/>
                </a:cubicBezTo>
                <a:close/>
                <a:moveTo>
                  <a:pt x="157" y="477"/>
                </a:move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ubicBezTo>
                  <a:pt x="157" y="477"/>
                  <a:pt x="157" y="477"/>
                  <a:pt x="157" y="477"/>
                </a:cubicBezTo>
                <a:close/>
                <a:moveTo>
                  <a:pt x="161" y="502"/>
                </a:moveTo>
                <a:cubicBezTo>
                  <a:pt x="161" y="503"/>
                  <a:pt x="159" y="504"/>
                  <a:pt x="159" y="503"/>
                </a:cubicBezTo>
                <a:cubicBezTo>
                  <a:pt x="159" y="502"/>
                  <a:pt x="160" y="501"/>
                  <a:pt x="161" y="502"/>
                </a:cubicBezTo>
                <a:close/>
                <a:moveTo>
                  <a:pt x="159" y="482"/>
                </a:moveTo>
                <a:cubicBezTo>
                  <a:pt x="158" y="483"/>
                  <a:pt x="160" y="481"/>
                  <a:pt x="159" y="482"/>
                </a:cubicBezTo>
                <a:close/>
                <a:moveTo>
                  <a:pt x="162" y="484"/>
                </a:moveTo>
                <a:cubicBezTo>
                  <a:pt x="163" y="484"/>
                  <a:pt x="162" y="485"/>
                  <a:pt x="161" y="485"/>
                </a:cubicBezTo>
                <a:cubicBezTo>
                  <a:pt x="160" y="486"/>
                  <a:pt x="161" y="483"/>
                  <a:pt x="162" y="484"/>
                </a:cubicBezTo>
                <a:close/>
                <a:moveTo>
                  <a:pt x="161" y="428"/>
                </a:moveTo>
                <a:cubicBezTo>
                  <a:pt x="162" y="429"/>
                  <a:pt x="160" y="432"/>
                  <a:pt x="160" y="432"/>
                </a:cubicBezTo>
                <a:cubicBezTo>
                  <a:pt x="155" y="435"/>
                  <a:pt x="158" y="426"/>
                  <a:pt x="161" y="428"/>
                </a:cubicBezTo>
                <a:close/>
                <a:moveTo>
                  <a:pt x="164" y="506"/>
                </a:moveTo>
                <a:cubicBezTo>
                  <a:pt x="165" y="507"/>
                  <a:pt x="160" y="510"/>
                  <a:pt x="159" y="510"/>
                </a:cubicBezTo>
                <a:cubicBezTo>
                  <a:pt x="154" y="511"/>
                  <a:pt x="163" y="505"/>
                  <a:pt x="164" y="506"/>
                </a:cubicBezTo>
                <a:close/>
                <a:moveTo>
                  <a:pt x="163" y="443"/>
                </a:moveTo>
                <a:cubicBezTo>
                  <a:pt x="163" y="443"/>
                  <a:pt x="163" y="444"/>
                  <a:pt x="162" y="444"/>
                </a:cubicBezTo>
                <a:cubicBezTo>
                  <a:pt x="162" y="443"/>
                  <a:pt x="163" y="443"/>
                  <a:pt x="163" y="443"/>
                </a:cubicBezTo>
                <a:close/>
                <a:moveTo>
                  <a:pt x="159" y="351"/>
                </a:moveTo>
                <a:cubicBezTo>
                  <a:pt x="159" y="351"/>
                  <a:pt x="159" y="350"/>
                  <a:pt x="160" y="350"/>
                </a:cubicBezTo>
                <a:cubicBezTo>
                  <a:pt x="160" y="350"/>
                  <a:pt x="160" y="351"/>
                  <a:pt x="159" y="351"/>
                </a:cubicBezTo>
                <a:close/>
                <a:moveTo>
                  <a:pt x="160" y="259"/>
                </a:moveTo>
                <a:cubicBezTo>
                  <a:pt x="160" y="259"/>
                  <a:pt x="160" y="260"/>
                  <a:pt x="160" y="260"/>
                </a:cubicBezTo>
                <a:cubicBezTo>
                  <a:pt x="159" y="261"/>
                  <a:pt x="158" y="258"/>
                  <a:pt x="160" y="259"/>
                </a:cubicBezTo>
                <a:close/>
                <a:moveTo>
                  <a:pt x="160" y="349"/>
                </a:moveTo>
                <a:cubicBezTo>
                  <a:pt x="159" y="350"/>
                  <a:pt x="159" y="350"/>
                  <a:pt x="158" y="351"/>
                </a:cubicBezTo>
                <a:cubicBezTo>
                  <a:pt x="158" y="350"/>
                  <a:pt x="159" y="349"/>
                  <a:pt x="160" y="349"/>
                </a:cubicBezTo>
                <a:close/>
                <a:moveTo>
                  <a:pt x="159" y="352"/>
                </a:moveTo>
                <a:cubicBezTo>
                  <a:pt x="158" y="352"/>
                  <a:pt x="158" y="353"/>
                  <a:pt x="157" y="353"/>
                </a:cubicBezTo>
                <a:cubicBezTo>
                  <a:pt x="157" y="352"/>
                  <a:pt x="158" y="352"/>
                  <a:pt x="159" y="352"/>
                </a:cubicBezTo>
                <a:close/>
                <a:moveTo>
                  <a:pt x="156" y="354"/>
                </a:moveTo>
                <a:cubicBezTo>
                  <a:pt x="155" y="355"/>
                  <a:pt x="158" y="353"/>
                  <a:pt x="156" y="354"/>
                </a:cubicBezTo>
                <a:close/>
                <a:moveTo>
                  <a:pt x="157" y="415"/>
                </a:moveTo>
                <a:cubicBezTo>
                  <a:pt x="158" y="416"/>
                  <a:pt x="157" y="417"/>
                  <a:pt x="156" y="417"/>
                </a:cubicBezTo>
                <a:cubicBezTo>
                  <a:pt x="156" y="416"/>
                  <a:pt x="157" y="416"/>
                  <a:pt x="157" y="415"/>
                </a:cubicBezTo>
                <a:close/>
                <a:moveTo>
                  <a:pt x="133" y="461"/>
                </a:moveTo>
                <a:cubicBezTo>
                  <a:pt x="137" y="457"/>
                  <a:pt x="142" y="453"/>
                  <a:pt x="148" y="450"/>
                </a:cubicBezTo>
                <a:cubicBezTo>
                  <a:pt x="143" y="454"/>
                  <a:pt x="138" y="457"/>
                  <a:pt x="133" y="461"/>
                </a:cubicBezTo>
                <a:close/>
                <a:moveTo>
                  <a:pt x="138" y="463"/>
                </a:moveTo>
                <a:cubicBezTo>
                  <a:pt x="138" y="464"/>
                  <a:pt x="137" y="464"/>
                  <a:pt x="137" y="463"/>
                </a:cubicBezTo>
                <a:cubicBezTo>
                  <a:pt x="136" y="462"/>
                  <a:pt x="138" y="463"/>
                  <a:pt x="138" y="463"/>
                </a:cubicBezTo>
                <a:close/>
                <a:moveTo>
                  <a:pt x="147" y="446"/>
                </a:moveTo>
                <a:cubicBezTo>
                  <a:pt x="146" y="446"/>
                  <a:pt x="145" y="447"/>
                  <a:pt x="145" y="447"/>
                </a:cubicBezTo>
                <a:cubicBezTo>
                  <a:pt x="144" y="446"/>
                  <a:pt x="152" y="439"/>
                  <a:pt x="153" y="440"/>
                </a:cubicBezTo>
                <a:cubicBezTo>
                  <a:pt x="154" y="440"/>
                  <a:pt x="147" y="446"/>
                  <a:pt x="147" y="446"/>
                </a:cubicBezTo>
                <a:close/>
                <a:moveTo>
                  <a:pt x="148" y="401"/>
                </a:moveTo>
                <a:cubicBezTo>
                  <a:pt x="151" y="399"/>
                  <a:pt x="146" y="402"/>
                  <a:pt x="148" y="401"/>
                </a:cubicBezTo>
                <a:close/>
                <a:moveTo>
                  <a:pt x="150" y="439"/>
                </a:moveTo>
                <a:cubicBezTo>
                  <a:pt x="150" y="440"/>
                  <a:pt x="149" y="440"/>
                  <a:pt x="148" y="440"/>
                </a:cubicBezTo>
                <a:cubicBezTo>
                  <a:pt x="148" y="439"/>
                  <a:pt x="149" y="439"/>
                  <a:pt x="150" y="439"/>
                </a:cubicBezTo>
                <a:close/>
                <a:moveTo>
                  <a:pt x="151" y="379"/>
                </a:moveTo>
                <a:cubicBezTo>
                  <a:pt x="150" y="380"/>
                  <a:pt x="151" y="378"/>
                  <a:pt x="151" y="379"/>
                </a:cubicBezTo>
                <a:close/>
                <a:moveTo>
                  <a:pt x="153" y="447"/>
                </a:moveTo>
                <a:cubicBezTo>
                  <a:pt x="153" y="449"/>
                  <a:pt x="150" y="449"/>
                  <a:pt x="149" y="450"/>
                </a:cubicBezTo>
                <a:cubicBezTo>
                  <a:pt x="149" y="449"/>
                  <a:pt x="152" y="448"/>
                  <a:pt x="153" y="447"/>
                </a:cubicBezTo>
                <a:close/>
                <a:moveTo>
                  <a:pt x="156" y="472"/>
                </a:moveTo>
                <a:cubicBezTo>
                  <a:pt x="155" y="473"/>
                  <a:pt x="152" y="475"/>
                  <a:pt x="151" y="475"/>
                </a:cubicBezTo>
                <a:cubicBezTo>
                  <a:pt x="151" y="475"/>
                  <a:pt x="154" y="471"/>
                  <a:pt x="156" y="472"/>
                </a:cubicBezTo>
                <a:close/>
                <a:moveTo>
                  <a:pt x="156" y="435"/>
                </a:moveTo>
                <a:cubicBezTo>
                  <a:pt x="156" y="435"/>
                  <a:pt x="156" y="435"/>
                  <a:pt x="157" y="435"/>
                </a:cubicBezTo>
                <a:cubicBezTo>
                  <a:pt x="156" y="435"/>
                  <a:pt x="156" y="435"/>
                  <a:pt x="156" y="435"/>
                </a:cubicBezTo>
                <a:cubicBezTo>
                  <a:pt x="156" y="435"/>
                  <a:pt x="156" y="435"/>
                  <a:pt x="156" y="435"/>
                </a:cubicBezTo>
                <a:close/>
                <a:moveTo>
                  <a:pt x="155" y="447"/>
                </a:moveTo>
                <a:cubicBezTo>
                  <a:pt x="155" y="447"/>
                  <a:pt x="154" y="448"/>
                  <a:pt x="154" y="447"/>
                </a:cubicBezTo>
                <a:cubicBezTo>
                  <a:pt x="153" y="446"/>
                  <a:pt x="156" y="445"/>
                  <a:pt x="155" y="447"/>
                </a:cubicBezTo>
                <a:close/>
                <a:moveTo>
                  <a:pt x="155" y="434"/>
                </a:moveTo>
                <a:cubicBezTo>
                  <a:pt x="155" y="434"/>
                  <a:pt x="154" y="435"/>
                  <a:pt x="154" y="435"/>
                </a:cubicBezTo>
                <a:cubicBezTo>
                  <a:pt x="152" y="437"/>
                  <a:pt x="153" y="432"/>
                  <a:pt x="155" y="434"/>
                </a:cubicBezTo>
                <a:close/>
                <a:moveTo>
                  <a:pt x="152" y="391"/>
                </a:moveTo>
                <a:cubicBezTo>
                  <a:pt x="153" y="391"/>
                  <a:pt x="152" y="392"/>
                  <a:pt x="152" y="392"/>
                </a:cubicBezTo>
                <a:cubicBezTo>
                  <a:pt x="151" y="393"/>
                  <a:pt x="151" y="390"/>
                  <a:pt x="152" y="391"/>
                </a:cubicBezTo>
                <a:close/>
                <a:moveTo>
                  <a:pt x="151" y="438"/>
                </a:moveTo>
                <a:cubicBezTo>
                  <a:pt x="152" y="436"/>
                  <a:pt x="154" y="438"/>
                  <a:pt x="151" y="438"/>
                </a:cubicBezTo>
                <a:close/>
                <a:moveTo>
                  <a:pt x="151" y="253"/>
                </a:moveTo>
                <a:cubicBezTo>
                  <a:pt x="151" y="253"/>
                  <a:pt x="151" y="254"/>
                  <a:pt x="150" y="254"/>
                </a:cubicBezTo>
                <a:cubicBezTo>
                  <a:pt x="150" y="253"/>
                  <a:pt x="151" y="252"/>
                  <a:pt x="151" y="253"/>
                </a:cubicBezTo>
                <a:close/>
                <a:moveTo>
                  <a:pt x="150" y="436"/>
                </a:moveTo>
                <a:cubicBezTo>
                  <a:pt x="151" y="436"/>
                  <a:pt x="150" y="437"/>
                  <a:pt x="150" y="437"/>
                </a:cubicBezTo>
                <a:cubicBezTo>
                  <a:pt x="149" y="439"/>
                  <a:pt x="149" y="435"/>
                  <a:pt x="150" y="436"/>
                </a:cubicBezTo>
                <a:close/>
                <a:moveTo>
                  <a:pt x="149" y="322"/>
                </a:moveTo>
                <a:cubicBezTo>
                  <a:pt x="149" y="323"/>
                  <a:pt x="148" y="322"/>
                  <a:pt x="149" y="322"/>
                </a:cubicBezTo>
                <a:close/>
                <a:moveTo>
                  <a:pt x="149" y="365"/>
                </a:moveTo>
                <a:cubicBezTo>
                  <a:pt x="149" y="366"/>
                  <a:pt x="147" y="366"/>
                  <a:pt x="148" y="365"/>
                </a:cubicBezTo>
                <a:cubicBezTo>
                  <a:pt x="148" y="365"/>
                  <a:pt x="149" y="365"/>
                  <a:pt x="149" y="365"/>
                </a:cubicBezTo>
                <a:close/>
                <a:moveTo>
                  <a:pt x="147" y="197"/>
                </a:moveTo>
                <a:cubicBezTo>
                  <a:pt x="146" y="198"/>
                  <a:pt x="146" y="198"/>
                  <a:pt x="145" y="197"/>
                </a:cubicBezTo>
                <a:cubicBezTo>
                  <a:pt x="142" y="194"/>
                  <a:pt x="150" y="194"/>
                  <a:pt x="147" y="197"/>
                </a:cubicBezTo>
                <a:close/>
                <a:moveTo>
                  <a:pt x="145" y="359"/>
                </a:moveTo>
                <a:cubicBezTo>
                  <a:pt x="147" y="359"/>
                  <a:pt x="145" y="362"/>
                  <a:pt x="145" y="362"/>
                </a:cubicBezTo>
                <a:cubicBezTo>
                  <a:pt x="143" y="363"/>
                  <a:pt x="143" y="358"/>
                  <a:pt x="145" y="359"/>
                </a:cubicBezTo>
                <a:close/>
                <a:moveTo>
                  <a:pt x="145" y="402"/>
                </a:moveTo>
                <a:cubicBezTo>
                  <a:pt x="145" y="404"/>
                  <a:pt x="144" y="404"/>
                  <a:pt x="143" y="405"/>
                </a:cubicBezTo>
                <a:cubicBezTo>
                  <a:pt x="143" y="404"/>
                  <a:pt x="144" y="403"/>
                  <a:pt x="145" y="402"/>
                </a:cubicBezTo>
                <a:close/>
                <a:moveTo>
                  <a:pt x="132" y="456"/>
                </a:moveTo>
                <a:cubicBezTo>
                  <a:pt x="134" y="453"/>
                  <a:pt x="139" y="450"/>
                  <a:pt x="143" y="448"/>
                </a:cubicBezTo>
                <a:cubicBezTo>
                  <a:pt x="139" y="451"/>
                  <a:pt x="137" y="455"/>
                  <a:pt x="132" y="456"/>
                </a:cubicBezTo>
                <a:close/>
                <a:moveTo>
                  <a:pt x="131" y="395"/>
                </a:moveTo>
                <a:cubicBezTo>
                  <a:pt x="132" y="394"/>
                  <a:pt x="132" y="393"/>
                  <a:pt x="134" y="393"/>
                </a:cubicBezTo>
                <a:cubicBezTo>
                  <a:pt x="134" y="393"/>
                  <a:pt x="132" y="395"/>
                  <a:pt x="131" y="395"/>
                </a:cubicBezTo>
                <a:close/>
                <a:moveTo>
                  <a:pt x="134" y="448"/>
                </a:moveTo>
                <a:cubicBezTo>
                  <a:pt x="134" y="448"/>
                  <a:pt x="133" y="449"/>
                  <a:pt x="133" y="448"/>
                </a:cubicBezTo>
                <a:cubicBezTo>
                  <a:pt x="132" y="447"/>
                  <a:pt x="135" y="447"/>
                  <a:pt x="134" y="448"/>
                </a:cubicBezTo>
                <a:close/>
                <a:moveTo>
                  <a:pt x="132" y="422"/>
                </a:moveTo>
                <a:cubicBezTo>
                  <a:pt x="131" y="421"/>
                  <a:pt x="131" y="420"/>
                  <a:pt x="132" y="420"/>
                </a:cubicBezTo>
                <a:cubicBezTo>
                  <a:pt x="133" y="420"/>
                  <a:pt x="134" y="421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3" y="422"/>
                  <a:pt x="133" y="422"/>
                  <a:pt x="133" y="422"/>
                </a:cubicBezTo>
                <a:cubicBezTo>
                  <a:pt x="135" y="424"/>
                  <a:pt x="130" y="426"/>
                  <a:pt x="130" y="423"/>
                </a:cubicBezTo>
                <a:cubicBezTo>
                  <a:pt x="130" y="422"/>
                  <a:pt x="131" y="422"/>
                  <a:pt x="132" y="422"/>
                </a:cubicBezTo>
                <a:close/>
                <a:moveTo>
                  <a:pt x="138" y="416"/>
                </a:moveTo>
                <a:cubicBezTo>
                  <a:pt x="137" y="417"/>
                  <a:pt x="139" y="415"/>
                  <a:pt x="138" y="416"/>
                </a:cubicBezTo>
                <a:close/>
                <a:moveTo>
                  <a:pt x="139" y="433"/>
                </a:moveTo>
                <a:cubicBezTo>
                  <a:pt x="139" y="432"/>
                  <a:pt x="139" y="432"/>
                  <a:pt x="139" y="432"/>
                </a:cubicBezTo>
                <a:cubicBezTo>
                  <a:pt x="139" y="430"/>
                  <a:pt x="141" y="433"/>
                  <a:pt x="139" y="433"/>
                </a:cubicBezTo>
                <a:close/>
                <a:moveTo>
                  <a:pt x="140" y="443"/>
                </a:moveTo>
                <a:cubicBezTo>
                  <a:pt x="140" y="443"/>
                  <a:pt x="141" y="443"/>
                  <a:pt x="141" y="444"/>
                </a:cubicBezTo>
                <a:cubicBezTo>
                  <a:pt x="141" y="444"/>
                  <a:pt x="140" y="444"/>
                  <a:pt x="140" y="443"/>
                </a:cubicBezTo>
                <a:close/>
                <a:moveTo>
                  <a:pt x="142" y="387"/>
                </a:moveTo>
                <a:cubicBezTo>
                  <a:pt x="141" y="387"/>
                  <a:pt x="144" y="386"/>
                  <a:pt x="142" y="387"/>
                </a:cubicBezTo>
                <a:close/>
                <a:moveTo>
                  <a:pt x="142" y="436"/>
                </a:moveTo>
                <a:cubicBezTo>
                  <a:pt x="143" y="436"/>
                  <a:pt x="142" y="439"/>
                  <a:pt x="141" y="437"/>
                </a:cubicBezTo>
                <a:cubicBezTo>
                  <a:pt x="141" y="436"/>
                  <a:pt x="142" y="436"/>
                  <a:pt x="142" y="436"/>
                </a:cubicBezTo>
                <a:close/>
                <a:moveTo>
                  <a:pt x="142" y="387"/>
                </a:moveTo>
                <a:cubicBezTo>
                  <a:pt x="141" y="389"/>
                  <a:pt x="139" y="391"/>
                  <a:pt x="137" y="392"/>
                </a:cubicBezTo>
                <a:cubicBezTo>
                  <a:pt x="137" y="392"/>
                  <a:pt x="139" y="388"/>
                  <a:pt x="142" y="387"/>
                </a:cubicBezTo>
                <a:close/>
                <a:moveTo>
                  <a:pt x="136" y="246"/>
                </a:moveTo>
                <a:cubicBezTo>
                  <a:pt x="135" y="246"/>
                  <a:pt x="137" y="245"/>
                  <a:pt x="136" y="246"/>
                </a:cubicBezTo>
                <a:close/>
                <a:moveTo>
                  <a:pt x="134" y="301"/>
                </a:moveTo>
                <a:cubicBezTo>
                  <a:pt x="134" y="298"/>
                  <a:pt x="136" y="300"/>
                  <a:pt x="134" y="301"/>
                </a:cubicBezTo>
                <a:close/>
                <a:moveTo>
                  <a:pt x="135" y="342"/>
                </a:moveTo>
                <a:cubicBezTo>
                  <a:pt x="135" y="343"/>
                  <a:pt x="134" y="344"/>
                  <a:pt x="134" y="345"/>
                </a:cubicBezTo>
                <a:cubicBezTo>
                  <a:pt x="133" y="344"/>
                  <a:pt x="134" y="342"/>
                  <a:pt x="135" y="342"/>
                </a:cubicBezTo>
                <a:close/>
                <a:moveTo>
                  <a:pt x="129" y="351"/>
                </a:moveTo>
                <a:cubicBezTo>
                  <a:pt x="129" y="350"/>
                  <a:pt x="132" y="348"/>
                  <a:pt x="132" y="346"/>
                </a:cubicBezTo>
                <a:cubicBezTo>
                  <a:pt x="133" y="347"/>
                  <a:pt x="130" y="349"/>
                  <a:pt x="129" y="351"/>
                </a:cubicBezTo>
                <a:close/>
                <a:moveTo>
                  <a:pt x="132" y="280"/>
                </a:moveTo>
                <a:cubicBezTo>
                  <a:pt x="132" y="282"/>
                  <a:pt x="130" y="281"/>
                  <a:pt x="132" y="280"/>
                </a:cubicBezTo>
                <a:close/>
                <a:moveTo>
                  <a:pt x="129" y="305"/>
                </a:moveTo>
                <a:cubicBezTo>
                  <a:pt x="131" y="306"/>
                  <a:pt x="130" y="307"/>
                  <a:pt x="129" y="307"/>
                </a:cubicBezTo>
                <a:cubicBezTo>
                  <a:pt x="127" y="309"/>
                  <a:pt x="128" y="305"/>
                  <a:pt x="129" y="305"/>
                </a:cubicBezTo>
                <a:close/>
                <a:moveTo>
                  <a:pt x="118" y="327"/>
                </a:moveTo>
                <a:cubicBezTo>
                  <a:pt x="118" y="327"/>
                  <a:pt x="117" y="327"/>
                  <a:pt x="117" y="326"/>
                </a:cubicBezTo>
                <a:cubicBezTo>
                  <a:pt x="117" y="326"/>
                  <a:pt x="119" y="326"/>
                  <a:pt x="118" y="327"/>
                </a:cubicBezTo>
                <a:close/>
                <a:moveTo>
                  <a:pt x="118" y="336"/>
                </a:moveTo>
                <a:cubicBezTo>
                  <a:pt x="118" y="336"/>
                  <a:pt x="118" y="337"/>
                  <a:pt x="117" y="336"/>
                </a:cubicBezTo>
                <a:cubicBezTo>
                  <a:pt x="117" y="336"/>
                  <a:pt x="119" y="334"/>
                  <a:pt x="118" y="336"/>
                </a:cubicBezTo>
                <a:close/>
                <a:moveTo>
                  <a:pt x="115" y="336"/>
                </a:moveTo>
                <a:cubicBezTo>
                  <a:pt x="116" y="335"/>
                  <a:pt x="114" y="337"/>
                  <a:pt x="115" y="336"/>
                </a:cubicBezTo>
                <a:close/>
                <a:moveTo>
                  <a:pt x="115" y="386"/>
                </a:moveTo>
                <a:cubicBezTo>
                  <a:pt x="116" y="387"/>
                  <a:pt x="115" y="387"/>
                  <a:pt x="114" y="387"/>
                </a:cubicBezTo>
                <a:cubicBezTo>
                  <a:pt x="114" y="388"/>
                  <a:pt x="115" y="386"/>
                  <a:pt x="115" y="386"/>
                </a:cubicBezTo>
                <a:close/>
                <a:moveTo>
                  <a:pt x="114" y="388"/>
                </a:moveTo>
                <a:cubicBezTo>
                  <a:pt x="114" y="389"/>
                  <a:pt x="113" y="389"/>
                  <a:pt x="113" y="390"/>
                </a:cubicBezTo>
                <a:cubicBezTo>
                  <a:pt x="112" y="390"/>
                  <a:pt x="113" y="388"/>
                  <a:pt x="114" y="388"/>
                </a:cubicBezTo>
                <a:close/>
                <a:moveTo>
                  <a:pt x="111" y="394"/>
                </a:moveTo>
                <a:cubicBezTo>
                  <a:pt x="110" y="393"/>
                  <a:pt x="112" y="392"/>
                  <a:pt x="112" y="391"/>
                </a:cubicBezTo>
                <a:cubicBezTo>
                  <a:pt x="113" y="392"/>
                  <a:pt x="111" y="393"/>
                  <a:pt x="111" y="394"/>
                </a:cubicBezTo>
                <a:close/>
                <a:moveTo>
                  <a:pt x="112" y="243"/>
                </a:moveTo>
                <a:cubicBezTo>
                  <a:pt x="111" y="245"/>
                  <a:pt x="111" y="241"/>
                  <a:pt x="112" y="242"/>
                </a:cubicBezTo>
                <a:cubicBezTo>
                  <a:pt x="113" y="242"/>
                  <a:pt x="112" y="243"/>
                  <a:pt x="112" y="243"/>
                </a:cubicBezTo>
                <a:close/>
                <a:moveTo>
                  <a:pt x="115" y="433"/>
                </a:moveTo>
                <a:cubicBezTo>
                  <a:pt x="111" y="434"/>
                  <a:pt x="116" y="429"/>
                  <a:pt x="116" y="432"/>
                </a:cubicBezTo>
                <a:cubicBezTo>
                  <a:pt x="116" y="432"/>
                  <a:pt x="115" y="433"/>
                  <a:pt x="115" y="433"/>
                </a:cubicBezTo>
                <a:close/>
                <a:moveTo>
                  <a:pt x="116" y="435"/>
                </a:moveTo>
                <a:cubicBezTo>
                  <a:pt x="115" y="436"/>
                  <a:pt x="117" y="434"/>
                  <a:pt x="116" y="435"/>
                </a:cubicBezTo>
                <a:close/>
                <a:moveTo>
                  <a:pt x="113" y="417"/>
                </a:moveTo>
                <a:cubicBezTo>
                  <a:pt x="115" y="413"/>
                  <a:pt x="118" y="409"/>
                  <a:pt x="121" y="406"/>
                </a:cubicBezTo>
                <a:cubicBezTo>
                  <a:pt x="119" y="410"/>
                  <a:pt x="117" y="414"/>
                  <a:pt x="113" y="417"/>
                </a:cubicBezTo>
                <a:close/>
                <a:moveTo>
                  <a:pt x="121" y="276"/>
                </a:moveTo>
                <a:cubicBezTo>
                  <a:pt x="121" y="276"/>
                  <a:pt x="121" y="277"/>
                  <a:pt x="121" y="277"/>
                </a:cubicBezTo>
                <a:cubicBezTo>
                  <a:pt x="120" y="276"/>
                  <a:pt x="122" y="275"/>
                  <a:pt x="121" y="276"/>
                </a:cubicBezTo>
                <a:close/>
                <a:moveTo>
                  <a:pt x="122" y="193"/>
                </a:moveTo>
                <a:cubicBezTo>
                  <a:pt x="123" y="193"/>
                  <a:pt x="123" y="195"/>
                  <a:pt x="122" y="195"/>
                </a:cubicBezTo>
                <a:cubicBezTo>
                  <a:pt x="121" y="197"/>
                  <a:pt x="121" y="192"/>
                  <a:pt x="122" y="193"/>
                </a:cubicBezTo>
                <a:close/>
                <a:moveTo>
                  <a:pt x="122" y="472"/>
                </a:moveTo>
                <a:cubicBezTo>
                  <a:pt x="122" y="473"/>
                  <a:pt x="121" y="474"/>
                  <a:pt x="120" y="475"/>
                </a:cubicBezTo>
                <a:cubicBezTo>
                  <a:pt x="120" y="474"/>
                  <a:pt x="121" y="472"/>
                  <a:pt x="122" y="472"/>
                </a:cubicBezTo>
                <a:close/>
                <a:moveTo>
                  <a:pt x="120" y="461"/>
                </a:moveTo>
                <a:cubicBezTo>
                  <a:pt x="121" y="463"/>
                  <a:pt x="118" y="467"/>
                  <a:pt x="116" y="466"/>
                </a:cubicBezTo>
                <a:cubicBezTo>
                  <a:pt x="115" y="464"/>
                  <a:pt x="119" y="462"/>
                  <a:pt x="120" y="461"/>
                </a:cubicBezTo>
                <a:close/>
                <a:moveTo>
                  <a:pt x="111" y="479"/>
                </a:moveTo>
                <a:cubicBezTo>
                  <a:pt x="110" y="481"/>
                  <a:pt x="109" y="480"/>
                  <a:pt x="111" y="479"/>
                </a:cubicBezTo>
                <a:close/>
                <a:moveTo>
                  <a:pt x="110" y="496"/>
                </a:moveTo>
                <a:cubicBezTo>
                  <a:pt x="111" y="495"/>
                  <a:pt x="109" y="497"/>
                  <a:pt x="110" y="496"/>
                </a:cubicBezTo>
                <a:close/>
                <a:moveTo>
                  <a:pt x="107" y="477"/>
                </a:moveTo>
                <a:cubicBezTo>
                  <a:pt x="107" y="476"/>
                  <a:pt x="106" y="478"/>
                  <a:pt x="107" y="477"/>
                </a:cubicBezTo>
                <a:close/>
                <a:moveTo>
                  <a:pt x="109" y="509"/>
                </a:moveTo>
                <a:cubicBezTo>
                  <a:pt x="108" y="510"/>
                  <a:pt x="107" y="509"/>
                  <a:pt x="106" y="508"/>
                </a:cubicBezTo>
                <a:cubicBezTo>
                  <a:pt x="104" y="505"/>
                  <a:pt x="110" y="501"/>
                  <a:pt x="111" y="503"/>
                </a:cubicBezTo>
                <a:cubicBezTo>
                  <a:pt x="114" y="504"/>
                  <a:pt x="111" y="509"/>
                  <a:pt x="109" y="509"/>
                </a:cubicBezTo>
                <a:close/>
                <a:moveTo>
                  <a:pt x="115" y="501"/>
                </a:moveTo>
                <a:cubicBezTo>
                  <a:pt x="115" y="499"/>
                  <a:pt x="117" y="501"/>
                  <a:pt x="115" y="501"/>
                </a:cubicBezTo>
                <a:close/>
                <a:moveTo>
                  <a:pt x="115" y="498"/>
                </a:moveTo>
                <a:cubicBezTo>
                  <a:pt x="115" y="498"/>
                  <a:pt x="115" y="498"/>
                  <a:pt x="115" y="498"/>
                </a:cubicBezTo>
                <a:cubicBezTo>
                  <a:pt x="115" y="499"/>
                  <a:pt x="115" y="499"/>
                  <a:pt x="115" y="499"/>
                </a:cubicBezTo>
                <a:cubicBezTo>
                  <a:pt x="114" y="500"/>
                  <a:pt x="114" y="500"/>
                  <a:pt x="114" y="501"/>
                </a:cubicBezTo>
                <a:cubicBezTo>
                  <a:pt x="114" y="501"/>
                  <a:pt x="114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2"/>
                  <a:pt x="113" y="502"/>
                </a:cubicBezTo>
                <a:cubicBezTo>
                  <a:pt x="113" y="502"/>
                  <a:pt x="113" y="501"/>
                  <a:pt x="113" y="501"/>
                </a:cubicBezTo>
                <a:cubicBezTo>
                  <a:pt x="114" y="499"/>
                  <a:pt x="115" y="496"/>
                  <a:pt x="116" y="494"/>
                </a:cubicBezTo>
                <a:cubicBezTo>
                  <a:pt x="116" y="495"/>
                  <a:pt x="116" y="497"/>
                  <a:pt x="115" y="498"/>
                </a:cubicBezTo>
                <a:close/>
                <a:moveTo>
                  <a:pt x="115" y="482"/>
                </a:moveTo>
                <a:cubicBezTo>
                  <a:pt x="116" y="481"/>
                  <a:pt x="118" y="481"/>
                  <a:pt x="120" y="480"/>
                </a:cubicBezTo>
                <a:cubicBezTo>
                  <a:pt x="119" y="482"/>
                  <a:pt x="117" y="482"/>
                  <a:pt x="115" y="482"/>
                </a:cubicBezTo>
                <a:close/>
                <a:moveTo>
                  <a:pt x="121" y="500"/>
                </a:moveTo>
                <a:cubicBezTo>
                  <a:pt x="122" y="501"/>
                  <a:pt x="121" y="503"/>
                  <a:pt x="119" y="503"/>
                </a:cubicBezTo>
                <a:cubicBezTo>
                  <a:pt x="117" y="502"/>
                  <a:pt x="119" y="499"/>
                  <a:pt x="121" y="500"/>
                </a:cubicBezTo>
                <a:cubicBezTo>
                  <a:pt x="119" y="498"/>
                  <a:pt x="121" y="493"/>
                  <a:pt x="124" y="494"/>
                </a:cubicBezTo>
                <a:cubicBezTo>
                  <a:pt x="128" y="495"/>
                  <a:pt x="124" y="503"/>
                  <a:pt x="121" y="500"/>
                </a:cubicBezTo>
                <a:close/>
                <a:moveTo>
                  <a:pt x="123" y="425"/>
                </a:moveTo>
                <a:cubicBezTo>
                  <a:pt x="123" y="425"/>
                  <a:pt x="123" y="424"/>
                  <a:pt x="124" y="424"/>
                </a:cubicBezTo>
                <a:cubicBezTo>
                  <a:pt x="124" y="424"/>
                  <a:pt x="123" y="425"/>
                  <a:pt x="123" y="425"/>
                </a:cubicBezTo>
                <a:close/>
                <a:moveTo>
                  <a:pt x="123" y="474"/>
                </a:moveTo>
                <a:cubicBezTo>
                  <a:pt x="123" y="472"/>
                  <a:pt x="125" y="474"/>
                  <a:pt x="123" y="474"/>
                </a:cubicBezTo>
                <a:close/>
                <a:moveTo>
                  <a:pt x="123" y="471"/>
                </a:moveTo>
                <a:cubicBezTo>
                  <a:pt x="125" y="469"/>
                  <a:pt x="122" y="472"/>
                  <a:pt x="123" y="471"/>
                </a:cubicBezTo>
                <a:close/>
                <a:moveTo>
                  <a:pt x="126" y="472"/>
                </a:moveTo>
                <a:cubicBezTo>
                  <a:pt x="126" y="472"/>
                  <a:pt x="126" y="472"/>
                  <a:pt x="126" y="472"/>
                </a:cubicBezTo>
                <a:cubicBezTo>
                  <a:pt x="125" y="472"/>
                  <a:pt x="125" y="473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ubicBezTo>
                  <a:pt x="126" y="472"/>
                  <a:pt x="126" y="472"/>
                  <a:pt x="126" y="472"/>
                </a:cubicBezTo>
                <a:close/>
                <a:moveTo>
                  <a:pt x="127" y="431"/>
                </a:moveTo>
                <a:cubicBezTo>
                  <a:pt x="127" y="431"/>
                  <a:pt x="128" y="431"/>
                  <a:pt x="127" y="432"/>
                </a:cubicBezTo>
                <a:cubicBezTo>
                  <a:pt x="127" y="433"/>
                  <a:pt x="126" y="431"/>
                  <a:pt x="127" y="431"/>
                </a:cubicBezTo>
                <a:close/>
                <a:moveTo>
                  <a:pt x="127" y="501"/>
                </a:moveTo>
                <a:cubicBezTo>
                  <a:pt x="127" y="500"/>
                  <a:pt x="127" y="500"/>
                  <a:pt x="127" y="500"/>
                </a:cubicBezTo>
                <a:cubicBezTo>
                  <a:pt x="127" y="498"/>
                  <a:pt x="129" y="501"/>
                  <a:pt x="127" y="501"/>
                </a:cubicBezTo>
                <a:close/>
                <a:moveTo>
                  <a:pt x="128" y="501"/>
                </a:moveTo>
                <a:cubicBezTo>
                  <a:pt x="127" y="502"/>
                  <a:pt x="128" y="499"/>
                  <a:pt x="129" y="500"/>
                </a:cubicBezTo>
                <a:cubicBezTo>
                  <a:pt x="130" y="501"/>
                  <a:pt x="129" y="501"/>
                  <a:pt x="128" y="501"/>
                </a:cubicBezTo>
                <a:close/>
                <a:moveTo>
                  <a:pt x="128" y="456"/>
                </a:moveTo>
                <a:cubicBezTo>
                  <a:pt x="129" y="455"/>
                  <a:pt x="127" y="457"/>
                  <a:pt x="128" y="456"/>
                </a:cubicBezTo>
                <a:close/>
                <a:moveTo>
                  <a:pt x="125" y="401"/>
                </a:moveTo>
                <a:cubicBezTo>
                  <a:pt x="125" y="401"/>
                  <a:pt x="122" y="406"/>
                  <a:pt x="123" y="403"/>
                </a:cubicBezTo>
                <a:cubicBezTo>
                  <a:pt x="123" y="401"/>
                  <a:pt x="128" y="398"/>
                  <a:pt x="130" y="396"/>
                </a:cubicBezTo>
                <a:cubicBezTo>
                  <a:pt x="129" y="398"/>
                  <a:pt x="127" y="399"/>
                  <a:pt x="125" y="401"/>
                </a:cubicBezTo>
                <a:close/>
                <a:moveTo>
                  <a:pt x="131" y="424"/>
                </a:moveTo>
                <a:cubicBezTo>
                  <a:pt x="131" y="424"/>
                  <a:pt x="131" y="425"/>
                  <a:pt x="130" y="426"/>
                </a:cubicBezTo>
                <a:cubicBezTo>
                  <a:pt x="130" y="426"/>
                  <a:pt x="130" y="424"/>
                  <a:pt x="131" y="424"/>
                </a:cubicBezTo>
                <a:close/>
                <a:moveTo>
                  <a:pt x="131" y="503"/>
                </a:moveTo>
                <a:cubicBezTo>
                  <a:pt x="129" y="502"/>
                  <a:pt x="134" y="500"/>
                  <a:pt x="132" y="503"/>
                </a:cubicBezTo>
                <a:cubicBezTo>
                  <a:pt x="132" y="503"/>
                  <a:pt x="131" y="504"/>
                  <a:pt x="131" y="503"/>
                </a:cubicBezTo>
                <a:close/>
                <a:moveTo>
                  <a:pt x="132" y="505"/>
                </a:moveTo>
                <a:cubicBezTo>
                  <a:pt x="132" y="506"/>
                  <a:pt x="133" y="504"/>
                  <a:pt x="132" y="505"/>
                </a:cubicBezTo>
                <a:close/>
                <a:moveTo>
                  <a:pt x="132" y="478"/>
                </a:moveTo>
                <a:cubicBezTo>
                  <a:pt x="130" y="480"/>
                  <a:pt x="130" y="474"/>
                  <a:pt x="132" y="475"/>
                </a:cubicBezTo>
                <a:cubicBezTo>
                  <a:pt x="134" y="476"/>
                  <a:pt x="133" y="478"/>
                  <a:pt x="132" y="478"/>
                </a:cubicBezTo>
                <a:close/>
                <a:moveTo>
                  <a:pt x="138" y="496"/>
                </a:moveTo>
                <a:cubicBezTo>
                  <a:pt x="136" y="498"/>
                  <a:pt x="135" y="493"/>
                  <a:pt x="137" y="494"/>
                </a:cubicBezTo>
                <a:cubicBezTo>
                  <a:pt x="138" y="494"/>
                  <a:pt x="138" y="496"/>
                  <a:pt x="138" y="496"/>
                </a:cubicBezTo>
                <a:close/>
                <a:moveTo>
                  <a:pt x="140" y="501"/>
                </a:moveTo>
                <a:cubicBezTo>
                  <a:pt x="141" y="500"/>
                  <a:pt x="141" y="502"/>
                  <a:pt x="140" y="501"/>
                </a:cubicBezTo>
                <a:close/>
                <a:moveTo>
                  <a:pt x="139" y="469"/>
                </a:moveTo>
                <a:cubicBezTo>
                  <a:pt x="138" y="471"/>
                  <a:pt x="136" y="474"/>
                  <a:pt x="135" y="475"/>
                </a:cubicBezTo>
                <a:cubicBezTo>
                  <a:pt x="130" y="476"/>
                  <a:pt x="139" y="468"/>
                  <a:pt x="141" y="467"/>
                </a:cubicBezTo>
                <a:cubicBezTo>
                  <a:pt x="138" y="469"/>
                  <a:pt x="141" y="465"/>
                  <a:pt x="142" y="466"/>
                </a:cubicBezTo>
                <a:cubicBezTo>
                  <a:pt x="143" y="467"/>
                  <a:pt x="140" y="469"/>
                  <a:pt x="139" y="469"/>
                </a:cubicBezTo>
                <a:close/>
                <a:moveTo>
                  <a:pt x="143" y="510"/>
                </a:moveTo>
                <a:cubicBezTo>
                  <a:pt x="142" y="510"/>
                  <a:pt x="142" y="511"/>
                  <a:pt x="142" y="511"/>
                </a:cubicBezTo>
                <a:cubicBezTo>
                  <a:pt x="143" y="510"/>
                  <a:pt x="143" y="509"/>
                  <a:pt x="143" y="510"/>
                </a:cubicBezTo>
                <a:close/>
                <a:moveTo>
                  <a:pt x="143" y="484"/>
                </a:moveTo>
                <a:cubicBezTo>
                  <a:pt x="143" y="484"/>
                  <a:pt x="144" y="483"/>
                  <a:pt x="144" y="483"/>
                </a:cubicBezTo>
                <a:cubicBezTo>
                  <a:pt x="144" y="483"/>
                  <a:pt x="144" y="484"/>
                  <a:pt x="143" y="484"/>
                </a:cubicBezTo>
                <a:close/>
                <a:moveTo>
                  <a:pt x="144" y="494"/>
                </a:moveTo>
                <a:cubicBezTo>
                  <a:pt x="144" y="493"/>
                  <a:pt x="147" y="493"/>
                  <a:pt x="147" y="494"/>
                </a:cubicBezTo>
                <a:cubicBezTo>
                  <a:pt x="147" y="495"/>
                  <a:pt x="144" y="497"/>
                  <a:pt x="144" y="494"/>
                </a:cubicBezTo>
                <a:close/>
                <a:moveTo>
                  <a:pt x="145" y="517"/>
                </a:moveTo>
                <a:cubicBezTo>
                  <a:pt x="144" y="515"/>
                  <a:pt x="148" y="516"/>
                  <a:pt x="148" y="517"/>
                </a:cubicBezTo>
                <a:cubicBezTo>
                  <a:pt x="147" y="518"/>
                  <a:pt x="145" y="519"/>
                  <a:pt x="145" y="517"/>
                </a:cubicBezTo>
                <a:close/>
                <a:moveTo>
                  <a:pt x="142" y="481"/>
                </a:moveTo>
                <a:cubicBezTo>
                  <a:pt x="144" y="479"/>
                  <a:pt x="146" y="477"/>
                  <a:pt x="149" y="476"/>
                </a:cubicBezTo>
                <a:cubicBezTo>
                  <a:pt x="147" y="478"/>
                  <a:pt x="145" y="480"/>
                  <a:pt x="142" y="481"/>
                </a:cubicBezTo>
                <a:close/>
                <a:moveTo>
                  <a:pt x="149" y="515"/>
                </a:moveTo>
                <a:cubicBezTo>
                  <a:pt x="149" y="515"/>
                  <a:pt x="147" y="515"/>
                  <a:pt x="148" y="514"/>
                </a:cubicBezTo>
                <a:cubicBezTo>
                  <a:pt x="148" y="514"/>
                  <a:pt x="150" y="515"/>
                  <a:pt x="149" y="515"/>
                </a:cubicBezTo>
                <a:close/>
                <a:moveTo>
                  <a:pt x="150" y="472"/>
                </a:moveTo>
                <a:cubicBezTo>
                  <a:pt x="149" y="472"/>
                  <a:pt x="150" y="470"/>
                  <a:pt x="150" y="470"/>
                </a:cubicBezTo>
                <a:cubicBezTo>
                  <a:pt x="151" y="471"/>
                  <a:pt x="149" y="472"/>
                  <a:pt x="150" y="472"/>
                </a:cubicBezTo>
                <a:close/>
                <a:moveTo>
                  <a:pt x="150" y="468"/>
                </a:moveTo>
                <a:cubicBezTo>
                  <a:pt x="150" y="468"/>
                  <a:pt x="150" y="468"/>
                  <a:pt x="151" y="468"/>
                </a:cubicBezTo>
                <a:cubicBezTo>
                  <a:pt x="151" y="468"/>
                  <a:pt x="151" y="467"/>
                  <a:pt x="151" y="467"/>
                </a:cubicBezTo>
                <a:cubicBezTo>
                  <a:pt x="151" y="467"/>
                  <a:pt x="151" y="467"/>
                  <a:pt x="151" y="467"/>
                </a:cubicBezTo>
                <a:cubicBezTo>
                  <a:pt x="151" y="468"/>
                  <a:pt x="151" y="468"/>
                  <a:pt x="151" y="468"/>
                </a:cubicBezTo>
                <a:cubicBezTo>
                  <a:pt x="150" y="468"/>
                  <a:pt x="150" y="468"/>
                  <a:pt x="150" y="468"/>
                </a:cubicBezTo>
                <a:close/>
                <a:moveTo>
                  <a:pt x="152" y="551"/>
                </a:moveTo>
                <a:cubicBezTo>
                  <a:pt x="151" y="551"/>
                  <a:pt x="151" y="551"/>
                  <a:pt x="151" y="551"/>
                </a:cubicBezTo>
                <a:cubicBezTo>
                  <a:pt x="150" y="550"/>
                  <a:pt x="153" y="549"/>
                  <a:pt x="152" y="551"/>
                </a:cubicBezTo>
                <a:close/>
                <a:moveTo>
                  <a:pt x="152" y="540"/>
                </a:moveTo>
                <a:cubicBezTo>
                  <a:pt x="150" y="541"/>
                  <a:pt x="150" y="536"/>
                  <a:pt x="153" y="537"/>
                </a:cubicBezTo>
                <a:cubicBezTo>
                  <a:pt x="154" y="537"/>
                  <a:pt x="153" y="539"/>
                  <a:pt x="152" y="540"/>
                </a:cubicBezTo>
                <a:close/>
                <a:moveTo>
                  <a:pt x="154" y="484"/>
                </a:moveTo>
                <a:cubicBezTo>
                  <a:pt x="153" y="483"/>
                  <a:pt x="155" y="483"/>
                  <a:pt x="155" y="484"/>
                </a:cubicBezTo>
                <a:cubicBezTo>
                  <a:pt x="155" y="484"/>
                  <a:pt x="154" y="485"/>
                  <a:pt x="154" y="484"/>
                </a:cubicBezTo>
                <a:close/>
                <a:moveTo>
                  <a:pt x="158" y="546"/>
                </a:moveTo>
                <a:cubicBezTo>
                  <a:pt x="158" y="546"/>
                  <a:pt x="158" y="547"/>
                  <a:pt x="158" y="547"/>
                </a:cubicBezTo>
                <a:cubicBezTo>
                  <a:pt x="158" y="547"/>
                  <a:pt x="158" y="547"/>
                  <a:pt x="158" y="547"/>
                </a:cubicBezTo>
                <a:cubicBezTo>
                  <a:pt x="157" y="547"/>
                  <a:pt x="155" y="548"/>
                  <a:pt x="154" y="548"/>
                </a:cubicBezTo>
                <a:cubicBezTo>
                  <a:pt x="155" y="546"/>
                  <a:pt x="158" y="546"/>
                  <a:pt x="160" y="545"/>
                </a:cubicBezTo>
                <a:cubicBezTo>
                  <a:pt x="160" y="545"/>
                  <a:pt x="159" y="546"/>
                  <a:pt x="158" y="546"/>
                </a:cubicBezTo>
                <a:close/>
                <a:moveTo>
                  <a:pt x="155" y="544"/>
                </a:moveTo>
                <a:cubicBezTo>
                  <a:pt x="155" y="544"/>
                  <a:pt x="156" y="543"/>
                  <a:pt x="156" y="544"/>
                </a:cubicBezTo>
                <a:cubicBezTo>
                  <a:pt x="156" y="544"/>
                  <a:pt x="155" y="546"/>
                  <a:pt x="155" y="544"/>
                </a:cubicBezTo>
                <a:close/>
                <a:moveTo>
                  <a:pt x="160" y="521"/>
                </a:moveTo>
                <a:cubicBezTo>
                  <a:pt x="151" y="525"/>
                  <a:pt x="154" y="511"/>
                  <a:pt x="161" y="512"/>
                </a:cubicBezTo>
                <a:cubicBezTo>
                  <a:pt x="165" y="513"/>
                  <a:pt x="162" y="520"/>
                  <a:pt x="160" y="521"/>
                </a:cubicBezTo>
                <a:close/>
                <a:moveTo>
                  <a:pt x="162" y="544"/>
                </a:moveTo>
                <a:cubicBezTo>
                  <a:pt x="162" y="545"/>
                  <a:pt x="161" y="545"/>
                  <a:pt x="161" y="545"/>
                </a:cubicBezTo>
                <a:cubicBezTo>
                  <a:pt x="160" y="544"/>
                  <a:pt x="165" y="543"/>
                  <a:pt x="162" y="544"/>
                </a:cubicBezTo>
                <a:close/>
                <a:moveTo>
                  <a:pt x="168" y="525"/>
                </a:moveTo>
                <a:cubicBezTo>
                  <a:pt x="168" y="525"/>
                  <a:pt x="169" y="525"/>
                  <a:pt x="169" y="525"/>
                </a:cubicBezTo>
                <a:cubicBezTo>
                  <a:pt x="169" y="526"/>
                  <a:pt x="168" y="526"/>
                  <a:pt x="168" y="525"/>
                </a:cubicBezTo>
                <a:close/>
                <a:moveTo>
                  <a:pt x="170" y="537"/>
                </a:moveTo>
                <a:cubicBezTo>
                  <a:pt x="168" y="538"/>
                  <a:pt x="168" y="535"/>
                  <a:pt x="170" y="535"/>
                </a:cubicBezTo>
                <a:cubicBezTo>
                  <a:pt x="171" y="536"/>
                  <a:pt x="170" y="536"/>
                  <a:pt x="170" y="537"/>
                </a:cubicBezTo>
                <a:close/>
                <a:moveTo>
                  <a:pt x="172" y="521"/>
                </a:moveTo>
                <a:cubicBezTo>
                  <a:pt x="170" y="522"/>
                  <a:pt x="165" y="524"/>
                  <a:pt x="161" y="525"/>
                </a:cubicBezTo>
                <a:cubicBezTo>
                  <a:pt x="164" y="523"/>
                  <a:pt x="170" y="520"/>
                  <a:pt x="173" y="519"/>
                </a:cubicBezTo>
                <a:cubicBezTo>
                  <a:pt x="172" y="519"/>
                  <a:pt x="175" y="519"/>
                  <a:pt x="175" y="519"/>
                </a:cubicBezTo>
                <a:cubicBezTo>
                  <a:pt x="175" y="520"/>
                  <a:pt x="173" y="520"/>
                  <a:pt x="172" y="521"/>
                </a:cubicBezTo>
                <a:close/>
                <a:moveTo>
                  <a:pt x="176" y="546"/>
                </a:moveTo>
                <a:cubicBezTo>
                  <a:pt x="175" y="547"/>
                  <a:pt x="175" y="547"/>
                  <a:pt x="175" y="546"/>
                </a:cubicBezTo>
                <a:cubicBezTo>
                  <a:pt x="174" y="545"/>
                  <a:pt x="177" y="545"/>
                  <a:pt x="176" y="546"/>
                </a:cubicBezTo>
                <a:close/>
                <a:moveTo>
                  <a:pt x="174" y="497"/>
                </a:moveTo>
                <a:cubicBezTo>
                  <a:pt x="174" y="496"/>
                  <a:pt x="176" y="497"/>
                  <a:pt x="176" y="497"/>
                </a:cubicBezTo>
                <a:cubicBezTo>
                  <a:pt x="176" y="498"/>
                  <a:pt x="174" y="499"/>
                  <a:pt x="174" y="497"/>
                </a:cubicBezTo>
                <a:close/>
                <a:moveTo>
                  <a:pt x="176" y="431"/>
                </a:moveTo>
                <a:cubicBezTo>
                  <a:pt x="176" y="431"/>
                  <a:pt x="176" y="431"/>
                  <a:pt x="176" y="431"/>
                </a:cubicBezTo>
                <a:cubicBezTo>
                  <a:pt x="175" y="433"/>
                  <a:pt x="176" y="429"/>
                  <a:pt x="176" y="431"/>
                </a:cubicBezTo>
                <a:close/>
                <a:moveTo>
                  <a:pt x="176" y="487"/>
                </a:moveTo>
                <a:cubicBezTo>
                  <a:pt x="176" y="485"/>
                  <a:pt x="181" y="484"/>
                  <a:pt x="181" y="486"/>
                </a:cubicBezTo>
                <a:cubicBezTo>
                  <a:pt x="182" y="489"/>
                  <a:pt x="176" y="491"/>
                  <a:pt x="176" y="487"/>
                </a:cubicBezTo>
                <a:close/>
                <a:moveTo>
                  <a:pt x="180" y="543"/>
                </a:moveTo>
                <a:cubicBezTo>
                  <a:pt x="180" y="543"/>
                  <a:pt x="181" y="542"/>
                  <a:pt x="182" y="543"/>
                </a:cubicBezTo>
                <a:cubicBezTo>
                  <a:pt x="182" y="544"/>
                  <a:pt x="180" y="544"/>
                  <a:pt x="180" y="543"/>
                </a:cubicBezTo>
                <a:close/>
                <a:moveTo>
                  <a:pt x="182" y="538"/>
                </a:moveTo>
                <a:cubicBezTo>
                  <a:pt x="181" y="539"/>
                  <a:pt x="182" y="536"/>
                  <a:pt x="183" y="537"/>
                </a:cubicBezTo>
                <a:cubicBezTo>
                  <a:pt x="183" y="537"/>
                  <a:pt x="183" y="538"/>
                  <a:pt x="182" y="538"/>
                </a:cubicBezTo>
                <a:close/>
                <a:moveTo>
                  <a:pt x="183" y="485"/>
                </a:moveTo>
                <a:cubicBezTo>
                  <a:pt x="183" y="484"/>
                  <a:pt x="181" y="483"/>
                  <a:pt x="181" y="482"/>
                </a:cubicBezTo>
                <a:cubicBezTo>
                  <a:pt x="182" y="480"/>
                  <a:pt x="183" y="482"/>
                  <a:pt x="184" y="481"/>
                </a:cubicBezTo>
                <a:cubicBezTo>
                  <a:pt x="186" y="479"/>
                  <a:pt x="186" y="475"/>
                  <a:pt x="189" y="472"/>
                </a:cubicBezTo>
                <a:cubicBezTo>
                  <a:pt x="188" y="476"/>
                  <a:pt x="185" y="481"/>
                  <a:pt x="183" y="485"/>
                </a:cubicBezTo>
                <a:close/>
                <a:moveTo>
                  <a:pt x="186" y="544"/>
                </a:moveTo>
                <a:cubicBezTo>
                  <a:pt x="184" y="546"/>
                  <a:pt x="184" y="543"/>
                  <a:pt x="186" y="544"/>
                </a:cubicBezTo>
                <a:close/>
                <a:moveTo>
                  <a:pt x="185" y="507"/>
                </a:moveTo>
                <a:cubicBezTo>
                  <a:pt x="183" y="504"/>
                  <a:pt x="190" y="504"/>
                  <a:pt x="187" y="507"/>
                </a:cubicBezTo>
                <a:cubicBezTo>
                  <a:pt x="187" y="507"/>
                  <a:pt x="186" y="507"/>
                  <a:pt x="185" y="507"/>
                </a:cubicBezTo>
                <a:close/>
                <a:moveTo>
                  <a:pt x="189" y="542"/>
                </a:moveTo>
                <a:cubicBezTo>
                  <a:pt x="189" y="542"/>
                  <a:pt x="190" y="541"/>
                  <a:pt x="190" y="541"/>
                </a:cubicBezTo>
                <a:cubicBezTo>
                  <a:pt x="191" y="541"/>
                  <a:pt x="190" y="541"/>
                  <a:pt x="189" y="542"/>
                </a:cubicBezTo>
                <a:close/>
                <a:moveTo>
                  <a:pt x="193" y="537"/>
                </a:moveTo>
                <a:cubicBezTo>
                  <a:pt x="193" y="537"/>
                  <a:pt x="193" y="538"/>
                  <a:pt x="193" y="538"/>
                </a:cubicBezTo>
                <a:cubicBezTo>
                  <a:pt x="191" y="539"/>
                  <a:pt x="193" y="535"/>
                  <a:pt x="193" y="537"/>
                </a:cubicBezTo>
                <a:close/>
                <a:moveTo>
                  <a:pt x="188" y="542"/>
                </a:moveTo>
                <a:cubicBezTo>
                  <a:pt x="188" y="540"/>
                  <a:pt x="191" y="536"/>
                  <a:pt x="193" y="535"/>
                </a:cubicBezTo>
                <a:cubicBezTo>
                  <a:pt x="191" y="537"/>
                  <a:pt x="190" y="540"/>
                  <a:pt x="188" y="542"/>
                </a:cubicBezTo>
                <a:close/>
                <a:moveTo>
                  <a:pt x="190" y="499"/>
                </a:moveTo>
                <a:cubicBezTo>
                  <a:pt x="191" y="498"/>
                  <a:pt x="192" y="497"/>
                  <a:pt x="194" y="497"/>
                </a:cubicBezTo>
                <a:cubicBezTo>
                  <a:pt x="193" y="498"/>
                  <a:pt x="192" y="499"/>
                  <a:pt x="190" y="499"/>
                </a:cubicBezTo>
                <a:close/>
                <a:moveTo>
                  <a:pt x="194" y="533"/>
                </a:moveTo>
                <a:cubicBezTo>
                  <a:pt x="193" y="533"/>
                  <a:pt x="195" y="531"/>
                  <a:pt x="195" y="531"/>
                </a:cubicBezTo>
                <a:cubicBezTo>
                  <a:pt x="196" y="531"/>
                  <a:pt x="194" y="533"/>
                  <a:pt x="194" y="533"/>
                </a:cubicBezTo>
                <a:close/>
                <a:moveTo>
                  <a:pt x="194" y="497"/>
                </a:moveTo>
                <a:cubicBezTo>
                  <a:pt x="194" y="497"/>
                  <a:pt x="194" y="497"/>
                  <a:pt x="194" y="497"/>
                </a:cubicBezTo>
                <a:close/>
                <a:moveTo>
                  <a:pt x="195" y="497"/>
                </a:move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6"/>
                </a:cubicBezTo>
                <a:cubicBezTo>
                  <a:pt x="195" y="496"/>
                  <a:pt x="195" y="496"/>
                  <a:pt x="195" y="497"/>
                </a:cubicBezTo>
                <a:close/>
                <a:moveTo>
                  <a:pt x="189" y="398"/>
                </a:moveTo>
                <a:cubicBezTo>
                  <a:pt x="192" y="394"/>
                  <a:pt x="196" y="392"/>
                  <a:pt x="201" y="389"/>
                </a:cubicBezTo>
                <a:cubicBezTo>
                  <a:pt x="198" y="392"/>
                  <a:pt x="192" y="395"/>
                  <a:pt x="189" y="398"/>
                </a:cubicBezTo>
                <a:close/>
                <a:moveTo>
                  <a:pt x="196" y="530"/>
                </a:moveTo>
                <a:cubicBezTo>
                  <a:pt x="196" y="531"/>
                  <a:pt x="195" y="529"/>
                  <a:pt x="196" y="530"/>
                </a:cubicBezTo>
                <a:close/>
                <a:moveTo>
                  <a:pt x="198" y="514"/>
                </a:moveTo>
                <a:cubicBezTo>
                  <a:pt x="198" y="514"/>
                  <a:pt x="198" y="515"/>
                  <a:pt x="197" y="515"/>
                </a:cubicBezTo>
                <a:cubicBezTo>
                  <a:pt x="196" y="516"/>
                  <a:pt x="197" y="513"/>
                  <a:pt x="198" y="514"/>
                </a:cubicBezTo>
                <a:close/>
                <a:moveTo>
                  <a:pt x="198" y="558"/>
                </a:moveTo>
                <a:cubicBezTo>
                  <a:pt x="198" y="556"/>
                  <a:pt x="204" y="555"/>
                  <a:pt x="204" y="558"/>
                </a:cubicBezTo>
                <a:cubicBezTo>
                  <a:pt x="205" y="561"/>
                  <a:pt x="197" y="562"/>
                  <a:pt x="198" y="558"/>
                </a:cubicBezTo>
                <a:close/>
                <a:moveTo>
                  <a:pt x="204" y="554"/>
                </a:moveTo>
                <a:cubicBezTo>
                  <a:pt x="205" y="554"/>
                  <a:pt x="206" y="553"/>
                  <a:pt x="207" y="553"/>
                </a:cubicBezTo>
                <a:cubicBezTo>
                  <a:pt x="207" y="554"/>
                  <a:pt x="204" y="555"/>
                  <a:pt x="204" y="554"/>
                </a:cubicBezTo>
                <a:close/>
                <a:moveTo>
                  <a:pt x="203" y="542"/>
                </a:moveTo>
                <a:cubicBezTo>
                  <a:pt x="200" y="539"/>
                  <a:pt x="203" y="534"/>
                  <a:pt x="205" y="533"/>
                </a:cubicBezTo>
                <a:cubicBezTo>
                  <a:pt x="207" y="532"/>
                  <a:pt x="210" y="533"/>
                  <a:pt x="211" y="532"/>
                </a:cubicBezTo>
                <a:cubicBezTo>
                  <a:pt x="215" y="532"/>
                  <a:pt x="213" y="532"/>
                  <a:pt x="215" y="534"/>
                </a:cubicBezTo>
                <a:cubicBezTo>
                  <a:pt x="217" y="537"/>
                  <a:pt x="216" y="541"/>
                  <a:pt x="213" y="540"/>
                </a:cubicBezTo>
                <a:cubicBezTo>
                  <a:pt x="214" y="535"/>
                  <a:pt x="211" y="542"/>
                  <a:pt x="210" y="543"/>
                </a:cubicBezTo>
                <a:cubicBezTo>
                  <a:pt x="209" y="543"/>
                  <a:pt x="204" y="543"/>
                  <a:pt x="203" y="542"/>
                </a:cubicBezTo>
                <a:close/>
                <a:moveTo>
                  <a:pt x="213" y="545"/>
                </a:moveTo>
                <a:cubicBezTo>
                  <a:pt x="213" y="544"/>
                  <a:pt x="216" y="545"/>
                  <a:pt x="215" y="546"/>
                </a:cubicBezTo>
                <a:cubicBezTo>
                  <a:pt x="215" y="546"/>
                  <a:pt x="214" y="546"/>
                  <a:pt x="213" y="545"/>
                </a:cubicBezTo>
                <a:close/>
                <a:moveTo>
                  <a:pt x="215" y="609"/>
                </a:moveTo>
                <a:cubicBezTo>
                  <a:pt x="215" y="609"/>
                  <a:pt x="215" y="609"/>
                  <a:pt x="215" y="609"/>
                </a:cubicBezTo>
                <a:cubicBezTo>
                  <a:pt x="214" y="607"/>
                  <a:pt x="217" y="611"/>
                  <a:pt x="215" y="609"/>
                </a:cubicBezTo>
                <a:close/>
                <a:moveTo>
                  <a:pt x="214" y="557"/>
                </a:moveTo>
                <a:cubicBezTo>
                  <a:pt x="214" y="556"/>
                  <a:pt x="216" y="555"/>
                  <a:pt x="217" y="556"/>
                </a:cubicBezTo>
                <a:cubicBezTo>
                  <a:pt x="217" y="558"/>
                  <a:pt x="214" y="557"/>
                  <a:pt x="214" y="557"/>
                </a:cubicBezTo>
                <a:close/>
                <a:moveTo>
                  <a:pt x="209" y="544"/>
                </a:moveTo>
                <a:cubicBezTo>
                  <a:pt x="210" y="544"/>
                  <a:pt x="217" y="540"/>
                  <a:pt x="217" y="542"/>
                </a:cubicBezTo>
                <a:cubicBezTo>
                  <a:pt x="217" y="543"/>
                  <a:pt x="211" y="545"/>
                  <a:pt x="209" y="544"/>
                </a:cubicBezTo>
                <a:close/>
                <a:moveTo>
                  <a:pt x="216" y="527"/>
                </a:moveTo>
                <a:cubicBezTo>
                  <a:pt x="216" y="526"/>
                  <a:pt x="216" y="526"/>
                  <a:pt x="216" y="526"/>
                </a:cubicBezTo>
                <a:cubicBezTo>
                  <a:pt x="217" y="525"/>
                  <a:pt x="217" y="527"/>
                  <a:pt x="216" y="527"/>
                </a:cubicBezTo>
                <a:close/>
                <a:moveTo>
                  <a:pt x="217" y="615"/>
                </a:moveTo>
                <a:cubicBezTo>
                  <a:pt x="216" y="614"/>
                  <a:pt x="218" y="613"/>
                  <a:pt x="218" y="614"/>
                </a:cubicBezTo>
                <a:cubicBezTo>
                  <a:pt x="218" y="614"/>
                  <a:pt x="217" y="614"/>
                  <a:pt x="217" y="615"/>
                </a:cubicBezTo>
                <a:close/>
                <a:moveTo>
                  <a:pt x="219" y="542"/>
                </a:moveTo>
                <a:cubicBezTo>
                  <a:pt x="216" y="544"/>
                  <a:pt x="217" y="538"/>
                  <a:pt x="219" y="539"/>
                </a:cubicBezTo>
                <a:cubicBezTo>
                  <a:pt x="221" y="540"/>
                  <a:pt x="219" y="542"/>
                  <a:pt x="219" y="542"/>
                </a:cubicBezTo>
                <a:close/>
                <a:moveTo>
                  <a:pt x="219" y="567"/>
                </a:moveTo>
                <a:cubicBezTo>
                  <a:pt x="219" y="566"/>
                  <a:pt x="220" y="566"/>
                  <a:pt x="221" y="566"/>
                </a:cubicBezTo>
                <a:cubicBezTo>
                  <a:pt x="220" y="567"/>
                  <a:pt x="220" y="567"/>
                  <a:pt x="219" y="567"/>
                </a:cubicBezTo>
                <a:close/>
                <a:moveTo>
                  <a:pt x="222" y="589"/>
                </a:moveTo>
                <a:cubicBezTo>
                  <a:pt x="222" y="589"/>
                  <a:pt x="221" y="589"/>
                  <a:pt x="220" y="589"/>
                </a:cubicBezTo>
                <a:cubicBezTo>
                  <a:pt x="220" y="589"/>
                  <a:pt x="222" y="588"/>
                  <a:pt x="222" y="589"/>
                </a:cubicBezTo>
                <a:close/>
                <a:moveTo>
                  <a:pt x="221" y="615"/>
                </a:moveTo>
                <a:cubicBezTo>
                  <a:pt x="221" y="614"/>
                  <a:pt x="222" y="614"/>
                  <a:pt x="223" y="614"/>
                </a:cubicBezTo>
                <a:cubicBezTo>
                  <a:pt x="222" y="615"/>
                  <a:pt x="221" y="614"/>
                  <a:pt x="221" y="615"/>
                </a:cubicBezTo>
                <a:close/>
                <a:moveTo>
                  <a:pt x="223" y="565"/>
                </a:moveTo>
                <a:cubicBezTo>
                  <a:pt x="223" y="565"/>
                  <a:pt x="223" y="565"/>
                  <a:pt x="223" y="566"/>
                </a:cubicBezTo>
                <a:cubicBezTo>
                  <a:pt x="223" y="566"/>
                  <a:pt x="223" y="566"/>
                  <a:pt x="223" y="566"/>
                </a:cubicBezTo>
                <a:cubicBezTo>
                  <a:pt x="223" y="567"/>
                  <a:pt x="223" y="566"/>
                  <a:pt x="223" y="566"/>
                </a:cubicBezTo>
                <a:cubicBezTo>
                  <a:pt x="223" y="565"/>
                  <a:pt x="223" y="565"/>
                  <a:pt x="223" y="565"/>
                </a:cubicBezTo>
                <a:close/>
                <a:moveTo>
                  <a:pt x="223" y="571"/>
                </a:moveTo>
                <a:cubicBezTo>
                  <a:pt x="223" y="569"/>
                  <a:pt x="227" y="570"/>
                  <a:pt x="226" y="571"/>
                </a:cubicBezTo>
                <a:cubicBezTo>
                  <a:pt x="226" y="572"/>
                  <a:pt x="223" y="572"/>
                  <a:pt x="223" y="571"/>
                </a:cubicBezTo>
                <a:close/>
                <a:moveTo>
                  <a:pt x="226" y="582"/>
                </a:moveTo>
                <a:cubicBezTo>
                  <a:pt x="226" y="581"/>
                  <a:pt x="226" y="583"/>
                  <a:pt x="226" y="582"/>
                </a:cubicBezTo>
                <a:close/>
                <a:moveTo>
                  <a:pt x="227" y="608"/>
                </a:moveTo>
                <a:cubicBezTo>
                  <a:pt x="227" y="608"/>
                  <a:pt x="225" y="608"/>
                  <a:pt x="224" y="607"/>
                </a:cubicBezTo>
                <a:cubicBezTo>
                  <a:pt x="224" y="606"/>
                  <a:pt x="228" y="607"/>
                  <a:pt x="227" y="608"/>
                </a:cubicBezTo>
                <a:close/>
                <a:moveTo>
                  <a:pt x="226" y="578"/>
                </a:moveTo>
                <a:cubicBezTo>
                  <a:pt x="226" y="578"/>
                  <a:pt x="227" y="577"/>
                  <a:pt x="227" y="578"/>
                </a:cubicBezTo>
                <a:cubicBezTo>
                  <a:pt x="227" y="578"/>
                  <a:pt x="226" y="578"/>
                  <a:pt x="226" y="578"/>
                </a:cubicBezTo>
                <a:close/>
                <a:moveTo>
                  <a:pt x="236" y="538"/>
                </a:moveTo>
                <a:cubicBezTo>
                  <a:pt x="237" y="537"/>
                  <a:pt x="238" y="536"/>
                  <a:pt x="239" y="537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39" y="538"/>
                  <a:pt x="239" y="538"/>
                  <a:pt x="239" y="538"/>
                </a:cubicBezTo>
                <a:cubicBezTo>
                  <a:pt x="240" y="538"/>
                  <a:pt x="239" y="539"/>
                  <a:pt x="239" y="539"/>
                </a:cubicBezTo>
                <a:cubicBezTo>
                  <a:pt x="238" y="540"/>
                  <a:pt x="237" y="539"/>
                  <a:pt x="237" y="539"/>
                </a:cubicBezTo>
                <a:cubicBezTo>
                  <a:pt x="236" y="539"/>
                  <a:pt x="236" y="538"/>
                  <a:pt x="235" y="539"/>
                </a:cubicBezTo>
                <a:cubicBezTo>
                  <a:pt x="234" y="539"/>
                  <a:pt x="228" y="544"/>
                  <a:pt x="227" y="543"/>
                </a:cubicBezTo>
                <a:cubicBezTo>
                  <a:pt x="226" y="541"/>
                  <a:pt x="235" y="538"/>
                  <a:pt x="236" y="538"/>
                </a:cubicBezTo>
                <a:close/>
                <a:moveTo>
                  <a:pt x="235" y="592"/>
                </a:moveTo>
                <a:cubicBezTo>
                  <a:pt x="235" y="592"/>
                  <a:pt x="234" y="593"/>
                  <a:pt x="234" y="592"/>
                </a:cubicBezTo>
                <a:cubicBezTo>
                  <a:pt x="233" y="592"/>
                  <a:pt x="235" y="591"/>
                  <a:pt x="235" y="592"/>
                </a:cubicBezTo>
                <a:close/>
                <a:moveTo>
                  <a:pt x="233" y="585"/>
                </a:moveTo>
                <a:cubicBezTo>
                  <a:pt x="233" y="585"/>
                  <a:pt x="234" y="583"/>
                  <a:pt x="235" y="584"/>
                </a:cubicBezTo>
                <a:cubicBezTo>
                  <a:pt x="235" y="585"/>
                  <a:pt x="233" y="586"/>
                  <a:pt x="233" y="585"/>
                </a:cubicBezTo>
                <a:close/>
                <a:moveTo>
                  <a:pt x="228" y="573"/>
                </a:moveTo>
                <a:cubicBezTo>
                  <a:pt x="228" y="571"/>
                  <a:pt x="230" y="572"/>
                  <a:pt x="228" y="573"/>
                </a:cubicBezTo>
                <a:close/>
                <a:moveTo>
                  <a:pt x="229" y="580"/>
                </a:moveTo>
                <a:cubicBezTo>
                  <a:pt x="229" y="581"/>
                  <a:pt x="228" y="581"/>
                  <a:pt x="228" y="581"/>
                </a:cubicBezTo>
                <a:cubicBezTo>
                  <a:pt x="227" y="579"/>
                  <a:pt x="230" y="579"/>
                  <a:pt x="229" y="580"/>
                </a:cubicBezTo>
                <a:close/>
                <a:moveTo>
                  <a:pt x="231" y="599"/>
                </a:moveTo>
                <a:cubicBezTo>
                  <a:pt x="231" y="599"/>
                  <a:pt x="233" y="598"/>
                  <a:pt x="233" y="599"/>
                </a:cubicBezTo>
                <a:cubicBezTo>
                  <a:pt x="233" y="600"/>
                  <a:pt x="231" y="601"/>
                  <a:pt x="231" y="599"/>
                </a:cubicBezTo>
                <a:close/>
                <a:moveTo>
                  <a:pt x="236" y="624"/>
                </a:moveTo>
                <a:cubicBezTo>
                  <a:pt x="236" y="624"/>
                  <a:pt x="237" y="623"/>
                  <a:pt x="237" y="623"/>
                </a:cubicBezTo>
                <a:cubicBezTo>
                  <a:pt x="237" y="623"/>
                  <a:pt x="237" y="624"/>
                  <a:pt x="236" y="624"/>
                </a:cubicBezTo>
                <a:close/>
                <a:moveTo>
                  <a:pt x="232" y="618"/>
                </a:moveTo>
                <a:cubicBezTo>
                  <a:pt x="233" y="616"/>
                  <a:pt x="237" y="616"/>
                  <a:pt x="239" y="615"/>
                </a:cubicBezTo>
                <a:cubicBezTo>
                  <a:pt x="237" y="617"/>
                  <a:pt x="234" y="617"/>
                  <a:pt x="232" y="618"/>
                </a:cubicBezTo>
                <a:close/>
                <a:moveTo>
                  <a:pt x="238" y="665"/>
                </a:moveTo>
                <a:cubicBezTo>
                  <a:pt x="238" y="664"/>
                  <a:pt x="239" y="665"/>
                  <a:pt x="240" y="665"/>
                </a:cubicBezTo>
                <a:cubicBezTo>
                  <a:pt x="240" y="666"/>
                  <a:pt x="239" y="665"/>
                  <a:pt x="238" y="665"/>
                </a:cubicBezTo>
                <a:close/>
                <a:moveTo>
                  <a:pt x="240" y="664"/>
                </a:moveTo>
                <a:cubicBezTo>
                  <a:pt x="240" y="664"/>
                  <a:pt x="239" y="663"/>
                  <a:pt x="239" y="663"/>
                </a:cubicBezTo>
                <a:cubicBezTo>
                  <a:pt x="239" y="662"/>
                  <a:pt x="241" y="663"/>
                  <a:pt x="240" y="664"/>
                </a:cubicBezTo>
                <a:close/>
                <a:moveTo>
                  <a:pt x="251" y="679"/>
                </a:moveTo>
                <a:cubicBezTo>
                  <a:pt x="249" y="681"/>
                  <a:pt x="247" y="678"/>
                  <a:pt x="244" y="678"/>
                </a:cubicBezTo>
                <a:cubicBezTo>
                  <a:pt x="242" y="678"/>
                  <a:pt x="238" y="679"/>
                  <a:pt x="237" y="677"/>
                </a:cubicBezTo>
                <a:cubicBezTo>
                  <a:pt x="237" y="676"/>
                  <a:pt x="243" y="677"/>
                  <a:pt x="243" y="677"/>
                </a:cubicBezTo>
                <a:cubicBezTo>
                  <a:pt x="243" y="676"/>
                  <a:pt x="241" y="672"/>
                  <a:pt x="241" y="672"/>
                </a:cubicBezTo>
                <a:cubicBezTo>
                  <a:pt x="240" y="664"/>
                  <a:pt x="252" y="669"/>
                  <a:pt x="255" y="671"/>
                </a:cubicBezTo>
                <a:cubicBezTo>
                  <a:pt x="259" y="674"/>
                  <a:pt x="250" y="671"/>
                  <a:pt x="253" y="676"/>
                </a:cubicBezTo>
                <a:cubicBezTo>
                  <a:pt x="250" y="674"/>
                  <a:pt x="251" y="679"/>
                  <a:pt x="251" y="679"/>
                </a:cubicBezTo>
                <a:close/>
                <a:moveTo>
                  <a:pt x="254" y="687"/>
                </a:moveTo>
                <a:cubicBezTo>
                  <a:pt x="254" y="686"/>
                  <a:pt x="254" y="685"/>
                  <a:pt x="255" y="686"/>
                </a:cubicBezTo>
                <a:cubicBezTo>
                  <a:pt x="257" y="686"/>
                  <a:pt x="254" y="689"/>
                  <a:pt x="254" y="687"/>
                </a:cubicBezTo>
                <a:close/>
                <a:moveTo>
                  <a:pt x="254" y="690"/>
                </a:moveTo>
                <a:cubicBezTo>
                  <a:pt x="255" y="689"/>
                  <a:pt x="256" y="689"/>
                  <a:pt x="258" y="689"/>
                </a:cubicBezTo>
                <a:cubicBezTo>
                  <a:pt x="257" y="690"/>
                  <a:pt x="255" y="690"/>
                  <a:pt x="254" y="690"/>
                </a:cubicBezTo>
                <a:close/>
                <a:moveTo>
                  <a:pt x="257" y="690"/>
                </a:moveTo>
                <a:cubicBezTo>
                  <a:pt x="257" y="689"/>
                  <a:pt x="258" y="689"/>
                  <a:pt x="258" y="690"/>
                </a:cubicBezTo>
                <a:cubicBezTo>
                  <a:pt x="258" y="689"/>
                  <a:pt x="258" y="691"/>
                  <a:pt x="257" y="690"/>
                </a:cubicBezTo>
                <a:close/>
                <a:moveTo>
                  <a:pt x="259" y="689"/>
                </a:moveTo>
                <a:cubicBezTo>
                  <a:pt x="258" y="689"/>
                  <a:pt x="261" y="689"/>
                  <a:pt x="259" y="689"/>
                </a:cubicBezTo>
                <a:close/>
                <a:moveTo>
                  <a:pt x="260" y="660"/>
                </a:moveTo>
                <a:cubicBezTo>
                  <a:pt x="259" y="660"/>
                  <a:pt x="259" y="659"/>
                  <a:pt x="260" y="660"/>
                </a:cubicBezTo>
                <a:close/>
                <a:moveTo>
                  <a:pt x="261" y="631"/>
                </a:moveTo>
                <a:cubicBezTo>
                  <a:pt x="260" y="631"/>
                  <a:pt x="261" y="630"/>
                  <a:pt x="261" y="630"/>
                </a:cubicBezTo>
                <a:cubicBezTo>
                  <a:pt x="262" y="630"/>
                  <a:pt x="261" y="631"/>
                  <a:pt x="261" y="631"/>
                </a:cubicBezTo>
                <a:close/>
                <a:moveTo>
                  <a:pt x="263" y="682"/>
                </a:moveTo>
                <a:cubicBezTo>
                  <a:pt x="263" y="681"/>
                  <a:pt x="265" y="681"/>
                  <a:pt x="265" y="682"/>
                </a:cubicBezTo>
                <a:cubicBezTo>
                  <a:pt x="266" y="682"/>
                  <a:pt x="263" y="683"/>
                  <a:pt x="263" y="682"/>
                </a:cubicBezTo>
                <a:close/>
                <a:moveTo>
                  <a:pt x="264" y="690"/>
                </a:moveTo>
                <a:cubicBezTo>
                  <a:pt x="263" y="689"/>
                  <a:pt x="265" y="690"/>
                  <a:pt x="265" y="690"/>
                </a:cubicBezTo>
                <a:cubicBezTo>
                  <a:pt x="265" y="691"/>
                  <a:pt x="264" y="691"/>
                  <a:pt x="264" y="690"/>
                </a:cubicBezTo>
                <a:close/>
                <a:moveTo>
                  <a:pt x="265" y="694"/>
                </a:moveTo>
                <a:cubicBezTo>
                  <a:pt x="266" y="694"/>
                  <a:pt x="266" y="694"/>
                  <a:pt x="267" y="694"/>
                </a:cubicBezTo>
                <a:cubicBezTo>
                  <a:pt x="266" y="695"/>
                  <a:pt x="266" y="695"/>
                  <a:pt x="265" y="694"/>
                </a:cubicBezTo>
                <a:close/>
                <a:moveTo>
                  <a:pt x="263" y="667"/>
                </a:moveTo>
                <a:cubicBezTo>
                  <a:pt x="264" y="666"/>
                  <a:pt x="273" y="668"/>
                  <a:pt x="273" y="668"/>
                </a:cubicBezTo>
                <a:cubicBezTo>
                  <a:pt x="272" y="669"/>
                  <a:pt x="265" y="667"/>
                  <a:pt x="263" y="667"/>
                </a:cubicBezTo>
                <a:close/>
                <a:moveTo>
                  <a:pt x="270" y="681"/>
                </a:moveTo>
                <a:cubicBezTo>
                  <a:pt x="269" y="683"/>
                  <a:pt x="268" y="680"/>
                  <a:pt x="270" y="681"/>
                </a:cubicBezTo>
                <a:close/>
                <a:moveTo>
                  <a:pt x="268" y="696"/>
                </a:moveTo>
                <a:cubicBezTo>
                  <a:pt x="268" y="695"/>
                  <a:pt x="269" y="695"/>
                  <a:pt x="269" y="695"/>
                </a:cubicBezTo>
                <a:cubicBezTo>
                  <a:pt x="270" y="695"/>
                  <a:pt x="269" y="696"/>
                  <a:pt x="268" y="696"/>
                </a:cubicBezTo>
                <a:close/>
                <a:moveTo>
                  <a:pt x="269" y="689"/>
                </a:moveTo>
                <a:cubicBezTo>
                  <a:pt x="268" y="688"/>
                  <a:pt x="270" y="688"/>
                  <a:pt x="270" y="688"/>
                </a:cubicBezTo>
                <a:cubicBezTo>
                  <a:pt x="270" y="689"/>
                  <a:pt x="269" y="689"/>
                  <a:pt x="269" y="689"/>
                </a:cubicBezTo>
                <a:close/>
                <a:moveTo>
                  <a:pt x="269" y="673"/>
                </a:moveTo>
                <a:cubicBezTo>
                  <a:pt x="269" y="671"/>
                  <a:pt x="274" y="673"/>
                  <a:pt x="273" y="674"/>
                </a:cubicBezTo>
                <a:cubicBezTo>
                  <a:pt x="273" y="676"/>
                  <a:pt x="268" y="676"/>
                  <a:pt x="269" y="673"/>
                </a:cubicBezTo>
                <a:close/>
                <a:moveTo>
                  <a:pt x="272" y="683"/>
                </a:moveTo>
                <a:cubicBezTo>
                  <a:pt x="271" y="681"/>
                  <a:pt x="276" y="682"/>
                  <a:pt x="276" y="683"/>
                </a:cubicBezTo>
                <a:cubicBezTo>
                  <a:pt x="277" y="685"/>
                  <a:pt x="272" y="686"/>
                  <a:pt x="272" y="683"/>
                </a:cubicBezTo>
                <a:close/>
                <a:moveTo>
                  <a:pt x="275" y="696"/>
                </a:moveTo>
                <a:cubicBezTo>
                  <a:pt x="275" y="696"/>
                  <a:pt x="274" y="696"/>
                  <a:pt x="274" y="696"/>
                </a:cubicBezTo>
                <a:cubicBezTo>
                  <a:pt x="274" y="694"/>
                  <a:pt x="277" y="698"/>
                  <a:pt x="275" y="696"/>
                </a:cubicBezTo>
                <a:close/>
                <a:moveTo>
                  <a:pt x="274" y="701"/>
                </a:moveTo>
                <a:cubicBezTo>
                  <a:pt x="274" y="699"/>
                  <a:pt x="277" y="699"/>
                  <a:pt x="277" y="700"/>
                </a:cubicBezTo>
                <a:cubicBezTo>
                  <a:pt x="278" y="701"/>
                  <a:pt x="274" y="701"/>
                  <a:pt x="274" y="701"/>
                </a:cubicBezTo>
                <a:close/>
                <a:moveTo>
                  <a:pt x="282" y="681"/>
                </a:moveTo>
                <a:cubicBezTo>
                  <a:pt x="284" y="680"/>
                  <a:pt x="289" y="680"/>
                  <a:pt x="291" y="681"/>
                </a:cubicBezTo>
                <a:cubicBezTo>
                  <a:pt x="292" y="682"/>
                  <a:pt x="291" y="684"/>
                  <a:pt x="290" y="683"/>
                </a:cubicBezTo>
                <a:cubicBezTo>
                  <a:pt x="289" y="683"/>
                  <a:pt x="289" y="682"/>
                  <a:pt x="289" y="682"/>
                </a:cubicBezTo>
                <a:cubicBezTo>
                  <a:pt x="288" y="681"/>
                  <a:pt x="287" y="683"/>
                  <a:pt x="287" y="683"/>
                </a:cubicBezTo>
                <a:cubicBezTo>
                  <a:pt x="287" y="684"/>
                  <a:pt x="288" y="684"/>
                  <a:pt x="288" y="685"/>
                </a:cubicBezTo>
                <a:cubicBezTo>
                  <a:pt x="289" y="684"/>
                  <a:pt x="289" y="685"/>
                  <a:pt x="288" y="685"/>
                </a:cubicBezTo>
                <a:cubicBezTo>
                  <a:pt x="287" y="686"/>
                  <a:pt x="286" y="685"/>
                  <a:pt x="286" y="685"/>
                </a:cubicBezTo>
                <a:cubicBezTo>
                  <a:pt x="285" y="685"/>
                  <a:pt x="284" y="686"/>
                  <a:pt x="283" y="685"/>
                </a:cubicBezTo>
                <a:cubicBezTo>
                  <a:pt x="282" y="685"/>
                  <a:pt x="278" y="682"/>
                  <a:pt x="282" y="681"/>
                </a:cubicBezTo>
                <a:close/>
                <a:moveTo>
                  <a:pt x="291" y="693"/>
                </a:moveTo>
                <a:cubicBezTo>
                  <a:pt x="290" y="694"/>
                  <a:pt x="288" y="696"/>
                  <a:pt x="287" y="694"/>
                </a:cubicBezTo>
                <a:cubicBezTo>
                  <a:pt x="285" y="693"/>
                  <a:pt x="290" y="692"/>
                  <a:pt x="291" y="693"/>
                </a:cubicBezTo>
                <a:close/>
                <a:moveTo>
                  <a:pt x="289" y="706"/>
                </a:moveTo>
                <a:cubicBezTo>
                  <a:pt x="290" y="707"/>
                  <a:pt x="288" y="706"/>
                  <a:pt x="289" y="706"/>
                </a:cubicBezTo>
                <a:close/>
                <a:moveTo>
                  <a:pt x="292" y="708"/>
                </a:moveTo>
                <a:cubicBezTo>
                  <a:pt x="291" y="707"/>
                  <a:pt x="292" y="708"/>
                  <a:pt x="293" y="708"/>
                </a:cubicBezTo>
                <a:cubicBezTo>
                  <a:pt x="293" y="708"/>
                  <a:pt x="292" y="708"/>
                  <a:pt x="292" y="708"/>
                </a:cubicBezTo>
                <a:close/>
                <a:moveTo>
                  <a:pt x="304" y="701"/>
                </a:moveTo>
                <a:cubicBezTo>
                  <a:pt x="299" y="701"/>
                  <a:pt x="295" y="701"/>
                  <a:pt x="290" y="702"/>
                </a:cubicBezTo>
                <a:cubicBezTo>
                  <a:pt x="289" y="702"/>
                  <a:pt x="282" y="702"/>
                  <a:pt x="282" y="700"/>
                </a:cubicBezTo>
                <a:cubicBezTo>
                  <a:pt x="281" y="699"/>
                  <a:pt x="290" y="699"/>
                  <a:pt x="292" y="700"/>
                </a:cubicBezTo>
                <a:cubicBezTo>
                  <a:pt x="296" y="700"/>
                  <a:pt x="299" y="700"/>
                  <a:pt x="301" y="699"/>
                </a:cubicBezTo>
                <a:cubicBezTo>
                  <a:pt x="299" y="699"/>
                  <a:pt x="297" y="697"/>
                  <a:pt x="297" y="695"/>
                </a:cubicBezTo>
                <a:cubicBezTo>
                  <a:pt x="299" y="690"/>
                  <a:pt x="306" y="693"/>
                  <a:pt x="309" y="695"/>
                </a:cubicBezTo>
                <a:cubicBezTo>
                  <a:pt x="309" y="695"/>
                  <a:pt x="309" y="696"/>
                  <a:pt x="310" y="696"/>
                </a:cubicBezTo>
                <a:cubicBezTo>
                  <a:pt x="310" y="697"/>
                  <a:pt x="307" y="699"/>
                  <a:pt x="305" y="699"/>
                </a:cubicBezTo>
                <a:cubicBezTo>
                  <a:pt x="306" y="699"/>
                  <a:pt x="307" y="699"/>
                  <a:pt x="309" y="700"/>
                </a:cubicBezTo>
                <a:cubicBezTo>
                  <a:pt x="313" y="700"/>
                  <a:pt x="305" y="701"/>
                  <a:pt x="304" y="701"/>
                </a:cubicBezTo>
                <a:close/>
                <a:moveTo>
                  <a:pt x="308" y="684"/>
                </a:moveTo>
                <a:cubicBezTo>
                  <a:pt x="309" y="683"/>
                  <a:pt x="312" y="683"/>
                  <a:pt x="314" y="683"/>
                </a:cubicBezTo>
                <a:cubicBezTo>
                  <a:pt x="312" y="684"/>
                  <a:pt x="310" y="684"/>
                  <a:pt x="308" y="684"/>
                </a:cubicBezTo>
                <a:close/>
                <a:moveTo>
                  <a:pt x="313" y="612"/>
                </a:moveTo>
                <a:cubicBezTo>
                  <a:pt x="314" y="612"/>
                  <a:pt x="309" y="616"/>
                  <a:pt x="308" y="614"/>
                </a:cubicBezTo>
                <a:cubicBezTo>
                  <a:pt x="307" y="612"/>
                  <a:pt x="313" y="611"/>
                  <a:pt x="313" y="612"/>
                </a:cubicBezTo>
                <a:close/>
                <a:moveTo>
                  <a:pt x="313" y="683"/>
                </a:moveTo>
                <a:cubicBezTo>
                  <a:pt x="312" y="682"/>
                  <a:pt x="314" y="681"/>
                  <a:pt x="314" y="682"/>
                </a:cubicBezTo>
                <a:cubicBezTo>
                  <a:pt x="314" y="682"/>
                  <a:pt x="313" y="683"/>
                  <a:pt x="313" y="683"/>
                </a:cubicBezTo>
                <a:close/>
                <a:moveTo>
                  <a:pt x="313" y="589"/>
                </a:moveTo>
                <a:cubicBezTo>
                  <a:pt x="311" y="590"/>
                  <a:pt x="308" y="592"/>
                  <a:pt x="307" y="592"/>
                </a:cubicBezTo>
                <a:cubicBezTo>
                  <a:pt x="304" y="593"/>
                  <a:pt x="309" y="590"/>
                  <a:pt x="309" y="590"/>
                </a:cubicBezTo>
                <a:cubicBezTo>
                  <a:pt x="310" y="590"/>
                  <a:pt x="312" y="589"/>
                  <a:pt x="313" y="589"/>
                </a:cubicBezTo>
                <a:cubicBezTo>
                  <a:pt x="314" y="589"/>
                  <a:pt x="314" y="589"/>
                  <a:pt x="315" y="589"/>
                </a:cubicBezTo>
                <a:cubicBezTo>
                  <a:pt x="314" y="589"/>
                  <a:pt x="314" y="589"/>
                  <a:pt x="313" y="589"/>
                </a:cubicBezTo>
                <a:close/>
                <a:moveTo>
                  <a:pt x="315" y="519"/>
                </a:moveTo>
                <a:cubicBezTo>
                  <a:pt x="315" y="517"/>
                  <a:pt x="318" y="518"/>
                  <a:pt x="315" y="519"/>
                </a:cubicBezTo>
                <a:close/>
                <a:moveTo>
                  <a:pt x="317" y="683"/>
                </a:moveTo>
                <a:cubicBezTo>
                  <a:pt x="315" y="684"/>
                  <a:pt x="315" y="682"/>
                  <a:pt x="317" y="683"/>
                </a:cubicBezTo>
                <a:close/>
                <a:moveTo>
                  <a:pt x="317" y="683"/>
                </a:moveTo>
                <a:cubicBezTo>
                  <a:pt x="318" y="682"/>
                  <a:pt x="319" y="682"/>
                  <a:pt x="321" y="682"/>
                </a:cubicBezTo>
                <a:cubicBezTo>
                  <a:pt x="321" y="683"/>
                  <a:pt x="318" y="683"/>
                  <a:pt x="317" y="683"/>
                </a:cubicBezTo>
                <a:close/>
                <a:moveTo>
                  <a:pt x="333" y="104"/>
                </a:moveTo>
                <a:cubicBezTo>
                  <a:pt x="333" y="104"/>
                  <a:pt x="336" y="103"/>
                  <a:pt x="334" y="104"/>
                </a:cubicBezTo>
                <a:cubicBezTo>
                  <a:pt x="331" y="106"/>
                  <a:pt x="326" y="107"/>
                  <a:pt x="322" y="108"/>
                </a:cubicBezTo>
                <a:cubicBezTo>
                  <a:pt x="325" y="106"/>
                  <a:pt x="329" y="104"/>
                  <a:pt x="333" y="104"/>
                </a:cubicBezTo>
                <a:close/>
                <a:moveTo>
                  <a:pt x="323" y="170"/>
                </a:moveTo>
                <a:cubicBezTo>
                  <a:pt x="324" y="170"/>
                  <a:pt x="324" y="170"/>
                  <a:pt x="325" y="170"/>
                </a:cubicBezTo>
                <a:cubicBezTo>
                  <a:pt x="325" y="171"/>
                  <a:pt x="324" y="171"/>
                  <a:pt x="323" y="170"/>
                </a:cubicBezTo>
                <a:close/>
                <a:moveTo>
                  <a:pt x="322" y="617"/>
                </a:moveTo>
                <a:cubicBezTo>
                  <a:pt x="323" y="616"/>
                  <a:pt x="324" y="618"/>
                  <a:pt x="322" y="617"/>
                </a:cubicBezTo>
                <a:close/>
                <a:moveTo>
                  <a:pt x="322" y="627"/>
                </a:moveTo>
                <a:cubicBezTo>
                  <a:pt x="323" y="627"/>
                  <a:pt x="327" y="626"/>
                  <a:pt x="327" y="627"/>
                </a:cubicBezTo>
                <a:cubicBezTo>
                  <a:pt x="326" y="626"/>
                  <a:pt x="324" y="628"/>
                  <a:pt x="322" y="627"/>
                </a:cubicBezTo>
                <a:close/>
                <a:moveTo>
                  <a:pt x="327" y="574"/>
                </a:moveTo>
                <a:cubicBezTo>
                  <a:pt x="327" y="572"/>
                  <a:pt x="330" y="573"/>
                  <a:pt x="329" y="574"/>
                </a:cubicBezTo>
                <a:cubicBezTo>
                  <a:pt x="329" y="575"/>
                  <a:pt x="328" y="574"/>
                  <a:pt x="327" y="574"/>
                </a:cubicBezTo>
                <a:close/>
                <a:moveTo>
                  <a:pt x="329" y="627"/>
                </a:moveTo>
                <a:cubicBezTo>
                  <a:pt x="329" y="626"/>
                  <a:pt x="331" y="626"/>
                  <a:pt x="331" y="626"/>
                </a:cubicBezTo>
                <a:cubicBezTo>
                  <a:pt x="331" y="626"/>
                  <a:pt x="330" y="627"/>
                  <a:pt x="329" y="627"/>
                </a:cubicBezTo>
                <a:close/>
                <a:moveTo>
                  <a:pt x="329" y="589"/>
                </a:moveTo>
                <a:cubicBezTo>
                  <a:pt x="328" y="587"/>
                  <a:pt x="332" y="588"/>
                  <a:pt x="332" y="589"/>
                </a:cubicBezTo>
                <a:cubicBezTo>
                  <a:pt x="332" y="590"/>
                  <a:pt x="329" y="590"/>
                  <a:pt x="329" y="589"/>
                </a:cubicBezTo>
                <a:close/>
                <a:moveTo>
                  <a:pt x="328" y="583"/>
                </a:moveTo>
                <a:cubicBezTo>
                  <a:pt x="329" y="579"/>
                  <a:pt x="336" y="581"/>
                  <a:pt x="336" y="583"/>
                </a:cubicBezTo>
                <a:cubicBezTo>
                  <a:pt x="335" y="586"/>
                  <a:pt x="328" y="587"/>
                  <a:pt x="328" y="583"/>
                </a:cubicBezTo>
                <a:close/>
                <a:moveTo>
                  <a:pt x="335" y="131"/>
                </a:moveTo>
                <a:cubicBezTo>
                  <a:pt x="334" y="130"/>
                  <a:pt x="336" y="131"/>
                  <a:pt x="335" y="131"/>
                </a:cubicBezTo>
                <a:close/>
                <a:moveTo>
                  <a:pt x="336" y="659"/>
                </a:moveTo>
                <a:cubicBezTo>
                  <a:pt x="337" y="661"/>
                  <a:pt x="335" y="659"/>
                  <a:pt x="336" y="659"/>
                </a:cubicBezTo>
                <a:close/>
                <a:moveTo>
                  <a:pt x="336" y="131"/>
                </a:moveTo>
                <a:cubicBezTo>
                  <a:pt x="336" y="130"/>
                  <a:pt x="338" y="130"/>
                  <a:pt x="338" y="130"/>
                </a:cubicBezTo>
                <a:cubicBezTo>
                  <a:pt x="338" y="131"/>
                  <a:pt x="337" y="130"/>
                  <a:pt x="336" y="131"/>
                </a:cubicBezTo>
                <a:close/>
                <a:moveTo>
                  <a:pt x="337" y="711"/>
                </a:moveTo>
                <a:cubicBezTo>
                  <a:pt x="336" y="711"/>
                  <a:pt x="337" y="710"/>
                  <a:pt x="337" y="710"/>
                </a:cubicBezTo>
                <a:cubicBezTo>
                  <a:pt x="338" y="711"/>
                  <a:pt x="338" y="712"/>
                  <a:pt x="337" y="711"/>
                </a:cubicBezTo>
                <a:close/>
                <a:moveTo>
                  <a:pt x="337" y="685"/>
                </a:moveTo>
                <a:cubicBezTo>
                  <a:pt x="337" y="684"/>
                  <a:pt x="339" y="684"/>
                  <a:pt x="339" y="685"/>
                </a:cubicBezTo>
                <a:cubicBezTo>
                  <a:pt x="340" y="685"/>
                  <a:pt x="338" y="686"/>
                  <a:pt x="337" y="685"/>
                </a:cubicBezTo>
                <a:close/>
                <a:moveTo>
                  <a:pt x="338" y="705"/>
                </a:moveTo>
                <a:cubicBezTo>
                  <a:pt x="338" y="704"/>
                  <a:pt x="340" y="704"/>
                  <a:pt x="340" y="705"/>
                </a:cubicBezTo>
                <a:cubicBezTo>
                  <a:pt x="340" y="705"/>
                  <a:pt x="339" y="706"/>
                  <a:pt x="338" y="705"/>
                </a:cubicBezTo>
                <a:close/>
                <a:moveTo>
                  <a:pt x="338" y="680"/>
                </a:moveTo>
                <a:cubicBezTo>
                  <a:pt x="338" y="680"/>
                  <a:pt x="341" y="680"/>
                  <a:pt x="341" y="680"/>
                </a:cubicBezTo>
                <a:cubicBezTo>
                  <a:pt x="341" y="681"/>
                  <a:pt x="337" y="682"/>
                  <a:pt x="338" y="680"/>
                </a:cubicBezTo>
                <a:close/>
                <a:moveTo>
                  <a:pt x="342" y="110"/>
                </a:moveTo>
                <a:cubicBezTo>
                  <a:pt x="341" y="111"/>
                  <a:pt x="341" y="109"/>
                  <a:pt x="342" y="110"/>
                </a:cubicBezTo>
                <a:close/>
                <a:moveTo>
                  <a:pt x="328" y="108"/>
                </a:moveTo>
                <a:cubicBezTo>
                  <a:pt x="326" y="108"/>
                  <a:pt x="329" y="107"/>
                  <a:pt x="331" y="106"/>
                </a:cubicBezTo>
                <a:cubicBezTo>
                  <a:pt x="334" y="106"/>
                  <a:pt x="339" y="104"/>
                  <a:pt x="342" y="104"/>
                </a:cubicBezTo>
                <a:cubicBezTo>
                  <a:pt x="343" y="104"/>
                  <a:pt x="344" y="105"/>
                  <a:pt x="344" y="105"/>
                </a:cubicBezTo>
                <a:cubicBezTo>
                  <a:pt x="344" y="105"/>
                  <a:pt x="330" y="108"/>
                  <a:pt x="328" y="108"/>
                </a:cubicBezTo>
                <a:close/>
                <a:moveTo>
                  <a:pt x="345" y="576"/>
                </a:moveTo>
                <a:cubicBezTo>
                  <a:pt x="345" y="576"/>
                  <a:pt x="345" y="576"/>
                  <a:pt x="345" y="576"/>
                </a:cubicBezTo>
                <a:cubicBezTo>
                  <a:pt x="346" y="576"/>
                  <a:pt x="346" y="576"/>
                  <a:pt x="346" y="576"/>
                </a:cubicBezTo>
                <a:cubicBezTo>
                  <a:pt x="346" y="576"/>
                  <a:pt x="345" y="576"/>
                  <a:pt x="345" y="576"/>
                </a:cubicBezTo>
                <a:close/>
                <a:moveTo>
                  <a:pt x="346" y="704"/>
                </a:moveTo>
                <a:cubicBezTo>
                  <a:pt x="346" y="703"/>
                  <a:pt x="347" y="703"/>
                  <a:pt x="347" y="703"/>
                </a:cubicBezTo>
                <a:cubicBezTo>
                  <a:pt x="348" y="704"/>
                  <a:pt x="346" y="704"/>
                  <a:pt x="346" y="704"/>
                </a:cubicBezTo>
                <a:close/>
                <a:moveTo>
                  <a:pt x="344" y="537"/>
                </a:moveTo>
                <a:cubicBezTo>
                  <a:pt x="345" y="535"/>
                  <a:pt x="348" y="535"/>
                  <a:pt x="349" y="534"/>
                </a:cubicBezTo>
                <a:cubicBezTo>
                  <a:pt x="348" y="535"/>
                  <a:pt x="345" y="536"/>
                  <a:pt x="344" y="537"/>
                </a:cubicBezTo>
                <a:close/>
                <a:moveTo>
                  <a:pt x="348" y="89"/>
                </a:moveTo>
                <a:cubicBezTo>
                  <a:pt x="347" y="90"/>
                  <a:pt x="346" y="89"/>
                  <a:pt x="348" y="89"/>
                </a:cubicBezTo>
                <a:close/>
                <a:moveTo>
                  <a:pt x="347" y="71"/>
                </a:moveTo>
                <a:cubicBezTo>
                  <a:pt x="347" y="72"/>
                  <a:pt x="348" y="72"/>
                  <a:pt x="347" y="72"/>
                </a:cubicBezTo>
                <a:cubicBezTo>
                  <a:pt x="347" y="72"/>
                  <a:pt x="347" y="72"/>
                  <a:pt x="347" y="71"/>
                </a:cubicBezTo>
                <a:close/>
                <a:moveTo>
                  <a:pt x="345" y="44"/>
                </a:moveTo>
                <a:cubicBezTo>
                  <a:pt x="346" y="42"/>
                  <a:pt x="350" y="42"/>
                  <a:pt x="350" y="45"/>
                </a:cubicBezTo>
                <a:cubicBezTo>
                  <a:pt x="349" y="47"/>
                  <a:pt x="345" y="46"/>
                  <a:pt x="345" y="44"/>
                </a:cubicBezTo>
                <a:close/>
                <a:moveTo>
                  <a:pt x="350" y="626"/>
                </a:moveTo>
                <a:cubicBezTo>
                  <a:pt x="350" y="627"/>
                  <a:pt x="349" y="625"/>
                  <a:pt x="350" y="626"/>
                </a:cubicBezTo>
                <a:close/>
                <a:moveTo>
                  <a:pt x="350" y="205"/>
                </a:moveTo>
                <a:cubicBezTo>
                  <a:pt x="349" y="205"/>
                  <a:pt x="350" y="203"/>
                  <a:pt x="350" y="204"/>
                </a:cubicBezTo>
                <a:cubicBezTo>
                  <a:pt x="351" y="204"/>
                  <a:pt x="351" y="205"/>
                  <a:pt x="350" y="205"/>
                </a:cubicBezTo>
                <a:close/>
                <a:moveTo>
                  <a:pt x="538" y="122"/>
                </a:moveTo>
                <a:cubicBezTo>
                  <a:pt x="538" y="121"/>
                  <a:pt x="540" y="121"/>
                  <a:pt x="540" y="122"/>
                </a:cubicBezTo>
                <a:cubicBezTo>
                  <a:pt x="542" y="121"/>
                  <a:pt x="543" y="121"/>
                  <a:pt x="543" y="123"/>
                </a:cubicBezTo>
                <a:cubicBezTo>
                  <a:pt x="543" y="124"/>
                  <a:pt x="539" y="125"/>
                  <a:pt x="538" y="124"/>
                </a:cubicBezTo>
                <a:cubicBezTo>
                  <a:pt x="538" y="123"/>
                  <a:pt x="538" y="123"/>
                  <a:pt x="538" y="122"/>
                </a:cubicBezTo>
                <a:cubicBezTo>
                  <a:pt x="538" y="122"/>
                  <a:pt x="538" y="122"/>
                  <a:pt x="538" y="122"/>
                </a:cubicBezTo>
                <a:close/>
                <a:moveTo>
                  <a:pt x="538" y="121"/>
                </a:moveTo>
                <a:cubicBezTo>
                  <a:pt x="538" y="121"/>
                  <a:pt x="536" y="122"/>
                  <a:pt x="536" y="121"/>
                </a:cubicBezTo>
                <a:cubicBezTo>
                  <a:pt x="536" y="121"/>
                  <a:pt x="537" y="121"/>
                  <a:pt x="538" y="121"/>
                </a:cubicBezTo>
                <a:close/>
                <a:moveTo>
                  <a:pt x="531" y="126"/>
                </a:moveTo>
                <a:cubicBezTo>
                  <a:pt x="531" y="126"/>
                  <a:pt x="531" y="127"/>
                  <a:pt x="530" y="127"/>
                </a:cubicBezTo>
                <a:cubicBezTo>
                  <a:pt x="530" y="127"/>
                  <a:pt x="531" y="126"/>
                  <a:pt x="531" y="126"/>
                </a:cubicBezTo>
                <a:close/>
                <a:moveTo>
                  <a:pt x="531" y="154"/>
                </a:moveTo>
                <a:cubicBezTo>
                  <a:pt x="529" y="157"/>
                  <a:pt x="525" y="158"/>
                  <a:pt x="522" y="159"/>
                </a:cubicBezTo>
                <a:cubicBezTo>
                  <a:pt x="524" y="156"/>
                  <a:pt x="528" y="156"/>
                  <a:pt x="531" y="154"/>
                </a:cubicBezTo>
                <a:close/>
                <a:moveTo>
                  <a:pt x="525" y="201"/>
                </a:moveTo>
                <a:cubicBezTo>
                  <a:pt x="524" y="202"/>
                  <a:pt x="523" y="203"/>
                  <a:pt x="521" y="203"/>
                </a:cubicBezTo>
                <a:cubicBezTo>
                  <a:pt x="522" y="202"/>
                  <a:pt x="523" y="201"/>
                  <a:pt x="525" y="201"/>
                </a:cubicBezTo>
                <a:close/>
                <a:moveTo>
                  <a:pt x="521" y="198"/>
                </a:moveTo>
                <a:cubicBezTo>
                  <a:pt x="521" y="198"/>
                  <a:pt x="521" y="197"/>
                  <a:pt x="522" y="197"/>
                </a:cubicBezTo>
                <a:cubicBezTo>
                  <a:pt x="524" y="195"/>
                  <a:pt x="523" y="200"/>
                  <a:pt x="521" y="198"/>
                </a:cubicBezTo>
                <a:close/>
                <a:moveTo>
                  <a:pt x="524" y="195"/>
                </a:moveTo>
                <a:cubicBezTo>
                  <a:pt x="524" y="194"/>
                  <a:pt x="525" y="194"/>
                  <a:pt x="525" y="194"/>
                </a:cubicBezTo>
                <a:cubicBezTo>
                  <a:pt x="526" y="195"/>
                  <a:pt x="524" y="195"/>
                  <a:pt x="524" y="195"/>
                </a:cubicBezTo>
                <a:close/>
                <a:moveTo>
                  <a:pt x="531" y="196"/>
                </a:moveTo>
                <a:cubicBezTo>
                  <a:pt x="530" y="198"/>
                  <a:pt x="527" y="199"/>
                  <a:pt x="525" y="201"/>
                </a:cubicBezTo>
                <a:cubicBezTo>
                  <a:pt x="526" y="199"/>
                  <a:pt x="529" y="197"/>
                  <a:pt x="531" y="196"/>
                </a:cubicBezTo>
                <a:close/>
                <a:moveTo>
                  <a:pt x="529" y="172"/>
                </a:moveTo>
                <a:cubicBezTo>
                  <a:pt x="531" y="170"/>
                  <a:pt x="530" y="174"/>
                  <a:pt x="528" y="173"/>
                </a:cubicBezTo>
                <a:cubicBezTo>
                  <a:pt x="528" y="173"/>
                  <a:pt x="529" y="172"/>
                  <a:pt x="529" y="172"/>
                </a:cubicBezTo>
                <a:close/>
                <a:moveTo>
                  <a:pt x="522" y="181"/>
                </a:moveTo>
                <a:cubicBezTo>
                  <a:pt x="521" y="181"/>
                  <a:pt x="523" y="180"/>
                  <a:pt x="523" y="181"/>
                </a:cubicBezTo>
                <a:cubicBezTo>
                  <a:pt x="524" y="181"/>
                  <a:pt x="522" y="182"/>
                  <a:pt x="522" y="181"/>
                </a:cubicBezTo>
                <a:close/>
                <a:moveTo>
                  <a:pt x="529" y="135"/>
                </a:moveTo>
                <a:cubicBezTo>
                  <a:pt x="528" y="136"/>
                  <a:pt x="526" y="138"/>
                  <a:pt x="524" y="138"/>
                </a:cubicBezTo>
                <a:cubicBezTo>
                  <a:pt x="525" y="138"/>
                  <a:pt x="526" y="138"/>
                  <a:pt x="525" y="139"/>
                </a:cubicBezTo>
                <a:cubicBezTo>
                  <a:pt x="525" y="140"/>
                  <a:pt x="522" y="140"/>
                  <a:pt x="522" y="139"/>
                </a:cubicBezTo>
                <a:cubicBezTo>
                  <a:pt x="522" y="139"/>
                  <a:pt x="523" y="138"/>
                  <a:pt x="524" y="138"/>
                </a:cubicBezTo>
                <a:cubicBezTo>
                  <a:pt x="524" y="138"/>
                  <a:pt x="524" y="138"/>
                  <a:pt x="524" y="138"/>
                </a:cubicBezTo>
                <a:cubicBezTo>
                  <a:pt x="525" y="136"/>
                  <a:pt x="527" y="136"/>
                  <a:pt x="529" y="135"/>
                </a:cubicBezTo>
                <a:close/>
                <a:moveTo>
                  <a:pt x="525" y="117"/>
                </a:moveTo>
                <a:cubicBezTo>
                  <a:pt x="525" y="117"/>
                  <a:pt x="525" y="117"/>
                  <a:pt x="524" y="117"/>
                </a:cubicBezTo>
                <a:cubicBezTo>
                  <a:pt x="524" y="117"/>
                  <a:pt x="524" y="116"/>
                  <a:pt x="525" y="117"/>
                </a:cubicBezTo>
                <a:close/>
                <a:moveTo>
                  <a:pt x="524" y="86"/>
                </a:moveTo>
                <a:cubicBezTo>
                  <a:pt x="523" y="86"/>
                  <a:pt x="522" y="86"/>
                  <a:pt x="521" y="86"/>
                </a:cubicBezTo>
                <a:cubicBezTo>
                  <a:pt x="522" y="85"/>
                  <a:pt x="523" y="85"/>
                  <a:pt x="524" y="86"/>
                </a:cubicBezTo>
                <a:close/>
                <a:moveTo>
                  <a:pt x="521" y="87"/>
                </a:moveTo>
                <a:cubicBezTo>
                  <a:pt x="521" y="87"/>
                  <a:pt x="523" y="88"/>
                  <a:pt x="523" y="88"/>
                </a:cubicBezTo>
                <a:cubicBezTo>
                  <a:pt x="523" y="88"/>
                  <a:pt x="520" y="88"/>
                  <a:pt x="521" y="87"/>
                </a:cubicBezTo>
                <a:close/>
                <a:moveTo>
                  <a:pt x="523" y="92"/>
                </a:moveTo>
                <a:cubicBezTo>
                  <a:pt x="523" y="92"/>
                  <a:pt x="521" y="92"/>
                  <a:pt x="521" y="91"/>
                </a:cubicBezTo>
                <a:cubicBezTo>
                  <a:pt x="522" y="90"/>
                  <a:pt x="523" y="91"/>
                  <a:pt x="523" y="92"/>
                </a:cubicBezTo>
                <a:close/>
                <a:moveTo>
                  <a:pt x="521" y="105"/>
                </a:moveTo>
                <a:cubicBezTo>
                  <a:pt x="521" y="106"/>
                  <a:pt x="520" y="104"/>
                  <a:pt x="521" y="105"/>
                </a:cubicBezTo>
                <a:close/>
                <a:moveTo>
                  <a:pt x="525" y="106"/>
                </a:moveTo>
                <a:cubicBezTo>
                  <a:pt x="527" y="106"/>
                  <a:pt x="528" y="108"/>
                  <a:pt x="526" y="111"/>
                </a:cubicBezTo>
                <a:cubicBezTo>
                  <a:pt x="525" y="112"/>
                  <a:pt x="523" y="112"/>
                  <a:pt x="522" y="112"/>
                </a:cubicBezTo>
                <a:cubicBezTo>
                  <a:pt x="520" y="112"/>
                  <a:pt x="518" y="112"/>
                  <a:pt x="518" y="112"/>
                </a:cubicBezTo>
                <a:cubicBezTo>
                  <a:pt x="518" y="112"/>
                  <a:pt x="519" y="112"/>
                  <a:pt x="519" y="112"/>
                </a:cubicBezTo>
                <a:cubicBezTo>
                  <a:pt x="519" y="112"/>
                  <a:pt x="518" y="112"/>
                  <a:pt x="518" y="112"/>
                </a:cubicBezTo>
                <a:cubicBezTo>
                  <a:pt x="518" y="112"/>
                  <a:pt x="518" y="111"/>
                  <a:pt x="518" y="111"/>
                </a:cubicBezTo>
                <a:cubicBezTo>
                  <a:pt x="517" y="110"/>
                  <a:pt x="522" y="106"/>
                  <a:pt x="525" y="106"/>
                </a:cubicBezTo>
                <a:close/>
                <a:moveTo>
                  <a:pt x="520" y="133"/>
                </a:moveTo>
                <a:cubicBezTo>
                  <a:pt x="522" y="131"/>
                  <a:pt x="522" y="133"/>
                  <a:pt x="520" y="133"/>
                </a:cubicBezTo>
                <a:close/>
                <a:moveTo>
                  <a:pt x="519" y="147"/>
                </a:moveTo>
                <a:cubicBezTo>
                  <a:pt x="519" y="146"/>
                  <a:pt x="521" y="145"/>
                  <a:pt x="521" y="146"/>
                </a:cubicBezTo>
                <a:cubicBezTo>
                  <a:pt x="522" y="147"/>
                  <a:pt x="520" y="147"/>
                  <a:pt x="519" y="147"/>
                </a:cubicBezTo>
                <a:close/>
                <a:moveTo>
                  <a:pt x="513" y="162"/>
                </a:moveTo>
                <a:cubicBezTo>
                  <a:pt x="512" y="161"/>
                  <a:pt x="516" y="159"/>
                  <a:pt x="516" y="161"/>
                </a:cubicBezTo>
                <a:cubicBezTo>
                  <a:pt x="517" y="162"/>
                  <a:pt x="513" y="163"/>
                  <a:pt x="513" y="162"/>
                </a:cubicBezTo>
                <a:close/>
                <a:moveTo>
                  <a:pt x="516" y="163"/>
                </a:moveTo>
                <a:cubicBezTo>
                  <a:pt x="516" y="164"/>
                  <a:pt x="515" y="165"/>
                  <a:pt x="516" y="164"/>
                </a:cubicBezTo>
                <a:cubicBezTo>
                  <a:pt x="516" y="164"/>
                  <a:pt x="516" y="164"/>
                  <a:pt x="516" y="163"/>
                </a:cubicBezTo>
                <a:close/>
                <a:moveTo>
                  <a:pt x="514" y="191"/>
                </a:moveTo>
                <a:cubicBezTo>
                  <a:pt x="515" y="190"/>
                  <a:pt x="516" y="192"/>
                  <a:pt x="514" y="191"/>
                </a:cubicBezTo>
                <a:close/>
                <a:moveTo>
                  <a:pt x="512" y="192"/>
                </a:moveTo>
                <a:cubicBezTo>
                  <a:pt x="512" y="191"/>
                  <a:pt x="514" y="191"/>
                  <a:pt x="514" y="191"/>
                </a:cubicBezTo>
                <a:cubicBezTo>
                  <a:pt x="514" y="192"/>
                  <a:pt x="512" y="192"/>
                  <a:pt x="512" y="192"/>
                </a:cubicBezTo>
                <a:close/>
                <a:moveTo>
                  <a:pt x="514" y="247"/>
                </a:moveTo>
                <a:cubicBezTo>
                  <a:pt x="514" y="248"/>
                  <a:pt x="513" y="245"/>
                  <a:pt x="514" y="247"/>
                </a:cubicBezTo>
                <a:close/>
                <a:moveTo>
                  <a:pt x="504" y="183"/>
                </a:moveTo>
                <a:cubicBezTo>
                  <a:pt x="506" y="182"/>
                  <a:pt x="506" y="181"/>
                  <a:pt x="504" y="181"/>
                </a:cubicBezTo>
                <a:cubicBezTo>
                  <a:pt x="505" y="178"/>
                  <a:pt x="508" y="175"/>
                  <a:pt x="511" y="176"/>
                </a:cubicBezTo>
                <a:cubicBezTo>
                  <a:pt x="517" y="179"/>
                  <a:pt x="509" y="186"/>
                  <a:pt x="504" y="183"/>
                </a:cubicBezTo>
                <a:close/>
                <a:moveTo>
                  <a:pt x="505" y="184"/>
                </a:moveTo>
                <a:cubicBezTo>
                  <a:pt x="505" y="184"/>
                  <a:pt x="505" y="184"/>
                  <a:pt x="505" y="184"/>
                </a:cubicBezTo>
                <a:cubicBezTo>
                  <a:pt x="506" y="186"/>
                  <a:pt x="503" y="183"/>
                  <a:pt x="505" y="184"/>
                </a:cubicBezTo>
                <a:close/>
                <a:moveTo>
                  <a:pt x="494" y="127"/>
                </a:moveTo>
                <a:cubicBezTo>
                  <a:pt x="494" y="127"/>
                  <a:pt x="497" y="125"/>
                  <a:pt x="498" y="127"/>
                </a:cubicBezTo>
                <a:cubicBezTo>
                  <a:pt x="498" y="128"/>
                  <a:pt x="494" y="129"/>
                  <a:pt x="494" y="127"/>
                </a:cubicBezTo>
                <a:close/>
                <a:moveTo>
                  <a:pt x="496" y="219"/>
                </a:moveTo>
                <a:cubicBezTo>
                  <a:pt x="495" y="219"/>
                  <a:pt x="496" y="218"/>
                  <a:pt x="496" y="218"/>
                </a:cubicBezTo>
                <a:cubicBezTo>
                  <a:pt x="497" y="218"/>
                  <a:pt x="496" y="219"/>
                  <a:pt x="496" y="219"/>
                </a:cubicBezTo>
                <a:close/>
                <a:moveTo>
                  <a:pt x="493" y="182"/>
                </a:moveTo>
                <a:cubicBezTo>
                  <a:pt x="493" y="181"/>
                  <a:pt x="495" y="181"/>
                  <a:pt x="495" y="181"/>
                </a:cubicBezTo>
                <a:cubicBezTo>
                  <a:pt x="496" y="182"/>
                  <a:pt x="494" y="183"/>
                  <a:pt x="493" y="182"/>
                </a:cubicBezTo>
                <a:close/>
                <a:moveTo>
                  <a:pt x="494" y="221"/>
                </a:moveTo>
                <a:cubicBezTo>
                  <a:pt x="494" y="221"/>
                  <a:pt x="495" y="220"/>
                  <a:pt x="495" y="220"/>
                </a:cubicBezTo>
                <a:cubicBezTo>
                  <a:pt x="495" y="220"/>
                  <a:pt x="494" y="222"/>
                  <a:pt x="494" y="221"/>
                </a:cubicBezTo>
                <a:close/>
                <a:moveTo>
                  <a:pt x="484" y="206"/>
                </a:moveTo>
                <a:cubicBezTo>
                  <a:pt x="487" y="204"/>
                  <a:pt x="490" y="201"/>
                  <a:pt x="492" y="200"/>
                </a:cubicBezTo>
                <a:cubicBezTo>
                  <a:pt x="492" y="200"/>
                  <a:pt x="494" y="199"/>
                  <a:pt x="493" y="200"/>
                </a:cubicBezTo>
                <a:cubicBezTo>
                  <a:pt x="492" y="203"/>
                  <a:pt x="487" y="205"/>
                  <a:pt x="484" y="206"/>
                </a:cubicBezTo>
                <a:close/>
                <a:moveTo>
                  <a:pt x="491" y="221"/>
                </a:moveTo>
                <a:cubicBezTo>
                  <a:pt x="491" y="220"/>
                  <a:pt x="493" y="220"/>
                  <a:pt x="493" y="221"/>
                </a:cubicBezTo>
                <a:cubicBezTo>
                  <a:pt x="493" y="222"/>
                  <a:pt x="491" y="222"/>
                  <a:pt x="491" y="221"/>
                </a:cubicBezTo>
                <a:close/>
                <a:moveTo>
                  <a:pt x="480" y="95"/>
                </a:moveTo>
                <a:cubicBezTo>
                  <a:pt x="482" y="94"/>
                  <a:pt x="483" y="93"/>
                  <a:pt x="485" y="93"/>
                </a:cubicBezTo>
                <a:cubicBezTo>
                  <a:pt x="483" y="94"/>
                  <a:pt x="482" y="95"/>
                  <a:pt x="480" y="95"/>
                </a:cubicBezTo>
                <a:close/>
                <a:moveTo>
                  <a:pt x="481" y="162"/>
                </a:moveTo>
                <a:cubicBezTo>
                  <a:pt x="481" y="160"/>
                  <a:pt x="484" y="161"/>
                  <a:pt x="481" y="162"/>
                </a:cubicBezTo>
                <a:close/>
                <a:moveTo>
                  <a:pt x="482" y="109"/>
                </a:moveTo>
                <a:cubicBezTo>
                  <a:pt x="481" y="112"/>
                  <a:pt x="478" y="110"/>
                  <a:pt x="482" y="109"/>
                </a:cubicBezTo>
                <a:close/>
                <a:moveTo>
                  <a:pt x="496" y="72"/>
                </a:moveTo>
                <a:cubicBezTo>
                  <a:pt x="496" y="73"/>
                  <a:pt x="495" y="73"/>
                  <a:pt x="494" y="73"/>
                </a:cubicBezTo>
                <a:cubicBezTo>
                  <a:pt x="494" y="73"/>
                  <a:pt x="496" y="71"/>
                  <a:pt x="496" y="72"/>
                </a:cubicBezTo>
                <a:close/>
                <a:moveTo>
                  <a:pt x="494" y="43"/>
                </a:moveTo>
                <a:cubicBezTo>
                  <a:pt x="494" y="43"/>
                  <a:pt x="496" y="43"/>
                  <a:pt x="496" y="43"/>
                </a:cubicBezTo>
                <a:cubicBezTo>
                  <a:pt x="497" y="45"/>
                  <a:pt x="494" y="44"/>
                  <a:pt x="494" y="43"/>
                </a:cubicBezTo>
                <a:close/>
                <a:moveTo>
                  <a:pt x="493" y="64"/>
                </a:moveTo>
                <a:cubicBezTo>
                  <a:pt x="493" y="64"/>
                  <a:pt x="494" y="64"/>
                  <a:pt x="495" y="65"/>
                </a:cubicBezTo>
                <a:cubicBezTo>
                  <a:pt x="495" y="66"/>
                  <a:pt x="493" y="65"/>
                  <a:pt x="493" y="64"/>
                </a:cubicBezTo>
                <a:close/>
                <a:moveTo>
                  <a:pt x="499" y="87"/>
                </a:moveTo>
                <a:cubicBezTo>
                  <a:pt x="498" y="89"/>
                  <a:pt x="488" y="88"/>
                  <a:pt x="488" y="87"/>
                </a:cubicBezTo>
                <a:cubicBezTo>
                  <a:pt x="489" y="86"/>
                  <a:pt x="496" y="88"/>
                  <a:pt x="499" y="87"/>
                </a:cubicBezTo>
                <a:close/>
                <a:moveTo>
                  <a:pt x="493" y="105"/>
                </a:moveTo>
                <a:cubicBezTo>
                  <a:pt x="493" y="105"/>
                  <a:pt x="493" y="105"/>
                  <a:pt x="493" y="105"/>
                </a:cubicBezTo>
                <a:cubicBezTo>
                  <a:pt x="493" y="105"/>
                  <a:pt x="493" y="105"/>
                  <a:pt x="492" y="105"/>
                </a:cubicBezTo>
                <a:cubicBezTo>
                  <a:pt x="489" y="105"/>
                  <a:pt x="493" y="97"/>
                  <a:pt x="497" y="101"/>
                </a:cubicBezTo>
                <a:cubicBezTo>
                  <a:pt x="498" y="102"/>
                  <a:pt x="498" y="102"/>
                  <a:pt x="498" y="103"/>
                </a:cubicBezTo>
                <a:cubicBezTo>
                  <a:pt x="498" y="106"/>
                  <a:pt x="494" y="107"/>
                  <a:pt x="493" y="105"/>
                </a:cubicBezTo>
                <a:close/>
                <a:moveTo>
                  <a:pt x="495" y="108"/>
                </a:moveTo>
                <a:cubicBezTo>
                  <a:pt x="495" y="108"/>
                  <a:pt x="494" y="109"/>
                  <a:pt x="494" y="108"/>
                </a:cubicBezTo>
                <a:cubicBezTo>
                  <a:pt x="493" y="108"/>
                  <a:pt x="495" y="107"/>
                  <a:pt x="495" y="108"/>
                </a:cubicBezTo>
                <a:close/>
                <a:moveTo>
                  <a:pt x="494" y="174"/>
                </a:moveTo>
                <a:cubicBezTo>
                  <a:pt x="494" y="175"/>
                  <a:pt x="492" y="176"/>
                  <a:pt x="492" y="175"/>
                </a:cubicBezTo>
                <a:cubicBezTo>
                  <a:pt x="492" y="174"/>
                  <a:pt x="494" y="173"/>
                  <a:pt x="494" y="174"/>
                </a:cubicBezTo>
                <a:close/>
                <a:moveTo>
                  <a:pt x="495" y="98"/>
                </a:moveTo>
                <a:cubicBezTo>
                  <a:pt x="496" y="99"/>
                  <a:pt x="494" y="98"/>
                  <a:pt x="495" y="98"/>
                </a:cubicBezTo>
                <a:close/>
                <a:moveTo>
                  <a:pt x="499" y="91"/>
                </a:moveTo>
                <a:cubicBezTo>
                  <a:pt x="498" y="92"/>
                  <a:pt x="497" y="91"/>
                  <a:pt x="499" y="91"/>
                </a:cubicBezTo>
                <a:close/>
                <a:moveTo>
                  <a:pt x="491" y="166"/>
                </a:moveTo>
                <a:cubicBezTo>
                  <a:pt x="491" y="167"/>
                  <a:pt x="489" y="169"/>
                  <a:pt x="488" y="169"/>
                </a:cubicBezTo>
                <a:cubicBezTo>
                  <a:pt x="488" y="167"/>
                  <a:pt x="490" y="167"/>
                  <a:pt x="491" y="166"/>
                </a:cubicBezTo>
                <a:close/>
                <a:moveTo>
                  <a:pt x="485" y="144"/>
                </a:moveTo>
                <a:cubicBezTo>
                  <a:pt x="488" y="143"/>
                  <a:pt x="489" y="145"/>
                  <a:pt x="485" y="144"/>
                </a:cubicBezTo>
                <a:close/>
                <a:moveTo>
                  <a:pt x="486" y="93"/>
                </a:moveTo>
                <a:cubicBezTo>
                  <a:pt x="488" y="92"/>
                  <a:pt x="489" y="91"/>
                  <a:pt x="491" y="90"/>
                </a:cubicBezTo>
                <a:cubicBezTo>
                  <a:pt x="490" y="92"/>
                  <a:pt x="488" y="92"/>
                  <a:pt x="486" y="93"/>
                </a:cubicBezTo>
                <a:close/>
                <a:moveTo>
                  <a:pt x="491" y="61"/>
                </a:moveTo>
                <a:cubicBezTo>
                  <a:pt x="491" y="60"/>
                  <a:pt x="492" y="60"/>
                  <a:pt x="493" y="61"/>
                </a:cubicBezTo>
                <a:cubicBezTo>
                  <a:pt x="492" y="61"/>
                  <a:pt x="492" y="61"/>
                  <a:pt x="491" y="61"/>
                </a:cubicBezTo>
                <a:close/>
                <a:moveTo>
                  <a:pt x="490" y="74"/>
                </a:moveTo>
                <a:cubicBezTo>
                  <a:pt x="491" y="73"/>
                  <a:pt x="491" y="75"/>
                  <a:pt x="490" y="74"/>
                </a:cubicBezTo>
                <a:close/>
                <a:moveTo>
                  <a:pt x="489" y="67"/>
                </a:moveTo>
                <a:cubicBezTo>
                  <a:pt x="488" y="66"/>
                  <a:pt x="490" y="66"/>
                  <a:pt x="490" y="66"/>
                </a:cubicBezTo>
                <a:cubicBezTo>
                  <a:pt x="491" y="67"/>
                  <a:pt x="489" y="68"/>
                  <a:pt x="489" y="67"/>
                </a:cubicBezTo>
                <a:close/>
                <a:moveTo>
                  <a:pt x="488" y="60"/>
                </a:moveTo>
                <a:cubicBezTo>
                  <a:pt x="488" y="60"/>
                  <a:pt x="489" y="60"/>
                  <a:pt x="489" y="60"/>
                </a:cubicBezTo>
                <a:cubicBezTo>
                  <a:pt x="489" y="60"/>
                  <a:pt x="489" y="61"/>
                  <a:pt x="488" y="60"/>
                </a:cubicBezTo>
                <a:close/>
                <a:moveTo>
                  <a:pt x="492" y="82"/>
                </a:moveTo>
                <a:cubicBezTo>
                  <a:pt x="492" y="84"/>
                  <a:pt x="487" y="83"/>
                  <a:pt x="487" y="81"/>
                </a:cubicBezTo>
                <a:cubicBezTo>
                  <a:pt x="487" y="79"/>
                  <a:pt x="492" y="79"/>
                  <a:pt x="492" y="82"/>
                </a:cubicBezTo>
                <a:close/>
                <a:moveTo>
                  <a:pt x="483" y="73"/>
                </a:moveTo>
                <a:cubicBezTo>
                  <a:pt x="482" y="71"/>
                  <a:pt x="487" y="70"/>
                  <a:pt x="487" y="72"/>
                </a:cubicBezTo>
                <a:cubicBezTo>
                  <a:pt x="488" y="75"/>
                  <a:pt x="483" y="74"/>
                  <a:pt x="483" y="73"/>
                </a:cubicBezTo>
                <a:close/>
                <a:moveTo>
                  <a:pt x="483" y="60"/>
                </a:moveTo>
                <a:cubicBezTo>
                  <a:pt x="483" y="60"/>
                  <a:pt x="483" y="60"/>
                  <a:pt x="483" y="60"/>
                </a:cubicBezTo>
                <a:cubicBezTo>
                  <a:pt x="484" y="62"/>
                  <a:pt x="481" y="59"/>
                  <a:pt x="483" y="60"/>
                </a:cubicBezTo>
                <a:close/>
                <a:moveTo>
                  <a:pt x="482" y="62"/>
                </a:moveTo>
                <a:cubicBezTo>
                  <a:pt x="483" y="63"/>
                  <a:pt x="481" y="63"/>
                  <a:pt x="481" y="62"/>
                </a:cubicBezTo>
                <a:cubicBezTo>
                  <a:pt x="481" y="62"/>
                  <a:pt x="482" y="62"/>
                  <a:pt x="482" y="62"/>
                </a:cubicBezTo>
                <a:close/>
                <a:moveTo>
                  <a:pt x="487" y="184"/>
                </a:moveTo>
                <a:cubicBezTo>
                  <a:pt x="487" y="185"/>
                  <a:pt x="485" y="186"/>
                  <a:pt x="484" y="186"/>
                </a:cubicBezTo>
                <a:cubicBezTo>
                  <a:pt x="485" y="185"/>
                  <a:pt x="486" y="185"/>
                  <a:pt x="487" y="184"/>
                </a:cubicBezTo>
                <a:close/>
                <a:moveTo>
                  <a:pt x="495" y="174"/>
                </a:moveTo>
                <a:cubicBezTo>
                  <a:pt x="495" y="174"/>
                  <a:pt x="495" y="174"/>
                  <a:pt x="495" y="174"/>
                </a:cubicBezTo>
                <a:cubicBezTo>
                  <a:pt x="495" y="175"/>
                  <a:pt x="494" y="175"/>
                  <a:pt x="495" y="174"/>
                </a:cubicBezTo>
                <a:close/>
                <a:moveTo>
                  <a:pt x="498" y="141"/>
                </a:moveTo>
                <a:cubicBezTo>
                  <a:pt x="499" y="142"/>
                  <a:pt x="497" y="143"/>
                  <a:pt x="497" y="142"/>
                </a:cubicBezTo>
                <a:cubicBezTo>
                  <a:pt x="496" y="141"/>
                  <a:pt x="498" y="141"/>
                  <a:pt x="498" y="141"/>
                </a:cubicBezTo>
                <a:close/>
                <a:moveTo>
                  <a:pt x="497" y="131"/>
                </a:moveTo>
                <a:cubicBezTo>
                  <a:pt x="497" y="131"/>
                  <a:pt x="498" y="131"/>
                  <a:pt x="498" y="131"/>
                </a:cubicBezTo>
                <a:cubicBezTo>
                  <a:pt x="499" y="132"/>
                  <a:pt x="497" y="132"/>
                  <a:pt x="497" y="131"/>
                </a:cubicBezTo>
                <a:close/>
                <a:moveTo>
                  <a:pt x="498" y="128"/>
                </a:moveTo>
                <a:cubicBezTo>
                  <a:pt x="499" y="129"/>
                  <a:pt x="500" y="126"/>
                  <a:pt x="501" y="126"/>
                </a:cubicBezTo>
                <a:cubicBezTo>
                  <a:pt x="508" y="122"/>
                  <a:pt x="510" y="132"/>
                  <a:pt x="502" y="132"/>
                </a:cubicBezTo>
                <a:cubicBezTo>
                  <a:pt x="501" y="132"/>
                  <a:pt x="498" y="131"/>
                  <a:pt x="498" y="128"/>
                </a:cubicBezTo>
                <a:close/>
                <a:moveTo>
                  <a:pt x="502" y="94"/>
                </a:moveTo>
                <a:cubicBezTo>
                  <a:pt x="503" y="93"/>
                  <a:pt x="504" y="95"/>
                  <a:pt x="502" y="94"/>
                </a:cubicBezTo>
                <a:close/>
                <a:moveTo>
                  <a:pt x="505" y="67"/>
                </a:moveTo>
                <a:cubicBezTo>
                  <a:pt x="505" y="67"/>
                  <a:pt x="505" y="68"/>
                  <a:pt x="504" y="68"/>
                </a:cubicBezTo>
                <a:cubicBezTo>
                  <a:pt x="502" y="68"/>
                  <a:pt x="504" y="64"/>
                  <a:pt x="505" y="67"/>
                </a:cubicBezTo>
                <a:close/>
                <a:moveTo>
                  <a:pt x="503" y="121"/>
                </a:moveTo>
                <a:cubicBezTo>
                  <a:pt x="504" y="121"/>
                  <a:pt x="502" y="123"/>
                  <a:pt x="501" y="122"/>
                </a:cubicBezTo>
                <a:cubicBezTo>
                  <a:pt x="502" y="122"/>
                  <a:pt x="502" y="122"/>
                  <a:pt x="503" y="121"/>
                </a:cubicBezTo>
                <a:close/>
                <a:moveTo>
                  <a:pt x="506" y="123"/>
                </a:moveTo>
                <a:cubicBezTo>
                  <a:pt x="507" y="123"/>
                  <a:pt x="505" y="124"/>
                  <a:pt x="505" y="124"/>
                </a:cubicBezTo>
                <a:cubicBezTo>
                  <a:pt x="505" y="123"/>
                  <a:pt x="505" y="122"/>
                  <a:pt x="506" y="123"/>
                </a:cubicBezTo>
                <a:close/>
                <a:moveTo>
                  <a:pt x="506" y="142"/>
                </a:moveTo>
                <a:cubicBezTo>
                  <a:pt x="507" y="142"/>
                  <a:pt x="505" y="143"/>
                  <a:pt x="505" y="142"/>
                </a:cubicBezTo>
                <a:cubicBezTo>
                  <a:pt x="505" y="142"/>
                  <a:pt x="506" y="142"/>
                  <a:pt x="506" y="142"/>
                </a:cubicBezTo>
                <a:close/>
                <a:moveTo>
                  <a:pt x="502" y="137"/>
                </a:moveTo>
                <a:cubicBezTo>
                  <a:pt x="503" y="139"/>
                  <a:pt x="499" y="139"/>
                  <a:pt x="499" y="138"/>
                </a:cubicBezTo>
                <a:cubicBezTo>
                  <a:pt x="499" y="136"/>
                  <a:pt x="502" y="136"/>
                  <a:pt x="502" y="137"/>
                </a:cubicBezTo>
                <a:close/>
                <a:moveTo>
                  <a:pt x="504" y="199"/>
                </a:moveTo>
                <a:cubicBezTo>
                  <a:pt x="504" y="199"/>
                  <a:pt x="503" y="200"/>
                  <a:pt x="503" y="200"/>
                </a:cubicBezTo>
                <a:cubicBezTo>
                  <a:pt x="501" y="200"/>
                  <a:pt x="503" y="197"/>
                  <a:pt x="504" y="199"/>
                </a:cubicBezTo>
                <a:close/>
                <a:moveTo>
                  <a:pt x="512" y="113"/>
                </a:moveTo>
                <a:cubicBezTo>
                  <a:pt x="512" y="114"/>
                  <a:pt x="509" y="116"/>
                  <a:pt x="507" y="114"/>
                </a:cubicBezTo>
                <a:cubicBezTo>
                  <a:pt x="506" y="113"/>
                  <a:pt x="511" y="111"/>
                  <a:pt x="512" y="113"/>
                </a:cubicBezTo>
                <a:close/>
                <a:moveTo>
                  <a:pt x="508" y="101"/>
                </a:moveTo>
                <a:cubicBezTo>
                  <a:pt x="508" y="100"/>
                  <a:pt x="509" y="100"/>
                  <a:pt x="510" y="101"/>
                </a:cubicBezTo>
                <a:cubicBezTo>
                  <a:pt x="511" y="102"/>
                  <a:pt x="508" y="102"/>
                  <a:pt x="508" y="101"/>
                </a:cubicBezTo>
                <a:close/>
                <a:moveTo>
                  <a:pt x="510" y="102"/>
                </a:moveTo>
                <a:cubicBezTo>
                  <a:pt x="511" y="101"/>
                  <a:pt x="512" y="103"/>
                  <a:pt x="510" y="102"/>
                </a:cubicBezTo>
                <a:close/>
                <a:moveTo>
                  <a:pt x="514" y="132"/>
                </a:moveTo>
                <a:cubicBezTo>
                  <a:pt x="514" y="132"/>
                  <a:pt x="514" y="133"/>
                  <a:pt x="514" y="134"/>
                </a:cubicBezTo>
                <a:cubicBezTo>
                  <a:pt x="512" y="137"/>
                  <a:pt x="512" y="131"/>
                  <a:pt x="514" y="132"/>
                </a:cubicBezTo>
                <a:close/>
                <a:moveTo>
                  <a:pt x="515" y="154"/>
                </a:moveTo>
                <a:cubicBezTo>
                  <a:pt x="515" y="154"/>
                  <a:pt x="515" y="153"/>
                  <a:pt x="515" y="153"/>
                </a:cubicBezTo>
                <a:cubicBezTo>
                  <a:pt x="516" y="154"/>
                  <a:pt x="515" y="155"/>
                  <a:pt x="515" y="154"/>
                </a:cubicBezTo>
                <a:close/>
                <a:moveTo>
                  <a:pt x="516" y="153"/>
                </a:moveTo>
                <a:cubicBezTo>
                  <a:pt x="516" y="151"/>
                  <a:pt x="519" y="152"/>
                  <a:pt x="516" y="153"/>
                </a:cubicBezTo>
                <a:close/>
                <a:moveTo>
                  <a:pt x="513" y="148"/>
                </a:moveTo>
                <a:cubicBezTo>
                  <a:pt x="514" y="147"/>
                  <a:pt x="516" y="145"/>
                  <a:pt x="517" y="145"/>
                </a:cubicBezTo>
                <a:cubicBezTo>
                  <a:pt x="520" y="143"/>
                  <a:pt x="516" y="149"/>
                  <a:pt x="513" y="148"/>
                </a:cubicBezTo>
                <a:close/>
                <a:moveTo>
                  <a:pt x="515" y="134"/>
                </a:moveTo>
                <a:cubicBezTo>
                  <a:pt x="514" y="133"/>
                  <a:pt x="515" y="133"/>
                  <a:pt x="515" y="134"/>
                </a:cubicBezTo>
                <a:close/>
                <a:moveTo>
                  <a:pt x="518" y="86"/>
                </a:moveTo>
                <a:cubicBezTo>
                  <a:pt x="517" y="86"/>
                  <a:pt x="519" y="86"/>
                  <a:pt x="519" y="86"/>
                </a:cubicBezTo>
                <a:cubicBezTo>
                  <a:pt x="520" y="86"/>
                  <a:pt x="518" y="87"/>
                  <a:pt x="518" y="86"/>
                </a:cubicBezTo>
                <a:close/>
                <a:moveTo>
                  <a:pt x="518" y="88"/>
                </a:moveTo>
                <a:cubicBezTo>
                  <a:pt x="519" y="87"/>
                  <a:pt x="520" y="88"/>
                  <a:pt x="518" y="88"/>
                </a:cubicBezTo>
                <a:close/>
                <a:moveTo>
                  <a:pt x="519" y="94"/>
                </a:moveTo>
                <a:cubicBezTo>
                  <a:pt x="519" y="96"/>
                  <a:pt x="514" y="96"/>
                  <a:pt x="515" y="93"/>
                </a:cubicBezTo>
                <a:cubicBezTo>
                  <a:pt x="515" y="92"/>
                  <a:pt x="519" y="92"/>
                  <a:pt x="519" y="94"/>
                </a:cubicBezTo>
                <a:close/>
                <a:moveTo>
                  <a:pt x="516" y="113"/>
                </a:moveTo>
                <a:cubicBezTo>
                  <a:pt x="516" y="112"/>
                  <a:pt x="516" y="112"/>
                  <a:pt x="516" y="112"/>
                </a:cubicBezTo>
                <a:cubicBezTo>
                  <a:pt x="518" y="110"/>
                  <a:pt x="517" y="114"/>
                  <a:pt x="516" y="113"/>
                </a:cubicBezTo>
                <a:close/>
                <a:moveTo>
                  <a:pt x="518" y="143"/>
                </a:moveTo>
                <a:cubicBezTo>
                  <a:pt x="518" y="143"/>
                  <a:pt x="516" y="144"/>
                  <a:pt x="516" y="144"/>
                </a:cubicBezTo>
                <a:cubicBezTo>
                  <a:pt x="516" y="143"/>
                  <a:pt x="517" y="142"/>
                  <a:pt x="518" y="143"/>
                </a:cubicBezTo>
                <a:close/>
                <a:moveTo>
                  <a:pt x="515" y="139"/>
                </a:moveTo>
                <a:cubicBezTo>
                  <a:pt x="516" y="140"/>
                  <a:pt x="515" y="140"/>
                  <a:pt x="515" y="140"/>
                </a:cubicBezTo>
                <a:cubicBezTo>
                  <a:pt x="515" y="140"/>
                  <a:pt x="515" y="139"/>
                  <a:pt x="515" y="139"/>
                </a:cubicBezTo>
                <a:close/>
                <a:moveTo>
                  <a:pt x="519" y="150"/>
                </a:moveTo>
                <a:cubicBezTo>
                  <a:pt x="520" y="150"/>
                  <a:pt x="518" y="151"/>
                  <a:pt x="518" y="151"/>
                </a:cubicBezTo>
                <a:cubicBezTo>
                  <a:pt x="517" y="150"/>
                  <a:pt x="519" y="150"/>
                  <a:pt x="519" y="150"/>
                </a:cubicBezTo>
                <a:close/>
                <a:moveTo>
                  <a:pt x="525" y="72"/>
                </a:moveTo>
                <a:cubicBezTo>
                  <a:pt x="525" y="72"/>
                  <a:pt x="525" y="72"/>
                  <a:pt x="524" y="72"/>
                </a:cubicBezTo>
                <a:cubicBezTo>
                  <a:pt x="524" y="72"/>
                  <a:pt x="525" y="71"/>
                  <a:pt x="525" y="72"/>
                </a:cubicBezTo>
                <a:close/>
                <a:moveTo>
                  <a:pt x="509" y="73"/>
                </a:moveTo>
                <a:cubicBezTo>
                  <a:pt x="510" y="72"/>
                  <a:pt x="513" y="74"/>
                  <a:pt x="516" y="74"/>
                </a:cubicBezTo>
                <a:cubicBezTo>
                  <a:pt x="517" y="73"/>
                  <a:pt x="522" y="72"/>
                  <a:pt x="523" y="73"/>
                </a:cubicBezTo>
                <a:cubicBezTo>
                  <a:pt x="523" y="75"/>
                  <a:pt x="517" y="75"/>
                  <a:pt x="517" y="75"/>
                </a:cubicBezTo>
                <a:cubicBezTo>
                  <a:pt x="517" y="76"/>
                  <a:pt x="520" y="79"/>
                  <a:pt x="520" y="79"/>
                </a:cubicBezTo>
                <a:cubicBezTo>
                  <a:pt x="522" y="87"/>
                  <a:pt x="509" y="84"/>
                  <a:pt x="506" y="82"/>
                </a:cubicBezTo>
                <a:cubicBezTo>
                  <a:pt x="501" y="80"/>
                  <a:pt x="510" y="81"/>
                  <a:pt x="507" y="77"/>
                </a:cubicBezTo>
                <a:cubicBezTo>
                  <a:pt x="511" y="79"/>
                  <a:pt x="508" y="74"/>
                  <a:pt x="509" y="73"/>
                </a:cubicBezTo>
                <a:close/>
                <a:moveTo>
                  <a:pt x="509" y="61"/>
                </a:moveTo>
                <a:cubicBezTo>
                  <a:pt x="510" y="61"/>
                  <a:pt x="508" y="62"/>
                  <a:pt x="507" y="61"/>
                </a:cubicBezTo>
                <a:cubicBezTo>
                  <a:pt x="507" y="61"/>
                  <a:pt x="509" y="60"/>
                  <a:pt x="509" y="61"/>
                </a:cubicBezTo>
                <a:close/>
                <a:moveTo>
                  <a:pt x="511" y="36"/>
                </a:moveTo>
                <a:cubicBezTo>
                  <a:pt x="511" y="37"/>
                  <a:pt x="509" y="37"/>
                  <a:pt x="509" y="36"/>
                </a:cubicBezTo>
                <a:cubicBezTo>
                  <a:pt x="509" y="35"/>
                  <a:pt x="510" y="35"/>
                  <a:pt x="511" y="36"/>
                </a:cubicBezTo>
                <a:close/>
                <a:moveTo>
                  <a:pt x="509" y="38"/>
                </a:moveTo>
                <a:cubicBezTo>
                  <a:pt x="509" y="40"/>
                  <a:pt x="506" y="39"/>
                  <a:pt x="506" y="38"/>
                </a:cubicBezTo>
                <a:cubicBezTo>
                  <a:pt x="506" y="37"/>
                  <a:pt x="509" y="36"/>
                  <a:pt x="509" y="38"/>
                </a:cubicBezTo>
                <a:close/>
                <a:moveTo>
                  <a:pt x="509" y="50"/>
                </a:moveTo>
                <a:cubicBezTo>
                  <a:pt x="504" y="53"/>
                  <a:pt x="503" y="50"/>
                  <a:pt x="509" y="50"/>
                </a:cubicBezTo>
                <a:close/>
                <a:moveTo>
                  <a:pt x="506" y="53"/>
                </a:moveTo>
                <a:cubicBezTo>
                  <a:pt x="505" y="54"/>
                  <a:pt x="504" y="53"/>
                  <a:pt x="504" y="53"/>
                </a:cubicBezTo>
                <a:cubicBezTo>
                  <a:pt x="504" y="53"/>
                  <a:pt x="506" y="53"/>
                  <a:pt x="506" y="53"/>
                </a:cubicBezTo>
                <a:close/>
                <a:moveTo>
                  <a:pt x="504" y="64"/>
                </a:moveTo>
                <a:cubicBezTo>
                  <a:pt x="503" y="65"/>
                  <a:pt x="502" y="65"/>
                  <a:pt x="501" y="65"/>
                </a:cubicBezTo>
                <a:cubicBezTo>
                  <a:pt x="501" y="64"/>
                  <a:pt x="503" y="63"/>
                  <a:pt x="504" y="64"/>
                </a:cubicBezTo>
                <a:close/>
                <a:moveTo>
                  <a:pt x="501" y="64"/>
                </a:moveTo>
                <a:cubicBezTo>
                  <a:pt x="501" y="64"/>
                  <a:pt x="500" y="65"/>
                  <a:pt x="500" y="64"/>
                </a:cubicBezTo>
                <a:cubicBezTo>
                  <a:pt x="500" y="64"/>
                  <a:pt x="501" y="63"/>
                  <a:pt x="501" y="64"/>
                </a:cubicBezTo>
                <a:close/>
                <a:moveTo>
                  <a:pt x="501" y="123"/>
                </a:moveTo>
                <a:cubicBezTo>
                  <a:pt x="501" y="123"/>
                  <a:pt x="501" y="123"/>
                  <a:pt x="501" y="123"/>
                </a:cubicBezTo>
                <a:cubicBezTo>
                  <a:pt x="502" y="125"/>
                  <a:pt x="499" y="121"/>
                  <a:pt x="501" y="123"/>
                </a:cubicBezTo>
                <a:close/>
                <a:moveTo>
                  <a:pt x="499" y="65"/>
                </a:moveTo>
                <a:cubicBezTo>
                  <a:pt x="501" y="65"/>
                  <a:pt x="497" y="65"/>
                  <a:pt x="499" y="65"/>
                </a:cubicBezTo>
                <a:close/>
                <a:moveTo>
                  <a:pt x="498" y="38"/>
                </a:moveTo>
                <a:cubicBezTo>
                  <a:pt x="498" y="38"/>
                  <a:pt x="497" y="39"/>
                  <a:pt x="497" y="38"/>
                </a:cubicBezTo>
                <a:cubicBezTo>
                  <a:pt x="497" y="38"/>
                  <a:pt x="497" y="37"/>
                  <a:pt x="498" y="38"/>
                </a:cubicBezTo>
                <a:close/>
                <a:moveTo>
                  <a:pt x="497" y="31"/>
                </a:moveTo>
                <a:cubicBezTo>
                  <a:pt x="497" y="32"/>
                  <a:pt x="495" y="32"/>
                  <a:pt x="495" y="31"/>
                </a:cubicBezTo>
                <a:cubicBezTo>
                  <a:pt x="495" y="31"/>
                  <a:pt x="496" y="31"/>
                  <a:pt x="497" y="31"/>
                </a:cubicBezTo>
                <a:close/>
                <a:moveTo>
                  <a:pt x="496" y="40"/>
                </a:moveTo>
                <a:cubicBezTo>
                  <a:pt x="496" y="41"/>
                  <a:pt x="493" y="42"/>
                  <a:pt x="493" y="41"/>
                </a:cubicBezTo>
                <a:cubicBezTo>
                  <a:pt x="492" y="40"/>
                  <a:pt x="495" y="39"/>
                  <a:pt x="496" y="40"/>
                </a:cubicBezTo>
                <a:close/>
                <a:moveTo>
                  <a:pt x="492" y="44"/>
                </a:moveTo>
                <a:cubicBezTo>
                  <a:pt x="493" y="43"/>
                  <a:pt x="494" y="45"/>
                  <a:pt x="492" y="44"/>
                </a:cubicBezTo>
                <a:close/>
                <a:moveTo>
                  <a:pt x="488" y="29"/>
                </a:moveTo>
                <a:cubicBezTo>
                  <a:pt x="489" y="30"/>
                  <a:pt x="486" y="30"/>
                  <a:pt x="486" y="29"/>
                </a:cubicBezTo>
                <a:cubicBezTo>
                  <a:pt x="486" y="28"/>
                  <a:pt x="488" y="28"/>
                  <a:pt x="488" y="29"/>
                </a:cubicBezTo>
                <a:close/>
                <a:moveTo>
                  <a:pt x="487" y="31"/>
                </a:moveTo>
                <a:cubicBezTo>
                  <a:pt x="487" y="31"/>
                  <a:pt x="488" y="31"/>
                  <a:pt x="488" y="31"/>
                </a:cubicBezTo>
                <a:cubicBezTo>
                  <a:pt x="489" y="32"/>
                  <a:pt x="487" y="32"/>
                  <a:pt x="487" y="31"/>
                </a:cubicBezTo>
                <a:close/>
                <a:moveTo>
                  <a:pt x="488" y="40"/>
                </a:moveTo>
                <a:cubicBezTo>
                  <a:pt x="488" y="41"/>
                  <a:pt x="487" y="41"/>
                  <a:pt x="486" y="41"/>
                </a:cubicBezTo>
                <a:cubicBezTo>
                  <a:pt x="486" y="40"/>
                  <a:pt x="487" y="40"/>
                  <a:pt x="488" y="40"/>
                </a:cubicBezTo>
                <a:close/>
                <a:moveTo>
                  <a:pt x="484" y="41"/>
                </a:moveTo>
                <a:cubicBezTo>
                  <a:pt x="485" y="42"/>
                  <a:pt x="483" y="42"/>
                  <a:pt x="483" y="42"/>
                </a:cubicBezTo>
                <a:cubicBezTo>
                  <a:pt x="483" y="41"/>
                  <a:pt x="484" y="41"/>
                  <a:pt x="484" y="41"/>
                </a:cubicBezTo>
                <a:close/>
                <a:moveTo>
                  <a:pt x="483" y="38"/>
                </a:moveTo>
                <a:cubicBezTo>
                  <a:pt x="482" y="37"/>
                  <a:pt x="484" y="38"/>
                  <a:pt x="483" y="38"/>
                </a:cubicBezTo>
                <a:close/>
                <a:moveTo>
                  <a:pt x="483" y="51"/>
                </a:moveTo>
                <a:cubicBezTo>
                  <a:pt x="485" y="47"/>
                  <a:pt x="492" y="43"/>
                  <a:pt x="496" y="48"/>
                </a:cubicBezTo>
                <a:cubicBezTo>
                  <a:pt x="496" y="49"/>
                  <a:pt x="494" y="53"/>
                  <a:pt x="493" y="53"/>
                </a:cubicBezTo>
                <a:cubicBezTo>
                  <a:pt x="493" y="53"/>
                  <a:pt x="491" y="53"/>
                  <a:pt x="490" y="53"/>
                </a:cubicBezTo>
                <a:cubicBezTo>
                  <a:pt x="490" y="53"/>
                  <a:pt x="490" y="54"/>
                  <a:pt x="489" y="54"/>
                </a:cubicBezTo>
                <a:cubicBezTo>
                  <a:pt x="488" y="54"/>
                  <a:pt x="485" y="54"/>
                  <a:pt x="483" y="54"/>
                </a:cubicBezTo>
                <a:cubicBezTo>
                  <a:pt x="483" y="54"/>
                  <a:pt x="483" y="54"/>
                  <a:pt x="482" y="54"/>
                </a:cubicBezTo>
                <a:cubicBezTo>
                  <a:pt x="482" y="53"/>
                  <a:pt x="483" y="52"/>
                  <a:pt x="483" y="51"/>
                </a:cubicBezTo>
                <a:close/>
                <a:moveTo>
                  <a:pt x="482" y="56"/>
                </a:moveTo>
                <a:cubicBezTo>
                  <a:pt x="483" y="57"/>
                  <a:pt x="480" y="57"/>
                  <a:pt x="480" y="57"/>
                </a:cubicBezTo>
                <a:cubicBezTo>
                  <a:pt x="479" y="55"/>
                  <a:pt x="482" y="55"/>
                  <a:pt x="482" y="56"/>
                </a:cubicBezTo>
                <a:close/>
                <a:moveTo>
                  <a:pt x="479" y="43"/>
                </a:moveTo>
                <a:cubicBezTo>
                  <a:pt x="479" y="45"/>
                  <a:pt x="475" y="45"/>
                  <a:pt x="474" y="44"/>
                </a:cubicBezTo>
                <a:cubicBezTo>
                  <a:pt x="474" y="43"/>
                  <a:pt x="478" y="42"/>
                  <a:pt x="479" y="43"/>
                </a:cubicBezTo>
                <a:close/>
                <a:moveTo>
                  <a:pt x="473" y="28"/>
                </a:moveTo>
                <a:cubicBezTo>
                  <a:pt x="472" y="28"/>
                  <a:pt x="474" y="28"/>
                  <a:pt x="473" y="28"/>
                </a:cubicBezTo>
                <a:close/>
                <a:moveTo>
                  <a:pt x="471" y="33"/>
                </a:moveTo>
                <a:cubicBezTo>
                  <a:pt x="471" y="34"/>
                  <a:pt x="470" y="34"/>
                  <a:pt x="469" y="34"/>
                </a:cubicBezTo>
                <a:cubicBezTo>
                  <a:pt x="469" y="33"/>
                  <a:pt x="471" y="32"/>
                  <a:pt x="471" y="33"/>
                </a:cubicBezTo>
                <a:close/>
                <a:moveTo>
                  <a:pt x="467" y="32"/>
                </a:moveTo>
                <a:cubicBezTo>
                  <a:pt x="469" y="31"/>
                  <a:pt x="470" y="33"/>
                  <a:pt x="467" y="32"/>
                </a:cubicBezTo>
                <a:close/>
                <a:moveTo>
                  <a:pt x="467" y="46"/>
                </a:moveTo>
                <a:cubicBezTo>
                  <a:pt x="468" y="44"/>
                  <a:pt x="469" y="47"/>
                  <a:pt x="467" y="46"/>
                </a:cubicBezTo>
                <a:close/>
                <a:moveTo>
                  <a:pt x="467" y="52"/>
                </a:moveTo>
                <a:cubicBezTo>
                  <a:pt x="466" y="52"/>
                  <a:pt x="468" y="53"/>
                  <a:pt x="467" y="52"/>
                </a:cubicBezTo>
                <a:close/>
                <a:moveTo>
                  <a:pt x="467" y="30"/>
                </a:moveTo>
                <a:cubicBezTo>
                  <a:pt x="467" y="30"/>
                  <a:pt x="468" y="31"/>
                  <a:pt x="467" y="31"/>
                </a:cubicBezTo>
                <a:cubicBezTo>
                  <a:pt x="465" y="31"/>
                  <a:pt x="467" y="28"/>
                  <a:pt x="467" y="30"/>
                </a:cubicBezTo>
                <a:close/>
                <a:moveTo>
                  <a:pt x="468" y="38"/>
                </a:moveTo>
                <a:cubicBezTo>
                  <a:pt x="468" y="39"/>
                  <a:pt x="466" y="40"/>
                  <a:pt x="465" y="39"/>
                </a:cubicBezTo>
                <a:cubicBezTo>
                  <a:pt x="465" y="38"/>
                  <a:pt x="467" y="37"/>
                  <a:pt x="468" y="38"/>
                </a:cubicBezTo>
                <a:close/>
                <a:moveTo>
                  <a:pt x="464" y="49"/>
                </a:moveTo>
                <a:cubicBezTo>
                  <a:pt x="463" y="50"/>
                  <a:pt x="462" y="48"/>
                  <a:pt x="462" y="49"/>
                </a:cubicBezTo>
                <a:cubicBezTo>
                  <a:pt x="460" y="46"/>
                  <a:pt x="468" y="49"/>
                  <a:pt x="464" y="49"/>
                </a:cubicBezTo>
                <a:close/>
                <a:moveTo>
                  <a:pt x="463" y="51"/>
                </a:moveTo>
                <a:cubicBezTo>
                  <a:pt x="463" y="51"/>
                  <a:pt x="464" y="51"/>
                  <a:pt x="464" y="51"/>
                </a:cubicBezTo>
                <a:cubicBezTo>
                  <a:pt x="465" y="52"/>
                  <a:pt x="464" y="51"/>
                  <a:pt x="463" y="51"/>
                </a:cubicBezTo>
                <a:close/>
                <a:moveTo>
                  <a:pt x="447" y="79"/>
                </a:moveTo>
                <a:cubicBezTo>
                  <a:pt x="448" y="79"/>
                  <a:pt x="446" y="80"/>
                  <a:pt x="446" y="80"/>
                </a:cubicBezTo>
                <a:cubicBezTo>
                  <a:pt x="446" y="79"/>
                  <a:pt x="446" y="79"/>
                  <a:pt x="447" y="79"/>
                </a:cubicBezTo>
                <a:close/>
                <a:moveTo>
                  <a:pt x="446" y="189"/>
                </a:moveTo>
                <a:cubicBezTo>
                  <a:pt x="446" y="188"/>
                  <a:pt x="448" y="188"/>
                  <a:pt x="448" y="189"/>
                </a:cubicBezTo>
                <a:cubicBezTo>
                  <a:pt x="448" y="190"/>
                  <a:pt x="446" y="190"/>
                  <a:pt x="446" y="189"/>
                </a:cubicBezTo>
                <a:close/>
                <a:moveTo>
                  <a:pt x="449" y="610"/>
                </a:moveTo>
                <a:cubicBezTo>
                  <a:pt x="448" y="610"/>
                  <a:pt x="447" y="610"/>
                  <a:pt x="446" y="610"/>
                </a:cubicBezTo>
                <a:cubicBezTo>
                  <a:pt x="447" y="609"/>
                  <a:pt x="448" y="609"/>
                  <a:pt x="449" y="610"/>
                </a:cubicBezTo>
                <a:close/>
                <a:moveTo>
                  <a:pt x="447" y="145"/>
                </a:moveTo>
                <a:cubicBezTo>
                  <a:pt x="446" y="146"/>
                  <a:pt x="445" y="145"/>
                  <a:pt x="447" y="145"/>
                </a:cubicBezTo>
                <a:close/>
                <a:moveTo>
                  <a:pt x="447" y="126"/>
                </a:moveTo>
                <a:cubicBezTo>
                  <a:pt x="447" y="126"/>
                  <a:pt x="446" y="127"/>
                  <a:pt x="446" y="127"/>
                </a:cubicBezTo>
                <a:cubicBezTo>
                  <a:pt x="446" y="127"/>
                  <a:pt x="446" y="126"/>
                  <a:pt x="447" y="126"/>
                </a:cubicBezTo>
                <a:close/>
                <a:moveTo>
                  <a:pt x="446" y="180"/>
                </a:moveTo>
                <a:cubicBezTo>
                  <a:pt x="446" y="184"/>
                  <a:pt x="439" y="183"/>
                  <a:pt x="438" y="180"/>
                </a:cubicBezTo>
                <a:cubicBezTo>
                  <a:pt x="438" y="178"/>
                  <a:pt x="446" y="176"/>
                  <a:pt x="446" y="180"/>
                </a:cubicBezTo>
                <a:close/>
                <a:moveTo>
                  <a:pt x="441" y="175"/>
                </a:moveTo>
                <a:cubicBezTo>
                  <a:pt x="441" y="173"/>
                  <a:pt x="444" y="173"/>
                  <a:pt x="444" y="174"/>
                </a:cubicBezTo>
                <a:cubicBezTo>
                  <a:pt x="445" y="176"/>
                  <a:pt x="442" y="176"/>
                  <a:pt x="441" y="175"/>
                </a:cubicBezTo>
                <a:close/>
                <a:moveTo>
                  <a:pt x="446" y="135"/>
                </a:moveTo>
                <a:cubicBezTo>
                  <a:pt x="444" y="136"/>
                  <a:pt x="441" y="137"/>
                  <a:pt x="440" y="136"/>
                </a:cubicBezTo>
                <a:cubicBezTo>
                  <a:pt x="442" y="136"/>
                  <a:pt x="444" y="134"/>
                  <a:pt x="446" y="135"/>
                </a:cubicBezTo>
                <a:close/>
                <a:moveTo>
                  <a:pt x="443" y="79"/>
                </a:moveTo>
                <a:cubicBezTo>
                  <a:pt x="444" y="78"/>
                  <a:pt x="445" y="80"/>
                  <a:pt x="443" y="79"/>
                </a:cubicBezTo>
                <a:close/>
                <a:moveTo>
                  <a:pt x="443" y="79"/>
                </a:moveTo>
                <a:cubicBezTo>
                  <a:pt x="442" y="80"/>
                  <a:pt x="440" y="81"/>
                  <a:pt x="439" y="81"/>
                </a:cubicBezTo>
                <a:cubicBezTo>
                  <a:pt x="439" y="79"/>
                  <a:pt x="441" y="80"/>
                  <a:pt x="443" y="79"/>
                </a:cubicBezTo>
                <a:close/>
                <a:moveTo>
                  <a:pt x="438" y="137"/>
                </a:moveTo>
                <a:cubicBezTo>
                  <a:pt x="439" y="137"/>
                  <a:pt x="437" y="138"/>
                  <a:pt x="437" y="138"/>
                </a:cubicBezTo>
                <a:cubicBezTo>
                  <a:pt x="437" y="138"/>
                  <a:pt x="438" y="137"/>
                  <a:pt x="438" y="137"/>
                </a:cubicBezTo>
                <a:close/>
                <a:moveTo>
                  <a:pt x="437" y="228"/>
                </a:moveTo>
                <a:cubicBezTo>
                  <a:pt x="436" y="229"/>
                  <a:pt x="433" y="230"/>
                  <a:pt x="432" y="232"/>
                </a:cubicBezTo>
                <a:cubicBezTo>
                  <a:pt x="433" y="230"/>
                  <a:pt x="435" y="229"/>
                  <a:pt x="437" y="228"/>
                </a:cubicBezTo>
                <a:close/>
                <a:moveTo>
                  <a:pt x="431" y="647"/>
                </a:moveTo>
                <a:cubicBezTo>
                  <a:pt x="432" y="648"/>
                  <a:pt x="430" y="646"/>
                  <a:pt x="431" y="647"/>
                </a:cubicBezTo>
                <a:close/>
                <a:moveTo>
                  <a:pt x="430" y="190"/>
                </a:move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ubicBezTo>
                  <a:pt x="430" y="190"/>
                  <a:pt x="430" y="190"/>
                  <a:pt x="430" y="190"/>
                </a:cubicBezTo>
                <a:close/>
                <a:moveTo>
                  <a:pt x="430" y="233"/>
                </a:moveTo>
                <a:cubicBezTo>
                  <a:pt x="428" y="236"/>
                  <a:pt x="427" y="233"/>
                  <a:pt x="430" y="233"/>
                </a:cubicBezTo>
                <a:close/>
                <a:moveTo>
                  <a:pt x="430" y="647"/>
                </a:moveTo>
                <a:cubicBezTo>
                  <a:pt x="430" y="648"/>
                  <a:pt x="428" y="648"/>
                  <a:pt x="428" y="648"/>
                </a:cubicBezTo>
                <a:cubicBezTo>
                  <a:pt x="428" y="647"/>
                  <a:pt x="429" y="647"/>
                  <a:pt x="430" y="647"/>
                </a:cubicBezTo>
                <a:close/>
                <a:moveTo>
                  <a:pt x="427" y="105"/>
                </a:moveTo>
                <a:cubicBezTo>
                  <a:pt x="426" y="104"/>
                  <a:pt x="428" y="106"/>
                  <a:pt x="427" y="105"/>
                </a:cubicBezTo>
                <a:close/>
                <a:moveTo>
                  <a:pt x="426" y="572"/>
                </a:moveTo>
                <a:cubicBezTo>
                  <a:pt x="427" y="571"/>
                  <a:pt x="427" y="574"/>
                  <a:pt x="426" y="573"/>
                </a:cubicBezTo>
                <a:cubicBezTo>
                  <a:pt x="426" y="573"/>
                  <a:pt x="426" y="572"/>
                  <a:pt x="426" y="572"/>
                </a:cubicBezTo>
                <a:close/>
                <a:moveTo>
                  <a:pt x="424" y="210"/>
                </a:moveTo>
                <a:cubicBezTo>
                  <a:pt x="425" y="209"/>
                  <a:pt x="426" y="211"/>
                  <a:pt x="424" y="210"/>
                </a:cubicBezTo>
                <a:close/>
                <a:moveTo>
                  <a:pt x="422" y="80"/>
                </a:moveTo>
                <a:cubicBezTo>
                  <a:pt x="423" y="81"/>
                  <a:pt x="421" y="81"/>
                  <a:pt x="420" y="81"/>
                </a:cubicBezTo>
                <a:cubicBezTo>
                  <a:pt x="420" y="80"/>
                  <a:pt x="422" y="80"/>
                  <a:pt x="422" y="80"/>
                </a:cubicBezTo>
                <a:close/>
                <a:moveTo>
                  <a:pt x="423" y="85"/>
                </a:moveTo>
                <a:cubicBezTo>
                  <a:pt x="423" y="85"/>
                  <a:pt x="420" y="86"/>
                  <a:pt x="420" y="85"/>
                </a:cubicBezTo>
                <a:cubicBezTo>
                  <a:pt x="419" y="85"/>
                  <a:pt x="424" y="83"/>
                  <a:pt x="423" y="85"/>
                </a:cubicBezTo>
                <a:close/>
                <a:moveTo>
                  <a:pt x="421" y="667"/>
                </a:moveTo>
                <a:cubicBezTo>
                  <a:pt x="423" y="666"/>
                  <a:pt x="422" y="668"/>
                  <a:pt x="421" y="667"/>
                </a:cubicBezTo>
                <a:close/>
                <a:moveTo>
                  <a:pt x="419" y="54"/>
                </a:moveTo>
                <a:cubicBezTo>
                  <a:pt x="420" y="54"/>
                  <a:pt x="419" y="55"/>
                  <a:pt x="419" y="55"/>
                </a:cubicBezTo>
                <a:cubicBezTo>
                  <a:pt x="418" y="55"/>
                  <a:pt x="418" y="54"/>
                  <a:pt x="419" y="54"/>
                </a:cubicBezTo>
                <a:close/>
                <a:moveTo>
                  <a:pt x="419" y="61"/>
                </a:moveTo>
                <a:cubicBezTo>
                  <a:pt x="419" y="61"/>
                  <a:pt x="417" y="61"/>
                  <a:pt x="417" y="60"/>
                </a:cubicBezTo>
                <a:cubicBezTo>
                  <a:pt x="417" y="60"/>
                  <a:pt x="418" y="60"/>
                  <a:pt x="419" y="61"/>
                </a:cubicBezTo>
                <a:close/>
                <a:moveTo>
                  <a:pt x="411" y="63"/>
                </a:moveTo>
                <a:cubicBezTo>
                  <a:pt x="411" y="63"/>
                  <a:pt x="410" y="64"/>
                  <a:pt x="410" y="63"/>
                </a:cubicBezTo>
                <a:cubicBezTo>
                  <a:pt x="409" y="63"/>
                  <a:pt x="411" y="62"/>
                  <a:pt x="411" y="63"/>
                </a:cubicBezTo>
                <a:close/>
                <a:moveTo>
                  <a:pt x="408" y="93"/>
                </a:moveTo>
                <a:cubicBezTo>
                  <a:pt x="408" y="94"/>
                  <a:pt x="407" y="94"/>
                  <a:pt x="407" y="94"/>
                </a:cubicBezTo>
                <a:cubicBezTo>
                  <a:pt x="406" y="93"/>
                  <a:pt x="408" y="93"/>
                  <a:pt x="408" y="93"/>
                </a:cubicBezTo>
                <a:close/>
                <a:moveTo>
                  <a:pt x="406" y="125"/>
                </a:moveTo>
                <a:cubicBezTo>
                  <a:pt x="406" y="126"/>
                  <a:pt x="404" y="125"/>
                  <a:pt x="406" y="125"/>
                </a:cubicBezTo>
                <a:close/>
                <a:moveTo>
                  <a:pt x="405" y="97"/>
                </a:moveTo>
                <a:cubicBezTo>
                  <a:pt x="404" y="97"/>
                  <a:pt x="404" y="97"/>
                  <a:pt x="404" y="96"/>
                </a:cubicBezTo>
                <a:cubicBezTo>
                  <a:pt x="403" y="95"/>
                  <a:pt x="406" y="97"/>
                  <a:pt x="405" y="97"/>
                </a:cubicBezTo>
                <a:close/>
                <a:moveTo>
                  <a:pt x="408" y="154"/>
                </a:moveTo>
                <a:cubicBezTo>
                  <a:pt x="406" y="156"/>
                  <a:pt x="402" y="158"/>
                  <a:pt x="399" y="158"/>
                </a:cubicBezTo>
                <a:cubicBezTo>
                  <a:pt x="402" y="157"/>
                  <a:pt x="405" y="156"/>
                  <a:pt x="408" y="154"/>
                </a:cubicBezTo>
                <a:close/>
                <a:moveTo>
                  <a:pt x="399" y="122"/>
                </a:moveTo>
                <a:cubicBezTo>
                  <a:pt x="399" y="122"/>
                  <a:pt x="400" y="121"/>
                  <a:pt x="400" y="122"/>
                </a:cubicBezTo>
                <a:cubicBezTo>
                  <a:pt x="400" y="122"/>
                  <a:pt x="400" y="123"/>
                  <a:pt x="399" y="122"/>
                </a:cubicBezTo>
                <a:close/>
                <a:moveTo>
                  <a:pt x="401" y="71"/>
                </a:moveTo>
                <a:cubicBezTo>
                  <a:pt x="402" y="72"/>
                  <a:pt x="400" y="73"/>
                  <a:pt x="399" y="72"/>
                </a:cubicBezTo>
                <a:cubicBezTo>
                  <a:pt x="399" y="71"/>
                  <a:pt x="401" y="70"/>
                  <a:pt x="401" y="71"/>
                </a:cubicBezTo>
                <a:close/>
                <a:moveTo>
                  <a:pt x="399" y="97"/>
                </a:moveTo>
                <a:cubicBezTo>
                  <a:pt x="399" y="97"/>
                  <a:pt x="398" y="98"/>
                  <a:pt x="397" y="97"/>
                </a:cubicBezTo>
                <a:cubicBezTo>
                  <a:pt x="398" y="97"/>
                  <a:pt x="398" y="97"/>
                  <a:pt x="399" y="97"/>
                </a:cubicBezTo>
                <a:close/>
                <a:moveTo>
                  <a:pt x="398" y="160"/>
                </a:moveTo>
                <a:cubicBezTo>
                  <a:pt x="398" y="160"/>
                  <a:pt x="398" y="159"/>
                  <a:pt x="399" y="159"/>
                </a:cubicBezTo>
                <a:cubicBezTo>
                  <a:pt x="399" y="159"/>
                  <a:pt x="398" y="160"/>
                  <a:pt x="398" y="160"/>
                </a:cubicBezTo>
                <a:close/>
                <a:moveTo>
                  <a:pt x="398" y="169"/>
                </a:moveTo>
                <a:cubicBezTo>
                  <a:pt x="399" y="170"/>
                  <a:pt x="397" y="171"/>
                  <a:pt x="397" y="170"/>
                </a:cubicBezTo>
                <a:cubicBezTo>
                  <a:pt x="397" y="169"/>
                  <a:pt x="398" y="169"/>
                  <a:pt x="398" y="169"/>
                </a:cubicBezTo>
                <a:close/>
                <a:moveTo>
                  <a:pt x="397" y="159"/>
                </a:moveTo>
                <a:cubicBezTo>
                  <a:pt x="397" y="160"/>
                  <a:pt x="395" y="162"/>
                  <a:pt x="395" y="161"/>
                </a:cubicBezTo>
                <a:cubicBezTo>
                  <a:pt x="395" y="160"/>
                  <a:pt x="397" y="160"/>
                  <a:pt x="397" y="159"/>
                </a:cubicBezTo>
                <a:close/>
                <a:moveTo>
                  <a:pt x="395" y="78"/>
                </a:moveTo>
                <a:cubicBezTo>
                  <a:pt x="395" y="78"/>
                  <a:pt x="394" y="78"/>
                  <a:pt x="394" y="78"/>
                </a:cubicBezTo>
                <a:cubicBezTo>
                  <a:pt x="393" y="78"/>
                  <a:pt x="395" y="78"/>
                  <a:pt x="395" y="78"/>
                </a:cubicBezTo>
                <a:close/>
                <a:moveTo>
                  <a:pt x="392" y="104"/>
                </a:moveTo>
                <a:cubicBezTo>
                  <a:pt x="393" y="106"/>
                  <a:pt x="390" y="105"/>
                  <a:pt x="390" y="104"/>
                </a:cubicBezTo>
                <a:cubicBezTo>
                  <a:pt x="390" y="102"/>
                  <a:pt x="392" y="103"/>
                  <a:pt x="392" y="104"/>
                </a:cubicBezTo>
                <a:close/>
                <a:moveTo>
                  <a:pt x="388" y="79"/>
                </a:moveTo>
                <a:cubicBezTo>
                  <a:pt x="387" y="80"/>
                  <a:pt x="386" y="79"/>
                  <a:pt x="385" y="80"/>
                </a:cubicBezTo>
                <a:cubicBezTo>
                  <a:pt x="385" y="79"/>
                  <a:pt x="387" y="79"/>
                  <a:pt x="388" y="79"/>
                </a:cubicBezTo>
                <a:close/>
                <a:moveTo>
                  <a:pt x="385" y="112"/>
                </a:moveTo>
                <a:cubicBezTo>
                  <a:pt x="385" y="112"/>
                  <a:pt x="387" y="111"/>
                  <a:pt x="387" y="112"/>
                </a:cubicBezTo>
                <a:cubicBezTo>
                  <a:pt x="388" y="114"/>
                  <a:pt x="384" y="114"/>
                  <a:pt x="385" y="112"/>
                </a:cubicBezTo>
                <a:close/>
                <a:moveTo>
                  <a:pt x="382" y="113"/>
                </a:moveTo>
                <a:cubicBezTo>
                  <a:pt x="384" y="111"/>
                  <a:pt x="385" y="114"/>
                  <a:pt x="382" y="113"/>
                </a:cubicBezTo>
                <a:close/>
                <a:moveTo>
                  <a:pt x="379" y="110"/>
                </a:moveTo>
                <a:cubicBezTo>
                  <a:pt x="380" y="111"/>
                  <a:pt x="376" y="111"/>
                  <a:pt x="376" y="110"/>
                </a:cubicBezTo>
                <a:cubicBezTo>
                  <a:pt x="375" y="109"/>
                  <a:pt x="378" y="108"/>
                  <a:pt x="379" y="110"/>
                </a:cubicBezTo>
                <a:close/>
                <a:moveTo>
                  <a:pt x="379" y="80"/>
                </a:moveTo>
                <a:cubicBezTo>
                  <a:pt x="379" y="80"/>
                  <a:pt x="377" y="81"/>
                  <a:pt x="377" y="81"/>
                </a:cubicBezTo>
                <a:cubicBezTo>
                  <a:pt x="377" y="80"/>
                  <a:pt x="378" y="80"/>
                  <a:pt x="379" y="80"/>
                </a:cubicBezTo>
                <a:close/>
                <a:moveTo>
                  <a:pt x="376" y="81"/>
                </a:moveTo>
                <a:cubicBezTo>
                  <a:pt x="375" y="81"/>
                  <a:pt x="374" y="81"/>
                  <a:pt x="374" y="81"/>
                </a:cubicBezTo>
                <a:cubicBezTo>
                  <a:pt x="373" y="81"/>
                  <a:pt x="375" y="81"/>
                  <a:pt x="376" y="81"/>
                </a:cubicBezTo>
                <a:close/>
                <a:moveTo>
                  <a:pt x="372" y="76"/>
                </a:moveTo>
                <a:cubicBezTo>
                  <a:pt x="372" y="76"/>
                  <a:pt x="372" y="76"/>
                  <a:pt x="372" y="76"/>
                </a:cubicBezTo>
                <a:cubicBezTo>
                  <a:pt x="372" y="76"/>
                  <a:pt x="371" y="76"/>
                  <a:pt x="371" y="76"/>
                </a:cubicBezTo>
                <a:cubicBezTo>
                  <a:pt x="371" y="76"/>
                  <a:pt x="371" y="76"/>
                  <a:pt x="372" y="76"/>
                </a:cubicBezTo>
                <a:close/>
                <a:moveTo>
                  <a:pt x="363" y="95"/>
                </a:moveTo>
                <a:cubicBezTo>
                  <a:pt x="362" y="96"/>
                  <a:pt x="361" y="94"/>
                  <a:pt x="363" y="95"/>
                </a:cubicBezTo>
                <a:close/>
                <a:moveTo>
                  <a:pt x="362" y="110"/>
                </a:moveTo>
                <a:cubicBezTo>
                  <a:pt x="362" y="112"/>
                  <a:pt x="358" y="112"/>
                  <a:pt x="357" y="111"/>
                </a:cubicBezTo>
                <a:cubicBezTo>
                  <a:pt x="357" y="111"/>
                  <a:pt x="357" y="111"/>
                  <a:pt x="356" y="110"/>
                </a:cubicBezTo>
                <a:cubicBezTo>
                  <a:pt x="357" y="111"/>
                  <a:pt x="355" y="112"/>
                  <a:pt x="355" y="111"/>
                </a:cubicBezTo>
                <a:cubicBezTo>
                  <a:pt x="354" y="110"/>
                  <a:pt x="363" y="106"/>
                  <a:pt x="362" y="110"/>
                </a:cubicBezTo>
                <a:close/>
                <a:moveTo>
                  <a:pt x="357" y="127"/>
                </a:moveTo>
                <a:cubicBezTo>
                  <a:pt x="362" y="124"/>
                  <a:pt x="368" y="124"/>
                  <a:pt x="374" y="121"/>
                </a:cubicBezTo>
                <a:cubicBezTo>
                  <a:pt x="379" y="119"/>
                  <a:pt x="384" y="116"/>
                  <a:pt x="389" y="116"/>
                </a:cubicBezTo>
                <a:cubicBezTo>
                  <a:pt x="389" y="116"/>
                  <a:pt x="390" y="117"/>
                  <a:pt x="390" y="117"/>
                </a:cubicBezTo>
                <a:cubicBezTo>
                  <a:pt x="390" y="118"/>
                  <a:pt x="381" y="121"/>
                  <a:pt x="378" y="122"/>
                </a:cubicBezTo>
                <a:cubicBezTo>
                  <a:pt x="373" y="123"/>
                  <a:pt x="369" y="124"/>
                  <a:pt x="364" y="125"/>
                </a:cubicBezTo>
                <a:cubicBezTo>
                  <a:pt x="363" y="126"/>
                  <a:pt x="357" y="129"/>
                  <a:pt x="355" y="129"/>
                </a:cubicBezTo>
                <a:cubicBezTo>
                  <a:pt x="352" y="129"/>
                  <a:pt x="356" y="127"/>
                  <a:pt x="357" y="127"/>
                </a:cubicBezTo>
                <a:close/>
                <a:moveTo>
                  <a:pt x="357" y="587"/>
                </a:moveTo>
                <a:cubicBezTo>
                  <a:pt x="365" y="583"/>
                  <a:pt x="375" y="580"/>
                  <a:pt x="384" y="576"/>
                </a:cubicBezTo>
                <a:cubicBezTo>
                  <a:pt x="385" y="576"/>
                  <a:pt x="387" y="575"/>
                  <a:pt x="387" y="576"/>
                </a:cubicBezTo>
                <a:cubicBezTo>
                  <a:pt x="388" y="577"/>
                  <a:pt x="384" y="578"/>
                  <a:pt x="386" y="577"/>
                </a:cubicBezTo>
                <a:cubicBezTo>
                  <a:pt x="377" y="581"/>
                  <a:pt x="366" y="585"/>
                  <a:pt x="357" y="587"/>
                </a:cubicBezTo>
                <a:close/>
                <a:moveTo>
                  <a:pt x="376" y="609"/>
                </a:moveTo>
                <a:cubicBezTo>
                  <a:pt x="376" y="610"/>
                  <a:pt x="374" y="610"/>
                  <a:pt x="374" y="610"/>
                </a:cubicBezTo>
                <a:cubicBezTo>
                  <a:pt x="373" y="609"/>
                  <a:pt x="376" y="608"/>
                  <a:pt x="376" y="609"/>
                </a:cubicBezTo>
                <a:close/>
                <a:moveTo>
                  <a:pt x="374" y="600"/>
                </a:moveTo>
                <a:cubicBezTo>
                  <a:pt x="373" y="599"/>
                  <a:pt x="375" y="599"/>
                  <a:pt x="375" y="600"/>
                </a:cubicBezTo>
                <a:cubicBezTo>
                  <a:pt x="375" y="601"/>
                  <a:pt x="374" y="600"/>
                  <a:pt x="374" y="600"/>
                </a:cubicBezTo>
                <a:close/>
                <a:moveTo>
                  <a:pt x="372" y="610"/>
                </a:moveTo>
                <a:cubicBezTo>
                  <a:pt x="371" y="610"/>
                  <a:pt x="373" y="609"/>
                  <a:pt x="373" y="610"/>
                </a:cubicBezTo>
                <a:cubicBezTo>
                  <a:pt x="373" y="610"/>
                  <a:pt x="373" y="611"/>
                  <a:pt x="372" y="610"/>
                </a:cubicBezTo>
                <a:close/>
                <a:moveTo>
                  <a:pt x="364" y="137"/>
                </a:moveTo>
                <a:cubicBezTo>
                  <a:pt x="364" y="138"/>
                  <a:pt x="364" y="137"/>
                  <a:pt x="363" y="138"/>
                </a:cubicBezTo>
                <a:cubicBezTo>
                  <a:pt x="363" y="137"/>
                  <a:pt x="364" y="137"/>
                  <a:pt x="364" y="137"/>
                </a:cubicBezTo>
                <a:close/>
                <a:moveTo>
                  <a:pt x="376" y="167"/>
                </a:moveTo>
                <a:cubicBezTo>
                  <a:pt x="377" y="168"/>
                  <a:pt x="373" y="170"/>
                  <a:pt x="371" y="170"/>
                </a:cubicBezTo>
                <a:cubicBezTo>
                  <a:pt x="371" y="170"/>
                  <a:pt x="368" y="169"/>
                  <a:pt x="367" y="169"/>
                </a:cubicBezTo>
                <a:cubicBezTo>
                  <a:pt x="367" y="168"/>
                  <a:pt x="371" y="165"/>
                  <a:pt x="373" y="168"/>
                </a:cubicBezTo>
                <a:cubicBezTo>
                  <a:pt x="373" y="168"/>
                  <a:pt x="373" y="169"/>
                  <a:pt x="373" y="169"/>
                </a:cubicBezTo>
                <a:cubicBezTo>
                  <a:pt x="374" y="169"/>
                  <a:pt x="375" y="168"/>
                  <a:pt x="376" y="167"/>
                </a:cubicBezTo>
                <a:close/>
                <a:moveTo>
                  <a:pt x="369" y="576"/>
                </a:moveTo>
                <a:cubicBezTo>
                  <a:pt x="369" y="574"/>
                  <a:pt x="371" y="574"/>
                  <a:pt x="369" y="576"/>
                </a:cubicBezTo>
                <a:close/>
                <a:moveTo>
                  <a:pt x="368" y="211"/>
                </a:moveTo>
                <a:cubicBezTo>
                  <a:pt x="367" y="211"/>
                  <a:pt x="368" y="209"/>
                  <a:pt x="369" y="210"/>
                </a:cubicBezTo>
                <a:cubicBezTo>
                  <a:pt x="369" y="210"/>
                  <a:pt x="368" y="211"/>
                  <a:pt x="368" y="211"/>
                </a:cubicBezTo>
                <a:close/>
                <a:moveTo>
                  <a:pt x="368" y="576"/>
                </a:moveTo>
                <a:cubicBezTo>
                  <a:pt x="370" y="575"/>
                  <a:pt x="366" y="578"/>
                  <a:pt x="368" y="576"/>
                </a:cubicBezTo>
                <a:close/>
                <a:moveTo>
                  <a:pt x="379" y="184"/>
                </a:moveTo>
                <a:cubicBezTo>
                  <a:pt x="379" y="183"/>
                  <a:pt x="380" y="182"/>
                  <a:pt x="380" y="183"/>
                </a:cubicBezTo>
                <a:cubicBezTo>
                  <a:pt x="380" y="184"/>
                  <a:pt x="379" y="184"/>
                  <a:pt x="379" y="184"/>
                </a:cubicBezTo>
                <a:close/>
                <a:moveTo>
                  <a:pt x="356" y="609"/>
                </a:moveTo>
                <a:cubicBezTo>
                  <a:pt x="355" y="611"/>
                  <a:pt x="353" y="609"/>
                  <a:pt x="356" y="609"/>
                </a:cubicBezTo>
                <a:close/>
                <a:moveTo>
                  <a:pt x="354" y="556"/>
                </a:moveTo>
                <a:cubicBezTo>
                  <a:pt x="353" y="557"/>
                  <a:pt x="352" y="555"/>
                  <a:pt x="354" y="556"/>
                </a:cubicBezTo>
                <a:close/>
                <a:moveTo>
                  <a:pt x="352" y="532"/>
                </a:moveTo>
                <a:cubicBezTo>
                  <a:pt x="354" y="530"/>
                  <a:pt x="354" y="533"/>
                  <a:pt x="352" y="532"/>
                </a:cubicBezTo>
                <a:close/>
                <a:moveTo>
                  <a:pt x="354" y="674"/>
                </a:moveTo>
                <a:cubicBezTo>
                  <a:pt x="354" y="673"/>
                  <a:pt x="355" y="673"/>
                  <a:pt x="355" y="673"/>
                </a:cubicBezTo>
                <a:cubicBezTo>
                  <a:pt x="355" y="674"/>
                  <a:pt x="354" y="674"/>
                  <a:pt x="354" y="674"/>
                </a:cubicBezTo>
                <a:close/>
                <a:moveTo>
                  <a:pt x="357" y="697"/>
                </a:moveTo>
                <a:cubicBezTo>
                  <a:pt x="357" y="696"/>
                  <a:pt x="359" y="695"/>
                  <a:pt x="359" y="696"/>
                </a:cubicBezTo>
                <a:cubicBezTo>
                  <a:pt x="359" y="697"/>
                  <a:pt x="357" y="698"/>
                  <a:pt x="357" y="697"/>
                </a:cubicBezTo>
                <a:close/>
                <a:moveTo>
                  <a:pt x="357" y="671"/>
                </a:moveTo>
                <a:cubicBezTo>
                  <a:pt x="358" y="671"/>
                  <a:pt x="358" y="671"/>
                  <a:pt x="358" y="672"/>
                </a:cubicBezTo>
                <a:cubicBezTo>
                  <a:pt x="358" y="673"/>
                  <a:pt x="356" y="671"/>
                  <a:pt x="357" y="671"/>
                </a:cubicBezTo>
                <a:close/>
                <a:moveTo>
                  <a:pt x="360" y="643"/>
                </a:moveTo>
                <a:cubicBezTo>
                  <a:pt x="360" y="642"/>
                  <a:pt x="362" y="643"/>
                  <a:pt x="360" y="643"/>
                </a:cubicBezTo>
                <a:close/>
                <a:moveTo>
                  <a:pt x="360" y="630"/>
                </a:moveTo>
                <a:cubicBezTo>
                  <a:pt x="358" y="633"/>
                  <a:pt x="350" y="631"/>
                  <a:pt x="351" y="627"/>
                </a:cubicBezTo>
                <a:cubicBezTo>
                  <a:pt x="352" y="621"/>
                  <a:pt x="365" y="624"/>
                  <a:pt x="360" y="630"/>
                </a:cubicBezTo>
                <a:close/>
                <a:moveTo>
                  <a:pt x="371" y="611"/>
                </a:moveTo>
                <a:cubicBezTo>
                  <a:pt x="368" y="612"/>
                  <a:pt x="365" y="612"/>
                  <a:pt x="362" y="613"/>
                </a:cubicBezTo>
                <a:cubicBezTo>
                  <a:pt x="364" y="612"/>
                  <a:pt x="368" y="611"/>
                  <a:pt x="371" y="611"/>
                </a:cubicBezTo>
                <a:close/>
                <a:moveTo>
                  <a:pt x="363" y="671"/>
                </a:moveTo>
                <a:cubicBezTo>
                  <a:pt x="363" y="671"/>
                  <a:pt x="364" y="671"/>
                  <a:pt x="365" y="671"/>
                </a:cubicBezTo>
                <a:cubicBezTo>
                  <a:pt x="364" y="672"/>
                  <a:pt x="363" y="672"/>
                  <a:pt x="363" y="671"/>
                </a:cubicBezTo>
                <a:close/>
                <a:moveTo>
                  <a:pt x="364" y="691"/>
                </a:moveTo>
                <a:cubicBezTo>
                  <a:pt x="364" y="690"/>
                  <a:pt x="365" y="691"/>
                  <a:pt x="365" y="691"/>
                </a:cubicBezTo>
                <a:cubicBezTo>
                  <a:pt x="366" y="691"/>
                  <a:pt x="364" y="691"/>
                  <a:pt x="364" y="691"/>
                </a:cubicBezTo>
                <a:close/>
                <a:moveTo>
                  <a:pt x="365" y="647"/>
                </a:moveTo>
                <a:cubicBezTo>
                  <a:pt x="365" y="646"/>
                  <a:pt x="366" y="646"/>
                  <a:pt x="366" y="646"/>
                </a:cubicBezTo>
                <a:cubicBezTo>
                  <a:pt x="367" y="647"/>
                  <a:pt x="365" y="647"/>
                  <a:pt x="365" y="647"/>
                </a:cubicBezTo>
                <a:close/>
                <a:moveTo>
                  <a:pt x="370" y="666"/>
                </a:moveTo>
                <a:cubicBezTo>
                  <a:pt x="370" y="664"/>
                  <a:pt x="373" y="665"/>
                  <a:pt x="372" y="666"/>
                </a:cubicBezTo>
                <a:cubicBezTo>
                  <a:pt x="372" y="667"/>
                  <a:pt x="370" y="667"/>
                  <a:pt x="370" y="666"/>
                </a:cubicBezTo>
                <a:close/>
                <a:moveTo>
                  <a:pt x="371" y="691"/>
                </a:moveTo>
                <a:cubicBezTo>
                  <a:pt x="372" y="690"/>
                  <a:pt x="373" y="691"/>
                  <a:pt x="374" y="691"/>
                </a:cubicBezTo>
                <a:cubicBezTo>
                  <a:pt x="374" y="692"/>
                  <a:pt x="372" y="691"/>
                  <a:pt x="371" y="691"/>
                </a:cubicBezTo>
                <a:close/>
                <a:moveTo>
                  <a:pt x="379" y="659"/>
                </a:moveTo>
                <a:cubicBezTo>
                  <a:pt x="379" y="658"/>
                  <a:pt x="377" y="660"/>
                  <a:pt x="377" y="658"/>
                </a:cubicBezTo>
                <a:cubicBezTo>
                  <a:pt x="376" y="657"/>
                  <a:pt x="380" y="657"/>
                  <a:pt x="379" y="659"/>
                </a:cubicBezTo>
                <a:close/>
                <a:moveTo>
                  <a:pt x="381" y="691"/>
                </a:moveTo>
                <a:cubicBezTo>
                  <a:pt x="380" y="691"/>
                  <a:pt x="382" y="690"/>
                  <a:pt x="383" y="691"/>
                </a:cubicBezTo>
                <a:cubicBezTo>
                  <a:pt x="382" y="691"/>
                  <a:pt x="381" y="691"/>
                  <a:pt x="381" y="691"/>
                </a:cubicBezTo>
                <a:close/>
                <a:moveTo>
                  <a:pt x="382" y="658"/>
                </a:moveTo>
                <a:cubicBezTo>
                  <a:pt x="380" y="659"/>
                  <a:pt x="379" y="657"/>
                  <a:pt x="382" y="658"/>
                </a:cubicBezTo>
                <a:close/>
                <a:moveTo>
                  <a:pt x="383" y="691"/>
                </a:moveTo>
                <a:cubicBezTo>
                  <a:pt x="384" y="691"/>
                  <a:pt x="385" y="691"/>
                  <a:pt x="386" y="691"/>
                </a:cubicBezTo>
                <a:cubicBezTo>
                  <a:pt x="386" y="691"/>
                  <a:pt x="384" y="691"/>
                  <a:pt x="383" y="691"/>
                </a:cubicBezTo>
                <a:close/>
                <a:moveTo>
                  <a:pt x="387" y="696"/>
                </a:move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ubicBezTo>
                  <a:pt x="387" y="696"/>
                  <a:pt x="387" y="696"/>
                  <a:pt x="387" y="696"/>
                </a:cubicBezTo>
                <a:close/>
                <a:moveTo>
                  <a:pt x="384" y="662"/>
                </a:moveTo>
                <a:cubicBezTo>
                  <a:pt x="384" y="660"/>
                  <a:pt x="388" y="661"/>
                  <a:pt x="388" y="662"/>
                </a:cubicBezTo>
                <a:cubicBezTo>
                  <a:pt x="388" y="663"/>
                  <a:pt x="385" y="664"/>
                  <a:pt x="384" y="662"/>
                </a:cubicBezTo>
                <a:close/>
                <a:moveTo>
                  <a:pt x="398" y="679"/>
                </a:moveTo>
                <a:cubicBezTo>
                  <a:pt x="400" y="678"/>
                  <a:pt x="400" y="680"/>
                  <a:pt x="398" y="679"/>
                </a:cubicBezTo>
                <a:close/>
                <a:moveTo>
                  <a:pt x="401" y="664"/>
                </a:moveTo>
                <a:cubicBezTo>
                  <a:pt x="402" y="662"/>
                  <a:pt x="405" y="663"/>
                  <a:pt x="406" y="663"/>
                </a:cubicBezTo>
                <a:cubicBezTo>
                  <a:pt x="406" y="663"/>
                  <a:pt x="407" y="664"/>
                  <a:pt x="407" y="664"/>
                </a:cubicBezTo>
                <a:cubicBezTo>
                  <a:pt x="406" y="664"/>
                  <a:pt x="408" y="663"/>
                  <a:pt x="409" y="664"/>
                </a:cubicBezTo>
                <a:cubicBezTo>
                  <a:pt x="409" y="665"/>
                  <a:pt x="400" y="667"/>
                  <a:pt x="401" y="664"/>
                </a:cubicBezTo>
                <a:close/>
                <a:moveTo>
                  <a:pt x="411" y="704"/>
                </a:moveTo>
                <a:cubicBezTo>
                  <a:pt x="410" y="704"/>
                  <a:pt x="411" y="704"/>
                  <a:pt x="411" y="704"/>
                </a:cubicBezTo>
                <a:cubicBezTo>
                  <a:pt x="411" y="704"/>
                  <a:pt x="411" y="704"/>
                  <a:pt x="411" y="704"/>
                </a:cubicBezTo>
                <a:close/>
                <a:moveTo>
                  <a:pt x="409" y="648"/>
                </a:moveTo>
                <a:cubicBezTo>
                  <a:pt x="403" y="650"/>
                  <a:pt x="397" y="649"/>
                  <a:pt x="391" y="651"/>
                </a:cubicBezTo>
                <a:cubicBezTo>
                  <a:pt x="386" y="652"/>
                  <a:pt x="381" y="655"/>
                  <a:pt x="376" y="654"/>
                </a:cubicBezTo>
                <a:cubicBezTo>
                  <a:pt x="375" y="654"/>
                  <a:pt x="375" y="653"/>
                  <a:pt x="375" y="653"/>
                </a:cubicBezTo>
                <a:cubicBezTo>
                  <a:pt x="374" y="652"/>
                  <a:pt x="384" y="650"/>
                  <a:pt x="387" y="650"/>
                </a:cubicBezTo>
                <a:cubicBezTo>
                  <a:pt x="393" y="649"/>
                  <a:pt x="396" y="649"/>
                  <a:pt x="401" y="648"/>
                </a:cubicBezTo>
                <a:cubicBezTo>
                  <a:pt x="403" y="648"/>
                  <a:pt x="408" y="646"/>
                  <a:pt x="410" y="646"/>
                </a:cubicBezTo>
                <a:cubicBezTo>
                  <a:pt x="413" y="647"/>
                  <a:pt x="409" y="648"/>
                  <a:pt x="409" y="648"/>
                </a:cubicBezTo>
                <a:close/>
                <a:moveTo>
                  <a:pt x="394" y="589"/>
                </a:moveTo>
                <a:cubicBezTo>
                  <a:pt x="394" y="588"/>
                  <a:pt x="395" y="588"/>
                  <a:pt x="395" y="589"/>
                </a:cubicBezTo>
                <a:cubicBezTo>
                  <a:pt x="395" y="589"/>
                  <a:pt x="394" y="590"/>
                  <a:pt x="394" y="589"/>
                </a:cubicBezTo>
                <a:close/>
                <a:moveTo>
                  <a:pt x="398" y="605"/>
                </a:moveTo>
                <a:cubicBezTo>
                  <a:pt x="398" y="605"/>
                  <a:pt x="399" y="604"/>
                  <a:pt x="399" y="604"/>
                </a:cubicBezTo>
                <a:cubicBezTo>
                  <a:pt x="398" y="604"/>
                  <a:pt x="396" y="605"/>
                  <a:pt x="395" y="605"/>
                </a:cubicBezTo>
                <a:cubicBezTo>
                  <a:pt x="395" y="605"/>
                  <a:pt x="399" y="603"/>
                  <a:pt x="400" y="603"/>
                </a:cubicBezTo>
                <a:cubicBezTo>
                  <a:pt x="401" y="603"/>
                  <a:pt x="404" y="605"/>
                  <a:pt x="404" y="605"/>
                </a:cubicBezTo>
                <a:cubicBezTo>
                  <a:pt x="404" y="606"/>
                  <a:pt x="400" y="608"/>
                  <a:pt x="398" y="605"/>
                </a:cubicBezTo>
                <a:close/>
                <a:moveTo>
                  <a:pt x="403" y="636"/>
                </a:moveTo>
                <a:cubicBezTo>
                  <a:pt x="403" y="636"/>
                  <a:pt x="404" y="637"/>
                  <a:pt x="404" y="636"/>
                </a:cubicBezTo>
                <a:cubicBezTo>
                  <a:pt x="404" y="637"/>
                  <a:pt x="403" y="637"/>
                  <a:pt x="403" y="636"/>
                </a:cubicBezTo>
                <a:close/>
                <a:moveTo>
                  <a:pt x="406" y="193"/>
                </a:moveTo>
                <a:cubicBezTo>
                  <a:pt x="406" y="195"/>
                  <a:pt x="404" y="195"/>
                  <a:pt x="406" y="193"/>
                </a:cubicBezTo>
                <a:close/>
                <a:moveTo>
                  <a:pt x="407" y="192"/>
                </a:moveTo>
                <a:cubicBezTo>
                  <a:pt x="406" y="194"/>
                  <a:pt x="409" y="190"/>
                  <a:pt x="407" y="192"/>
                </a:cubicBezTo>
                <a:close/>
                <a:moveTo>
                  <a:pt x="410" y="563"/>
                </a:moveTo>
                <a:cubicBezTo>
                  <a:pt x="410" y="564"/>
                  <a:pt x="410" y="565"/>
                  <a:pt x="409" y="564"/>
                </a:cubicBezTo>
                <a:cubicBezTo>
                  <a:pt x="408" y="564"/>
                  <a:pt x="409" y="563"/>
                  <a:pt x="410" y="563"/>
                </a:cubicBezTo>
                <a:close/>
                <a:moveTo>
                  <a:pt x="412" y="687"/>
                </a:moveTo>
                <a:cubicBezTo>
                  <a:pt x="414" y="686"/>
                  <a:pt x="414" y="687"/>
                  <a:pt x="412" y="687"/>
                </a:cubicBezTo>
                <a:close/>
                <a:moveTo>
                  <a:pt x="391" y="194"/>
                </a:moveTo>
                <a:cubicBezTo>
                  <a:pt x="391" y="194"/>
                  <a:pt x="389" y="196"/>
                  <a:pt x="388" y="195"/>
                </a:cubicBezTo>
                <a:cubicBezTo>
                  <a:pt x="388" y="194"/>
                  <a:pt x="391" y="193"/>
                  <a:pt x="390" y="194"/>
                </a:cubicBezTo>
                <a:cubicBezTo>
                  <a:pt x="398" y="189"/>
                  <a:pt x="408" y="183"/>
                  <a:pt x="417" y="179"/>
                </a:cubicBezTo>
                <a:cubicBezTo>
                  <a:pt x="409" y="185"/>
                  <a:pt x="400" y="189"/>
                  <a:pt x="391" y="194"/>
                </a:cubicBezTo>
                <a:close/>
                <a:moveTo>
                  <a:pt x="414" y="158"/>
                </a:moveTo>
                <a:cubicBezTo>
                  <a:pt x="415" y="156"/>
                  <a:pt x="417" y="157"/>
                  <a:pt x="414" y="158"/>
                </a:cubicBezTo>
                <a:close/>
                <a:moveTo>
                  <a:pt x="407" y="137"/>
                </a:moveTo>
                <a:cubicBezTo>
                  <a:pt x="409" y="134"/>
                  <a:pt x="417" y="135"/>
                  <a:pt x="417" y="139"/>
                </a:cubicBezTo>
                <a:cubicBezTo>
                  <a:pt x="417" y="145"/>
                  <a:pt x="403" y="144"/>
                  <a:pt x="407" y="137"/>
                </a:cubicBezTo>
                <a:close/>
                <a:moveTo>
                  <a:pt x="418" y="140"/>
                </a:moveTo>
                <a:cubicBezTo>
                  <a:pt x="418" y="139"/>
                  <a:pt x="419" y="142"/>
                  <a:pt x="418" y="140"/>
                </a:cubicBezTo>
                <a:close/>
                <a:moveTo>
                  <a:pt x="420" y="672"/>
                </a:moveTo>
                <a:cubicBezTo>
                  <a:pt x="419" y="672"/>
                  <a:pt x="418" y="672"/>
                  <a:pt x="418" y="672"/>
                </a:cubicBezTo>
                <a:cubicBezTo>
                  <a:pt x="418" y="671"/>
                  <a:pt x="432" y="670"/>
                  <a:pt x="435" y="670"/>
                </a:cubicBezTo>
                <a:cubicBezTo>
                  <a:pt x="437" y="671"/>
                  <a:pt x="433" y="672"/>
                  <a:pt x="432" y="672"/>
                </a:cubicBezTo>
                <a:cubicBezTo>
                  <a:pt x="428" y="672"/>
                  <a:pt x="423" y="673"/>
                  <a:pt x="420" y="672"/>
                </a:cubicBezTo>
                <a:close/>
                <a:moveTo>
                  <a:pt x="425" y="681"/>
                </a:moveTo>
                <a:cubicBezTo>
                  <a:pt x="425" y="681"/>
                  <a:pt x="425" y="680"/>
                  <a:pt x="425" y="680"/>
                </a:cubicBezTo>
                <a:cubicBezTo>
                  <a:pt x="425" y="680"/>
                  <a:pt x="425" y="680"/>
                  <a:pt x="425" y="681"/>
                </a:cubicBezTo>
                <a:cubicBezTo>
                  <a:pt x="425" y="681"/>
                  <a:pt x="425" y="681"/>
                  <a:pt x="425" y="681"/>
                </a:cubicBezTo>
                <a:cubicBezTo>
                  <a:pt x="426" y="681"/>
                  <a:pt x="426" y="681"/>
                  <a:pt x="425" y="681"/>
                </a:cubicBezTo>
                <a:close/>
                <a:moveTo>
                  <a:pt x="429" y="674"/>
                </a:moveTo>
                <a:cubicBezTo>
                  <a:pt x="429" y="674"/>
                  <a:pt x="426" y="674"/>
                  <a:pt x="428" y="673"/>
                </a:cubicBezTo>
                <a:cubicBezTo>
                  <a:pt x="431" y="672"/>
                  <a:pt x="437" y="672"/>
                  <a:pt x="441" y="672"/>
                </a:cubicBezTo>
                <a:cubicBezTo>
                  <a:pt x="438" y="673"/>
                  <a:pt x="433" y="674"/>
                  <a:pt x="429" y="674"/>
                </a:cubicBezTo>
                <a:close/>
                <a:moveTo>
                  <a:pt x="442" y="672"/>
                </a:moveTo>
                <a:cubicBezTo>
                  <a:pt x="444" y="671"/>
                  <a:pt x="448" y="669"/>
                  <a:pt x="452" y="670"/>
                </a:cubicBezTo>
                <a:cubicBezTo>
                  <a:pt x="449" y="671"/>
                  <a:pt x="445" y="671"/>
                  <a:pt x="442" y="672"/>
                </a:cubicBezTo>
                <a:close/>
                <a:moveTo>
                  <a:pt x="449" y="142"/>
                </a:moveTo>
                <a:cubicBezTo>
                  <a:pt x="450" y="141"/>
                  <a:pt x="450" y="141"/>
                  <a:pt x="451" y="142"/>
                </a:cubicBezTo>
                <a:cubicBezTo>
                  <a:pt x="451" y="142"/>
                  <a:pt x="450" y="142"/>
                  <a:pt x="449" y="142"/>
                </a:cubicBezTo>
                <a:close/>
                <a:moveTo>
                  <a:pt x="451" y="148"/>
                </a:moveTo>
                <a:cubicBezTo>
                  <a:pt x="452" y="149"/>
                  <a:pt x="450" y="147"/>
                  <a:pt x="451" y="148"/>
                </a:cubicBezTo>
                <a:close/>
                <a:moveTo>
                  <a:pt x="446" y="79"/>
                </a:moveTo>
                <a:cubicBezTo>
                  <a:pt x="448" y="77"/>
                  <a:pt x="450" y="78"/>
                  <a:pt x="452" y="77"/>
                </a:cubicBezTo>
                <a:cubicBezTo>
                  <a:pt x="451" y="78"/>
                  <a:pt x="448" y="79"/>
                  <a:pt x="446" y="79"/>
                </a:cubicBezTo>
                <a:close/>
                <a:moveTo>
                  <a:pt x="454" y="644"/>
                </a:moveTo>
                <a:cubicBezTo>
                  <a:pt x="454" y="644"/>
                  <a:pt x="454" y="644"/>
                  <a:pt x="454" y="644"/>
                </a:cubicBezTo>
                <a:cubicBezTo>
                  <a:pt x="455" y="642"/>
                  <a:pt x="455" y="647"/>
                  <a:pt x="454" y="644"/>
                </a:cubicBezTo>
                <a:close/>
                <a:moveTo>
                  <a:pt x="449" y="66"/>
                </a:moveTo>
                <a:cubicBezTo>
                  <a:pt x="449" y="66"/>
                  <a:pt x="448" y="65"/>
                  <a:pt x="448" y="65"/>
                </a:cubicBezTo>
                <a:cubicBezTo>
                  <a:pt x="448" y="64"/>
                  <a:pt x="451" y="62"/>
                  <a:pt x="453" y="61"/>
                </a:cubicBezTo>
                <a:cubicBezTo>
                  <a:pt x="451" y="61"/>
                  <a:pt x="450" y="62"/>
                  <a:pt x="448" y="62"/>
                </a:cubicBezTo>
                <a:cubicBezTo>
                  <a:pt x="444" y="62"/>
                  <a:pt x="452" y="60"/>
                  <a:pt x="453" y="60"/>
                </a:cubicBezTo>
                <a:cubicBezTo>
                  <a:pt x="458" y="59"/>
                  <a:pt x="462" y="58"/>
                  <a:pt x="466" y="57"/>
                </a:cubicBezTo>
                <a:cubicBezTo>
                  <a:pt x="468" y="57"/>
                  <a:pt x="475" y="56"/>
                  <a:pt x="475" y="57"/>
                </a:cubicBezTo>
                <a:cubicBezTo>
                  <a:pt x="476" y="58"/>
                  <a:pt x="468" y="59"/>
                  <a:pt x="465" y="59"/>
                </a:cubicBezTo>
                <a:cubicBezTo>
                  <a:pt x="461" y="60"/>
                  <a:pt x="459" y="60"/>
                  <a:pt x="456" y="61"/>
                </a:cubicBezTo>
                <a:cubicBezTo>
                  <a:pt x="458" y="61"/>
                  <a:pt x="461" y="62"/>
                  <a:pt x="460" y="64"/>
                </a:cubicBezTo>
                <a:cubicBezTo>
                  <a:pt x="460" y="69"/>
                  <a:pt x="453" y="68"/>
                  <a:pt x="449" y="66"/>
                </a:cubicBezTo>
                <a:close/>
                <a:moveTo>
                  <a:pt x="467" y="66"/>
                </a:moveTo>
                <a:cubicBezTo>
                  <a:pt x="468" y="65"/>
                  <a:pt x="470" y="62"/>
                  <a:pt x="471" y="63"/>
                </a:cubicBezTo>
                <a:cubicBezTo>
                  <a:pt x="473" y="65"/>
                  <a:pt x="469" y="66"/>
                  <a:pt x="467" y="66"/>
                </a:cubicBezTo>
                <a:close/>
                <a:moveTo>
                  <a:pt x="459" y="100"/>
                </a:moveTo>
                <a:cubicBezTo>
                  <a:pt x="458" y="100"/>
                  <a:pt x="458" y="99"/>
                  <a:pt x="459" y="98"/>
                </a:cubicBezTo>
                <a:cubicBezTo>
                  <a:pt x="461" y="96"/>
                  <a:pt x="462" y="100"/>
                  <a:pt x="459" y="100"/>
                </a:cubicBezTo>
                <a:close/>
                <a:moveTo>
                  <a:pt x="456" y="149"/>
                </a:moveTo>
                <a:cubicBezTo>
                  <a:pt x="456" y="149"/>
                  <a:pt x="460" y="145"/>
                  <a:pt x="461" y="146"/>
                </a:cubicBezTo>
                <a:cubicBezTo>
                  <a:pt x="463" y="148"/>
                  <a:pt x="457" y="150"/>
                  <a:pt x="456" y="149"/>
                </a:cubicBezTo>
                <a:close/>
                <a:moveTo>
                  <a:pt x="462" y="681"/>
                </a:moveTo>
                <a:cubicBezTo>
                  <a:pt x="464" y="680"/>
                  <a:pt x="464" y="682"/>
                  <a:pt x="462" y="681"/>
                </a:cubicBezTo>
                <a:close/>
                <a:moveTo>
                  <a:pt x="464" y="170"/>
                </a:moveTo>
                <a:cubicBezTo>
                  <a:pt x="463" y="171"/>
                  <a:pt x="461" y="171"/>
                  <a:pt x="460" y="171"/>
                </a:cubicBezTo>
                <a:cubicBezTo>
                  <a:pt x="459" y="172"/>
                  <a:pt x="459" y="172"/>
                  <a:pt x="458" y="172"/>
                </a:cubicBezTo>
                <a:cubicBezTo>
                  <a:pt x="459" y="172"/>
                  <a:pt x="459" y="172"/>
                  <a:pt x="460" y="171"/>
                </a:cubicBezTo>
                <a:cubicBezTo>
                  <a:pt x="462" y="170"/>
                  <a:pt x="464" y="168"/>
                  <a:pt x="465" y="168"/>
                </a:cubicBezTo>
                <a:cubicBezTo>
                  <a:pt x="468" y="167"/>
                  <a:pt x="464" y="170"/>
                  <a:pt x="464" y="170"/>
                </a:cubicBezTo>
                <a:close/>
                <a:moveTo>
                  <a:pt x="466" y="68"/>
                </a:moveTo>
                <a:cubicBezTo>
                  <a:pt x="466" y="68"/>
                  <a:pt x="466" y="68"/>
                  <a:pt x="466" y="68"/>
                </a:cubicBezTo>
                <a:cubicBezTo>
                  <a:pt x="467" y="70"/>
                  <a:pt x="464" y="67"/>
                  <a:pt x="466" y="68"/>
                </a:cubicBezTo>
                <a:close/>
                <a:moveTo>
                  <a:pt x="468" y="241"/>
                </a:moveTo>
                <a:cubicBezTo>
                  <a:pt x="468" y="243"/>
                  <a:pt x="465" y="242"/>
                  <a:pt x="468" y="241"/>
                </a:cubicBezTo>
                <a:close/>
                <a:moveTo>
                  <a:pt x="470" y="75"/>
                </a:moveTo>
                <a:cubicBezTo>
                  <a:pt x="470" y="75"/>
                  <a:pt x="470" y="76"/>
                  <a:pt x="470" y="77"/>
                </a:cubicBezTo>
                <a:cubicBezTo>
                  <a:pt x="471" y="77"/>
                  <a:pt x="472" y="75"/>
                  <a:pt x="472" y="75"/>
                </a:cubicBezTo>
                <a:cubicBezTo>
                  <a:pt x="472" y="74"/>
                  <a:pt x="471" y="74"/>
                  <a:pt x="471" y="73"/>
                </a:cubicBezTo>
                <a:cubicBezTo>
                  <a:pt x="471" y="74"/>
                  <a:pt x="470" y="73"/>
                  <a:pt x="471" y="73"/>
                </a:cubicBezTo>
                <a:cubicBezTo>
                  <a:pt x="472" y="72"/>
                  <a:pt x="473" y="73"/>
                  <a:pt x="473" y="73"/>
                </a:cubicBezTo>
                <a:cubicBezTo>
                  <a:pt x="474" y="72"/>
                  <a:pt x="475" y="72"/>
                  <a:pt x="476" y="72"/>
                </a:cubicBezTo>
                <a:cubicBezTo>
                  <a:pt x="477" y="72"/>
                  <a:pt x="481" y="75"/>
                  <a:pt x="478" y="76"/>
                </a:cubicBezTo>
                <a:cubicBezTo>
                  <a:pt x="476" y="77"/>
                  <a:pt x="471" y="78"/>
                  <a:pt x="469" y="77"/>
                </a:cubicBezTo>
                <a:cubicBezTo>
                  <a:pt x="468" y="77"/>
                  <a:pt x="468" y="74"/>
                  <a:pt x="470" y="75"/>
                </a:cubicBezTo>
                <a:close/>
                <a:moveTo>
                  <a:pt x="478" y="117"/>
                </a:moveTo>
                <a:cubicBezTo>
                  <a:pt x="479" y="118"/>
                  <a:pt x="477" y="118"/>
                  <a:pt x="476" y="118"/>
                </a:cubicBezTo>
                <a:cubicBezTo>
                  <a:pt x="476" y="117"/>
                  <a:pt x="478" y="117"/>
                  <a:pt x="478" y="117"/>
                </a:cubicBezTo>
                <a:close/>
                <a:moveTo>
                  <a:pt x="478" y="100"/>
                </a:move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ubicBezTo>
                  <a:pt x="478" y="100"/>
                  <a:pt x="478" y="100"/>
                  <a:pt x="478" y="100"/>
                </a:cubicBezTo>
                <a:close/>
                <a:moveTo>
                  <a:pt x="478" y="100"/>
                </a:moveTo>
                <a:cubicBezTo>
                  <a:pt x="479" y="100"/>
                  <a:pt x="478" y="100"/>
                  <a:pt x="478" y="100"/>
                </a:cubicBezTo>
                <a:close/>
                <a:moveTo>
                  <a:pt x="476" y="97"/>
                </a:moveTo>
                <a:cubicBezTo>
                  <a:pt x="475" y="96"/>
                  <a:pt x="478" y="96"/>
                  <a:pt x="478" y="96"/>
                </a:cubicBezTo>
                <a:cubicBezTo>
                  <a:pt x="479" y="96"/>
                  <a:pt x="476" y="97"/>
                  <a:pt x="476" y="97"/>
                </a:cubicBezTo>
                <a:close/>
                <a:moveTo>
                  <a:pt x="474" y="91"/>
                </a:moveTo>
                <a:cubicBezTo>
                  <a:pt x="474" y="90"/>
                  <a:pt x="475" y="90"/>
                  <a:pt x="476" y="90"/>
                </a:cubicBezTo>
                <a:cubicBezTo>
                  <a:pt x="477" y="92"/>
                  <a:pt x="474" y="92"/>
                  <a:pt x="474" y="91"/>
                </a:cubicBezTo>
                <a:close/>
                <a:moveTo>
                  <a:pt x="477" y="107"/>
                </a:moveTo>
                <a:cubicBezTo>
                  <a:pt x="477" y="109"/>
                  <a:pt x="474" y="111"/>
                  <a:pt x="473" y="109"/>
                </a:cubicBezTo>
                <a:cubicBezTo>
                  <a:pt x="469" y="106"/>
                  <a:pt x="477" y="104"/>
                  <a:pt x="477" y="107"/>
                </a:cubicBezTo>
                <a:close/>
                <a:moveTo>
                  <a:pt x="472" y="112"/>
                </a:moveTo>
                <a:cubicBezTo>
                  <a:pt x="475" y="114"/>
                  <a:pt x="468" y="116"/>
                  <a:pt x="470" y="113"/>
                </a:cubicBezTo>
                <a:cubicBezTo>
                  <a:pt x="471" y="112"/>
                  <a:pt x="472" y="112"/>
                  <a:pt x="472" y="112"/>
                </a:cubicBezTo>
                <a:close/>
                <a:moveTo>
                  <a:pt x="475" y="122"/>
                </a:moveTo>
                <a:cubicBezTo>
                  <a:pt x="474" y="122"/>
                  <a:pt x="473" y="123"/>
                  <a:pt x="472" y="123"/>
                </a:cubicBezTo>
                <a:cubicBezTo>
                  <a:pt x="472" y="123"/>
                  <a:pt x="473" y="121"/>
                  <a:pt x="475" y="122"/>
                </a:cubicBezTo>
                <a:close/>
                <a:moveTo>
                  <a:pt x="474" y="123"/>
                </a:moveTo>
                <a:cubicBezTo>
                  <a:pt x="474" y="123"/>
                  <a:pt x="475" y="123"/>
                  <a:pt x="475" y="124"/>
                </a:cubicBezTo>
                <a:cubicBezTo>
                  <a:pt x="475" y="124"/>
                  <a:pt x="474" y="124"/>
                  <a:pt x="474" y="123"/>
                </a:cubicBezTo>
                <a:close/>
                <a:moveTo>
                  <a:pt x="477" y="158"/>
                </a:moveTo>
                <a:cubicBezTo>
                  <a:pt x="477" y="158"/>
                  <a:pt x="476" y="159"/>
                  <a:pt x="475" y="159"/>
                </a:cubicBezTo>
                <a:cubicBezTo>
                  <a:pt x="475" y="159"/>
                  <a:pt x="476" y="158"/>
                  <a:pt x="477" y="158"/>
                </a:cubicBezTo>
                <a:close/>
                <a:moveTo>
                  <a:pt x="476" y="121"/>
                </a:moveTo>
                <a:cubicBezTo>
                  <a:pt x="477" y="121"/>
                  <a:pt x="478" y="119"/>
                  <a:pt x="479" y="120"/>
                </a:cubicBezTo>
                <a:cubicBezTo>
                  <a:pt x="478" y="121"/>
                  <a:pt x="477" y="121"/>
                  <a:pt x="476" y="121"/>
                </a:cubicBezTo>
                <a:close/>
                <a:moveTo>
                  <a:pt x="472" y="165"/>
                </a:moveTo>
                <a:cubicBezTo>
                  <a:pt x="472" y="166"/>
                  <a:pt x="470" y="167"/>
                  <a:pt x="469" y="168"/>
                </a:cubicBezTo>
                <a:cubicBezTo>
                  <a:pt x="469" y="166"/>
                  <a:pt x="471" y="166"/>
                  <a:pt x="472" y="165"/>
                </a:cubicBezTo>
                <a:close/>
                <a:moveTo>
                  <a:pt x="471" y="178"/>
                </a:moveTo>
                <a:cubicBezTo>
                  <a:pt x="471" y="175"/>
                  <a:pt x="476" y="174"/>
                  <a:pt x="477" y="177"/>
                </a:cubicBezTo>
                <a:cubicBezTo>
                  <a:pt x="477" y="181"/>
                  <a:pt x="471" y="180"/>
                  <a:pt x="471" y="178"/>
                </a:cubicBezTo>
                <a:close/>
                <a:moveTo>
                  <a:pt x="472" y="233"/>
                </a:moveTo>
                <a:cubicBezTo>
                  <a:pt x="472" y="232"/>
                  <a:pt x="475" y="230"/>
                  <a:pt x="475" y="232"/>
                </a:cubicBezTo>
                <a:cubicBezTo>
                  <a:pt x="476" y="234"/>
                  <a:pt x="473" y="234"/>
                  <a:pt x="472" y="233"/>
                </a:cubicBezTo>
                <a:close/>
                <a:moveTo>
                  <a:pt x="475" y="180"/>
                </a:moveTo>
                <a:cubicBezTo>
                  <a:pt x="475" y="180"/>
                  <a:pt x="476" y="179"/>
                  <a:pt x="477" y="180"/>
                </a:cubicBezTo>
                <a:cubicBezTo>
                  <a:pt x="478" y="181"/>
                  <a:pt x="475" y="181"/>
                  <a:pt x="475" y="180"/>
                </a:cubicBezTo>
                <a:close/>
                <a:moveTo>
                  <a:pt x="482" y="155"/>
                </a:moveTo>
                <a:cubicBezTo>
                  <a:pt x="482" y="156"/>
                  <a:pt x="480" y="157"/>
                  <a:pt x="479" y="157"/>
                </a:cubicBezTo>
                <a:cubicBezTo>
                  <a:pt x="479" y="156"/>
                  <a:pt x="481" y="156"/>
                  <a:pt x="482" y="155"/>
                </a:cubicBezTo>
                <a:close/>
                <a:moveTo>
                  <a:pt x="479" y="164"/>
                </a:moveTo>
                <a:cubicBezTo>
                  <a:pt x="479" y="162"/>
                  <a:pt x="481" y="163"/>
                  <a:pt x="479" y="164"/>
                </a:cubicBezTo>
                <a:close/>
                <a:moveTo>
                  <a:pt x="479" y="175"/>
                </a:moveTo>
                <a:cubicBezTo>
                  <a:pt x="478" y="174"/>
                  <a:pt x="480" y="173"/>
                  <a:pt x="480" y="174"/>
                </a:cubicBezTo>
                <a:cubicBezTo>
                  <a:pt x="480" y="175"/>
                  <a:pt x="480" y="175"/>
                  <a:pt x="479" y="175"/>
                </a:cubicBezTo>
                <a:close/>
                <a:moveTo>
                  <a:pt x="480" y="164"/>
                </a:moveTo>
                <a:cubicBezTo>
                  <a:pt x="480" y="163"/>
                  <a:pt x="484" y="161"/>
                  <a:pt x="484" y="164"/>
                </a:cubicBezTo>
                <a:cubicBezTo>
                  <a:pt x="484" y="166"/>
                  <a:pt x="480" y="166"/>
                  <a:pt x="480" y="164"/>
                </a:cubicBezTo>
                <a:close/>
                <a:moveTo>
                  <a:pt x="482" y="188"/>
                </a:moveTo>
                <a:cubicBezTo>
                  <a:pt x="482" y="187"/>
                  <a:pt x="483" y="187"/>
                  <a:pt x="484" y="187"/>
                </a:cubicBezTo>
                <a:cubicBezTo>
                  <a:pt x="484" y="187"/>
                  <a:pt x="482" y="189"/>
                  <a:pt x="482" y="188"/>
                </a:cubicBezTo>
                <a:close/>
                <a:moveTo>
                  <a:pt x="487" y="253"/>
                </a:moveTo>
                <a:cubicBezTo>
                  <a:pt x="487" y="255"/>
                  <a:pt x="485" y="254"/>
                  <a:pt x="487" y="253"/>
                </a:cubicBezTo>
                <a:close/>
                <a:moveTo>
                  <a:pt x="484" y="228"/>
                </a:moveTo>
                <a:cubicBezTo>
                  <a:pt x="482" y="226"/>
                  <a:pt x="488" y="223"/>
                  <a:pt x="488" y="227"/>
                </a:cubicBezTo>
                <a:cubicBezTo>
                  <a:pt x="488" y="228"/>
                  <a:pt x="485" y="230"/>
                  <a:pt x="484" y="228"/>
                </a:cubicBezTo>
                <a:close/>
                <a:moveTo>
                  <a:pt x="486" y="208"/>
                </a:moveTo>
                <a:cubicBezTo>
                  <a:pt x="486" y="207"/>
                  <a:pt x="488" y="206"/>
                  <a:pt x="488" y="207"/>
                </a:cubicBezTo>
                <a:cubicBezTo>
                  <a:pt x="488" y="208"/>
                  <a:pt x="487" y="209"/>
                  <a:pt x="486" y="208"/>
                </a:cubicBezTo>
                <a:close/>
                <a:moveTo>
                  <a:pt x="490" y="250"/>
                </a:moveTo>
                <a:cubicBezTo>
                  <a:pt x="490" y="248"/>
                  <a:pt x="492" y="246"/>
                  <a:pt x="493" y="245"/>
                </a:cubicBezTo>
                <a:cubicBezTo>
                  <a:pt x="493" y="246"/>
                  <a:pt x="491" y="248"/>
                  <a:pt x="490" y="250"/>
                </a:cubicBezTo>
                <a:close/>
                <a:moveTo>
                  <a:pt x="494" y="245"/>
                </a:moveTo>
                <a:cubicBezTo>
                  <a:pt x="494" y="244"/>
                  <a:pt x="495" y="243"/>
                  <a:pt x="495" y="243"/>
                </a:cubicBezTo>
                <a:cubicBezTo>
                  <a:pt x="496" y="243"/>
                  <a:pt x="494" y="245"/>
                  <a:pt x="494" y="245"/>
                </a:cubicBezTo>
                <a:close/>
                <a:moveTo>
                  <a:pt x="499" y="230"/>
                </a:moveTo>
                <a:cubicBezTo>
                  <a:pt x="499" y="229"/>
                  <a:pt x="501" y="229"/>
                  <a:pt x="501" y="229"/>
                </a:cubicBezTo>
                <a:cubicBezTo>
                  <a:pt x="502" y="229"/>
                  <a:pt x="500" y="230"/>
                  <a:pt x="499" y="230"/>
                </a:cubicBezTo>
                <a:close/>
                <a:moveTo>
                  <a:pt x="496" y="230"/>
                </a:moveTo>
                <a:cubicBezTo>
                  <a:pt x="496" y="230"/>
                  <a:pt x="491" y="233"/>
                  <a:pt x="492" y="231"/>
                </a:cubicBezTo>
                <a:cubicBezTo>
                  <a:pt x="492" y="230"/>
                  <a:pt x="497" y="229"/>
                  <a:pt x="497" y="229"/>
                </a:cubicBezTo>
                <a:cubicBezTo>
                  <a:pt x="500" y="228"/>
                  <a:pt x="503" y="225"/>
                  <a:pt x="506" y="225"/>
                </a:cubicBezTo>
                <a:cubicBezTo>
                  <a:pt x="505" y="228"/>
                  <a:pt x="498" y="229"/>
                  <a:pt x="496" y="230"/>
                </a:cubicBezTo>
                <a:close/>
                <a:moveTo>
                  <a:pt x="505" y="195"/>
                </a:moveTo>
                <a:cubicBezTo>
                  <a:pt x="505" y="194"/>
                  <a:pt x="507" y="192"/>
                  <a:pt x="508" y="193"/>
                </a:cubicBezTo>
                <a:cubicBezTo>
                  <a:pt x="508" y="194"/>
                  <a:pt x="506" y="196"/>
                  <a:pt x="505" y="195"/>
                </a:cubicBezTo>
                <a:close/>
                <a:moveTo>
                  <a:pt x="507" y="222"/>
                </a:moveTo>
                <a:cubicBezTo>
                  <a:pt x="507" y="222"/>
                  <a:pt x="508" y="222"/>
                  <a:pt x="508" y="222"/>
                </a:cubicBezTo>
                <a:cubicBezTo>
                  <a:pt x="510" y="223"/>
                  <a:pt x="504" y="225"/>
                  <a:pt x="507" y="222"/>
                </a:cubicBezTo>
                <a:close/>
                <a:moveTo>
                  <a:pt x="506" y="190"/>
                </a:moveTo>
                <a:cubicBezTo>
                  <a:pt x="506" y="189"/>
                  <a:pt x="507" y="188"/>
                  <a:pt x="509" y="188"/>
                </a:cubicBezTo>
                <a:cubicBezTo>
                  <a:pt x="508" y="189"/>
                  <a:pt x="507" y="190"/>
                  <a:pt x="506" y="190"/>
                </a:cubicBezTo>
                <a:close/>
                <a:moveTo>
                  <a:pt x="516" y="247"/>
                </a:moveTo>
                <a:cubicBezTo>
                  <a:pt x="514" y="248"/>
                  <a:pt x="511" y="250"/>
                  <a:pt x="509" y="250"/>
                </a:cubicBezTo>
                <a:cubicBezTo>
                  <a:pt x="510" y="249"/>
                  <a:pt x="514" y="248"/>
                  <a:pt x="516" y="247"/>
                </a:cubicBezTo>
                <a:close/>
                <a:moveTo>
                  <a:pt x="512" y="258"/>
                </a:moveTo>
                <a:cubicBezTo>
                  <a:pt x="512" y="255"/>
                  <a:pt x="516" y="256"/>
                  <a:pt x="516" y="257"/>
                </a:cubicBezTo>
                <a:cubicBezTo>
                  <a:pt x="517" y="258"/>
                  <a:pt x="512" y="260"/>
                  <a:pt x="512" y="258"/>
                </a:cubicBezTo>
                <a:close/>
                <a:moveTo>
                  <a:pt x="517" y="268"/>
                </a:moveTo>
                <a:cubicBezTo>
                  <a:pt x="516" y="269"/>
                  <a:pt x="517" y="268"/>
                  <a:pt x="517" y="268"/>
                </a:cubicBezTo>
                <a:cubicBezTo>
                  <a:pt x="517" y="268"/>
                  <a:pt x="517" y="268"/>
                  <a:pt x="517" y="268"/>
                </a:cubicBezTo>
                <a:close/>
                <a:moveTo>
                  <a:pt x="517" y="247"/>
                </a:moveTo>
                <a:cubicBezTo>
                  <a:pt x="517" y="247"/>
                  <a:pt x="517" y="247"/>
                  <a:pt x="517" y="247"/>
                </a:cubicBezTo>
                <a:cubicBezTo>
                  <a:pt x="518" y="247"/>
                  <a:pt x="517" y="247"/>
                  <a:pt x="517" y="247"/>
                </a:cubicBezTo>
                <a:close/>
                <a:moveTo>
                  <a:pt x="518" y="154"/>
                </a:moveTo>
                <a:cubicBezTo>
                  <a:pt x="517" y="151"/>
                  <a:pt x="524" y="153"/>
                  <a:pt x="524" y="154"/>
                </a:cubicBezTo>
                <a:cubicBezTo>
                  <a:pt x="524" y="154"/>
                  <a:pt x="523" y="155"/>
                  <a:pt x="523" y="155"/>
                </a:cubicBezTo>
                <a:cubicBezTo>
                  <a:pt x="523" y="156"/>
                  <a:pt x="522" y="158"/>
                  <a:pt x="521" y="156"/>
                </a:cubicBezTo>
                <a:cubicBezTo>
                  <a:pt x="521" y="156"/>
                  <a:pt x="521" y="155"/>
                  <a:pt x="521" y="155"/>
                </a:cubicBezTo>
                <a:cubicBezTo>
                  <a:pt x="520" y="155"/>
                  <a:pt x="518" y="155"/>
                  <a:pt x="518" y="154"/>
                </a:cubicBezTo>
                <a:close/>
                <a:moveTo>
                  <a:pt x="518" y="188"/>
                </a:moveTo>
                <a:cubicBezTo>
                  <a:pt x="518" y="186"/>
                  <a:pt x="524" y="185"/>
                  <a:pt x="524" y="188"/>
                </a:cubicBezTo>
                <a:cubicBezTo>
                  <a:pt x="524" y="190"/>
                  <a:pt x="519" y="190"/>
                  <a:pt x="518" y="188"/>
                </a:cubicBezTo>
                <a:close/>
                <a:moveTo>
                  <a:pt x="522" y="286"/>
                </a:moveTo>
                <a:cubicBezTo>
                  <a:pt x="522" y="285"/>
                  <a:pt x="522" y="285"/>
                  <a:pt x="522" y="285"/>
                </a:cubicBezTo>
                <a:cubicBezTo>
                  <a:pt x="523" y="285"/>
                  <a:pt x="522" y="286"/>
                  <a:pt x="522" y="286"/>
                </a:cubicBezTo>
                <a:close/>
                <a:moveTo>
                  <a:pt x="521" y="231"/>
                </a:moveTo>
                <a:cubicBezTo>
                  <a:pt x="518" y="232"/>
                  <a:pt x="522" y="229"/>
                  <a:pt x="523" y="228"/>
                </a:cubicBezTo>
                <a:cubicBezTo>
                  <a:pt x="524" y="226"/>
                  <a:pt x="526" y="223"/>
                  <a:pt x="528" y="220"/>
                </a:cubicBezTo>
                <a:cubicBezTo>
                  <a:pt x="528" y="221"/>
                  <a:pt x="527" y="221"/>
                  <a:pt x="527" y="220"/>
                </a:cubicBezTo>
                <a:cubicBezTo>
                  <a:pt x="527" y="220"/>
                  <a:pt x="528" y="220"/>
                  <a:pt x="528" y="220"/>
                </a:cubicBezTo>
                <a:cubicBezTo>
                  <a:pt x="528" y="220"/>
                  <a:pt x="528" y="220"/>
                  <a:pt x="528" y="220"/>
                </a:cubicBezTo>
                <a:cubicBezTo>
                  <a:pt x="529" y="219"/>
                  <a:pt x="529" y="218"/>
                  <a:pt x="530" y="218"/>
                </a:cubicBezTo>
                <a:cubicBezTo>
                  <a:pt x="530" y="218"/>
                  <a:pt x="531" y="218"/>
                  <a:pt x="531" y="218"/>
                </a:cubicBezTo>
                <a:cubicBezTo>
                  <a:pt x="531" y="218"/>
                  <a:pt x="529" y="220"/>
                  <a:pt x="528" y="222"/>
                </a:cubicBezTo>
                <a:cubicBezTo>
                  <a:pt x="527" y="223"/>
                  <a:pt x="523" y="230"/>
                  <a:pt x="521" y="231"/>
                </a:cubicBezTo>
                <a:close/>
                <a:moveTo>
                  <a:pt x="530" y="232"/>
                </a:moveTo>
                <a:cubicBezTo>
                  <a:pt x="530" y="232"/>
                  <a:pt x="530" y="232"/>
                  <a:pt x="531" y="232"/>
                </a:cubicBezTo>
                <a:cubicBezTo>
                  <a:pt x="531" y="232"/>
                  <a:pt x="530" y="233"/>
                  <a:pt x="530" y="232"/>
                </a:cubicBezTo>
                <a:close/>
                <a:moveTo>
                  <a:pt x="530" y="268"/>
                </a:move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ubicBezTo>
                  <a:pt x="530" y="268"/>
                  <a:pt x="530" y="268"/>
                  <a:pt x="530" y="268"/>
                </a:cubicBezTo>
                <a:close/>
                <a:moveTo>
                  <a:pt x="530" y="256"/>
                </a:moveTo>
                <a:cubicBezTo>
                  <a:pt x="530" y="256"/>
                  <a:pt x="531" y="255"/>
                  <a:pt x="531" y="256"/>
                </a:cubicBezTo>
                <a:cubicBezTo>
                  <a:pt x="532" y="258"/>
                  <a:pt x="529" y="258"/>
                  <a:pt x="530" y="256"/>
                </a:cubicBezTo>
                <a:close/>
                <a:moveTo>
                  <a:pt x="533" y="312"/>
                </a:moveTo>
                <a:cubicBezTo>
                  <a:pt x="533" y="311"/>
                  <a:pt x="533" y="310"/>
                  <a:pt x="534" y="310"/>
                </a:cubicBezTo>
                <a:cubicBezTo>
                  <a:pt x="536" y="308"/>
                  <a:pt x="535" y="313"/>
                  <a:pt x="533" y="312"/>
                </a:cubicBezTo>
                <a:close/>
                <a:moveTo>
                  <a:pt x="533" y="230"/>
                </a:moveTo>
                <a:cubicBezTo>
                  <a:pt x="534" y="229"/>
                  <a:pt x="535" y="232"/>
                  <a:pt x="533" y="231"/>
                </a:cubicBezTo>
                <a:cubicBezTo>
                  <a:pt x="533" y="231"/>
                  <a:pt x="533" y="230"/>
                  <a:pt x="533" y="230"/>
                </a:cubicBezTo>
                <a:close/>
                <a:moveTo>
                  <a:pt x="531" y="215"/>
                </a:moveTo>
                <a:cubicBezTo>
                  <a:pt x="530" y="213"/>
                  <a:pt x="535" y="211"/>
                  <a:pt x="535" y="214"/>
                </a:cubicBezTo>
                <a:cubicBezTo>
                  <a:pt x="535" y="215"/>
                  <a:pt x="531" y="217"/>
                  <a:pt x="531" y="215"/>
                </a:cubicBezTo>
                <a:close/>
                <a:moveTo>
                  <a:pt x="530" y="135"/>
                </a:moveTo>
                <a:cubicBezTo>
                  <a:pt x="532" y="134"/>
                  <a:pt x="534" y="133"/>
                  <a:pt x="536" y="131"/>
                </a:cubicBezTo>
                <a:cubicBezTo>
                  <a:pt x="535" y="134"/>
                  <a:pt x="532" y="134"/>
                  <a:pt x="530" y="135"/>
                </a:cubicBezTo>
                <a:close/>
                <a:moveTo>
                  <a:pt x="598" y="198"/>
                </a:moveTo>
                <a:cubicBezTo>
                  <a:pt x="598" y="198"/>
                  <a:pt x="597" y="199"/>
                  <a:pt x="597" y="199"/>
                </a:cubicBezTo>
                <a:cubicBezTo>
                  <a:pt x="596" y="198"/>
                  <a:pt x="598" y="198"/>
                  <a:pt x="598" y="198"/>
                </a:cubicBezTo>
                <a:close/>
                <a:moveTo>
                  <a:pt x="596" y="204"/>
                </a:moveTo>
                <a:cubicBezTo>
                  <a:pt x="598" y="202"/>
                  <a:pt x="597" y="205"/>
                  <a:pt x="596" y="205"/>
                </a:cubicBezTo>
                <a:cubicBezTo>
                  <a:pt x="596" y="204"/>
                  <a:pt x="596" y="204"/>
                  <a:pt x="596" y="204"/>
                </a:cubicBezTo>
                <a:close/>
                <a:moveTo>
                  <a:pt x="596" y="235"/>
                </a:moveTo>
                <a:cubicBezTo>
                  <a:pt x="597" y="235"/>
                  <a:pt x="598" y="234"/>
                  <a:pt x="598" y="235"/>
                </a:cubicBezTo>
                <a:cubicBezTo>
                  <a:pt x="601" y="237"/>
                  <a:pt x="594" y="238"/>
                  <a:pt x="596" y="235"/>
                </a:cubicBezTo>
                <a:close/>
                <a:moveTo>
                  <a:pt x="599" y="282"/>
                </a:moveTo>
                <a:cubicBezTo>
                  <a:pt x="598" y="284"/>
                  <a:pt x="597" y="283"/>
                  <a:pt x="599" y="282"/>
                </a:cubicBezTo>
                <a:close/>
                <a:moveTo>
                  <a:pt x="594" y="323"/>
                </a:moveTo>
                <a:cubicBezTo>
                  <a:pt x="594" y="322"/>
                  <a:pt x="595" y="322"/>
                  <a:pt x="595" y="322"/>
                </a:cubicBezTo>
                <a:cubicBezTo>
                  <a:pt x="597" y="323"/>
                  <a:pt x="593" y="325"/>
                  <a:pt x="594" y="323"/>
                </a:cubicBezTo>
                <a:close/>
                <a:moveTo>
                  <a:pt x="596" y="370"/>
                </a:moveTo>
                <a:cubicBezTo>
                  <a:pt x="597" y="370"/>
                  <a:pt x="594" y="371"/>
                  <a:pt x="596" y="370"/>
                </a:cubicBezTo>
                <a:close/>
                <a:moveTo>
                  <a:pt x="594" y="263"/>
                </a:moveTo>
                <a:cubicBezTo>
                  <a:pt x="595" y="262"/>
                  <a:pt x="596" y="264"/>
                  <a:pt x="594" y="263"/>
                </a:cubicBezTo>
                <a:close/>
                <a:moveTo>
                  <a:pt x="594" y="231"/>
                </a:moveTo>
                <a:cubicBezTo>
                  <a:pt x="595" y="231"/>
                  <a:pt x="594" y="232"/>
                  <a:pt x="594" y="231"/>
                </a:cubicBezTo>
                <a:cubicBezTo>
                  <a:pt x="594" y="231"/>
                  <a:pt x="594" y="231"/>
                  <a:pt x="594" y="231"/>
                </a:cubicBezTo>
                <a:close/>
                <a:moveTo>
                  <a:pt x="592" y="198"/>
                </a:moveTo>
                <a:cubicBezTo>
                  <a:pt x="594" y="196"/>
                  <a:pt x="594" y="199"/>
                  <a:pt x="592" y="198"/>
                </a:cubicBezTo>
                <a:close/>
                <a:moveTo>
                  <a:pt x="594" y="244"/>
                </a:moveTo>
                <a:cubicBezTo>
                  <a:pt x="594" y="245"/>
                  <a:pt x="593" y="245"/>
                  <a:pt x="591" y="246"/>
                </a:cubicBezTo>
                <a:cubicBezTo>
                  <a:pt x="592" y="245"/>
                  <a:pt x="593" y="244"/>
                  <a:pt x="594" y="244"/>
                </a:cubicBezTo>
                <a:close/>
                <a:moveTo>
                  <a:pt x="589" y="200"/>
                </a:moveTo>
                <a:cubicBezTo>
                  <a:pt x="590" y="201"/>
                  <a:pt x="588" y="202"/>
                  <a:pt x="588" y="202"/>
                </a:cubicBezTo>
                <a:cubicBezTo>
                  <a:pt x="588" y="201"/>
                  <a:pt x="589" y="201"/>
                  <a:pt x="589" y="200"/>
                </a:cubicBezTo>
                <a:close/>
                <a:moveTo>
                  <a:pt x="591" y="200"/>
                </a:moveTo>
                <a:cubicBezTo>
                  <a:pt x="590" y="203"/>
                  <a:pt x="589" y="206"/>
                  <a:pt x="586" y="208"/>
                </a:cubicBezTo>
                <a:cubicBezTo>
                  <a:pt x="588" y="206"/>
                  <a:pt x="589" y="203"/>
                  <a:pt x="591" y="200"/>
                </a:cubicBezTo>
                <a:close/>
                <a:moveTo>
                  <a:pt x="590" y="339"/>
                </a:moveTo>
                <a:cubicBezTo>
                  <a:pt x="591" y="338"/>
                  <a:pt x="590" y="340"/>
                  <a:pt x="590" y="339"/>
                </a:cubicBezTo>
                <a:close/>
                <a:moveTo>
                  <a:pt x="590" y="246"/>
                </a:moveTo>
                <a:cubicBezTo>
                  <a:pt x="591" y="246"/>
                  <a:pt x="591" y="246"/>
                  <a:pt x="590" y="246"/>
                </a:cubicBezTo>
                <a:close/>
                <a:moveTo>
                  <a:pt x="590" y="246"/>
                </a:moveTo>
                <a:cubicBezTo>
                  <a:pt x="590" y="246"/>
                  <a:pt x="590" y="247"/>
                  <a:pt x="590" y="247"/>
                </a:cubicBezTo>
                <a:cubicBezTo>
                  <a:pt x="590" y="247"/>
                  <a:pt x="590" y="247"/>
                  <a:pt x="590" y="247"/>
                </a:cubicBezTo>
                <a:cubicBezTo>
                  <a:pt x="590" y="247"/>
                  <a:pt x="590" y="247"/>
                  <a:pt x="590" y="246"/>
                </a:cubicBezTo>
                <a:close/>
                <a:moveTo>
                  <a:pt x="587" y="206"/>
                </a:moveTo>
                <a:cubicBezTo>
                  <a:pt x="587" y="206"/>
                  <a:pt x="586" y="205"/>
                  <a:pt x="586" y="205"/>
                </a:cubicBezTo>
                <a:cubicBezTo>
                  <a:pt x="587" y="204"/>
                  <a:pt x="587" y="208"/>
                  <a:pt x="587" y="206"/>
                </a:cubicBezTo>
                <a:close/>
                <a:moveTo>
                  <a:pt x="586" y="210"/>
                </a:moveTo>
                <a:cubicBezTo>
                  <a:pt x="587" y="211"/>
                  <a:pt x="585" y="212"/>
                  <a:pt x="585" y="213"/>
                </a:cubicBezTo>
                <a:cubicBezTo>
                  <a:pt x="584" y="212"/>
                  <a:pt x="586" y="210"/>
                  <a:pt x="586" y="210"/>
                </a:cubicBezTo>
                <a:close/>
                <a:moveTo>
                  <a:pt x="585" y="229"/>
                </a:moveTo>
                <a:cubicBezTo>
                  <a:pt x="586" y="228"/>
                  <a:pt x="585" y="230"/>
                  <a:pt x="584" y="230"/>
                </a:cubicBezTo>
                <a:cubicBezTo>
                  <a:pt x="584" y="230"/>
                  <a:pt x="585" y="229"/>
                  <a:pt x="585" y="229"/>
                </a:cubicBezTo>
                <a:close/>
                <a:moveTo>
                  <a:pt x="584" y="214"/>
                </a:moveTo>
                <a:cubicBezTo>
                  <a:pt x="584" y="212"/>
                  <a:pt x="585" y="214"/>
                  <a:pt x="584" y="214"/>
                </a:cubicBezTo>
                <a:close/>
                <a:moveTo>
                  <a:pt x="583" y="250"/>
                </a:moveTo>
                <a:cubicBezTo>
                  <a:pt x="583" y="250"/>
                  <a:pt x="583" y="251"/>
                  <a:pt x="582" y="251"/>
                </a:cubicBezTo>
                <a:cubicBezTo>
                  <a:pt x="582" y="251"/>
                  <a:pt x="581" y="251"/>
                  <a:pt x="581" y="251"/>
                </a:cubicBezTo>
                <a:cubicBezTo>
                  <a:pt x="582" y="251"/>
                  <a:pt x="583" y="251"/>
                  <a:pt x="583" y="250"/>
                </a:cubicBezTo>
                <a:close/>
                <a:moveTo>
                  <a:pt x="579" y="195"/>
                </a:moveTo>
                <a:cubicBezTo>
                  <a:pt x="578" y="194"/>
                  <a:pt x="581" y="195"/>
                  <a:pt x="579" y="195"/>
                </a:cubicBezTo>
                <a:close/>
                <a:moveTo>
                  <a:pt x="578" y="186"/>
                </a:moveTo>
                <a:cubicBezTo>
                  <a:pt x="578" y="188"/>
                  <a:pt x="573" y="190"/>
                  <a:pt x="572" y="187"/>
                </a:cubicBezTo>
                <a:cubicBezTo>
                  <a:pt x="571" y="184"/>
                  <a:pt x="579" y="182"/>
                  <a:pt x="578" y="186"/>
                </a:cubicBezTo>
                <a:close/>
                <a:moveTo>
                  <a:pt x="576" y="196"/>
                </a:moveTo>
                <a:cubicBezTo>
                  <a:pt x="576" y="196"/>
                  <a:pt x="576" y="196"/>
                  <a:pt x="576" y="196"/>
                </a:cubicBezTo>
                <a:cubicBezTo>
                  <a:pt x="577" y="198"/>
                  <a:pt x="574" y="195"/>
                  <a:pt x="576" y="196"/>
                </a:cubicBezTo>
                <a:close/>
                <a:moveTo>
                  <a:pt x="573" y="191"/>
                </a:moveTo>
                <a:cubicBezTo>
                  <a:pt x="572" y="191"/>
                  <a:pt x="571" y="192"/>
                  <a:pt x="570" y="192"/>
                </a:cubicBezTo>
                <a:cubicBezTo>
                  <a:pt x="570" y="191"/>
                  <a:pt x="573" y="190"/>
                  <a:pt x="573" y="191"/>
                </a:cubicBezTo>
                <a:close/>
                <a:moveTo>
                  <a:pt x="565" y="201"/>
                </a:moveTo>
                <a:cubicBezTo>
                  <a:pt x="565" y="202"/>
                  <a:pt x="563" y="202"/>
                  <a:pt x="563" y="201"/>
                </a:cubicBezTo>
                <a:cubicBezTo>
                  <a:pt x="563" y="200"/>
                  <a:pt x="564" y="200"/>
                  <a:pt x="565" y="201"/>
                </a:cubicBezTo>
                <a:close/>
                <a:moveTo>
                  <a:pt x="569" y="202"/>
                </a:moveTo>
                <a:cubicBezTo>
                  <a:pt x="568" y="201"/>
                  <a:pt x="562" y="207"/>
                  <a:pt x="562" y="205"/>
                </a:cubicBezTo>
                <a:cubicBezTo>
                  <a:pt x="562" y="204"/>
                  <a:pt x="567" y="200"/>
                  <a:pt x="569" y="202"/>
                </a:cubicBezTo>
                <a:close/>
                <a:moveTo>
                  <a:pt x="563" y="247"/>
                </a:moveTo>
                <a:cubicBezTo>
                  <a:pt x="563" y="247"/>
                  <a:pt x="561" y="248"/>
                  <a:pt x="561" y="248"/>
                </a:cubicBezTo>
                <a:cubicBezTo>
                  <a:pt x="560" y="247"/>
                  <a:pt x="562" y="245"/>
                  <a:pt x="563" y="247"/>
                </a:cubicBezTo>
                <a:close/>
                <a:moveTo>
                  <a:pt x="562" y="189"/>
                </a:moveTo>
                <a:cubicBezTo>
                  <a:pt x="563" y="190"/>
                  <a:pt x="560" y="191"/>
                  <a:pt x="560" y="190"/>
                </a:cubicBezTo>
                <a:cubicBezTo>
                  <a:pt x="560" y="189"/>
                  <a:pt x="562" y="189"/>
                  <a:pt x="562" y="189"/>
                </a:cubicBezTo>
                <a:close/>
                <a:moveTo>
                  <a:pt x="560" y="205"/>
                </a:moveTo>
                <a:cubicBezTo>
                  <a:pt x="563" y="203"/>
                  <a:pt x="562" y="209"/>
                  <a:pt x="560" y="207"/>
                </a:cubicBezTo>
                <a:cubicBezTo>
                  <a:pt x="558" y="207"/>
                  <a:pt x="560" y="205"/>
                  <a:pt x="560" y="205"/>
                </a:cubicBezTo>
                <a:close/>
                <a:moveTo>
                  <a:pt x="560" y="264"/>
                </a:moveTo>
                <a:cubicBezTo>
                  <a:pt x="562" y="263"/>
                  <a:pt x="559" y="266"/>
                  <a:pt x="560" y="264"/>
                </a:cubicBezTo>
                <a:cubicBezTo>
                  <a:pt x="560" y="264"/>
                  <a:pt x="560" y="264"/>
                  <a:pt x="560" y="264"/>
                </a:cubicBezTo>
                <a:close/>
                <a:moveTo>
                  <a:pt x="556" y="180"/>
                </a:moveTo>
                <a:cubicBezTo>
                  <a:pt x="557" y="181"/>
                  <a:pt x="555" y="182"/>
                  <a:pt x="555" y="181"/>
                </a:cubicBezTo>
                <a:cubicBezTo>
                  <a:pt x="555" y="181"/>
                  <a:pt x="556" y="181"/>
                  <a:pt x="556" y="180"/>
                </a:cubicBezTo>
                <a:close/>
                <a:moveTo>
                  <a:pt x="554" y="138"/>
                </a:moveTo>
                <a:cubicBezTo>
                  <a:pt x="554" y="138"/>
                  <a:pt x="555" y="138"/>
                  <a:pt x="555" y="138"/>
                </a:cubicBezTo>
                <a:cubicBezTo>
                  <a:pt x="555" y="140"/>
                  <a:pt x="552" y="136"/>
                  <a:pt x="554" y="138"/>
                </a:cubicBezTo>
                <a:close/>
                <a:moveTo>
                  <a:pt x="555" y="219"/>
                </a:moveTo>
                <a:cubicBezTo>
                  <a:pt x="555" y="219"/>
                  <a:pt x="554" y="221"/>
                  <a:pt x="553" y="221"/>
                </a:cubicBezTo>
                <a:cubicBezTo>
                  <a:pt x="553" y="220"/>
                  <a:pt x="554" y="218"/>
                  <a:pt x="555" y="219"/>
                </a:cubicBezTo>
                <a:close/>
                <a:moveTo>
                  <a:pt x="553" y="245"/>
                </a:moveTo>
                <a:cubicBezTo>
                  <a:pt x="554" y="245"/>
                  <a:pt x="552" y="246"/>
                  <a:pt x="552" y="245"/>
                </a:cubicBezTo>
                <a:cubicBezTo>
                  <a:pt x="552" y="244"/>
                  <a:pt x="553" y="244"/>
                  <a:pt x="553" y="245"/>
                </a:cubicBezTo>
                <a:close/>
                <a:moveTo>
                  <a:pt x="552" y="182"/>
                </a:move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ubicBezTo>
                  <a:pt x="552" y="182"/>
                  <a:pt x="552" y="182"/>
                  <a:pt x="552" y="182"/>
                </a:cubicBezTo>
                <a:close/>
                <a:moveTo>
                  <a:pt x="552" y="133"/>
                </a:moveTo>
                <a:cubicBezTo>
                  <a:pt x="552" y="133"/>
                  <a:pt x="551" y="135"/>
                  <a:pt x="551" y="134"/>
                </a:cubicBezTo>
                <a:cubicBezTo>
                  <a:pt x="550" y="133"/>
                  <a:pt x="552" y="133"/>
                  <a:pt x="552" y="133"/>
                </a:cubicBezTo>
                <a:close/>
                <a:moveTo>
                  <a:pt x="552" y="158"/>
                </a:moveTo>
                <a:cubicBezTo>
                  <a:pt x="552" y="159"/>
                  <a:pt x="550" y="160"/>
                  <a:pt x="550" y="159"/>
                </a:cubicBezTo>
                <a:cubicBezTo>
                  <a:pt x="550" y="158"/>
                  <a:pt x="551" y="158"/>
                  <a:pt x="552" y="158"/>
                </a:cubicBezTo>
                <a:close/>
                <a:moveTo>
                  <a:pt x="552" y="177"/>
                </a:moveTo>
                <a:cubicBezTo>
                  <a:pt x="552" y="179"/>
                  <a:pt x="548" y="179"/>
                  <a:pt x="548" y="177"/>
                </a:cubicBezTo>
                <a:cubicBezTo>
                  <a:pt x="548" y="176"/>
                  <a:pt x="551" y="175"/>
                  <a:pt x="552" y="177"/>
                </a:cubicBezTo>
                <a:close/>
                <a:moveTo>
                  <a:pt x="547" y="170"/>
                </a:moveTo>
                <a:cubicBezTo>
                  <a:pt x="548" y="170"/>
                  <a:pt x="547" y="171"/>
                  <a:pt x="546" y="171"/>
                </a:cubicBezTo>
                <a:cubicBezTo>
                  <a:pt x="546" y="170"/>
                  <a:pt x="547" y="170"/>
                  <a:pt x="547" y="170"/>
                </a:cubicBezTo>
                <a:close/>
                <a:moveTo>
                  <a:pt x="547" y="166"/>
                </a:moveTo>
                <a:cubicBezTo>
                  <a:pt x="548" y="167"/>
                  <a:pt x="547" y="165"/>
                  <a:pt x="547" y="166"/>
                </a:cubicBezTo>
                <a:close/>
                <a:moveTo>
                  <a:pt x="548" y="133"/>
                </a:moveTo>
                <a:cubicBezTo>
                  <a:pt x="548" y="134"/>
                  <a:pt x="547" y="134"/>
                  <a:pt x="546" y="134"/>
                </a:cubicBezTo>
                <a:cubicBezTo>
                  <a:pt x="546" y="133"/>
                  <a:pt x="547" y="134"/>
                  <a:pt x="548" y="133"/>
                </a:cubicBezTo>
                <a:close/>
                <a:moveTo>
                  <a:pt x="547" y="176"/>
                </a:moveTo>
                <a:cubicBezTo>
                  <a:pt x="547" y="177"/>
                  <a:pt x="545" y="176"/>
                  <a:pt x="547" y="176"/>
                </a:cubicBezTo>
                <a:close/>
                <a:moveTo>
                  <a:pt x="546" y="168"/>
                </a:moveTo>
                <a:cubicBezTo>
                  <a:pt x="546" y="169"/>
                  <a:pt x="544" y="170"/>
                  <a:pt x="544" y="168"/>
                </a:cubicBezTo>
                <a:cubicBezTo>
                  <a:pt x="545" y="168"/>
                  <a:pt x="545" y="168"/>
                  <a:pt x="546" y="168"/>
                </a:cubicBezTo>
                <a:close/>
                <a:moveTo>
                  <a:pt x="545" y="141"/>
                </a:moveTo>
                <a:cubicBezTo>
                  <a:pt x="546" y="143"/>
                  <a:pt x="542" y="142"/>
                  <a:pt x="542" y="141"/>
                </a:cubicBezTo>
                <a:cubicBezTo>
                  <a:pt x="543" y="140"/>
                  <a:pt x="545" y="140"/>
                  <a:pt x="545" y="141"/>
                </a:cubicBezTo>
                <a:close/>
                <a:moveTo>
                  <a:pt x="540" y="150"/>
                </a:moveTo>
                <a:cubicBezTo>
                  <a:pt x="540" y="150"/>
                  <a:pt x="538" y="151"/>
                  <a:pt x="537" y="150"/>
                </a:cubicBezTo>
                <a:cubicBezTo>
                  <a:pt x="537" y="149"/>
                  <a:pt x="539" y="148"/>
                  <a:pt x="540" y="150"/>
                </a:cubicBezTo>
                <a:close/>
                <a:moveTo>
                  <a:pt x="537" y="158"/>
                </a:moveTo>
                <a:cubicBezTo>
                  <a:pt x="537" y="158"/>
                  <a:pt x="538" y="157"/>
                  <a:pt x="538" y="157"/>
                </a:cubicBezTo>
                <a:cubicBezTo>
                  <a:pt x="539" y="157"/>
                  <a:pt x="537" y="159"/>
                  <a:pt x="537" y="158"/>
                </a:cubicBezTo>
                <a:close/>
                <a:moveTo>
                  <a:pt x="538" y="165"/>
                </a:moveTo>
                <a:cubicBezTo>
                  <a:pt x="538" y="165"/>
                  <a:pt x="540" y="163"/>
                  <a:pt x="540" y="165"/>
                </a:cubicBezTo>
                <a:cubicBezTo>
                  <a:pt x="540" y="164"/>
                  <a:pt x="539" y="166"/>
                  <a:pt x="538" y="165"/>
                </a:cubicBezTo>
                <a:close/>
                <a:moveTo>
                  <a:pt x="540" y="214"/>
                </a:moveTo>
                <a:cubicBezTo>
                  <a:pt x="541" y="215"/>
                  <a:pt x="540" y="215"/>
                  <a:pt x="540" y="215"/>
                </a:cubicBezTo>
                <a:cubicBezTo>
                  <a:pt x="539" y="214"/>
                  <a:pt x="540" y="214"/>
                  <a:pt x="540" y="214"/>
                </a:cubicBezTo>
                <a:close/>
                <a:moveTo>
                  <a:pt x="541" y="291"/>
                </a:moveTo>
                <a:cubicBezTo>
                  <a:pt x="540" y="291"/>
                  <a:pt x="539" y="291"/>
                  <a:pt x="540" y="290"/>
                </a:cubicBezTo>
                <a:cubicBezTo>
                  <a:pt x="540" y="289"/>
                  <a:pt x="541" y="290"/>
                  <a:pt x="541" y="291"/>
                </a:cubicBezTo>
                <a:close/>
                <a:moveTo>
                  <a:pt x="541" y="212"/>
                </a:moveTo>
                <a:cubicBezTo>
                  <a:pt x="541" y="212"/>
                  <a:pt x="541" y="212"/>
                  <a:pt x="541" y="212"/>
                </a:cubicBezTo>
                <a:cubicBezTo>
                  <a:pt x="541" y="212"/>
                  <a:pt x="541" y="212"/>
                  <a:pt x="541" y="212"/>
                </a:cubicBezTo>
                <a:cubicBezTo>
                  <a:pt x="540" y="212"/>
                  <a:pt x="540" y="211"/>
                  <a:pt x="541" y="210"/>
                </a:cubicBezTo>
                <a:cubicBezTo>
                  <a:pt x="542" y="209"/>
                  <a:pt x="542" y="210"/>
                  <a:pt x="542" y="211"/>
                </a:cubicBezTo>
                <a:cubicBezTo>
                  <a:pt x="543" y="211"/>
                  <a:pt x="544" y="211"/>
                  <a:pt x="544" y="210"/>
                </a:cubicBezTo>
                <a:cubicBezTo>
                  <a:pt x="545" y="210"/>
                  <a:pt x="550" y="204"/>
                  <a:pt x="551" y="205"/>
                </a:cubicBezTo>
                <a:cubicBezTo>
                  <a:pt x="553" y="207"/>
                  <a:pt x="544" y="211"/>
                  <a:pt x="543" y="212"/>
                </a:cubicBezTo>
                <a:cubicBezTo>
                  <a:pt x="542" y="212"/>
                  <a:pt x="542" y="214"/>
                  <a:pt x="541" y="212"/>
                </a:cubicBezTo>
                <a:close/>
                <a:moveTo>
                  <a:pt x="549" y="242"/>
                </a:moveTo>
                <a:cubicBezTo>
                  <a:pt x="549" y="242"/>
                  <a:pt x="547" y="242"/>
                  <a:pt x="547" y="241"/>
                </a:cubicBezTo>
                <a:cubicBezTo>
                  <a:pt x="547" y="241"/>
                  <a:pt x="549" y="240"/>
                  <a:pt x="549" y="242"/>
                </a:cubicBezTo>
                <a:close/>
                <a:moveTo>
                  <a:pt x="543" y="245"/>
                </a:moveTo>
                <a:cubicBezTo>
                  <a:pt x="544" y="247"/>
                  <a:pt x="541" y="246"/>
                  <a:pt x="543" y="245"/>
                </a:cubicBezTo>
                <a:close/>
                <a:moveTo>
                  <a:pt x="547" y="220"/>
                </a:moveTo>
                <a:cubicBezTo>
                  <a:pt x="546" y="220"/>
                  <a:pt x="546" y="220"/>
                  <a:pt x="546" y="220"/>
                </a:cubicBezTo>
                <a:cubicBezTo>
                  <a:pt x="545" y="220"/>
                  <a:pt x="547" y="219"/>
                  <a:pt x="547" y="220"/>
                </a:cubicBezTo>
                <a:close/>
                <a:moveTo>
                  <a:pt x="546" y="265"/>
                </a:moveTo>
                <a:cubicBezTo>
                  <a:pt x="546" y="265"/>
                  <a:pt x="547" y="264"/>
                  <a:pt x="547" y="264"/>
                </a:cubicBezTo>
                <a:cubicBezTo>
                  <a:pt x="547" y="265"/>
                  <a:pt x="546" y="266"/>
                  <a:pt x="546" y="265"/>
                </a:cubicBezTo>
                <a:close/>
                <a:moveTo>
                  <a:pt x="548" y="300"/>
                </a:moveTo>
                <a:cubicBezTo>
                  <a:pt x="548" y="299"/>
                  <a:pt x="548" y="299"/>
                  <a:pt x="548" y="299"/>
                </a:cubicBezTo>
                <a:cubicBezTo>
                  <a:pt x="549" y="299"/>
                  <a:pt x="548" y="301"/>
                  <a:pt x="548" y="300"/>
                </a:cubicBezTo>
                <a:close/>
                <a:moveTo>
                  <a:pt x="547" y="280"/>
                </a:moveTo>
                <a:cubicBezTo>
                  <a:pt x="549" y="276"/>
                  <a:pt x="551" y="272"/>
                  <a:pt x="552" y="269"/>
                </a:cubicBezTo>
                <a:cubicBezTo>
                  <a:pt x="552" y="271"/>
                  <a:pt x="549" y="278"/>
                  <a:pt x="547" y="280"/>
                </a:cubicBezTo>
                <a:close/>
                <a:moveTo>
                  <a:pt x="553" y="329"/>
                </a:moveTo>
                <a:cubicBezTo>
                  <a:pt x="553" y="329"/>
                  <a:pt x="553" y="329"/>
                  <a:pt x="553" y="329"/>
                </a:cubicBezTo>
                <a:cubicBezTo>
                  <a:pt x="553" y="329"/>
                  <a:pt x="553" y="329"/>
                  <a:pt x="553" y="329"/>
                </a:cubicBezTo>
                <a:close/>
                <a:moveTo>
                  <a:pt x="551" y="261"/>
                </a:moveTo>
                <a:cubicBezTo>
                  <a:pt x="553" y="257"/>
                  <a:pt x="553" y="254"/>
                  <a:pt x="555" y="252"/>
                </a:cubicBezTo>
                <a:cubicBezTo>
                  <a:pt x="554" y="254"/>
                  <a:pt x="553" y="259"/>
                  <a:pt x="551" y="261"/>
                </a:cubicBezTo>
                <a:close/>
                <a:moveTo>
                  <a:pt x="554" y="222"/>
                </a:moveTo>
                <a:cubicBezTo>
                  <a:pt x="555" y="221"/>
                  <a:pt x="556" y="222"/>
                  <a:pt x="554" y="222"/>
                </a:cubicBezTo>
                <a:close/>
                <a:moveTo>
                  <a:pt x="554" y="184"/>
                </a:moveTo>
                <a:cubicBezTo>
                  <a:pt x="554" y="183"/>
                  <a:pt x="556" y="182"/>
                  <a:pt x="556" y="183"/>
                </a:cubicBezTo>
                <a:cubicBezTo>
                  <a:pt x="556" y="185"/>
                  <a:pt x="554" y="185"/>
                  <a:pt x="554" y="184"/>
                </a:cubicBezTo>
                <a:close/>
                <a:moveTo>
                  <a:pt x="557" y="285"/>
                </a:moveTo>
                <a:cubicBezTo>
                  <a:pt x="557" y="283"/>
                  <a:pt x="556" y="286"/>
                  <a:pt x="557" y="285"/>
                </a:cubicBezTo>
                <a:close/>
                <a:moveTo>
                  <a:pt x="560" y="320"/>
                </a:moveTo>
                <a:cubicBezTo>
                  <a:pt x="560" y="321"/>
                  <a:pt x="561" y="319"/>
                  <a:pt x="560" y="320"/>
                </a:cubicBezTo>
                <a:close/>
                <a:moveTo>
                  <a:pt x="557" y="283"/>
                </a:moveTo>
                <a:cubicBezTo>
                  <a:pt x="556" y="281"/>
                  <a:pt x="561" y="279"/>
                  <a:pt x="561" y="281"/>
                </a:cubicBezTo>
                <a:cubicBezTo>
                  <a:pt x="562" y="283"/>
                  <a:pt x="558" y="284"/>
                  <a:pt x="557" y="283"/>
                </a:cubicBezTo>
                <a:close/>
                <a:moveTo>
                  <a:pt x="562" y="258"/>
                </a:moveTo>
                <a:cubicBezTo>
                  <a:pt x="562" y="258"/>
                  <a:pt x="563" y="257"/>
                  <a:pt x="563" y="257"/>
                </a:cubicBezTo>
                <a:cubicBezTo>
                  <a:pt x="564" y="258"/>
                  <a:pt x="561" y="259"/>
                  <a:pt x="562" y="258"/>
                </a:cubicBezTo>
                <a:close/>
                <a:moveTo>
                  <a:pt x="565" y="221"/>
                </a:moveTo>
                <a:cubicBezTo>
                  <a:pt x="564" y="221"/>
                  <a:pt x="564" y="219"/>
                  <a:pt x="565" y="220"/>
                </a:cubicBezTo>
                <a:cubicBezTo>
                  <a:pt x="565" y="220"/>
                  <a:pt x="565" y="221"/>
                  <a:pt x="565" y="221"/>
                </a:cubicBezTo>
                <a:close/>
                <a:moveTo>
                  <a:pt x="566" y="206"/>
                </a:moveTo>
                <a:cubicBezTo>
                  <a:pt x="565" y="211"/>
                  <a:pt x="567" y="204"/>
                  <a:pt x="568" y="203"/>
                </a:cubicBezTo>
                <a:cubicBezTo>
                  <a:pt x="569" y="202"/>
                  <a:pt x="574" y="202"/>
                  <a:pt x="576" y="203"/>
                </a:cubicBezTo>
                <a:cubicBezTo>
                  <a:pt x="579" y="205"/>
                  <a:pt x="577" y="210"/>
                  <a:pt x="574" y="212"/>
                </a:cubicBezTo>
                <a:cubicBezTo>
                  <a:pt x="573" y="213"/>
                  <a:pt x="570" y="213"/>
                  <a:pt x="569" y="213"/>
                </a:cubicBezTo>
                <a:cubicBezTo>
                  <a:pt x="566" y="214"/>
                  <a:pt x="567" y="214"/>
                  <a:pt x="565" y="212"/>
                </a:cubicBezTo>
                <a:cubicBezTo>
                  <a:pt x="562" y="210"/>
                  <a:pt x="562" y="205"/>
                  <a:pt x="566" y="206"/>
                </a:cubicBezTo>
                <a:close/>
                <a:moveTo>
                  <a:pt x="573" y="236"/>
                </a:moveTo>
                <a:cubicBezTo>
                  <a:pt x="575" y="234"/>
                  <a:pt x="572" y="237"/>
                  <a:pt x="573" y="236"/>
                </a:cubicBezTo>
                <a:close/>
                <a:moveTo>
                  <a:pt x="571" y="238"/>
                </a:moveTo>
                <a:cubicBezTo>
                  <a:pt x="573" y="236"/>
                  <a:pt x="569" y="239"/>
                  <a:pt x="571" y="238"/>
                </a:cubicBezTo>
                <a:close/>
                <a:moveTo>
                  <a:pt x="569" y="326"/>
                </a:moveTo>
                <a:cubicBezTo>
                  <a:pt x="568" y="326"/>
                  <a:pt x="569" y="325"/>
                  <a:pt x="569" y="325"/>
                </a:cubicBezTo>
                <a:cubicBezTo>
                  <a:pt x="570" y="324"/>
                  <a:pt x="570" y="327"/>
                  <a:pt x="569" y="326"/>
                </a:cubicBezTo>
                <a:close/>
                <a:moveTo>
                  <a:pt x="567" y="224"/>
                </a:moveTo>
                <a:cubicBezTo>
                  <a:pt x="566" y="223"/>
                  <a:pt x="567" y="222"/>
                  <a:pt x="567" y="222"/>
                </a:cubicBezTo>
                <a:cubicBezTo>
                  <a:pt x="568" y="222"/>
                  <a:pt x="567" y="223"/>
                  <a:pt x="567" y="224"/>
                </a:cubicBezTo>
                <a:close/>
                <a:moveTo>
                  <a:pt x="567" y="311"/>
                </a:moveTo>
                <a:cubicBezTo>
                  <a:pt x="568" y="312"/>
                  <a:pt x="566" y="312"/>
                  <a:pt x="567" y="311"/>
                </a:cubicBezTo>
                <a:close/>
                <a:moveTo>
                  <a:pt x="565" y="280"/>
                </a:moveTo>
                <a:cubicBezTo>
                  <a:pt x="565" y="277"/>
                  <a:pt x="567" y="277"/>
                  <a:pt x="565" y="280"/>
                </a:cubicBezTo>
                <a:close/>
                <a:moveTo>
                  <a:pt x="566" y="411"/>
                </a:moveTo>
                <a:cubicBezTo>
                  <a:pt x="568" y="409"/>
                  <a:pt x="569" y="406"/>
                  <a:pt x="572" y="405"/>
                </a:cubicBezTo>
                <a:cubicBezTo>
                  <a:pt x="570" y="407"/>
                  <a:pt x="568" y="410"/>
                  <a:pt x="566" y="411"/>
                </a:cubicBezTo>
                <a:close/>
                <a:moveTo>
                  <a:pt x="571" y="279"/>
                </a:moveTo>
                <a:cubicBezTo>
                  <a:pt x="571" y="279"/>
                  <a:pt x="573" y="279"/>
                  <a:pt x="572" y="279"/>
                </a:cubicBezTo>
                <a:cubicBezTo>
                  <a:pt x="572" y="280"/>
                  <a:pt x="571" y="280"/>
                  <a:pt x="571" y="279"/>
                </a:cubicBezTo>
                <a:close/>
                <a:moveTo>
                  <a:pt x="573" y="383"/>
                </a:moveTo>
                <a:cubicBezTo>
                  <a:pt x="571" y="382"/>
                  <a:pt x="573" y="380"/>
                  <a:pt x="574" y="379"/>
                </a:cubicBezTo>
                <a:cubicBezTo>
                  <a:pt x="577" y="377"/>
                  <a:pt x="575" y="384"/>
                  <a:pt x="573" y="383"/>
                </a:cubicBezTo>
                <a:close/>
                <a:moveTo>
                  <a:pt x="578" y="218"/>
                </a:moveTo>
                <a:cubicBezTo>
                  <a:pt x="583" y="216"/>
                  <a:pt x="584" y="224"/>
                  <a:pt x="580" y="226"/>
                </a:cubicBezTo>
                <a:cubicBezTo>
                  <a:pt x="573" y="230"/>
                  <a:pt x="572" y="220"/>
                  <a:pt x="578" y="218"/>
                </a:cubicBezTo>
                <a:close/>
                <a:moveTo>
                  <a:pt x="577" y="295"/>
                </a:moveTo>
                <a:cubicBezTo>
                  <a:pt x="577" y="295"/>
                  <a:pt x="577" y="295"/>
                  <a:pt x="577" y="296"/>
                </a:cubicBezTo>
                <a:cubicBezTo>
                  <a:pt x="576" y="296"/>
                  <a:pt x="577" y="295"/>
                  <a:pt x="577" y="295"/>
                </a:cubicBezTo>
                <a:close/>
                <a:moveTo>
                  <a:pt x="577" y="425"/>
                </a:moveTo>
                <a:cubicBezTo>
                  <a:pt x="576" y="426"/>
                  <a:pt x="578" y="423"/>
                  <a:pt x="577" y="425"/>
                </a:cubicBezTo>
                <a:close/>
                <a:moveTo>
                  <a:pt x="577" y="371"/>
                </a:moveTo>
                <a:cubicBezTo>
                  <a:pt x="576" y="370"/>
                  <a:pt x="578" y="370"/>
                  <a:pt x="577" y="371"/>
                </a:cubicBezTo>
                <a:close/>
                <a:moveTo>
                  <a:pt x="577" y="297"/>
                </a:moveTo>
                <a:cubicBezTo>
                  <a:pt x="578" y="296"/>
                  <a:pt x="578" y="297"/>
                  <a:pt x="578" y="297"/>
                </a:cubicBezTo>
                <a:cubicBezTo>
                  <a:pt x="579" y="299"/>
                  <a:pt x="576" y="297"/>
                  <a:pt x="577" y="297"/>
                </a:cubicBezTo>
                <a:close/>
                <a:moveTo>
                  <a:pt x="580" y="277"/>
                </a:moveTo>
                <a:cubicBezTo>
                  <a:pt x="580" y="277"/>
                  <a:pt x="580" y="277"/>
                  <a:pt x="580" y="277"/>
                </a:cubicBezTo>
                <a:cubicBezTo>
                  <a:pt x="581" y="277"/>
                  <a:pt x="579" y="278"/>
                  <a:pt x="580" y="277"/>
                </a:cubicBezTo>
                <a:close/>
                <a:moveTo>
                  <a:pt x="580" y="387"/>
                </a:moveTo>
                <a:cubicBezTo>
                  <a:pt x="580" y="386"/>
                  <a:pt x="582" y="385"/>
                  <a:pt x="582" y="384"/>
                </a:cubicBezTo>
                <a:cubicBezTo>
                  <a:pt x="583" y="385"/>
                  <a:pt x="581" y="386"/>
                  <a:pt x="580" y="387"/>
                </a:cubicBezTo>
                <a:close/>
                <a:moveTo>
                  <a:pt x="578" y="268"/>
                </a:moveTo>
                <a:cubicBezTo>
                  <a:pt x="578" y="266"/>
                  <a:pt x="584" y="266"/>
                  <a:pt x="582" y="269"/>
                </a:cubicBezTo>
                <a:cubicBezTo>
                  <a:pt x="582" y="271"/>
                  <a:pt x="578" y="270"/>
                  <a:pt x="578" y="268"/>
                </a:cubicBezTo>
                <a:close/>
                <a:moveTo>
                  <a:pt x="582" y="302"/>
                </a:moveTo>
                <a:cubicBezTo>
                  <a:pt x="582" y="302"/>
                  <a:pt x="582" y="301"/>
                  <a:pt x="583" y="301"/>
                </a:cubicBezTo>
                <a:cubicBezTo>
                  <a:pt x="585" y="299"/>
                  <a:pt x="584" y="304"/>
                  <a:pt x="582" y="302"/>
                </a:cubicBezTo>
                <a:close/>
                <a:moveTo>
                  <a:pt x="584" y="367"/>
                </a:moveTo>
                <a:cubicBezTo>
                  <a:pt x="584" y="369"/>
                  <a:pt x="582" y="368"/>
                  <a:pt x="584" y="367"/>
                </a:cubicBezTo>
                <a:close/>
                <a:moveTo>
                  <a:pt x="584" y="364"/>
                </a:moveTo>
                <a:cubicBezTo>
                  <a:pt x="584" y="363"/>
                  <a:pt x="584" y="363"/>
                  <a:pt x="585" y="363"/>
                </a:cubicBezTo>
                <a:cubicBezTo>
                  <a:pt x="586" y="363"/>
                  <a:pt x="583" y="365"/>
                  <a:pt x="584" y="364"/>
                </a:cubicBezTo>
                <a:close/>
                <a:moveTo>
                  <a:pt x="585" y="305"/>
                </a:moveTo>
                <a:cubicBezTo>
                  <a:pt x="585" y="305"/>
                  <a:pt x="586" y="304"/>
                  <a:pt x="586" y="305"/>
                </a:cubicBezTo>
                <a:cubicBezTo>
                  <a:pt x="587" y="305"/>
                  <a:pt x="585" y="306"/>
                  <a:pt x="585" y="305"/>
                </a:cubicBezTo>
                <a:close/>
                <a:moveTo>
                  <a:pt x="585" y="289"/>
                </a:moveTo>
                <a:cubicBezTo>
                  <a:pt x="585" y="288"/>
                  <a:pt x="586" y="288"/>
                  <a:pt x="586" y="288"/>
                </a:cubicBezTo>
                <a:cubicBezTo>
                  <a:pt x="586" y="288"/>
                  <a:pt x="585" y="289"/>
                  <a:pt x="585" y="289"/>
                </a:cubicBezTo>
                <a:close/>
                <a:moveTo>
                  <a:pt x="585" y="250"/>
                </a:moveTo>
                <a:cubicBezTo>
                  <a:pt x="586" y="249"/>
                  <a:pt x="587" y="248"/>
                  <a:pt x="589" y="247"/>
                </a:cubicBezTo>
                <a:cubicBezTo>
                  <a:pt x="588" y="248"/>
                  <a:pt x="586" y="249"/>
                  <a:pt x="585" y="250"/>
                </a:cubicBezTo>
                <a:close/>
                <a:moveTo>
                  <a:pt x="590" y="437"/>
                </a:moveTo>
                <a:cubicBezTo>
                  <a:pt x="589" y="435"/>
                  <a:pt x="591" y="433"/>
                  <a:pt x="593" y="431"/>
                </a:cubicBezTo>
                <a:cubicBezTo>
                  <a:pt x="592" y="433"/>
                  <a:pt x="591" y="435"/>
                  <a:pt x="590" y="437"/>
                </a:cubicBezTo>
                <a:close/>
                <a:moveTo>
                  <a:pt x="594" y="251"/>
                </a:moveTo>
                <a:cubicBezTo>
                  <a:pt x="596" y="250"/>
                  <a:pt x="595" y="255"/>
                  <a:pt x="593" y="253"/>
                </a:cubicBezTo>
                <a:cubicBezTo>
                  <a:pt x="593" y="253"/>
                  <a:pt x="593" y="252"/>
                  <a:pt x="594" y="251"/>
                </a:cubicBezTo>
                <a:close/>
                <a:moveTo>
                  <a:pt x="594" y="357"/>
                </a:moveTo>
                <a:cubicBezTo>
                  <a:pt x="594" y="357"/>
                  <a:pt x="594" y="356"/>
                  <a:pt x="595" y="356"/>
                </a:cubicBezTo>
                <a:cubicBezTo>
                  <a:pt x="596" y="357"/>
                  <a:pt x="592" y="359"/>
                  <a:pt x="594" y="357"/>
                </a:cubicBezTo>
                <a:close/>
                <a:moveTo>
                  <a:pt x="595" y="371"/>
                </a:moveTo>
                <a:cubicBezTo>
                  <a:pt x="595" y="372"/>
                  <a:pt x="594" y="373"/>
                  <a:pt x="593" y="373"/>
                </a:cubicBezTo>
                <a:cubicBezTo>
                  <a:pt x="593" y="372"/>
                  <a:pt x="594" y="371"/>
                  <a:pt x="595" y="371"/>
                </a:cubicBezTo>
                <a:close/>
                <a:moveTo>
                  <a:pt x="593" y="429"/>
                </a:move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ubicBezTo>
                  <a:pt x="593" y="429"/>
                  <a:pt x="593" y="429"/>
                  <a:pt x="593" y="429"/>
                </a:cubicBezTo>
                <a:close/>
                <a:moveTo>
                  <a:pt x="594" y="472"/>
                </a:moveTo>
                <a:cubicBezTo>
                  <a:pt x="594" y="472"/>
                  <a:pt x="595" y="470"/>
                  <a:pt x="595" y="470"/>
                </a:cubicBezTo>
                <a:cubicBezTo>
                  <a:pt x="596" y="471"/>
                  <a:pt x="594" y="472"/>
                  <a:pt x="594" y="472"/>
                </a:cubicBezTo>
                <a:close/>
                <a:moveTo>
                  <a:pt x="598" y="422"/>
                </a:moveTo>
                <a:cubicBezTo>
                  <a:pt x="598" y="423"/>
                  <a:pt x="596" y="426"/>
                  <a:pt x="594" y="428"/>
                </a:cubicBezTo>
                <a:cubicBezTo>
                  <a:pt x="594" y="425"/>
                  <a:pt x="599" y="418"/>
                  <a:pt x="598" y="422"/>
                </a:cubicBezTo>
                <a:close/>
                <a:moveTo>
                  <a:pt x="595" y="356"/>
                </a:moveTo>
                <a:cubicBezTo>
                  <a:pt x="596" y="355"/>
                  <a:pt x="597" y="354"/>
                  <a:pt x="599" y="353"/>
                </a:cubicBezTo>
                <a:cubicBezTo>
                  <a:pt x="598" y="355"/>
                  <a:pt x="597" y="355"/>
                  <a:pt x="595" y="356"/>
                </a:cubicBezTo>
                <a:close/>
                <a:moveTo>
                  <a:pt x="686" y="310"/>
                </a:moveTo>
                <a:cubicBezTo>
                  <a:pt x="686" y="309"/>
                  <a:pt x="686" y="312"/>
                  <a:pt x="686" y="310"/>
                </a:cubicBezTo>
                <a:close/>
                <a:moveTo>
                  <a:pt x="679" y="298"/>
                </a:moveTo>
                <a:cubicBezTo>
                  <a:pt x="682" y="297"/>
                  <a:pt x="678" y="302"/>
                  <a:pt x="678" y="299"/>
                </a:cubicBezTo>
                <a:cubicBezTo>
                  <a:pt x="678" y="299"/>
                  <a:pt x="678" y="298"/>
                  <a:pt x="679" y="298"/>
                </a:cubicBezTo>
                <a:close/>
                <a:moveTo>
                  <a:pt x="676" y="297"/>
                </a:moveTo>
                <a:cubicBezTo>
                  <a:pt x="677" y="295"/>
                  <a:pt x="676" y="298"/>
                  <a:pt x="676" y="297"/>
                </a:cubicBezTo>
                <a:close/>
                <a:moveTo>
                  <a:pt x="671" y="307"/>
                </a:moveTo>
                <a:cubicBezTo>
                  <a:pt x="671" y="307"/>
                  <a:pt x="672" y="308"/>
                  <a:pt x="671" y="308"/>
                </a:cubicBezTo>
                <a:cubicBezTo>
                  <a:pt x="670" y="309"/>
                  <a:pt x="671" y="307"/>
                  <a:pt x="671" y="307"/>
                </a:cubicBezTo>
                <a:close/>
                <a:moveTo>
                  <a:pt x="672" y="331"/>
                </a:moveTo>
                <a:cubicBezTo>
                  <a:pt x="672" y="331"/>
                  <a:pt x="675" y="326"/>
                  <a:pt x="675" y="328"/>
                </a:cubicBezTo>
                <a:cubicBezTo>
                  <a:pt x="675" y="331"/>
                  <a:pt x="670" y="334"/>
                  <a:pt x="668" y="337"/>
                </a:cubicBezTo>
                <a:cubicBezTo>
                  <a:pt x="669" y="335"/>
                  <a:pt x="671" y="333"/>
                  <a:pt x="672" y="331"/>
                </a:cubicBezTo>
                <a:close/>
                <a:moveTo>
                  <a:pt x="669" y="271"/>
                </a:moveTo>
                <a:cubicBezTo>
                  <a:pt x="668" y="270"/>
                  <a:pt x="671" y="264"/>
                  <a:pt x="672" y="266"/>
                </a:cubicBezTo>
                <a:cubicBezTo>
                  <a:pt x="674" y="267"/>
                  <a:pt x="670" y="270"/>
                  <a:pt x="669" y="271"/>
                </a:cubicBezTo>
                <a:close/>
                <a:moveTo>
                  <a:pt x="674" y="235"/>
                </a:moveTo>
                <a:cubicBezTo>
                  <a:pt x="673" y="236"/>
                  <a:pt x="675" y="233"/>
                  <a:pt x="674" y="235"/>
                </a:cubicBezTo>
                <a:close/>
                <a:moveTo>
                  <a:pt x="676" y="252"/>
                </a:moveTo>
                <a:cubicBezTo>
                  <a:pt x="676" y="250"/>
                  <a:pt x="677" y="251"/>
                  <a:pt x="676" y="252"/>
                </a:cubicBezTo>
                <a:close/>
                <a:moveTo>
                  <a:pt x="673" y="222"/>
                </a:moveTo>
                <a:cubicBezTo>
                  <a:pt x="674" y="221"/>
                  <a:pt x="676" y="222"/>
                  <a:pt x="676" y="222"/>
                </a:cubicBezTo>
                <a:cubicBezTo>
                  <a:pt x="678" y="225"/>
                  <a:pt x="674" y="230"/>
                  <a:pt x="672" y="229"/>
                </a:cubicBezTo>
                <a:cubicBezTo>
                  <a:pt x="669" y="227"/>
                  <a:pt x="671" y="223"/>
                  <a:pt x="673" y="222"/>
                </a:cubicBezTo>
                <a:close/>
                <a:moveTo>
                  <a:pt x="669" y="233"/>
                </a:moveTo>
                <a:cubicBezTo>
                  <a:pt x="669" y="232"/>
                  <a:pt x="670" y="231"/>
                  <a:pt x="670" y="230"/>
                </a:cubicBezTo>
                <a:cubicBezTo>
                  <a:pt x="669" y="230"/>
                  <a:pt x="669" y="230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0" y="229"/>
                </a:cubicBezTo>
                <a:cubicBezTo>
                  <a:pt x="670" y="229"/>
                  <a:pt x="670" y="229"/>
                  <a:pt x="671" y="229"/>
                </a:cubicBezTo>
                <a:cubicBezTo>
                  <a:pt x="670" y="230"/>
                  <a:pt x="670" y="230"/>
                  <a:pt x="670" y="230"/>
                </a:cubicBezTo>
                <a:cubicBezTo>
                  <a:pt x="670" y="233"/>
                  <a:pt x="669" y="236"/>
                  <a:pt x="668" y="238"/>
                </a:cubicBezTo>
                <a:cubicBezTo>
                  <a:pt x="668" y="237"/>
                  <a:pt x="668" y="235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ubicBezTo>
                  <a:pt x="669" y="233"/>
                  <a:pt x="669" y="233"/>
                  <a:pt x="669" y="233"/>
                </a:cubicBezTo>
                <a:close/>
                <a:moveTo>
                  <a:pt x="668" y="231"/>
                </a:moveTo>
                <a:cubicBezTo>
                  <a:pt x="668" y="233"/>
                  <a:pt x="666" y="231"/>
                  <a:pt x="668" y="231"/>
                </a:cubicBezTo>
                <a:close/>
                <a:moveTo>
                  <a:pt x="671" y="249"/>
                </a:moveTo>
                <a:cubicBezTo>
                  <a:pt x="670" y="250"/>
                  <a:pt x="668" y="251"/>
                  <a:pt x="666" y="252"/>
                </a:cubicBezTo>
                <a:cubicBezTo>
                  <a:pt x="667" y="250"/>
                  <a:pt x="669" y="250"/>
                  <a:pt x="671" y="249"/>
                </a:cubicBezTo>
                <a:close/>
                <a:moveTo>
                  <a:pt x="667" y="257"/>
                </a:moveTo>
                <a:cubicBezTo>
                  <a:pt x="667" y="258"/>
                  <a:pt x="666" y="260"/>
                  <a:pt x="665" y="261"/>
                </a:cubicBezTo>
                <a:cubicBezTo>
                  <a:pt x="665" y="259"/>
                  <a:pt x="667" y="259"/>
                  <a:pt x="667" y="257"/>
                </a:cubicBezTo>
                <a:close/>
                <a:moveTo>
                  <a:pt x="666" y="302"/>
                </a:moveTo>
                <a:cubicBezTo>
                  <a:pt x="666" y="302"/>
                  <a:pt x="666" y="302"/>
                  <a:pt x="666" y="301"/>
                </a:cubicBezTo>
                <a:cubicBezTo>
                  <a:pt x="666" y="300"/>
                  <a:pt x="667" y="302"/>
                  <a:pt x="666" y="302"/>
                </a:cubicBezTo>
                <a:close/>
                <a:moveTo>
                  <a:pt x="657" y="233"/>
                </a:moveTo>
                <a:cubicBezTo>
                  <a:pt x="657" y="233"/>
                  <a:pt x="657" y="233"/>
                  <a:pt x="657" y="233"/>
                </a:cubicBezTo>
                <a:cubicBezTo>
                  <a:pt x="657" y="235"/>
                  <a:pt x="655" y="233"/>
                  <a:pt x="657" y="233"/>
                </a:cubicBezTo>
                <a:close/>
                <a:moveTo>
                  <a:pt x="655" y="232"/>
                </a:moveTo>
                <a:cubicBezTo>
                  <a:pt x="656" y="232"/>
                  <a:pt x="656" y="234"/>
                  <a:pt x="655" y="234"/>
                </a:cubicBezTo>
                <a:cubicBezTo>
                  <a:pt x="654" y="233"/>
                  <a:pt x="655" y="232"/>
                  <a:pt x="655" y="232"/>
                </a:cubicBezTo>
                <a:close/>
                <a:moveTo>
                  <a:pt x="655" y="256"/>
                </a:moveTo>
                <a:cubicBezTo>
                  <a:pt x="657" y="254"/>
                  <a:pt x="657" y="259"/>
                  <a:pt x="655" y="259"/>
                </a:cubicBezTo>
                <a:cubicBezTo>
                  <a:pt x="654" y="258"/>
                  <a:pt x="654" y="256"/>
                  <a:pt x="655" y="256"/>
                </a:cubicBezTo>
                <a:close/>
                <a:moveTo>
                  <a:pt x="651" y="231"/>
                </a:moveTo>
                <a:cubicBezTo>
                  <a:pt x="651" y="231"/>
                  <a:pt x="652" y="230"/>
                  <a:pt x="653" y="231"/>
                </a:cubicBezTo>
                <a:cubicBezTo>
                  <a:pt x="654" y="232"/>
                  <a:pt x="650" y="234"/>
                  <a:pt x="651" y="231"/>
                </a:cubicBezTo>
                <a:close/>
                <a:moveTo>
                  <a:pt x="651" y="229"/>
                </a:moveTo>
                <a:cubicBezTo>
                  <a:pt x="651" y="228"/>
                  <a:pt x="650" y="231"/>
                  <a:pt x="651" y="229"/>
                </a:cubicBezTo>
                <a:close/>
                <a:moveTo>
                  <a:pt x="647" y="239"/>
                </a:moveTo>
                <a:cubicBezTo>
                  <a:pt x="648" y="237"/>
                  <a:pt x="650" y="241"/>
                  <a:pt x="647" y="241"/>
                </a:cubicBezTo>
                <a:cubicBezTo>
                  <a:pt x="647" y="240"/>
                  <a:pt x="646" y="239"/>
                  <a:pt x="647" y="239"/>
                </a:cubicBezTo>
                <a:close/>
                <a:moveTo>
                  <a:pt x="649" y="265"/>
                </a:moveTo>
                <a:cubicBezTo>
                  <a:pt x="650" y="264"/>
                  <a:pt x="651" y="260"/>
                  <a:pt x="653" y="260"/>
                </a:cubicBezTo>
                <a:cubicBezTo>
                  <a:pt x="657" y="258"/>
                  <a:pt x="649" y="267"/>
                  <a:pt x="648" y="268"/>
                </a:cubicBezTo>
                <a:cubicBezTo>
                  <a:pt x="650" y="266"/>
                  <a:pt x="648" y="270"/>
                  <a:pt x="647" y="269"/>
                </a:cubicBezTo>
                <a:cubicBezTo>
                  <a:pt x="646" y="269"/>
                  <a:pt x="648" y="266"/>
                  <a:pt x="649" y="265"/>
                </a:cubicBezTo>
                <a:close/>
                <a:moveTo>
                  <a:pt x="652" y="271"/>
                </a:moveTo>
                <a:cubicBezTo>
                  <a:pt x="653" y="272"/>
                  <a:pt x="651" y="272"/>
                  <a:pt x="651" y="272"/>
                </a:cubicBezTo>
                <a:cubicBezTo>
                  <a:pt x="651" y="271"/>
                  <a:pt x="652" y="270"/>
                  <a:pt x="652" y="271"/>
                </a:cubicBezTo>
                <a:close/>
                <a:moveTo>
                  <a:pt x="657" y="273"/>
                </a:moveTo>
                <a:cubicBezTo>
                  <a:pt x="653" y="278"/>
                  <a:pt x="649" y="282"/>
                  <a:pt x="643" y="286"/>
                </a:cubicBezTo>
                <a:cubicBezTo>
                  <a:pt x="648" y="281"/>
                  <a:pt x="652" y="277"/>
                  <a:pt x="657" y="273"/>
                </a:cubicBezTo>
                <a:close/>
                <a:moveTo>
                  <a:pt x="645" y="387"/>
                </a:moveTo>
                <a:cubicBezTo>
                  <a:pt x="645" y="389"/>
                  <a:pt x="643" y="388"/>
                  <a:pt x="645" y="387"/>
                </a:cubicBezTo>
                <a:close/>
                <a:moveTo>
                  <a:pt x="645" y="390"/>
                </a:moveTo>
                <a:cubicBezTo>
                  <a:pt x="645" y="388"/>
                  <a:pt x="644" y="391"/>
                  <a:pt x="645" y="390"/>
                </a:cubicBezTo>
                <a:close/>
                <a:moveTo>
                  <a:pt x="641" y="392"/>
                </a:moveTo>
                <a:cubicBezTo>
                  <a:pt x="642" y="391"/>
                  <a:pt x="642" y="390"/>
                  <a:pt x="643" y="389"/>
                </a:cubicBezTo>
                <a:cubicBezTo>
                  <a:pt x="643" y="390"/>
                  <a:pt x="643" y="391"/>
                  <a:pt x="641" y="392"/>
                </a:cubicBezTo>
                <a:close/>
                <a:moveTo>
                  <a:pt x="642" y="393"/>
                </a:moveTo>
                <a:cubicBezTo>
                  <a:pt x="643" y="393"/>
                  <a:pt x="640" y="395"/>
                  <a:pt x="642" y="393"/>
                </a:cubicBezTo>
                <a:close/>
                <a:moveTo>
                  <a:pt x="643" y="300"/>
                </a:moveTo>
                <a:cubicBezTo>
                  <a:pt x="642" y="300"/>
                  <a:pt x="643" y="299"/>
                  <a:pt x="643" y="299"/>
                </a:cubicBezTo>
                <a:cubicBezTo>
                  <a:pt x="644" y="297"/>
                  <a:pt x="644" y="301"/>
                  <a:pt x="643" y="300"/>
                </a:cubicBezTo>
                <a:close/>
                <a:moveTo>
                  <a:pt x="642" y="297"/>
                </a:moveTo>
                <a:cubicBezTo>
                  <a:pt x="642" y="296"/>
                  <a:pt x="643" y="296"/>
                  <a:pt x="644" y="295"/>
                </a:cubicBezTo>
                <a:cubicBezTo>
                  <a:pt x="644" y="296"/>
                  <a:pt x="643" y="297"/>
                  <a:pt x="642" y="297"/>
                </a:cubicBezTo>
                <a:close/>
                <a:moveTo>
                  <a:pt x="639" y="297"/>
                </a:moveTo>
                <a:cubicBezTo>
                  <a:pt x="638" y="296"/>
                  <a:pt x="644" y="290"/>
                  <a:pt x="645" y="290"/>
                </a:cubicBezTo>
                <a:cubicBezTo>
                  <a:pt x="645" y="289"/>
                  <a:pt x="646" y="289"/>
                  <a:pt x="647" y="289"/>
                </a:cubicBezTo>
                <a:cubicBezTo>
                  <a:pt x="647" y="289"/>
                  <a:pt x="640" y="298"/>
                  <a:pt x="639" y="297"/>
                </a:cubicBezTo>
                <a:close/>
                <a:moveTo>
                  <a:pt x="642" y="298"/>
                </a:moveTo>
                <a:cubicBezTo>
                  <a:pt x="641" y="300"/>
                  <a:pt x="639" y="299"/>
                  <a:pt x="642" y="298"/>
                </a:cubicBezTo>
                <a:close/>
                <a:moveTo>
                  <a:pt x="639" y="303"/>
                </a:moveTo>
                <a:cubicBezTo>
                  <a:pt x="639" y="303"/>
                  <a:pt x="639" y="302"/>
                  <a:pt x="639" y="302"/>
                </a:cubicBezTo>
                <a:cubicBezTo>
                  <a:pt x="641" y="300"/>
                  <a:pt x="640" y="304"/>
                  <a:pt x="639" y="303"/>
                </a:cubicBezTo>
                <a:close/>
                <a:moveTo>
                  <a:pt x="640" y="320"/>
                </a:moveTo>
                <a:cubicBezTo>
                  <a:pt x="640" y="320"/>
                  <a:pt x="639" y="321"/>
                  <a:pt x="639" y="321"/>
                </a:cubicBezTo>
                <a:cubicBezTo>
                  <a:pt x="638" y="321"/>
                  <a:pt x="639" y="320"/>
                  <a:pt x="640" y="320"/>
                </a:cubicBezTo>
                <a:close/>
                <a:moveTo>
                  <a:pt x="638" y="266"/>
                </a:moveTo>
                <a:cubicBezTo>
                  <a:pt x="637" y="266"/>
                  <a:pt x="639" y="265"/>
                  <a:pt x="638" y="264"/>
                </a:cubicBezTo>
                <a:cubicBezTo>
                  <a:pt x="639" y="264"/>
                  <a:pt x="638" y="266"/>
                  <a:pt x="638" y="266"/>
                </a:cubicBezTo>
                <a:close/>
                <a:moveTo>
                  <a:pt x="638" y="268"/>
                </a:moveTo>
                <a:cubicBezTo>
                  <a:pt x="638" y="268"/>
                  <a:pt x="638" y="269"/>
                  <a:pt x="638" y="269"/>
                </a:cubicBezTo>
                <a:cubicBezTo>
                  <a:pt x="638" y="269"/>
                  <a:pt x="638" y="269"/>
                  <a:pt x="638" y="269"/>
                </a:cubicBezTo>
                <a:cubicBezTo>
                  <a:pt x="638" y="269"/>
                  <a:pt x="638" y="269"/>
                  <a:pt x="638" y="268"/>
                </a:cubicBezTo>
                <a:close/>
                <a:moveTo>
                  <a:pt x="642" y="286"/>
                </a:moveTo>
                <a:cubicBezTo>
                  <a:pt x="642" y="287"/>
                  <a:pt x="639" y="289"/>
                  <a:pt x="638" y="290"/>
                </a:cubicBezTo>
                <a:cubicBezTo>
                  <a:pt x="638" y="288"/>
                  <a:pt x="641" y="288"/>
                  <a:pt x="642" y="286"/>
                </a:cubicBezTo>
                <a:close/>
                <a:moveTo>
                  <a:pt x="644" y="234"/>
                </a:moveTo>
                <a:cubicBezTo>
                  <a:pt x="643" y="235"/>
                  <a:pt x="643" y="234"/>
                  <a:pt x="644" y="234"/>
                </a:cubicBezTo>
                <a:close/>
                <a:moveTo>
                  <a:pt x="643" y="251"/>
                </a:moveTo>
                <a:cubicBezTo>
                  <a:pt x="643" y="252"/>
                  <a:pt x="642" y="253"/>
                  <a:pt x="642" y="253"/>
                </a:cubicBezTo>
                <a:cubicBezTo>
                  <a:pt x="642" y="253"/>
                  <a:pt x="642" y="251"/>
                  <a:pt x="643" y="251"/>
                </a:cubicBezTo>
                <a:close/>
                <a:moveTo>
                  <a:pt x="645" y="254"/>
                </a:moveTo>
                <a:cubicBezTo>
                  <a:pt x="643" y="257"/>
                  <a:pt x="641" y="258"/>
                  <a:pt x="638" y="260"/>
                </a:cubicBezTo>
                <a:cubicBezTo>
                  <a:pt x="640" y="258"/>
                  <a:pt x="642" y="256"/>
                  <a:pt x="645" y="254"/>
                </a:cubicBezTo>
                <a:close/>
                <a:moveTo>
                  <a:pt x="640" y="225"/>
                </a:moveTo>
                <a:cubicBezTo>
                  <a:pt x="640" y="225"/>
                  <a:pt x="640" y="225"/>
                  <a:pt x="640" y="225"/>
                </a:cubicBezTo>
                <a:cubicBezTo>
                  <a:pt x="640" y="225"/>
                  <a:pt x="640" y="225"/>
                  <a:pt x="640" y="226"/>
                </a:cubicBezTo>
                <a:cubicBezTo>
                  <a:pt x="640" y="226"/>
                  <a:pt x="640" y="226"/>
                  <a:pt x="640" y="225"/>
                </a:cubicBezTo>
                <a:close/>
                <a:moveTo>
                  <a:pt x="640" y="241"/>
                </a:moveTo>
                <a:cubicBezTo>
                  <a:pt x="641" y="243"/>
                  <a:pt x="638" y="244"/>
                  <a:pt x="638" y="242"/>
                </a:cubicBezTo>
                <a:cubicBezTo>
                  <a:pt x="637" y="241"/>
                  <a:pt x="640" y="239"/>
                  <a:pt x="640" y="241"/>
                </a:cubicBezTo>
                <a:close/>
                <a:moveTo>
                  <a:pt x="638" y="290"/>
                </a:moveTo>
                <a:cubicBezTo>
                  <a:pt x="639" y="291"/>
                  <a:pt x="635" y="292"/>
                  <a:pt x="636" y="290"/>
                </a:cubicBezTo>
                <a:cubicBezTo>
                  <a:pt x="637" y="289"/>
                  <a:pt x="637" y="289"/>
                  <a:pt x="638" y="290"/>
                </a:cubicBezTo>
                <a:close/>
                <a:moveTo>
                  <a:pt x="637" y="302"/>
                </a:move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ubicBezTo>
                  <a:pt x="637" y="302"/>
                  <a:pt x="637" y="302"/>
                  <a:pt x="637" y="302"/>
                </a:cubicBezTo>
                <a:close/>
                <a:moveTo>
                  <a:pt x="632" y="265"/>
                </a:moveTo>
                <a:cubicBezTo>
                  <a:pt x="633" y="264"/>
                  <a:pt x="635" y="262"/>
                  <a:pt x="636" y="262"/>
                </a:cubicBezTo>
                <a:cubicBezTo>
                  <a:pt x="636" y="262"/>
                  <a:pt x="634" y="265"/>
                  <a:pt x="632" y="265"/>
                </a:cubicBezTo>
                <a:close/>
                <a:moveTo>
                  <a:pt x="637" y="219"/>
                </a:moveTo>
                <a:cubicBezTo>
                  <a:pt x="637" y="221"/>
                  <a:pt x="634" y="221"/>
                  <a:pt x="634" y="219"/>
                </a:cubicBezTo>
                <a:cubicBezTo>
                  <a:pt x="634" y="218"/>
                  <a:pt x="636" y="217"/>
                  <a:pt x="637" y="219"/>
                </a:cubicBezTo>
                <a:close/>
                <a:moveTo>
                  <a:pt x="633" y="221"/>
                </a:moveTo>
                <a:cubicBezTo>
                  <a:pt x="633" y="221"/>
                  <a:pt x="635" y="221"/>
                  <a:pt x="634" y="222"/>
                </a:cubicBezTo>
                <a:cubicBezTo>
                  <a:pt x="634" y="222"/>
                  <a:pt x="632" y="222"/>
                  <a:pt x="633" y="221"/>
                </a:cubicBezTo>
                <a:close/>
                <a:moveTo>
                  <a:pt x="633" y="253"/>
                </a:moveTo>
                <a:cubicBezTo>
                  <a:pt x="633" y="254"/>
                  <a:pt x="632" y="254"/>
                  <a:pt x="631" y="254"/>
                </a:cubicBezTo>
                <a:cubicBezTo>
                  <a:pt x="631" y="253"/>
                  <a:pt x="632" y="252"/>
                  <a:pt x="633" y="253"/>
                </a:cubicBezTo>
                <a:close/>
                <a:moveTo>
                  <a:pt x="630" y="260"/>
                </a:moveTo>
                <a:cubicBezTo>
                  <a:pt x="630" y="260"/>
                  <a:pt x="630" y="260"/>
                  <a:pt x="630" y="261"/>
                </a:cubicBezTo>
                <a:cubicBezTo>
                  <a:pt x="630" y="261"/>
                  <a:pt x="630" y="261"/>
                  <a:pt x="630" y="261"/>
                </a:cubicBezTo>
                <a:cubicBezTo>
                  <a:pt x="630" y="261"/>
                  <a:pt x="630" y="260"/>
                  <a:pt x="630" y="260"/>
                </a:cubicBezTo>
                <a:close/>
                <a:moveTo>
                  <a:pt x="632" y="277"/>
                </a:moveTo>
                <a:cubicBezTo>
                  <a:pt x="634" y="279"/>
                  <a:pt x="631" y="281"/>
                  <a:pt x="629" y="281"/>
                </a:cubicBezTo>
                <a:cubicBezTo>
                  <a:pt x="629" y="280"/>
                  <a:pt x="631" y="277"/>
                  <a:pt x="632" y="277"/>
                </a:cubicBezTo>
                <a:close/>
                <a:moveTo>
                  <a:pt x="632" y="347"/>
                </a:moveTo>
                <a:cubicBezTo>
                  <a:pt x="632" y="347"/>
                  <a:pt x="632" y="346"/>
                  <a:pt x="632" y="346"/>
                </a:cubicBezTo>
                <a:cubicBezTo>
                  <a:pt x="633" y="344"/>
                  <a:pt x="632" y="348"/>
                  <a:pt x="632" y="347"/>
                </a:cubicBezTo>
                <a:close/>
                <a:moveTo>
                  <a:pt x="630" y="294"/>
                </a:moveTo>
                <a:cubicBezTo>
                  <a:pt x="630" y="295"/>
                  <a:pt x="629" y="295"/>
                  <a:pt x="629" y="295"/>
                </a:cubicBezTo>
                <a:cubicBezTo>
                  <a:pt x="629" y="295"/>
                  <a:pt x="629" y="294"/>
                  <a:pt x="630" y="294"/>
                </a:cubicBezTo>
                <a:close/>
                <a:moveTo>
                  <a:pt x="627" y="314"/>
                </a:moveTo>
                <a:cubicBezTo>
                  <a:pt x="627" y="314"/>
                  <a:pt x="628" y="314"/>
                  <a:pt x="628" y="314"/>
                </a:cubicBezTo>
                <a:cubicBezTo>
                  <a:pt x="629" y="315"/>
                  <a:pt x="627" y="315"/>
                  <a:pt x="627" y="314"/>
                </a:cubicBezTo>
                <a:close/>
                <a:moveTo>
                  <a:pt x="628" y="256"/>
                </a:moveTo>
                <a:cubicBezTo>
                  <a:pt x="628" y="254"/>
                  <a:pt x="627" y="257"/>
                  <a:pt x="628" y="256"/>
                </a:cubicBezTo>
                <a:close/>
                <a:moveTo>
                  <a:pt x="626" y="201"/>
                </a:moveTo>
                <a:cubicBezTo>
                  <a:pt x="624" y="200"/>
                  <a:pt x="625" y="198"/>
                  <a:pt x="626" y="198"/>
                </a:cubicBezTo>
                <a:cubicBezTo>
                  <a:pt x="629" y="196"/>
                  <a:pt x="628" y="201"/>
                  <a:pt x="626" y="201"/>
                </a:cubicBezTo>
                <a:close/>
                <a:moveTo>
                  <a:pt x="625" y="187"/>
                </a:moveTo>
                <a:cubicBezTo>
                  <a:pt x="625" y="186"/>
                  <a:pt x="626" y="186"/>
                  <a:pt x="626" y="186"/>
                </a:cubicBezTo>
                <a:cubicBezTo>
                  <a:pt x="627" y="187"/>
                  <a:pt x="624" y="188"/>
                  <a:pt x="625" y="187"/>
                </a:cubicBezTo>
                <a:close/>
                <a:moveTo>
                  <a:pt x="622" y="226"/>
                </a:moveTo>
                <a:cubicBezTo>
                  <a:pt x="617" y="226"/>
                  <a:pt x="619" y="218"/>
                  <a:pt x="621" y="217"/>
                </a:cubicBezTo>
                <a:cubicBezTo>
                  <a:pt x="629" y="212"/>
                  <a:pt x="628" y="227"/>
                  <a:pt x="622" y="226"/>
                </a:cubicBezTo>
                <a:close/>
                <a:moveTo>
                  <a:pt x="619" y="233"/>
                </a:moveTo>
                <a:cubicBezTo>
                  <a:pt x="618" y="232"/>
                  <a:pt x="623" y="228"/>
                  <a:pt x="624" y="228"/>
                </a:cubicBezTo>
                <a:cubicBezTo>
                  <a:pt x="628" y="226"/>
                  <a:pt x="620" y="234"/>
                  <a:pt x="619" y="233"/>
                </a:cubicBezTo>
                <a:close/>
                <a:moveTo>
                  <a:pt x="625" y="235"/>
                </a:moveTo>
                <a:cubicBezTo>
                  <a:pt x="625" y="236"/>
                  <a:pt x="623" y="237"/>
                  <a:pt x="623" y="236"/>
                </a:cubicBezTo>
                <a:cubicBezTo>
                  <a:pt x="622" y="235"/>
                  <a:pt x="624" y="234"/>
                  <a:pt x="625" y="235"/>
                </a:cubicBezTo>
                <a:close/>
                <a:moveTo>
                  <a:pt x="622" y="357"/>
                </a:move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ubicBezTo>
                  <a:pt x="622" y="357"/>
                  <a:pt x="622" y="357"/>
                  <a:pt x="622" y="357"/>
                </a:cubicBezTo>
                <a:close/>
                <a:moveTo>
                  <a:pt x="608" y="328"/>
                </a:moveTo>
                <a:cubicBezTo>
                  <a:pt x="608" y="327"/>
                  <a:pt x="611" y="326"/>
                  <a:pt x="612" y="324"/>
                </a:cubicBezTo>
                <a:cubicBezTo>
                  <a:pt x="615" y="321"/>
                  <a:pt x="617" y="315"/>
                  <a:pt x="621" y="313"/>
                </a:cubicBezTo>
                <a:cubicBezTo>
                  <a:pt x="621" y="317"/>
                  <a:pt x="615" y="319"/>
                  <a:pt x="614" y="322"/>
                </a:cubicBezTo>
                <a:cubicBezTo>
                  <a:pt x="613" y="324"/>
                  <a:pt x="610" y="329"/>
                  <a:pt x="607" y="331"/>
                </a:cubicBezTo>
                <a:cubicBezTo>
                  <a:pt x="607" y="331"/>
                  <a:pt x="607" y="333"/>
                  <a:pt x="606" y="332"/>
                </a:cubicBezTo>
                <a:cubicBezTo>
                  <a:pt x="605" y="331"/>
                  <a:pt x="608" y="328"/>
                  <a:pt x="608" y="328"/>
                </a:cubicBezTo>
                <a:close/>
                <a:moveTo>
                  <a:pt x="605" y="271"/>
                </a:moveTo>
                <a:cubicBezTo>
                  <a:pt x="604" y="270"/>
                  <a:pt x="605" y="269"/>
                  <a:pt x="605" y="269"/>
                </a:cubicBezTo>
                <a:cubicBezTo>
                  <a:pt x="608" y="267"/>
                  <a:pt x="606" y="272"/>
                  <a:pt x="605" y="271"/>
                </a:cubicBezTo>
                <a:close/>
                <a:moveTo>
                  <a:pt x="609" y="243"/>
                </a:moveTo>
                <a:cubicBezTo>
                  <a:pt x="608" y="242"/>
                  <a:pt x="610" y="241"/>
                  <a:pt x="611" y="243"/>
                </a:cubicBezTo>
                <a:cubicBezTo>
                  <a:pt x="611" y="244"/>
                  <a:pt x="609" y="244"/>
                  <a:pt x="609" y="243"/>
                </a:cubicBezTo>
                <a:close/>
                <a:moveTo>
                  <a:pt x="611" y="305"/>
                </a:moveTo>
                <a:cubicBezTo>
                  <a:pt x="610" y="306"/>
                  <a:pt x="611" y="304"/>
                  <a:pt x="611" y="305"/>
                </a:cubicBezTo>
                <a:close/>
                <a:moveTo>
                  <a:pt x="613" y="298"/>
                </a:moveTo>
                <a:cubicBezTo>
                  <a:pt x="613" y="298"/>
                  <a:pt x="613" y="298"/>
                  <a:pt x="613" y="298"/>
                </a:cubicBezTo>
                <a:cubicBezTo>
                  <a:pt x="614" y="295"/>
                  <a:pt x="613" y="300"/>
                  <a:pt x="613" y="298"/>
                </a:cubicBezTo>
                <a:close/>
                <a:moveTo>
                  <a:pt x="617" y="261"/>
                </a:moveTo>
                <a:cubicBezTo>
                  <a:pt x="617" y="262"/>
                  <a:pt x="616" y="262"/>
                  <a:pt x="615" y="263"/>
                </a:cubicBezTo>
                <a:cubicBezTo>
                  <a:pt x="615" y="262"/>
                  <a:pt x="616" y="261"/>
                  <a:pt x="617" y="261"/>
                </a:cubicBezTo>
                <a:close/>
                <a:moveTo>
                  <a:pt x="616" y="238"/>
                </a:moveTo>
                <a:cubicBezTo>
                  <a:pt x="616" y="238"/>
                  <a:pt x="616" y="239"/>
                  <a:pt x="615" y="239"/>
                </a:cubicBezTo>
                <a:cubicBezTo>
                  <a:pt x="615" y="238"/>
                  <a:pt x="615" y="238"/>
                  <a:pt x="616" y="238"/>
                </a:cubicBezTo>
                <a:close/>
                <a:moveTo>
                  <a:pt x="618" y="309"/>
                </a:moveTo>
                <a:cubicBezTo>
                  <a:pt x="618" y="309"/>
                  <a:pt x="618" y="308"/>
                  <a:pt x="618" y="308"/>
                </a:cubicBezTo>
                <a:cubicBezTo>
                  <a:pt x="619" y="306"/>
                  <a:pt x="618" y="311"/>
                  <a:pt x="618" y="309"/>
                </a:cubicBezTo>
                <a:close/>
                <a:moveTo>
                  <a:pt x="618" y="295"/>
                </a:moveTo>
                <a:cubicBezTo>
                  <a:pt x="619" y="293"/>
                  <a:pt x="618" y="296"/>
                  <a:pt x="618" y="295"/>
                </a:cubicBezTo>
                <a:close/>
                <a:moveTo>
                  <a:pt x="620" y="301"/>
                </a:moveTo>
                <a:cubicBezTo>
                  <a:pt x="619" y="302"/>
                  <a:pt x="621" y="300"/>
                  <a:pt x="620" y="301"/>
                </a:cubicBezTo>
                <a:close/>
                <a:moveTo>
                  <a:pt x="621" y="333"/>
                </a:moveTo>
                <a:cubicBezTo>
                  <a:pt x="620" y="335"/>
                  <a:pt x="619" y="336"/>
                  <a:pt x="618" y="337"/>
                </a:cubicBezTo>
                <a:cubicBezTo>
                  <a:pt x="619" y="336"/>
                  <a:pt x="620" y="334"/>
                  <a:pt x="621" y="333"/>
                </a:cubicBezTo>
                <a:close/>
                <a:moveTo>
                  <a:pt x="622" y="194"/>
                </a:moveTo>
                <a:cubicBezTo>
                  <a:pt x="621" y="194"/>
                  <a:pt x="622" y="192"/>
                  <a:pt x="623" y="193"/>
                </a:cubicBezTo>
                <a:cubicBezTo>
                  <a:pt x="623" y="194"/>
                  <a:pt x="622" y="195"/>
                  <a:pt x="622" y="194"/>
                </a:cubicBezTo>
                <a:close/>
                <a:moveTo>
                  <a:pt x="619" y="192"/>
                </a:moveTo>
                <a:cubicBezTo>
                  <a:pt x="619" y="192"/>
                  <a:pt x="619" y="192"/>
                  <a:pt x="620" y="191"/>
                </a:cubicBezTo>
                <a:cubicBezTo>
                  <a:pt x="620" y="192"/>
                  <a:pt x="620" y="192"/>
                  <a:pt x="620" y="192"/>
                </a:cubicBezTo>
                <a:cubicBezTo>
                  <a:pt x="621" y="191"/>
                  <a:pt x="622" y="190"/>
                  <a:pt x="623" y="190"/>
                </a:cubicBezTo>
                <a:cubicBezTo>
                  <a:pt x="622" y="192"/>
                  <a:pt x="620" y="193"/>
                  <a:pt x="617" y="194"/>
                </a:cubicBezTo>
                <a:cubicBezTo>
                  <a:pt x="618" y="193"/>
                  <a:pt x="618" y="193"/>
                  <a:pt x="619" y="192"/>
                </a:cubicBezTo>
                <a:close/>
                <a:moveTo>
                  <a:pt x="615" y="194"/>
                </a:moveTo>
                <a:cubicBezTo>
                  <a:pt x="616" y="194"/>
                  <a:pt x="617" y="193"/>
                  <a:pt x="617" y="194"/>
                </a:cubicBezTo>
                <a:cubicBezTo>
                  <a:pt x="618" y="195"/>
                  <a:pt x="613" y="196"/>
                  <a:pt x="615" y="194"/>
                </a:cubicBezTo>
                <a:close/>
                <a:moveTo>
                  <a:pt x="612" y="214"/>
                </a:moveTo>
                <a:cubicBezTo>
                  <a:pt x="613" y="215"/>
                  <a:pt x="612" y="215"/>
                  <a:pt x="611" y="214"/>
                </a:cubicBezTo>
                <a:cubicBezTo>
                  <a:pt x="611" y="214"/>
                  <a:pt x="612" y="213"/>
                  <a:pt x="612" y="214"/>
                </a:cubicBezTo>
                <a:close/>
                <a:moveTo>
                  <a:pt x="609" y="203"/>
                </a:moveTo>
                <a:cubicBezTo>
                  <a:pt x="611" y="201"/>
                  <a:pt x="611" y="205"/>
                  <a:pt x="609" y="205"/>
                </a:cubicBezTo>
                <a:cubicBezTo>
                  <a:pt x="609" y="204"/>
                  <a:pt x="609" y="204"/>
                  <a:pt x="609" y="203"/>
                </a:cubicBezTo>
                <a:close/>
                <a:moveTo>
                  <a:pt x="609" y="219"/>
                </a:moveTo>
                <a:cubicBezTo>
                  <a:pt x="612" y="218"/>
                  <a:pt x="616" y="215"/>
                  <a:pt x="620" y="214"/>
                </a:cubicBezTo>
                <a:cubicBezTo>
                  <a:pt x="617" y="216"/>
                  <a:pt x="611" y="220"/>
                  <a:pt x="608" y="221"/>
                </a:cubicBezTo>
                <a:cubicBezTo>
                  <a:pt x="609" y="221"/>
                  <a:pt x="607" y="222"/>
                  <a:pt x="607" y="221"/>
                </a:cubicBezTo>
                <a:cubicBezTo>
                  <a:pt x="606" y="220"/>
                  <a:pt x="609" y="220"/>
                  <a:pt x="609" y="219"/>
                </a:cubicBezTo>
                <a:close/>
                <a:moveTo>
                  <a:pt x="610" y="253"/>
                </a:moveTo>
                <a:cubicBezTo>
                  <a:pt x="610" y="255"/>
                  <a:pt x="605" y="256"/>
                  <a:pt x="605" y="255"/>
                </a:cubicBezTo>
                <a:cubicBezTo>
                  <a:pt x="604" y="252"/>
                  <a:pt x="610" y="249"/>
                  <a:pt x="610" y="253"/>
                </a:cubicBezTo>
                <a:close/>
                <a:moveTo>
                  <a:pt x="602" y="194"/>
                </a:moveTo>
                <a:cubicBezTo>
                  <a:pt x="602" y="194"/>
                  <a:pt x="603" y="194"/>
                  <a:pt x="603" y="194"/>
                </a:cubicBezTo>
                <a:cubicBezTo>
                  <a:pt x="604" y="196"/>
                  <a:pt x="601" y="196"/>
                  <a:pt x="602" y="194"/>
                </a:cubicBezTo>
                <a:close/>
                <a:moveTo>
                  <a:pt x="604" y="256"/>
                </a:moveTo>
                <a:cubicBezTo>
                  <a:pt x="604" y="257"/>
                  <a:pt x="606" y="258"/>
                  <a:pt x="606" y="259"/>
                </a:cubicBezTo>
                <a:cubicBezTo>
                  <a:pt x="605" y="261"/>
                  <a:pt x="604" y="259"/>
                  <a:pt x="603" y="260"/>
                </a:cubicBezTo>
                <a:cubicBezTo>
                  <a:pt x="601" y="262"/>
                  <a:pt x="602" y="267"/>
                  <a:pt x="600" y="270"/>
                </a:cubicBezTo>
                <a:cubicBezTo>
                  <a:pt x="600" y="265"/>
                  <a:pt x="602" y="261"/>
                  <a:pt x="604" y="256"/>
                </a:cubicBezTo>
                <a:close/>
                <a:moveTo>
                  <a:pt x="600" y="272"/>
                </a:moveTo>
                <a:cubicBezTo>
                  <a:pt x="600" y="271"/>
                  <a:pt x="602" y="269"/>
                  <a:pt x="603" y="271"/>
                </a:cubicBezTo>
                <a:cubicBezTo>
                  <a:pt x="603" y="273"/>
                  <a:pt x="601" y="273"/>
                  <a:pt x="600" y="272"/>
                </a:cubicBezTo>
                <a:close/>
                <a:moveTo>
                  <a:pt x="601" y="310"/>
                </a:moveTo>
                <a:cubicBezTo>
                  <a:pt x="600" y="310"/>
                  <a:pt x="601" y="310"/>
                  <a:pt x="601" y="310"/>
                </a:cubicBezTo>
                <a:cubicBezTo>
                  <a:pt x="602" y="310"/>
                  <a:pt x="601" y="310"/>
                  <a:pt x="601" y="310"/>
                </a:cubicBezTo>
                <a:close/>
                <a:moveTo>
                  <a:pt x="602" y="303"/>
                </a:moveTo>
                <a:cubicBezTo>
                  <a:pt x="602" y="302"/>
                  <a:pt x="603" y="302"/>
                  <a:pt x="603" y="302"/>
                </a:cubicBezTo>
                <a:cubicBezTo>
                  <a:pt x="604" y="302"/>
                  <a:pt x="602" y="304"/>
                  <a:pt x="602" y="303"/>
                </a:cubicBezTo>
                <a:close/>
                <a:moveTo>
                  <a:pt x="607" y="416"/>
                </a:moveTo>
                <a:cubicBezTo>
                  <a:pt x="607" y="415"/>
                  <a:pt x="607" y="415"/>
                  <a:pt x="608" y="414"/>
                </a:cubicBezTo>
                <a:cubicBezTo>
                  <a:pt x="607" y="415"/>
                  <a:pt x="607" y="416"/>
                  <a:pt x="607" y="416"/>
                </a:cubicBezTo>
                <a:close/>
                <a:moveTo>
                  <a:pt x="608" y="393"/>
                </a:moveTo>
                <a:cubicBezTo>
                  <a:pt x="608" y="392"/>
                  <a:pt x="609" y="391"/>
                  <a:pt x="610" y="390"/>
                </a:cubicBezTo>
                <a:cubicBezTo>
                  <a:pt x="610" y="390"/>
                  <a:pt x="609" y="392"/>
                  <a:pt x="608" y="393"/>
                </a:cubicBezTo>
                <a:close/>
                <a:moveTo>
                  <a:pt x="600" y="353"/>
                </a:moveTo>
                <a:cubicBezTo>
                  <a:pt x="601" y="350"/>
                  <a:pt x="607" y="346"/>
                  <a:pt x="610" y="343"/>
                </a:cubicBezTo>
                <a:cubicBezTo>
                  <a:pt x="608" y="347"/>
                  <a:pt x="603" y="350"/>
                  <a:pt x="600" y="353"/>
                </a:cubicBezTo>
                <a:close/>
                <a:moveTo>
                  <a:pt x="611" y="388"/>
                </a:moveTo>
                <a:cubicBezTo>
                  <a:pt x="610" y="388"/>
                  <a:pt x="612" y="387"/>
                  <a:pt x="611" y="388"/>
                </a:cubicBezTo>
                <a:close/>
                <a:moveTo>
                  <a:pt x="612" y="387"/>
                </a:moveTo>
                <a:cubicBezTo>
                  <a:pt x="612" y="386"/>
                  <a:pt x="612" y="386"/>
                  <a:pt x="613" y="385"/>
                </a:cubicBezTo>
                <a:cubicBezTo>
                  <a:pt x="613" y="386"/>
                  <a:pt x="612" y="387"/>
                  <a:pt x="612" y="387"/>
                </a:cubicBezTo>
                <a:close/>
                <a:moveTo>
                  <a:pt x="611" y="344"/>
                </a:moveTo>
                <a:cubicBezTo>
                  <a:pt x="612" y="342"/>
                  <a:pt x="613" y="341"/>
                  <a:pt x="616" y="339"/>
                </a:cubicBezTo>
                <a:cubicBezTo>
                  <a:pt x="614" y="341"/>
                  <a:pt x="613" y="343"/>
                  <a:pt x="611" y="344"/>
                </a:cubicBezTo>
                <a:close/>
                <a:moveTo>
                  <a:pt x="615" y="357"/>
                </a:moveTo>
                <a:cubicBezTo>
                  <a:pt x="615" y="357"/>
                  <a:pt x="616" y="356"/>
                  <a:pt x="617" y="356"/>
                </a:cubicBezTo>
                <a:cubicBezTo>
                  <a:pt x="616" y="357"/>
                  <a:pt x="615" y="357"/>
                  <a:pt x="615" y="357"/>
                </a:cubicBezTo>
                <a:close/>
                <a:moveTo>
                  <a:pt x="617" y="539"/>
                </a:moveTo>
                <a:cubicBezTo>
                  <a:pt x="616" y="539"/>
                  <a:pt x="617" y="537"/>
                  <a:pt x="618" y="537"/>
                </a:cubicBezTo>
                <a:cubicBezTo>
                  <a:pt x="618" y="538"/>
                  <a:pt x="617" y="539"/>
                  <a:pt x="617" y="539"/>
                </a:cubicBezTo>
                <a:close/>
                <a:moveTo>
                  <a:pt x="618" y="445"/>
                </a:moveTo>
                <a:cubicBezTo>
                  <a:pt x="617" y="445"/>
                  <a:pt x="618" y="443"/>
                  <a:pt x="618" y="443"/>
                </a:cubicBezTo>
                <a:cubicBezTo>
                  <a:pt x="620" y="441"/>
                  <a:pt x="619" y="446"/>
                  <a:pt x="618" y="445"/>
                </a:cubicBezTo>
                <a:close/>
                <a:moveTo>
                  <a:pt x="619" y="557"/>
                </a:moveTo>
                <a:cubicBezTo>
                  <a:pt x="619" y="557"/>
                  <a:pt x="619" y="556"/>
                  <a:pt x="619" y="557"/>
                </a:cubicBezTo>
                <a:cubicBezTo>
                  <a:pt x="620" y="557"/>
                  <a:pt x="619" y="558"/>
                  <a:pt x="619" y="557"/>
                </a:cubicBezTo>
                <a:close/>
                <a:moveTo>
                  <a:pt x="619" y="347"/>
                </a:moveTo>
                <a:cubicBezTo>
                  <a:pt x="618" y="347"/>
                  <a:pt x="619" y="345"/>
                  <a:pt x="619" y="345"/>
                </a:cubicBezTo>
                <a:cubicBezTo>
                  <a:pt x="621" y="342"/>
                  <a:pt x="620" y="348"/>
                  <a:pt x="619" y="347"/>
                </a:cubicBezTo>
                <a:close/>
                <a:moveTo>
                  <a:pt x="620" y="435"/>
                </a:moveTo>
                <a:cubicBezTo>
                  <a:pt x="621" y="434"/>
                  <a:pt x="619" y="437"/>
                  <a:pt x="620" y="435"/>
                </a:cubicBezTo>
                <a:close/>
                <a:moveTo>
                  <a:pt x="623" y="526"/>
                </a:moveTo>
                <a:cubicBezTo>
                  <a:pt x="624" y="527"/>
                  <a:pt x="622" y="529"/>
                  <a:pt x="621" y="530"/>
                </a:cubicBezTo>
                <a:cubicBezTo>
                  <a:pt x="621" y="529"/>
                  <a:pt x="623" y="527"/>
                  <a:pt x="623" y="526"/>
                </a:cubicBezTo>
                <a:close/>
                <a:moveTo>
                  <a:pt x="622" y="561"/>
                </a:moveTo>
                <a:cubicBezTo>
                  <a:pt x="621" y="560"/>
                  <a:pt x="622" y="558"/>
                  <a:pt x="622" y="558"/>
                </a:cubicBezTo>
                <a:cubicBezTo>
                  <a:pt x="625" y="555"/>
                  <a:pt x="624" y="562"/>
                  <a:pt x="622" y="561"/>
                </a:cubicBezTo>
                <a:close/>
                <a:moveTo>
                  <a:pt x="624" y="492"/>
                </a:moveTo>
                <a:cubicBezTo>
                  <a:pt x="624" y="490"/>
                  <a:pt x="623" y="493"/>
                  <a:pt x="624" y="492"/>
                </a:cubicBezTo>
                <a:close/>
                <a:moveTo>
                  <a:pt x="625" y="381"/>
                </a:moveTo>
                <a:cubicBezTo>
                  <a:pt x="625" y="381"/>
                  <a:pt x="624" y="381"/>
                  <a:pt x="624" y="381"/>
                </a:cubicBezTo>
                <a:cubicBezTo>
                  <a:pt x="625" y="379"/>
                  <a:pt x="626" y="381"/>
                  <a:pt x="625" y="381"/>
                </a:cubicBezTo>
                <a:close/>
                <a:moveTo>
                  <a:pt x="624" y="254"/>
                </a:moveTo>
                <a:cubicBezTo>
                  <a:pt x="624" y="254"/>
                  <a:pt x="625" y="253"/>
                  <a:pt x="625" y="253"/>
                </a:cubicBezTo>
                <a:cubicBezTo>
                  <a:pt x="626" y="252"/>
                  <a:pt x="625" y="255"/>
                  <a:pt x="624" y="254"/>
                </a:cubicBezTo>
                <a:close/>
                <a:moveTo>
                  <a:pt x="626" y="488"/>
                </a:moveTo>
                <a:cubicBezTo>
                  <a:pt x="626" y="488"/>
                  <a:pt x="627" y="486"/>
                  <a:pt x="627" y="486"/>
                </a:cubicBezTo>
                <a:cubicBezTo>
                  <a:pt x="627" y="487"/>
                  <a:pt x="626" y="487"/>
                  <a:pt x="626" y="488"/>
                </a:cubicBezTo>
                <a:close/>
                <a:moveTo>
                  <a:pt x="628" y="522"/>
                </a:moveTo>
                <a:cubicBezTo>
                  <a:pt x="626" y="521"/>
                  <a:pt x="628" y="521"/>
                  <a:pt x="628" y="522"/>
                </a:cubicBezTo>
                <a:close/>
                <a:moveTo>
                  <a:pt x="633" y="526"/>
                </a:moveTo>
                <a:cubicBezTo>
                  <a:pt x="634" y="528"/>
                  <a:pt x="631" y="529"/>
                  <a:pt x="633" y="526"/>
                </a:cubicBezTo>
                <a:close/>
                <a:moveTo>
                  <a:pt x="628" y="417"/>
                </a:moveTo>
                <a:cubicBezTo>
                  <a:pt x="630" y="415"/>
                  <a:pt x="631" y="410"/>
                  <a:pt x="634" y="409"/>
                </a:cubicBezTo>
                <a:cubicBezTo>
                  <a:pt x="633" y="409"/>
                  <a:pt x="631" y="417"/>
                  <a:pt x="628" y="417"/>
                </a:cubicBezTo>
                <a:close/>
                <a:moveTo>
                  <a:pt x="633" y="310"/>
                </a:moveTo>
                <a:cubicBezTo>
                  <a:pt x="632" y="309"/>
                  <a:pt x="634" y="305"/>
                  <a:pt x="634" y="305"/>
                </a:cubicBezTo>
                <a:cubicBezTo>
                  <a:pt x="638" y="302"/>
                  <a:pt x="636" y="311"/>
                  <a:pt x="633" y="310"/>
                </a:cubicBezTo>
                <a:close/>
                <a:moveTo>
                  <a:pt x="637" y="496"/>
                </a:moveTo>
                <a:cubicBezTo>
                  <a:pt x="636" y="497"/>
                  <a:pt x="637" y="495"/>
                  <a:pt x="637" y="496"/>
                </a:cubicBezTo>
                <a:close/>
                <a:moveTo>
                  <a:pt x="637" y="495"/>
                </a:moveTo>
                <a:cubicBezTo>
                  <a:pt x="635" y="495"/>
                  <a:pt x="637" y="490"/>
                  <a:pt x="638" y="490"/>
                </a:cubicBezTo>
                <a:cubicBezTo>
                  <a:pt x="640" y="489"/>
                  <a:pt x="639" y="496"/>
                  <a:pt x="637" y="495"/>
                </a:cubicBezTo>
                <a:close/>
                <a:moveTo>
                  <a:pt x="638" y="424"/>
                </a:move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ubicBezTo>
                  <a:pt x="638" y="424"/>
                  <a:pt x="638" y="424"/>
                  <a:pt x="638" y="424"/>
                </a:cubicBezTo>
                <a:close/>
                <a:moveTo>
                  <a:pt x="634" y="368"/>
                </a:moveTo>
                <a:cubicBezTo>
                  <a:pt x="637" y="365"/>
                  <a:pt x="639" y="361"/>
                  <a:pt x="643" y="358"/>
                </a:cubicBezTo>
                <a:cubicBezTo>
                  <a:pt x="641" y="362"/>
                  <a:pt x="638" y="365"/>
                  <a:pt x="634" y="368"/>
                </a:cubicBezTo>
                <a:close/>
                <a:moveTo>
                  <a:pt x="641" y="395"/>
                </a:moveTo>
                <a:cubicBezTo>
                  <a:pt x="641" y="395"/>
                  <a:pt x="641" y="395"/>
                  <a:pt x="641" y="395"/>
                </a:cubicBezTo>
                <a:cubicBezTo>
                  <a:pt x="641" y="395"/>
                  <a:pt x="641" y="394"/>
                  <a:pt x="641" y="395"/>
                </a:cubicBezTo>
                <a:close/>
                <a:moveTo>
                  <a:pt x="640" y="430"/>
                </a:moveTo>
                <a:cubicBezTo>
                  <a:pt x="640" y="430"/>
                  <a:pt x="640" y="428"/>
                  <a:pt x="642" y="428"/>
                </a:cubicBezTo>
                <a:cubicBezTo>
                  <a:pt x="643" y="427"/>
                  <a:pt x="644" y="427"/>
                  <a:pt x="645" y="428"/>
                </a:cubicBezTo>
                <a:cubicBezTo>
                  <a:pt x="648" y="432"/>
                  <a:pt x="641" y="434"/>
                  <a:pt x="640" y="430"/>
                </a:cubicBezTo>
                <a:close/>
                <a:moveTo>
                  <a:pt x="645" y="387"/>
                </a:moveTo>
                <a:cubicBezTo>
                  <a:pt x="645" y="386"/>
                  <a:pt x="645" y="385"/>
                  <a:pt x="646" y="385"/>
                </a:cubicBezTo>
                <a:cubicBezTo>
                  <a:pt x="646" y="386"/>
                  <a:pt x="646" y="386"/>
                  <a:pt x="645" y="387"/>
                </a:cubicBezTo>
                <a:close/>
                <a:moveTo>
                  <a:pt x="647" y="552"/>
                </a:moveTo>
                <a:cubicBezTo>
                  <a:pt x="646" y="553"/>
                  <a:pt x="648" y="551"/>
                  <a:pt x="647" y="552"/>
                </a:cubicBezTo>
                <a:close/>
                <a:moveTo>
                  <a:pt x="647" y="429"/>
                </a:moveTo>
                <a:cubicBezTo>
                  <a:pt x="648" y="428"/>
                  <a:pt x="645" y="431"/>
                  <a:pt x="647" y="429"/>
                </a:cubicBezTo>
                <a:close/>
                <a:moveTo>
                  <a:pt x="646" y="388"/>
                </a:moveTo>
                <a:cubicBezTo>
                  <a:pt x="646" y="387"/>
                  <a:pt x="647" y="386"/>
                  <a:pt x="647" y="385"/>
                </a:cubicBezTo>
                <a:cubicBezTo>
                  <a:pt x="647" y="386"/>
                  <a:pt x="647" y="387"/>
                  <a:pt x="646" y="388"/>
                </a:cubicBezTo>
                <a:close/>
                <a:moveTo>
                  <a:pt x="646" y="385"/>
                </a:moveTo>
                <a:cubicBezTo>
                  <a:pt x="647" y="384"/>
                  <a:pt x="647" y="383"/>
                  <a:pt x="648" y="383"/>
                </a:cubicBezTo>
                <a:cubicBezTo>
                  <a:pt x="648" y="384"/>
                  <a:pt x="647" y="384"/>
                  <a:pt x="646" y="385"/>
                </a:cubicBezTo>
                <a:close/>
                <a:moveTo>
                  <a:pt x="647" y="345"/>
                </a:moveTo>
                <a:cubicBezTo>
                  <a:pt x="646" y="345"/>
                  <a:pt x="647" y="344"/>
                  <a:pt x="647" y="344"/>
                </a:cubicBezTo>
                <a:cubicBezTo>
                  <a:pt x="648" y="342"/>
                  <a:pt x="648" y="345"/>
                  <a:pt x="647" y="345"/>
                </a:cubicBezTo>
                <a:close/>
                <a:moveTo>
                  <a:pt x="648" y="529"/>
                </a:moveTo>
                <a:cubicBezTo>
                  <a:pt x="647" y="529"/>
                  <a:pt x="648" y="528"/>
                  <a:pt x="648" y="528"/>
                </a:cubicBezTo>
                <a:cubicBezTo>
                  <a:pt x="649" y="528"/>
                  <a:pt x="648" y="529"/>
                  <a:pt x="648" y="529"/>
                </a:cubicBezTo>
                <a:close/>
                <a:moveTo>
                  <a:pt x="648" y="382"/>
                </a:moveTo>
                <a:cubicBezTo>
                  <a:pt x="649" y="381"/>
                  <a:pt x="647" y="383"/>
                  <a:pt x="648" y="382"/>
                </a:cubicBezTo>
                <a:close/>
                <a:moveTo>
                  <a:pt x="650" y="335"/>
                </a:moveTo>
                <a:cubicBezTo>
                  <a:pt x="647" y="337"/>
                  <a:pt x="652" y="333"/>
                  <a:pt x="650" y="335"/>
                </a:cubicBezTo>
                <a:close/>
                <a:moveTo>
                  <a:pt x="651" y="357"/>
                </a:moveTo>
                <a:cubicBezTo>
                  <a:pt x="651" y="355"/>
                  <a:pt x="650" y="358"/>
                  <a:pt x="651" y="357"/>
                </a:cubicBezTo>
                <a:close/>
                <a:moveTo>
                  <a:pt x="651" y="299"/>
                </a:moveTo>
                <a:cubicBezTo>
                  <a:pt x="649" y="299"/>
                  <a:pt x="651" y="296"/>
                  <a:pt x="652" y="298"/>
                </a:cubicBezTo>
                <a:cubicBezTo>
                  <a:pt x="652" y="298"/>
                  <a:pt x="651" y="299"/>
                  <a:pt x="651" y="299"/>
                </a:cubicBezTo>
                <a:close/>
                <a:moveTo>
                  <a:pt x="651" y="291"/>
                </a:moveTo>
                <a:cubicBezTo>
                  <a:pt x="651" y="291"/>
                  <a:pt x="652" y="291"/>
                  <a:pt x="652" y="291"/>
                </a:cubicBezTo>
                <a:cubicBezTo>
                  <a:pt x="652" y="292"/>
                  <a:pt x="651" y="291"/>
                  <a:pt x="651" y="291"/>
                </a:cubicBezTo>
                <a:close/>
                <a:moveTo>
                  <a:pt x="652" y="333"/>
                </a:moveTo>
                <a:cubicBezTo>
                  <a:pt x="652" y="331"/>
                  <a:pt x="654" y="331"/>
                  <a:pt x="654" y="330"/>
                </a:cubicBezTo>
                <a:cubicBezTo>
                  <a:pt x="654" y="331"/>
                  <a:pt x="653" y="332"/>
                  <a:pt x="652" y="333"/>
                </a:cubicBezTo>
                <a:close/>
                <a:moveTo>
                  <a:pt x="654" y="302"/>
                </a:moveTo>
                <a:cubicBezTo>
                  <a:pt x="655" y="302"/>
                  <a:pt x="654" y="302"/>
                  <a:pt x="654" y="302"/>
                </a:cubicBezTo>
                <a:cubicBezTo>
                  <a:pt x="655" y="304"/>
                  <a:pt x="652" y="302"/>
                  <a:pt x="654" y="302"/>
                </a:cubicBezTo>
                <a:close/>
                <a:moveTo>
                  <a:pt x="654" y="370"/>
                </a:moveTo>
                <a:cubicBezTo>
                  <a:pt x="654" y="369"/>
                  <a:pt x="656" y="369"/>
                  <a:pt x="655" y="370"/>
                </a:cubicBezTo>
                <a:cubicBezTo>
                  <a:pt x="655" y="370"/>
                  <a:pt x="654" y="370"/>
                  <a:pt x="654" y="370"/>
                </a:cubicBezTo>
                <a:close/>
                <a:moveTo>
                  <a:pt x="648" y="287"/>
                </a:moveTo>
                <a:cubicBezTo>
                  <a:pt x="651" y="284"/>
                  <a:pt x="653" y="280"/>
                  <a:pt x="658" y="277"/>
                </a:cubicBezTo>
                <a:cubicBezTo>
                  <a:pt x="657" y="281"/>
                  <a:pt x="652" y="285"/>
                  <a:pt x="648" y="287"/>
                </a:cubicBezTo>
                <a:close/>
                <a:moveTo>
                  <a:pt x="657" y="286"/>
                </a:moveTo>
                <a:cubicBezTo>
                  <a:pt x="657" y="285"/>
                  <a:pt x="658" y="285"/>
                  <a:pt x="658" y="285"/>
                </a:cubicBezTo>
                <a:cubicBezTo>
                  <a:pt x="659" y="286"/>
                  <a:pt x="656" y="287"/>
                  <a:pt x="657" y="286"/>
                </a:cubicBezTo>
                <a:close/>
                <a:moveTo>
                  <a:pt x="658" y="318"/>
                </a:moveTo>
                <a:cubicBezTo>
                  <a:pt x="659" y="317"/>
                  <a:pt x="657" y="319"/>
                  <a:pt x="658" y="318"/>
                </a:cubicBezTo>
                <a:close/>
                <a:moveTo>
                  <a:pt x="658" y="348"/>
                </a:moveTo>
                <a:cubicBezTo>
                  <a:pt x="659" y="347"/>
                  <a:pt x="656" y="349"/>
                  <a:pt x="658" y="348"/>
                </a:cubicBezTo>
                <a:close/>
                <a:moveTo>
                  <a:pt x="658" y="477"/>
                </a:moveTo>
                <a:cubicBezTo>
                  <a:pt x="658" y="476"/>
                  <a:pt x="658" y="476"/>
                  <a:pt x="658" y="476"/>
                </a:cubicBezTo>
                <a:cubicBezTo>
                  <a:pt x="659" y="474"/>
                  <a:pt x="660" y="477"/>
                  <a:pt x="658" y="477"/>
                </a:cubicBezTo>
                <a:close/>
                <a:moveTo>
                  <a:pt x="658" y="376"/>
                </a:moveTo>
                <a:cubicBezTo>
                  <a:pt x="657" y="375"/>
                  <a:pt x="658" y="373"/>
                  <a:pt x="658" y="373"/>
                </a:cubicBezTo>
                <a:cubicBezTo>
                  <a:pt x="661" y="371"/>
                  <a:pt x="661" y="376"/>
                  <a:pt x="658" y="376"/>
                </a:cubicBezTo>
                <a:close/>
                <a:moveTo>
                  <a:pt x="660" y="413"/>
                </a:moveTo>
                <a:cubicBezTo>
                  <a:pt x="660" y="412"/>
                  <a:pt x="661" y="412"/>
                  <a:pt x="660" y="413"/>
                </a:cubicBezTo>
                <a:close/>
                <a:moveTo>
                  <a:pt x="658" y="347"/>
                </a:moveTo>
                <a:cubicBezTo>
                  <a:pt x="659" y="345"/>
                  <a:pt x="660" y="343"/>
                  <a:pt x="662" y="342"/>
                </a:cubicBezTo>
                <a:cubicBezTo>
                  <a:pt x="662" y="342"/>
                  <a:pt x="660" y="346"/>
                  <a:pt x="658" y="347"/>
                </a:cubicBezTo>
                <a:close/>
                <a:moveTo>
                  <a:pt x="663" y="312"/>
                </a:moveTo>
                <a:cubicBezTo>
                  <a:pt x="663" y="312"/>
                  <a:pt x="664" y="313"/>
                  <a:pt x="663" y="313"/>
                </a:cubicBezTo>
                <a:cubicBezTo>
                  <a:pt x="662" y="314"/>
                  <a:pt x="661" y="312"/>
                  <a:pt x="662" y="312"/>
                </a:cubicBezTo>
                <a:cubicBezTo>
                  <a:pt x="662" y="312"/>
                  <a:pt x="662" y="312"/>
                  <a:pt x="662" y="312"/>
                </a:cubicBezTo>
                <a:cubicBezTo>
                  <a:pt x="662" y="311"/>
                  <a:pt x="662" y="311"/>
                  <a:pt x="661" y="311"/>
                </a:cubicBezTo>
                <a:cubicBezTo>
                  <a:pt x="660" y="310"/>
                  <a:pt x="664" y="308"/>
                  <a:pt x="664" y="310"/>
                </a:cubicBezTo>
                <a:cubicBezTo>
                  <a:pt x="664" y="311"/>
                  <a:pt x="664" y="311"/>
                  <a:pt x="663" y="312"/>
                </a:cubicBezTo>
                <a:close/>
                <a:moveTo>
                  <a:pt x="662" y="277"/>
                </a:moveTo>
                <a:cubicBezTo>
                  <a:pt x="661" y="279"/>
                  <a:pt x="662" y="276"/>
                  <a:pt x="662" y="277"/>
                </a:cubicBezTo>
                <a:close/>
                <a:moveTo>
                  <a:pt x="662" y="261"/>
                </a:moveTo>
                <a:cubicBezTo>
                  <a:pt x="662" y="261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ubicBezTo>
                  <a:pt x="662" y="260"/>
                  <a:pt x="662" y="261"/>
                  <a:pt x="662" y="261"/>
                </a:cubicBezTo>
                <a:cubicBezTo>
                  <a:pt x="662" y="261"/>
                  <a:pt x="662" y="261"/>
                  <a:pt x="662" y="261"/>
                </a:cubicBezTo>
                <a:close/>
                <a:moveTo>
                  <a:pt x="664" y="309"/>
                </a:moveTo>
                <a:cubicBezTo>
                  <a:pt x="663" y="309"/>
                  <a:pt x="663" y="308"/>
                  <a:pt x="664" y="308"/>
                </a:cubicBezTo>
                <a:cubicBezTo>
                  <a:pt x="664" y="307"/>
                  <a:pt x="665" y="309"/>
                  <a:pt x="664" y="309"/>
                </a:cubicBezTo>
                <a:close/>
                <a:moveTo>
                  <a:pt x="664" y="258"/>
                </a:moveTo>
                <a:cubicBezTo>
                  <a:pt x="664" y="260"/>
                  <a:pt x="662" y="259"/>
                  <a:pt x="664" y="258"/>
                </a:cubicBezTo>
                <a:close/>
                <a:moveTo>
                  <a:pt x="665" y="262"/>
                </a:moveTo>
                <a:cubicBezTo>
                  <a:pt x="663" y="263"/>
                  <a:pt x="666" y="260"/>
                  <a:pt x="665" y="262"/>
                </a:cubicBezTo>
                <a:close/>
                <a:moveTo>
                  <a:pt x="663" y="233"/>
                </a:moveTo>
                <a:cubicBezTo>
                  <a:pt x="665" y="234"/>
                  <a:pt x="663" y="240"/>
                  <a:pt x="660" y="239"/>
                </a:cubicBezTo>
                <a:cubicBezTo>
                  <a:pt x="657" y="239"/>
                  <a:pt x="659" y="230"/>
                  <a:pt x="663" y="233"/>
                </a:cubicBezTo>
                <a:cubicBezTo>
                  <a:pt x="662" y="232"/>
                  <a:pt x="662" y="229"/>
                  <a:pt x="664" y="230"/>
                </a:cubicBezTo>
                <a:cubicBezTo>
                  <a:pt x="666" y="230"/>
                  <a:pt x="665" y="234"/>
                  <a:pt x="663" y="233"/>
                </a:cubicBezTo>
                <a:close/>
                <a:moveTo>
                  <a:pt x="665" y="341"/>
                </a:moveTo>
                <a:cubicBezTo>
                  <a:pt x="665" y="340"/>
                  <a:pt x="667" y="338"/>
                  <a:pt x="668" y="337"/>
                </a:cubicBezTo>
                <a:cubicBezTo>
                  <a:pt x="667" y="339"/>
                  <a:pt x="667" y="340"/>
                  <a:pt x="665" y="341"/>
                </a:cubicBezTo>
                <a:close/>
                <a:moveTo>
                  <a:pt x="668" y="481"/>
                </a:moveTo>
                <a:cubicBezTo>
                  <a:pt x="668" y="481"/>
                  <a:pt x="668" y="480"/>
                  <a:pt x="668" y="481"/>
                </a:cubicBezTo>
                <a:cubicBezTo>
                  <a:pt x="669" y="481"/>
                  <a:pt x="668" y="482"/>
                  <a:pt x="668" y="481"/>
                </a:cubicBezTo>
                <a:close/>
                <a:moveTo>
                  <a:pt x="671" y="391"/>
                </a:moveTo>
                <a:cubicBezTo>
                  <a:pt x="671" y="390"/>
                  <a:pt x="672" y="389"/>
                  <a:pt x="672" y="388"/>
                </a:cubicBezTo>
                <a:cubicBezTo>
                  <a:pt x="673" y="389"/>
                  <a:pt x="672" y="391"/>
                  <a:pt x="671" y="391"/>
                </a:cubicBezTo>
                <a:close/>
                <a:moveTo>
                  <a:pt x="673" y="387"/>
                </a:moveTo>
                <a:cubicBezTo>
                  <a:pt x="673" y="385"/>
                  <a:pt x="675" y="383"/>
                  <a:pt x="675" y="381"/>
                </a:cubicBezTo>
                <a:cubicBezTo>
                  <a:pt x="676" y="383"/>
                  <a:pt x="674" y="385"/>
                  <a:pt x="673" y="387"/>
                </a:cubicBezTo>
                <a:close/>
                <a:moveTo>
                  <a:pt x="683" y="314"/>
                </a:moveTo>
                <a:cubicBezTo>
                  <a:pt x="681" y="318"/>
                  <a:pt x="678" y="322"/>
                  <a:pt x="676" y="326"/>
                </a:cubicBezTo>
                <a:cubicBezTo>
                  <a:pt x="678" y="322"/>
                  <a:pt x="679" y="317"/>
                  <a:pt x="683" y="314"/>
                </a:cubicBezTo>
                <a:close/>
                <a:moveTo>
                  <a:pt x="678" y="432"/>
                </a:moveTo>
                <a:cubicBezTo>
                  <a:pt x="678" y="434"/>
                  <a:pt x="676" y="433"/>
                  <a:pt x="678" y="432"/>
                </a:cubicBezTo>
                <a:close/>
                <a:moveTo>
                  <a:pt x="682" y="426"/>
                </a:moveTo>
                <a:cubicBezTo>
                  <a:pt x="681" y="426"/>
                  <a:pt x="681" y="425"/>
                  <a:pt x="682" y="424"/>
                </a:cubicBezTo>
                <a:cubicBezTo>
                  <a:pt x="683" y="423"/>
                  <a:pt x="684" y="427"/>
                  <a:pt x="682" y="426"/>
                </a:cubicBezTo>
                <a:close/>
                <a:moveTo>
                  <a:pt x="683" y="451"/>
                </a:moveTo>
                <a:cubicBezTo>
                  <a:pt x="683" y="450"/>
                  <a:pt x="685" y="451"/>
                  <a:pt x="683" y="451"/>
                </a:cubicBezTo>
                <a:close/>
                <a:moveTo>
                  <a:pt x="683" y="486"/>
                </a:moveTo>
                <a:cubicBezTo>
                  <a:pt x="684" y="486"/>
                  <a:pt x="682" y="487"/>
                  <a:pt x="683" y="486"/>
                </a:cubicBezTo>
                <a:close/>
                <a:moveTo>
                  <a:pt x="685" y="289"/>
                </a:moveTo>
                <a:cubicBezTo>
                  <a:pt x="686" y="289"/>
                  <a:pt x="684" y="290"/>
                  <a:pt x="684" y="290"/>
                </a:cubicBezTo>
                <a:cubicBezTo>
                  <a:pt x="684" y="290"/>
                  <a:pt x="685" y="290"/>
                  <a:pt x="685" y="289"/>
                </a:cubicBezTo>
                <a:close/>
                <a:moveTo>
                  <a:pt x="685" y="345"/>
                </a:moveTo>
                <a:cubicBezTo>
                  <a:pt x="684" y="344"/>
                  <a:pt x="685" y="344"/>
                  <a:pt x="685" y="343"/>
                </a:cubicBezTo>
                <a:cubicBezTo>
                  <a:pt x="686" y="343"/>
                  <a:pt x="685" y="345"/>
                  <a:pt x="685" y="345"/>
                </a:cubicBezTo>
                <a:close/>
                <a:moveTo>
                  <a:pt x="686" y="342"/>
                </a:moveTo>
                <a:cubicBezTo>
                  <a:pt x="685" y="341"/>
                  <a:pt x="686" y="341"/>
                  <a:pt x="686" y="340"/>
                </a:cubicBezTo>
                <a:cubicBezTo>
                  <a:pt x="687" y="340"/>
                  <a:pt x="686" y="342"/>
                  <a:pt x="686" y="342"/>
                </a:cubicBezTo>
                <a:close/>
                <a:moveTo>
                  <a:pt x="687" y="340"/>
                </a:moveTo>
                <a:cubicBezTo>
                  <a:pt x="686" y="339"/>
                  <a:pt x="687" y="337"/>
                  <a:pt x="688" y="336"/>
                </a:cubicBezTo>
                <a:cubicBezTo>
                  <a:pt x="688" y="337"/>
                  <a:pt x="687" y="339"/>
                  <a:pt x="687" y="340"/>
                </a:cubicBezTo>
                <a:close/>
                <a:moveTo>
                  <a:pt x="688" y="329"/>
                </a:moveTo>
                <a:cubicBezTo>
                  <a:pt x="688" y="329"/>
                  <a:pt x="688" y="329"/>
                  <a:pt x="688" y="329"/>
                </a:cubicBezTo>
                <a:cubicBezTo>
                  <a:pt x="688" y="329"/>
                  <a:pt x="687" y="330"/>
                  <a:pt x="688" y="329"/>
                </a:cubicBezTo>
                <a:close/>
                <a:moveTo>
                  <a:pt x="688" y="284"/>
                </a:moveTo>
                <a:cubicBezTo>
                  <a:pt x="689" y="283"/>
                  <a:pt x="686" y="286"/>
                  <a:pt x="688" y="284"/>
                </a:cubicBezTo>
                <a:close/>
                <a:moveTo>
                  <a:pt x="693" y="290"/>
                </a:moveTo>
                <a:cubicBezTo>
                  <a:pt x="697" y="288"/>
                  <a:pt x="695" y="297"/>
                  <a:pt x="692" y="296"/>
                </a:cubicBezTo>
                <a:cubicBezTo>
                  <a:pt x="690" y="295"/>
                  <a:pt x="692" y="291"/>
                  <a:pt x="693" y="290"/>
                </a:cubicBezTo>
                <a:close/>
                <a:moveTo>
                  <a:pt x="691" y="285"/>
                </a:moveTo>
                <a:cubicBezTo>
                  <a:pt x="691" y="286"/>
                  <a:pt x="692" y="284"/>
                  <a:pt x="691" y="285"/>
                </a:cubicBezTo>
                <a:close/>
                <a:moveTo>
                  <a:pt x="689" y="285"/>
                </a:moveTo>
                <a:cubicBezTo>
                  <a:pt x="690" y="285"/>
                  <a:pt x="690" y="284"/>
                  <a:pt x="691" y="284"/>
                </a:cubicBezTo>
                <a:cubicBezTo>
                  <a:pt x="693" y="285"/>
                  <a:pt x="688" y="288"/>
                  <a:pt x="689" y="285"/>
                </a:cubicBezTo>
                <a:close/>
                <a:moveTo>
                  <a:pt x="689" y="316"/>
                </a:moveTo>
                <a:cubicBezTo>
                  <a:pt x="690" y="317"/>
                  <a:pt x="688" y="316"/>
                  <a:pt x="689" y="316"/>
                </a:cubicBezTo>
                <a:close/>
                <a:moveTo>
                  <a:pt x="689" y="395"/>
                </a:moveTo>
                <a:cubicBezTo>
                  <a:pt x="689" y="395"/>
                  <a:pt x="689" y="394"/>
                  <a:pt x="689" y="394"/>
                </a:cubicBezTo>
                <a:cubicBezTo>
                  <a:pt x="690" y="394"/>
                  <a:pt x="688" y="397"/>
                  <a:pt x="689" y="395"/>
                </a:cubicBezTo>
                <a:close/>
                <a:moveTo>
                  <a:pt x="690" y="404"/>
                </a:moveTo>
                <a:cubicBezTo>
                  <a:pt x="690" y="403"/>
                  <a:pt x="691" y="404"/>
                  <a:pt x="691" y="404"/>
                </a:cubicBezTo>
                <a:cubicBezTo>
                  <a:pt x="691" y="405"/>
                  <a:pt x="689" y="405"/>
                  <a:pt x="690" y="404"/>
                </a:cubicBezTo>
                <a:close/>
                <a:moveTo>
                  <a:pt x="691" y="343"/>
                </a:moveTo>
                <a:cubicBezTo>
                  <a:pt x="691" y="342"/>
                  <a:pt x="691" y="341"/>
                  <a:pt x="691" y="341"/>
                </a:cubicBezTo>
                <a:cubicBezTo>
                  <a:pt x="692" y="340"/>
                  <a:pt x="692" y="343"/>
                  <a:pt x="691" y="343"/>
                </a:cubicBezTo>
                <a:close/>
                <a:moveTo>
                  <a:pt x="692" y="394"/>
                </a:moveTo>
                <a:cubicBezTo>
                  <a:pt x="691" y="395"/>
                  <a:pt x="693" y="393"/>
                  <a:pt x="692" y="394"/>
                </a:cubicBezTo>
                <a:close/>
                <a:moveTo>
                  <a:pt x="692" y="300"/>
                </a:moveTo>
                <a:cubicBezTo>
                  <a:pt x="690" y="300"/>
                  <a:pt x="691" y="299"/>
                  <a:pt x="692" y="298"/>
                </a:cubicBezTo>
                <a:cubicBezTo>
                  <a:pt x="693" y="297"/>
                  <a:pt x="693" y="300"/>
                  <a:pt x="692" y="300"/>
                </a:cubicBezTo>
                <a:close/>
                <a:moveTo>
                  <a:pt x="694" y="330"/>
                </a:moveTo>
                <a:cubicBezTo>
                  <a:pt x="695" y="329"/>
                  <a:pt x="695" y="332"/>
                  <a:pt x="694" y="331"/>
                </a:cubicBezTo>
                <a:cubicBezTo>
                  <a:pt x="693" y="331"/>
                  <a:pt x="694" y="330"/>
                  <a:pt x="694" y="330"/>
                </a:cubicBezTo>
                <a:close/>
                <a:moveTo>
                  <a:pt x="694" y="454"/>
                </a:moveTo>
                <a:cubicBezTo>
                  <a:pt x="694" y="454"/>
                  <a:pt x="694" y="454"/>
                  <a:pt x="695" y="454"/>
                </a:cubicBezTo>
                <a:cubicBezTo>
                  <a:pt x="696" y="454"/>
                  <a:pt x="693" y="455"/>
                  <a:pt x="694" y="454"/>
                </a:cubicBezTo>
                <a:close/>
                <a:moveTo>
                  <a:pt x="696" y="312"/>
                </a:moveTo>
                <a:cubicBezTo>
                  <a:pt x="694" y="313"/>
                  <a:pt x="694" y="308"/>
                  <a:pt x="695" y="307"/>
                </a:cubicBezTo>
                <a:cubicBezTo>
                  <a:pt x="700" y="304"/>
                  <a:pt x="697" y="312"/>
                  <a:pt x="696" y="312"/>
                </a:cubicBezTo>
                <a:close/>
                <a:moveTo>
                  <a:pt x="699" y="327"/>
                </a:moveTo>
                <a:cubicBezTo>
                  <a:pt x="699" y="327"/>
                  <a:pt x="700" y="326"/>
                  <a:pt x="700" y="326"/>
                </a:cubicBezTo>
                <a:cubicBezTo>
                  <a:pt x="702" y="327"/>
                  <a:pt x="698" y="329"/>
                  <a:pt x="699" y="327"/>
                </a:cubicBezTo>
                <a:close/>
                <a:moveTo>
                  <a:pt x="702" y="431"/>
                </a:moveTo>
                <a:cubicBezTo>
                  <a:pt x="702" y="430"/>
                  <a:pt x="704" y="429"/>
                  <a:pt x="704" y="428"/>
                </a:cubicBezTo>
                <a:cubicBezTo>
                  <a:pt x="704" y="429"/>
                  <a:pt x="704" y="431"/>
                  <a:pt x="702" y="431"/>
                </a:cubicBezTo>
                <a:close/>
                <a:moveTo>
                  <a:pt x="704" y="427"/>
                </a:moveTo>
                <a:cubicBezTo>
                  <a:pt x="705" y="425"/>
                  <a:pt x="705" y="423"/>
                  <a:pt x="706" y="421"/>
                </a:cubicBezTo>
                <a:cubicBezTo>
                  <a:pt x="707" y="422"/>
                  <a:pt x="705" y="426"/>
                  <a:pt x="704" y="427"/>
                </a:cubicBezTo>
                <a:close/>
                <a:moveTo>
                  <a:pt x="706" y="392"/>
                </a:moveTo>
                <a:cubicBezTo>
                  <a:pt x="706" y="393"/>
                  <a:pt x="706" y="393"/>
                  <a:pt x="706" y="392"/>
                </a:cubicBezTo>
                <a:close/>
                <a:moveTo>
                  <a:pt x="709" y="396"/>
                </a:moveTo>
                <a:cubicBezTo>
                  <a:pt x="710" y="397"/>
                  <a:pt x="708" y="397"/>
                  <a:pt x="709" y="396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ts val="300"/>
              </a:spcBef>
            </a:pPr>
            <a:r>
              <a:rPr lang="en-ID" b="1" dirty="0">
                <a:solidFill>
                  <a:schemeClr val="bg1"/>
                </a:solidFill>
              </a:rPr>
              <a:t>LOREM IPSUM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="" xmlns:a16="http://schemas.microsoft.com/office/drawing/2014/main" id="{BD5AB257-8747-409C-8644-9ADB19F66D37}"/>
              </a:ext>
            </a:extLst>
          </p:cNvPr>
          <p:cNvGrpSpPr/>
          <p:nvPr/>
        </p:nvGrpSpPr>
        <p:grpSpPr>
          <a:xfrm flipH="1">
            <a:off x="8806712" y="4888630"/>
            <a:ext cx="439822" cy="439822"/>
            <a:chOff x="1929292" y="3462553"/>
            <a:chExt cx="652034" cy="652034"/>
          </a:xfrm>
        </p:grpSpPr>
        <p:sp>
          <p:nvSpPr>
            <p:cNvPr id="65" name="Oval 64">
              <a:extLst>
                <a:ext uri="{FF2B5EF4-FFF2-40B4-BE49-F238E27FC236}">
                  <a16:creationId xmlns="" xmlns:a16="http://schemas.microsoft.com/office/drawing/2014/main" id="{63582F4C-9815-4720-B30B-CD999D8EA4DA}"/>
                </a:ext>
              </a:extLst>
            </p:cNvPr>
            <p:cNvSpPr/>
            <p:nvPr/>
          </p:nvSpPr>
          <p:spPr>
            <a:xfrm>
              <a:off x="1929292" y="3462553"/>
              <a:ext cx="652034" cy="652034"/>
            </a:xfrm>
            <a:prstGeom prst="ellipse">
              <a:avLst/>
            </a:prstGeom>
            <a:solidFill>
              <a:schemeClr val="tx2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="" xmlns:a16="http://schemas.microsoft.com/office/drawing/2014/main" id="{223CB703-E780-47E1-A3F9-B9E8C67DCD28}"/>
                </a:ext>
              </a:extLst>
            </p:cNvPr>
            <p:cNvGrpSpPr/>
            <p:nvPr/>
          </p:nvGrpSpPr>
          <p:grpSpPr>
            <a:xfrm>
              <a:off x="2115564" y="3662894"/>
              <a:ext cx="279490" cy="251353"/>
              <a:chOff x="7396163" y="4268788"/>
              <a:chExt cx="236538" cy="212725"/>
            </a:xfrm>
            <a:solidFill>
              <a:schemeClr val="accent4"/>
            </a:solidFill>
          </p:grpSpPr>
          <p:sp>
            <p:nvSpPr>
              <p:cNvPr id="67" name="Freeform 385">
                <a:extLst>
                  <a:ext uri="{FF2B5EF4-FFF2-40B4-BE49-F238E27FC236}">
                    <a16:creationId xmlns="" xmlns:a16="http://schemas.microsoft.com/office/drawing/2014/main" id="{983DFDBA-12A1-4C4B-87F6-E85E0275C3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96163" y="4268788"/>
                <a:ext cx="138113" cy="212725"/>
              </a:xfrm>
              <a:custGeom>
                <a:avLst/>
                <a:gdLst>
                  <a:gd name="T0" fmla="*/ 25 w 348"/>
                  <a:gd name="T1" fmla="*/ 457 h 535"/>
                  <a:gd name="T2" fmla="*/ 80 w 348"/>
                  <a:gd name="T3" fmla="*/ 512 h 535"/>
                  <a:gd name="T4" fmla="*/ 324 w 348"/>
                  <a:gd name="T5" fmla="*/ 268 h 535"/>
                  <a:gd name="T6" fmla="*/ 80 w 348"/>
                  <a:gd name="T7" fmla="*/ 23 h 535"/>
                  <a:gd name="T8" fmla="*/ 25 w 348"/>
                  <a:gd name="T9" fmla="*/ 79 h 535"/>
                  <a:gd name="T10" fmla="*/ 207 w 348"/>
                  <a:gd name="T11" fmla="*/ 260 h 535"/>
                  <a:gd name="T12" fmla="*/ 209 w 348"/>
                  <a:gd name="T13" fmla="*/ 263 h 535"/>
                  <a:gd name="T14" fmla="*/ 210 w 348"/>
                  <a:gd name="T15" fmla="*/ 268 h 535"/>
                  <a:gd name="T16" fmla="*/ 209 w 348"/>
                  <a:gd name="T17" fmla="*/ 271 h 535"/>
                  <a:gd name="T18" fmla="*/ 207 w 348"/>
                  <a:gd name="T19" fmla="*/ 274 h 535"/>
                  <a:gd name="T20" fmla="*/ 25 w 348"/>
                  <a:gd name="T21" fmla="*/ 457 h 535"/>
                  <a:gd name="T22" fmla="*/ 80 w 348"/>
                  <a:gd name="T23" fmla="*/ 535 h 535"/>
                  <a:gd name="T24" fmla="*/ 77 w 348"/>
                  <a:gd name="T25" fmla="*/ 534 h 535"/>
                  <a:gd name="T26" fmla="*/ 73 w 348"/>
                  <a:gd name="T27" fmla="*/ 533 h 535"/>
                  <a:gd name="T28" fmla="*/ 4 w 348"/>
                  <a:gd name="T29" fmla="*/ 463 h 535"/>
                  <a:gd name="T30" fmla="*/ 2 w 348"/>
                  <a:gd name="T31" fmla="*/ 460 h 535"/>
                  <a:gd name="T32" fmla="*/ 0 w 348"/>
                  <a:gd name="T33" fmla="*/ 457 h 535"/>
                  <a:gd name="T34" fmla="*/ 2 w 348"/>
                  <a:gd name="T35" fmla="*/ 452 h 535"/>
                  <a:gd name="T36" fmla="*/ 4 w 348"/>
                  <a:gd name="T37" fmla="*/ 449 h 535"/>
                  <a:gd name="T38" fmla="*/ 185 w 348"/>
                  <a:gd name="T39" fmla="*/ 268 h 535"/>
                  <a:gd name="T40" fmla="*/ 4 w 348"/>
                  <a:gd name="T41" fmla="*/ 86 h 535"/>
                  <a:gd name="T42" fmla="*/ 2 w 348"/>
                  <a:gd name="T43" fmla="*/ 83 h 535"/>
                  <a:gd name="T44" fmla="*/ 0 w 348"/>
                  <a:gd name="T45" fmla="*/ 79 h 535"/>
                  <a:gd name="T46" fmla="*/ 2 w 348"/>
                  <a:gd name="T47" fmla="*/ 75 h 535"/>
                  <a:gd name="T48" fmla="*/ 4 w 348"/>
                  <a:gd name="T49" fmla="*/ 72 h 535"/>
                  <a:gd name="T50" fmla="*/ 74 w 348"/>
                  <a:gd name="T51" fmla="*/ 2 h 535"/>
                  <a:gd name="T52" fmla="*/ 77 w 348"/>
                  <a:gd name="T53" fmla="*/ 0 h 535"/>
                  <a:gd name="T54" fmla="*/ 80 w 348"/>
                  <a:gd name="T55" fmla="*/ 0 h 535"/>
                  <a:gd name="T56" fmla="*/ 84 w 348"/>
                  <a:gd name="T57" fmla="*/ 0 h 535"/>
                  <a:gd name="T58" fmla="*/ 87 w 348"/>
                  <a:gd name="T59" fmla="*/ 2 h 535"/>
                  <a:gd name="T60" fmla="*/ 346 w 348"/>
                  <a:gd name="T61" fmla="*/ 260 h 535"/>
                  <a:gd name="T62" fmla="*/ 348 w 348"/>
                  <a:gd name="T63" fmla="*/ 263 h 535"/>
                  <a:gd name="T64" fmla="*/ 348 w 348"/>
                  <a:gd name="T65" fmla="*/ 268 h 535"/>
                  <a:gd name="T66" fmla="*/ 348 w 348"/>
                  <a:gd name="T67" fmla="*/ 271 h 535"/>
                  <a:gd name="T68" fmla="*/ 346 w 348"/>
                  <a:gd name="T69" fmla="*/ 274 h 535"/>
                  <a:gd name="T70" fmla="*/ 87 w 348"/>
                  <a:gd name="T71" fmla="*/ 532 h 535"/>
                  <a:gd name="T72" fmla="*/ 84 w 348"/>
                  <a:gd name="T73" fmla="*/ 534 h 535"/>
                  <a:gd name="T74" fmla="*/ 80 w 348"/>
                  <a:gd name="T75" fmla="*/ 535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8" h="535">
                    <a:moveTo>
                      <a:pt x="25" y="457"/>
                    </a:moveTo>
                    <a:lnTo>
                      <a:pt x="80" y="512"/>
                    </a:lnTo>
                    <a:lnTo>
                      <a:pt x="324" y="268"/>
                    </a:lnTo>
                    <a:lnTo>
                      <a:pt x="80" y="23"/>
                    </a:lnTo>
                    <a:lnTo>
                      <a:pt x="25" y="79"/>
                    </a:lnTo>
                    <a:lnTo>
                      <a:pt x="207" y="260"/>
                    </a:lnTo>
                    <a:lnTo>
                      <a:pt x="209" y="263"/>
                    </a:lnTo>
                    <a:lnTo>
                      <a:pt x="210" y="268"/>
                    </a:lnTo>
                    <a:lnTo>
                      <a:pt x="209" y="271"/>
                    </a:lnTo>
                    <a:lnTo>
                      <a:pt x="207" y="274"/>
                    </a:lnTo>
                    <a:lnTo>
                      <a:pt x="25" y="457"/>
                    </a:lnTo>
                    <a:close/>
                    <a:moveTo>
                      <a:pt x="80" y="535"/>
                    </a:moveTo>
                    <a:lnTo>
                      <a:pt x="77" y="534"/>
                    </a:lnTo>
                    <a:lnTo>
                      <a:pt x="73" y="533"/>
                    </a:lnTo>
                    <a:lnTo>
                      <a:pt x="4" y="463"/>
                    </a:lnTo>
                    <a:lnTo>
                      <a:pt x="2" y="460"/>
                    </a:lnTo>
                    <a:lnTo>
                      <a:pt x="0" y="457"/>
                    </a:lnTo>
                    <a:lnTo>
                      <a:pt x="2" y="452"/>
                    </a:lnTo>
                    <a:lnTo>
                      <a:pt x="4" y="449"/>
                    </a:lnTo>
                    <a:lnTo>
                      <a:pt x="185" y="268"/>
                    </a:lnTo>
                    <a:lnTo>
                      <a:pt x="4" y="86"/>
                    </a:lnTo>
                    <a:lnTo>
                      <a:pt x="2" y="83"/>
                    </a:lnTo>
                    <a:lnTo>
                      <a:pt x="0" y="79"/>
                    </a:lnTo>
                    <a:lnTo>
                      <a:pt x="2" y="75"/>
                    </a:lnTo>
                    <a:lnTo>
                      <a:pt x="4" y="72"/>
                    </a:lnTo>
                    <a:lnTo>
                      <a:pt x="74" y="2"/>
                    </a:lnTo>
                    <a:lnTo>
                      <a:pt x="77" y="0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7" y="2"/>
                    </a:lnTo>
                    <a:lnTo>
                      <a:pt x="346" y="260"/>
                    </a:lnTo>
                    <a:lnTo>
                      <a:pt x="348" y="263"/>
                    </a:lnTo>
                    <a:lnTo>
                      <a:pt x="348" y="268"/>
                    </a:lnTo>
                    <a:lnTo>
                      <a:pt x="348" y="271"/>
                    </a:lnTo>
                    <a:lnTo>
                      <a:pt x="346" y="274"/>
                    </a:lnTo>
                    <a:lnTo>
                      <a:pt x="87" y="532"/>
                    </a:lnTo>
                    <a:lnTo>
                      <a:pt x="84" y="534"/>
                    </a:lnTo>
                    <a:lnTo>
                      <a:pt x="80" y="5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Freeform 386">
                <a:extLst>
                  <a:ext uri="{FF2B5EF4-FFF2-40B4-BE49-F238E27FC236}">
                    <a16:creationId xmlns="" xmlns:a16="http://schemas.microsoft.com/office/drawing/2014/main" id="{E031BC93-D69D-4477-9B65-B75C4F3F5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94588" y="4268788"/>
                <a:ext cx="138113" cy="212725"/>
              </a:xfrm>
              <a:custGeom>
                <a:avLst/>
                <a:gdLst>
                  <a:gd name="T0" fmla="*/ 25 w 348"/>
                  <a:gd name="T1" fmla="*/ 457 h 535"/>
                  <a:gd name="T2" fmla="*/ 80 w 348"/>
                  <a:gd name="T3" fmla="*/ 512 h 535"/>
                  <a:gd name="T4" fmla="*/ 324 w 348"/>
                  <a:gd name="T5" fmla="*/ 268 h 535"/>
                  <a:gd name="T6" fmla="*/ 80 w 348"/>
                  <a:gd name="T7" fmla="*/ 23 h 535"/>
                  <a:gd name="T8" fmla="*/ 25 w 348"/>
                  <a:gd name="T9" fmla="*/ 79 h 535"/>
                  <a:gd name="T10" fmla="*/ 206 w 348"/>
                  <a:gd name="T11" fmla="*/ 260 h 535"/>
                  <a:gd name="T12" fmla="*/ 208 w 348"/>
                  <a:gd name="T13" fmla="*/ 263 h 535"/>
                  <a:gd name="T14" fmla="*/ 208 w 348"/>
                  <a:gd name="T15" fmla="*/ 268 h 535"/>
                  <a:gd name="T16" fmla="*/ 208 w 348"/>
                  <a:gd name="T17" fmla="*/ 271 h 535"/>
                  <a:gd name="T18" fmla="*/ 206 w 348"/>
                  <a:gd name="T19" fmla="*/ 274 h 535"/>
                  <a:gd name="T20" fmla="*/ 25 w 348"/>
                  <a:gd name="T21" fmla="*/ 457 h 535"/>
                  <a:gd name="T22" fmla="*/ 80 w 348"/>
                  <a:gd name="T23" fmla="*/ 535 h 535"/>
                  <a:gd name="T24" fmla="*/ 75 w 348"/>
                  <a:gd name="T25" fmla="*/ 534 h 535"/>
                  <a:gd name="T26" fmla="*/ 72 w 348"/>
                  <a:gd name="T27" fmla="*/ 533 h 535"/>
                  <a:gd name="T28" fmla="*/ 3 w 348"/>
                  <a:gd name="T29" fmla="*/ 463 h 535"/>
                  <a:gd name="T30" fmla="*/ 1 w 348"/>
                  <a:gd name="T31" fmla="*/ 460 h 535"/>
                  <a:gd name="T32" fmla="*/ 0 w 348"/>
                  <a:gd name="T33" fmla="*/ 457 h 535"/>
                  <a:gd name="T34" fmla="*/ 1 w 348"/>
                  <a:gd name="T35" fmla="*/ 452 h 535"/>
                  <a:gd name="T36" fmla="*/ 3 w 348"/>
                  <a:gd name="T37" fmla="*/ 449 h 535"/>
                  <a:gd name="T38" fmla="*/ 185 w 348"/>
                  <a:gd name="T39" fmla="*/ 268 h 535"/>
                  <a:gd name="T40" fmla="*/ 3 w 348"/>
                  <a:gd name="T41" fmla="*/ 86 h 535"/>
                  <a:gd name="T42" fmla="*/ 1 w 348"/>
                  <a:gd name="T43" fmla="*/ 83 h 535"/>
                  <a:gd name="T44" fmla="*/ 0 w 348"/>
                  <a:gd name="T45" fmla="*/ 79 h 535"/>
                  <a:gd name="T46" fmla="*/ 1 w 348"/>
                  <a:gd name="T47" fmla="*/ 75 h 535"/>
                  <a:gd name="T48" fmla="*/ 3 w 348"/>
                  <a:gd name="T49" fmla="*/ 72 h 535"/>
                  <a:gd name="T50" fmla="*/ 72 w 348"/>
                  <a:gd name="T51" fmla="*/ 2 h 535"/>
                  <a:gd name="T52" fmla="*/ 75 w 348"/>
                  <a:gd name="T53" fmla="*/ 0 h 535"/>
                  <a:gd name="T54" fmla="*/ 80 w 348"/>
                  <a:gd name="T55" fmla="*/ 0 h 535"/>
                  <a:gd name="T56" fmla="*/ 83 w 348"/>
                  <a:gd name="T57" fmla="*/ 0 h 535"/>
                  <a:gd name="T58" fmla="*/ 86 w 348"/>
                  <a:gd name="T59" fmla="*/ 2 h 535"/>
                  <a:gd name="T60" fmla="*/ 344 w 348"/>
                  <a:gd name="T61" fmla="*/ 260 h 535"/>
                  <a:gd name="T62" fmla="*/ 347 w 348"/>
                  <a:gd name="T63" fmla="*/ 263 h 535"/>
                  <a:gd name="T64" fmla="*/ 348 w 348"/>
                  <a:gd name="T65" fmla="*/ 268 h 535"/>
                  <a:gd name="T66" fmla="*/ 347 w 348"/>
                  <a:gd name="T67" fmla="*/ 271 h 535"/>
                  <a:gd name="T68" fmla="*/ 344 w 348"/>
                  <a:gd name="T69" fmla="*/ 274 h 535"/>
                  <a:gd name="T70" fmla="*/ 86 w 348"/>
                  <a:gd name="T71" fmla="*/ 532 h 535"/>
                  <a:gd name="T72" fmla="*/ 83 w 348"/>
                  <a:gd name="T73" fmla="*/ 534 h 535"/>
                  <a:gd name="T74" fmla="*/ 80 w 348"/>
                  <a:gd name="T75" fmla="*/ 535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8" h="535">
                    <a:moveTo>
                      <a:pt x="25" y="457"/>
                    </a:moveTo>
                    <a:lnTo>
                      <a:pt x="80" y="512"/>
                    </a:lnTo>
                    <a:lnTo>
                      <a:pt x="324" y="268"/>
                    </a:lnTo>
                    <a:lnTo>
                      <a:pt x="80" y="23"/>
                    </a:lnTo>
                    <a:lnTo>
                      <a:pt x="25" y="79"/>
                    </a:lnTo>
                    <a:lnTo>
                      <a:pt x="206" y="260"/>
                    </a:lnTo>
                    <a:lnTo>
                      <a:pt x="208" y="263"/>
                    </a:lnTo>
                    <a:lnTo>
                      <a:pt x="208" y="268"/>
                    </a:lnTo>
                    <a:lnTo>
                      <a:pt x="208" y="271"/>
                    </a:lnTo>
                    <a:lnTo>
                      <a:pt x="206" y="274"/>
                    </a:lnTo>
                    <a:lnTo>
                      <a:pt x="25" y="457"/>
                    </a:lnTo>
                    <a:close/>
                    <a:moveTo>
                      <a:pt x="80" y="535"/>
                    </a:moveTo>
                    <a:lnTo>
                      <a:pt x="75" y="534"/>
                    </a:lnTo>
                    <a:lnTo>
                      <a:pt x="72" y="533"/>
                    </a:lnTo>
                    <a:lnTo>
                      <a:pt x="3" y="463"/>
                    </a:lnTo>
                    <a:lnTo>
                      <a:pt x="1" y="460"/>
                    </a:lnTo>
                    <a:lnTo>
                      <a:pt x="0" y="457"/>
                    </a:lnTo>
                    <a:lnTo>
                      <a:pt x="1" y="452"/>
                    </a:lnTo>
                    <a:lnTo>
                      <a:pt x="3" y="449"/>
                    </a:lnTo>
                    <a:lnTo>
                      <a:pt x="185" y="268"/>
                    </a:lnTo>
                    <a:lnTo>
                      <a:pt x="3" y="86"/>
                    </a:lnTo>
                    <a:lnTo>
                      <a:pt x="1" y="83"/>
                    </a:lnTo>
                    <a:lnTo>
                      <a:pt x="0" y="79"/>
                    </a:lnTo>
                    <a:lnTo>
                      <a:pt x="1" y="75"/>
                    </a:lnTo>
                    <a:lnTo>
                      <a:pt x="3" y="72"/>
                    </a:lnTo>
                    <a:lnTo>
                      <a:pt x="72" y="2"/>
                    </a:lnTo>
                    <a:lnTo>
                      <a:pt x="75" y="0"/>
                    </a:lnTo>
                    <a:lnTo>
                      <a:pt x="80" y="0"/>
                    </a:lnTo>
                    <a:lnTo>
                      <a:pt x="83" y="0"/>
                    </a:lnTo>
                    <a:lnTo>
                      <a:pt x="86" y="2"/>
                    </a:lnTo>
                    <a:lnTo>
                      <a:pt x="344" y="260"/>
                    </a:lnTo>
                    <a:lnTo>
                      <a:pt x="347" y="263"/>
                    </a:lnTo>
                    <a:lnTo>
                      <a:pt x="348" y="268"/>
                    </a:lnTo>
                    <a:lnTo>
                      <a:pt x="347" y="271"/>
                    </a:lnTo>
                    <a:lnTo>
                      <a:pt x="344" y="274"/>
                    </a:lnTo>
                    <a:lnTo>
                      <a:pt x="86" y="532"/>
                    </a:lnTo>
                    <a:lnTo>
                      <a:pt x="83" y="534"/>
                    </a:lnTo>
                    <a:lnTo>
                      <a:pt x="80" y="5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55" name="Group 54">
            <a:extLst>
              <a:ext uri="{FF2B5EF4-FFF2-40B4-BE49-F238E27FC236}">
                <a16:creationId xmlns="" xmlns:a16="http://schemas.microsoft.com/office/drawing/2014/main" id="{BF715889-B9C0-424E-BF9D-A5D161FB1173}"/>
              </a:ext>
            </a:extLst>
          </p:cNvPr>
          <p:cNvGrpSpPr/>
          <p:nvPr/>
        </p:nvGrpSpPr>
        <p:grpSpPr>
          <a:xfrm flipH="1">
            <a:off x="5876089" y="4888630"/>
            <a:ext cx="439822" cy="439822"/>
            <a:chOff x="1929292" y="3462553"/>
            <a:chExt cx="652034" cy="652034"/>
          </a:xfrm>
        </p:grpSpPr>
        <p:sp>
          <p:nvSpPr>
            <p:cNvPr id="61" name="Oval 60">
              <a:extLst>
                <a:ext uri="{FF2B5EF4-FFF2-40B4-BE49-F238E27FC236}">
                  <a16:creationId xmlns="" xmlns:a16="http://schemas.microsoft.com/office/drawing/2014/main" id="{AD81CC4B-A59F-4C68-B775-682A7D64603D}"/>
                </a:ext>
              </a:extLst>
            </p:cNvPr>
            <p:cNvSpPr/>
            <p:nvPr/>
          </p:nvSpPr>
          <p:spPr>
            <a:xfrm>
              <a:off x="1929292" y="3462553"/>
              <a:ext cx="652034" cy="652034"/>
            </a:xfrm>
            <a:prstGeom prst="ellipse">
              <a:avLst/>
            </a:prstGeom>
            <a:solidFill>
              <a:schemeClr val="tx2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="" xmlns:a16="http://schemas.microsoft.com/office/drawing/2014/main" id="{5F7AEF55-BED9-4F4E-B31E-306C0C836DD2}"/>
                </a:ext>
              </a:extLst>
            </p:cNvPr>
            <p:cNvGrpSpPr/>
            <p:nvPr/>
          </p:nvGrpSpPr>
          <p:grpSpPr>
            <a:xfrm>
              <a:off x="2115564" y="3662894"/>
              <a:ext cx="279490" cy="251353"/>
              <a:chOff x="7396163" y="4268788"/>
              <a:chExt cx="236538" cy="212725"/>
            </a:xfrm>
            <a:solidFill>
              <a:schemeClr val="accent4"/>
            </a:solidFill>
          </p:grpSpPr>
          <p:sp>
            <p:nvSpPr>
              <p:cNvPr id="63" name="Freeform 385">
                <a:extLst>
                  <a:ext uri="{FF2B5EF4-FFF2-40B4-BE49-F238E27FC236}">
                    <a16:creationId xmlns="" xmlns:a16="http://schemas.microsoft.com/office/drawing/2014/main" id="{8617942F-BD87-4F5B-AC4A-070F2D6742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96163" y="4268788"/>
                <a:ext cx="138113" cy="212725"/>
              </a:xfrm>
              <a:custGeom>
                <a:avLst/>
                <a:gdLst>
                  <a:gd name="T0" fmla="*/ 25 w 348"/>
                  <a:gd name="T1" fmla="*/ 457 h 535"/>
                  <a:gd name="T2" fmla="*/ 80 w 348"/>
                  <a:gd name="T3" fmla="*/ 512 h 535"/>
                  <a:gd name="T4" fmla="*/ 324 w 348"/>
                  <a:gd name="T5" fmla="*/ 268 h 535"/>
                  <a:gd name="T6" fmla="*/ 80 w 348"/>
                  <a:gd name="T7" fmla="*/ 23 h 535"/>
                  <a:gd name="T8" fmla="*/ 25 w 348"/>
                  <a:gd name="T9" fmla="*/ 79 h 535"/>
                  <a:gd name="T10" fmla="*/ 207 w 348"/>
                  <a:gd name="T11" fmla="*/ 260 h 535"/>
                  <a:gd name="T12" fmla="*/ 209 w 348"/>
                  <a:gd name="T13" fmla="*/ 263 h 535"/>
                  <a:gd name="T14" fmla="*/ 210 w 348"/>
                  <a:gd name="T15" fmla="*/ 268 h 535"/>
                  <a:gd name="T16" fmla="*/ 209 w 348"/>
                  <a:gd name="T17" fmla="*/ 271 h 535"/>
                  <a:gd name="T18" fmla="*/ 207 w 348"/>
                  <a:gd name="T19" fmla="*/ 274 h 535"/>
                  <a:gd name="T20" fmla="*/ 25 w 348"/>
                  <a:gd name="T21" fmla="*/ 457 h 535"/>
                  <a:gd name="T22" fmla="*/ 80 w 348"/>
                  <a:gd name="T23" fmla="*/ 535 h 535"/>
                  <a:gd name="T24" fmla="*/ 77 w 348"/>
                  <a:gd name="T25" fmla="*/ 534 h 535"/>
                  <a:gd name="T26" fmla="*/ 73 w 348"/>
                  <a:gd name="T27" fmla="*/ 533 h 535"/>
                  <a:gd name="T28" fmla="*/ 4 w 348"/>
                  <a:gd name="T29" fmla="*/ 463 h 535"/>
                  <a:gd name="T30" fmla="*/ 2 w 348"/>
                  <a:gd name="T31" fmla="*/ 460 h 535"/>
                  <a:gd name="T32" fmla="*/ 0 w 348"/>
                  <a:gd name="T33" fmla="*/ 457 h 535"/>
                  <a:gd name="T34" fmla="*/ 2 w 348"/>
                  <a:gd name="T35" fmla="*/ 452 h 535"/>
                  <a:gd name="T36" fmla="*/ 4 w 348"/>
                  <a:gd name="T37" fmla="*/ 449 h 535"/>
                  <a:gd name="T38" fmla="*/ 185 w 348"/>
                  <a:gd name="T39" fmla="*/ 268 h 535"/>
                  <a:gd name="T40" fmla="*/ 4 w 348"/>
                  <a:gd name="T41" fmla="*/ 86 h 535"/>
                  <a:gd name="T42" fmla="*/ 2 w 348"/>
                  <a:gd name="T43" fmla="*/ 83 h 535"/>
                  <a:gd name="T44" fmla="*/ 0 w 348"/>
                  <a:gd name="T45" fmla="*/ 79 h 535"/>
                  <a:gd name="T46" fmla="*/ 2 w 348"/>
                  <a:gd name="T47" fmla="*/ 75 h 535"/>
                  <a:gd name="T48" fmla="*/ 4 w 348"/>
                  <a:gd name="T49" fmla="*/ 72 h 535"/>
                  <a:gd name="T50" fmla="*/ 74 w 348"/>
                  <a:gd name="T51" fmla="*/ 2 h 535"/>
                  <a:gd name="T52" fmla="*/ 77 w 348"/>
                  <a:gd name="T53" fmla="*/ 0 h 535"/>
                  <a:gd name="T54" fmla="*/ 80 w 348"/>
                  <a:gd name="T55" fmla="*/ 0 h 535"/>
                  <a:gd name="T56" fmla="*/ 84 w 348"/>
                  <a:gd name="T57" fmla="*/ 0 h 535"/>
                  <a:gd name="T58" fmla="*/ 87 w 348"/>
                  <a:gd name="T59" fmla="*/ 2 h 535"/>
                  <a:gd name="T60" fmla="*/ 346 w 348"/>
                  <a:gd name="T61" fmla="*/ 260 h 535"/>
                  <a:gd name="T62" fmla="*/ 348 w 348"/>
                  <a:gd name="T63" fmla="*/ 263 h 535"/>
                  <a:gd name="T64" fmla="*/ 348 w 348"/>
                  <a:gd name="T65" fmla="*/ 268 h 535"/>
                  <a:gd name="T66" fmla="*/ 348 w 348"/>
                  <a:gd name="T67" fmla="*/ 271 h 535"/>
                  <a:gd name="T68" fmla="*/ 346 w 348"/>
                  <a:gd name="T69" fmla="*/ 274 h 535"/>
                  <a:gd name="T70" fmla="*/ 87 w 348"/>
                  <a:gd name="T71" fmla="*/ 532 h 535"/>
                  <a:gd name="T72" fmla="*/ 84 w 348"/>
                  <a:gd name="T73" fmla="*/ 534 h 535"/>
                  <a:gd name="T74" fmla="*/ 80 w 348"/>
                  <a:gd name="T75" fmla="*/ 535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8" h="535">
                    <a:moveTo>
                      <a:pt x="25" y="457"/>
                    </a:moveTo>
                    <a:lnTo>
                      <a:pt x="80" y="512"/>
                    </a:lnTo>
                    <a:lnTo>
                      <a:pt x="324" y="268"/>
                    </a:lnTo>
                    <a:lnTo>
                      <a:pt x="80" y="23"/>
                    </a:lnTo>
                    <a:lnTo>
                      <a:pt x="25" y="79"/>
                    </a:lnTo>
                    <a:lnTo>
                      <a:pt x="207" y="260"/>
                    </a:lnTo>
                    <a:lnTo>
                      <a:pt x="209" y="263"/>
                    </a:lnTo>
                    <a:lnTo>
                      <a:pt x="210" y="268"/>
                    </a:lnTo>
                    <a:lnTo>
                      <a:pt x="209" y="271"/>
                    </a:lnTo>
                    <a:lnTo>
                      <a:pt x="207" y="274"/>
                    </a:lnTo>
                    <a:lnTo>
                      <a:pt x="25" y="457"/>
                    </a:lnTo>
                    <a:close/>
                    <a:moveTo>
                      <a:pt x="80" y="535"/>
                    </a:moveTo>
                    <a:lnTo>
                      <a:pt x="77" y="534"/>
                    </a:lnTo>
                    <a:lnTo>
                      <a:pt x="73" y="533"/>
                    </a:lnTo>
                    <a:lnTo>
                      <a:pt x="4" y="463"/>
                    </a:lnTo>
                    <a:lnTo>
                      <a:pt x="2" y="460"/>
                    </a:lnTo>
                    <a:lnTo>
                      <a:pt x="0" y="457"/>
                    </a:lnTo>
                    <a:lnTo>
                      <a:pt x="2" y="452"/>
                    </a:lnTo>
                    <a:lnTo>
                      <a:pt x="4" y="449"/>
                    </a:lnTo>
                    <a:lnTo>
                      <a:pt x="185" y="268"/>
                    </a:lnTo>
                    <a:lnTo>
                      <a:pt x="4" y="86"/>
                    </a:lnTo>
                    <a:lnTo>
                      <a:pt x="2" y="83"/>
                    </a:lnTo>
                    <a:lnTo>
                      <a:pt x="0" y="79"/>
                    </a:lnTo>
                    <a:lnTo>
                      <a:pt x="2" y="75"/>
                    </a:lnTo>
                    <a:lnTo>
                      <a:pt x="4" y="72"/>
                    </a:lnTo>
                    <a:lnTo>
                      <a:pt x="74" y="2"/>
                    </a:lnTo>
                    <a:lnTo>
                      <a:pt x="77" y="0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7" y="2"/>
                    </a:lnTo>
                    <a:lnTo>
                      <a:pt x="346" y="260"/>
                    </a:lnTo>
                    <a:lnTo>
                      <a:pt x="348" y="263"/>
                    </a:lnTo>
                    <a:lnTo>
                      <a:pt x="348" y="268"/>
                    </a:lnTo>
                    <a:lnTo>
                      <a:pt x="348" y="271"/>
                    </a:lnTo>
                    <a:lnTo>
                      <a:pt x="346" y="274"/>
                    </a:lnTo>
                    <a:lnTo>
                      <a:pt x="87" y="532"/>
                    </a:lnTo>
                    <a:lnTo>
                      <a:pt x="84" y="534"/>
                    </a:lnTo>
                    <a:lnTo>
                      <a:pt x="80" y="5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Freeform 386">
                <a:extLst>
                  <a:ext uri="{FF2B5EF4-FFF2-40B4-BE49-F238E27FC236}">
                    <a16:creationId xmlns="" xmlns:a16="http://schemas.microsoft.com/office/drawing/2014/main" id="{C54FAF11-BA8D-4933-8232-B3C1A371FD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94588" y="4268788"/>
                <a:ext cx="138113" cy="212725"/>
              </a:xfrm>
              <a:custGeom>
                <a:avLst/>
                <a:gdLst>
                  <a:gd name="T0" fmla="*/ 25 w 348"/>
                  <a:gd name="T1" fmla="*/ 457 h 535"/>
                  <a:gd name="T2" fmla="*/ 80 w 348"/>
                  <a:gd name="T3" fmla="*/ 512 h 535"/>
                  <a:gd name="T4" fmla="*/ 324 w 348"/>
                  <a:gd name="T5" fmla="*/ 268 h 535"/>
                  <a:gd name="T6" fmla="*/ 80 w 348"/>
                  <a:gd name="T7" fmla="*/ 23 h 535"/>
                  <a:gd name="T8" fmla="*/ 25 w 348"/>
                  <a:gd name="T9" fmla="*/ 79 h 535"/>
                  <a:gd name="T10" fmla="*/ 206 w 348"/>
                  <a:gd name="T11" fmla="*/ 260 h 535"/>
                  <a:gd name="T12" fmla="*/ 208 w 348"/>
                  <a:gd name="T13" fmla="*/ 263 h 535"/>
                  <a:gd name="T14" fmla="*/ 208 w 348"/>
                  <a:gd name="T15" fmla="*/ 268 h 535"/>
                  <a:gd name="T16" fmla="*/ 208 w 348"/>
                  <a:gd name="T17" fmla="*/ 271 h 535"/>
                  <a:gd name="T18" fmla="*/ 206 w 348"/>
                  <a:gd name="T19" fmla="*/ 274 h 535"/>
                  <a:gd name="T20" fmla="*/ 25 w 348"/>
                  <a:gd name="T21" fmla="*/ 457 h 535"/>
                  <a:gd name="T22" fmla="*/ 80 w 348"/>
                  <a:gd name="T23" fmla="*/ 535 h 535"/>
                  <a:gd name="T24" fmla="*/ 75 w 348"/>
                  <a:gd name="T25" fmla="*/ 534 h 535"/>
                  <a:gd name="T26" fmla="*/ 72 w 348"/>
                  <a:gd name="T27" fmla="*/ 533 h 535"/>
                  <a:gd name="T28" fmla="*/ 3 w 348"/>
                  <a:gd name="T29" fmla="*/ 463 h 535"/>
                  <a:gd name="T30" fmla="*/ 1 w 348"/>
                  <a:gd name="T31" fmla="*/ 460 h 535"/>
                  <a:gd name="T32" fmla="*/ 0 w 348"/>
                  <a:gd name="T33" fmla="*/ 457 h 535"/>
                  <a:gd name="T34" fmla="*/ 1 w 348"/>
                  <a:gd name="T35" fmla="*/ 452 h 535"/>
                  <a:gd name="T36" fmla="*/ 3 w 348"/>
                  <a:gd name="T37" fmla="*/ 449 h 535"/>
                  <a:gd name="T38" fmla="*/ 185 w 348"/>
                  <a:gd name="T39" fmla="*/ 268 h 535"/>
                  <a:gd name="T40" fmla="*/ 3 w 348"/>
                  <a:gd name="T41" fmla="*/ 86 h 535"/>
                  <a:gd name="T42" fmla="*/ 1 w 348"/>
                  <a:gd name="T43" fmla="*/ 83 h 535"/>
                  <a:gd name="T44" fmla="*/ 0 w 348"/>
                  <a:gd name="T45" fmla="*/ 79 h 535"/>
                  <a:gd name="T46" fmla="*/ 1 w 348"/>
                  <a:gd name="T47" fmla="*/ 75 h 535"/>
                  <a:gd name="T48" fmla="*/ 3 w 348"/>
                  <a:gd name="T49" fmla="*/ 72 h 535"/>
                  <a:gd name="T50" fmla="*/ 72 w 348"/>
                  <a:gd name="T51" fmla="*/ 2 h 535"/>
                  <a:gd name="T52" fmla="*/ 75 w 348"/>
                  <a:gd name="T53" fmla="*/ 0 h 535"/>
                  <a:gd name="T54" fmla="*/ 80 w 348"/>
                  <a:gd name="T55" fmla="*/ 0 h 535"/>
                  <a:gd name="T56" fmla="*/ 83 w 348"/>
                  <a:gd name="T57" fmla="*/ 0 h 535"/>
                  <a:gd name="T58" fmla="*/ 86 w 348"/>
                  <a:gd name="T59" fmla="*/ 2 h 535"/>
                  <a:gd name="T60" fmla="*/ 344 w 348"/>
                  <a:gd name="T61" fmla="*/ 260 h 535"/>
                  <a:gd name="T62" fmla="*/ 347 w 348"/>
                  <a:gd name="T63" fmla="*/ 263 h 535"/>
                  <a:gd name="T64" fmla="*/ 348 w 348"/>
                  <a:gd name="T65" fmla="*/ 268 h 535"/>
                  <a:gd name="T66" fmla="*/ 347 w 348"/>
                  <a:gd name="T67" fmla="*/ 271 h 535"/>
                  <a:gd name="T68" fmla="*/ 344 w 348"/>
                  <a:gd name="T69" fmla="*/ 274 h 535"/>
                  <a:gd name="T70" fmla="*/ 86 w 348"/>
                  <a:gd name="T71" fmla="*/ 532 h 535"/>
                  <a:gd name="T72" fmla="*/ 83 w 348"/>
                  <a:gd name="T73" fmla="*/ 534 h 535"/>
                  <a:gd name="T74" fmla="*/ 80 w 348"/>
                  <a:gd name="T75" fmla="*/ 535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8" h="535">
                    <a:moveTo>
                      <a:pt x="25" y="457"/>
                    </a:moveTo>
                    <a:lnTo>
                      <a:pt x="80" y="512"/>
                    </a:lnTo>
                    <a:lnTo>
                      <a:pt x="324" y="268"/>
                    </a:lnTo>
                    <a:lnTo>
                      <a:pt x="80" y="23"/>
                    </a:lnTo>
                    <a:lnTo>
                      <a:pt x="25" y="79"/>
                    </a:lnTo>
                    <a:lnTo>
                      <a:pt x="206" y="260"/>
                    </a:lnTo>
                    <a:lnTo>
                      <a:pt x="208" y="263"/>
                    </a:lnTo>
                    <a:lnTo>
                      <a:pt x="208" y="268"/>
                    </a:lnTo>
                    <a:lnTo>
                      <a:pt x="208" y="271"/>
                    </a:lnTo>
                    <a:lnTo>
                      <a:pt x="206" y="274"/>
                    </a:lnTo>
                    <a:lnTo>
                      <a:pt x="25" y="457"/>
                    </a:lnTo>
                    <a:close/>
                    <a:moveTo>
                      <a:pt x="80" y="535"/>
                    </a:moveTo>
                    <a:lnTo>
                      <a:pt x="75" y="534"/>
                    </a:lnTo>
                    <a:lnTo>
                      <a:pt x="72" y="533"/>
                    </a:lnTo>
                    <a:lnTo>
                      <a:pt x="3" y="463"/>
                    </a:lnTo>
                    <a:lnTo>
                      <a:pt x="1" y="460"/>
                    </a:lnTo>
                    <a:lnTo>
                      <a:pt x="0" y="457"/>
                    </a:lnTo>
                    <a:lnTo>
                      <a:pt x="1" y="452"/>
                    </a:lnTo>
                    <a:lnTo>
                      <a:pt x="3" y="449"/>
                    </a:lnTo>
                    <a:lnTo>
                      <a:pt x="185" y="268"/>
                    </a:lnTo>
                    <a:lnTo>
                      <a:pt x="3" y="86"/>
                    </a:lnTo>
                    <a:lnTo>
                      <a:pt x="1" y="83"/>
                    </a:lnTo>
                    <a:lnTo>
                      <a:pt x="0" y="79"/>
                    </a:lnTo>
                    <a:lnTo>
                      <a:pt x="1" y="75"/>
                    </a:lnTo>
                    <a:lnTo>
                      <a:pt x="3" y="72"/>
                    </a:lnTo>
                    <a:lnTo>
                      <a:pt x="72" y="2"/>
                    </a:lnTo>
                    <a:lnTo>
                      <a:pt x="75" y="0"/>
                    </a:lnTo>
                    <a:lnTo>
                      <a:pt x="80" y="0"/>
                    </a:lnTo>
                    <a:lnTo>
                      <a:pt x="83" y="0"/>
                    </a:lnTo>
                    <a:lnTo>
                      <a:pt x="86" y="2"/>
                    </a:lnTo>
                    <a:lnTo>
                      <a:pt x="344" y="260"/>
                    </a:lnTo>
                    <a:lnTo>
                      <a:pt x="347" y="263"/>
                    </a:lnTo>
                    <a:lnTo>
                      <a:pt x="348" y="268"/>
                    </a:lnTo>
                    <a:lnTo>
                      <a:pt x="347" y="271"/>
                    </a:lnTo>
                    <a:lnTo>
                      <a:pt x="344" y="274"/>
                    </a:lnTo>
                    <a:lnTo>
                      <a:pt x="86" y="532"/>
                    </a:lnTo>
                    <a:lnTo>
                      <a:pt x="83" y="534"/>
                    </a:lnTo>
                    <a:lnTo>
                      <a:pt x="80" y="5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="" xmlns:a16="http://schemas.microsoft.com/office/drawing/2014/main" id="{2890E8AF-6652-4A00-9221-C78CD5C0A0AA}"/>
              </a:ext>
            </a:extLst>
          </p:cNvPr>
          <p:cNvGrpSpPr/>
          <p:nvPr/>
        </p:nvGrpSpPr>
        <p:grpSpPr>
          <a:xfrm flipH="1">
            <a:off x="2945466" y="4888630"/>
            <a:ext cx="439822" cy="439822"/>
            <a:chOff x="1929292" y="3462553"/>
            <a:chExt cx="652034" cy="652034"/>
          </a:xfrm>
        </p:grpSpPr>
        <p:sp>
          <p:nvSpPr>
            <p:cNvPr id="57" name="Oval 56">
              <a:extLst>
                <a:ext uri="{FF2B5EF4-FFF2-40B4-BE49-F238E27FC236}">
                  <a16:creationId xmlns="" xmlns:a16="http://schemas.microsoft.com/office/drawing/2014/main" id="{890702B1-B30F-4A57-AF9F-DDE079100470}"/>
                </a:ext>
              </a:extLst>
            </p:cNvPr>
            <p:cNvSpPr/>
            <p:nvPr/>
          </p:nvSpPr>
          <p:spPr>
            <a:xfrm>
              <a:off x="1929292" y="3462553"/>
              <a:ext cx="652034" cy="652034"/>
            </a:xfrm>
            <a:prstGeom prst="ellipse">
              <a:avLst/>
            </a:prstGeom>
            <a:solidFill>
              <a:schemeClr val="tx2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grpSp>
          <p:nvGrpSpPr>
            <p:cNvPr id="58" name="Group 57">
              <a:extLst>
                <a:ext uri="{FF2B5EF4-FFF2-40B4-BE49-F238E27FC236}">
                  <a16:creationId xmlns="" xmlns:a16="http://schemas.microsoft.com/office/drawing/2014/main" id="{AF78AEE9-3F5D-41A0-BC06-2A686A51FA59}"/>
                </a:ext>
              </a:extLst>
            </p:cNvPr>
            <p:cNvGrpSpPr/>
            <p:nvPr/>
          </p:nvGrpSpPr>
          <p:grpSpPr>
            <a:xfrm>
              <a:off x="2115564" y="3662894"/>
              <a:ext cx="279490" cy="251353"/>
              <a:chOff x="7396163" y="4268788"/>
              <a:chExt cx="236538" cy="212725"/>
            </a:xfrm>
            <a:solidFill>
              <a:schemeClr val="accent4"/>
            </a:solidFill>
          </p:grpSpPr>
          <p:sp>
            <p:nvSpPr>
              <p:cNvPr id="59" name="Freeform 385">
                <a:extLst>
                  <a:ext uri="{FF2B5EF4-FFF2-40B4-BE49-F238E27FC236}">
                    <a16:creationId xmlns="" xmlns:a16="http://schemas.microsoft.com/office/drawing/2014/main" id="{3B27D8B9-D5AF-455F-9959-A839B79BB1F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96163" y="4268788"/>
                <a:ext cx="138113" cy="212725"/>
              </a:xfrm>
              <a:custGeom>
                <a:avLst/>
                <a:gdLst>
                  <a:gd name="T0" fmla="*/ 25 w 348"/>
                  <a:gd name="T1" fmla="*/ 457 h 535"/>
                  <a:gd name="T2" fmla="*/ 80 w 348"/>
                  <a:gd name="T3" fmla="*/ 512 h 535"/>
                  <a:gd name="T4" fmla="*/ 324 w 348"/>
                  <a:gd name="T5" fmla="*/ 268 h 535"/>
                  <a:gd name="T6" fmla="*/ 80 w 348"/>
                  <a:gd name="T7" fmla="*/ 23 h 535"/>
                  <a:gd name="T8" fmla="*/ 25 w 348"/>
                  <a:gd name="T9" fmla="*/ 79 h 535"/>
                  <a:gd name="T10" fmla="*/ 207 w 348"/>
                  <a:gd name="T11" fmla="*/ 260 h 535"/>
                  <a:gd name="T12" fmla="*/ 209 w 348"/>
                  <a:gd name="T13" fmla="*/ 263 h 535"/>
                  <a:gd name="T14" fmla="*/ 210 w 348"/>
                  <a:gd name="T15" fmla="*/ 268 h 535"/>
                  <a:gd name="T16" fmla="*/ 209 w 348"/>
                  <a:gd name="T17" fmla="*/ 271 h 535"/>
                  <a:gd name="T18" fmla="*/ 207 w 348"/>
                  <a:gd name="T19" fmla="*/ 274 h 535"/>
                  <a:gd name="T20" fmla="*/ 25 w 348"/>
                  <a:gd name="T21" fmla="*/ 457 h 535"/>
                  <a:gd name="T22" fmla="*/ 80 w 348"/>
                  <a:gd name="T23" fmla="*/ 535 h 535"/>
                  <a:gd name="T24" fmla="*/ 77 w 348"/>
                  <a:gd name="T25" fmla="*/ 534 h 535"/>
                  <a:gd name="T26" fmla="*/ 73 w 348"/>
                  <a:gd name="T27" fmla="*/ 533 h 535"/>
                  <a:gd name="T28" fmla="*/ 4 w 348"/>
                  <a:gd name="T29" fmla="*/ 463 h 535"/>
                  <a:gd name="T30" fmla="*/ 2 w 348"/>
                  <a:gd name="T31" fmla="*/ 460 h 535"/>
                  <a:gd name="T32" fmla="*/ 0 w 348"/>
                  <a:gd name="T33" fmla="*/ 457 h 535"/>
                  <a:gd name="T34" fmla="*/ 2 w 348"/>
                  <a:gd name="T35" fmla="*/ 452 h 535"/>
                  <a:gd name="T36" fmla="*/ 4 w 348"/>
                  <a:gd name="T37" fmla="*/ 449 h 535"/>
                  <a:gd name="T38" fmla="*/ 185 w 348"/>
                  <a:gd name="T39" fmla="*/ 268 h 535"/>
                  <a:gd name="T40" fmla="*/ 4 w 348"/>
                  <a:gd name="T41" fmla="*/ 86 h 535"/>
                  <a:gd name="T42" fmla="*/ 2 w 348"/>
                  <a:gd name="T43" fmla="*/ 83 h 535"/>
                  <a:gd name="T44" fmla="*/ 0 w 348"/>
                  <a:gd name="T45" fmla="*/ 79 h 535"/>
                  <a:gd name="T46" fmla="*/ 2 w 348"/>
                  <a:gd name="T47" fmla="*/ 75 h 535"/>
                  <a:gd name="T48" fmla="*/ 4 w 348"/>
                  <a:gd name="T49" fmla="*/ 72 h 535"/>
                  <a:gd name="T50" fmla="*/ 74 w 348"/>
                  <a:gd name="T51" fmla="*/ 2 h 535"/>
                  <a:gd name="T52" fmla="*/ 77 w 348"/>
                  <a:gd name="T53" fmla="*/ 0 h 535"/>
                  <a:gd name="T54" fmla="*/ 80 w 348"/>
                  <a:gd name="T55" fmla="*/ 0 h 535"/>
                  <a:gd name="T56" fmla="*/ 84 w 348"/>
                  <a:gd name="T57" fmla="*/ 0 h 535"/>
                  <a:gd name="T58" fmla="*/ 87 w 348"/>
                  <a:gd name="T59" fmla="*/ 2 h 535"/>
                  <a:gd name="T60" fmla="*/ 346 w 348"/>
                  <a:gd name="T61" fmla="*/ 260 h 535"/>
                  <a:gd name="T62" fmla="*/ 348 w 348"/>
                  <a:gd name="T63" fmla="*/ 263 h 535"/>
                  <a:gd name="T64" fmla="*/ 348 w 348"/>
                  <a:gd name="T65" fmla="*/ 268 h 535"/>
                  <a:gd name="T66" fmla="*/ 348 w 348"/>
                  <a:gd name="T67" fmla="*/ 271 h 535"/>
                  <a:gd name="T68" fmla="*/ 346 w 348"/>
                  <a:gd name="T69" fmla="*/ 274 h 535"/>
                  <a:gd name="T70" fmla="*/ 87 w 348"/>
                  <a:gd name="T71" fmla="*/ 532 h 535"/>
                  <a:gd name="T72" fmla="*/ 84 w 348"/>
                  <a:gd name="T73" fmla="*/ 534 h 535"/>
                  <a:gd name="T74" fmla="*/ 80 w 348"/>
                  <a:gd name="T75" fmla="*/ 535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8" h="535">
                    <a:moveTo>
                      <a:pt x="25" y="457"/>
                    </a:moveTo>
                    <a:lnTo>
                      <a:pt x="80" y="512"/>
                    </a:lnTo>
                    <a:lnTo>
                      <a:pt x="324" y="268"/>
                    </a:lnTo>
                    <a:lnTo>
                      <a:pt x="80" y="23"/>
                    </a:lnTo>
                    <a:lnTo>
                      <a:pt x="25" y="79"/>
                    </a:lnTo>
                    <a:lnTo>
                      <a:pt x="207" y="260"/>
                    </a:lnTo>
                    <a:lnTo>
                      <a:pt x="209" y="263"/>
                    </a:lnTo>
                    <a:lnTo>
                      <a:pt x="210" y="268"/>
                    </a:lnTo>
                    <a:lnTo>
                      <a:pt x="209" y="271"/>
                    </a:lnTo>
                    <a:lnTo>
                      <a:pt x="207" y="274"/>
                    </a:lnTo>
                    <a:lnTo>
                      <a:pt x="25" y="457"/>
                    </a:lnTo>
                    <a:close/>
                    <a:moveTo>
                      <a:pt x="80" y="535"/>
                    </a:moveTo>
                    <a:lnTo>
                      <a:pt x="77" y="534"/>
                    </a:lnTo>
                    <a:lnTo>
                      <a:pt x="73" y="533"/>
                    </a:lnTo>
                    <a:lnTo>
                      <a:pt x="4" y="463"/>
                    </a:lnTo>
                    <a:lnTo>
                      <a:pt x="2" y="460"/>
                    </a:lnTo>
                    <a:lnTo>
                      <a:pt x="0" y="457"/>
                    </a:lnTo>
                    <a:lnTo>
                      <a:pt x="2" y="452"/>
                    </a:lnTo>
                    <a:lnTo>
                      <a:pt x="4" y="449"/>
                    </a:lnTo>
                    <a:lnTo>
                      <a:pt x="185" y="268"/>
                    </a:lnTo>
                    <a:lnTo>
                      <a:pt x="4" y="86"/>
                    </a:lnTo>
                    <a:lnTo>
                      <a:pt x="2" y="83"/>
                    </a:lnTo>
                    <a:lnTo>
                      <a:pt x="0" y="79"/>
                    </a:lnTo>
                    <a:lnTo>
                      <a:pt x="2" y="75"/>
                    </a:lnTo>
                    <a:lnTo>
                      <a:pt x="4" y="72"/>
                    </a:lnTo>
                    <a:lnTo>
                      <a:pt x="74" y="2"/>
                    </a:lnTo>
                    <a:lnTo>
                      <a:pt x="77" y="0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7" y="2"/>
                    </a:lnTo>
                    <a:lnTo>
                      <a:pt x="346" y="260"/>
                    </a:lnTo>
                    <a:lnTo>
                      <a:pt x="348" y="263"/>
                    </a:lnTo>
                    <a:lnTo>
                      <a:pt x="348" y="268"/>
                    </a:lnTo>
                    <a:lnTo>
                      <a:pt x="348" y="271"/>
                    </a:lnTo>
                    <a:lnTo>
                      <a:pt x="346" y="274"/>
                    </a:lnTo>
                    <a:lnTo>
                      <a:pt x="87" y="532"/>
                    </a:lnTo>
                    <a:lnTo>
                      <a:pt x="84" y="534"/>
                    </a:lnTo>
                    <a:lnTo>
                      <a:pt x="80" y="5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0" name="Freeform 386">
                <a:extLst>
                  <a:ext uri="{FF2B5EF4-FFF2-40B4-BE49-F238E27FC236}">
                    <a16:creationId xmlns="" xmlns:a16="http://schemas.microsoft.com/office/drawing/2014/main" id="{3936D4F4-57AC-42A9-884E-3F2659D202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94588" y="4268788"/>
                <a:ext cx="138113" cy="212725"/>
              </a:xfrm>
              <a:custGeom>
                <a:avLst/>
                <a:gdLst>
                  <a:gd name="T0" fmla="*/ 25 w 348"/>
                  <a:gd name="T1" fmla="*/ 457 h 535"/>
                  <a:gd name="T2" fmla="*/ 80 w 348"/>
                  <a:gd name="T3" fmla="*/ 512 h 535"/>
                  <a:gd name="T4" fmla="*/ 324 w 348"/>
                  <a:gd name="T5" fmla="*/ 268 h 535"/>
                  <a:gd name="T6" fmla="*/ 80 w 348"/>
                  <a:gd name="T7" fmla="*/ 23 h 535"/>
                  <a:gd name="T8" fmla="*/ 25 w 348"/>
                  <a:gd name="T9" fmla="*/ 79 h 535"/>
                  <a:gd name="T10" fmla="*/ 206 w 348"/>
                  <a:gd name="T11" fmla="*/ 260 h 535"/>
                  <a:gd name="T12" fmla="*/ 208 w 348"/>
                  <a:gd name="T13" fmla="*/ 263 h 535"/>
                  <a:gd name="T14" fmla="*/ 208 w 348"/>
                  <a:gd name="T15" fmla="*/ 268 h 535"/>
                  <a:gd name="T16" fmla="*/ 208 w 348"/>
                  <a:gd name="T17" fmla="*/ 271 h 535"/>
                  <a:gd name="T18" fmla="*/ 206 w 348"/>
                  <a:gd name="T19" fmla="*/ 274 h 535"/>
                  <a:gd name="T20" fmla="*/ 25 w 348"/>
                  <a:gd name="T21" fmla="*/ 457 h 535"/>
                  <a:gd name="T22" fmla="*/ 80 w 348"/>
                  <a:gd name="T23" fmla="*/ 535 h 535"/>
                  <a:gd name="T24" fmla="*/ 75 w 348"/>
                  <a:gd name="T25" fmla="*/ 534 h 535"/>
                  <a:gd name="T26" fmla="*/ 72 w 348"/>
                  <a:gd name="T27" fmla="*/ 533 h 535"/>
                  <a:gd name="T28" fmla="*/ 3 w 348"/>
                  <a:gd name="T29" fmla="*/ 463 h 535"/>
                  <a:gd name="T30" fmla="*/ 1 w 348"/>
                  <a:gd name="T31" fmla="*/ 460 h 535"/>
                  <a:gd name="T32" fmla="*/ 0 w 348"/>
                  <a:gd name="T33" fmla="*/ 457 h 535"/>
                  <a:gd name="T34" fmla="*/ 1 w 348"/>
                  <a:gd name="T35" fmla="*/ 452 h 535"/>
                  <a:gd name="T36" fmla="*/ 3 w 348"/>
                  <a:gd name="T37" fmla="*/ 449 h 535"/>
                  <a:gd name="T38" fmla="*/ 185 w 348"/>
                  <a:gd name="T39" fmla="*/ 268 h 535"/>
                  <a:gd name="T40" fmla="*/ 3 w 348"/>
                  <a:gd name="T41" fmla="*/ 86 h 535"/>
                  <a:gd name="T42" fmla="*/ 1 w 348"/>
                  <a:gd name="T43" fmla="*/ 83 h 535"/>
                  <a:gd name="T44" fmla="*/ 0 w 348"/>
                  <a:gd name="T45" fmla="*/ 79 h 535"/>
                  <a:gd name="T46" fmla="*/ 1 w 348"/>
                  <a:gd name="T47" fmla="*/ 75 h 535"/>
                  <a:gd name="T48" fmla="*/ 3 w 348"/>
                  <a:gd name="T49" fmla="*/ 72 h 535"/>
                  <a:gd name="T50" fmla="*/ 72 w 348"/>
                  <a:gd name="T51" fmla="*/ 2 h 535"/>
                  <a:gd name="T52" fmla="*/ 75 w 348"/>
                  <a:gd name="T53" fmla="*/ 0 h 535"/>
                  <a:gd name="T54" fmla="*/ 80 w 348"/>
                  <a:gd name="T55" fmla="*/ 0 h 535"/>
                  <a:gd name="T56" fmla="*/ 83 w 348"/>
                  <a:gd name="T57" fmla="*/ 0 h 535"/>
                  <a:gd name="T58" fmla="*/ 86 w 348"/>
                  <a:gd name="T59" fmla="*/ 2 h 535"/>
                  <a:gd name="T60" fmla="*/ 344 w 348"/>
                  <a:gd name="T61" fmla="*/ 260 h 535"/>
                  <a:gd name="T62" fmla="*/ 347 w 348"/>
                  <a:gd name="T63" fmla="*/ 263 h 535"/>
                  <a:gd name="T64" fmla="*/ 348 w 348"/>
                  <a:gd name="T65" fmla="*/ 268 h 535"/>
                  <a:gd name="T66" fmla="*/ 347 w 348"/>
                  <a:gd name="T67" fmla="*/ 271 h 535"/>
                  <a:gd name="T68" fmla="*/ 344 w 348"/>
                  <a:gd name="T69" fmla="*/ 274 h 535"/>
                  <a:gd name="T70" fmla="*/ 86 w 348"/>
                  <a:gd name="T71" fmla="*/ 532 h 535"/>
                  <a:gd name="T72" fmla="*/ 83 w 348"/>
                  <a:gd name="T73" fmla="*/ 534 h 535"/>
                  <a:gd name="T74" fmla="*/ 80 w 348"/>
                  <a:gd name="T75" fmla="*/ 535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8" h="535">
                    <a:moveTo>
                      <a:pt x="25" y="457"/>
                    </a:moveTo>
                    <a:lnTo>
                      <a:pt x="80" y="512"/>
                    </a:lnTo>
                    <a:lnTo>
                      <a:pt x="324" y="268"/>
                    </a:lnTo>
                    <a:lnTo>
                      <a:pt x="80" y="23"/>
                    </a:lnTo>
                    <a:lnTo>
                      <a:pt x="25" y="79"/>
                    </a:lnTo>
                    <a:lnTo>
                      <a:pt x="206" y="260"/>
                    </a:lnTo>
                    <a:lnTo>
                      <a:pt x="208" y="263"/>
                    </a:lnTo>
                    <a:lnTo>
                      <a:pt x="208" y="268"/>
                    </a:lnTo>
                    <a:lnTo>
                      <a:pt x="208" y="271"/>
                    </a:lnTo>
                    <a:lnTo>
                      <a:pt x="206" y="274"/>
                    </a:lnTo>
                    <a:lnTo>
                      <a:pt x="25" y="457"/>
                    </a:lnTo>
                    <a:close/>
                    <a:moveTo>
                      <a:pt x="80" y="535"/>
                    </a:moveTo>
                    <a:lnTo>
                      <a:pt x="75" y="534"/>
                    </a:lnTo>
                    <a:lnTo>
                      <a:pt x="72" y="533"/>
                    </a:lnTo>
                    <a:lnTo>
                      <a:pt x="3" y="463"/>
                    </a:lnTo>
                    <a:lnTo>
                      <a:pt x="1" y="460"/>
                    </a:lnTo>
                    <a:lnTo>
                      <a:pt x="0" y="457"/>
                    </a:lnTo>
                    <a:lnTo>
                      <a:pt x="1" y="452"/>
                    </a:lnTo>
                    <a:lnTo>
                      <a:pt x="3" y="449"/>
                    </a:lnTo>
                    <a:lnTo>
                      <a:pt x="185" y="268"/>
                    </a:lnTo>
                    <a:lnTo>
                      <a:pt x="3" y="86"/>
                    </a:lnTo>
                    <a:lnTo>
                      <a:pt x="1" y="83"/>
                    </a:lnTo>
                    <a:lnTo>
                      <a:pt x="0" y="79"/>
                    </a:lnTo>
                    <a:lnTo>
                      <a:pt x="1" y="75"/>
                    </a:lnTo>
                    <a:lnTo>
                      <a:pt x="3" y="72"/>
                    </a:lnTo>
                    <a:lnTo>
                      <a:pt x="72" y="2"/>
                    </a:lnTo>
                    <a:lnTo>
                      <a:pt x="75" y="0"/>
                    </a:lnTo>
                    <a:lnTo>
                      <a:pt x="80" y="0"/>
                    </a:lnTo>
                    <a:lnTo>
                      <a:pt x="83" y="0"/>
                    </a:lnTo>
                    <a:lnTo>
                      <a:pt x="86" y="2"/>
                    </a:lnTo>
                    <a:lnTo>
                      <a:pt x="344" y="260"/>
                    </a:lnTo>
                    <a:lnTo>
                      <a:pt x="347" y="263"/>
                    </a:lnTo>
                    <a:lnTo>
                      <a:pt x="348" y="268"/>
                    </a:lnTo>
                    <a:lnTo>
                      <a:pt x="347" y="271"/>
                    </a:lnTo>
                    <a:lnTo>
                      <a:pt x="344" y="274"/>
                    </a:lnTo>
                    <a:lnTo>
                      <a:pt x="86" y="532"/>
                    </a:lnTo>
                    <a:lnTo>
                      <a:pt x="83" y="534"/>
                    </a:lnTo>
                    <a:lnTo>
                      <a:pt x="80" y="5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0" name="Group 69">
            <a:extLst>
              <a:ext uri="{FF2B5EF4-FFF2-40B4-BE49-F238E27FC236}">
                <a16:creationId xmlns="" xmlns:a16="http://schemas.microsoft.com/office/drawing/2014/main" id="{683ABE94-FFB1-4DA6-AFAD-D244BAF67E71}"/>
              </a:ext>
            </a:extLst>
          </p:cNvPr>
          <p:cNvGrpSpPr/>
          <p:nvPr/>
        </p:nvGrpSpPr>
        <p:grpSpPr>
          <a:xfrm rot="5400000">
            <a:off x="10272023" y="3568658"/>
            <a:ext cx="439822" cy="439822"/>
            <a:chOff x="1929292" y="3462553"/>
            <a:chExt cx="652034" cy="652034"/>
          </a:xfrm>
        </p:grpSpPr>
        <p:sp>
          <p:nvSpPr>
            <p:cNvPr id="71" name="Oval 70">
              <a:extLst>
                <a:ext uri="{FF2B5EF4-FFF2-40B4-BE49-F238E27FC236}">
                  <a16:creationId xmlns="" xmlns:a16="http://schemas.microsoft.com/office/drawing/2014/main" id="{5E67872B-34C9-4471-A59A-AC9690BC79CE}"/>
                </a:ext>
              </a:extLst>
            </p:cNvPr>
            <p:cNvSpPr/>
            <p:nvPr/>
          </p:nvSpPr>
          <p:spPr>
            <a:xfrm>
              <a:off x="1929292" y="3462553"/>
              <a:ext cx="652034" cy="652034"/>
            </a:xfrm>
            <a:prstGeom prst="ellipse">
              <a:avLst/>
            </a:prstGeom>
            <a:solidFill>
              <a:schemeClr val="tx2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="" xmlns:a16="http://schemas.microsoft.com/office/drawing/2014/main" id="{8F267467-265C-444E-A0E3-D06776CE427B}"/>
                </a:ext>
              </a:extLst>
            </p:cNvPr>
            <p:cNvGrpSpPr/>
            <p:nvPr/>
          </p:nvGrpSpPr>
          <p:grpSpPr>
            <a:xfrm>
              <a:off x="2115564" y="3662894"/>
              <a:ext cx="279490" cy="251353"/>
              <a:chOff x="7396163" y="4268788"/>
              <a:chExt cx="236538" cy="212725"/>
            </a:xfrm>
            <a:solidFill>
              <a:schemeClr val="accent4"/>
            </a:solidFill>
          </p:grpSpPr>
          <p:sp>
            <p:nvSpPr>
              <p:cNvPr id="73" name="Freeform 385">
                <a:extLst>
                  <a:ext uri="{FF2B5EF4-FFF2-40B4-BE49-F238E27FC236}">
                    <a16:creationId xmlns="" xmlns:a16="http://schemas.microsoft.com/office/drawing/2014/main" id="{6E136DAB-317D-4D9D-B4DB-D3FDF7B404A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96163" y="4268788"/>
                <a:ext cx="138113" cy="212725"/>
              </a:xfrm>
              <a:custGeom>
                <a:avLst/>
                <a:gdLst>
                  <a:gd name="T0" fmla="*/ 25 w 348"/>
                  <a:gd name="T1" fmla="*/ 457 h 535"/>
                  <a:gd name="T2" fmla="*/ 80 w 348"/>
                  <a:gd name="T3" fmla="*/ 512 h 535"/>
                  <a:gd name="T4" fmla="*/ 324 w 348"/>
                  <a:gd name="T5" fmla="*/ 268 h 535"/>
                  <a:gd name="T6" fmla="*/ 80 w 348"/>
                  <a:gd name="T7" fmla="*/ 23 h 535"/>
                  <a:gd name="T8" fmla="*/ 25 w 348"/>
                  <a:gd name="T9" fmla="*/ 79 h 535"/>
                  <a:gd name="T10" fmla="*/ 207 w 348"/>
                  <a:gd name="T11" fmla="*/ 260 h 535"/>
                  <a:gd name="T12" fmla="*/ 209 w 348"/>
                  <a:gd name="T13" fmla="*/ 263 h 535"/>
                  <a:gd name="T14" fmla="*/ 210 w 348"/>
                  <a:gd name="T15" fmla="*/ 268 h 535"/>
                  <a:gd name="T16" fmla="*/ 209 w 348"/>
                  <a:gd name="T17" fmla="*/ 271 h 535"/>
                  <a:gd name="T18" fmla="*/ 207 w 348"/>
                  <a:gd name="T19" fmla="*/ 274 h 535"/>
                  <a:gd name="T20" fmla="*/ 25 w 348"/>
                  <a:gd name="T21" fmla="*/ 457 h 535"/>
                  <a:gd name="T22" fmla="*/ 80 w 348"/>
                  <a:gd name="T23" fmla="*/ 535 h 535"/>
                  <a:gd name="T24" fmla="*/ 77 w 348"/>
                  <a:gd name="T25" fmla="*/ 534 h 535"/>
                  <a:gd name="T26" fmla="*/ 73 w 348"/>
                  <a:gd name="T27" fmla="*/ 533 h 535"/>
                  <a:gd name="T28" fmla="*/ 4 w 348"/>
                  <a:gd name="T29" fmla="*/ 463 h 535"/>
                  <a:gd name="T30" fmla="*/ 2 w 348"/>
                  <a:gd name="T31" fmla="*/ 460 h 535"/>
                  <a:gd name="T32" fmla="*/ 0 w 348"/>
                  <a:gd name="T33" fmla="*/ 457 h 535"/>
                  <a:gd name="T34" fmla="*/ 2 w 348"/>
                  <a:gd name="T35" fmla="*/ 452 h 535"/>
                  <a:gd name="T36" fmla="*/ 4 w 348"/>
                  <a:gd name="T37" fmla="*/ 449 h 535"/>
                  <a:gd name="T38" fmla="*/ 185 w 348"/>
                  <a:gd name="T39" fmla="*/ 268 h 535"/>
                  <a:gd name="T40" fmla="*/ 4 w 348"/>
                  <a:gd name="T41" fmla="*/ 86 h 535"/>
                  <a:gd name="T42" fmla="*/ 2 w 348"/>
                  <a:gd name="T43" fmla="*/ 83 h 535"/>
                  <a:gd name="T44" fmla="*/ 0 w 348"/>
                  <a:gd name="T45" fmla="*/ 79 h 535"/>
                  <a:gd name="T46" fmla="*/ 2 w 348"/>
                  <a:gd name="T47" fmla="*/ 75 h 535"/>
                  <a:gd name="T48" fmla="*/ 4 w 348"/>
                  <a:gd name="T49" fmla="*/ 72 h 535"/>
                  <a:gd name="T50" fmla="*/ 74 w 348"/>
                  <a:gd name="T51" fmla="*/ 2 h 535"/>
                  <a:gd name="T52" fmla="*/ 77 w 348"/>
                  <a:gd name="T53" fmla="*/ 0 h 535"/>
                  <a:gd name="T54" fmla="*/ 80 w 348"/>
                  <a:gd name="T55" fmla="*/ 0 h 535"/>
                  <a:gd name="T56" fmla="*/ 84 w 348"/>
                  <a:gd name="T57" fmla="*/ 0 h 535"/>
                  <a:gd name="T58" fmla="*/ 87 w 348"/>
                  <a:gd name="T59" fmla="*/ 2 h 535"/>
                  <a:gd name="T60" fmla="*/ 346 w 348"/>
                  <a:gd name="T61" fmla="*/ 260 h 535"/>
                  <a:gd name="T62" fmla="*/ 348 w 348"/>
                  <a:gd name="T63" fmla="*/ 263 h 535"/>
                  <a:gd name="T64" fmla="*/ 348 w 348"/>
                  <a:gd name="T65" fmla="*/ 268 h 535"/>
                  <a:gd name="T66" fmla="*/ 348 w 348"/>
                  <a:gd name="T67" fmla="*/ 271 h 535"/>
                  <a:gd name="T68" fmla="*/ 346 w 348"/>
                  <a:gd name="T69" fmla="*/ 274 h 535"/>
                  <a:gd name="T70" fmla="*/ 87 w 348"/>
                  <a:gd name="T71" fmla="*/ 532 h 535"/>
                  <a:gd name="T72" fmla="*/ 84 w 348"/>
                  <a:gd name="T73" fmla="*/ 534 h 535"/>
                  <a:gd name="T74" fmla="*/ 80 w 348"/>
                  <a:gd name="T75" fmla="*/ 535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8" h="535">
                    <a:moveTo>
                      <a:pt x="25" y="457"/>
                    </a:moveTo>
                    <a:lnTo>
                      <a:pt x="80" y="512"/>
                    </a:lnTo>
                    <a:lnTo>
                      <a:pt x="324" y="268"/>
                    </a:lnTo>
                    <a:lnTo>
                      <a:pt x="80" y="23"/>
                    </a:lnTo>
                    <a:lnTo>
                      <a:pt x="25" y="79"/>
                    </a:lnTo>
                    <a:lnTo>
                      <a:pt x="207" y="260"/>
                    </a:lnTo>
                    <a:lnTo>
                      <a:pt x="209" y="263"/>
                    </a:lnTo>
                    <a:lnTo>
                      <a:pt x="210" y="268"/>
                    </a:lnTo>
                    <a:lnTo>
                      <a:pt x="209" y="271"/>
                    </a:lnTo>
                    <a:lnTo>
                      <a:pt x="207" y="274"/>
                    </a:lnTo>
                    <a:lnTo>
                      <a:pt x="25" y="457"/>
                    </a:lnTo>
                    <a:close/>
                    <a:moveTo>
                      <a:pt x="80" y="535"/>
                    </a:moveTo>
                    <a:lnTo>
                      <a:pt x="77" y="534"/>
                    </a:lnTo>
                    <a:lnTo>
                      <a:pt x="73" y="533"/>
                    </a:lnTo>
                    <a:lnTo>
                      <a:pt x="4" y="463"/>
                    </a:lnTo>
                    <a:lnTo>
                      <a:pt x="2" y="460"/>
                    </a:lnTo>
                    <a:lnTo>
                      <a:pt x="0" y="457"/>
                    </a:lnTo>
                    <a:lnTo>
                      <a:pt x="2" y="452"/>
                    </a:lnTo>
                    <a:lnTo>
                      <a:pt x="4" y="449"/>
                    </a:lnTo>
                    <a:lnTo>
                      <a:pt x="185" y="268"/>
                    </a:lnTo>
                    <a:lnTo>
                      <a:pt x="4" y="86"/>
                    </a:lnTo>
                    <a:lnTo>
                      <a:pt x="2" y="83"/>
                    </a:lnTo>
                    <a:lnTo>
                      <a:pt x="0" y="79"/>
                    </a:lnTo>
                    <a:lnTo>
                      <a:pt x="2" y="75"/>
                    </a:lnTo>
                    <a:lnTo>
                      <a:pt x="4" y="72"/>
                    </a:lnTo>
                    <a:lnTo>
                      <a:pt x="74" y="2"/>
                    </a:lnTo>
                    <a:lnTo>
                      <a:pt x="77" y="0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7" y="2"/>
                    </a:lnTo>
                    <a:lnTo>
                      <a:pt x="346" y="260"/>
                    </a:lnTo>
                    <a:lnTo>
                      <a:pt x="348" y="263"/>
                    </a:lnTo>
                    <a:lnTo>
                      <a:pt x="348" y="268"/>
                    </a:lnTo>
                    <a:lnTo>
                      <a:pt x="348" y="271"/>
                    </a:lnTo>
                    <a:lnTo>
                      <a:pt x="346" y="274"/>
                    </a:lnTo>
                    <a:lnTo>
                      <a:pt x="87" y="532"/>
                    </a:lnTo>
                    <a:lnTo>
                      <a:pt x="84" y="534"/>
                    </a:lnTo>
                    <a:lnTo>
                      <a:pt x="80" y="5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386">
                <a:extLst>
                  <a:ext uri="{FF2B5EF4-FFF2-40B4-BE49-F238E27FC236}">
                    <a16:creationId xmlns="" xmlns:a16="http://schemas.microsoft.com/office/drawing/2014/main" id="{C15F04D0-C15C-4E3D-AA4D-F5BD4E802D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94588" y="4268788"/>
                <a:ext cx="138113" cy="212725"/>
              </a:xfrm>
              <a:custGeom>
                <a:avLst/>
                <a:gdLst>
                  <a:gd name="T0" fmla="*/ 25 w 348"/>
                  <a:gd name="T1" fmla="*/ 457 h 535"/>
                  <a:gd name="T2" fmla="*/ 80 w 348"/>
                  <a:gd name="T3" fmla="*/ 512 h 535"/>
                  <a:gd name="T4" fmla="*/ 324 w 348"/>
                  <a:gd name="T5" fmla="*/ 268 h 535"/>
                  <a:gd name="T6" fmla="*/ 80 w 348"/>
                  <a:gd name="T7" fmla="*/ 23 h 535"/>
                  <a:gd name="T8" fmla="*/ 25 w 348"/>
                  <a:gd name="T9" fmla="*/ 79 h 535"/>
                  <a:gd name="T10" fmla="*/ 206 w 348"/>
                  <a:gd name="T11" fmla="*/ 260 h 535"/>
                  <a:gd name="T12" fmla="*/ 208 w 348"/>
                  <a:gd name="T13" fmla="*/ 263 h 535"/>
                  <a:gd name="T14" fmla="*/ 208 w 348"/>
                  <a:gd name="T15" fmla="*/ 268 h 535"/>
                  <a:gd name="T16" fmla="*/ 208 w 348"/>
                  <a:gd name="T17" fmla="*/ 271 h 535"/>
                  <a:gd name="T18" fmla="*/ 206 w 348"/>
                  <a:gd name="T19" fmla="*/ 274 h 535"/>
                  <a:gd name="T20" fmla="*/ 25 w 348"/>
                  <a:gd name="T21" fmla="*/ 457 h 535"/>
                  <a:gd name="T22" fmla="*/ 80 w 348"/>
                  <a:gd name="T23" fmla="*/ 535 h 535"/>
                  <a:gd name="T24" fmla="*/ 75 w 348"/>
                  <a:gd name="T25" fmla="*/ 534 h 535"/>
                  <a:gd name="T26" fmla="*/ 72 w 348"/>
                  <a:gd name="T27" fmla="*/ 533 h 535"/>
                  <a:gd name="T28" fmla="*/ 3 w 348"/>
                  <a:gd name="T29" fmla="*/ 463 h 535"/>
                  <a:gd name="T30" fmla="*/ 1 w 348"/>
                  <a:gd name="T31" fmla="*/ 460 h 535"/>
                  <a:gd name="T32" fmla="*/ 0 w 348"/>
                  <a:gd name="T33" fmla="*/ 457 h 535"/>
                  <a:gd name="T34" fmla="*/ 1 w 348"/>
                  <a:gd name="T35" fmla="*/ 452 h 535"/>
                  <a:gd name="T36" fmla="*/ 3 w 348"/>
                  <a:gd name="T37" fmla="*/ 449 h 535"/>
                  <a:gd name="T38" fmla="*/ 185 w 348"/>
                  <a:gd name="T39" fmla="*/ 268 h 535"/>
                  <a:gd name="T40" fmla="*/ 3 w 348"/>
                  <a:gd name="T41" fmla="*/ 86 h 535"/>
                  <a:gd name="T42" fmla="*/ 1 w 348"/>
                  <a:gd name="T43" fmla="*/ 83 h 535"/>
                  <a:gd name="T44" fmla="*/ 0 w 348"/>
                  <a:gd name="T45" fmla="*/ 79 h 535"/>
                  <a:gd name="T46" fmla="*/ 1 w 348"/>
                  <a:gd name="T47" fmla="*/ 75 h 535"/>
                  <a:gd name="T48" fmla="*/ 3 w 348"/>
                  <a:gd name="T49" fmla="*/ 72 h 535"/>
                  <a:gd name="T50" fmla="*/ 72 w 348"/>
                  <a:gd name="T51" fmla="*/ 2 h 535"/>
                  <a:gd name="T52" fmla="*/ 75 w 348"/>
                  <a:gd name="T53" fmla="*/ 0 h 535"/>
                  <a:gd name="T54" fmla="*/ 80 w 348"/>
                  <a:gd name="T55" fmla="*/ 0 h 535"/>
                  <a:gd name="T56" fmla="*/ 83 w 348"/>
                  <a:gd name="T57" fmla="*/ 0 h 535"/>
                  <a:gd name="T58" fmla="*/ 86 w 348"/>
                  <a:gd name="T59" fmla="*/ 2 h 535"/>
                  <a:gd name="T60" fmla="*/ 344 w 348"/>
                  <a:gd name="T61" fmla="*/ 260 h 535"/>
                  <a:gd name="T62" fmla="*/ 347 w 348"/>
                  <a:gd name="T63" fmla="*/ 263 h 535"/>
                  <a:gd name="T64" fmla="*/ 348 w 348"/>
                  <a:gd name="T65" fmla="*/ 268 h 535"/>
                  <a:gd name="T66" fmla="*/ 347 w 348"/>
                  <a:gd name="T67" fmla="*/ 271 h 535"/>
                  <a:gd name="T68" fmla="*/ 344 w 348"/>
                  <a:gd name="T69" fmla="*/ 274 h 535"/>
                  <a:gd name="T70" fmla="*/ 86 w 348"/>
                  <a:gd name="T71" fmla="*/ 532 h 535"/>
                  <a:gd name="T72" fmla="*/ 83 w 348"/>
                  <a:gd name="T73" fmla="*/ 534 h 535"/>
                  <a:gd name="T74" fmla="*/ 80 w 348"/>
                  <a:gd name="T75" fmla="*/ 535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8" h="535">
                    <a:moveTo>
                      <a:pt x="25" y="457"/>
                    </a:moveTo>
                    <a:lnTo>
                      <a:pt x="80" y="512"/>
                    </a:lnTo>
                    <a:lnTo>
                      <a:pt x="324" y="268"/>
                    </a:lnTo>
                    <a:lnTo>
                      <a:pt x="80" y="23"/>
                    </a:lnTo>
                    <a:lnTo>
                      <a:pt x="25" y="79"/>
                    </a:lnTo>
                    <a:lnTo>
                      <a:pt x="206" y="260"/>
                    </a:lnTo>
                    <a:lnTo>
                      <a:pt x="208" y="263"/>
                    </a:lnTo>
                    <a:lnTo>
                      <a:pt x="208" y="268"/>
                    </a:lnTo>
                    <a:lnTo>
                      <a:pt x="208" y="271"/>
                    </a:lnTo>
                    <a:lnTo>
                      <a:pt x="206" y="274"/>
                    </a:lnTo>
                    <a:lnTo>
                      <a:pt x="25" y="457"/>
                    </a:lnTo>
                    <a:close/>
                    <a:moveTo>
                      <a:pt x="80" y="535"/>
                    </a:moveTo>
                    <a:lnTo>
                      <a:pt x="75" y="534"/>
                    </a:lnTo>
                    <a:lnTo>
                      <a:pt x="72" y="533"/>
                    </a:lnTo>
                    <a:lnTo>
                      <a:pt x="3" y="463"/>
                    </a:lnTo>
                    <a:lnTo>
                      <a:pt x="1" y="460"/>
                    </a:lnTo>
                    <a:lnTo>
                      <a:pt x="0" y="457"/>
                    </a:lnTo>
                    <a:lnTo>
                      <a:pt x="1" y="452"/>
                    </a:lnTo>
                    <a:lnTo>
                      <a:pt x="3" y="449"/>
                    </a:lnTo>
                    <a:lnTo>
                      <a:pt x="185" y="268"/>
                    </a:lnTo>
                    <a:lnTo>
                      <a:pt x="3" y="86"/>
                    </a:lnTo>
                    <a:lnTo>
                      <a:pt x="1" y="83"/>
                    </a:lnTo>
                    <a:lnTo>
                      <a:pt x="0" y="79"/>
                    </a:lnTo>
                    <a:lnTo>
                      <a:pt x="1" y="75"/>
                    </a:lnTo>
                    <a:lnTo>
                      <a:pt x="3" y="72"/>
                    </a:lnTo>
                    <a:lnTo>
                      <a:pt x="72" y="2"/>
                    </a:lnTo>
                    <a:lnTo>
                      <a:pt x="75" y="0"/>
                    </a:lnTo>
                    <a:lnTo>
                      <a:pt x="80" y="0"/>
                    </a:lnTo>
                    <a:lnTo>
                      <a:pt x="83" y="0"/>
                    </a:lnTo>
                    <a:lnTo>
                      <a:pt x="86" y="2"/>
                    </a:lnTo>
                    <a:lnTo>
                      <a:pt x="344" y="260"/>
                    </a:lnTo>
                    <a:lnTo>
                      <a:pt x="347" y="263"/>
                    </a:lnTo>
                    <a:lnTo>
                      <a:pt x="348" y="268"/>
                    </a:lnTo>
                    <a:lnTo>
                      <a:pt x="347" y="271"/>
                    </a:lnTo>
                    <a:lnTo>
                      <a:pt x="344" y="274"/>
                    </a:lnTo>
                    <a:lnTo>
                      <a:pt x="86" y="532"/>
                    </a:lnTo>
                    <a:lnTo>
                      <a:pt x="83" y="534"/>
                    </a:lnTo>
                    <a:lnTo>
                      <a:pt x="80" y="5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5" name="Group 74">
            <a:extLst>
              <a:ext uri="{FF2B5EF4-FFF2-40B4-BE49-F238E27FC236}">
                <a16:creationId xmlns="" xmlns:a16="http://schemas.microsoft.com/office/drawing/2014/main" id="{C61A0C59-3E04-4345-9CDB-717BB939F710}"/>
              </a:ext>
            </a:extLst>
          </p:cNvPr>
          <p:cNvGrpSpPr/>
          <p:nvPr/>
        </p:nvGrpSpPr>
        <p:grpSpPr>
          <a:xfrm rot="16200000" flipV="1">
            <a:off x="1480155" y="3568658"/>
            <a:ext cx="439822" cy="439822"/>
            <a:chOff x="1929292" y="3462553"/>
            <a:chExt cx="652034" cy="652034"/>
          </a:xfrm>
        </p:grpSpPr>
        <p:sp>
          <p:nvSpPr>
            <p:cNvPr id="76" name="Oval 75">
              <a:extLst>
                <a:ext uri="{FF2B5EF4-FFF2-40B4-BE49-F238E27FC236}">
                  <a16:creationId xmlns="" xmlns:a16="http://schemas.microsoft.com/office/drawing/2014/main" id="{D1EBAD14-0209-4B73-B5F3-E7D2D699C9C4}"/>
                </a:ext>
              </a:extLst>
            </p:cNvPr>
            <p:cNvSpPr/>
            <p:nvPr/>
          </p:nvSpPr>
          <p:spPr>
            <a:xfrm>
              <a:off x="1929292" y="3462553"/>
              <a:ext cx="652034" cy="652034"/>
            </a:xfrm>
            <a:prstGeom prst="ellipse">
              <a:avLst/>
            </a:prstGeom>
            <a:solidFill>
              <a:schemeClr val="tx2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="" xmlns:a16="http://schemas.microsoft.com/office/drawing/2014/main" id="{122D5CAD-CE01-4768-82A6-EAE93EA919E2}"/>
                </a:ext>
              </a:extLst>
            </p:cNvPr>
            <p:cNvGrpSpPr/>
            <p:nvPr/>
          </p:nvGrpSpPr>
          <p:grpSpPr>
            <a:xfrm>
              <a:off x="2115564" y="3662894"/>
              <a:ext cx="279490" cy="251353"/>
              <a:chOff x="7396163" y="4268788"/>
              <a:chExt cx="236538" cy="212725"/>
            </a:xfrm>
            <a:solidFill>
              <a:schemeClr val="accent4"/>
            </a:solidFill>
          </p:grpSpPr>
          <p:sp>
            <p:nvSpPr>
              <p:cNvPr id="78" name="Freeform 385">
                <a:extLst>
                  <a:ext uri="{FF2B5EF4-FFF2-40B4-BE49-F238E27FC236}">
                    <a16:creationId xmlns="" xmlns:a16="http://schemas.microsoft.com/office/drawing/2014/main" id="{586387CF-4BC2-4316-A8AD-87100424CC7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96163" y="4268788"/>
                <a:ext cx="138113" cy="212725"/>
              </a:xfrm>
              <a:custGeom>
                <a:avLst/>
                <a:gdLst>
                  <a:gd name="T0" fmla="*/ 25 w 348"/>
                  <a:gd name="T1" fmla="*/ 457 h 535"/>
                  <a:gd name="T2" fmla="*/ 80 w 348"/>
                  <a:gd name="T3" fmla="*/ 512 h 535"/>
                  <a:gd name="T4" fmla="*/ 324 w 348"/>
                  <a:gd name="T5" fmla="*/ 268 h 535"/>
                  <a:gd name="T6" fmla="*/ 80 w 348"/>
                  <a:gd name="T7" fmla="*/ 23 h 535"/>
                  <a:gd name="T8" fmla="*/ 25 w 348"/>
                  <a:gd name="T9" fmla="*/ 79 h 535"/>
                  <a:gd name="T10" fmla="*/ 207 w 348"/>
                  <a:gd name="T11" fmla="*/ 260 h 535"/>
                  <a:gd name="T12" fmla="*/ 209 w 348"/>
                  <a:gd name="T13" fmla="*/ 263 h 535"/>
                  <a:gd name="T14" fmla="*/ 210 w 348"/>
                  <a:gd name="T15" fmla="*/ 268 h 535"/>
                  <a:gd name="T16" fmla="*/ 209 w 348"/>
                  <a:gd name="T17" fmla="*/ 271 h 535"/>
                  <a:gd name="T18" fmla="*/ 207 w 348"/>
                  <a:gd name="T19" fmla="*/ 274 h 535"/>
                  <a:gd name="T20" fmla="*/ 25 w 348"/>
                  <a:gd name="T21" fmla="*/ 457 h 535"/>
                  <a:gd name="T22" fmla="*/ 80 w 348"/>
                  <a:gd name="T23" fmla="*/ 535 h 535"/>
                  <a:gd name="T24" fmla="*/ 77 w 348"/>
                  <a:gd name="T25" fmla="*/ 534 h 535"/>
                  <a:gd name="T26" fmla="*/ 73 w 348"/>
                  <a:gd name="T27" fmla="*/ 533 h 535"/>
                  <a:gd name="T28" fmla="*/ 4 w 348"/>
                  <a:gd name="T29" fmla="*/ 463 h 535"/>
                  <a:gd name="T30" fmla="*/ 2 w 348"/>
                  <a:gd name="T31" fmla="*/ 460 h 535"/>
                  <a:gd name="T32" fmla="*/ 0 w 348"/>
                  <a:gd name="T33" fmla="*/ 457 h 535"/>
                  <a:gd name="T34" fmla="*/ 2 w 348"/>
                  <a:gd name="T35" fmla="*/ 452 h 535"/>
                  <a:gd name="T36" fmla="*/ 4 w 348"/>
                  <a:gd name="T37" fmla="*/ 449 h 535"/>
                  <a:gd name="T38" fmla="*/ 185 w 348"/>
                  <a:gd name="T39" fmla="*/ 268 h 535"/>
                  <a:gd name="T40" fmla="*/ 4 w 348"/>
                  <a:gd name="T41" fmla="*/ 86 h 535"/>
                  <a:gd name="T42" fmla="*/ 2 w 348"/>
                  <a:gd name="T43" fmla="*/ 83 h 535"/>
                  <a:gd name="T44" fmla="*/ 0 w 348"/>
                  <a:gd name="T45" fmla="*/ 79 h 535"/>
                  <a:gd name="T46" fmla="*/ 2 w 348"/>
                  <a:gd name="T47" fmla="*/ 75 h 535"/>
                  <a:gd name="T48" fmla="*/ 4 w 348"/>
                  <a:gd name="T49" fmla="*/ 72 h 535"/>
                  <a:gd name="T50" fmla="*/ 74 w 348"/>
                  <a:gd name="T51" fmla="*/ 2 h 535"/>
                  <a:gd name="T52" fmla="*/ 77 w 348"/>
                  <a:gd name="T53" fmla="*/ 0 h 535"/>
                  <a:gd name="T54" fmla="*/ 80 w 348"/>
                  <a:gd name="T55" fmla="*/ 0 h 535"/>
                  <a:gd name="T56" fmla="*/ 84 w 348"/>
                  <a:gd name="T57" fmla="*/ 0 h 535"/>
                  <a:gd name="T58" fmla="*/ 87 w 348"/>
                  <a:gd name="T59" fmla="*/ 2 h 535"/>
                  <a:gd name="T60" fmla="*/ 346 w 348"/>
                  <a:gd name="T61" fmla="*/ 260 h 535"/>
                  <a:gd name="T62" fmla="*/ 348 w 348"/>
                  <a:gd name="T63" fmla="*/ 263 h 535"/>
                  <a:gd name="T64" fmla="*/ 348 w 348"/>
                  <a:gd name="T65" fmla="*/ 268 h 535"/>
                  <a:gd name="T66" fmla="*/ 348 w 348"/>
                  <a:gd name="T67" fmla="*/ 271 h 535"/>
                  <a:gd name="T68" fmla="*/ 346 w 348"/>
                  <a:gd name="T69" fmla="*/ 274 h 535"/>
                  <a:gd name="T70" fmla="*/ 87 w 348"/>
                  <a:gd name="T71" fmla="*/ 532 h 535"/>
                  <a:gd name="T72" fmla="*/ 84 w 348"/>
                  <a:gd name="T73" fmla="*/ 534 h 535"/>
                  <a:gd name="T74" fmla="*/ 80 w 348"/>
                  <a:gd name="T75" fmla="*/ 535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8" h="535">
                    <a:moveTo>
                      <a:pt x="25" y="457"/>
                    </a:moveTo>
                    <a:lnTo>
                      <a:pt x="80" y="512"/>
                    </a:lnTo>
                    <a:lnTo>
                      <a:pt x="324" y="268"/>
                    </a:lnTo>
                    <a:lnTo>
                      <a:pt x="80" y="23"/>
                    </a:lnTo>
                    <a:lnTo>
                      <a:pt x="25" y="79"/>
                    </a:lnTo>
                    <a:lnTo>
                      <a:pt x="207" y="260"/>
                    </a:lnTo>
                    <a:lnTo>
                      <a:pt x="209" y="263"/>
                    </a:lnTo>
                    <a:lnTo>
                      <a:pt x="210" y="268"/>
                    </a:lnTo>
                    <a:lnTo>
                      <a:pt x="209" y="271"/>
                    </a:lnTo>
                    <a:lnTo>
                      <a:pt x="207" y="274"/>
                    </a:lnTo>
                    <a:lnTo>
                      <a:pt x="25" y="457"/>
                    </a:lnTo>
                    <a:close/>
                    <a:moveTo>
                      <a:pt x="80" y="535"/>
                    </a:moveTo>
                    <a:lnTo>
                      <a:pt x="77" y="534"/>
                    </a:lnTo>
                    <a:lnTo>
                      <a:pt x="73" y="533"/>
                    </a:lnTo>
                    <a:lnTo>
                      <a:pt x="4" y="463"/>
                    </a:lnTo>
                    <a:lnTo>
                      <a:pt x="2" y="460"/>
                    </a:lnTo>
                    <a:lnTo>
                      <a:pt x="0" y="457"/>
                    </a:lnTo>
                    <a:lnTo>
                      <a:pt x="2" y="452"/>
                    </a:lnTo>
                    <a:lnTo>
                      <a:pt x="4" y="449"/>
                    </a:lnTo>
                    <a:lnTo>
                      <a:pt x="185" y="268"/>
                    </a:lnTo>
                    <a:lnTo>
                      <a:pt x="4" y="86"/>
                    </a:lnTo>
                    <a:lnTo>
                      <a:pt x="2" y="83"/>
                    </a:lnTo>
                    <a:lnTo>
                      <a:pt x="0" y="79"/>
                    </a:lnTo>
                    <a:lnTo>
                      <a:pt x="2" y="75"/>
                    </a:lnTo>
                    <a:lnTo>
                      <a:pt x="4" y="72"/>
                    </a:lnTo>
                    <a:lnTo>
                      <a:pt x="74" y="2"/>
                    </a:lnTo>
                    <a:lnTo>
                      <a:pt x="77" y="0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7" y="2"/>
                    </a:lnTo>
                    <a:lnTo>
                      <a:pt x="346" y="260"/>
                    </a:lnTo>
                    <a:lnTo>
                      <a:pt x="348" y="263"/>
                    </a:lnTo>
                    <a:lnTo>
                      <a:pt x="348" y="268"/>
                    </a:lnTo>
                    <a:lnTo>
                      <a:pt x="348" y="271"/>
                    </a:lnTo>
                    <a:lnTo>
                      <a:pt x="346" y="274"/>
                    </a:lnTo>
                    <a:lnTo>
                      <a:pt x="87" y="532"/>
                    </a:lnTo>
                    <a:lnTo>
                      <a:pt x="84" y="534"/>
                    </a:lnTo>
                    <a:lnTo>
                      <a:pt x="80" y="5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Freeform 386">
                <a:extLst>
                  <a:ext uri="{FF2B5EF4-FFF2-40B4-BE49-F238E27FC236}">
                    <a16:creationId xmlns="" xmlns:a16="http://schemas.microsoft.com/office/drawing/2014/main" id="{CAA76F9C-E61B-4C2E-AAB6-B7E3E77FC6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494588" y="4268788"/>
                <a:ext cx="138113" cy="212725"/>
              </a:xfrm>
              <a:custGeom>
                <a:avLst/>
                <a:gdLst>
                  <a:gd name="T0" fmla="*/ 25 w 348"/>
                  <a:gd name="T1" fmla="*/ 457 h 535"/>
                  <a:gd name="T2" fmla="*/ 80 w 348"/>
                  <a:gd name="T3" fmla="*/ 512 h 535"/>
                  <a:gd name="T4" fmla="*/ 324 w 348"/>
                  <a:gd name="T5" fmla="*/ 268 h 535"/>
                  <a:gd name="T6" fmla="*/ 80 w 348"/>
                  <a:gd name="T7" fmla="*/ 23 h 535"/>
                  <a:gd name="T8" fmla="*/ 25 w 348"/>
                  <a:gd name="T9" fmla="*/ 79 h 535"/>
                  <a:gd name="T10" fmla="*/ 206 w 348"/>
                  <a:gd name="T11" fmla="*/ 260 h 535"/>
                  <a:gd name="T12" fmla="*/ 208 w 348"/>
                  <a:gd name="T13" fmla="*/ 263 h 535"/>
                  <a:gd name="T14" fmla="*/ 208 w 348"/>
                  <a:gd name="T15" fmla="*/ 268 h 535"/>
                  <a:gd name="T16" fmla="*/ 208 w 348"/>
                  <a:gd name="T17" fmla="*/ 271 h 535"/>
                  <a:gd name="T18" fmla="*/ 206 w 348"/>
                  <a:gd name="T19" fmla="*/ 274 h 535"/>
                  <a:gd name="T20" fmla="*/ 25 w 348"/>
                  <a:gd name="T21" fmla="*/ 457 h 535"/>
                  <a:gd name="T22" fmla="*/ 80 w 348"/>
                  <a:gd name="T23" fmla="*/ 535 h 535"/>
                  <a:gd name="T24" fmla="*/ 75 w 348"/>
                  <a:gd name="T25" fmla="*/ 534 h 535"/>
                  <a:gd name="T26" fmla="*/ 72 w 348"/>
                  <a:gd name="T27" fmla="*/ 533 h 535"/>
                  <a:gd name="T28" fmla="*/ 3 w 348"/>
                  <a:gd name="T29" fmla="*/ 463 h 535"/>
                  <a:gd name="T30" fmla="*/ 1 w 348"/>
                  <a:gd name="T31" fmla="*/ 460 h 535"/>
                  <a:gd name="T32" fmla="*/ 0 w 348"/>
                  <a:gd name="T33" fmla="*/ 457 h 535"/>
                  <a:gd name="T34" fmla="*/ 1 w 348"/>
                  <a:gd name="T35" fmla="*/ 452 h 535"/>
                  <a:gd name="T36" fmla="*/ 3 w 348"/>
                  <a:gd name="T37" fmla="*/ 449 h 535"/>
                  <a:gd name="T38" fmla="*/ 185 w 348"/>
                  <a:gd name="T39" fmla="*/ 268 h 535"/>
                  <a:gd name="T40" fmla="*/ 3 w 348"/>
                  <a:gd name="T41" fmla="*/ 86 h 535"/>
                  <a:gd name="T42" fmla="*/ 1 w 348"/>
                  <a:gd name="T43" fmla="*/ 83 h 535"/>
                  <a:gd name="T44" fmla="*/ 0 w 348"/>
                  <a:gd name="T45" fmla="*/ 79 h 535"/>
                  <a:gd name="T46" fmla="*/ 1 w 348"/>
                  <a:gd name="T47" fmla="*/ 75 h 535"/>
                  <a:gd name="T48" fmla="*/ 3 w 348"/>
                  <a:gd name="T49" fmla="*/ 72 h 535"/>
                  <a:gd name="T50" fmla="*/ 72 w 348"/>
                  <a:gd name="T51" fmla="*/ 2 h 535"/>
                  <a:gd name="T52" fmla="*/ 75 w 348"/>
                  <a:gd name="T53" fmla="*/ 0 h 535"/>
                  <a:gd name="T54" fmla="*/ 80 w 348"/>
                  <a:gd name="T55" fmla="*/ 0 h 535"/>
                  <a:gd name="T56" fmla="*/ 83 w 348"/>
                  <a:gd name="T57" fmla="*/ 0 h 535"/>
                  <a:gd name="T58" fmla="*/ 86 w 348"/>
                  <a:gd name="T59" fmla="*/ 2 h 535"/>
                  <a:gd name="T60" fmla="*/ 344 w 348"/>
                  <a:gd name="T61" fmla="*/ 260 h 535"/>
                  <a:gd name="T62" fmla="*/ 347 w 348"/>
                  <a:gd name="T63" fmla="*/ 263 h 535"/>
                  <a:gd name="T64" fmla="*/ 348 w 348"/>
                  <a:gd name="T65" fmla="*/ 268 h 535"/>
                  <a:gd name="T66" fmla="*/ 347 w 348"/>
                  <a:gd name="T67" fmla="*/ 271 h 535"/>
                  <a:gd name="T68" fmla="*/ 344 w 348"/>
                  <a:gd name="T69" fmla="*/ 274 h 535"/>
                  <a:gd name="T70" fmla="*/ 86 w 348"/>
                  <a:gd name="T71" fmla="*/ 532 h 535"/>
                  <a:gd name="T72" fmla="*/ 83 w 348"/>
                  <a:gd name="T73" fmla="*/ 534 h 535"/>
                  <a:gd name="T74" fmla="*/ 80 w 348"/>
                  <a:gd name="T75" fmla="*/ 535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8" h="535">
                    <a:moveTo>
                      <a:pt x="25" y="457"/>
                    </a:moveTo>
                    <a:lnTo>
                      <a:pt x="80" y="512"/>
                    </a:lnTo>
                    <a:lnTo>
                      <a:pt x="324" y="268"/>
                    </a:lnTo>
                    <a:lnTo>
                      <a:pt x="80" y="23"/>
                    </a:lnTo>
                    <a:lnTo>
                      <a:pt x="25" y="79"/>
                    </a:lnTo>
                    <a:lnTo>
                      <a:pt x="206" y="260"/>
                    </a:lnTo>
                    <a:lnTo>
                      <a:pt x="208" y="263"/>
                    </a:lnTo>
                    <a:lnTo>
                      <a:pt x="208" y="268"/>
                    </a:lnTo>
                    <a:lnTo>
                      <a:pt x="208" y="271"/>
                    </a:lnTo>
                    <a:lnTo>
                      <a:pt x="206" y="274"/>
                    </a:lnTo>
                    <a:lnTo>
                      <a:pt x="25" y="457"/>
                    </a:lnTo>
                    <a:close/>
                    <a:moveTo>
                      <a:pt x="80" y="535"/>
                    </a:moveTo>
                    <a:lnTo>
                      <a:pt x="75" y="534"/>
                    </a:lnTo>
                    <a:lnTo>
                      <a:pt x="72" y="533"/>
                    </a:lnTo>
                    <a:lnTo>
                      <a:pt x="3" y="463"/>
                    </a:lnTo>
                    <a:lnTo>
                      <a:pt x="1" y="460"/>
                    </a:lnTo>
                    <a:lnTo>
                      <a:pt x="0" y="457"/>
                    </a:lnTo>
                    <a:lnTo>
                      <a:pt x="1" y="452"/>
                    </a:lnTo>
                    <a:lnTo>
                      <a:pt x="3" y="449"/>
                    </a:lnTo>
                    <a:lnTo>
                      <a:pt x="185" y="268"/>
                    </a:lnTo>
                    <a:lnTo>
                      <a:pt x="3" y="86"/>
                    </a:lnTo>
                    <a:lnTo>
                      <a:pt x="1" y="83"/>
                    </a:lnTo>
                    <a:lnTo>
                      <a:pt x="0" y="79"/>
                    </a:lnTo>
                    <a:lnTo>
                      <a:pt x="1" y="75"/>
                    </a:lnTo>
                    <a:lnTo>
                      <a:pt x="3" y="72"/>
                    </a:lnTo>
                    <a:lnTo>
                      <a:pt x="72" y="2"/>
                    </a:lnTo>
                    <a:lnTo>
                      <a:pt x="75" y="0"/>
                    </a:lnTo>
                    <a:lnTo>
                      <a:pt x="80" y="0"/>
                    </a:lnTo>
                    <a:lnTo>
                      <a:pt x="83" y="0"/>
                    </a:lnTo>
                    <a:lnTo>
                      <a:pt x="86" y="2"/>
                    </a:lnTo>
                    <a:lnTo>
                      <a:pt x="344" y="260"/>
                    </a:lnTo>
                    <a:lnTo>
                      <a:pt x="347" y="263"/>
                    </a:lnTo>
                    <a:lnTo>
                      <a:pt x="348" y="268"/>
                    </a:lnTo>
                    <a:lnTo>
                      <a:pt x="347" y="271"/>
                    </a:lnTo>
                    <a:lnTo>
                      <a:pt x="344" y="274"/>
                    </a:lnTo>
                    <a:lnTo>
                      <a:pt x="86" y="532"/>
                    </a:lnTo>
                    <a:lnTo>
                      <a:pt x="83" y="534"/>
                    </a:lnTo>
                    <a:lnTo>
                      <a:pt x="80" y="5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="" xmlns:p14="http://schemas.microsoft.com/office/powerpoint/2010/main" val="12052801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8505CDED-13AE-40F0-87D6-E4A6DDAE0C42}"/>
              </a:ext>
            </a:extLst>
          </p:cNvPr>
          <p:cNvSpPr txBox="1"/>
          <p:nvPr/>
        </p:nvSpPr>
        <p:spPr>
          <a:xfrm>
            <a:off x="391886" y="138113"/>
            <a:ext cx="11408228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>
                <a:solidFill>
                  <a:schemeClr val="tx2"/>
                </a:solidFill>
                <a:latin typeface="+mj-lt"/>
              </a:rPr>
              <a:t>SUPPLY CHAIN</a:t>
            </a:r>
            <a:endParaRPr lang="en-ID" sz="4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650DC6E6-7E8C-4810-BA99-8139F7C1E125}"/>
              </a:ext>
            </a:extLst>
          </p:cNvPr>
          <p:cNvSpPr/>
          <p:nvPr/>
        </p:nvSpPr>
        <p:spPr>
          <a:xfrm>
            <a:off x="334962" y="815221"/>
            <a:ext cx="1152207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lo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l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D372E057-0BFB-4CB4-8BB3-967DEB9AF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BA98C-1060-4864-8096-9350DC016A42}" type="datetime1">
              <a:rPr lang="en-ID" smtClean="0"/>
              <a:pPr/>
              <a:t>6/27/2020</a:t>
            </a:fld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24DC781-AC70-4CCD-8B70-39BA47EBA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89122-6C24-49FD-BEBC-7A811562A5F5}" type="slidenum">
              <a:rPr lang="en-ID" smtClean="0"/>
              <a:pPr/>
              <a:t>8</a:t>
            </a:fld>
            <a:endParaRPr lang="en-ID"/>
          </a:p>
        </p:txBody>
      </p:sp>
      <p:grpSp>
        <p:nvGrpSpPr>
          <p:cNvPr id="23" name="Group 22">
            <a:extLst>
              <a:ext uri="{FF2B5EF4-FFF2-40B4-BE49-F238E27FC236}">
                <a16:creationId xmlns="" xmlns:a16="http://schemas.microsoft.com/office/drawing/2014/main" id="{80100308-D342-478A-B664-02A74D6C2F10}"/>
              </a:ext>
            </a:extLst>
          </p:cNvPr>
          <p:cNvGrpSpPr/>
          <p:nvPr/>
        </p:nvGrpSpPr>
        <p:grpSpPr>
          <a:xfrm>
            <a:off x="5347035" y="3082710"/>
            <a:ext cx="1499269" cy="1502194"/>
            <a:chOff x="1464462" y="2531912"/>
            <a:chExt cx="1499269" cy="1502194"/>
          </a:xfrm>
          <a:solidFill>
            <a:srgbClr val="DADFE1"/>
          </a:solidFill>
          <a:effectLst/>
        </p:grpSpPr>
        <p:sp>
          <p:nvSpPr>
            <p:cNvPr id="24" name="Freeform 24">
              <a:extLst>
                <a:ext uri="{FF2B5EF4-FFF2-40B4-BE49-F238E27FC236}">
                  <a16:creationId xmlns="" xmlns:a16="http://schemas.microsoft.com/office/drawing/2014/main" id="{35E1DB5B-60DC-4531-9B8B-F17CA70FCA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4462" y="2531912"/>
              <a:ext cx="1499269" cy="1502194"/>
            </a:xfrm>
            <a:custGeom>
              <a:avLst/>
              <a:gdLst>
                <a:gd name="T0" fmla="*/ 435 w 727"/>
                <a:gd name="T1" fmla="*/ 722 h 728"/>
                <a:gd name="T2" fmla="*/ 479 w 727"/>
                <a:gd name="T3" fmla="*/ 646 h 728"/>
                <a:gd name="T4" fmla="*/ 565 w 727"/>
                <a:gd name="T5" fmla="*/ 668 h 728"/>
                <a:gd name="T6" fmla="*/ 577 w 727"/>
                <a:gd name="T7" fmla="*/ 582 h 728"/>
                <a:gd name="T8" fmla="*/ 668 w 727"/>
                <a:gd name="T9" fmla="*/ 567 h 728"/>
                <a:gd name="T10" fmla="*/ 645 w 727"/>
                <a:gd name="T11" fmla="*/ 481 h 728"/>
                <a:gd name="T12" fmla="*/ 721 w 727"/>
                <a:gd name="T13" fmla="*/ 437 h 728"/>
                <a:gd name="T14" fmla="*/ 668 w 727"/>
                <a:gd name="T15" fmla="*/ 367 h 728"/>
                <a:gd name="T16" fmla="*/ 721 w 727"/>
                <a:gd name="T17" fmla="*/ 293 h 728"/>
                <a:gd name="T18" fmla="*/ 645 w 727"/>
                <a:gd name="T19" fmla="*/ 248 h 728"/>
                <a:gd name="T20" fmla="*/ 668 w 727"/>
                <a:gd name="T21" fmla="*/ 163 h 728"/>
                <a:gd name="T22" fmla="*/ 581 w 727"/>
                <a:gd name="T23" fmla="*/ 151 h 728"/>
                <a:gd name="T24" fmla="*/ 566 w 727"/>
                <a:gd name="T25" fmla="*/ 60 h 728"/>
                <a:gd name="T26" fmla="*/ 481 w 727"/>
                <a:gd name="T27" fmla="*/ 83 h 728"/>
                <a:gd name="T28" fmla="*/ 436 w 727"/>
                <a:gd name="T29" fmla="*/ 7 h 728"/>
                <a:gd name="T30" fmla="*/ 366 w 727"/>
                <a:gd name="T31" fmla="*/ 59 h 728"/>
                <a:gd name="T32" fmla="*/ 292 w 727"/>
                <a:gd name="T33" fmla="*/ 7 h 728"/>
                <a:gd name="T34" fmla="*/ 247 w 727"/>
                <a:gd name="T35" fmla="*/ 82 h 728"/>
                <a:gd name="T36" fmla="*/ 162 w 727"/>
                <a:gd name="T37" fmla="*/ 60 h 728"/>
                <a:gd name="T38" fmla="*/ 150 w 727"/>
                <a:gd name="T39" fmla="*/ 147 h 728"/>
                <a:gd name="T40" fmla="*/ 59 w 727"/>
                <a:gd name="T41" fmla="*/ 162 h 728"/>
                <a:gd name="T42" fmla="*/ 82 w 727"/>
                <a:gd name="T43" fmla="*/ 247 h 728"/>
                <a:gd name="T44" fmla="*/ 6 w 727"/>
                <a:gd name="T45" fmla="*/ 291 h 728"/>
                <a:gd name="T46" fmla="*/ 59 w 727"/>
                <a:gd name="T47" fmla="*/ 361 h 728"/>
                <a:gd name="T48" fmla="*/ 6 w 727"/>
                <a:gd name="T49" fmla="*/ 436 h 728"/>
                <a:gd name="T50" fmla="*/ 82 w 727"/>
                <a:gd name="T51" fmla="*/ 480 h 728"/>
                <a:gd name="T52" fmla="*/ 59 w 727"/>
                <a:gd name="T53" fmla="*/ 565 h 728"/>
                <a:gd name="T54" fmla="*/ 146 w 727"/>
                <a:gd name="T55" fmla="*/ 578 h 728"/>
                <a:gd name="T56" fmla="*/ 161 w 727"/>
                <a:gd name="T57" fmla="*/ 668 h 728"/>
                <a:gd name="T58" fmla="*/ 246 w 727"/>
                <a:gd name="T59" fmla="*/ 645 h 728"/>
                <a:gd name="T60" fmla="*/ 290 w 727"/>
                <a:gd name="T61" fmla="*/ 721 h 728"/>
                <a:gd name="T62" fmla="*/ 361 w 727"/>
                <a:gd name="T63" fmla="*/ 669 h 728"/>
                <a:gd name="T64" fmla="*/ 246 w 727"/>
                <a:gd name="T65" fmla="*/ 567 h 728"/>
                <a:gd name="T66" fmla="*/ 481 w 727"/>
                <a:gd name="T67" fmla="*/ 161 h 728"/>
                <a:gd name="T68" fmla="*/ 246 w 727"/>
                <a:gd name="T69" fmla="*/ 56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27" h="728">
                  <a:moveTo>
                    <a:pt x="404" y="666"/>
                  </a:moveTo>
                  <a:cubicBezTo>
                    <a:pt x="435" y="722"/>
                    <a:pt x="435" y="722"/>
                    <a:pt x="435" y="722"/>
                  </a:cubicBezTo>
                  <a:cubicBezTo>
                    <a:pt x="480" y="710"/>
                    <a:pt x="480" y="710"/>
                    <a:pt x="480" y="710"/>
                  </a:cubicBezTo>
                  <a:cubicBezTo>
                    <a:pt x="479" y="646"/>
                    <a:pt x="479" y="646"/>
                    <a:pt x="479" y="646"/>
                  </a:cubicBezTo>
                  <a:cubicBezTo>
                    <a:pt x="491" y="641"/>
                    <a:pt x="503" y="635"/>
                    <a:pt x="514" y="629"/>
                  </a:cubicBezTo>
                  <a:cubicBezTo>
                    <a:pt x="565" y="668"/>
                    <a:pt x="565" y="668"/>
                    <a:pt x="565" y="668"/>
                  </a:cubicBezTo>
                  <a:cubicBezTo>
                    <a:pt x="601" y="640"/>
                    <a:pt x="601" y="640"/>
                    <a:pt x="601" y="640"/>
                  </a:cubicBezTo>
                  <a:cubicBezTo>
                    <a:pt x="577" y="582"/>
                    <a:pt x="577" y="582"/>
                    <a:pt x="577" y="582"/>
                  </a:cubicBezTo>
                  <a:cubicBezTo>
                    <a:pt x="587" y="572"/>
                    <a:pt x="597" y="561"/>
                    <a:pt x="605" y="549"/>
                  </a:cubicBezTo>
                  <a:cubicBezTo>
                    <a:pt x="668" y="567"/>
                    <a:pt x="668" y="567"/>
                    <a:pt x="668" y="567"/>
                  </a:cubicBezTo>
                  <a:cubicBezTo>
                    <a:pt x="691" y="527"/>
                    <a:pt x="691" y="527"/>
                    <a:pt x="691" y="527"/>
                  </a:cubicBezTo>
                  <a:cubicBezTo>
                    <a:pt x="645" y="481"/>
                    <a:pt x="645" y="481"/>
                    <a:pt x="645" y="481"/>
                  </a:cubicBezTo>
                  <a:cubicBezTo>
                    <a:pt x="650" y="469"/>
                    <a:pt x="654" y="457"/>
                    <a:pt x="657" y="445"/>
                  </a:cubicBezTo>
                  <a:cubicBezTo>
                    <a:pt x="721" y="437"/>
                    <a:pt x="721" y="437"/>
                    <a:pt x="721" y="437"/>
                  </a:cubicBezTo>
                  <a:cubicBezTo>
                    <a:pt x="727" y="391"/>
                    <a:pt x="727" y="391"/>
                    <a:pt x="727" y="391"/>
                  </a:cubicBezTo>
                  <a:cubicBezTo>
                    <a:pt x="668" y="367"/>
                    <a:pt x="668" y="367"/>
                    <a:pt x="668" y="367"/>
                  </a:cubicBezTo>
                  <a:cubicBezTo>
                    <a:pt x="668" y="352"/>
                    <a:pt x="667" y="338"/>
                    <a:pt x="666" y="324"/>
                  </a:cubicBezTo>
                  <a:cubicBezTo>
                    <a:pt x="721" y="293"/>
                    <a:pt x="721" y="293"/>
                    <a:pt x="721" y="293"/>
                  </a:cubicBezTo>
                  <a:cubicBezTo>
                    <a:pt x="709" y="248"/>
                    <a:pt x="709" y="248"/>
                    <a:pt x="709" y="248"/>
                  </a:cubicBezTo>
                  <a:cubicBezTo>
                    <a:pt x="645" y="248"/>
                    <a:pt x="645" y="248"/>
                    <a:pt x="645" y="248"/>
                  </a:cubicBezTo>
                  <a:cubicBezTo>
                    <a:pt x="640" y="236"/>
                    <a:pt x="635" y="224"/>
                    <a:pt x="628" y="213"/>
                  </a:cubicBezTo>
                  <a:cubicBezTo>
                    <a:pt x="668" y="163"/>
                    <a:pt x="668" y="163"/>
                    <a:pt x="668" y="163"/>
                  </a:cubicBezTo>
                  <a:cubicBezTo>
                    <a:pt x="640" y="126"/>
                    <a:pt x="640" y="126"/>
                    <a:pt x="640" y="126"/>
                  </a:cubicBezTo>
                  <a:cubicBezTo>
                    <a:pt x="581" y="151"/>
                    <a:pt x="581" y="151"/>
                    <a:pt x="581" y="151"/>
                  </a:cubicBezTo>
                  <a:cubicBezTo>
                    <a:pt x="571" y="140"/>
                    <a:pt x="560" y="131"/>
                    <a:pt x="549" y="122"/>
                  </a:cubicBezTo>
                  <a:cubicBezTo>
                    <a:pt x="566" y="60"/>
                    <a:pt x="566" y="60"/>
                    <a:pt x="566" y="60"/>
                  </a:cubicBezTo>
                  <a:cubicBezTo>
                    <a:pt x="526" y="37"/>
                    <a:pt x="526" y="37"/>
                    <a:pt x="526" y="37"/>
                  </a:cubicBezTo>
                  <a:cubicBezTo>
                    <a:pt x="481" y="83"/>
                    <a:pt x="481" y="83"/>
                    <a:pt x="481" y="83"/>
                  </a:cubicBezTo>
                  <a:cubicBezTo>
                    <a:pt x="469" y="78"/>
                    <a:pt x="456" y="74"/>
                    <a:pt x="444" y="70"/>
                  </a:cubicBezTo>
                  <a:cubicBezTo>
                    <a:pt x="436" y="7"/>
                    <a:pt x="436" y="7"/>
                    <a:pt x="436" y="7"/>
                  </a:cubicBezTo>
                  <a:cubicBezTo>
                    <a:pt x="391" y="0"/>
                    <a:pt x="391" y="0"/>
                    <a:pt x="391" y="0"/>
                  </a:cubicBezTo>
                  <a:cubicBezTo>
                    <a:pt x="366" y="59"/>
                    <a:pt x="366" y="59"/>
                    <a:pt x="366" y="59"/>
                  </a:cubicBezTo>
                  <a:cubicBezTo>
                    <a:pt x="352" y="59"/>
                    <a:pt x="338" y="60"/>
                    <a:pt x="323" y="62"/>
                  </a:cubicBezTo>
                  <a:cubicBezTo>
                    <a:pt x="292" y="7"/>
                    <a:pt x="292" y="7"/>
                    <a:pt x="292" y="7"/>
                  </a:cubicBezTo>
                  <a:cubicBezTo>
                    <a:pt x="247" y="18"/>
                    <a:pt x="247" y="18"/>
                    <a:pt x="247" y="18"/>
                  </a:cubicBezTo>
                  <a:cubicBezTo>
                    <a:pt x="247" y="82"/>
                    <a:pt x="247" y="82"/>
                    <a:pt x="247" y="82"/>
                  </a:cubicBezTo>
                  <a:cubicBezTo>
                    <a:pt x="236" y="87"/>
                    <a:pt x="224" y="93"/>
                    <a:pt x="212" y="99"/>
                  </a:cubicBezTo>
                  <a:cubicBezTo>
                    <a:pt x="162" y="60"/>
                    <a:pt x="162" y="60"/>
                    <a:pt x="162" y="60"/>
                  </a:cubicBezTo>
                  <a:cubicBezTo>
                    <a:pt x="125" y="88"/>
                    <a:pt x="125" y="88"/>
                    <a:pt x="125" y="88"/>
                  </a:cubicBezTo>
                  <a:cubicBezTo>
                    <a:pt x="150" y="147"/>
                    <a:pt x="150" y="147"/>
                    <a:pt x="150" y="147"/>
                  </a:cubicBezTo>
                  <a:cubicBezTo>
                    <a:pt x="140" y="157"/>
                    <a:pt x="130" y="167"/>
                    <a:pt x="121" y="179"/>
                  </a:cubicBezTo>
                  <a:cubicBezTo>
                    <a:pt x="59" y="162"/>
                    <a:pt x="59" y="162"/>
                    <a:pt x="59" y="162"/>
                  </a:cubicBezTo>
                  <a:cubicBezTo>
                    <a:pt x="36" y="202"/>
                    <a:pt x="36" y="202"/>
                    <a:pt x="36" y="202"/>
                  </a:cubicBezTo>
                  <a:cubicBezTo>
                    <a:pt x="82" y="247"/>
                    <a:pt x="82" y="247"/>
                    <a:pt x="82" y="247"/>
                  </a:cubicBezTo>
                  <a:cubicBezTo>
                    <a:pt x="77" y="259"/>
                    <a:pt x="73" y="271"/>
                    <a:pt x="69" y="284"/>
                  </a:cubicBezTo>
                  <a:cubicBezTo>
                    <a:pt x="6" y="291"/>
                    <a:pt x="6" y="291"/>
                    <a:pt x="6" y="291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59" y="361"/>
                    <a:pt x="59" y="361"/>
                    <a:pt x="59" y="361"/>
                  </a:cubicBezTo>
                  <a:cubicBezTo>
                    <a:pt x="59" y="376"/>
                    <a:pt x="59" y="390"/>
                    <a:pt x="61" y="404"/>
                  </a:cubicBezTo>
                  <a:cubicBezTo>
                    <a:pt x="6" y="436"/>
                    <a:pt x="6" y="436"/>
                    <a:pt x="6" y="436"/>
                  </a:cubicBezTo>
                  <a:cubicBezTo>
                    <a:pt x="18" y="481"/>
                    <a:pt x="18" y="481"/>
                    <a:pt x="18" y="481"/>
                  </a:cubicBezTo>
                  <a:cubicBezTo>
                    <a:pt x="82" y="480"/>
                    <a:pt x="82" y="480"/>
                    <a:pt x="82" y="480"/>
                  </a:cubicBezTo>
                  <a:cubicBezTo>
                    <a:pt x="87" y="492"/>
                    <a:pt x="92" y="504"/>
                    <a:pt x="99" y="515"/>
                  </a:cubicBezTo>
                  <a:cubicBezTo>
                    <a:pt x="59" y="565"/>
                    <a:pt x="59" y="565"/>
                    <a:pt x="59" y="565"/>
                  </a:cubicBezTo>
                  <a:cubicBezTo>
                    <a:pt x="87" y="602"/>
                    <a:pt x="87" y="602"/>
                    <a:pt x="87" y="602"/>
                  </a:cubicBezTo>
                  <a:cubicBezTo>
                    <a:pt x="146" y="578"/>
                    <a:pt x="146" y="578"/>
                    <a:pt x="146" y="578"/>
                  </a:cubicBezTo>
                  <a:cubicBezTo>
                    <a:pt x="156" y="588"/>
                    <a:pt x="167" y="597"/>
                    <a:pt x="178" y="606"/>
                  </a:cubicBezTo>
                  <a:cubicBezTo>
                    <a:pt x="161" y="668"/>
                    <a:pt x="161" y="668"/>
                    <a:pt x="161" y="668"/>
                  </a:cubicBezTo>
                  <a:cubicBezTo>
                    <a:pt x="201" y="691"/>
                    <a:pt x="201" y="691"/>
                    <a:pt x="201" y="691"/>
                  </a:cubicBezTo>
                  <a:cubicBezTo>
                    <a:pt x="246" y="645"/>
                    <a:pt x="246" y="645"/>
                    <a:pt x="246" y="645"/>
                  </a:cubicBezTo>
                  <a:cubicBezTo>
                    <a:pt x="258" y="650"/>
                    <a:pt x="271" y="655"/>
                    <a:pt x="283" y="658"/>
                  </a:cubicBezTo>
                  <a:cubicBezTo>
                    <a:pt x="290" y="721"/>
                    <a:pt x="290" y="721"/>
                    <a:pt x="290" y="721"/>
                  </a:cubicBezTo>
                  <a:cubicBezTo>
                    <a:pt x="336" y="728"/>
                    <a:pt x="336" y="728"/>
                    <a:pt x="336" y="728"/>
                  </a:cubicBezTo>
                  <a:cubicBezTo>
                    <a:pt x="361" y="669"/>
                    <a:pt x="361" y="669"/>
                    <a:pt x="361" y="669"/>
                  </a:cubicBezTo>
                  <a:cubicBezTo>
                    <a:pt x="375" y="669"/>
                    <a:pt x="389" y="668"/>
                    <a:pt x="404" y="666"/>
                  </a:cubicBezTo>
                  <a:close/>
                  <a:moveTo>
                    <a:pt x="246" y="567"/>
                  </a:moveTo>
                  <a:cubicBezTo>
                    <a:pt x="134" y="502"/>
                    <a:pt x="96" y="359"/>
                    <a:pt x="161" y="247"/>
                  </a:cubicBezTo>
                  <a:cubicBezTo>
                    <a:pt x="225" y="135"/>
                    <a:pt x="369" y="96"/>
                    <a:pt x="481" y="161"/>
                  </a:cubicBezTo>
                  <a:cubicBezTo>
                    <a:pt x="593" y="226"/>
                    <a:pt x="631" y="369"/>
                    <a:pt x="566" y="481"/>
                  </a:cubicBezTo>
                  <a:cubicBezTo>
                    <a:pt x="502" y="594"/>
                    <a:pt x="358" y="632"/>
                    <a:pt x="246" y="5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5">
              <a:extLst>
                <a:ext uri="{FF2B5EF4-FFF2-40B4-BE49-F238E27FC236}">
                  <a16:creationId xmlns="" xmlns:a16="http://schemas.microsoft.com/office/drawing/2014/main" id="{5619F932-8CA1-4DCF-8979-AA149FD879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2736" y="3078962"/>
              <a:ext cx="422721" cy="422720"/>
            </a:xfrm>
            <a:custGeom>
              <a:avLst/>
              <a:gdLst>
                <a:gd name="T0" fmla="*/ 96 w 205"/>
                <a:gd name="T1" fmla="*/ 202 h 205"/>
                <a:gd name="T2" fmla="*/ 201 w 205"/>
                <a:gd name="T3" fmla="*/ 110 h 205"/>
                <a:gd name="T4" fmla="*/ 109 w 205"/>
                <a:gd name="T5" fmla="*/ 4 h 205"/>
                <a:gd name="T6" fmla="*/ 4 w 205"/>
                <a:gd name="T7" fmla="*/ 96 h 205"/>
                <a:gd name="T8" fmla="*/ 96 w 205"/>
                <a:gd name="T9" fmla="*/ 202 h 205"/>
                <a:gd name="T10" fmla="*/ 99 w 205"/>
                <a:gd name="T11" fmla="*/ 147 h 205"/>
                <a:gd name="T12" fmla="*/ 59 w 205"/>
                <a:gd name="T13" fmla="*/ 100 h 205"/>
                <a:gd name="T14" fmla="*/ 105 w 205"/>
                <a:gd name="T15" fmla="*/ 59 h 205"/>
                <a:gd name="T16" fmla="*/ 146 w 205"/>
                <a:gd name="T17" fmla="*/ 106 h 205"/>
                <a:gd name="T18" fmla="*/ 99 w 205"/>
                <a:gd name="T19" fmla="*/ 147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5" h="205">
                  <a:moveTo>
                    <a:pt x="96" y="202"/>
                  </a:moveTo>
                  <a:cubicBezTo>
                    <a:pt x="150" y="205"/>
                    <a:pt x="197" y="164"/>
                    <a:pt x="201" y="110"/>
                  </a:cubicBezTo>
                  <a:cubicBezTo>
                    <a:pt x="205" y="55"/>
                    <a:pt x="164" y="8"/>
                    <a:pt x="109" y="4"/>
                  </a:cubicBezTo>
                  <a:cubicBezTo>
                    <a:pt x="55" y="0"/>
                    <a:pt x="7" y="42"/>
                    <a:pt x="4" y="96"/>
                  </a:cubicBezTo>
                  <a:cubicBezTo>
                    <a:pt x="0" y="151"/>
                    <a:pt x="41" y="198"/>
                    <a:pt x="96" y="202"/>
                  </a:cubicBezTo>
                  <a:close/>
                  <a:moveTo>
                    <a:pt x="99" y="147"/>
                  </a:moveTo>
                  <a:cubicBezTo>
                    <a:pt x="75" y="145"/>
                    <a:pt x="57" y="124"/>
                    <a:pt x="59" y="100"/>
                  </a:cubicBezTo>
                  <a:cubicBezTo>
                    <a:pt x="60" y="76"/>
                    <a:pt x="81" y="58"/>
                    <a:pt x="105" y="59"/>
                  </a:cubicBezTo>
                  <a:cubicBezTo>
                    <a:pt x="129" y="61"/>
                    <a:pt x="148" y="82"/>
                    <a:pt x="146" y="106"/>
                  </a:cubicBezTo>
                  <a:cubicBezTo>
                    <a:pt x="144" y="130"/>
                    <a:pt x="123" y="148"/>
                    <a:pt x="99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="" xmlns:a16="http://schemas.microsoft.com/office/drawing/2014/main" id="{B17A6E3A-F7AB-483F-820D-1B798B5ABA15}"/>
              </a:ext>
            </a:extLst>
          </p:cNvPr>
          <p:cNvGrpSpPr/>
          <p:nvPr/>
        </p:nvGrpSpPr>
        <p:grpSpPr>
          <a:xfrm>
            <a:off x="5346366" y="1544932"/>
            <a:ext cx="1499269" cy="1502194"/>
            <a:chOff x="1464462" y="2531912"/>
            <a:chExt cx="1499269" cy="1502194"/>
          </a:xfr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effectLst/>
        </p:grpSpPr>
        <p:sp>
          <p:nvSpPr>
            <p:cNvPr id="27" name="Freeform 24">
              <a:extLst>
                <a:ext uri="{FF2B5EF4-FFF2-40B4-BE49-F238E27FC236}">
                  <a16:creationId xmlns="" xmlns:a16="http://schemas.microsoft.com/office/drawing/2014/main" id="{56015703-FF71-4CD4-A25E-5253A1F2CF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4462" y="2531912"/>
              <a:ext cx="1499269" cy="1502194"/>
            </a:xfrm>
            <a:custGeom>
              <a:avLst/>
              <a:gdLst>
                <a:gd name="T0" fmla="*/ 435 w 727"/>
                <a:gd name="T1" fmla="*/ 722 h 728"/>
                <a:gd name="T2" fmla="*/ 479 w 727"/>
                <a:gd name="T3" fmla="*/ 646 h 728"/>
                <a:gd name="T4" fmla="*/ 565 w 727"/>
                <a:gd name="T5" fmla="*/ 668 h 728"/>
                <a:gd name="T6" fmla="*/ 577 w 727"/>
                <a:gd name="T7" fmla="*/ 582 h 728"/>
                <a:gd name="T8" fmla="*/ 668 w 727"/>
                <a:gd name="T9" fmla="*/ 567 h 728"/>
                <a:gd name="T10" fmla="*/ 645 w 727"/>
                <a:gd name="T11" fmla="*/ 481 h 728"/>
                <a:gd name="T12" fmla="*/ 721 w 727"/>
                <a:gd name="T13" fmla="*/ 437 h 728"/>
                <a:gd name="T14" fmla="*/ 668 w 727"/>
                <a:gd name="T15" fmla="*/ 367 h 728"/>
                <a:gd name="T16" fmla="*/ 721 w 727"/>
                <a:gd name="T17" fmla="*/ 293 h 728"/>
                <a:gd name="T18" fmla="*/ 645 w 727"/>
                <a:gd name="T19" fmla="*/ 248 h 728"/>
                <a:gd name="T20" fmla="*/ 668 w 727"/>
                <a:gd name="T21" fmla="*/ 163 h 728"/>
                <a:gd name="T22" fmla="*/ 581 w 727"/>
                <a:gd name="T23" fmla="*/ 151 h 728"/>
                <a:gd name="T24" fmla="*/ 566 w 727"/>
                <a:gd name="T25" fmla="*/ 60 h 728"/>
                <a:gd name="T26" fmla="*/ 481 w 727"/>
                <a:gd name="T27" fmla="*/ 83 h 728"/>
                <a:gd name="T28" fmla="*/ 436 w 727"/>
                <a:gd name="T29" fmla="*/ 7 h 728"/>
                <a:gd name="T30" fmla="*/ 366 w 727"/>
                <a:gd name="T31" fmla="*/ 59 h 728"/>
                <a:gd name="T32" fmla="*/ 292 w 727"/>
                <a:gd name="T33" fmla="*/ 7 h 728"/>
                <a:gd name="T34" fmla="*/ 247 w 727"/>
                <a:gd name="T35" fmla="*/ 82 h 728"/>
                <a:gd name="T36" fmla="*/ 162 w 727"/>
                <a:gd name="T37" fmla="*/ 60 h 728"/>
                <a:gd name="T38" fmla="*/ 150 w 727"/>
                <a:gd name="T39" fmla="*/ 147 h 728"/>
                <a:gd name="T40" fmla="*/ 59 w 727"/>
                <a:gd name="T41" fmla="*/ 162 h 728"/>
                <a:gd name="T42" fmla="*/ 82 w 727"/>
                <a:gd name="T43" fmla="*/ 247 h 728"/>
                <a:gd name="T44" fmla="*/ 6 w 727"/>
                <a:gd name="T45" fmla="*/ 291 h 728"/>
                <a:gd name="T46" fmla="*/ 59 w 727"/>
                <a:gd name="T47" fmla="*/ 361 h 728"/>
                <a:gd name="T48" fmla="*/ 6 w 727"/>
                <a:gd name="T49" fmla="*/ 436 h 728"/>
                <a:gd name="T50" fmla="*/ 82 w 727"/>
                <a:gd name="T51" fmla="*/ 480 h 728"/>
                <a:gd name="T52" fmla="*/ 59 w 727"/>
                <a:gd name="T53" fmla="*/ 565 h 728"/>
                <a:gd name="T54" fmla="*/ 146 w 727"/>
                <a:gd name="T55" fmla="*/ 578 h 728"/>
                <a:gd name="T56" fmla="*/ 161 w 727"/>
                <a:gd name="T57" fmla="*/ 668 h 728"/>
                <a:gd name="T58" fmla="*/ 246 w 727"/>
                <a:gd name="T59" fmla="*/ 645 h 728"/>
                <a:gd name="T60" fmla="*/ 290 w 727"/>
                <a:gd name="T61" fmla="*/ 721 h 728"/>
                <a:gd name="T62" fmla="*/ 361 w 727"/>
                <a:gd name="T63" fmla="*/ 669 h 728"/>
                <a:gd name="T64" fmla="*/ 246 w 727"/>
                <a:gd name="T65" fmla="*/ 567 h 728"/>
                <a:gd name="T66" fmla="*/ 481 w 727"/>
                <a:gd name="T67" fmla="*/ 161 h 728"/>
                <a:gd name="T68" fmla="*/ 246 w 727"/>
                <a:gd name="T69" fmla="*/ 56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27" h="728">
                  <a:moveTo>
                    <a:pt x="404" y="666"/>
                  </a:moveTo>
                  <a:cubicBezTo>
                    <a:pt x="435" y="722"/>
                    <a:pt x="435" y="722"/>
                    <a:pt x="435" y="722"/>
                  </a:cubicBezTo>
                  <a:cubicBezTo>
                    <a:pt x="480" y="710"/>
                    <a:pt x="480" y="710"/>
                    <a:pt x="480" y="710"/>
                  </a:cubicBezTo>
                  <a:cubicBezTo>
                    <a:pt x="479" y="646"/>
                    <a:pt x="479" y="646"/>
                    <a:pt x="479" y="646"/>
                  </a:cubicBezTo>
                  <a:cubicBezTo>
                    <a:pt x="491" y="641"/>
                    <a:pt x="503" y="635"/>
                    <a:pt x="514" y="629"/>
                  </a:cubicBezTo>
                  <a:cubicBezTo>
                    <a:pt x="565" y="668"/>
                    <a:pt x="565" y="668"/>
                    <a:pt x="565" y="668"/>
                  </a:cubicBezTo>
                  <a:cubicBezTo>
                    <a:pt x="601" y="640"/>
                    <a:pt x="601" y="640"/>
                    <a:pt x="601" y="640"/>
                  </a:cubicBezTo>
                  <a:cubicBezTo>
                    <a:pt x="577" y="582"/>
                    <a:pt x="577" y="582"/>
                    <a:pt x="577" y="582"/>
                  </a:cubicBezTo>
                  <a:cubicBezTo>
                    <a:pt x="587" y="572"/>
                    <a:pt x="597" y="561"/>
                    <a:pt x="605" y="549"/>
                  </a:cubicBezTo>
                  <a:cubicBezTo>
                    <a:pt x="668" y="567"/>
                    <a:pt x="668" y="567"/>
                    <a:pt x="668" y="567"/>
                  </a:cubicBezTo>
                  <a:cubicBezTo>
                    <a:pt x="691" y="527"/>
                    <a:pt x="691" y="527"/>
                    <a:pt x="691" y="527"/>
                  </a:cubicBezTo>
                  <a:cubicBezTo>
                    <a:pt x="645" y="481"/>
                    <a:pt x="645" y="481"/>
                    <a:pt x="645" y="481"/>
                  </a:cubicBezTo>
                  <a:cubicBezTo>
                    <a:pt x="650" y="469"/>
                    <a:pt x="654" y="457"/>
                    <a:pt x="657" y="445"/>
                  </a:cubicBezTo>
                  <a:cubicBezTo>
                    <a:pt x="721" y="437"/>
                    <a:pt x="721" y="437"/>
                    <a:pt x="721" y="437"/>
                  </a:cubicBezTo>
                  <a:cubicBezTo>
                    <a:pt x="727" y="391"/>
                    <a:pt x="727" y="391"/>
                    <a:pt x="727" y="391"/>
                  </a:cubicBezTo>
                  <a:cubicBezTo>
                    <a:pt x="668" y="367"/>
                    <a:pt x="668" y="367"/>
                    <a:pt x="668" y="367"/>
                  </a:cubicBezTo>
                  <a:cubicBezTo>
                    <a:pt x="668" y="352"/>
                    <a:pt x="667" y="338"/>
                    <a:pt x="666" y="324"/>
                  </a:cubicBezTo>
                  <a:cubicBezTo>
                    <a:pt x="721" y="293"/>
                    <a:pt x="721" y="293"/>
                    <a:pt x="721" y="293"/>
                  </a:cubicBezTo>
                  <a:cubicBezTo>
                    <a:pt x="709" y="248"/>
                    <a:pt x="709" y="248"/>
                    <a:pt x="709" y="248"/>
                  </a:cubicBezTo>
                  <a:cubicBezTo>
                    <a:pt x="645" y="248"/>
                    <a:pt x="645" y="248"/>
                    <a:pt x="645" y="248"/>
                  </a:cubicBezTo>
                  <a:cubicBezTo>
                    <a:pt x="640" y="236"/>
                    <a:pt x="635" y="224"/>
                    <a:pt x="628" y="213"/>
                  </a:cubicBezTo>
                  <a:cubicBezTo>
                    <a:pt x="668" y="163"/>
                    <a:pt x="668" y="163"/>
                    <a:pt x="668" y="163"/>
                  </a:cubicBezTo>
                  <a:cubicBezTo>
                    <a:pt x="640" y="126"/>
                    <a:pt x="640" y="126"/>
                    <a:pt x="640" y="126"/>
                  </a:cubicBezTo>
                  <a:cubicBezTo>
                    <a:pt x="581" y="151"/>
                    <a:pt x="581" y="151"/>
                    <a:pt x="581" y="151"/>
                  </a:cubicBezTo>
                  <a:cubicBezTo>
                    <a:pt x="571" y="140"/>
                    <a:pt x="560" y="131"/>
                    <a:pt x="549" y="122"/>
                  </a:cubicBezTo>
                  <a:cubicBezTo>
                    <a:pt x="566" y="60"/>
                    <a:pt x="566" y="60"/>
                    <a:pt x="566" y="60"/>
                  </a:cubicBezTo>
                  <a:cubicBezTo>
                    <a:pt x="526" y="37"/>
                    <a:pt x="526" y="37"/>
                    <a:pt x="526" y="37"/>
                  </a:cubicBezTo>
                  <a:cubicBezTo>
                    <a:pt x="481" y="83"/>
                    <a:pt x="481" y="83"/>
                    <a:pt x="481" y="83"/>
                  </a:cubicBezTo>
                  <a:cubicBezTo>
                    <a:pt x="469" y="78"/>
                    <a:pt x="456" y="74"/>
                    <a:pt x="444" y="70"/>
                  </a:cubicBezTo>
                  <a:cubicBezTo>
                    <a:pt x="436" y="7"/>
                    <a:pt x="436" y="7"/>
                    <a:pt x="436" y="7"/>
                  </a:cubicBezTo>
                  <a:cubicBezTo>
                    <a:pt x="391" y="0"/>
                    <a:pt x="391" y="0"/>
                    <a:pt x="391" y="0"/>
                  </a:cubicBezTo>
                  <a:cubicBezTo>
                    <a:pt x="366" y="59"/>
                    <a:pt x="366" y="59"/>
                    <a:pt x="366" y="59"/>
                  </a:cubicBezTo>
                  <a:cubicBezTo>
                    <a:pt x="352" y="59"/>
                    <a:pt x="338" y="60"/>
                    <a:pt x="323" y="62"/>
                  </a:cubicBezTo>
                  <a:cubicBezTo>
                    <a:pt x="292" y="7"/>
                    <a:pt x="292" y="7"/>
                    <a:pt x="292" y="7"/>
                  </a:cubicBezTo>
                  <a:cubicBezTo>
                    <a:pt x="247" y="18"/>
                    <a:pt x="247" y="18"/>
                    <a:pt x="247" y="18"/>
                  </a:cubicBezTo>
                  <a:cubicBezTo>
                    <a:pt x="247" y="82"/>
                    <a:pt x="247" y="82"/>
                    <a:pt x="247" y="82"/>
                  </a:cubicBezTo>
                  <a:cubicBezTo>
                    <a:pt x="236" y="87"/>
                    <a:pt x="224" y="93"/>
                    <a:pt x="212" y="99"/>
                  </a:cubicBezTo>
                  <a:cubicBezTo>
                    <a:pt x="162" y="60"/>
                    <a:pt x="162" y="60"/>
                    <a:pt x="162" y="60"/>
                  </a:cubicBezTo>
                  <a:cubicBezTo>
                    <a:pt x="125" y="88"/>
                    <a:pt x="125" y="88"/>
                    <a:pt x="125" y="88"/>
                  </a:cubicBezTo>
                  <a:cubicBezTo>
                    <a:pt x="150" y="147"/>
                    <a:pt x="150" y="147"/>
                    <a:pt x="150" y="147"/>
                  </a:cubicBezTo>
                  <a:cubicBezTo>
                    <a:pt x="140" y="157"/>
                    <a:pt x="130" y="167"/>
                    <a:pt x="121" y="179"/>
                  </a:cubicBezTo>
                  <a:cubicBezTo>
                    <a:pt x="59" y="162"/>
                    <a:pt x="59" y="162"/>
                    <a:pt x="59" y="162"/>
                  </a:cubicBezTo>
                  <a:cubicBezTo>
                    <a:pt x="36" y="202"/>
                    <a:pt x="36" y="202"/>
                    <a:pt x="36" y="202"/>
                  </a:cubicBezTo>
                  <a:cubicBezTo>
                    <a:pt x="82" y="247"/>
                    <a:pt x="82" y="247"/>
                    <a:pt x="82" y="247"/>
                  </a:cubicBezTo>
                  <a:cubicBezTo>
                    <a:pt x="77" y="259"/>
                    <a:pt x="73" y="271"/>
                    <a:pt x="69" y="284"/>
                  </a:cubicBezTo>
                  <a:cubicBezTo>
                    <a:pt x="6" y="291"/>
                    <a:pt x="6" y="291"/>
                    <a:pt x="6" y="291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59" y="361"/>
                    <a:pt x="59" y="361"/>
                    <a:pt x="59" y="361"/>
                  </a:cubicBezTo>
                  <a:cubicBezTo>
                    <a:pt x="59" y="376"/>
                    <a:pt x="59" y="390"/>
                    <a:pt x="61" y="404"/>
                  </a:cubicBezTo>
                  <a:cubicBezTo>
                    <a:pt x="6" y="436"/>
                    <a:pt x="6" y="436"/>
                    <a:pt x="6" y="436"/>
                  </a:cubicBezTo>
                  <a:cubicBezTo>
                    <a:pt x="18" y="481"/>
                    <a:pt x="18" y="481"/>
                    <a:pt x="18" y="481"/>
                  </a:cubicBezTo>
                  <a:cubicBezTo>
                    <a:pt x="82" y="480"/>
                    <a:pt x="82" y="480"/>
                    <a:pt x="82" y="480"/>
                  </a:cubicBezTo>
                  <a:cubicBezTo>
                    <a:pt x="87" y="492"/>
                    <a:pt x="92" y="504"/>
                    <a:pt x="99" y="515"/>
                  </a:cubicBezTo>
                  <a:cubicBezTo>
                    <a:pt x="59" y="565"/>
                    <a:pt x="59" y="565"/>
                    <a:pt x="59" y="565"/>
                  </a:cubicBezTo>
                  <a:cubicBezTo>
                    <a:pt x="87" y="602"/>
                    <a:pt x="87" y="602"/>
                    <a:pt x="87" y="602"/>
                  </a:cubicBezTo>
                  <a:cubicBezTo>
                    <a:pt x="146" y="578"/>
                    <a:pt x="146" y="578"/>
                    <a:pt x="146" y="578"/>
                  </a:cubicBezTo>
                  <a:cubicBezTo>
                    <a:pt x="156" y="588"/>
                    <a:pt x="167" y="597"/>
                    <a:pt x="178" y="606"/>
                  </a:cubicBezTo>
                  <a:cubicBezTo>
                    <a:pt x="161" y="668"/>
                    <a:pt x="161" y="668"/>
                    <a:pt x="161" y="668"/>
                  </a:cubicBezTo>
                  <a:cubicBezTo>
                    <a:pt x="201" y="691"/>
                    <a:pt x="201" y="691"/>
                    <a:pt x="201" y="691"/>
                  </a:cubicBezTo>
                  <a:cubicBezTo>
                    <a:pt x="246" y="645"/>
                    <a:pt x="246" y="645"/>
                    <a:pt x="246" y="645"/>
                  </a:cubicBezTo>
                  <a:cubicBezTo>
                    <a:pt x="258" y="650"/>
                    <a:pt x="271" y="655"/>
                    <a:pt x="283" y="658"/>
                  </a:cubicBezTo>
                  <a:cubicBezTo>
                    <a:pt x="290" y="721"/>
                    <a:pt x="290" y="721"/>
                    <a:pt x="290" y="721"/>
                  </a:cubicBezTo>
                  <a:cubicBezTo>
                    <a:pt x="336" y="728"/>
                    <a:pt x="336" y="728"/>
                    <a:pt x="336" y="728"/>
                  </a:cubicBezTo>
                  <a:cubicBezTo>
                    <a:pt x="361" y="669"/>
                    <a:pt x="361" y="669"/>
                    <a:pt x="361" y="669"/>
                  </a:cubicBezTo>
                  <a:cubicBezTo>
                    <a:pt x="375" y="669"/>
                    <a:pt x="389" y="668"/>
                    <a:pt x="404" y="666"/>
                  </a:cubicBezTo>
                  <a:close/>
                  <a:moveTo>
                    <a:pt x="246" y="567"/>
                  </a:moveTo>
                  <a:cubicBezTo>
                    <a:pt x="134" y="502"/>
                    <a:pt x="96" y="359"/>
                    <a:pt x="161" y="247"/>
                  </a:cubicBezTo>
                  <a:cubicBezTo>
                    <a:pt x="225" y="135"/>
                    <a:pt x="369" y="96"/>
                    <a:pt x="481" y="161"/>
                  </a:cubicBezTo>
                  <a:cubicBezTo>
                    <a:pt x="593" y="226"/>
                    <a:pt x="631" y="369"/>
                    <a:pt x="566" y="481"/>
                  </a:cubicBezTo>
                  <a:cubicBezTo>
                    <a:pt x="502" y="594"/>
                    <a:pt x="358" y="632"/>
                    <a:pt x="246" y="567"/>
                  </a:cubicBezTo>
                  <a:close/>
                </a:path>
              </a:pathLst>
            </a:custGeom>
            <a:gradFill>
              <a:gsLst>
                <a:gs pos="0">
                  <a:schemeClr val="accent4"/>
                </a:gs>
                <a:gs pos="100000">
                  <a:schemeClr val="tx2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300"/>
                </a:spcBef>
              </a:pPr>
              <a:endParaRPr lang="en-US" b="1">
                <a:solidFill>
                  <a:schemeClr val="bg1"/>
                </a:solidFill>
              </a:endParaRPr>
            </a:p>
          </p:txBody>
        </p:sp>
        <p:sp>
          <p:nvSpPr>
            <p:cNvPr id="28" name="Freeform 25">
              <a:extLst>
                <a:ext uri="{FF2B5EF4-FFF2-40B4-BE49-F238E27FC236}">
                  <a16:creationId xmlns="" xmlns:a16="http://schemas.microsoft.com/office/drawing/2014/main" id="{EF18D2A5-E9D3-48C6-800E-B6A064E2A4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2736" y="3078962"/>
              <a:ext cx="422721" cy="422720"/>
            </a:xfrm>
            <a:custGeom>
              <a:avLst/>
              <a:gdLst>
                <a:gd name="T0" fmla="*/ 96 w 205"/>
                <a:gd name="T1" fmla="*/ 202 h 205"/>
                <a:gd name="T2" fmla="*/ 201 w 205"/>
                <a:gd name="T3" fmla="*/ 110 h 205"/>
                <a:gd name="T4" fmla="*/ 109 w 205"/>
                <a:gd name="T5" fmla="*/ 4 h 205"/>
                <a:gd name="T6" fmla="*/ 4 w 205"/>
                <a:gd name="T7" fmla="*/ 96 h 205"/>
                <a:gd name="T8" fmla="*/ 96 w 205"/>
                <a:gd name="T9" fmla="*/ 202 h 205"/>
                <a:gd name="T10" fmla="*/ 99 w 205"/>
                <a:gd name="T11" fmla="*/ 147 h 205"/>
                <a:gd name="T12" fmla="*/ 59 w 205"/>
                <a:gd name="T13" fmla="*/ 100 h 205"/>
                <a:gd name="T14" fmla="*/ 105 w 205"/>
                <a:gd name="T15" fmla="*/ 59 h 205"/>
                <a:gd name="T16" fmla="*/ 146 w 205"/>
                <a:gd name="T17" fmla="*/ 106 h 205"/>
                <a:gd name="T18" fmla="*/ 99 w 205"/>
                <a:gd name="T19" fmla="*/ 147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5" h="205">
                  <a:moveTo>
                    <a:pt x="96" y="202"/>
                  </a:moveTo>
                  <a:cubicBezTo>
                    <a:pt x="150" y="205"/>
                    <a:pt x="197" y="164"/>
                    <a:pt x="201" y="110"/>
                  </a:cubicBezTo>
                  <a:cubicBezTo>
                    <a:pt x="205" y="55"/>
                    <a:pt x="164" y="8"/>
                    <a:pt x="109" y="4"/>
                  </a:cubicBezTo>
                  <a:cubicBezTo>
                    <a:pt x="55" y="0"/>
                    <a:pt x="7" y="42"/>
                    <a:pt x="4" y="96"/>
                  </a:cubicBezTo>
                  <a:cubicBezTo>
                    <a:pt x="0" y="151"/>
                    <a:pt x="41" y="198"/>
                    <a:pt x="96" y="202"/>
                  </a:cubicBezTo>
                  <a:close/>
                  <a:moveTo>
                    <a:pt x="99" y="147"/>
                  </a:moveTo>
                  <a:cubicBezTo>
                    <a:pt x="75" y="145"/>
                    <a:pt x="57" y="124"/>
                    <a:pt x="59" y="100"/>
                  </a:cubicBezTo>
                  <a:cubicBezTo>
                    <a:pt x="60" y="76"/>
                    <a:pt x="81" y="58"/>
                    <a:pt x="105" y="59"/>
                  </a:cubicBezTo>
                  <a:cubicBezTo>
                    <a:pt x="129" y="61"/>
                    <a:pt x="148" y="82"/>
                    <a:pt x="146" y="106"/>
                  </a:cubicBezTo>
                  <a:cubicBezTo>
                    <a:pt x="144" y="130"/>
                    <a:pt x="123" y="148"/>
                    <a:pt x="99" y="147"/>
                  </a:cubicBezTo>
                  <a:close/>
                </a:path>
              </a:pathLst>
            </a:custGeom>
            <a:gradFill>
              <a:gsLst>
                <a:gs pos="0">
                  <a:schemeClr val="accent4"/>
                </a:gs>
                <a:gs pos="100000">
                  <a:schemeClr val="tx2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300"/>
                </a:spcBef>
              </a:pPr>
              <a:endParaRPr lang="en-US" b="1">
                <a:solidFill>
                  <a:schemeClr val="bg1"/>
                </a:solidFill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="" xmlns:a16="http://schemas.microsoft.com/office/drawing/2014/main" id="{7DE0375F-9A7B-47B8-A5C7-1BB621D5DDF3}"/>
              </a:ext>
            </a:extLst>
          </p:cNvPr>
          <p:cNvGrpSpPr/>
          <p:nvPr/>
        </p:nvGrpSpPr>
        <p:grpSpPr>
          <a:xfrm>
            <a:off x="5346366" y="4620488"/>
            <a:ext cx="1499269" cy="1502194"/>
            <a:chOff x="1464462" y="2531912"/>
            <a:chExt cx="1499269" cy="1502194"/>
          </a:xfrm>
          <a:solidFill>
            <a:srgbClr val="D2527F"/>
          </a:solidFill>
          <a:effectLst/>
        </p:grpSpPr>
        <p:sp>
          <p:nvSpPr>
            <p:cNvPr id="30" name="Freeform 24">
              <a:extLst>
                <a:ext uri="{FF2B5EF4-FFF2-40B4-BE49-F238E27FC236}">
                  <a16:creationId xmlns="" xmlns:a16="http://schemas.microsoft.com/office/drawing/2014/main" id="{6316221A-412D-4A1C-8A33-7D5E46E693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4462" y="2531912"/>
              <a:ext cx="1499269" cy="1502194"/>
            </a:xfrm>
            <a:custGeom>
              <a:avLst/>
              <a:gdLst>
                <a:gd name="T0" fmla="*/ 435 w 727"/>
                <a:gd name="T1" fmla="*/ 722 h 728"/>
                <a:gd name="T2" fmla="*/ 479 w 727"/>
                <a:gd name="T3" fmla="*/ 646 h 728"/>
                <a:gd name="T4" fmla="*/ 565 w 727"/>
                <a:gd name="T5" fmla="*/ 668 h 728"/>
                <a:gd name="T6" fmla="*/ 577 w 727"/>
                <a:gd name="T7" fmla="*/ 582 h 728"/>
                <a:gd name="T8" fmla="*/ 668 w 727"/>
                <a:gd name="T9" fmla="*/ 567 h 728"/>
                <a:gd name="T10" fmla="*/ 645 w 727"/>
                <a:gd name="T11" fmla="*/ 481 h 728"/>
                <a:gd name="T12" fmla="*/ 721 w 727"/>
                <a:gd name="T13" fmla="*/ 437 h 728"/>
                <a:gd name="T14" fmla="*/ 668 w 727"/>
                <a:gd name="T15" fmla="*/ 367 h 728"/>
                <a:gd name="T16" fmla="*/ 721 w 727"/>
                <a:gd name="T17" fmla="*/ 293 h 728"/>
                <a:gd name="T18" fmla="*/ 645 w 727"/>
                <a:gd name="T19" fmla="*/ 248 h 728"/>
                <a:gd name="T20" fmla="*/ 668 w 727"/>
                <a:gd name="T21" fmla="*/ 163 h 728"/>
                <a:gd name="T22" fmla="*/ 581 w 727"/>
                <a:gd name="T23" fmla="*/ 151 h 728"/>
                <a:gd name="T24" fmla="*/ 566 w 727"/>
                <a:gd name="T25" fmla="*/ 60 h 728"/>
                <a:gd name="T26" fmla="*/ 481 w 727"/>
                <a:gd name="T27" fmla="*/ 83 h 728"/>
                <a:gd name="T28" fmla="*/ 436 w 727"/>
                <a:gd name="T29" fmla="*/ 7 h 728"/>
                <a:gd name="T30" fmla="*/ 366 w 727"/>
                <a:gd name="T31" fmla="*/ 59 h 728"/>
                <a:gd name="T32" fmla="*/ 292 w 727"/>
                <a:gd name="T33" fmla="*/ 7 h 728"/>
                <a:gd name="T34" fmla="*/ 247 w 727"/>
                <a:gd name="T35" fmla="*/ 82 h 728"/>
                <a:gd name="T36" fmla="*/ 162 w 727"/>
                <a:gd name="T37" fmla="*/ 60 h 728"/>
                <a:gd name="T38" fmla="*/ 150 w 727"/>
                <a:gd name="T39" fmla="*/ 147 h 728"/>
                <a:gd name="T40" fmla="*/ 59 w 727"/>
                <a:gd name="T41" fmla="*/ 162 h 728"/>
                <a:gd name="T42" fmla="*/ 82 w 727"/>
                <a:gd name="T43" fmla="*/ 247 h 728"/>
                <a:gd name="T44" fmla="*/ 6 w 727"/>
                <a:gd name="T45" fmla="*/ 291 h 728"/>
                <a:gd name="T46" fmla="*/ 59 w 727"/>
                <a:gd name="T47" fmla="*/ 361 h 728"/>
                <a:gd name="T48" fmla="*/ 6 w 727"/>
                <a:gd name="T49" fmla="*/ 436 h 728"/>
                <a:gd name="T50" fmla="*/ 82 w 727"/>
                <a:gd name="T51" fmla="*/ 480 h 728"/>
                <a:gd name="T52" fmla="*/ 59 w 727"/>
                <a:gd name="T53" fmla="*/ 565 h 728"/>
                <a:gd name="T54" fmla="*/ 146 w 727"/>
                <a:gd name="T55" fmla="*/ 578 h 728"/>
                <a:gd name="T56" fmla="*/ 161 w 727"/>
                <a:gd name="T57" fmla="*/ 668 h 728"/>
                <a:gd name="T58" fmla="*/ 246 w 727"/>
                <a:gd name="T59" fmla="*/ 645 h 728"/>
                <a:gd name="T60" fmla="*/ 290 w 727"/>
                <a:gd name="T61" fmla="*/ 721 h 728"/>
                <a:gd name="T62" fmla="*/ 361 w 727"/>
                <a:gd name="T63" fmla="*/ 669 h 728"/>
                <a:gd name="T64" fmla="*/ 246 w 727"/>
                <a:gd name="T65" fmla="*/ 567 h 728"/>
                <a:gd name="T66" fmla="*/ 481 w 727"/>
                <a:gd name="T67" fmla="*/ 161 h 728"/>
                <a:gd name="T68" fmla="*/ 246 w 727"/>
                <a:gd name="T69" fmla="*/ 56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27" h="728">
                  <a:moveTo>
                    <a:pt x="404" y="666"/>
                  </a:moveTo>
                  <a:cubicBezTo>
                    <a:pt x="435" y="722"/>
                    <a:pt x="435" y="722"/>
                    <a:pt x="435" y="722"/>
                  </a:cubicBezTo>
                  <a:cubicBezTo>
                    <a:pt x="480" y="710"/>
                    <a:pt x="480" y="710"/>
                    <a:pt x="480" y="710"/>
                  </a:cubicBezTo>
                  <a:cubicBezTo>
                    <a:pt x="479" y="646"/>
                    <a:pt x="479" y="646"/>
                    <a:pt x="479" y="646"/>
                  </a:cubicBezTo>
                  <a:cubicBezTo>
                    <a:pt x="491" y="641"/>
                    <a:pt x="503" y="635"/>
                    <a:pt x="514" y="629"/>
                  </a:cubicBezTo>
                  <a:cubicBezTo>
                    <a:pt x="565" y="668"/>
                    <a:pt x="565" y="668"/>
                    <a:pt x="565" y="668"/>
                  </a:cubicBezTo>
                  <a:cubicBezTo>
                    <a:pt x="601" y="640"/>
                    <a:pt x="601" y="640"/>
                    <a:pt x="601" y="640"/>
                  </a:cubicBezTo>
                  <a:cubicBezTo>
                    <a:pt x="577" y="582"/>
                    <a:pt x="577" y="582"/>
                    <a:pt x="577" y="582"/>
                  </a:cubicBezTo>
                  <a:cubicBezTo>
                    <a:pt x="587" y="572"/>
                    <a:pt x="597" y="561"/>
                    <a:pt x="605" y="549"/>
                  </a:cubicBezTo>
                  <a:cubicBezTo>
                    <a:pt x="668" y="567"/>
                    <a:pt x="668" y="567"/>
                    <a:pt x="668" y="567"/>
                  </a:cubicBezTo>
                  <a:cubicBezTo>
                    <a:pt x="691" y="527"/>
                    <a:pt x="691" y="527"/>
                    <a:pt x="691" y="527"/>
                  </a:cubicBezTo>
                  <a:cubicBezTo>
                    <a:pt x="645" y="481"/>
                    <a:pt x="645" y="481"/>
                    <a:pt x="645" y="481"/>
                  </a:cubicBezTo>
                  <a:cubicBezTo>
                    <a:pt x="650" y="469"/>
                    <a:pt x="654" y="457"/>
                    <a:pt x="657" y="445"/>
                  </a:cubicBezTo>
                  <a:cubicBezTo>
                    <a:pt x="721" y="437"/>
                    <a:pt x="721" y="437"/>
                    <a:pt x="721" y="437"/>
                  </a:cubicBezTo>
                  <a:cubicBezTo>
                    <a:pt x="727" y="391"/>
                    <a:pt x="727" y="391"/>
                    <a:pt x="727" y="391"/>
                  </a:cubicBezTo>
                  <a:cubicBezTo>
                    <a:pt x="668" y="367"/>
                    <a:pt x="668" y="367"/>
                    <a:pt x="668" y="367"/>
                  </a:cubicBezTo>
                  <a:cubicBezTo>
                    <a:pt x="668" y="352"/>
                    <a:pt x="667" y="338"/>
                    <a:pt x="666" y="324"/>
                  </a:cubicBezTo>
                  <a:cubicBezTo>
                    <a:pt x="721" y="293"/>
                    <a:pt x="721" y="293"/>
                    <a:pt x="721" y="293"/>
                  </a:cubicBezTo>
                  <a:cubicBezTo>
                    <a:pt x="709" y="248"/>
                    <a:pt x="709" y="248"/>
                    <a:pt x="709" y="248"/>
                  </a:cubicBezTo>
                  <a:cubicBezTo>
                    <a:pt x="645" y="248"/>
                    <a:pt x="645" y="248"/>
                    <a:pt x="645" y="248"/>
                  </a:cubicBezTo>
                  <a:cubicBezTo>
                    <a:pt x="640" y="236"/>
                    <a:pt x="635" y="224"/>
                    <a:pt x="628" y="213"/>
                  </a:cubicBezTo>
                  <a:cubicBezTo>
                    <a:pt x="668" y="163"/>
                    <a:pt x="668" y="163"/>
                    <a:pt x="668" y="163"/>
                  </a:cubicBezTo>
                  <a:cubicBezTo>
                    <a:pt x="640" y="126"/>
                    <a:pt x="640" y="126"/>
                    <a:pt x="640" y="126"/>
                  </a:cubicBezTo>
                  <a:cubicBezTo>
                    <a:pt x="581" y="151"/>
                    <a:pt x="581" y="151"/>
                    <a:pt x="581" y="151"/>
                  </a:cubicBezTo>
                  <a:cubicBezTo>
                    <a:pt x="571" y="140"/>
                    <a:pt x="560" y="131"/>
                    <a:pt x="549" y="122"/>
                  </a:cubicBezTo>
                  <a:cubicBezTo>
                    <a:pt x="566" y="60"/>
                    <a:pt x="566" y="60"/>
                    <a:pt x="566" y="60"/>
                  </a:cubicBezTo>
                  <a:cubicBezTo>
                    <a:pt x="526" y="37"/>
                    <a:pt x="526" y="37"/>
                    <a:pt x="526" y="37"/>
                  </a:cubicBezTo>
                  <a:cubicBezTo>
                    <a:pt x="481" y="83"/>
                    <a:pt x="481" y="83"/>
                    <a:pt x="481" y="83"/>
                  </a:cubicBezTo>
                  <a:cubicBezTo>
                    <a:pt x="469" y="78"/>
                    <a:pt x="456" y="74"/>
                    <a:pt x="444" y="70"/>
                  </a:cubicBezTo>
                  <a:cubicBezTo>
                    <a:pt x="436" y="7"/>
                    <a:pt x="436" y="7"/>
                    <a:pt x="436" y="7"/>
                  </a:cubicBezTo>
                  <a:cubicBezTo>
                    <a:pt x="391" y="0"/>
                    <a:pt x="391" y="0"/>
                    <a:pt x="391" y="0"/>
                  </a:cubicBezTo>
                  <a:cubicBezTo>
                    <a:pt x="366" y="59"/>
                    <a:pt x="366" y="59"/>
                    <a:pt x="366" y="59"/>
                  </a:cubicBezTo>
                  <a:cubicBezTo>
                    <a:pt x="352" y="59"/>
                    <a:pt x="338" y="60"/>
                    <a:pt x="323" y="62"/>
                  </a:cubicBezTo>
                  <a:cubicBezTo>
                    <a:pt x="292" y="7"/>
                    <a:pt x="292" y="7"/>
                    <a:pt x="292" y="7"/>
                  </a:cubicBezTo>
                  <a:cubicBezTo>
                    <a:pt x="247" y="18"/>
                    <a:pt x="247" y="18"/>
                    <a:pt x="247" y="18"/>
                  </a:cubicBezTo>
                  <a:cubicBezTo>
                    <a:pt x="247" y="82"/>
                    <a:pt x="247" y="82"/>
                    <a:pt x="247" y="82"/>
                  </a:cubicBezTo>
                  <a:cubicBezTo>
                    <a:pt x="236" y="87"/>
                    <a:pt x="224" y="93"/>
                    <a:pt x="212" y="99"/>
                  </a:cubicBezTo>
                  <a:cubicBezTo>
                    <a:pt x="162" y="60"/>
                    <a:pt x="162" y="60"/>
                    <a:pt x="162" y="60"/>
                  </a:cubicBezTo>
                  <a:cubicBezTo>
                    <a:pt x="125" y="88"/>
                    <a:pt x="125" y="88"/>
                    <a:pt x="125" y="88"/>
                  </a:cubicBezTo>
                  <a:cubicBezTo>
                    <a:pt x="150" y="147"/>
                    <a:pt x="150" y="147"/>
                    <a:pt x="150" y="147"/>
                  </a:cubicBezTo>
                  <a:cubicBezTo>
                    <a:pt x="140" y="157"/>
                    <a:pt x="130" y="167"/>
                    <a:pt x="121" y="179"/>
                  </a:cubicBezTo>
                  <a:cubicBezTo>
                    <a:pt x="59" y="162"/>
                    <a:pt x="59" y="162"/>
                    <a:pt x="59" y="162"/>
                  </a:cubicBezTo>
                  <a:cubicBezTo>
                    <a:pt x="36" y="202"/>
                    <a:pt x="36" y="202"/>
                    <a:pt x="36" y="202"/>
                  </a:cubicBezTo>
                  <a:cubicBezTo>
                    <a:pt x="82" y="247"/>
                    <a:pt x="82" y="247"/>
                    <a:pt x="82" y="247"/>
                  </a:cubicBezTo>
                  <a:cubicBezTo>
                    <a:pt x="77" y="259"/>
                    <a:pt x="73" y="271"/>
                    <a:pt x="69" y="284"/>
                  </a:cubicBezTo>
                  <a:cubicBezTo>
                    <a:pt x="6" y="291"/>
                    <a:pt x="6" y="291"/>
                    <a:pt x="6" y="291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59" y="361"/>
                    <a:pt x="59" y="361"/>
                    <a:pt x="59" y="361"/>
                  </a:cubicBezTo>
                  <a:cubicBezTo>
                    <a:pt x="59" y="376"/>
                    <a:pt x="59" y="390"/>
                    <a:pt x="61" y="404"/>
                  </a:cubicBezTo>
                  <a:cubicBezTo>
                    <a:pt x="6" y="436"/>
                    <a:pt x="6" y="436"/>
                    <a:pt x="6" y="436"/>
                  </a:cubicBezTo>
                  <a:cubicBezTo>
                    <a:pt x="18" y="481"/>
                    <a:pt x="18" y="481"/>
                    <a:pt x="18" y="481"/>
                  </a:cubicBezTo>
                  <a:cubicBezTo>
                    <a:pt x="82" y="480"/>
                    <a:pt x="82" y="480"/>
                    <a:pt x="82" y="480"/>
                  </a:cubicBezTo>
                  <a:cubicBezTo>
                    <a:pt x="87" y="492"/>
                    <a:pt x="92" y="504"/>
                    <a:pt x="99" y="515"/>
                  </a:cubicBezTo>
                  <a:cubicBezTo>
                    <a:pt x="59" y="565"/>
                    <a:pt x="59" y="565"/>
                    <a:pt x="59" y="565"/>
                  </a:cubicBezTo>
                  <a:cubicBezTo>
                    <a:pt x="87" y="602"/>
                    <a:pt x="87" y="602"/>
                    <a:pt x="87" y="602"/>
                  </a:cubicBezTo>
                  <a:cubicBezTo>
                    <a:pt x="146" y="578"/>
                    <a:pt x="146" y="578"/>
                    <a:pt x="146" y="578"/>
                  </a:cubicBezTo>
                  <a:cubicBezTo>
                    <a:pt x="156" y="588"/>
                    <a:pt x="167" y="597"/>
                    <a:pt x="178" y="606"/>
                  </a:cubicBezTo>
                  <a:cubicBezTo>
                    <a:pt x="161" y="668"/>
                    <a:pt x="161" y="668"/>
                    <a:pt x="161" y="668"/>
                  </a:cubicBezTo>
                  <a:cubicBezTo>
                    <a:pt x="201" y="691"/>
                    <a:pt x="201" y="691"/>
                    <a:pt x="201" y="691"/>
                  </a:cubicBezTo>
                  <a:cubicBezTo>
                    <a:pt x="246" y="645"/>
                    <a:pt x="246" y="645"/>
                    <a:pt x="246" y="645"/>
                  </a:cubicBezTo>
                  <a:cubicBezTo>
                    <a:pt x="258" y="650"/>
                    <a:pt x="271" y="655"/>
                    <a:pt x="283" y="658"/>
                  </a:cubicBezTo>
                  <a:cubicBezTo>
                    <a:pt x="290" y="721"/>
                    <a:pt x="290" y="721"/>
                    <a:pt x="290" y="721"/>
                  </a:cubicBezTo>
                  <a:cubicBezTo>
                    <a:pt x="336" y="728"/>
                    <a:pt x="336" y="728"/>
                    <a:pt x="336" y="728"/>
                  </a:cubicBezTo>
                  <a:cubicBezTo>
                    <a:pt x="361" y="669"/>
                    <a:pt x="361" y="669"/>
                    <a:pt x="361" y="669"/>
                  </a:cubicBezTo>
                  <a:cubicBezTo>
                    <a:pt x="375" y="669"/>
                    <a:pt x="389" y="668"/>
                    <a:pt x="404" y="666"/>
                  </a:cubicBezTo>
                  <a:close/>
                  <a:moveTo>
                    <a:pt x="246" y="567"/>
                  </a:moveTo>
                  <a:cubicBezTo>
                    <a:pt x="134" y="502"/>
                    <a:pt x="96" y="359"/>
                    <a:pt x="161" y="247"/>
                  </a:cubicBezTo>
                  <a:cubicBezTo>
                    <a:pt x="225" y="135"/>
                    <a:pt x="369" y="96"/>
                    <a:pt x="481" y="161"/>
                  </a:cubicBezTo>
                  <a:cubicBezTo>
                    <a:pt x="593" y="226"/>
                    <a:pt x="631" y="369"/>
                    <a:pt x="566" y="481"/>
                  </a:cubicBezTo>
                  <a:cubicBezTo>
                    <a:pt x="502" y="594"/>
                    <a:pt x="358" y="632"/>
                    <a:pt x="246" y="567"/>
                  </a:cubicBezTo>
                  <a:close/>
                </a:path>
              </a:pathLst>
            </a:custGeom>
            <a:gradFill>
              <a:gsLst>
                <a:gs pos="0">
                  <a:schemeClr val="accent4"/>
                </a:gs>
                <a:gs pos="100000">
                  <a:schemeClr val="tx2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300"/>
                </a:spcBef>
              </a:pPr>
              <a:endParaRPr lang="en-US" b="1">
                <a:solidFill>
                  <a:schemeClr val="bg1"/>
                </a:solidFill>
              </a:endParaRPr>
            </a:p>
          </p:txBody>
        </p:sp>
        <p:sp>
          <p:nvSpPr>
            <p:cNvPr id="31" name="Freeform 25">
              <a:extLst>
                <a:ext uri="{FF2B5EF4-FFF2-40B4-BE49-F238E27FC236}">
                  <a16:creationId xmlns="" xmlns:a16="http://schemas.microsoft.com/office/drawing/2014/main" id="{394B4F23-9689-483F-97AC-ADA2FB1BDD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2736" y="3078962"/>
              <a:ext cx="422721" cy="422720"/>
            </a:xfrm>
            <a:custGeom>
              <a:avLst/>
              <a:gdLst>
                <a:gd name="T0" fmla="*/ 96 w 205"/>
                <a:gd name="T1" fmla="*/ 202 h 205"/>
                <a:gd name="T2" fmla="*/ 201 w 205"/>
                <a:gd name="T3" fmla="*/ 110 h 205"/>
                <a:gd name="T4" fmla="*/ 109 w 205"/>
                <a:gd name="T5" fmla="*/ 4 h 205"/>
                <a:gd name="T6" fmla="*/ 4 w 205"/>
                <a:gd name="T7" fmla="*/ 96 h 205"/>
                <a:gd name="T8" fmla="*/ 96 w 205"/>
                <a:gd name="T9" fmla="*/ 202 h 205"/>
                <a:gd name="T10" fmla="*/ 99 w 205"/>
                <a:gd name="T11" fmla="*/ 147 h 205"/>
                <a:gd name="T12" fmla="*/ 59 w 205"/>
                <a:gd name="T13" fmla="*/ 100 h 205"/>
                <a:gd name="T14" fmla="*/ 105 w 205"/>
                <a:gd name="T15" fmla="*/ 59 h 205"/>
                <a:gd name="T16" fmla="*/ 146 w 205"/>
                <a:gd name="T17" fmla="*/ 106 h 205"/>
                <a:gd name="T18" fmla="*/ 99 w 205"/>
                <a:gd name="T19" fmla="*/ 147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5" h="205">
                  <a:moveTo>
                    <a:pt x="96" y="202"/>
                  </a:moveTo>
                  <a:cubicBezTo>
                    <a:pt x="150" y="205"/>
                    <a:pt x="197" y="164"/>
                    <a:pt x="201" y="110"/>
                  </a:cubicBezTo>
                  <a:cubicBezTo>
                    <a:pt x="205" y="55"/>
                    <a:pt x="164" y="8"/>
                    <a:pt x="109" y="4"/>
                  </a:cubicBezTo>
                  <a:cubicBezTo>
                    <a:pt x="55" y="0"/>
                    <a:pt x="7" y="42"/>
                    <a:pt x="4" y="96"/>
                  </a:cubicBezTo>
                  <a:cubicBezTo>
                    <a:pt x="0" y="151"/>
                    <a:pt x="41" y="198"/>
                    <a:pt x="96" y="202"/>
                  </a:cubicBezTo>
                  <a:close/>
                  <a:moveTo>
                    <a:pt x="99" y="147"/>
                  </a:moveTo>
                  <a:cubicBezTo>
                    <a:pt x="75" y="145"/>
                    <a:pt x="57" y="124"/>
                    <a:pt x="59" y="100"/>
                  </a:cubicBezTo>
                  <a:cubicBezTo>
                    <a:pt x="60" y="76"/>
                    <a:pt x="81" y="58"/>
                    <a:pt x="105" y="59"/>
                  </a:cubicBezTo>
                  <a:cubicBezTo>
                    <a:pt x="129" y="61"/>
                    <a:pt x="148" y="82"/>
                    <a:pt x="146" y="106"/>
                  </a:cubicBezTo>
                  <a:cubicBezTo>
                    <a:pt x="144" y="130"/>
                    <a:pt x="123" y="148"/>
                    <a:pt x="99" y="147"/>
                  </a:cubicBezTo>
                  <a:close/>
                </a:path>
              </a:pathLst>
            </a:custGeom>
            <a:gradFill>
              <a:gsLst>
                <a:gs pos="0">
                  <a:schemeClr val="accent4"/>
                </a:gs>
                <a:gs pos="100000">
                  <a:schemeClr val="tx2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300"/>
                </a:spcBef>
              </a:pPr>
              <a:endParaRPr lang="en-US" b="1">
                <a:solidFill>
                  <a:schemeClr val="bg1"/>
                </a:solidFill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="" xmlns:a16="http://schemas.microsoft.com/office/drawing/2014/main" id="{1ABF051B-2967-409D-912F-1741E2D0681E}"/>
              </a:ext>
            </a:extLst>
          </p:cNvPr>
          <p:cNvGrpSpPr/>
          <p:nvPr/>
        </p:nvGrpSpPr>
        <p:grpSpPr>
          <a:xfrm>
            <a:off x="6883735" y="3082710"/>
            <a:ext cx="1499269" cy="1502194"/>
            <a:chOff x="1464462" y="2531912"/>
            <a:chExt cx="1499269" cy="1502194"/>
          </a:xfrm>
          <a:solidFill>
            <a:srgbClr val="DC769A"/>
          </a:solidFill>
          <a:effectLst/>
        </p:grpSpPr>
        <p:sp>
          <p:nvSpPr>
            <p:cNvPr id="33" name="Freeform 24">
              <a:extLst>
                <a:ext uri="{FF2B5EF4-FFF2-40B4-BE49-F238E27FC236}">
                  <a16:creationId xmlns="" xmlns:a16="http://schemas.microsoft.com/office/drawing/2014/main" id="{6DFC9092-125A-4400-AA10-A878D7B12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4462" y="2531912"/>
              <a:ext cx="1499269" cy="1502194"/>
            </a:xfrm>
            <a:custGeom>
              <a:avLst/>
              <a:gdLst>
                <a:gd name="T0" fmla="*/ 435 w 727"/>
                <a:gd name="T1" fmla="*/ 722 h 728"/>
                <a:gd name="T2" fmla="*/ 479 w 727"/>
                <a:gd name="T3" fmla="*/ 646 h 728"/>
                <a:gd name="T4" fmla="*/ 565 w 727"/>
                <a:gd name="T5" fmla="*/ 668 h 728"/>
                <a:gd name="T6" fmla="*/ 577 w 727"/>
                <a:gd name="T7" fmla="*/ 582 h 728"/>
                <a:gd name="T8" fmla="*/ 668 w 727"/>
                <a:gd name="T9" fmla="*/ 567 h 728"/>
                <a:gd name="T10" fmla="*/ 645 w 727"/>
                <a:gd name="T11" fmla="*/ 481 h 728"/>
                <a:gd name="T12" fmla="*/ 721 w 727"/>
                <a:gd name="T13" fmla="*/ 437 h 728"/>
                <a:gd name="T14" fmla="*/ 668 w 727"/>
                <a:gd name="T15" fmla="*/ 367 h 728"/>
                <a:gd name="T16" fmla="*/ 721 w 727"/>
                <a:gd name="T17" fmla="*/ 293 h 728"/>
                <a:gd name="T18" fmla="*/ 645 w 727"/>
                <a:gd name="T19" fmla="*/ 248 h 728"/>
                <a:gd name="T20" fmla="*/ 668 w 727"/>
                <a:gd name="T21" fmla="*/ 163 h 728"/>
                <a:gd name="T22" fmla="*/ 581 w 727"/>
                <a:gd name="T23" fmla="*/ 151 h 728"/>
                <a:gd name="T24" fmla="*/ 566 w 727"/>
                <a:gd name="T25" fmla="*/ 60 h 728"/>
                <a:gd name="T26" fmla="*/ 481 w 727"/>
                <a:gd name="T27" fmla="*/ 83 h 728"/>
                <a:gd name="T28" fmla="*/ 436 w 727"/>
                <a:gd name="T29" fmla="*/ 7 h 728"/>
                <a:gd name="T30" fmla="*/ 366 w 727"/>
                <a:gd name="T31" fmla="*/ 59 h 728"/>
                <a:gd name="T32" fmla="*/ 292 w 727"/>
                <a:gd name="T33" fmla="*/ 7 h 728"/>
                <a:gd name="T34" fmla="*/ 247 w 727"/>
                <a:gd name="T35" fmla="*/ 82 h 728"/>
                <a:gd name="T36" fmla="*/ 162 w 727"/>
                <a:gd name="T37" fmla="*/ 60 h 728"/>
                <a:gd name="T38" fmla="*/ 150 w 727"/>
                <a:gd name="T39" fmla="*/ 147 h 728"/>
                <a:gd name="T40" fmla="*/ 59 w 727"/>
                <a:gd name="T41" fmla="*/ 162 h 728"/>
                <a:gd name="T42" fmla="*/ 82 w 727"/>
                <a:gd name="T43" fmla="*/ 247 h 728"/>
                <a:gd name="T44" fmla="*/ 6 w 727"/>
                <a:gd name="T45" fmla="*/ 291 h 728"/>
                <a:gd name="T46" fmla="*/ 59 w 727"/>
                <a:gd name="T47" fmla="*/ 361 h 728"/>
                <a:gd name="T48" fmla="*/ 6 w 727"/>
                <a:gd name="T49" fmla="*/ 436 h 728"/>
                <a:gd name="T50" fmla="*/ 82 w 727"/>
                <a:gd name="T51" fmla="*/ 480 h 728"/>
                <a:gd name="T52" fmla="*/ 59 w 727"/>
                <a:gd name="T53" fmla="*/ 565 h 728"/>
                <a:gd name="T54" fmla="*/ 146 w 727"/>
                <a:gd name="T55" fmla="*/ 578 h 728"/>
                <a:gd name="T56" fmla="*/ 161 w 727"/>
                <a:gd name="T57" fmla="*/ 668 h 728"/>
                <a:gd name="T58" fmla="*/ 246 w 727"/>
                <a:gd name="T59" fmla="*/ 645 h 728"/>
                <a:gd name="T60" fmla="*/ 290 w 727"/>
                <a:gd name="T61" fmla="*/ 721 h 728"/>
                <a:gd name="T62" fmla="*/ 361 w 727"/>
                <a:gd name="T63" fmla="*/ 669 h 728"/>
                <a:gd name="T64" fmla="*/ 246 w 727"/>
                <a:gd name="T65" fmla="*/ 567 h 728"/>
                <a:gd name="T66" fmla="*/ 481 w 727"/>
                <a:gd name="T67" fmla="*/ 161 h 728"/>
                <a:gd name="T68" fmla="*/ 246 w 727"/>
                <a:gd name="T69" fmla="*/ 56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27" h="728">
                  <a:moveTo>
                    <a:pt x="404" y="666"/>
                  </a:moveTo>
                  <a:cubicBezTo>
                    <a:pt x="435" y="722"/>
                    <a:pt x="435" y="722"/>
                    <a:pt x="435" y="722"/>
                  </a:cubicBezTo>
                  <a:cubicBezTo>
                    <a:pt x="480" y="710"/>
                    <a:pt x="480" y="710"/>
                    <a:pt x="480" y="710"/>
                  </a:cubicBezTo>
                  <a:cubicBezTo>
                    <a:pt x="479" y="646"/>
                    <a:pt x="479" y="646"/>
                    <a:pt x="479" y="646"/>
                  </a:cubicBezTo>
                  <a:cubicBezTo>
                    <a:pt x="491" y="641"/>
                    <a:pt x="503" y="635"/>
                    <a:pt x="514" y="629"/>
                  </a:cubicBezTo>
                  <a:cubicBezTo>
                    <a:pt x="565" y="668"/>
                    <a:pt x="565" y="668"/>
                    <a:pt x="565" y="668"/>
                  </a:cubicBezTo>
                  <a:cubicBezTo>
                    <a:pt x="601" y="640"/>
                    <a:pt x="601" y="640"/>
                    <a:pt x="601" y="640"/>
                  </a:cubicBezTo>
                  <a:cubicBezTo>
                    <a:pt x="577" y="582"/>
                    <a:pt x="577" y="582"/>
                    <a:pt x="577" y="582"/>
                  </a:cubicBezTo>
                  <a:cubicBezTo>
                    <a:pt x="587" y="572"/>
                    <a:pt x="597" y="561"/>
                    <a:pt x="605" y="549"/>
                  </a:cubicBezTo>
                  <a:cubicBezTo>
                    <a:pt x="668" y="567"/>
                    <a:pt x="668" y="567"/>
                    <a:pt x="668" y="567"/>
                  </a:cubicBezTo>
                  <a:cubicBezTo>
                    <a:pt x="691" y="527"/>
                    <a:pt x="691" y="527"/>
                    <a:pt x="691" y="527"/>
                  </a:cubicBezTo>
                  <a:cubicBezTo>
                    <a:pt x="645" y="481"/>
                    <a:pt x="645" y="481"/>
                    <a:pt x="645" y="481"/>
                  </a:cubicBezTo>
                  <a:cubicBezTo>
                    <a:pt x="650" y="469"/>
                    <a:pt x="654" y="457"/>
                    <a:pt x="657" y="445"/>
                  </a:cubicBezTo>
                  <a:cubicBezTo>
                    <a:pt x="721" y="437"/>
                    <a:pt x="721" y="437"/>
                    <a:pt x="721" y="437"/>
                  </a:cubicBezTo>
                  <a:cubicBezTo>
                    <a:pt x="727" y="391"/>
                    <a:pt x="727" y="391"/>
                    <a:pt x="727" y="391"/>
                  </a:cubicBezTo>
                  <a:cubicBezTo>
                    <a:pt x="668" y="367"/>
                    <a:pt x="668" y="367"/>
                    <a:pt x="668" y="367"/>
                  </a:cubicBezTo>
                  <a:cubicBezTo>
                    <a:pt x="668" y="352"/>
                    <a:pt x="667" y="338"/>
                    <a:pt x="666" y="324"/>
                  </a:cubicBezTo>
                  <a:cubicBezTo>
                    <a:pt x="721" y="293"/>
                    <a:pt x="721" y="293"/>
                    <a:pt x="721" y="293"/>
                  </a:cubicBezTo>
                  <a:cubicBezTo>
                    <a:pt x="709" y="248"/>
                    <a:pt x="709" y="248"/>
                    <a:pt x="709" y="248"/>
                  </a:cubicBezTo>
                  <a:cubicBezTo>
                    <a:pt x="645" y="248"/>
                    <a:pt x="645" y="248"/>
                    <a:pt x="645" y="248"/>
                  </a:cubicBezTo>
                  <a:cubicBezTo>
                    <a:pt x="640" y="236"/>
                    <a:pt x="635" y="224"/>
                    <a:pt x="628" y="213"/>
                  </a:cubicBezTo>
                  <a:cubicBezTo>
                    <a:pt x="668" y="163"/>
                    <a:pt x="668" y="163"/>
                    <a:pt x="668" y="163"/>
                  </a:cubicBezTo>
                  <a:cubicBezTo>
                    <a:pt x="640" y="126"/>
                    <a:pt x="640" y="126"/>
                    <a:pt x="640" y="126"/>
                  </a:cubicBezTo>
                  <a:cubicBezTo>
                    <a:pt x="581" y="151"/>
                    <a:pt x="581" y="151"/>
                    <a:pt x="581" y="151"/>
                  </a:cubicBezTo>
                  <a:cubicBezTo>
                    <a:pt x="571" y="140"/>
                    <a:pt x="560" y="131"/>
                    <a:pt x="549" y="122"/>
                  </a:cubicBezTo>
                  <a:cubicBezTo>
                    <a:pt x="566" y="60"/>
                    <a:pt x="566" y="60"/>
                    <a:pt x="566" y="60"/>
                  </a:cubicBezTo>
                  <a:cubicBezTo>
                    <a:pt x="526" y="37"/>
                    <a:pt x="526" y="37"/>
                    <a:pt x="526" y="37"/>
                  </a:cubicBezTo>
                  <a:cubicBezTo>
                    <a:pt x="481" y="83"/>
                    <a:pt x="481" y="83"/>
                    <a:pt x="481" y="83"/>
                  </a:cubicBezTo>
                  <a:cubicBezTo>
                    <a:pt x="469" y="78"/>
                    <a:pt x="456" y="74"/>
                    <a:pt x="444" y="70"/>
                  </a:cubicBezTo>
                  <a:cubicBezTo>
                    <a:pt x="436" y="7"/>
                    <a:pt x="436" y="7"/>
                    <a:pt x="436" y="7"/>
                  </a:cubicBezTo>
                  <a:cubicBezTo>
                    <a:pt x="391" y="0"/>
                    <a:pt x="391" y="0"/>
                    <a:pt x="391" y="0"/>
                  </a:cubicBezTo>
                  <a:cubicBezTo>
                    <a:pt x="366" y="59"/>
                    <a:pt x="366" y="59"/>
                    <a:pt x="366" y="59"/>
                  </a:cubicBezTo>
                  <a:cubicBezTo>
                    <a:pt x="352" y="59"/>
                    <a:pt x="338" y="60"/>
                    <a:pt x="323" y="62"/>
                  </a:cubicBezTo>
                  <a:cubicBezTo>
                    <a:pt x="292" y="7"/>
                    <a:pt x="292" y="7"/>
                    <a:pt x="292" y="7"/>
                  </a:cubicBezTo>
                  <a:cubicBezTo>
                    <a:pt x="247" y="18"/>
                    <a:pt x="247" y="18"/>
                    <a:pt x="247" y="18"/>
                  </a:cubicBezTo>
                  <a:cubicBezTo>
                    <a:pt x="247" y="82"/>
                    <a:pt x="247" y="82"/>
                    <a:pt x="247" y="82"/>
                  </a:cubicBezTo>
                  <a:cubicBezTo>
                    <a:pt x="236" y="87"/>
                    <a:pt x="224" y="93"/>
                    <a:pt x="212" y="99"/>
                  </a:cubicBezTo>
                  <a:cubicBezTo>
                    <a:pt x="162" y="60"/>
                    <a:pt x="162" y="60"/>
                    <a:pt x="162" y="60"/>
                  </a:cubicBezTo>
                  <a:cubicBezTo>
                    <a:pt x="125" y="88"/>
                    <a:pt x="125" y="88"/>
                    <a:pt x="125" y="88"/>
                  </a:cubicBezTo>
                  <a:cubicBezTo>
                    <a:pt x="150" y="147"/>
                    <a:pt x="150" y="147"/>
                    <a:pt x="150" y="147"/>
                  </a:cubicBezTo>
                  <a:cubicBezTo>
                    <a:pt x="140" y="157"/>
                    <a:pt x="130" y="167"/>
                    <a:pt x="121" y="179"/>
                  </a:cubicBezTo>
                  <a:cubicBezTo>
                    <a:pt x="59" y="162"/>
                    <a:pt x="59" y="162"/>
                    <a:pt x="59" y="162"/>
                  </a:cubicBezTo>
                  <a:cubicBezTo>
                    <a:pt x="36" y="202"/>
                    <a:pt x="36" y="202"/>
                    <a:pt x="36" y="202"/>
                  </a:cubicBezTo>
                  <a:cubicBezTo>
                    <a:pt x="82" y="247"/>
                    <a:pt x="82" y="247"/>
                    <a:pt x="82" y="247"/>
                  </a:cubicBezTo>
                  <a:cubicBezTo>
                    <a:pt x="77" y="259"/>
                    <a:pt x="73" y="271"/>
                    <a:pt x="69" y="284"/>
                  </a:cubicBezTo>
                  <a:cubicBezTo>
                    <a:pt x="6" y="291"/>
                    <a:pt x="6" y="291"/>
                    <a:pt x="6" y="291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59" y="361"/>
                    <a:pt x="59" y="361"/>
                    <a:pt x="59" y="361"/>
                  </a:cubicBezTo>
                  <a:cubicBezTo>
                    <a:pt x="59" y="376"/>
                    <a:pt x="59" y="390"/>
                    <a:pt x="61" y="404"/>
                  </a:cubicBezTo>
                  <a:cubicBezTo>
                    <a:pt x="6" y="436"/>
                    <a:pt x="6" y="436"/>
                    <a:pt x="6" y="436"/>
                  </a:cubicBezTo>
                  <a:cubicBezTo>
                    <a:pt x="18" y="481"/>
                    <a:pt x="18" y="481"/>
                    <a:pt x="18" y="481"/>
                  </a:cubicBezTo>
                  <a:cubicBezTo>
                    <a:pt x="82" y="480"/>
                    <a:pt x="82" y="480"/>
                    <a:pt x="82" y="480"/>
                  </a:cubicBezTo>
                  <a:cubicBezTo>
                    <a:pt x="87" y="492"/>
                    <a:pt x="92" y="504"/>
                    <a:pt x="99" y="515"/>
                  </a:cubicBezTo>
                  <a:cubicBezTo>
                    <a:pt x="59" y="565"/>
                    <a:pt x="59" y="565"/>
                    <a:pt x="59" y="565"/>
                  </a:cubicBezTo>
                  <a:cubicBezTo>
                    <a:pt x="87" y="602"/>
                    <a:pt x="87" y="602"/>
                    <a:pt x="87" y="602"/>
                  </a:cubicBezTo>
                  <a:cubicBezTo>
                    <a:pt x="146" y="578"/>
                    <a:pt x="146" y="578"/>
                    <a:pt x="146" y="578"/>
                  </a:cubicBezTo>
                  <a:cubicBezTo>
                    <a:pt x="156" y="588"/>
                    <a:pt x="167" y="597"/>
                    <a:pt x="178" y="606"/>
                  </a:cubicBezTo>
                  <a:cubicBezTo>
                    <a:pt x="161" y="668"/>
                    <a:pt x="161" y="668"/>
                    <a:pt x="161" y="668"/>
                  </a:cubicBezTo>
                  <a:cubicBezTo>
                    <a:pt x="201" y="691"/>
                    <a:pt x="201" y="691"/>
                    <a:pt x="201" y="691"/>
                  </a:cubicBezTo>
                  <a:cubicBezTo>
                    <a:pt x="246" y="645"/>
                    <a:pt x="246" y="645"/>
                    <a:pt x="246" y="645"/>
                  </a:cubicBezTo>
                  <a:cubicBezTo>
                    <a:pt x="258" y="650"/>
                    <a:pt x="271" y="655"/>
                    <a:pt x="283" y="658"/>
                  </a:cubicBezTo>
                  <a:cubicBezTo>
                    <a:pt x="290" y="721"/>
                    <a:pt x="290" y="721"/>
                    <a:pt x="290" y="721"/>
                  </a:cubicBezTo>
                  <a:cubicBezTo>
                    <a:pt x="336" y="728"/>
                    <a:pt x="336" y="728"/>
                    <a:pt x="336" y="728"/>
                  </a:cubicBezTo>
                  <a:cubicBezTo>
                    <a:pt x="361" y="669"/>
                    <a:pt x="361" y="669"/>
                    <a:pt x="361" y="669"/>
                  </a:cubicBezTo>
                  <a:cubicBezTo>
                    <a:pt x="375" y="669"/>
                    <a:pt x="389" y="668"/>
                    <a:pt x="404" y="666"/>
                  </a:cubicBezTo>
                  <a:close/>
                  <a:moveTo>
                    <a:pt x="246" y="567"/>
                  </a:moveTo>
                  <a:cubicBezTo>
                    <a:pt x="134" y="502"/>
                    <a:pt x="96" y="359"/>
                    <a:pt x="161" y="247"/>
                  </a:cubicBezTo>
                  <a:cubicBezTo>
                    <a:pt x="225" y="135"/>
                    <a:pt x="369" y="96"/>
                    <a:pt x="481" y="161"/>
                  </a:cubicBezTo>
                  <a:cubicBezTo>
                    <a:pt x="593" y="226"/>
                    <a:pt x="631" y="369"/>
                    <a:pt x="566" y="481"/>
                  </a:cubicBezTo>
                  <a:cubicBezTo>
                    <a:pt x="502" y="594"/>
                    <a:pt x="358" y="632"/>
                    <a:pt x="246" y="567"/>
                  </a:cubicBezTo>
                  <a:close/>
                </a:path>
              </a:pathLst>
            </a:custGeom>
            <a:gradFill>
              <a:gsLst>
                <a:gs pos="0">
                  <a:schemeClr val="accent4"/>
                </a:gs>
                <a:gs pos="100000">
                  <a:schemeClr val="tx2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300"/>
                </a:spcBef>
              </a:pPr>
              <a:endParaRPr lang="en-US" b="1">
                <a:solidFill>
                  <a:schemeClr val="bg1"/>
                </a:solidFill>
              </a:endParaRPr>
            </a:p>
          </p:txBody>
        </p:sp>
        <p:sp>
          <p:nvSpPr>
            <p:cNvPr id="34" name="Freeform 25">
              <a:extLst>
                <a:ext uri="{FF2B5EF4-FFF2-40B4-BE49-F238E27FC236}">
                  <a16:creationId xmlns="" xmlns:a16="http://schemas.microsoft.com/office/drawing/2014/main" id="{6037420A-162B-4485-8017-E90AED6B02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2736" y="3078962"/>
              <a:ext cx="422721" cy="422720"/>
            </a:xfrm>
            <a:custGeom>
              <a:avLst/>
              <a:gdLst>
                <a:gd name="T0" fmla="*/ 96 w 205"/>
                <a:gd name="T1" fmla="*/ 202 h 205"/>
                <a:gd name="T2" fmla="*/ 201 w 205"/>
                <a:gd name="T3" fmla="*/ 110 h 205"/>
                <a:gd name="T4" fmla="*/ 109 w 205"/>
                <a:gd name="T5" fmla="*/ 4 h 205"/>
                <a:gd name="T6" fmla="*/ 4 w 205"/>
                <a:gd name="T7" fmla="*/ 96 h 205"/>
                <a:gd name="T8" fmla="*/ 96 w 205"/>
                <a:gd name="T9" fmla="*/ 202 h 205"/>
                <a:gd name="T10" fmla="*/ 99 w 205"/>
                <a:gd name="T11" fmla="*/ 147 h 205"/>
                <a:gd name="T12" fmla="*/ 59 w 205"/>
                <a:gd name="T13" fmla="*/ 100 h 205"/>
                <a:gd name="T14" fmla="*/ 105 w 205"/>
                <a:gd name="T15" fmla="*/ 59 h 205"/>
                <a:gd name="T16" fmla="*/ 146 w 205"/>
                <a:gd name="T17" fmla="*/ 106 h 205"/>
                <a:gd name="T18" fmla="*/ 99 w 205"/>
                <a:gd name="T19" fmla="*/ 147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5" h="205">
                  <a:moveTo>
                    <a:pt x="96" y="202"/>
                  </a:moveTo>
                  <a:cubicBezTo>
                    <a:pt x="150" y="205"/>
                    <a:pt x="197" y="164"/>
                    <a:pt x="201" y="110"/>
                  </a:cubicBezTo>
                  <a:cubicBezTo>
                    <a:pt x="205" y="55"/>
                    <a:pt x="164" y="8"/>
                    <a:pt x="109" y="4"/>
                  </a:cubicBezTo>
                  <a:cubicBezTo>
                    <a:pt x="55" y="0"/>
                    <a:pt x="7" y="42"/>
                    <a:pt x="4" y="96"/>
                  </a:cubicBezTo>
                  <a:cubicBezTo>
                    <a:pt x="0" y="151"/>
                    <a:pt x="41" y="198"/>
                    <a:pt x="96" y="202"/>
                  </a:cubicBezTo>
                  <a:close/>
                  <a:moveTo>
                    <a:pt x="99" y="147"/>
                  </a:moveTo>
                  <a:cubicBezTo>
                    <a:pt x="75" y="145"/>
                    <a:pt x="57" y="124"/>
                    <a:pt x="59" y="100"/>
                  </a:cubicBezTo>
                  <a:cubicBezTo>
                    <a:pt x="60" y="76"/>
                    <a:pt x="81" y="58"/>
                    <a:pt x="105" y="59"/>
                  </a:cubicBezTo>
                  <a:cubicBezTo>
                    <a:pt x="129" y="61"/>
                    <a:pt x="148" y="82"/>
                    <a:pt x="146" y="106"/>
                  </a:cubicBezTo>
                  <a:cubicBezTo>
                    <a:pt x="144" y="130"/>
                    <a:pt x="123" y="148"/>
                    <a:pt x="99" y="147"/>
                  </a:cubicBezTo>
                  <a:close/>
                </a:path>
              </a:pathLst>
            </a:custGeom>
            <a:gradFill>
              <a:gsLst>
                <a:gs pos="0">
                  <a:schemeClr val="accent4"/>
                </a:gs>
                <a:gs pos="100000">
                  <a:schemeClr val="tx2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300"/>
                </a:spcBef>
              </a:pPr>
              <a:endParaRPr lang="en-US" b="1">
                <a:solidFill>
                  <a:schemeClr val="bg1"/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="" xmlns:a16="http://schemas.microsoft.com/office/drawing/2014/main" id="{F8E8E504-082A-47F1-8646-24EB25C891E3}"/>
              </a:ext>
            </a:extLst>
          </p:cNvPr>
          <p:cNvGrpSpPr/>
          <p:nvPr/>
        </p:nvGrpSpPr>
        <p:grpSpPr>
          <a:xfrm>
            <a:off x="3810335" y="3082710"/>
            <a:ext cx="1499269" cy="1502194"/>
            <a:chOff x="1464462" y="2531912"/>
            <a:chExt cx="1499269" cy="1502194"/>
          </a:xfrm>
          <a:solidFill>
            <a:srgbClr val="C03265"/>
          </a:solidFill>
          <a:effectLst/>
        </p:grpSpPr>
        <p:sp>
          <p:nvSpPr>
            <p:cNvPr id="36" name="Freeform 24">
              <a:extLst>
                <a:ext uri="{FF2B5EF4-FFF2-40B4-BE49-F238E27FC236}">
                  <a16:creationId xmlns="" xmlns:a16="http://schemas.microsoft.com/office/drawing/2014/main" id="{B61805C0-4890-4E73-B8B5-47296FCE01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64462" y="2531912"/>
              <a:ext cx="1499269" cy="1502194"/>
            </a:xfrm>
            <a:custGeom>
              <a:avLst/>
              <a:gdLst>
                <a:gd name="T0" fmla="*/ 435 w 727"/>
                <a:gd name="T1" fmla="*/ 722 h 728"/>
                <a:gd name="T2" fmla="*/ 479 w 727"/>
                <a:gd name="T3" fmla="*/ 646 h 728"/>
                <a:gd name="T4" fmla="*/ 565 w 727"/>
                <a:gd name="T5" fmla="*/ 668 h 728"/>
                <a:gd name="T6" fmla="*/ 577 w 727"/>
                <a:gd name="T7" fmla="*/ 582 h 728"/>
                <a:gd name="T8" fmla="*/ 668 w 727"/>
                <a:gd name="T9" fmla="*/ 567 h 728"/>
                <a:gd name="T10" fmla="*/ 645 w 727"/>
                <a:gd name="T11" fmla="*/ 481 h 728"/>
                <a:gd name="T12" fmla="*/ 721 w 727"/>
                <a:gd name="T13" fmla="*/ 437 h 728"/>
                <a:gd name="T14" fmla="*/ 668 w 727"/>
                <a:gd name="T15" fmla="*/ 367 h 728"/>
                <a:gd name="T16" fmla="*/ 721 w 727"/>
                <a:gd name="T17" fmla="*/ 293 h 728"/>
                <a:gd name="T18" fmla="*/ 645 w 727"/>
                <a:gd name="T19" fmla="*/ 248 h 728"/>
                <a:gd name="T20" fmla="*/ 668 w 727"/>
                <a:gd name="T21" fmla="*/ 163 h 728"/>
                <a:gd name="T22" fmla="*/ 581 w 727"/>
                <a:gd name="T23" fmla="*/ 151 h 728"/>
                <a:gd name="T24" fmla="*/ 566 w 727"/>
                <a:gd name="T25" fmla="*/ 60 h 728"/>
                <a:gd name="T26" fmla="*/ 481 w 727"/>
                <a:gd name="T27" fmla="*/ 83 h 728"/>
                <a:gd name="T28" fmla="*/ 436 w 727"/>
                <a:gd name="T29" fmla="*/ 7 h 728"/>
                <a:gd name="T30" fmla="*/ 366 w 727"/>
                <a:gd name="T31" fmla="*/ 59 h 728"/>
                <a:gd name="T32" fmla="*/ 292 w 727"/>
                <a:gd name="T33" fmla="*/ 7 h 728"/>
                <a:gd name="T34" fmla="*/ 247 w 727"/>
                <a:gd name="T35" fmla="*/ 82 h 728"/>
                <a:gd name="T36" fmla="*/ 162 w 727"/>
                <a:gd name="T37" fmla="*/ 60 h 728"/>
                <a:gd name="T38" fmla="*/ 150 w 727"/>
                <a:gd name="T39" fmla="*/ 147 h 728"/>
                <a:gd name="T40" fmla="*/ 59 w 727"/>
                <a:gd name="T41" fmla="*/ 162 h 728"/>
                <a:gd name="T42" fmla="*/ 82 w 727"/>
                <a:gd name="T43" fmla="*/ 247 h 728"/>
                <a:gd name="T44" fmla="*/ 6 w 727"/>
                <a:gd name="T45" fmla="*/ 291 h 728"/>
                <a:gd name="T46" fmla="*/ 59 w 727"/>
                <a:gd name="T47" fmla="*/ 361 h 728"/>
                <a:gd name="T48" fmla="*/ 6 w 727"/>
                <a:gd name="T49" fmla="*/ 436 h 728"/>
                <a:gd name="T50" fmla="*/ 82 w 727"/>
                <a:gd name="T51" fmla="*/ 480 h 728"/>
                <a:gd name="T52" fmla="*/ 59 w 727"/>
                <a:gd name="T53" fmla="*/ 565 h 728"/>
                <a:gd name="T54" fmla="*/ 146 w 727"/>
                <a:gd name="T55" fmla="*/ 578 h 728"/>
                <a:gd name="T56" fmla="*/ 161 w 727"/>
                <a:gd name="T57" fmla="*/ 668 h 728"/>
                <a:gd name="T58" fmla="*/ 246 w 727"/>
                <a:gd name="T59" fmla="*/ 645 h 728"/>
                <a:gd name="T60" fmla="*/ 290 w 727"/>
                <a:gd name="T61" fmla="*/ 721 h 728"/>
                <a:gd name="T62" fmla="*/ 361 w 727"/>
                <a:gd name="T63" fmla="*/ 669 h 728"/>
                <a:gd name="T64" fmla="*/ 246 w 727"/>
                <a:gd name="T65" fmla="*/ 567 h 728"/>
                <a:gd name="T66" fmla="*/ 481 w 727"/>
                <a:gd name="T67" fmla="*/ 161 h 728"/>
                <a:gd name="T68" fmla="*/ 246 w 727"/>
                <a:gd name="T69" fmla="*/ 56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727" h="728">
                  <a:moveTo>
                    <a:pt x="404" y="666"/>
                  </a:moveTo>
                  <a:cubicBezTo>
                    <a:pt x="435" y="722"/>
                    <a:pt x="435" y="722"/>
                    <a:pt x="435" y="722"/>
                  </a:cubicBezTo>
                  <a:cubicBezTo>
                    <a:pt x="480" y="710"/>
                    <a:pt x="480" y="710"/>
                    <a:pt x="480" y="710"/>
                  </a:cubicBezTo>
                  <a:cubicBezTo>
                    <a:pt x="479" y="646"/>
                    <a:pt x="479" y="646"/>
                    <a:pt x="479" y="646"/>
                  </a:cubicBezTo>
                  <a:cubicBezTo>
                    <a:pt x="491" y="641"/>
                    <a:pt x="503" y="635"/>
                    <a:pt x="514" y="629"/>
                  </a:cubicBezTo>
                  <a:cubicBezTo>
                    <a:pt x="565" y="668"/>
                    <a:pt x="565" y="668"/>
                    <a:pt x="565" y="668"/>
                  </a:cubicBezTo>
                  <a:cubicBezTo>
                    <a:pt x="601" y="640"/>
                    <a:pt x="601" y="640"/>
                    <a:pt x="601" y="640"/>
                  </a:cubicBezTo>
                  <a:cubicBezTo>
                    <a:pt x="577" y="582"/>
                    <a:pt x="577" y="582"/>
                    <a:pt x="577" y="582"/>
                  </a:cubicBezTo>
                  <a:cubicBezTo>
                    <a:pt x="587" y="572"/>
                    <a:pt x="597" y="561"/>
                    <a:pt x="605" y="549"/>
                  </a:cubicBezTo>
                  <a:cubicBezTo>
                    <a:pt x="668" y="567"/>
                    <a:pt x="668" y="567"/>
                    <a:pt x="668" y="567"/>
                  </a:cubicBezTo>
                  <a:cubicBezTo>
                    <a:pt x="691" y="527"/>
                    <a:pt x="691" y="527"/>
                    <a:pt x="691" y="527"/>
                  </a:cubicBezTo>
                  <a:cubicBezTo>
                    <a:pt x="645" y="481"/>
                    <a:pt x="645" y="481"/>
                    <a:pt x="645" y="481"/>
                  </a:cubicBezTo>
                  <a:cubicBezTo>
                    <a:pt x="650" y="469"/>
                    <a:pt x="654" y="457"/>
                    <a:pt x="657" y="445"/>
                  </a:cubicBezTo>
                  <a:cubicBezTo>
                    <a:pt x="721" y="437"/>
                    <a:pt x="721" y="437"/>
                    <a:pt x="721" y="437"/>
                  </a:cubicBezTo>
                  <a:cubicBezTo>
                    <a:pt x="727" y="391"/>
                    <a:pt x="727" y="391"/>
                    <a:pt x="727" y="391"/>
                  </a:cubicBezTo>
                  <a:cubicBezTo>
                    <a:pt x="668" y="367"/>
                    <a:pt x="668" y="367"/>
                    <a:pt x="668" y="367"/>
                  </a:cubicBezTo>
                  <a:cubicBezTo>
                    <a:pt x="668" y="352"/>
                    <a:pt x="667" y="338"/>
                    <a:pt x="666" y="324"/>
                  </a:cubicBezTo>
                  <a:cubicBezTo>
                    <a:pt x="721" y="293"/>
                    <a:pt x="721" y="293"/>
                    <a:pt x="721" y="293"/>
                  </a:cubicBezTo>
                  <a:cubicBezTo>
                    <a:pt x="709" y="248"/>
                    <a:pt x="709" y="248"/>
                    <a:pt x="709" y="248"/>
                  </a:cubicBezTo>
                  <a:cubicBezTo>
                    <a:pt x="645" y="248"/>
                    <a:pt x="645" y="248"/>
                    <a:pt x="645" y="248"/>
                  </a:cubicBezTo>
                  <a:cubicBezTo>
                    <a:pt x="640" y="236"/>
                    <a:pt x="635" y="224"/>
                    <a:pt x="628" y="213"/>
                  </a:cubicBezTo>
                  <a:cubicBezTo>
                    <a:pt x="668" y="163"/>
                    <a:pt x="668" y="163"/>
                    <a:pt x="668" y="163"/>
                  </a:cubicBezTo>
                  <a:cubicBezTo>
                    <a:pt x="640" y="126"/>
                    <a:pt x="640" y="126"/>
                    <a:pt x="640" y="126"/>
                  </a:cubicBezTo>
                  <a:cubicBezTo>
                    <a:pt x="581" y="151"/>
                    <a:pt x="581" y="151"/>
                    <a:pt x="581" y="151"/>
                  </a:cubicBezTo>
                  <a:cubicBezTo>
                    <a:pt x="571" y="140"/>
                    <a:pt x="560" y="131"/>
                    <a:pt x="549" y="122"/>
                  </a:cubicBezTo>
                  <a:cubicBezTo>
                    <a:pt x="566" y="60"/>
                    <a:pt x="566" y="60"/>
                    <a:pt x="566" y="60"/>
                  </a:cubicBezTo>
                  <a:cubicBezTo>
                    <a:pt x="526" y="37"/>
                    <a:pt x="526" y="37"/>
                    <a:pt x="526" y="37"/>
                  </a:cubicBezTo>
                  <a:cubicBezTo>
                    <a:pt x="481" y="83"/>
                    <a:pt x="481" y="83"/>
                    <a:pt x="481" y="83"/>
                  </a:cubicBezTo>
                  <a:cubicBezTo>
                    <a:pt x="469" y="78"/>
                    <a:pt x="456" y="74"/>
                    <a:pt x="444" y="70"/>
                  </a:cubicBezTo>
                  <a:cubicBezTo>
                    <a:pt x="436" y="7"/>
                    <a:pt x="436" y="7"/>
                    <a:pt x="436" y="7"/>
                  </a:cubicBezTo>
                  <a:cubicBezTo>
                    <a:pt x="391" y="0"/>
                    <a:pt x="391" y="0"/>
                    <a:pt x="391" y="0"/>
                  </a:cubicBezTo>
                  <a:cubicBezTo>
                    <a:pt x="366" y="59"/>
                    <a:pt x="366" y="59"/>
                    <a:pt x="366" y="59"/>
                  </a:cubicBezTo>
                  <a:cubicBezTo>
                    <a:pt x="352" y="59"/>
                    <a:pt x="338" y="60"/>
                    <a:pt x="323" y="62"/>
                  </a:cubicBezTo>
                  <a:cubicBezTo>
                    <a:pt x="292" y="7"/>
                    <a:pt x="292" y="7"/>
                    <a:pt x="292" y="7"/>
                  </a:cubicBezTo>
                  <a:cubicBezTo>
                    <a:pt x="247" y="18"/>
                    <a:pt x="247" y="18"/>
                    <a:pt x="247" y="18"/>
                  </a:cubicBezTo>
                  <a:cubicBezTo>
                    <a:pt x="247" y="82"/>
                    <a:pt x="247" y="82"/>
                    <a:pt x="247" y="82"/>
                  </a:cubicBezTo>
                  <a:cubicBezTo>
                    <a:pt x="236" y="87"/>
                    <a:pt x="224" y="93"/>
                    <a:pt x="212" y="99"/>
                  </a:cubicBezTo>
                  <a:cubicBezTo>
                    <a:pt x="162" y="60"/>
                    <a:pt x="162" y="60"/>
                    <a:pt x="162" y="60"/>
                  </a:cubicBezTo>
                  <a:cubicBezTo>
                    <a:pt x="125" y="88"/>
                    <a:pt x="125" y="88"/>
                    <a:pt x="125" y="88"/>
                  </a:cubicBezTo>
                  <a:cubicBezTo>
                    <a:pt x="150" y="147"/>
                    <a:pt x="150" y="147"/>
                    <a:pt x="150" y="147"/>
                  </a:cubicBezTo>
                  <a:cubicBezTo>
                    <a:pt x="140" y="157"/>
                    <a:pt x="130" y="167"/>
                    <a:pt x="121" y="179"/>
                  </a:cubicBezTo>
                  <a:cubicBezTo>
                    <a:pt x="59" y="162"/>
                    <a:pt x="59" y="162"/>
                    <a:pt x="59" y="162"/>
                  </a:cubicBezTo>
                  <a:cubicBezTo>
                    <a:pt x="36" y="202"/>
                    <a:pt x="36" y="202"/>
                    <a:pt x="36" y="202"/>
                  </a:cubicBezTo>
                  <a:cubicBezTo>
                    <a:pt x="82" y="247"/>
                    <a:pt x="82" y="247"/>
                    <a:pt x="82" y="247"/>
                  </a:cubicBezTo>
                  <a:cubicBezTo>
                    <a:pt x="77" y="259"/>
                    <a:pt x="73" y="271"/>
                    <a:pt x="69" y="284"/>
                  </a:cubicBezTo>
                  <a:cubicBezTo>
                    <a:pt x="6" y="291"/>
                    <a:pt x="6" y="291"/>
                    <a:pt x="6" y="291"/>
                  </a:cubicBezTo>
                  <a:cubicBezTo>
                    <a:pt x="0" y="337"/>
                    <a:pt x="0" y="337"/>
                    <a:pt x="0" y="337"/>
                  </a:cubicBezTo>
                  <a:cubicBezTo>
                    <a:pt x="59" y="361"/>
                    <a:pt x="59" y="361"/>
                    <a:pt x="59" y="361"/>
                  </a:cubicBezTo>
                  <a:cubicBezTo>
                    <a:pt x="59" y="376"/>
                    <a:pt x="59" y="390"/>
                    <a:pt x="61" y="404"/>
                  </a:cubicBezTo>
                  <a:cubicBezTo>
                    <a:pt x="6" y="436"/>
                    <a:pt x="6" y="436"/>
                    <a:pt x="6" y="436"/>
                  </a:cubicBezTo>
                  <a:cubicBezTo>
                    <a:pt x="18" y="481"/>
                    <a:pt x="18" y="481"/>
                    <a:pt x="18" y="481"/>
                  </a:cubicBezTo>
                  <a:cubicBezTo>
                    <a:pt x="82" y="480"/>
                    <a:pt x="82" y="480"/>
                    <a:pt x="82" y="480"/>
                  </a:cubicBezTo>
                  <a:cubicBezTo>
                    <a:pt x="87" y="492"/>
                    <a:pt x="92" y="504"/>
                    <a:pt x="99" y="515"/>
                  </a:cubicBezTo>
                  <a:cubicBezTo>
                    <a:pt x="59" y="565"/>
                    <a:pt x="59" y="565"/>
                    <a:pt x="59" y="565"/>
                  </a:cubicBezTo>
                  <a:cubicBezTo>
                    <a:pt x="87" y="602"/>
                    <a:pt x="87" y="602"/>
                    <a:pt x="87" y="602"/>
                  </a:cubicBezTo>
                  <a:cubicBezTo>
                    <a:pt x="146" y="578"/>
                    <a:pt x="146" y="578"/>
                    <a:pt x="146" y="578"/>
                  </a:cubicBezTo>
                  <a:cubicBezTo>
                    <a:pt x="156" y="588"/>
                    <a:pt x="167" y="597"/>
                    <a:pt x="178" y="606"/>
                  </a:cubicBezTo>
                  <a:cubicBezTo>
                    <a:pt x="161" y="668"/>
                    <a:pt x="161" y="668"/>
                    <a:pt x="161" y="668"/>
                  </a:cubicBezTo>
                  <a:cubicBezTo>
                    <a:pt x="201" y="691"/>
                    <a:pt x="201" y="691"/>
                    <a:pt x="201" y="691"/>
                  </a:cubicBezTo>
                  <a:cubicBezTo>
                    <a:pt x="246" y="645"/>
                    <a:pt x="246" y="645"/>
                    <a:pt x="246" y="645"/>
                  </a:cubicBezTo>
                  <a:cubicBezTo>
                    <a:pt x="258" y="650"/>
                    <a:pt x="271" y="655"/>
                    <a:pt x="283" y="658"/>
                  </a:cubicBezTo>
                  <a:cubicBezTo>
                    <a:pt x="290" y="721"/>
                    <a:pt x="290" y="721"/>
                    <a:pt x="290" y="721"/>
                  </a:cubicBezTo>
                  <a:cubicBezTo>
                    <a:pt x="336" y="728"/>
                    <a:pt x="336" y="728"/>
                    <a:pt x="336" y="728"/>
                  </a:cubicBezTo>
                  <a:cubicBezTo>
                    <a:pt x="361" y="669"/>
                    <a:pt x="361" y="669"/>
                    <a:pt x="361" y="669"/>
                  </a:cubicBezTo>
                  <a:cubicBezTo>
                    <a:pt x="375" y="669"/>
                    <a:pt x="389" y="668"/>
                    <a:pt x="404" y="666"/>
                  </a:cubicBezTo>
                  <a:close/>
                  <a:moveTo>
                    <a:pt x="246" y="567"/>
                  </a:moveTo>
                  <a:cubicBezTo>
                    <a:pt x="134" y="502"/>
                    <a:pt x="96" y="359"/>
                    <a:pt x="161" y="247"/>
                  </a:cubicBezTo>
                  <a:cubicBezTo>
                    <a:pt x="225" y="135"/>
                    <a:pt x="369" y="96"/>
                    <a:pt x="481" y="161"/>
                  </a:cubicBezTo>
                  <a:cubicBezTo>
                    <a:pt x="593" y="226"/>
                    <a:pt x="631" y="369"/>
                    <a:pt x="566" y="481"/>
                  </a:cubicBezTo>
                  <a:cubicBezTo>
                    <a:pt x="502" y="594"/>
                    <a:pt x="358" y="632"/>
                    <a:pt x="246" y="567"/>
                  </a:cubicBezTo>
                  <a:close/>
                </a:path>
              </a:pathLst>
            </a:custGeom>
            <a:gradFill>
              <a:gsLst>
                <a:gs pos="0">
                  <a:schemeClr val="accent4"/>
                </a:gs>
                <a:gs pos="100000">
                  <a:schemeClr val="tx2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300"/>
                </a:spcBef>
              </a:pPr>
              <a:endParaRPr lang="en-US" b="1">
                <a:solidFill>
                  <a:schemeClr val="bg1"/>
                </a:solidFill>
              </a:endParaRPr>
            </a:p>
          </p:txBody>
        </p:sp>
        <p:sp>
          <p:nvSpPr>
            <p:cNvPr id="37" name="Freeform 25">
              <a:extLst>
                <a:ext uri="{FF2B5EF4-FFF2-40B4-BE49-F238E27FC236}">
                  <a16:creationId xmlns="" xmlns:a16="http://schemas.microsoft.com/office/drawing/2014/main" id="{6172DA7E-E115-4A98-9C54-A61FE9975F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2736" y="3078962"/>
              <a:ext cx="422721" cy="422720"/>
            </a:xfrm>
            <a:custGeom>
              <a:avLst/>
              <a:gdLst>
                <a:gd name="T0" fmla="*/ 96 w 205"/>
                <a:gd name="T1" fmla="*/ 202 h 205"/>
                <a:gd name="T2" fmla="*/ 201 w 205"/>
                <a:gd name="T3" fmla="*/ 110 h 205"/>
                <a:gd name="T4" fmla="*/ 109 w 205"/>
                <a:gd name="T5" fmla="*/ 4 h 205"/>
                <a:gd name="T6" fmla="*/ 4 w 205"/>
                <a:gd name="T7" fmla="*/ 96 h 205"/>
                <a:gd name="T8" fmla="*/ 96 w 205"/>
                <a:gd name="T9" fmla="*/ 202 h 205"/>
                <a:gd name="T10" fmla="*/ 99 w 205"/>
                <a:gd name="T11" fmla="*/ 147 h 205"/>
                <a:gd name="T12" fmla="*/ 59 w 205"/>
                <a:gd name="T13" fmla="*/ 100 h 205"/>
                <a:gd name="T14" fmla="*/ 105 w 205"/>
                <a:gd name="T15" fmla="*/ 59 h 205"/>
                <a:gd name="T16" fmla="*/ 146 w 205"/>
                <a:gd name="T17" fmla="*/ 106 h 205"/>
                <a:gd name="T18" fmla="*/ 99 w 205"/>
                <a:gd name="T19" fmla="*/ 147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5" h="205">
                  <a:moveTo>
                    <a:pt x="96" y="202"/>
                  </a:moveTo>
                  <a:cubicBezTo>
                    <a:pt x="150" y="205"/>
                    <a:pt x="197" y="164"/>
                    <a:pt x="201" y="110"/>
                  </a:cubicBezTo>
                  <a:cubicBezTo>
                    <a:pt x="205" y="55"/>
                    <a:pt x="164" y="8"/>
                    <a:pt x="109" y="4"/>
                  </a:cubicBezTo>
                  <a:cubicBezTo>
                    <a:pt x="55" y="0"/>
                    <a:pt x="7" y="42"/>
                    <a:pt x="4" y="96"/>
                  </a:cubicBezTo>
                  <a:cubicBezTo>
                    <a:pt x="0" y="151"/>
                    <a:pt x="41" y="198"/>
                    <a:pt x="96" y="202"/>
                  </a:cubicBezTo>
                  <a:close/>
                  <a:moveTo>
                    <a:pt x="99" y="147"/>
                  </a:moveTo>
                  <a:cubicBezTo>
                    <a:pt x="75" y="145"/>
                    <a:pt x="57" y="124"/>
                    <a:pt x="59" y="100"/>
                  </a:cubicBezTo>
                  <a:cubicBezTo>
                    <a:pt x="60" y="76"/>
                    <a:pt x="81" y="58"/>
                    <a:pt x="105" y="59"/>
                  </a:cubicBezTo>
                  <a:cubicBezTo>
                    <a:pt x="129" y="61"/>
                    <a:pt x="148" y="82"/>
                    <a:pt x="146" y="106"/>
                  </a:cubicBezTo>
                  <a:cubicBezTo>
                    <a:pt x="144" y="130"/>
                    <a:pt x="123" y="148"/>
                    <a:pt x="99" y="147"/>
                  </a:cubicBezTo>
                  <a:close/>
                </a:path>
              </a:pathLst>
            </a:custGeom>
            <a:gradFill>
              <a:gsLst>
                <a:gs pos="0">
                  <a:schemeClr val="accent4"/>
                </a:gs>
                <a:gs pos="100000">
                  <a:schemeClr val="tx2"/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300"/>
                </a:spcBef>
              </a:pPr>
              <a:endParaRPr lang="en-US" b="1">
                <a:solidFill>
                  <a:schemeClr val="bg1"/>
                </a:solidFill>
              </a:endParaRPr>
            </a:p>
          </p:txBody>
        </p:sp>
      </p:grp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40A8EC81-B67B-43E4-A9FA-E8757C370A09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721935" y="1603531"/>
            <a:ext cx="2430734" cy="138499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el diam se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</p:txBody>
      </p:sp>
      <p:sp>
        <p:nvSpPr>
          <p:cNvPr id="39" name="Oval 38">
            <a:extLst>
              <a:ext uri="{FF2B5EF4-FFF2-40B4-BE49-F238E27FC236}">
                <a16:creationId xmlns="" xmlns:a16="http://schemas.microsoft.com/office/drawing/2014/main" id="{0FF53703-AC41-4AB6-B9D3-0A38CB7237AF}"/>
              </a:ext>
            </a:extLst>
          </p:cNvPr>
          <p:cNvSpPr/>
          <p:nvPr/>
        </p:nvSpPr>
        <p:spPr>
          <a:xfrm>
            <a:off x="7112000" y="2039167"/>
            <a:ext cx="522351" cy="522351"/>
          </a:xfrm>
          <a:prstGeom prst="ellipse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+mj-lt"/>
              </a:rPr>
              <a:t>01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="" xmlns:a16="http://schemas.microsoft.com/office/drawing/2014/main" id="{6173C9E2-166E-4C6E-960B-B3D7908818B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224672" y="3141310"/>
            <a:ext cx="2447048" cy="138499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el diam se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</p:txBody>
      </p:sp>
      <p:sp>
        <p:nvSpPr>
          <p:cNvPr id="41" name="Oval 40">
            <a:extLst>
              <a:ext uri="{FF2B5EF4-FFF2-40B4-BE49-F238E27FC236}">
                <a16:creationId xmlns="" xmlns:a16="http://schemas.microsoft.com/office/drawing/2014/main" id="{2D951F34-AEA5-4ABA-B407-DF3E68EA980B}"/>
              </a:ext>
            </a:extLst>
          </p:cNvPr>
          <p:cNvSpPr/>
          <p:nvPr/>
        </p:nvSpPr>
        <p:spPr>
          <a:xfrm>
            <a:off x="8614738" y="3572632"/>
            <a:ext cx="522351" cy="522351"/>
          </a:xfrm>
          <a:prstGeom prst="ellipse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+mj-lt"/>
              </a:rPr>
              <a:t>02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="" xmlns:a16="http://schemas.microsoft.com/office/drawing/2014/main" id="{E3FF36FF-995C-4C55-BCFC-754A94D325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973871" y="4679088"/>
            <a:ext cx="2430734" cy="138499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el diam se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</p:txBody>
      </p:sp>
      <p:sp>
        <p:nvSpPr>
          <p:cNvPr id="43" name="Oval 42">
            <a:extLst>
              <a:ext uri="{FF2B5EF4-FFF2-40B4-BE49-F238E27FC236}">
                <a16:creationId xmlns="" xmlns:a16="http://schemas.microsoft.com/office/drawing/2014/main" id="{76DC611B-35A9-445B-9280-5E0D8385F6A2}"/>
              </a:ext>
            </a:extLst>
          </p:cNvPr>
          <p:cNvSpPr/>
          <p:nvPr/>
        </p:nvSpPr>
        <p:spPr>
          <a:xfrm>
            <a:off x="4510154" y="5110410"/>
            <a:ext cx="522351" cy="522351"/>
          </a:xfrm>
          <a:prstGeom prst="ellipse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+mj-lt"/>
              </a:rPr>
              <a:t>03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="" xmlns:a16="http://schemas.microsoft.com/office/drawing/2014/main" id="{3127618A-9FE6-4D26-95FF-E77B2864657B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519967" y="3141310"/>
            <a:ext cx="2430734" cy="138499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el diam se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</p:txBody>
      </p:sp>
      <p:sp>
        <p:nvSpPr>
          <p:cNvPr id="45" name="Oval 44">
            <a:extLst>
              <a:ext uri="{FF2B5EF4-FFF2-40B4-BE49-F238E27FC236}">
                <a16:creationId xmlns="" xmlns:a16="http://schemas.microsoft.com/office/drawing/2014/main" id="{56D7A906-D9C6-43ED-9B59-CBB385C410AE}"/>
              </a:ext>
            </a:extLst>
          </p:cNvPr>
          <p:cNvSpPr/>
          <p:nvPr/>
        </p:nvSpPr>
        <p:spPr>
          <a:xfrm>
            <a:off x="3056250" y="3572632"/>
            <a:ext cx="522351" cy="522351"/>
          </a:xfrm>
          <a:prstGeom prst="ellipse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2"/>
                </a:solidFill>
                <a:latin typeface="+mj-lt"/>
              </a:rPr>
              <a:t>04</a:t>
            </a:r>
          </a:p>
        </p:txBody>
      </p:sp>
    </p:spTree>
    <p:extLst>
      <p:ext uri="{BB962C8B-B14F-4D97-AF65-F5344CB8AC3E}">
        <p14:creationId xmlns="" xmlns:p14="http://schemas.microsoft.com/office/powerpoint/2010/main" val="29520220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8505CDED-13AE-40F0-87D6-E4A6DDAE0C42}"/>
              </a:ext>
            </a:extLst>
          </p:cNvPr>
          <p:cNvSpPr txBox="1"/>
          <p:nvPr/>
        </p:nvSpPr>
        <p:spPr>
          <a:xfrm>
            <a:off x="391886" y="138113"/>
            <a:ext cx="11408228" cy="6771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400" dirty="0">
                <a:solidFill>
                  <a:schemeClr val="tx2"/>
                </a:solidFill>
                <a:latin typeface="+mj-lt"/>
              </a:rPr>
              <a:t>SUPPLY CHAIN</a:t>
            </a:r>
            <a:endParaRPr lang="en-ID" sz="4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650DC6E6-7E8C-4810-BA99-8139F7C1E125}"/>
              </a:ext>
            </a:extLst>
          </p:cNvPr>
          <p:cNvSpPr/>
          <p:nvPr/>
        </p:nvSpPr>
        <p:spPr>
          <a:xfrm>
            <a:off x="334962" y="815221"/>
            <a:ext cx="1152207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olo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sit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vel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diam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sed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ID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ID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ea typeface="Cambria" panose="02040503050406030204" pitchFamily="18" charset="0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D372E057-0BFB-4CB4-8BB3-967DEB9AF7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1BA98C-1060-4864-8096-9350DC016A42}" type="datetime1">
              <a:rPr lang="en-ID" smtClean="0"/>
              <a:pPr/>
              <a:t>6/27/2020</a:t>
            </a:fld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24DC781-AC70-4CCD-8B70-39BA47EBA0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F89122-6C24-49FD-BEBC-7A811562A5F5}" type="slidenum">
              <a:rPr lang="en-ID" smtClean="0"/>
              <a:pPr/>
              <a:t>9</a:t>
            </a:fld>
            <a:endParaRPr lang="en-ID"/>
          </a:p>
        </p:txBody>
      </p:sp>
      <p:sp>
        <p:nvSpPr>
          <p:cNvPr id="52" name="Block Arc 51">
            <a:extLst>
              <a:ext uri="{FF2B5EF4-FFF2-40B4-BE49-F238E27FC236}">
                <a16:creationId xmlns="" xmlns:a16="http://schemas.microsoft.com/office/drawing/2014/main" id="{F4B3CEFB-3BF3-4D07-AB43-4D2A5ED55678}"/>
              </a:ext>
            </a:extLst>
          </p:cNvPr>
          <p:cNvSpPr/>
          <p:nvPr/>
        </p:nvSpPr>
        <p:spPr>
          <a:xfrm>
            <a:off x="8266204" y="1584001"/>
            <a:ext cx="2854234" cy="2854234"/>
          </a:xfrm>
          <a:prstGeom prst="blockArc">
            <a:avLst>
              <a:gd name="adj1" fmla="val 10800000"/>
              <a:gd name="adj2" fmla="val 0"/>
              <a:gd name="adj3" fmla="val 1609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3" name="Block Arc 52">
            <a:extLst>
              <a:ext uri="{FF2B5EF4-FFF2-40B4-BE49-F238E27FC236}">
                <a16:creationId xmlns="" xmlns:a16="http://schemas.microsoft.com/office/drawing/2014/main" id="{3BFBF09B-FB9B-48FC-8042-39C108ACE8A7}"/>
              </a:ext>
            </a:extLst>
          </p:cNvPr>
          <p:cNvSpPr/>
          <p:nvPr/>
        </p:nvSpPr>
        <p:spPr>
          <a:xfrm>
            <a:off x="3475129" y="1584001"/>
            <a:ext cx="2854234" cy="2854234"/>
          </a:xfrm>
          <a:prstGeom prst="blockArc">
            <a:avLst>
              <a:gd name="adj1" fmla="val 10800000"/>
              <a:gd name="adj2" fmla="val 0"/>
              <a:gd name="adj3" fmla="val 1609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4" name="Block Arc 53">
            <a:extLst>
              <a:ext uri="{FF2B5EF4-FFF2-40B4-BE49-F238E27FC236}">
                <a16:creationId xmlns="" xmlns:a16="http://schemas.microsoft.com/office/drawing/2014/main" id="{0E3E7C7D-9CCA-4244-BDBC-2E6CE69A8ECA}"/>
              </a:ext>
            </a:extLst>
          </p:cNvPr>
          <p:cNvSpPr/>
          <p:nvPr/>
        </p:nvSpPr>
        <p:spPr>
          <a:xfrm>
            <a:off x="1071563" y="1584001"/>
            <a:ext cx="2854234" cy="2854234"/>
          </a:xfrm>
          <a:prstGeom prst="blockArc">
            <a:avLst>
              <a:gd name="adj1" fmla="val 10800000"/>
              <a:gd name="adj2" fmla="val 0"/>
              <a:gd name="adj3" fmla="val 16096"/>
            </a:avLst>
          </a:pr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5" name="Block Arc 54">
            <a:extLst>
              <a:ext uri="{FF2B5EF4-FFF2-40B4-BE49-F238E27FC236}">
                <a16:creationId xmlns="" xmlns:a16="http://schemas.microsoft.com/office/drawing/2014/main" id="{AC89D582-C7F0-4EFA-8DEA-51DC2BC653ED}"/>
              </a:ext>
            </a:extLst>
          </p:cNvPr>
          <p:cNvSpPr/>
          <p:nvPr/>
        </p:nvSpPr>
        <p:spPr>
          <a:xfrm flipV="1">
            <a:off x="1071563" y="1620647"/>
            <a:ext cx="2854234" cy="2854234"/>
          </a:xfrm>
          <a:prstGeom prst="blockArc">
            <a:avLst>
              <a:gd name="adj1" fmla="val 10800000"/>
              <a:gd name="adj2" fmla="val 0"/>
              <a:gd name="adj3" fmla="val 1609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>
              <a:solidFill>
                <a:schemeClr val="tx1"/>
              </a:solidFill>
            </a:endParaRPr>
          </a:p>
        </p:txBody>
      </p:sp>
      <p:sp>
        <p:nvSpPr>
          <p:cNvPr id="56" name="Block Arc 55">
            <a:extLst>
              <a:ext uri="{FF2B5EF4-FFF2-40B4-BE49-F238E27FC236}">
                <a16:creationId xmlns="" xmlns:a16="http://schemas.microsoft.com/office/drawing/2014/main" id="{E80DFB69-5BC8-439F-B8AE-9825618941E0}"/>
              </a:ext>
            </a:extLst>
          </p:cNvPr>
          <p:cNvSpPr/>
          <p:nvPr/>
        </p:nvSpPr>
        <p:spPr>
          <a:xfrm flipV="1">
            <a:off x="3475129" y="1620647"/>
            <a:ext cx="2854234" cy="2854234"/>
          </a:xfrm>
          <a:prstGeom prst="blockArc">
            <a:avLst>
              <a:gd name="adj1" fmla="val 10800000"/>
              <a:gd name="adj2" fmla="val 0"/>
              <a:gd name="adj3" fmla="val 16096"/>
            </a:avLst>
          </a:pr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>
              <a:solidFill>
                <a:schemeClr val="tx1"/>
              </a:solidFill>
            </a:endParaRPr>
          </a:p>
        </p:txBody>
      </p:sp>
      <p:sp>
        <p:nvSpPr>
          <p:cNvPr id="57" name="Block Arc 56">
            <a:extLst>
              <a:ext uri="{FF2B5EF4-FFF2-40B4-BE49-F238E27FC236}">
                <a16:creationId xmlns="" xmlns:a16="http://schemas.microsoft.com/office/drawing/2014/main" id="{56667D99-1A5A-440C-96D4-5AE9495C0943}"/>
              </a:ext>
            </a:extLst>
          </p:cNvPr>
          <p:cNvSpPr/>
          <p:nvPr/>
        </p:nvSpPr>
        <p:spPr>
          <a:xfrm>
            <a:off x="5875429" y="1584001"/>
            <a:ext cx="2854234" cy="2854234"/>
          </a:xfrm>
          <a:prstGeom prst="blockArc">
            <a:avLst>
              <a:gd name="adj1" fmla="val 10800000"/>
              <a:gd name="adj2" fmla="val 0"/>
              <a:gd name="adj3" fmla="val 16096"/>
            </a:avLst>
          </a:pr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8" name="Block Arc 57">
            <a:extLst>
              <a:ext uri="{FF2B5EF4-FFF2-40B4-BE49-F238E27FC236}">
                <a16:creationId xmlns="" xmlns:a16="http://schemas.microsoft.com/office/drawing/2014/main" id="{C37C14A1-8F02-4FF3-ABDC-71CFF36109BA}"/>
              </a:ext>
            </a:extLst>
          </p:cNvPr>
          <p:cNvSpPr/>
          <p:nvPr/>
        </p:nvSpPr>
        <p:spPr>
          <a:xfrm flipV="1">
            <a:off x="5875429" y="1620647"/>
            <a:ext cx="2854234" cy="2854234"/>
          </a:xfrm>
          <a:prstGeom prst="blockArc">
            <a:avLst>
              <a:gd name="adj1" fmla="val 10800000"/>
              <a:gd name="adj2" fmla="val 0"/>
              <a:gd name="adj3" fmla="val 16096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>
              <a:solidFill>
                <a:schemeClr val="tx1"/>
              </a:solidFill>
            </a:endParaRPr>
          </a:p>
        </p:txBody>
      </p:sp>
      <p:sp>
        <p:nvSpPr>
          <p:cNvPr id="59" name="Block Arc 58">
            <a:extLst>
              <a:ext uri="{FF2B5EF4-FFF2-40B4-BE49-F238E27FC236}">
                <a16:creationId xmlns="" xmlns:a16="http://schemas.microsoft.com/office/drawing/2014/main" id="{A2674485-5908-46F1-BD14-9E654164E19B}"/>
              </a:ext>
            </a:extLst>
          </p:cNvPr>
          <p:cNvSpPr/>
          <p:nvPr/>
        </p:nvSpPr>
        <p:spPr>
          <a:xfrm flipV="1">
            <a:off x="8266204" y="1620647"/>
            <a:ext cx="2854234" cy="2854234"/>
          </a:xfrm>
          <a:prstGeom prst="blockArc">
            <a:avLst>
              <a:gd name="adj1" fmla="val 10800000"/>
              <a:gd name="adj2" fmla="val 0"/>
              <a:gd name="adj3" fmla="val 16096"/>
            </a:avLst>
          </a:prstGeom>
          <a:gradFill>
            <a:gsLst>
              <a:gs pos="0">
                <a:schemeClr val="accent4"/>
              </a:gs>
              <a:gs pos="100000">
                <a:schemeClr val="tx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>
              <a:solidFill>
                <a:schemeClr val="tx1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="" xmlns:a16="http://schemas.microsoft.com/office/drawing/2014/main" id="{EEA33782-7A7E-4D41-81B3-F50E206F5DD2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283313" y="4608142"/>
            <a:ext cx="2430734" cy="138499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el diam se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="" xmlns:a16="http://schemas.microsoft.com/office/drawing/2014/main" id="{2DB7BD0B-175A-494D-871C-CFFA2385BD2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681526" y="4608142"/>
            <a:ext cx="2430734" cy="138499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el diam se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="" xmlns:a16="http://schemas.microsoft.com/office/drawing/2014/main" id="{3A71C9F2-634E-46AD-9325-47516FC1ED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079739" y="4608142"/>
            <a:ext cx="2430734" cy="138499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el diam se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="" xmlns:a16="http://schemas.microsoft.com/office/drawing/2014/main" id="{EE801752-C377-4A58-80CA-F6C4BD36629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8477953" y="4608142"/>
            <a:ext cx="2430734" cy="138499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ctr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orem ipsum dolor sit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me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sectetur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adipiscing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eli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Praese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n lacinia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massa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, a pharetra ante.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Nullam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condimentum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vel diam sed </a:t>
            </a:r>
            <a:r>
              <a:rPr lang="en-US" sz="14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tincidunt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="" xmlns:a16="http://schemas.microsoft.com/office/drawing/2014/main" id="{B948E77D-5CEE-4261-9A51-8995B9C0CA16}"/>
              </a:ext>
            </a:extLst>
          </p:cNvPr>
          <p:cNvGrpSpPr/>
          <p:nvPr/>
        </p:nvGrpSpPr>
        <p:grpSpPr>
          <a:xfrm>
            <a:off x="2200909" y="2749993"/>
            <a:ext cx="595542" cy="595542"/>
            <a:chOff x="9317038" y="769938"/>
            <a:chExt cx="287338" cy="287337"/>
          </a:xfrm>
          <a:solidFill>
            <a:schemeClr val="tx2"/>
          </a:solidFill>
        </p:grpSpPr>
        <p:sp>
          <p:nvSpPr>
            <p:cNvPr id="75" name="Freeform 317">
              <a:extLst>
                <a:ext uri="{FF2B5EF4-FFF2-40B4-BE49-F238E27FC236}">
                  <a16:creationId xmlns="" xmlns:a16="http://schemas.microsoft.com/office/drawing/2014/main" id="{C9007DC9-FDC3-4F98-A651-ED8A3CA58BBE}"/>
                </a:ext>
              </a:extLst>
            </p:cNvPr>
            <p:cNvSpPr>
              <a:spLocks/>
            </p:cNvSpPr>
            <p:nvPr/>
          </p:nvSpPr>
          <p:spPr bwMode="auto">
            <a:xfrm>
              <a:off x="9509126" y="769938"/>
              <a:ext cx="33338" cy="52387"/>
            </a:xfrm>
            <a:custGeom>
              <a:avLst/>
              <a:gdLst>
                <a:gd name="T0" fmla="*/ 18 w 106"/>
                <a:gd name="T1" fmla="*/ 165 h 166"/>
                <a:gd name="T2" fmla="*/ 24 w 106"/>
                <a:gd name="T3" fmla="*/ 163 h 166"/>
                <a:gd name="T4" fmla="*/ 28 w 106"/>
                <a:gd name="T5" fmla="*/ 159 h 166"/>
                <a:gd name="T6" fmla="*/ 30 w 106"/>
                <a:gd name="T7" fmla="*/ 154 h 166"/>
                <a:gd name="T8" fmla="*/ 31 w 106"/>
                <a:gd name="T9" fmla="*/ 142 h 166"/>
                <a:gd name="T10" fmla="*/ 36 w 106"/>
                <a:gd name="T11" fmla="*/ 127 h 166"/>
                <a:gd name="T12" fmla="*/ 42 w 106"/>
                <a:gd name="T13" fmla="*/ 117 h 166"/>
                <a:gd name="T14" fmla="*/ 53 w 106"/>
                <a:gd name="T15" fmla="*/ 108 h 166"/>
                <a:gd name="T16" fmla="*/ 67 w 106"/>
                <a:gd name="T17" fmla="*/ 100 h 166"/>
                <a:gd name="T18" fmla="*/ 83 w 106"/>
                <a:gd name="T19" fmla="*/ 86 h 166"/>
                <a:gd name="T20" fmla="*/ 94 w 106"/>
                <a:gd name="T21" fmla="*/ 72 h 166"/>
                <a:gd name="T22" fmla="*/ 99 w 106"/>
                <a:gd name="T23" fmla="*/ 59 h 166"/>
                <a:gd name="T24" fmla="*/ 103 w 106"/>
                <a:gd name="T25" fmla="*/ 44 h 166"/>
                <a:gd name="T26" fmla="*/ 105 w 106"/>
                <a:gd name="T27" fmla="*/ 26 h 166"/>
                <a:gd name="T28" fmla="*/ 105 w 106"/>
                <a:gd name="T29" fmla="*/ 12 h 166"/>
                <a:gd name="T30" fmla="*/ 103 w 106"/>
                <a:gd name="T31" fmla="*/ 7 h 166"/>
                <a:gd name="T32" fmla="*/ 100 w 106"/>
                <a:gd name="T33" fmla="*/ 3 h 166"/>
                <a:gd name="T34" fmla="*/ 94 w 106"/>
                <a:gd name="T35" fmla="*/ 1 h 166"/>
                <a:gd name="T36" fmla="*/ 88 w 106"/>
                <a:gd name="T37" fmla="*/ 1 h 166"/>
                <a:gd name="T38" fmla="*/ 83 w 106"/>
                <a:gd name="T39" fmla="*/ 3 h 166"/>
                <a:gd name="T40" fmla="*/ 78 w 106"/>
                <a:gd name="T41" fmla="*/ 7 h 166"/>
                <a:gd name="T42" fmla="*/ 76 w 106"/>
                <a:gd name="T43" fmla="*/ 12 h 166"/>
                <a:gd name="T44" fmla="*/ 75 w 106"/>
                <a:gd name="T45" fmla="*/ 30 h 166"/>
                <a:gd name="T46" fmla="*/ 70 w 106"/>
                <a:gd name="T47" fmla="*/ 51 h 166"/>
                <a:gd name="T48" fmla="*/ 61 w 106"/>
                <a:gd name="T49" fmla="*/ 66 h 166"/>
                <a:gd name="T50" fmla="*/ 48 w 106"/>
                <a:gd name="T51" fmla="*/ 75 h 166"/>
                <a:gd name="T52" fmla="*/ 35 w 106"/>
                <a:gd name="T53" fmla="*/ 85 h 166"/>
                <a:gd name="T54" fmla="*/ 21 w 106"/>
                <a:gd name="T55" fmla="*/ 96 h 166"/>
                <a:gd name="T56" fmla="*/ 9 w 106"/>
                <a:gd name="T57" fmla="*/ 113 h 166"/>
                <a:gd name="T58" fmla="*/ 1 w 106"/>
                <a:gd name="T59" fmla="*/ 135 h 166"/>
                <a:gd name="T60" fmla="*/ 1 w 106"/>
                <a:gd name="T61" fmla="*/ 154 h 166"/>
                <a:gd name="T62" fmla="*/ 3 w 106"/>
                <a:gd name="T63" fmla="*/ 159 h 166"/>
                <a:gd name="T64" fmla="*/ 8 w 106"/>
                <a:gd name="T65" fmla="*/ 163 h 166"/>
                <a:gd name="T66" fmla="*/ 13 w 106"/>
                <a:gd name="T67" fmla="*/ 16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" h="166">
                  <a:moveTo>
                    <a:pt x="15" y="166"/>
                  </a:moveTo>
                  <a:lnTo>
                    <a:pt x="18" y="165"/>
                  </a:lnTo>
                  <a:lnTo>
                    <a:pt x="22" y="165"/>
                  </a:lnTo>
                  <a:lnTo>
                    <a:pt x="24" y="163"/>
                  </a:lnTo>
                  <a:lnTo>
                    <a:pt x="26" y="162"/>
                  </a:lnTo>
                  <a:lnTo>
                    <a:pt x="28" y="159"/>
                  </a:lnTo>
                  <a:lnTo>
                    <a:pt x="29" y="157"/>
                  </a:lnTo>
                  <a:lnTo>
                    <a:pt x="30" y="154"/>
                  </a:lnTo>
                  <a:lnTo>
                    <a:pt x="31" y="151"/>
                  </a:lnTo>
                  <a:lnTo>
                    <a:pt x="31" y="142"/>
                  </a:lnTo>
                  <a:lnTo>
                    <a:pt x="32" y="133"/>
                  </a:lnTo>
                  <a:lnTo>
                    <a:pt x="36" y="127"/>
                  </a:lnTo>
                  <a:lnTo>
                    <a:pt x="39" y="121"/>
                  </a:lnTo>
                  <a:lnTo>
                    <a:pt x="42" y="117"/>
                  </a:lnTo>
                  <a:lnTo>
                    <a:pt x="47" y="113"/>
                  </a:lnTo>
                  <a:lnTo>
                    <a:pt x="53" y="108"/>
                  </a:lnTo>
                  <a:lnTo>
                    <a:pt x="58" y="105"/>
                  </a:lnTo>
                  <a:lnTo>
                    <a:pt x="67" y="100"/>
                  </a:lnTo>
                  <a:lnTo>
                    <a:pt x="75" y="93"/>
                  </a:lnTo>
                  <a:lnTo>
                    <a:pt x="83" y="86"/>
                  </a:lnTo>
                  <a:lnTo>
                    <a:pt x="90" y="76"/>
                  </a:lnTo>
                  <a:lnTo>
                    <a:pt x="94" y="72"/>
                  </a:lnTo>
                  <a:lnTo>
                    <a:pt x="97" y="66"/>
                  </a:lnTo>
                  <a:lnTo>
                    <a:pt x="99" y="59"/>
                  </a:lnTo>
                  <a:lnTo>
                    <a:pt x="102" y="52"/>
                  </a:lnTo>
                  <a:lnTo>
                    <a:pt x="103" y="44"/>
                  </a:lnTo>
                  <a:lnTo>
                    <a:pt x="105" y="36"/>
                  </a:lnTo>
                  <a:lnTo>
                    <a:pt x="105" y="26"/>
                  </a:lnTo>
                  <a:lnTo>
                    <a:pt x="106" y="15"/>
                  </a:lnTo>
                  <a:lnTo>
                    <a:pt x="105" y="12"/>
                  </a:lnTo>
                  <a:lnTo>
                    <a:pt x="105" y="10"/>
                  </a:lnTo>
                  <a:lnTo>
                    <a:pt x="103" y="7"/>
                  </a:lnTo>
                  <a:lnTo>
                    <a:pt x="102" y="4"/>
                  </a:lnTo>
                  <a:lnTo>
                    <a:pt x="100" y="3"/>
                  </a:lnTo>
                  <a:lnTo>
                    <a:pt x="97" y="1"/>
                  </a:lnTo>
                  <a:lnTo>
                    <a:pt x="94" y="1"/>
                  </a:lnTo>
                  <a:lnTo>
                    <a:pt x="91" y="0"/>
                  </a:lnTo>
                  <a:lnTo>
                    <a:pt x="88" y="1"/>
                  </a:lnTo>
                  <a:lnTo>
                    <a:pt x="85" y="1"/>
                  </a:lnTo>
                  <a:lnTo>
                    <a:pt x="83" y="3"/>
                  </a:lnTo>
                  <a:lnTo>
                    <a:pt x="81" y="4"/>
                  </a:lnTo>
                  <a:lnTo>
                    <a:pt x="78" y="7"/>
                  </a:lnTo>
                  <a:lnTo>
                    <a:pt x="77" y="10"/>
                  </a:lnTo>
                  <a:lnTo>
                    <a:pt x="76" y="12"/>
                  </a:lnTo>
                  <a:lnTo>
                    <a:pt x="76" y="15"/>
                  </a:lnTo>
                  <a:lnTo>
                    <a:pt x="75" y="30"/>
                  </a:lnTo>
                  <a:lnTo>
                    <a:pt x="73" y="42"/>
                  </a:lnTo>
                  <a:lnTo>
                    <a:pt x="70" y="51"/>
                  </a:lnTo>
                  <a:lnTo>
                    <a:pt x="66" y="59"/>
                  </a:lnTo>
                  <a:lnTo>
                    <a:pt x="61" y="66"/>
                  </a:lnTo>
                  <a:lnTo>
                    <a:pt x="55" y="70"/>
                  </a:lnTo>
                  <a:lnTo>
                    <a:pt x="48" y="75"/>
                  </a:lnTo>
                  <a:lnTo>
                    <a:pt x="42" y="80"/>
                  </a:lnTo>
                  <a:lnTo>
                    <a:pt x="35" y="85"/>
                  </a:lnTo>
                  <a:lnTo>
                    <a:pt x="28" y="90"/>
                  </a:lnTo>
                  <a:lnTo>
                    <a:pt x="21" y="96"/>
                  </a:lnTo>
                  <a:lnTo>
                    <a:pt x="14" y="103"/>
                  </a:lnTo>
                  <a:lnTo>
                    <a:pt x="9" y="113"/>
                  </a:lnTo>
                  <a:lnTo>
                    <a:pt x="4" y="124"/>
                  </a:lnTo>
                  <a:lnTo>
                    <a:pt x="1" y="135"/>
                  </a:lnTo>
                  <a:lnTo>
                    <a:pt x="0" y="151"/>
                  </a:lnTo>
                  <a:lnTo>
                    <a:pt x="1" y="154"/>
                  </a:lnTo>
                  <a:lnTo>
                    <a:pt x="2" y="157"/>
                  </a:lnTo>
                  <a:lnTo>
                    <a:pt x="3" y="159"/>
                  </a:lnTo>
                  <a:lnTo>
                    <a:pt x="6" y="162"/>
                  </a:lnTo>
                  <a:lnTo>
                    <a:pt x="8" y="163"/>
                  </a:lnTo>
                  <a:lnTo>
                    <a:pt x="10" y="165"/>
                  </a:lnTo>
                  <a:lnTo>
                    <a:pt x="13" y="165"/>
                  </a:lnTo>
                  <a:lnTo>
                    <a:pt x="15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318">
              <a:extLst>
                <a:ext uri="{FF2B5EF4-FFF2-40B4-BE49-F238E27FC236}">
                  <a16:creationId xmlns="" xmlns:a16="http://schemas.microsoft.com/office/drawing/2014/main" id="{9A2884FD-C3D7-4B6F-B213-4601DE3D1FF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7701" y="769938"/>
              <a:ext cx="33338" cy="52387"/>
            </a:xfrm>
            <a:custGeom>
              <a:avLst/>
              <a:gdLst>
                <a:gd name="T0" fmla="*/ 19 w 105"/>
                <a:gd name="T1" fmla="*/ 165 h 166"/>
                <a:gd name="T2" fmla="*/ 24 w 105"/>
                <a:gd name="T3" fmla="*/ 163 h 166"/>
                <a:gd name="T4" fmla="*/ 27 w 105"/>
                <a:gd name="T5" fmla="*/ 159 h 166"/>
                <a:gd name="T6" fmla="*/ 29 w 105"/>
                <a:gd name="T7" fmla="*/ 154 h 166"/>
                <a:gd name="T8" fmla="*/ 30 w 105"/>
                <a:gd name="T9" fmla="*/ 142 h 166"/>
                <a:gd name="T10" fmla="*/ 35 w 105"/>
                <a:gd name="T11" fmla="*/ 127 h 166"/>
                <a:gd name="T12" fmla="*/ 42 w 105"/>
                <a:gd name="T13" fmla="*/ 117 h 166"/>
                <a:gd name="T14" fmla="*/ 52 w 105"/>
                <a:gd name="T15" fmla="*/ 108 h 166"/>
                <a:gd name="T16" fmla="*/ 66 w 105"/>
                <a:gd name="T17" fmla="*/ 100 h 166"/>
                <a:gd name="T18" fmla="*/ 82 w 105"/>
                <a:gd name="T19" fmla="*/ 86 h 166"/>
                <a:gd name="T20" fmla="*/ 93 w 105"/>
                <a:gd name="T21" fmla="*/ 72 h 166"/>
                <a:gd name="T22" fmla="*/ 99 w 105"/>
                <a:gd name="T23" fmla="*/ 59 h 166"/>
                <a:gd name="T24" fmla="*/ 103 w 105"/>
                <a:gd name="T25" fmla="*/ 44 h 166"/>
                <a:gd name="T26" fmla="*/ 105 w 105"/>
                <a:gd name="T27" fmla="*/ 26 h 166"/>
                <a:gd name="T28" fmla="*/ 105 w 105"/>
                <a:gd name="T29" fmla="*/ 12 h 166"/>
                <a:gd name="T30" fmla="*/ 103 w 105"/>
                <a:gd name="T31" fmla="*/ 7 h 166"/>
                <a:gd name="T32" fmla="*/ 99 w 105"/>
                <a:gd name="T33" fmla="*/ 3 h 166"/>
                <a:gd name="T34" fmla="*/ 94 w 105"/>
                <a:gd name="T35" fmla="*/ 1 h 166"/>
                <a:gd name="T36" fmla="*/ 87 w 105"/>
                <a:gd name="T37" fmla="*/ 1 h 166"/>
                <a:gd name="T38" fmla="*/ 82 w 105"/>
                <a:gd name="T39" fmla="*/ 3 h 166"/>
                <a:gd name="T40" fmla="*/ 78 w 105"/>
                <a:gd name="T41" fmla="*/ 7 h 166"/>
                <a:gd name="T42" fmla="*/ 75 w 105"/>
                <a:gd name="T43" fmla="*/ 12 h 166"/>
                <a:gd name="T44" fmla="*/ 74 w 105"/>
                <a:gd name="T45" fmla="*/ 30 h 166"/>
                <a:gd name="T46" fmla="*/ 69 w 105"/>
                <a:gd name="T47" fmla="*/ 51 h 166"/>
                <a:gd name="T48" fmla="*/ 60 w 105"/>
                <a:gd name="T49" fmla="*/ 66 h 166"/>
                <a:gd name="T50" fmla="*/ 49 w 105"/>
                <a:gd name="T51" fmla="*/ 75 h 166"/>
                <a:gd name="T52" fmla="*/ 35 w 105"/>
                <a:gd name="T53" fmla="*/ 85 h 166"/>
                <a:gd name="T54" fmla="*/ 20 w 105"/>
                <a:gd name="T55" fmla="*/ 96 h 166"/>
                <a:gd name="T56" fmla="*/ 8 w 105"/>
                <a:gd name="T57" fmla="*/ 113 h 166"/>
                <a:gd name="T58" fmla="*/ 1 w 105"/>
                <a:gd name="T59" fmla="*/ 135 h 166"/>
                <a:gd name="T60" fmla="*/ 0 w 105"/>
                <a:gd name="T61" fmla="*/ 154 h 166"/>
                <a:gd name="T62" fmla="*/ 3 w 105"/>
                <a:gd name="T63" fmla="*/ 159 h 166"/>
                <a:gd name="T64" fmla="*/ 7 w 105"/>
                <a:gd name="T65" fmla="*/ 163 h 166"/>
                <a:gd name="T66" fmla="*/ 12 w 105"/>
                <a:gd name="T67" fmla="*/ 165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" h="166">
                  <a:moveTo>
                    <a:pt x="15" y="166"/>
                  </a:moveTo>
                  <a:lnTo>
                    <a:pt x="19" y="165"/>
                  </a:lnTo>
                  <a:lnTo>
                    <a:pt x="21" y="165"/>
                  </a:lnTo>
                  <a:lnTo>
                    <a:pt x="24" y="163"/>
                  </a:lnTo>
                  <a:lnTo>
                    <a:pt x="26" y="162"/>
                  </a:lnTo>
                  <a:lnTo>
                    <a:pt x="27" y="159"/>
                  </a:lnTo>
                  <a:lnTo>
                    <a:pt x="29" y="157"/>
                  </a:lnTo>
                  <a:lnTo>
                    <a:pt x="29" y="154"/>
                  </a:lnTo>
                  <a:lnTo>
                    <a:pt x="30" y="151"/>
                  </a:lnTo>
                  <a:lnTo>
                    <a:pt x="30" y="142"/>
                  </a:lnTo>
                  <a:lnTo>
                    <a:pt x="33" y="133"/>
                  </a:lnTo>
                  <a:lnTo>
                    <a:pt x="35" y="127"/>
                  </a:lnTo>
                  <a:lnTo>
                    <a:pt x="38" y="121"/>
                  </a:lnTo>
                  <a:lnTo>
                    <a:pt x="42" y="117"/>
                  </a:lnTo>
                  <a:lnTo>
                    <a:pt x="46" y="113"/>
                  </a:lnTo>
                  <a:lnTo>
                    <a:pt x="52" y="108"/>
                  </a:lnTo>
                  <a:lnTo>
                    <a:pt x="58" y="105"/>
                  </a:lnTo>
                  <a:lnTo>
                    <a:pt x="66" y="100"/>
                  </a:lnTo>
                  <a:lnTo>
                    <a:pt x="74" y="93"/>
                  </a:lnTo>
                  <a:lnTo>
                    <a:pt x="82" y="86"/>
                  </a:lnTo>
                  <a:lnTo>
                    <a:pt x="89" y="76"/>
                  </a:lnTo>
                  <a:lnTo>
                    <a:pt x="93" y="72"/>
                  </a:lnTo>
                  <a:lnTo>
                    <a:pt x="96" y="66"/>
                  </a:lnTo>
                  <a:lnTo>
                    <a:pt x="99" y="59"/>
                  </a:lnTo>
                  <a:lnTo>
                    <a:pt x="101" y="52"/>
                  </a:lnTo>
                  <a:lnTo>
                    <a:pt x="103" y="44"/>
                  </a:lnTo>
                  <a:lnTo>
                    <a:pt x="104" y="36"/>
                  </a:lnTo>
                  <a:lnTo>
                    <a:pt x="105" y="26"/>
                  </a:lnTo>
                  <a:lnTo>
                    <a:pt x="105" y="15"/>
                  </a:lnTo>
                  <a:lnTo>
                    <a:pt x="105" y="12"/>
                  </a:lnTo>
                  <a:lnTo>
                    <a:pt x="104" y="10"/>
                  </a:lnTo>
                  <a:lnTo>
                    <a:pt x="103" y="7"/>
                  </a:lnTo>
                  <a:lnTo>
                    <a:pt x="101" y="4"/>
                  </a:lnTo>
                  <a:lnTo>
                    <a:pt x="99" y="3"/>
                  </a:lnTo>
                  <a:lnTo>
                    <a:pt x="96" y="1"/>
                  </a:lnTo>
                  <a:lnTo>
                    <a:pt x="94" y="1"/>
                  </a:lnTo>
                  <a:lnTo>
                    <a:pt x="90" y="0"/>
                  </a:lnTo>
                  <a:lnTo>
                    <a:pt x="87" y="1"/>
                  </a:lnTo>
                  <a:lnTo>
                    <a:pt x="84" y="1"/>
                  </a:lnTo>
                  <a:lnTo>
                    <a:pt x="82" y="3"/>
                  </a:lnTo>
                  <a:lnTo>
                    <a:pt x="80" y="4"/>
                  </a:lnTo>
                  <a:lnTo>
                    <a:pt x="78" y="7"/>
                  </a:lnTo>
                  <a:lnTo>
                    <a:pt x="77" y="10"/>
                  </a:lnTo>
                  <a:lnTo>
                    <a:pt x="75" y="12"/>
                  </a:lnTo>
                  <a:lnTo>
                    <a:pt x="75" y="15"/>
                  </a:lnTo>
                  <a:lnTo>
                    <a:pt x="74" y="30"/>
                  </a:lnTo>
                  <a:lnTo>
                    <a:pt x="72" y="42"/>
                  </a:lnTo>
                  <a:lnTo>
                    <a:pt x="69" y="51"/>
                  </a:lnTo>
                  <a:lnTo>
                    <a:pt x="66" y="59"/>
                  </a:lnTo>
                  <a:lnTo>
                    <a:pt x="60" y="66"/>
                  </a:lnTo>
                  <a:lnTo>
                    <a:pt x="55" y="70"/>
                  </a:lnTo>
                  <a:lnTo>
                    <a:pt x="49" y="75"/>
                  </a:lnTo>
                  <a:lnTo>
                    <a:pt x="41" y="80"/>
                  </a:lnTo>
                  <a:lnTo>
                    <a:pt x="35" y="85"/>
                  </a:lnTo>
                  <a:lnTo>
                    <a:pt x="27" y="90"/>
                  </a:lnTo>
                  <a:lnTo>
                    <a:pt x="20" y="96"/>
                  </a:lnTo>
                  <a:lnTo>
                    <a:pt x="13" y="103"/>
                  </a:lnTo>
                  <a:lnTo>
                    <a:pt x="8" y="113"/>
                  </a:lnTo>
                  <a:lnTo>
                    <a:pt x="4" y="124"/>
                  </a:lnTo>
                  <a:lnTo>
                    <a:pt x="1" y="135"/>
                  </a:lnTo>
                  <a:lnTo>
                    <a:pt x="0" y="151"/>
                  </a:lnTo>
                  <a:lnTo>
                    <a:pt x="0" y="154"/>
                  </a:lnTo>
                  <a:lnTo>
                    <a:pt x="1" y="157"/>
                  </a:lnTo>
                  <a:lnTo>
                    <a:pt x="3" y="159"/>
                  </a:lnTo>
                  <a:lnTo>
                    <a:pt x="5" y="162"/>
                  </a:lnTo>
                  <a:lnTo>
                    <a:pt x="7" y="163"/>
                  </a:lnTo>
                  <a:lnTo>
                    <a:pt x="9" y="165"/>
                  </a:lnTo>
                  <a:lnTo>
                    <a:pt x="12" y="165"/>
                  </a:lnTo>
                  <a:lnTo>
                    <a:pt x="15" y="1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319">
              <a:extLst>
                <a:ext uri="{FF2B5EF4-FFF2-40B4-BE49-F238E27FC236}">
                  <a16:creationId xmlns="" xmlns:a16="http://schemas.microsoft.com/office/drawing/2014/main" id="{DA9A56B0-F150-4AAE-8B0B-A18BF2347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5138" y="931863"/>
              <a:ext cx="211138" cy="125412"/>
            </a:xfrm>
            <a:custGeom>
              <a:avLst/>
              <a:gdLst>
                <a:gd name="T0" fmla="*/ 647 w 662"/>
                <a:gd name="T1" fmla="*/ 0 h 392"/>
                <a:gd name="T2" fmla="*/ 644 w 662"/>
                <a:gd name="T3" fmla="*/ 1 h 392"/>
                <a:gd name="T4" fmla="*/ 641 w 662"/>
                <a:gd name="T5" fmla="*/ 2 h 392"/>
                <a:gd name="T6" fmla="*/ 639 w 662"/>
                <a:gd name="T7" fmla="*/ 3 h 392"/>
                <a:gd name="T8" fmla="*/ 637 w 662"/>
                <a:gd name="T9" fmla="*/ 5 h 392"/>
                <a:gd name="T10" fmla="*/ 635 w 662"/>
                <a:gd name="T11" fmla="*/ 7 h 392"/>
                <a:gd name="T12" fmla="*/ 633 w 662"/>
                <a:gd name="T13" fmla="*/ 10 h 392"/>
                <a:gd name="T14" fmla="*/ 632 w 662"/>
                <a:gd name="T15" fmla="*/ 13 h 392"/>
                <a:gd name="T16" fmla="*/ 632 w 662"/>
                <a:gd name="T17" fmla="*/ 16 h 392"/>
                <a:gd name="T18" fmla="*/ 632 w 662"/>
                <a:gd name="T19" fmla="*/ 361 h 392"/>
                <a:gd name="T20" fmla="*/ 451 w 662"/>
                <a:gd name="T21" fmla="*/ 361 h 392"/>
                <a:gd name="T22" fmla="*/ 451 w 662"/>
                <a:gd name="T23" fmla="*/ 91 h 392"/>
                <a:gd name="T24" fmla="*/ 211 w 662"/>
                <a:gd name="T25" fmla="*/ 91 h 392"/>
                <a:gd name="T26" fmla="*/ 211 w 662"/>
                <a:gd name="T27" fmla="*/ 361 h 392"/>
                <a:gd name="T28" fmla="*/ 30 w 662"/>
                <a:gd name="T29" fmla="*/ 361 h 392"/>
                <a:gd name="T30" fmla="*/ 30 w 662"/>
                <a:gd name="T31" fmla="*/ 15 h 392"/>
                <a:gd name="T32" fmla="*/ 30 w 662"/>
                <a:gd name="T33" fmla="*/ 13 h 392"/>
                <a:gd name="T34" fmla="*/ 29 w 662"/>
                <a:gd name="T35" fmla="*/ 10 h 392"/>
                <a:gd name="T36" fmla="*/ 28 w 662"/>
                <a:gd name="T37" fmla="*/ 7 h 392"/>
                <a:gd name="T38" fmla="*/ 25 w 662"/>
                <a:gd name="T39" fmla="*/ 5 h 392"/>
                <a:gd name="T40" fmla="*/ 23 w 662"/>
                <a:gd name="T41" fmla="*/ 3 h 392"/>
                <a:gd name="T42" fmla="*/ 21 w 662"/>
                <a:gd name="T43" fmla="*/ 2 h 392"/>
                <a:gd name="T44" fmla="*/ 18 w 662"/>
                <a:gd name="T45" fmla="*/ 1 h 392"/>
                <a:gd name="T46" fmla="*/ 15 w 662"/>
                <a:gd name="T47" fmla="*/ 0 h 392"/>
                <a:gd name="T48" fmla="*/ 13 w 662"/>
                <a:gd name="T49" fmla="*/ 1 h 392"/>
                <a:gd name="T50" fmla="*/ 9 w 662"/>
                <a:gd name="T51" fmla="*/ 2 h 392"/>
                <a:gd name="T52" fmla="*/ 7 w 662"/>
                <a:gd name="T53" fmla="*/ 3 h 392"/>
                <a:gd name="T54" fmla="*/ 4 w 662"/>
                <a:gd name="T55" fmla="*/ 5 h 392"/>
                <a:gd name="T56" fmla="*/ 3 w 662"/>
                <a:gd name="T57" fmla="*/ 7 h 392"/>
                <a:gd name="T58" fmla="*/ 1 w 662"/>
                <a:gd name="T59" fmla="*/ 10 h 392"/>
                <a:gd name="T60" fmla="*/ 1 w 662"/>
                <a:gd name="T61" fmla="*/ 13 h 392"/>
                <a:gd name="T62" fmla="*/ 0 w 662"/>
                <a:gd name="T63" fmla="*/ 16 h 392"/>
                <a:gd name="T64" fmla="*/ 0 w 662"/>
                <a:gd name="T65" fmla="*/ 392 h 392"/>
                <a:gd name="T66" fmla="*/ 241 w 662"/>
                <a:gd name="T67" fmla="*/ 392 h 392"/>
                <a:gd name="T68" fmla="*/ 241 w 662"/>
                <a:gd name="T69" fmla="*/ 121 h 392"/>
                <a:gd name="T70" fmla="*/ 421 w 662"/>
                <a:gd name="T71" fmla="*/ 121 h 392"/>
                <a:gd name="T72" fmla="*/ 421 w 662"/>
                <a:gd name="T73" fmla="*/ 392 h 392"/>
                <a:gd name="T74" fmla="*/ 662 w 662"/>
                <a:gd name="T75" fmla="*/ 392 h 392"/>
                <a:gd name="T76" fmla="*/ 662 w 662"/>
                <a:gd name="T77" fmla="*/ 15 h 392"/>
                <a:gd name="T78" fmla="*/ 662 w 662"/>
                <a:gd name="T79" fmla="*/ 13 h 392"/>
                <a:gd name="T80" fmla="*/ 661 w 662"/>
                <a:gd name="T81" fmla="*/ 10 h 392"/>
                <a:gd name="T82" fmla="*/ 659 w 662"/>
                <a:gd name="T83" fmla="*/ 7 h 392"/>
                <a:gd name="T84" fmla="*/ 658 w 662"/>
                <a:gd name="T85" fmla="*/ 5 h 392"/>
                <a:gd name="T86" fmla="*/ 656 w 662"/>
                <a:gd name="T87" fmla="*/ 3 h 392"/>
                <a:gd name="T88" fmla="*/ 653 w 662"/>
                <a:gd name="T89" fmla="*/ 2 h 392"/>
                <a:gd name="T90" fmla="*/ 651 w 662"/>
                <a:gd name="T91" fmla="*/ 1 h 392"/>
                <a:gd name="T92" fmla="*/ 647 w 662"/>
                <a:gd name="T93" fmla="*/ 0 h 392"/>
                <a:gd name="T94" fmla="*/ 647 w 662"/>
                <a:gd name="T95" fmla="*/ 0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62" h="392">
                  <a:moveTo>
                    <a:pt x="647" y="0"/>
                  </a:moveTo>
                  <a:lnTo>
                    <a:pt x="644" y="1"/>
                  </a:lnTo>
                  <a:lnTo>
                    <a:pt x="641" y="2"/>
                  </a:lnTo>
                  <a:lnTo>
                    <a:pt x="639" y="3"/>
                  </a:lnTo>
                  <a:lnTo>
                    <a:pt x="637" y="5"/>
                  </a:lnTo>
                  <a:lnTo>
                    <a:pt x="635" y="7"/>
                  </a:lnTo>
                  <a:lnTo>
                    <a:pt x="633" y="10"/>
                  </a:lnTo>
                  <a:lnTo>
                    <a:pt x="632" y="13"/>
                  </a:lnTo>
                  <a:lnTo>
                    <a:pt x="632" y="16"/>
                  </a:lnTo>
                  <a:lnTo>
                    <a:pt x="632" y="361"/>
                  </a:lnTo>
                  <a:lnTo>
                    <a:pt x="451" y="361"/>
                  </a:lnTo>
                  <a:lnTo>
                    <a:pt x="451" y="91"/>
                  </a:lnTo>
                  <a:lnTo>
                    <a:pt x="211" y="91"/>
                  </a:lnTo>
                  <a:lnTo>
                    <a:pt x="211" y="361"/>
                  </a:lnTo>
                  <a:lnTo>
                    <a:pt x="30" y="361"/>
                  </a:lnTo>
                  <a:lnTo>
                    <a:pt x="30" y="15"/>
                  </a:lnTo>
                  <a:lnTo>
                    <a:pt x="30" y="13"/>
                  </a:lnTo>
                  <a:lnTo>
                    <a:pt x="29" y="10"/>
                  </a:lnTo>
                  <a:lnTo>
                    <a:pt x="28" y="7"/>
                  </a:lnTo>
                  <a:lnTo>
                    <a:pt x="25" y="5"/>
                  </a:lnTo>
                  <a:lnTo>
                    <a:pt x="23" y="3"/>
                  </a:lnTo>
                  <a:lnTo>
                    <a:pt x="21" y="2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3" y="1"/>
                  </a:lnTo>
                  <a:lnTo>
                    <a:pt x="9" y="2"/>
                  </a:lnTo>
                  <a:lnTo>
                    <a:pt x="7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10"/>
                  </a:lnTo>
                  <a:lnTo>
                    <a:pt x="1" y="13"/>
                  </a:lnTo>
                  <a:lnTo>
                    <a:pt x="0" y="16"/>
                  </a:lnTo>
                  <a:lnTo>
                    <a:pt x="0" y="392"/>
                  </a:lnTo>
                  <a:lnTo>
                    <a:pt x="241" y="392"/>
                  </a:lnTo>
                  <a:lnTo>
                    <a:pt x="241" y="121"/>
                  </a:lnTo>
                  <a:lnTo>
                    <a:pt x="421" y="121"/>
                  </a:lnTo>
                  <a:lnTo>
                    <a:pt x="421" y="392"/>
                  </a:lnTo>
                  <a:lnTo>
                    <a:pt x="662" y="392"/>
                  </a:lnTo>
                  <a:lnTo>
                    <a:pt x="662" y="15"/>
                  </a:lnTo>
                  <a:lnTo>
                    <a:pt x="662" y="13"/>
                  </a:lnTo>
                  <a:lnTo>
                    <a:pt x="661" y="10"/>
                  </a:lnTo>
                  <a:lnTo>
                    <a:pt x="659" y="7"/>
                  </a:lnTo>
                  <a:lnTo>
                    <a:pt x="658" y="5"/>
                  </a:lnTo>
                  <a:lnTo>
                    <a:pt x="656" y="3"/>
                  </a:lnTo>
                  <a:lnTo>
                    <a:pt x="653" y="2"/>
                  </a:lnTo>
                  <a:lnTo>
                    <a:pt x="651" y="1"/>
                  </a:lnTo>
                  <a:lnTo>
                    <a:pt x="647" y="0"/>
                  </a:lnTo>
                  <a:lnTo>
                    <a:pt x="64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320">
              <a:extLst>
                <a:ext uri="{FF2B5EF4-FFF2-40B4-BE49-F238E27FC236}">
                  <a16:creationId xmlns="" xmlns:a16="http://schemas.microsoft.com/office/drawing/2014/main" id="{3A196756-BCE1-4857-B775-DAA8AEFC39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17038" y="788988"/>
              <a:ext cx="287338" cy="149225"/>
            </a:xfrm>
            <a:custGeom>
              <a:avLst/>
              <a:gdLst>
                <a:gd name="T0" fmla="*/ 722 w 903"/>
                <a:gd name="T1" fmla="*/ 167 h 468"/>
                <a:gd name="T2" fmla="*/ 722 w 903"/>
                <a:gd name="T3" fmla="*/ 265 h 468"/>
                <a:gd name="T4" fmla="*/ 623 w 903"/>
                <a:gd name="T5" fmla="*/ 167 h 468"/>
                <a:gd name="T6" fmla="*/ 722 w 903"/>
                <a:gd name="T7" fmla="*/ 167 h 468"/>
                <a:gd name="T8" fmla="*/ 898 w 903"/>
                <a:gd name="T9" fmla="*/ 441 h 468"/>
                <a:gd name="T10" fmla="*/ 752 w 903"/>
                <a:gd name="T11" fmla="*/ 295 h 468"/>
                <a:gd name="T12" fmla="*/ 752 w 903"/>
                <a:gd name="T13" fmla="*/ 136 h 468"/>
                <a:gd name="T14" fmla="*/ 593 w 903"/>
                <a:gd name="T15" fmla="*/ 136 h 468"/>
                <a:gd name="T16" fmla="*/ 462 w 903"/>
                <a:gd name="T17" fmla="*/ 4 h 468"/>
                <a:gd name="T18" fmla="*/ 460 w 903"/>
                <a:gd name="T19" fmla="*/ 3 h 468"/>
                <a:gd name="T20" fmla="*/ 456 w 903"/>
                <a:gd name="T21" fmla="*/ 1 h 468"/>
                <a:gd name="T22" fmla="*/ 454 w 903"/>
                <a:gd name="T23" fmla="*/ 1 h 468"/>
                <a:gd name="T24" fmla="*/ 451 w 903"/>
                <a:gd name="T25" fmla="*/ 0 h 468"/>
                <a:gd name="T26" fmla="*/ 448 w 903"/>
                <a:gd name="T27" fmla="*/ 1 h 468"/>
                <a:gd name="T28" fmla="*/ 446 w 903"/>
                <a:gd name="T29" fmla="*/ 1 h 468"/>
                <a:gd name="T30" fmla="*/ 442 w 903"/>
                <a:gd name="T31" fmla="*/ 3 h 468"/>
                <a:gd name="T32" fmla="*/ 440 w 903"/>
                <a:gd name="T33" fmla="*/ 4 h 468"/>
                <a:gd name="T34" fmla="*/ 4 w 903"/>
                <a:gd name="T35" fmla="*/ 441 h 468"/>
                <a:gd name="T36" fmla="*/ 2 w 903"/>
                <a:gd name="T37" fmla="*/ 444 h 468"/>
                <a:gd name="T38" fmla="*/ 1 w 903"/>
                <a:gd name="T39" fmla="*/ 447 h 468"/>
                <a:gd name="T40" fmla="*/ 0 w 903"/>
                <a:gd name="T41" fmla="*/ 450 h 468"/>
                <a:gd name="T42" fmla="*/ 0 w 903"/>
                <a:gd name="T43" fmla="*/ 452 h 468"/>
                <a:gd name="T44" fmla="*/ 0 w 903"/>
                <a:gd name="T45" fmla="*/ 455 h 468"/>
                <a:gd name="T46" fmla="*/ 1 w 903"/>
                <a:gd name="T47" fmla="*/ 458 h 468"/>
                <a:gd name="T48" fmla="*/ 2 w 903"/>
                <a:gd name="T49" fmla="*/ 460 h 468"/>
                <a:gd name="T50" fmla="*/ 4 w 903"/>
                <a:gd name="T51" fmla="*/ 463 h 468"/>
                <a:gd name="T52" fmla="*/ 6 w 903"/>
                <a:gd name="T53" fmla="*/ 465 h 468"/>
                <a:gd name="T54" fmla="*/ 9 w 903"/>
                <a:gd name="T55" fmla="*/ 466 h 468"/>
                <a:gd name="T56" fmla="*/ 11 w 903"/>
                <a:gd name="T57" fmla="*/ 467 h 468"/>
                <a:gd name="T58" fmla="*/ 15 w 903"/>
                <a:gd name="T59" fmla="*/ 468 h 468"/>
                <a:gd name="T60" fmla="*/ 18 w 903"/>
                <a:gd name="T61" fmla="*/ 467 h 468"/>
                <a:gd name="T62" fmla="*/ 20 w 903"/>
                <a:gd name="T63" fmla="*/ 467 h 468"/>
                <a:gd name="T64" fmla="*/ 23 w 903"/>
                <a:gd name="T65" fmla="*/ 465 h 468"/>
                <a:gd name="T66" fmla="*/ 25 w 903"/>
                <a:gd name="T67" fmla="*/ 463 h 468"/>
                <a:gd name="T68" fmla="*/ 451 w 903"/>
                <a:gd name="T69" fmla="*/ 37 h 468"/>
                <a:gd name="T70" fmla="*/ 575 w 903"/>
                <a:gd name="T71" fmla="*/ 162 h 468"/>
                <a:gd name="T72" fmla="*/ 575 w 903"/>
                <a:gd name="T73" fmla="*/ 162 h 468"/>
                <a:gd name="T74" fmla="*/ 727 w 903"/>
                <a:gd name="T75" fmla="*/ 312 h 468"/>
                <a:gd name="T76" fmla="*/ 727 w 903"/>
                <a:gd name="T77" fmla="*/ 312 h 468"/>
                <a:gd name="T78" fmla="*/ 727 w 903"/>
                <a:gd name="T79" fmla="*/ 312 h 468"/>
                <a:gd name="T80" fmla="*/ 877 w 903"/>
                <a:gd name="T81" fmla="*/ 463 h 468"/>
                <a:gd name="T82" fmla="*/ 879 w 903"/>
                <a:gd name="T83" fmla="*/ 465 h 468"/>
                <a:gd name="T84" fmla="*/ 882 w 903"/>
                <a:gd name="T85" fmla="*/ 466 h 468"/>
                <a:gd name="T86" fmla="*/ 884 w 903"/>
                <a:gd name="T87" fmla="*/ 467 h 468"/>
                <a:gd name="T88" fmla="*/ 888 w 903"/>
                <a:gd name="T89" fmla="*/ 468 h 468"/>
                <a:gd name="T90" fmla="*/ 891 w 903"/>
                <a:gd name="T91" fmla="*/ 467 h 468"/>
                <a:gd name="T92" fmla="*/ 893 w 903"/>
                <a:gd name="T93" fmla="*/ 466 h 468"/>
                <a:gd name="T94" fmla="*/ 896 w 903"/>
                <a:gd name="T95" fmla="*/ 465 h 468"/>
                <a:gd name="T96" fmla="*/ 898 w 903"/>
                <a:gd name="T97" fmla="*/ 463 h 468"/>
                <a:gd name="T98" fmla="*/ 900 w 903"/>
                <a:gd name="T99" fmla="*/ 460 h 468"/>
                <a:gd name="T100" fmla="*/ 901 w 903"/>
                <a:gd name="T101" fmla="*/ 458 h 468"/>
                <a:gd name="T102" fmla="*/ 903 w 903"/>
                <a:gd name="T103" fmla="*/ 455 h 468"/>
                <a:gd name="T104" fmla="*/ 903 w 903"/>
                <a:gd name="T105" fmla="*/ 452 h 468"/>
                <a:gd name="T106" fmla="*/ 903 w 903"/>
                <a:gd name="T107" fmla="*/ 450 h 468"/>
                <a:gd name="T108" fmla="*/ 901 w 903"/>
                <a:gd name="T109" fmla="*/ 447 h 468"/>
                <a:gd name="T110" fmla="*/ 900 w 903"/>
                <a:gd name="T111" fmla="*/ 444 h 468"/>
                <a:gd name="T112" fmla="*/ 898 w 903"/>
                <a:gd name="T113" fmla="*/ 442 h 468"/>
                <a:gd name="T114" fmla="*/ 898 w 903"/>
                <a:gd name="T115" fmla="*/ 441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03" h="468">
                  <a:moveTo>
                    <a:pt x="722" y="167"/>
                  </a:moveTo>
                  <a:lnTo>
                    <a:pt x="722" y="265"/>
                  </a:lnTo>
                  <a:lnTo>
                    <a:pt x="623" y="167"/>
                  </a:lnTo>
                  <a:lnTo>
                    <a:pt x="722" y="167"/>
                  </a:lnTo>
                  <a:close/>
                  <a:moveTo>
                    <a:pt x="898" y="441"/>
                  </a:moveTo>
                  <a:lnTo>
                    <a:pt x="752" y="295"/>
                  </a:lnTo>
                  <a:lnTo>
                    <a:pt x="752" y="136"/>
                  </a:lnTo>
                  <a:lnTo>
                    <a:pt x="593" y="136"/>
                  </a:lnTo>
                  <a:lnTo>
                    <a:pt x="462" y="4"/>
                  </a:lnTo>
                  <a:lnTo>
                    <a:pt x="460" y="3"/>
                  </a:lnTo>
                  <a:lnTo>
                    <a:pt x="456" y="1"/>
                  </a:lnTo>
                  <a:lnTo>
                    <a:pt x="454" y="1"/>
                  </a:lnTo>
                  <a:lnTo>
                    <a:pt x="451" y="0"/>
                  </a:lnTo>
                  <a:lnTo>
                    <a:pt x="448" y="1"/>
                  </a:lnTo>
                  <a:lnTo>
                    <a:pt x="446" y="1"/>
                  </a:lnTo>
                  <a:lnTo>
                    <a:pt x="442" y="3"/>
                  </a:lnTo>
                  <a:lnTo>
                    <a:pt x="440" y="4"/>
                  </a:lnTo>
                  <a:lnTo>
                    <a:pt x="4" y="441"/>
                  </a:lnTo>
                  <a:lnTo>
                    <a:pt x="2" y="444"/>
                  </a:lnTo>
                  <a:lnTo>
                    <a:pt x="1" y="447"/>
                  </a:lnTo>
                  <a:lnTo>
                    <a:pt x="0" y="450"/>
                  </a:lnTo>
                  <a:lnTo>
                    <a:pt x="0" y="452"/>
                  </a:lnTo>
                  <a:lnTo>
                    <a:pt x="0" y="455"/>
                  </a:lnTo>
                  <a:lnTo>
                    <a:pt x="1" y="458"/>
                  </a:lnTo>
                  <a:lnTo>
                    <a:pt x="2" y="460"/>
                  </a:lnTo>
                  <a:lnTo>
                    <a:pt x="4" y="463"/>
                  </a:lnTo>
                  <a:lnTo>
                    <a:pt x="6" y="465"/>
                  </a:lnTo>
                  <a:lnTo>
                    <a:pt x="9" y="466"/>
                  </a:lnTo>
                  <a:lnTo>
                    <a:pt x="11" y="467"/>
                  </a:lnTo>
                  <a:lnTo>
                    <a:pt x="15" y="468"/>
                  </a:lnTo>
                  <a:lnTo>
                    <a:pt x="18" y="467"/>
                  </a:lnTo>
                  <a:lnTo>
                    <a:pt x="20" y="467"/>
                  </a:lnTo>
                  <a:lnTo>
                    <a:pt x="23" y="465"/>
                  </a:lnTo>
                  <a:lnTo>
                    <a:pt x="25" y="463"/>
                  </a:lnTo>
                  <a:lnTo>
                    <a:pt x="451" y="37"/>
                  </a:lnTo>
                  <a:lnTo>
                    <a:pt x="575" y="162"/>
                  </a:lnTo>
                  <a:lnTo>
                    <a:pt x="575" y="162"/>
                  </a:lnTo>
                  <a:lnTo>
                    <a:pt x="727" y="312"/>
                  </a:lnTo>
                  <a:lnTo>
                    <a:pt x="727" y="312"/>
                  </a:lnTo>
                  <a:lnTo>
                    <a:pt x="727" y="312"/>
                  </a:lnTo>
                  <a:lnTo>
                    <a:pt x="877" y="463"/>
                  </a:lnTo>
                  <a:lnTo>
                    <a:pt x="879" y="465"/>
                  </a:lnTo>
                  <a:lnTo>
                    <a:pt x="882" y="466"/>
                  </a:lnTo>
                  <a:lnTo>
                    <a:pt x="884" y="467"/>
                  </a:lnTo>
                  <a:lnTo>
                    <a:pt x="888" y="468"/>
                  </a:lnTo>
                  <a:lnTo>
                    <a:pt x="891" y="467"/>
                  </a:lnTo>
                  <a:lnTo>
                    <a:pt x="893" y="466"/>
                  </a:lnTo>
                  <a:lnTo>
                    <a:pt x="896" y="465"/>
                  </a:lnTo>
                  <a:lnTo>
                    <a:pt x="898" y="463"/>
                  </a:lnTo>
                  <a:lnTo>
                    <a:pt x="900" y="460"/>
                  </a:lnTo>
                  <a:lnTo>
                    <a:pt x="901" y="458"/>
                  </a:lnTo>
                  <a:lnTo>
                    <a:pt x="903" y="455"/>
                  </a:lnTo>
                  <a:lnTo>
                    <a:pt x="903" y="452"/>
                  </a:lnTo>
                  <a:lnTo>
                    <a:pt x="903" y="450"/>
                  </a:lnTo>
                  <a:lnTo>
                    <a:pt x="901" y="447"/>
                  </a:lnTo>
                  <a:lnTo>
                    <a:pt x="900" y="444"/>
                  </a:lnTo>
                  <a:lnTo>
                    <a:pt x="898" y="442"/>
                  </a:lnTo>
                  <a:lnTo>
                    <a:pt x="898" y="4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9" name="Group 78">
            <a:extLst>
              <a:ext uri="{FF2B5EF4-FFF2-40B4-BE49-F238E27FC236}">
                <a16:creationId xmlns="" xmlns:a16="http://schemas.microsoft.com/office/drawing/2014/main" id="{506280C8-7C00-4451-B900-7CC9AFE83431}"/>
              </a:ext>
            </a:extLst>
          </p:cNvPr>
          <p:cNvGrpSpPr/>
          <p:nvPr/>
        </p:nvGrpSpPr>
        <p:grpSpPr>
          <a:xfrm>
            <a:off x="7004774" y="2799347"/>
            <a:ext cx="595544" cy="496834"/>
            <a:chOff x="10464801" y="817563"/>
            <a:chExt cx="287338" cy="239712"/>
          </a:xfrm>
          <a:solidFill>
            <a:schemeClr val="tx2"/>
          </a:solidFill>
        </p:grpSpPr>
        <p:sp>
          <p:nvSpPr>
            <p:cNvPr id="80" name="Freeform 334">
              <a:extLst>
                <a:ext uri="{FF2B5EF4-FFF2-40B4-BE49-F238E27FC236}">
                  <a16:creationId xmlns="" xmlns:a16="http://schemas.microsoft.com/office/drawing/2014/main" id="{5BE2BBC3-AB35-4F12-AC10-4109F7520D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64801" y="817563"/>
              <a:ext cx="287338" cy="239712"/>
            </a:xfrm>
            <a:custGeom>
              <a:avLst/>
              <a:gdLst>
                <a:gd name="T0" fmla="*/ 723 w 904"/>
                <a:gd name="T1" fmla="*/ 602 h 753"/>
                <a:gd name="T2" fmla="*/ 512 w 904"/>
                <a:gd name="T3" fmla="*/ 602 h 753"/>
                <a:gd name="T4" fmla="*/ 512 w 904"/>
                <a:gd name="T5" fmla="*/ 722 h 753"/>
                <a:gd name="T6" fmla="*/ 181 w 904"/>
                <a:gd name="T7" fmla="*/ 542 h 753"/>
                <a:gd name="T8" fmla="*/ 181 w 904"/>
                <a:gd name="T9" fmla="*/ 722 h 753"/>
                <a:gd name="T10" fmla="*/ 391 w 904"/>
                <a:gd name="T11" fmla="*/ 722 h 753"/>
                <a:gd name="T12" fmla="*/ 331 w 904"/>
                <a:gd name="T13" fmla="*/ 524 h 753"/>
                <a:gd name="T14" fmla="*/ 327 w 904"/>
                <a:gd name="T15" fmla="*/ 516 h 753"/>
                <a:gd name="T16" fmla="*/ 319 w 904"/>
                <a:gd name="T17" fmla="*/ 512 h 753"/>
                <a:gd name="T18" fmla="*/ 163 w 904"/>
                <a:gd name="T19" fmla="*/ 512 h 753"/>
                <a:gd name="T20" fmla="*/ 155 w 904"/>
                <a:gd name="T21" fmla="*/ 516 h 753"/>
                <a:gd name="T22" fmla="*/ 151 w 904"/>
                <a:gd name="T23" fmla="*/ 524 h 753"/>
                <a:gd name="T24" fmla="*/ 91 w 904"/>
                <a:gd name="T25" fmla="*/ 722 h 753"/>
                <a:gd name="T26" fmla="*/ 813 w 904"/>
                <a:gd name="T27" fmla="*/ 722 h 753"/>
                <a:gd name="T28" fmla="*/ 753 w 904"/>
                <a:gd name="T29" fmla="*/ 584 h 753"/>
                <a:gd name="T30" fmla="*/ 748 w 904"/>
                <a:gd name="T31" fmla="*/ 577 h 753"/>
                <a:gd name="T32" fmla="*/ 741 w 904"/>
                <a:gd name="T33" fmla="*/ 572 h 753"/>
                <a:gd name="T34" fmla="*/ 494 w 904"/>
                <a:gd name="T35" fmla="*/ 572 h 753"/>
                <a:gd name="T36" fmla="*/ 487 w 904"/>
                <a:gd name="T37" fmla="*/ 577 h 753"/>
                <a:gd name="T38" fmla="*/ 482 w 904"/>
                <a:gd name="T39" fmla="*/ 584 h 753"/>
                <a:gd name="T40" fmla="*/ 421 w 904"/>
                <a:gd name="T41" fmla="*/ 722 h 753"/>
                <a:gd name="T42" fmla="*/ 723 w 904"/>
                <a:gd name="T43" fmla="*/ 121 h 753"/>
                <a:gd name="T44" fmla="*/ 723 w 904"/>
                <a:gd name="T45" fmla="*/ 241 h 753"/>
                <a:gd name="T46" fmla="*/ 843 w 904"/>
                <a:gd name="T47" fmla="*/ 722 h 753"/>
                <a:gd name="T48" fmla="*/ 885 w 904"/>
                <a:gd name="T49" fmla="*/ 376 h 753"/>
                <a:gd name="T50" fmla="*/ 895 w 904"/>
                <a:gd name="T51" fmla="*/ 375 h 753"/>
                <a:gd name="T52" fmla="*/ 903 w 904"/>
                <a:gd name="T53" fmla="*/ 366 h 753"/>
                <a:gd name="T54" fmla="*/ 903 w 904"/>
                <a:gd name="T55" fmla="*/ 358 h 753"/>
                <a:gd name="T56" fmla="*/ 898 w 904"/>
                <a:gd name="T57" fmla="*/ 350 h 753"/>
                <a:gd name="T58" fmla="*/ 813 w 904"/>
                <a:gd name="T59" fmla="*/ 106 h 753"/>
                <a:gd name="T60" fmla="*/ 811 w 904"/>
                <a:gd name="T61" fmla="*/ 97 h 753"/>
                <a:gd name="T62" fmla="*/ 804 w 904"/>
                <a:gd name="T63" fmla="*/ 92 h 753"/>
                <a:gd name="T64" fmla="*/ 708 w 904"/>
                <a:gd name="T65" fmla="*/ 91 h 753"/>
                <a:gd name="T66" fmla="*/ 699 w 904"/>
                <a:gd name="T67" fmla="*/ 93 h 753"/>
                <a:gd name="T68" fmla="*/ 694 w 904"/>
                <a:gd name="T69" fmla="*/ 99 h 753"/>
                <a:gd name="T70" fmla="*/ 693 w 904"/>
                <a:gd name="T71" fmla="*/ 221 h 753"/>
                <a:gd name="T72" fmla="*/ 333 w 904"/>
                <a:gd name="T73" fmla="*/ 0 h 753"/>
                <a:gd name="T74" fmla="*/ 325 w 904"/>
                <a:gd name="T75" fmla="*/ 1 h 753"/>
                <a:gd name="T76" fmla="*/ 318 w 904"/>
                <a:gd name="T77" fmla="*/ 7 h 753"/>
                <a:gd name="T78" fmla="*/ 316 w 904"/>
                <a:gd name="T79" fmla="*/ 15 h 753"/>
                <a:gd name="T80" fmla="*/ 319 w 904"/>
                <a:gd name="T81" fmla="*/ 24 h 753"/>
                <a:gd name="T82" fmla="*/ 391 w 904"/>
                <a:gd name="T83" fmla="*/ 70 h 753"/>
                <a:gd name="T84" fmla="*/ 69 w 904"/>
                <a:gd name="T85" fmla="*/ 394 h 753"/>
                <a:gd name="T86" fmla="*/ 6 w 904"/>
                <a:gd name="T87" fmla="*/ 424 h 753"/>
                <a:gd name="T88" fmla="*/ 1 w 904"/>
                <a:gd name="T89" fmla="*/ 432 h 753"/>
                <a:gd name="T90" fmla="*/ 1 w 904"/>
                <a:gd name="T91" fmla="*/ 440 h 753"/>
                <a:gd name="T92" fmla="*/ 7 w 904"/>
                <a:gd name="T93" fmla="*/ 450 h 753"/>
                <a:gd name="T94" fmla="*/ 19 w 904"/>
                <a:gd name="T95" fmla="*/ 451 h 753"/>
                <a:gd name="T96" fmla="*/ 61 w 904"/>
                <a:gd name="T97" fmla="*/ 722 h 753"/>
                <a:gd name="T98" fmla="*/ 9 w 904"/>
                <a:gd name="T99" fmla="*/ 724 h 753"/>
                <a:gd name="T100" fmla="*/ 3 w 904"/>
                <a:gd name="T101" fmla="*/ 730 h 753"/>
                <a:gd name="T102" fmla="*/ 0 w 904"/>
                <a:gd name="T103" fmla="*/ 738 h 753"/>
                <a:gd name="T104" fmla="*/ 3 w 904"/>
                <a:gd name="T105" fmla="*/ 746 h 753"/>
                <a:gd name="T106" fmla="*/ 9 w 904"/>
                <a:gd name="T107" fmla="*/ 751 h 753"/>
                <a:gd name="T108" fmla="*/ 166 w 904"/>
                <a:gd name="T109" fmla="*/ 753 h 753"/>
                <a:gd name="T110" fmla="*/ 738 w 904"/>
                <a:gd name="T111" fmla="*/ 753 h 753"/>
                <a:gd name="T112" fmla="*/ 894 w 904"/>
                <a:gd name="T113" fmla="*/ 751 h 753"/>
                <a:gd name="T114" fmla="*/ 901 w 904"/>
                <a:gd name="T115" fmla="*/ 746 h 753"/>
                <a:gd name="T116" fmla="*/ 904 w 904"/>
                <a:gd name="T117" fmla="*/ 738 h 753"/>
                <a:gd name="T118" fmla="*/ 901 w 904"/>
                <a:gd name="T119" fmla="*/ 730 h 753"/>
                <a:gd name="T120" fmla="*/ 894 w 904"/>
                <a:gd name="T121" fmla="*/ 724 h 7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753">
                  <a:moveTo>
                    <a:pt x="632" y="722"/>
                  </a:moveTo>
                  <a:lnTo>
                    <a:pt x="632" y="602"/>
                  </a:lnTo>
                  <a:lnTo>
                    <a:pt x="723" y="602"/>
                  </a:lnTo>
                  <a:lnTo>
                    <a:pt x="723" y="722"/>
                  </a:lnTo>
                  <a:lnTo>
                    <a:pt x="632" y="722"/>
                  </a:lnTo>
                  <a:close/>
                  <a:moveTo>
                    <a:pt x="512" y="602"/>
                  </a:moveTo>
                  <a:lnTo>
                    <a:pt x="602" y="602"/>
                  </a:lnTo>
                  <a:lnTo>
                    <a:pt x="602" y="722"/>
                  </a:lnTo>
                  <a:lnTo>
                    <a:pt x="512" y="722"/>
                  </a:lnTo>
                  <a:lnTo>
                    <a:pt x="512" y="602"/>
                  </a:lnTo>
                  <a:close/>
                  <a:moveTo>
                    <a:pt x="181" y="722"/>
                  </a:moveTo>
                  <a:lnTo>
                    <a:pt x="181" y="542"/>
                  </a:lnTo>
                  <a:lnTo>
                    <a:pt x="301" y="542"/>
                  </a:lnTo>
                  <a:lnTo>
                    <a:pt x="301" y="722"/>
                  </a:lnTo>
                  <a:lnTo>
                    <a:pt x="181" y="722"/>
                  </a:lnTo>
                  <a:close/>
                  <a:moveTo>
                    <a:pt x="91" y="417"/>
                  </a:moveTo>
                  <a:lnTo>
                    <a:pt x="391" y="273"/>
                  </a:lnTo>
                  <a:lnTo>
                    <a:pt x="391" y="722"/>
                  </a:lnTo>
                  <a:lnTo>
                    <a:pt x="331" y="722"/>
                  </a:lnTo>
                  <a:lnTo>
                    <a:pt x="331" y="527"/>
                  </a:lnTo>
                  <a:lnTo>
                    <a:pt x="331" y="524"/>
                  </a:lnTo>
                  <a:lnTo>
                    <a:pt x="330" y="521"/>
                  </a:lnTo>
                  <a:lnTo>
                    <a:pt x="329" y="519"/>
                  </a:lnTo>
                  <a:lnTo>
                    <a:pt x="327" y="516"/>
                  </a:lnTo>
                  <a:lnTo>
                    <a:pt x="325" y="514"/>
                  </a:lnTo>
                  <a:lnTo>
                    <a:pt x="323" y="513"/>
                  </a:lnTo>
                  <a:lnTo>
                    <a:pt x="319" y="512"/>
                  </a:lnTo>
                  <a:lnTo>
                    <a:pt x="316" y="512"/>
                  </a:lnTo>
                  <a:lnTo>
                    <a:pt x="166" y="512"/>
                  </a:lnTo>
                  <a:lnTo>
                    <a:pt x="163" y="512"/>
                  </a:lnTo>
                  <a:lnTo>
                    <a:pt x="160" y="513"/>
                  </a:lnTo>
                  <a:lnTo>
                    <a:pt x="157" y="514"/>
                  </a:lnTo>
                  <a:lnTo>
                    <a:pt x="155" y="516"/>
                  </a:lnTo>
                  <a:lnTo>
                    <a:pt x="153" y="519"/>
                  </a:lnTo>
                  <a:lnTo>
                    <a:pt x="152" y="521"/>
                  </a:lnTo>
                  <a:lnTo>
                    <a:pt x="151" y="524"/>
                  </a:lnTo>
                  <a:lnTo>
                    <a:pt x="151" y="527"/>
                  </a:lnTo>
                  <a:lnTo>
                    <a:pt x="151" y="722"/>
                  </a:lnTo>
                  <a:lnTo>
                    <a:pt x="91" y="722"/>
                  </a:lnTo>
                  <a:lnTo>
                    <a:pt x="91" y="417"/>
                  </a:lnTo>
                  <a:close/>
                  <a:moveTo>
                    <a:pt x="813" y="332"/>
                  </a:moveTo>
                  <a:lnTo>
                    <a:pt x="813" y="722"/>
                  </a:lnTo>
                  <a:lnTo>
                    <a:pt x="753" y="722"/>
                  </a:lnTo>
                  <a:lnTo>
                    <a:pt x="753" y="587"/>
                  </a:lnTo>
                  <a:lnTo>
                    <a:pt x="753" y="584"/>
                  </a:lnTo>
                  <a:lnTo>
                    <a:pt x="752" y="582"/>
                  </a:lnTo>
                  <a:lnTo>
                    <a:pt x="750" y="579"/>
                  </a:lnTo>
                  <a:lnTo>
                    <a:pt x="748" y="577"/>
                  </a:lnTo>
                  <a:lnTo>
                    <a:pt x="746" y="574"/>
                  </a:lnTo>
                  <a:lnTo>
                    <a:pt x="744" y="573"/>
                  </a:lnTo>
                  <a:lnTo>
                    <a:pt x="741" y="572"/>
                  </a:lnTo>
                  <a:lnTo>
                    <a:pt x="738" y="572"/>
                  </a:lnTo>
                  <a:lnTo>
                    <a:pt x="497" y="572"/>
                  </a:lnTo>
                  <a:lnTo>
                    <a:pt x="494" y="572"/>
                  </a:lnTo>
                  <a:lnTo>
                    <a:pt x="491" y="573"/>
                  </a:lnTo>
                  <a:lnTo>
                    <a:pt x="489" y="574"/>
                  </a:lnTo>
                  <a:lnTo>
                    <a:pt x="487" y="577"/>
                  </a:lnTo>
                  <a:lnTo>
                    <a:pt x="484" y="579"/>
                  </a:lnTo>
                  <a:lnTo>
                    <a:pt x="483" y="582"/>
                  </a:lnTo>
                  <a:lnTo>
                    <a:pt x="482" y="584"/>
                  </a:lnTo>
                  <a:lnTo>
                    <a:pt x="482" y="587"/>
                  </a:lnTo>
                  <a:lnTo>
                    <a:pt x="482" y="722"/>
                  </a:lnTo>
                  <a:lnTo>
                    <a:pt x="421" y="722"/>
                  </a:lnTo>
                  <a:lnTo>
                    <a:pt x="421" y="89"/>
                  </a:lnTo>
                  <a:lnTo>
                    <a:pt x="813" y="332"/>
                  </a:lnTo>
                  <a:close/>
                  <a:moveTo>
                    <a:pt x="723" y="121"/>
                  </a:moveTo>
                  <a:lnTo>
                    <a:pt x="783" y="121"/>
                  </a:lnTo>
                  <a:lnTo>
                    <a:pt x="783" y="278"/>
                  </a:lnTo>
                  <a:lnTo>
                    <a:pt x="723" y="241"/>
                  </a:lnTo>
                  <a:lnTo>
                    <a:pt x="723" y="121"/>
                  </a:lnTo>
                  <a:close/>
                  <a:moveTo>
                    <a:pt x="889" y="722"/>
                  </a:moveTo>
                  <a:lnTo>
                    <a:pt x="843" y="722"/>
                  </a:lnTo>
                  <a:lnTo>
                    <a:pt x="843" y="351"/>
                  </a:lnTo>
                  <a:lnTo>
                    <a:pt x="880" y="374"/>
                  </a:lnTo>
                  <a:lnTo>
                    <a:pt x="885" y="376"/>
                  </a:lnTo>
                  <a:lnTo>
                    <a:pt x="889" y="377"/>
                  </a:lnTo>
                  <a:lnTo>
                    <a:pt x="892" y="376"/>
                  </a:lnTo>
                  <a:lnTo>
                    <a:pt x="895" y="375"/>
                  </a:lnTo>
                  <a:lnTo>
                    <a:pt x="898" y="373"/>
                  </a:lnTo>
                  <a:lnTo>
                    <a:pt x="901" y="369"/>
                  </a:lnTo>
                  <a:lnTo>
                    <a:pt x="903" y="366"/>
                  </a:lnTo>
                  <a:lnTo>
                    <a:pt x="903" y="364"/>
                  </a:lnTo>
                  <a:lnTo>
                    <a:pt x="904" y="361"/>
                  </a:lnTo>
                  <a:lnTo>
                    <a:pt x="903" y="358"/>
                  </a:lnTo>
                  <a:lnTo>
                    <a:pt x="902" y="356"/>
                  </a:lnTo>
                  <a:lnTo>
                    <a:pt x="901" y="352"/>
                  </a:lnTo>
                  <a:lnTo>
                    <a:pt x="898" y="350"/>
                  </a:lnTo>
                  <a:lnTo>
                    <a:pt x="896" y="349"/>
                  </a:lnTo>
                  <a:lnTo>
                    <a:pt x="813" y="297"/>
                  </a:lnTo>
                  <a:lnTo>
                    <a:pt x="813" y="106"/>
                  </a:lnTo>
                  <a:lnTo>
                    <a:pt x="813" y="102"/>
                  </a:lnTo>
                  <a:lnTo>
                    <a:pt x="812" y="99"/>
                  </a:lnTo>
                  <a:lnTo>
                    <a:pt x="811" y="97"/>
                  </a:lnTo>
                  <a:lnTo>
                    <a:pt x="808" y="95"/>
                  </a:lnTo>
                  <a:lnTo>
                    <a:pt x="806" y="93"/>
                  </a:lnTo>
                  <a:lnTo>
                    <a:pt x="804" y="92"/>
                  </a:lnTo>
                  <a:lnTo>
                    <a:pt x="801" y="91"/>
                  </a:lnTo>
                  <a:lnTo>
                    <a:pt x="798" y="91"/>
                  </a:lnTo>
                  <a:lnTo>
                    <a:pt x="708" y="91"/>
                  </a:lnTo>
                  <a:lnTo>
                    <a:pt x="704" y="91"/>
                  </a:lnTo>
                  <a:lnTo>
                    <a:pt x="702" y="92"/>
                  </a:lnTo>
                  <a:lnTo>
                    <a:pt x="699" y="93"/>
                  </a:lnTo>
                  <a:lnTo>
                    <a:pt x="697" y="95"/>
                  </a:lnTo>
                  <a:lnTo>
                    <a:pt x="695" y="97"/>
                  </a:lnTo>
                  <a:lnTo>
                    <a:pt x="694" y="99"/>
                  </a:lnTo>
                  <a:lnTo>
                    <a:pt x="693" y="102"/>
                  </a:lnTo>
                  <a:lnTo>
                    <a:pt x="693" y="106"/>
                  </a:lnTo>
                  <a:lnTo>
                    <a:pt x="693" y="221"/>
                  </a:lnTo>
                  <a:lnTo>
                    <a:pt x="340" y="3"/>
                  </a:lnTo>
                  <a:lnTo>
                    <a:pt x="336" y="0"/>
                  </a:lnTo>
                  <a:lnTo>
                    <a:pt x="333" y="0"/>
                  </a:lnTo>
                  <a:lnTo>
                    <a:pt x="331" y="0"/>
                  </a:lnTo>
                  <a:lnTo>
                    <a:pt x="328" y="0"/>
                  </a:lnTo>
                  <a:lnTo>
                    <a:pt x="325" y="1"/>
                  </a:lnTo>
                  <a:lnTo>
                    <a:pt x="323" y="3"/>
                  </a:lnTo>
                  <a:lnTo>
                    <a:pt x="320" y="5"/>
                  </a:lnTo>
                  <a:lnTo>
                    <a:pt x="318" y="7"/>
                  </a:lnTo>
                  <a:lnTo>
                    <a:pt x="317" y="10"/>
                  </a:lnTo>
                  <a:lnTo>
                    <a:pt x="316" y="12"/>
                  </a:lnTo>
                  <a:lnTo>
                    <a:pt x="316" y="15"/>
                  </a:lnTo>
                  <a:lnTo>
                    <a:pt x="317" y="19"/>
                  </a:lnTo>
                  <a:lnTo>
                    <a:pt x="317" y="21"/>
                  </a:lnTo>
                  <a:lnTo>
                    <a:pt x="319" y="24"/>
                  </a:lnTo>
                  <a:lnTo>
                    <a:pt x="321" y="26"/>
                  </a:lnTo>
                  <a:lnTo>
                    <a:pt x="324" y="28"/>
                  </a:lnTo>
                  <a:lnTo>
                    <a:pt x="391" y="70"/>
                  </a:lnTo>
                  <a:lnTo>
                    <a:pt x="391" y="239"/>
                  </a:lnTo>
                  <a:lnTo>
                    <a:pt x="72" y="393"/>
                  </a:lnTo>
                  <a:lnTo>
                    <a:pt x="69" y="394"/>
                  </a:lnTo>
                  <a:lnTo>
                    <a:pt x="67" y="395"/>
                  </a:lnTo>
                  <a:lnTo>
                    <a:pt x="8" y="423"/>
                  </a:lnTo>
                  <a:lnTo>
                    <a:pt x="6" y="424"/>
                  </a:lnTo>
                  <a:lnTo>
                    <a:pt x="4" y="426"/>
                  </a:lnTo>
                  <a:lnTo>
                    <a:pt x="2" y="429"/>
                  </a:lnTo>
                  <a:lnTo>
                    <a:pt x="1" y="432"/>
                  </a:lnTo>
                  <a:lnTo>
                    <a:pt x="1" y="435"/>
                  </a:lnTo>
                  <a:lnTo>
                    <a:pt x="1" y="437"/>
                  </a:lnTo>
                  <a:lnTo>
                    <a:pt x="1" y="440"/>
                  </a:lnTo>
                  <a:lnTo>
                    <a:pt x="2" y="444"/>
                  </a:lnTo>
                  <a:lnTo>
                    <a:pt x="4" y="447"/>
                  </a:lnTo>
                  <a:lnTo>
                    <a:pt x="7" y="450"/>
                  </a:lnTo>
                  <a:lnTo>
                    <a:pt x="12" y="451"/>
                  </a:lnTo>
                  <a:lnTo>
                    <a:pt x="16" y="452"/>
                  </a:lnTo>
                  <a:lnTo>
                    <a:pt x="19" y="451"/>
                  </a:lnTo>
                  <a:lnTo>
                    <a:pt x="22" y="450"/>
                  </a:lnTo>
                  <a:lnTo>
                    <a:pt x="61" y="432"/>
                  </a:lnTo>
                  <a:lnTo>
                    <a:pt x="61" y="722"/>
                  </a:lnTo>
                  <a:lnTo>
                    <a:pt x="16" y="722"/>
                  </a:lnTo>
                  <a:lnTo>
                    <a:pt x="13" y="724"/>
                  </a:lnTo>
                  <a:lnTo>
                    <a:pt x="9" y="724"/>
                  </a:lnTo>
                  <a:lnTo>
                    <a:pt x="7" y="726"/>
                  </a:lnTo>
                  <a:lnTo>
                    <a:pt x="5" y="727"/>
                  </a:lnTo>
                  <a:lnTo>
                    <a:pt x="3" y="730"/>
                  </a:lnTo>
                  <a:lnTo>
                    <a:pt x="2" y="732"/>
                  </a:lnTo>
                  <a:lnTo>
                    <a:pt x="1" y="735"/>
                  </a:lnTo>
                  <a:lnTo>
                    <a:pt x="0" y="738"/>
                  </a:lnTo>
                  <a:lnTo>
                    <a:pt x="1" y="741"/>
                  </a:lnTo>
                  <a:lnTo>
                    <a:pt x="2" y="744"/>
                  </a:lnTo>
                  <a:lnTo>
                    <a:pt x="3" y="746"/>
                  </a:lnTo>
                  <a:lnTo>
                    <a:pt x="5" y="748"/>
                  </a:lnTo>
                  <a:lnTo>
                    <a:pt x="7" y="750"/>
                  </a:lnTo>
                  <a:lnTo>
                    <a:pt x="9" y="751"/>
                  </a:lnTo>
                  <a:lnTo>
                    <a:pt x="13" y="753"/>
                  </a:lnTo>
                  <a:lnTo>
                    <a:pt x="16" y="753"/>
                  </a:lnTo>
                  <a:lnTo>
                    <a:pt x="166" y="753"/>
                  </a:lnTo>
                  <a:lnTo>
                    <a:pt x="316" y="753"/>
                  </a:lnTo>
                  <a:lnTo>
                    <a:pt x="497" y="753"/>
                  </a:lnTo>
                  <a:lnTo>
                    <a:pt x="738" y="753"/>
                  </a:lnTo>
                  <a:lnTo>
                    <a:pt x="889" y="753"/>
                  </a:lnTo>
                  <a:lnTo>
                    <a:pt x="891" y="753"/>
                  </a:lnTo>
                  <a:lnTo>
                    <a:pt x="894" y="751"/>
                  </a:lnTo>
                  <a:lnTo>
                    <a:pt x="896" y="750"/>
                  </a:lnTo>
                  <a:lnTo>
                    <a:pt x="898" y="748"/>
                  </a:lnTo>
                  <a:lnTo>
                    <a:pt x="901" y="746"/>
                  </a:lnTo>
                  <a:lnTo>
                    <a:pt x="902" y="744"/>
                  </a:lnTo>
                  <a:lnTo>
                    <a:pt x="903" y="741"/>
                  </a:lnTo>
                  <a:lnTo>
                    <a:pt x="904" y="738"/>
                  </a:lnTo>
                  <a:lnTo>
                    <a:pt x="903" y="735"/>
                  </a:lnTo>
                  <a:lnTo>
                    <a:pt x="902" y="732"/>
                  </a:lnTo>
                  <a:lnTo>
                    <a:pt x="901" y="730"/>
                  </a:lnTo>
                  <a:lnTo>
                    <a:pt x="898" y="727"/>
                  </a:lnTo>
                  <a:lnTo>
                    <a:pt x="896" y="726"/>
                  </a:lnTo>
                  <a:lnTo>
                    <a:pt x="894" y="724"/>
                  </a:lnTo>
                  <a:lnTo>
                    <a:pt x="891" y="724"/>
                  </a:lnTo>
                  <a:lnTo>
                    <a:pt x="889" y="7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335">
              <a:extLst>
                <a:ext uri="{FF2B5EF4-FFF2-40B4-BE49-F238E27FC236}">
                  <a16:creationId xmlns="" xmlns:a16="http://schemas.microsoft.com/office/drawing/2014/main" id="{8A9ADA1A-4246-4170-8931-DFCDB08AAD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2426" y="962025"/>
              <a:ext cx="57150" cy="9525"/>
            </a:xfrm>
            <a:custGeom>
              <a:avLst/>
              <a:gdLst>
                <a:gd name="T0" fmla="*/ 15 w 180"/>
                <a:gd name="T1" fmla="*/ 30 h 30"/>
                <a:gd name="T2" fmla="*/ 165 w 180"/>
                <a:gd name="T3" fmla="*/ 30 h 30"/>
                <a:gd name="T4" fmla="*/ 168 w 180"/>
                <a:gd name="T5" fmla="*/ 29 h 30"/>
                <a:gd name="T6" fmla="*/ 172 w 180"/>
                <a:gd name="T7" fmla="*/ 29 h 30"/>
                <a:gd name="T8" fmla="*/ 174 w 180"/>
                <a:gd name="T9" fmla="*/ 27 h 30"/>
                <a:gd name="T10" fmla="*/ 176 w 180"/>
                <a:gd name="T11" fmla="*/ 26 h 30"/>
                <a:gd name="T12" fmla="*/ 178 w 180"/>
                <a:gd name="T13" fmla="*/ 24 h 30"/>
                <a:gd name="T14" fmla="*/ 179 w 180"/>
                <a:gd name="T15" fmla="*/ 20 h 30"/>
                <a:gd name="T16" fmla="*/ 180 w 180"/>
                <a:gd name="T17" fmla="*/ 18 h 30"/>
                <a:gd name="T18" fmla="*/ 180 w 180"/>
                <a:gd name="T19" fmla="*/ 15 h 30"/>
                <a:gd name="T20" fmla="*/ 180 w 180"/>
                <a:gd name="T21" fmla="*/ 12 h 30"/>
                <a:gd name="T22" fmla="*/ 179 w 180"/>
                <a:gd name="T23" fmla="*/ 9 h 30"/>
                <a:gd name="T24" fmla="*/ 178 w 180"/>
                <a:gd name="T25" fmla="*/ 7 h 30"/>
                <a:gd name="T26" fmla="*/ 176 w 180"/>
                <a:gd name="T27" fmla="*/ 4 h 30"/>
                <a:gd name="T28" fmla="*/ 174 w 180"/>
                <a:gd name="T29" fmla="*/ 2 h 30"/>
                <a:gd name="T30" fmla="*/ 172 w 180"/>
                <a:gd name="T31" fmla="*/ 1 h 30"/>
                <a:gd name="T32" fmla="*/ 168 w 180"/>
                <a:gd name="T33" fmla="*/ 0 h 30"/>
                <a:gd name="T34" fmla="*/ 165 w 180"/>
                <a:gd name="T35" fmla="*/ 0 h 30"/>
                <a:gd name="T36" fmla="*/ 15 w 180"/>
                <a:gd name="T37" fmla="*/ 0 h 30"/>
                <a:gd name="T38" fmla="*/ 12 w 180"/>
                <a:gd name="T39" fmla="*/ 0 h 30"/>
                <a:gd name="T40" fmla="*/ 9 w 180"/>
                <a:gd name="T41" fmla="*/ 1 h 30"/>
                <a:gd name="T42" fmla="*/ 6 w 180"/>
                <a:gd name="T43" fmla="*/ 2 h 30"/>
                <a:gd name="T44" fmla="*/ 4 w 180"/>
                <a:gd name="T45" fmla="*/ 4 h 30"/>
                <a:gd name="T46" fmla="*/ 2 w 180"/>
                <a:gd name="T47" fmla="*/ 7 h 30"/>
                <a:gd name="T48" fmla="*/ 1 w 180"/>
                <a:gd name="T49" fmla="*/ 9 h 30"/>
                <a:gd name="T50" fmla="*/ 0 w 180"/>
                <a:gd name="T51" fmla="*/ 12 h 30"/>
                <a:gd name="T52" fmla="*/ 0 w 180"/>
                <a:gd name="T53" fmla="*/ 15 h 30"/>
                <a:gd name="T54" fmla="*/ 0 w 180"/>
                <a:gd name="T55" fmla="*/ 18 h 30"/>
                <a:gd name="T56" fmla="*/ 1 w 180"/>
                <a:gd name="T57" fmla="*/ 20 h 30"/>
                <a:gd name="T58" fmla="*/ 2 w 180"/>
                <a:gd name="T59" fmla="*/ 24 h 30"/>
                <a:gd name="T60" fmla="*/ 4 w 180"/>
                <a:gd name="T61" fmla="*/ 26 h 30"/>
                <a:gd name="T62" fmla="*/ 6 w 180"/>
                <a:gd name="T63" fmla="*/ 27 h 30"/>
                <a:gd name="T64" fmla="*/ 9 w 180"/>
                <a:gd name="T65" fmla="*/ 29 h 30"/>
                <a:gd name="T66" fmla="*/ 12 w 180"/>
                <a:gd name="T67" fmla="*/ 29 h 30"/>
                <a:gd name="T68" fmla="*/ 15 w 180"/>
                <a:gd name="T69" fmla="*/ 30 h 30"/>
                <a:gd name="T70" fmla="*/ 15 w 180"/>
                <a:gd name="T7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0" h="30">
                  <a:moveTo>
                    <a:pt x="15" y="30"/>
                  </a:moveTo>
                  <a:lnTo>
                    <a:pt x="165" y="30"/>
                  </a:lnTo>
                  <a:lnTo>
                    <a:pt x="168" y="29"/>
                  </a:lnTo>
                  <a:lnTo>
                    <a:pt x="172" y="29"/>
                  </a:lnTo>
                  <a:lnTo>
                    <a:pt x="174" y="27"/>
                  </a:lnTo>
                  <a:lnTo>
                    <a:pt x="176" y="26"/>
                  </a:lnTo>
                  <a:lnTo>
                    <a:pt x="178" y="24"/>
                  </a:lnTo>
                  <a:lnTo>
                    <a:pt x="179" y="20"/>
                  </a:lnTo>
                  <a:lnTo>
                    <a:pt x="180" y="18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9"/>
                  </a:lnTo>
                  <a:lnTo>
                    <a:pt x="178" y="7"/>
                  </a:lnTo>
                  <a:lnTo>
                    <a:pt x="176" y="4"/>
                  </a:lnTo>
                  <a:lnTo>
                    <a:pt x="174" y="2"/>
                  </a:lnTo>
                  <a:lnTo>
                    <a:pt x="172" y="1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4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15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336">
              <a:extLst>
                <a:ext uri="{FF2B5EF4-FFF2-40B4-BE49-F238E27FC236}">
                  <a16:creationId xmlns="" xmlns:a16="http://schemas.microsoft.com/office/drawing/2014/main" id="{21CC9FDE-7775-442C-B4E9-4FEF6A8F36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07676" y="893763"/>
              <a:ext cx="47625" cy="49212"/>
            </a:xfrm>
            <a:custGeom>
              <a:avLst/>
              <a:gdLst>
                <a:gd name="T0" fmla="*/ 84 w 150"/>
                <a:gd name="T1" fmla="*/ 31 h 151"/>
                <a:gd name="T2" fmla="*/ 100 w 150"/>
                <a:gd name="T3" fmla="*/ 37 h 151"/>
                <a:gd name="T4" fmla="*/ 113 w 150"/>
                <a:gd name="T5" fmla="*/ 50 h 151"/>
                <a:gd name="T6" fmla="*/ 119 w 150"/>
                <a:gd name="T7" fmla="*/ 66 h 151"/>
                <a:gd name="T8" fmla="*/ 119 w 150"/>
                <a:gd name="T9" fmla="*/ 84 h 151"/>
                <a:gd name="T10" fmla="*/ 113 w 150"/>
                <a:gd name="T11" fmla="*/ 101 h 151"/>
                <a:gd name="T12" fmla="*/ 100 w 150"/>
                <a:gd name="T13" fmla="*/ 112 h 151"/>
                <a:gd name="T14" fmla="*/ 84 w 150"/>
                <a:gd name="T15" fmla="*/ 120 h 151"/>
                <a:gd name="T16" fmla="*/ 66 w 150"/>
                <a:gd name="T17" fmla="*/ 120 h 151"/>
                <a:gd name="T18" fmla="*/ 50 w 150"/>
                <a:gd name="T19" fmla="*/ 112 h 151"/>
                <a:gd name="T20" fmla="*/ 38 w 150"/>
                <a:gd name="T21" fmla="*/ 101 h 151"/>
                <a:gd name="T22" fmla="*/ 30 w 150"/>
                <a:gd name="T23" fmla="*/ 84 h 151"/>
                <a:gd name="T24" fmla="*/ 30 w 150"/>
                <a:gd name="T25" fmla="*/ 66 h 151"/>
                <a:gd name="T26" fmla="*/ 38 w 150"/>
                <a:gd name="T27" fmla="*/ 50 h 151"/>
                <a:gd name="T28" fmla="*/ 50 w 150"/>
                <a:gd name="T29" fmla="*/ 37 h 151"/>
                <a:gd name="T30" fmla="*/ 66 w 150"/>
                <a:gd name="T31" fmla="*/ 31 h 151"/>
                <a:gd name="T32" fmla="*/ 75 w 150"/>
                <a:gd name="T33" fmla="*/ 150 h 151"/>
                <a:gd name="T34" fmla="*/ 90 w 150"/>
                <a:gd name="T35" fmla="*/ 149 h 151"/>
                <a:gd name="T36" fmla="*/ 104 w 150"/>
                <a:gd name="T37" fmla="*/ 145 h 151"/>
                <a:gd name="T38" fmla="*/ 117 w 150"/>
                <a:gd name="T39" fmla="*/ 137 h 151"/>
                <a:gd name="T40" fmla="*/ 128 w 150"/>
                <a:gd name="T41" fmla="*/ 128 h 151"/>
                <a:gd name="T42" fmla="*/ 138 w 150"/>
                <a:gd name="T43" fmla="*/ 118 h 151"/>
                <a:gd name="T44" fmla="*/ 144 w 150"/>
                <a:gd name="T45" fmla="*/ 105 h 151"/>
                <a:gd name="T46" fmla="*/ 148 w 150"/>
                <a:gd name="T47" fmla="*/ 90 h 151"/>
                <a:gd name="T48" fmla="*/ 150 w 150"/>
                <a:gd name="T49" fmla="*/ 75 h 151"/>
                <a:gd name="T50" fmla="*/ 148 w 150"/>
                <a:gd name="T51" fmla="*/ 60 h 151"/>
                <a:gd name="T52" fmla="*/ 144 w 150"/>
                <a:gd name="T53" fmla="*/ 46 h 151"/>
                <a:gd name="T54" fmla="*/ 138 w 150"/>
                <a:gd name="T55" fmla="*/ 33 h 151"/>
                <a:gd name="T56" fmla="*/ 128 w 150"/>
                <a:gd name="T57" fmla="*/ 22 h 151"/>
                <a:gd name="T58" fmla="*/ 117 w 150"/>
                <a:gd name="T59" fmla="*/ 13 h 151"/>
                <a:gd name="T60" fmla="*/ 104 w 150"/>
                <a:gd name="T61" fmla="*/ 6 h 151"/>
                <a:gd name="T62" fmla="*/ 90 w 150"/>
                <a:gd name="T63" fmla="*/ 2 h 151"/>
                <a:gd name="T64" fmla="*/ 75 w 150"/>
                <a:gd name="T65" fmla="*/ 0 h 151"/>
                <a:gd name="T66" fmla="*/ 60 w 150"/>
                <a:gd name="T67" fmla="*/ 2 h 151"/>
                <a:gd name="T68" fmla="*/ 45 w 150"/>
                <a:gd name="T69" fmla="*/ 6 h 151"/>
                <a:gd name="T70" fmla="*/ 32 w 150"/>
                <a:gd name="T71" fmla="*/ 13 h 151"/>
                <a:gd name="T72" fmla="*/ 22 w 150"/>
                <a:gd name="T73" fmla="*/ 22 h 151"/>
                <a:gd name="T74" fmla="*/ 13 w 150"/>
                <a:gd name="T75" fmla="*/ 33 h 151"/>
                <a:gd name="T76" fmla="*/ 6 w 150"/>
                <a:gd name="T77" fmla="*/ 46 h 151"/>
                <a:gd name="T78" fmla="*/ 1 w 150"/>
                <a:gd name="T79" fmla="*/ 60 h 151"/>
                <a:gd name="T80" fmla="*/ 0 w 150"/>
                <a:gd name="T81" fmla="*/ 75 h 151"/>
                <a:gd name="T82" fmla="*/ 1 w 150"/>
                <a:gd name="T83" fmla="*/ 90 h 151"/>
                <a:gd name="T84" fmla="*/ 6 w 150"/>
                <a:gd name="T85" fmla="*/ 105 h 151"/>
                <a:gd name="T86" fmla="*/ 13 w 150"/>
                <a:gd name="T87" fmla="*/ 117 h 151"/>
                <a:gd name="T88" fmla="*/ 22 w 150"/>
                <a:gd name="T89" fmla="*/ 128 h 151"/>
                <a:gd name="T90" fmla="*/ 32 w 150"/>
                <a:gd name="T91" fmla="*/ 137 h 151"/>
                <a:gd name="T92" fmla="*/ 45 w 150"/>
                <a:gd name="T93" fmla="*/ 145 h 151"/>
                <a:gd name="T94" fmla="*/ 60 w 150"/>
                <a:gd name="T95" fmla="*/ 149 h 151"/>
                <a:gd name="T96" fmla="*/ 75 w 150"/>
                <a:gd name="T97" fmla="*/ 15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0" h="151">
                  <a:moveTo>
                    <a:pt x="75" y="30"/>
                  </a:moveTo>
                  <a:lnTo>
                    <a:pt x="84" y="31"/>
                  </a:lnTo>
                  <a:lnTo>
                    <a:pt x="93" y="34"/>
                  </a:lnTo>
                  <a:lnTo>
                    <a:pt x="100" y="37"/>
                  </a:lnTo>
                  <a:lnTo>
                    <a:pt x="106" y="44"/>
                  </a:lnTo>
                  <a:lnTo>
                    <a:pt x="113" y="50"/>
                  </a:lnTo>
                  <a:lnTo>
                    <a:pt x="116" y="58"/>
                  </a:lnTo>
                  <a:lnTo>
                    <a:pt x="119" y="66"/>
                  </a:lnTo>
                  <a:lnTo>
                    <a:pt x="120" y="75"/>
                  </a:lnTo>
                  <a:lnTo>
                    <a:pt x="119" y="84"/>
                  </a:lnTo>
                  <a:lnTo>
                    <a:pt x="116" y="93"/>
                  </a:lnTo>
                  <a:lnTo>
                    <a:pt x="113" y="101"/>
                  </a:lnTo>
                  <a:lnTo>
                    <a:pt x="106" y="107"/>
                  </a:lnTo>
                  <a:lnTo>
                    <a:pt x="100" y="112"/>
                  </a:lnTo>
                  <a:lnTo>
                    <a:pt x="93" y="117"/>
                  </a:lnTo>
                  <a:lnTo>
                    <a:pt x="84" y="120"/>
                  </a:lnTo>
                  <a:lnTo>
                    <a:pt x="75" y="120"/>
                  </a:lnTo>
                  <a:lnTo>
                    <a:pt x="66" y="120"/>
                  </a:lnTo>
                  <a:lnTo>
                    <a:pt x="57" y="117"/>
                  </a:lnTo>
                  <a:lnTo>
                    <a:pt x="50" y="112"/>
                  </a:lnTo>
                  <a:lnTo>
                    <a:pt x="43" y="107"/>
                  </a:lnTo>
                  <a:lnTo>
                    <a:pt x="38" y="101"/>
                  </a:lnTo>
                  <a:lnTo>
                    <a:pt x="34" y="93"/>
                  </a:lnTo>
                  <a:lnTo>
                    <a:pt x="30" y="84"/>
                  </a:lnTo>
                  <a:lnTo>
                    <a:pt x="30" y="75"/>
                  </a:lnTo>
                  <a:lnTo>
                    <a:pt x="30" y="66"/>
                  </a:lnTo>
                  <a:lnTo>
                    <a:pt x="34" y="58"/>
                  </a:lnTo>
                  <a:lnTo>
                    <a:pt x="38" y="50"/>
                  </a:lnTo>
                  <a:lnTo>
                    <a:pt x="43" y="44"/>
                  </a:lnTo>
                  <a:lnTo>
                    <a:pt x="50" y="37"/>
                  </a:lnTo>
                  <a:lnTo>
                    <a:pt x="57" y="34"/>
                  </a:lnTo>
                  <a:lnTo>
                    <a:pt x="66" y="31"/>
                  </a:lnTo>
                  <a:lnTo>
                    <a:pt x="75" y="30"/>
                  </a:lnTo>
                  <a:close/>
                  <a:moveTo>
                    <a:pt x="75" y="150"/>
                  </a:moveTo>
                  <a:lnTo>
                    <a:pt x="83" y="150"/>
                  </a:lnTo>
                  <a:lnTo>
                    <a:pt x="90" y="149"/>
                  </a:lnTo>
                  <a:lnTo>
                    <a:pt x="98" y="147"/>
                  </a:lnTo>
                  <a:lnTo>
                    <a:pt x="104" y="145"/>
                  </a:lnTo>
                  <a:lnTo>
                    <a:pt x="111" y="141"/>
                  </a:lnTo>
                  <a:lnTo>
                    <a:pt x="117" y="137"/>
                  </a:lnTo>
                  <a:lnTo>
                    <a:pt x="123" y="133"/>
                  </a:lnTo>
                  <a:lnTo>
                    <a:pt x="128" y="128"/>
                  </a:lnTo>
                  <a:lnTo>
                    <a:pt x="133" y="123"/>
                  </a:lnTo>
                  <a:lnTo>
                    <a:pt x="138" y="118"/>
                  </a:lnTo>
                  <a:lnTo>
                    <a:pt x="141" y="111"/>
                  </a:lnTo>
                  <a:lnTo>
                    <a:pt x="144" y="105"/>
                  </a:lnTo>
                  <a:lnTo>
                    <a:pt x="147" y="97"/>
                  </a:lnTo>
                  <a:lnTo>
                    <a:pt x="148" y="90"/>
                  </a:lnTo>
                  <a:lnTo>
                    <a:pt x="150" y="83"/>
                  </a:lnTo>
                  <a:lnTo>
                    <a:pt x="150" y="75"/>
                  </a:lnTo>
                  <a:lnTo>
                    <a:pt x="150" y="67"/>
                  </a:lnTo>
                  <a:lnTo>
                    <a:pt x="148" y="60"/>
                  </a:lnTo>
                  <a:lnTo>
                    <a:pt x="147" y="52"/>
                  </a:lnTo>
                  <a:lnTo>
                    <a:pt x="144" y="46"/>
                  </a:lnTo>
                  <a:lnTo>
                    <a:pt x="141" y="39"/>
                  </a:lnTo>
                  <a:lnTo>
                    <a:pt x="138" y="33"/>
                  </a:lnTo>
                  <a:lnTo>
                    <a:pt x="133" y="28"/>
                  </a:lnTo>
                  <a:lnTo>
                    <a:pt x="128" y="22"/>
                  </a:lnTo>
                  <a:lnTo>
                    <a:pt x="123" y="17"/>
                  </a:lnTo>
                  <a:lnTo>
                    <a:pt x="117" y="13"/>
                  </a:lnTo>
                  <a:lnTo>
                    <a:pt x="111" y="9"/>
                  </a:lnTo>
                  <a:lnTo>
                    <a:pt x="104" y="6"/>
                  </a:lnTo>
                  <a:lnTo>
                    <a:pt x="98" y="3"/>
                  </a:lnTo>
                  <a:lnTo>
                    <a:pt x="90" y="2"/>
                  </a:lnTo>
                  <a:lnTo>
                    <a:pt x="83" y="1"/>
                  </a:lnTo>
                  <a:lnTo>
                    <a:pt x="75" y="0"/>
                  </a:lnTo>
                  <a:lnTo>
                    <a:pt x="68" y="1"/>
                  </a:lnTo>
                  <a:lnTo>
                    <a:pt x="60" y="2"/>
                  </a:lnTo>
                  <a:lnTo>
                    <a:pt x="53" y="3"/>
                  </a:lnTo>
                  <a:lnTo>
                    <a:pt x="45" y="6"/>
                  </a:lnTo>
                  <a:lnTo>
                    <a:pt x="39" y="9"/>
                  </a:lnTo>
                  <a:lnTo>
                    <a:pt x="32" y="13"/>
                  </a:lnTo>
                  <a:lnTo>
                    <a:pt x="27" y="17"/>
                  </a:lnTo>
                  <a:lnTo>
                    <a:pt x="22" y="22"/>
                  </a:lnTo>
                  <a:lnTo>
                    <a:pt x="17" y="28"/>
                  </a:lnTo>
                  <a:lnTo>
                    <a:pt x="13" y="33"/>
                  </a:lnTo>
                  <a:lnTo>
                    <a:pt x="9" y="39"/>
                  </a:lnTo>
                  <a:lnTo>
                    <a:pt x="6" y="46"/>
                  </a:lnTo>
                  <a:lnTo>
                    <a:pt x="4" y="53"/>
                  </a:lnTo>
                  <a:lnTo>
                    <a:pt x="1" y="60"/>
                  </a:lnTo>
                  <a:lnTo>
                    <a:pt x="0" y="67"/>
                  </a:lnTo>
                  <a:lnTo>
                    <a:pt x="0" y="75"/>
                  </a:lnTo>
                  <a:lnTo>
                    <a:pt x="0" y="83"/>
                  </a:lnTo>
                  <a:lnTo>
                    <a:pt x="1" y="90"/>
                  </a:lnTo>
                  <a:lnTo>
                    <a:pt x="4" y="97"/>
                  </a:lnTo>
                  <a:lnTo>
                    <a:pt x="6" y="105"/>
                  </a:lnTo>
                  <a:lnTo>
                    <a:pt x="9" y="111"/>
                  </a:lnTo>
                  <a:lnTo>
                    <a:pt x="13" y="117"/>
                  </a:lnTo>
                  <a:lnTo>
                    <a:pt x="17" y="123"/>
                  </a:lnTo>
                  <a:lnTo>
                    <a:pt x="22" y="128"/>
                  </a:lnTo>
                  <a:lnTo>
                    <a:pt x="27" y="133"/>
                  </a:lnTo>
                  <a:lnTo>
                    <a:pt x="32" y="137"/>
                  </a:lnTo>
                  <a:lnTo>
                    <a:pt x="39" y="141"/>
                  </a:lnTo>
                  <a:lnTo>
                    <a:pt x="45" y="145"/>
                  </a:lnTo>
                  <a:lnTo>
                    <a:pt x="53" y="147"/>
                  </a:lnTo>
                  <a:lnTo>
                    <a:pt x="60" y="149"/>
                  </a:lnTo>
                  <a:lnTo>
                    <a:pt x="68" y="150"/>
                  </a:lnTo>
                  <a:lnTo>
                    <a:pt x="75" y="151"/>
                  </a:lnTo>
                  <a:lnTo>
                    <a:pt x="75" y="1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Group 82">
            <a:extLst>
              <a:ext uri="{FF2B5EF4-FFF2-40B4-BE49-F238E27FC236}">
                <a16:creationId xmlns="" xmlns:a16="http://schemas.microsoft.com/office/drawing/2014/main" id="{E6F395BA-90D8-4100-9EF1-DBF9E65546A4}"/>
              </a:ext>
            </a:extLst>
          </p:cNvPr>
          <p:cNvGrpSpPr/>
          <p:nvPr/>
        </p:nvGrpSpPr>
        <p:grpSpPr>
          <a:xfrm>
            <a:off x="9338099" y="2773452"/>
            <a:ext cx="710444" cy="548624"/>
            <a:chOff x="7018338" y="2565400"/>
            <a:chExt cx="285750" cy="220663"/>
          </a:xfrm>
          <a:solidFill>
            <a:schemeClr val="tx2"/>
          </a:solidFill>
        </p:grpSpPr>
        <p:sp>
          <p:nvSpPr>
            <p:cNvPr id="84" name="Freeform 225">
              <a:extLst>
                <a:ext uri="{FF2B5EF4-FFF2-40B4-BE49-F238E27FC236}">
                  <a16:creationId xmlns="" xmlns:a16="http://schemas.microsoft.com/office/drawing/2014/main" id="{8ABAD7B1-4B2A-479A-9B23-DF01C7FBE7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18338" y="2565400"/>
              <a:ext cx="85725" cy="220663"/>
            </a:xfrm>
            <a:custGeom>
              <a:avLst/>
              <a:gdLst>
                <a:gd name="T0" fmla="*/ 181 w 271"/>
                <a:gd name="T1" fmla="*/ 60 h 691"/>
                <a:gd name="T2" fmla="*/ 182 w 271"/>
                <a:gd name="T3" fmla="*/ 46 h 691"/>
                <a:gd name="T4" fmla="*/ 187 w 271"/>
                <a:gd name="T5" fmla="*/ 37 h 691"/>
                <a:gd name="T6" fmla="*/ 197 w 271"/>
                <a:gd name="T7" fmla="*/ 31 h 691"/>
                <a:gd name="T8" fmla="*/ 211 w 271"/>
                <a:gd name="T9" fmla="*/ 30 h 691"/>
                <a:gd name="T10" fmla="*/ 225 w 271"/>
                <a:gd name="T11" fmla="*/ 31 h 691"/>
                <a:gd name="T12" fmla="*/ 234 w 271"/>
                <a:gd name="T13" fmla="*/ 37 h 691"/>
                <a:gd name="T14" fmla="*/ 239 w 271"/>
                <a:gd name="T15" fmla="*/ 46 h 691"/>
                <a:gd name="T16" fmla="*/ 241 w 271"/>
                <a:gd name="T17" fmla="*/ 60 h 691"/>
                <a:gd name="T18" fmla="*/ 181 w 271"/>
                <a:gd name="T19" fmla="*/ 661 h 691"/>
                <a:gd name="T20" fmla="*/ 204 w 271"/>
                <a:gd name="T21" fmla="*/ 0 h 691"/>
                <a:gd name="T22" fmla="*/ 191 w 271"/>
                <a:gd name="T23" fmla="*/ 3 h 691"/>
                <a:gd name="T24" fmla="*/ 180 w 271"/>
                <a:gd name="T25" fmla="*/ 6 h 691"/>
                <a:gd name="T26" fmla="*/ 170 w 271"/>
                <a:gd name="T27" fmla="*/ 12 h 691"/>
                <a:gd name="T28" fmla="*/ 163 w 271"/>
                <a:gd name="T29" fmla="*/ 20 h 691"/>
                <a:gd name="T30" fmla="*/ 156 w 271"/>
                <a:gd name="T31" fmla="*/ 29 h 691"/>
                <a:gd name="T32" fmla="*/ 153 w 271"/>
                <a:gd name="T33" fmla="*/ 40 h 691"/>
                <a:gd name="T34" fmla="*/ 151 w 271"/>
                <a:gd name="T35" fmla="*/ 53 h 691"/>
                <a:gd name="T36" fmla="*/ 151 w 271"/>
                <a:gd name="T37" fmla="*/ 481 h 691"/>
                <a:gd name="T38" fmla="*/ 73 w 271"/>
                <a:gd name="T39" fmla="*/ 481 h 691"/>
                <a:gd name="T40" fmla="*/ 67 w 271"/>
                <a:gd name="T41" fmla="*/ 484 h 691"/>
                <a:gd name="T42" fmla="*/ 63 w 271"/>
                <a:gd name="T43" fmla="*/ 488 h 691"/>
                <a:gd name="T44" fmla="*/ 61 w 271"/>
                <a:gd name="T45" fmla="*/ 493 h 691"/>
                <a:gd name="T46" fmla="*/ 61 w 271"/>
                <a:gd name="T47" fmla="*/ 500 h 691"/>
                <a:gd name="T48" fmla="*/ 63 w 271"/>
                <a:gd name="T49" fmla="*/ 505 h 691"/>
                <a:gd name="T50" fmla="*/ 67 w 271"/>
                <a:gd name="T51" fmla="*/ 508 h 691"/>
                <a:gd name="T52" fmla="*/ 73 w 271"/>
                <a:gd name="T53" fmla="*/ 510 h 691"/>
                <a:gd name="T54" fmla="*/ 151 w 271"/>
                <a:gd name="T55" fmla="*/ 511 h 691"/>
                <a:gd name="T56" fmla="*/ 15 w 271"/>
                <a:gd name="T57" fmla="*/ 661 h 691"/>
                <a:gd name="T58" fmla="*/ 10 w 271"/>
                <a:gd name="T59" fmla="*/ 662 h 691"/>
                <a:gd name="T60" fmla="*/ 4 w 271"/>
                <a:gd name="T61" fmla="*/ 666 h 691"/>
                <a:gd name="T62" fmla="*/ 1 w 271"/>
                <a:gd name="T63" fmla="*/ 671 h 691"/>
                <a:gd name="T64" fmla="*/ 0 w 271"/>
                <a:gd name="T65" fmla="*/ 676 h 691"/>
                <a:gd name="T66" fmla="*/ 1 w 271"/>
                <a:gd name="T67" fmla="*/ 683 h 691"/>
                <a:gd name="T68" fmla="*/ 4 w 271"/>
                <a:gd name="T69" fmla="*/ 687 h 691"/>
                <a:gd name="T70" fmla="*/ 10 w 271"/>
                <a:gd name="T71" fmla="*/ 690 h 691"/>
                <a:gd name="T72" fmla="*/ 15 w 271"/>
                <a:gd name="T73" fmla="*/ 691 h 691"/>
                <a:gd name="T74" fmla="*/ 256 w 271"/>
                <a:gd name="T75" fmla="*/ 691 h 691"/>
                <a:gd name="T76" fmla="*/ 261 w 271"/>
                <a:gd name="T77" fmla="*/ 690 h 691"/>
                <a:gd name="T78" fmla="*/ 267 w 271"/>
                <a:gd name="T79" fmla="*/ 687 h 691"/>
                <a:gd name="T80" fmla="*/ 270 w 271"/>
                <a:gd name="T81" fmla="*/ 683 h 691"/>
                <a:gd name="T82" fmla="*/ 271 w 271"/>
                <a:gd name="T83" fmla="*/ 676 h 691"/>
                <a:gd name="T84" fmla="*/ 271 w 271"/>
                <a:gd name="T85" fmla="*/ 53 h 691"/>
                <a:gd name="T86" fmla="*/ 269 w 271"/>
                <a:gd name="T87" fmla="*/ 40 h 691"/>
                <a:gd name="T88" fmla="*/ 265 w 271"/>
                <a:gd name="T89" fmla="*/ 29 h 691"/>
                <a:gd name="T90" fmla="*/ 259 w 271"/>
                <a:gd name="T91" fmla="*/ 20 h 691"/>
                <a:gd name="T92" fmla="*/ 251 w 271"/>
                <a:gd name="T93" fmla="*/ 12 h 691"/>
                <a:gd name="T94" fmla="*/ 242 w 271"/>
                <a:gd name="T95" fmla="*/ 6 h 691"/>
                <a:gd name="T96" fmla="*/ 230 w 271"/>
                <a:gd name="T97" fmla="*/ 3 h 691"/>
                <a:gd name="T98" fmla="*/ 217 w 271"/>
                <a:gd name="T99" fmla="*/ 0 h 6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71" h="691">
                  <a:moveTo>
                    <a:pt x="181" y="661"/>
                  </a:moveTo>
                  <a:lnTo>
                    <a:pt x="181" y="60"/>
                  </a:lnTo>
                  <a:lnTo>
                    <a:pt x="181" y="53"/>
                  </a:lnTo>
                  <a:lnTo>
                    <a:pt x="182" y="46"/>
                  </a:lnTo>
                  <a:lnTo>
                    <a:pt x="184" y="41"/>
                  </a:lnTo>
                  <a:lnTo>
                    <a:pt x="187" y="37"/>
                  </a:lnTo>
                  <a:lnTo>
                    <a:pt x="192" y="34"/>
                  </a:lnTo>
                  <a:lnTo>
                    <a:pt x="197" y="31"/>
                  </a:lnTo>
                  <a:lnTo>
                    <a:pt x="204" y="30"/>
                  </a:lnTo>
                  <a:lnTo>
                    <a:pt x="211" y="30"/>
                  </a:lnTo>
                  <a:lnTo>
                    <a:pt x="219" y="30"/>
                  </a:lnTo>
                  <a:lnTo>
                    <a:pt x="225" y="31"/>
                  </a:lnTo>
                  <a:lnTo>
                    <a:pt x="229" y="34"/>
                  </a:lnTo>
                  <a:lnTo>
                    <a:pt x="234" y="37"/>
                  </a:lnTo>
                  <a:lnTo>
                    <a:pt x="237" y="41"/>
                  </a:lnTo>
                  <a:lnTo>
                    <a:pt x="239" y="46"/>
                  </a:lnTo>
                  <a:lnTo>
                    <a:pt x="240" y="53"/>
                  </a:lnTo>
                  <a:lnTo>
                    <a:pt x="241" y="60"/>
                  </a:lnTo>
                  <a:lnTo>
                    <a:pt x="241" y="661"/>
                  </a:lnTo>
                  <a:lnTo>
                    <a:pt x="181" y="661"/>
                  </a:lnTo>
                  <a:close/>
                  <a:moveTo>
                    <a:pt x="211" y="0"/>
                  </a:moveTo>
                  <a:lnTo>
                    <a:pt x="204" y="0"/>
                  </a:lnTo>
                  <a:lnTo>
                    <a:pt x="197" y="0"/>
                  </a:lnTo>
                  <a:lnTo>
                    <a:pt x="191" y="3"/>
                  </a:lnTo>
                  <a:lnTo>
                    <a:pt x="185" y="4"/>
                  </a:lnTo>
                  <a:lnTo>
                    <a:pt x="180" y="6"/>
                  </a:lnTo>
                  <a:lnTo>
                    <a:pt x="175" y="9"/>
                  </a:lnTo>
                  <a:lnTo>
                    <a:pt x="170" y="12"/>
                  </a:lnTo>
                  <a:lnTo>
                    <a:pt x="166" y="15"/>
                  </a:lnTo>
                  <a:lnTo>
                    <a:pt x="163" y="20"/>
                  </a:lnTo>
                  <a:lnTo>
                    <a:pt x="160" y="24"/>
                  </a:lnTo>
                  <a:lnTo>
                    <a:pt x="156" y="29"/>
                  </a:lnTo>
                  <a:lnTo>
                    <a:pt x="154" y="35"/>
                  </a:lnTo>
                  <a:lnTo>
                    <a:pt x="153" y="40"/>
                  </a:lnTo>
                  <a:lnTo>
                    <a:pt x="152" y="46"/>
                  </a:lnTo>
                  <a:lnTo>
                    <a:pt x="151" y="53"/>
                  </a:lnTo>
                  <a:lnTo>
                    <a:pt x="151" y="60"/>
                  </a:lnTo>
                  <a:lnTo>
                    <a:pt x="151" y="481"/>
                  </a:lnTo>
                  <a:lnTo>
                    <a:pt x="75" y="481"/>
                  </a:lnTo>
                  <a:lnTo>
                    <a:pt x="73" y="481"/>
                  </a:lnTo>
                  <a:lnTo>
                    <a:pt x="70" y="482"/>
                  </a:lnTo>
                  <a:lnTo>
                    <a:pt x="67" y="484"/>
                  </a:lnTo>
                  <a:lnTo>
                    <a:pt x="65" y="486"/>
                  </a:lnTo>
                  <a:lnTo>
                    <a:pt x="63" y="488"/>
                  </a:lnTo>
                  <a:lnTo>
                    <a:pt x="61" y="490"/>
                  </a:lnTo>
                  <a:lnTo>
                    <a:pt x="61" y="493"/>
                  </a:lnTo>
                  <a:lnTo>
                    <a:pt x="60" y="496"/>
                  </a:lnTo>
                  <a:lnTo>
                    <a:pt x="61" y="500"/>
                  </a:lnTo>
                  <a:lnTo>
                    <a:pt x="61" y="502"/>
                  </a:lnTo>
                  <a:lnTo>
                    <a:pt x="63" y="505"/>
                  </a:lnTo>
                  <a:lnTo>
                    <a:pt x="65" y="507"/>
                  </a:lnTo>
                  <a:lnTo>
                    <a:pt x="67" y="508"/>
                  </a:lnTo>
                  <a:lnTo>
                    <a:pt x="70" y="510"/>
                  </a:lnTo>
                  <a:lnTo>
                    <a:pt x="73" y="510"/>
                  </a:lnTo>
                  <a:lnTo>
                    <a:pt x="75" y="511"/>
                  </a:lnTo>
                  <a:lnTo>
                    <a:pt x="151" y="511"/>
                  </a:lnTo>
                  <a:lnTo>
                    <a:pt x="151" y="661"/>
                  </a:lnTo>
                  <a:lnTo>
                    <a:pt x="15" y="661"/>
                  </a:lnTo>
                  <a:lnTo>
                    <a:pt x="12" y="661"/>
                  </a:lnTo>
                  <a:lnTo>
                    <a:pt x="10" y="662"/>
                  </a:lnTo>
                  <a:lnTo>
                    <a:pt x="6" y="663"/>
                  </a:lnTo>
                  <a:lnTo>
                    <a:pt x="4" y="666"/>
                  </a:lnTo>
                  <a:lnTo>
                    <a:pt x="3" y="668"/>
                  </a:lnTo>
                  <a:lnTo>
                    <a:pt x="1" y="671"/>
                  </a:lnTo>
                  <a:lnTo>
                    <a:pt x="1" y="673"/>
                  </a:lnTo>
                  <a:lnTo>
                    <a:pt x="0" y="676"/>
                  </a:lnTo>
                  <a:lnTo>
                    <a:pt x="1" y="680"/>
                  </a:lnTo>
                  <a:lnTo>
                    <a:pt x="1" y="683"/>
                  </a:lnTo>
                  <a:lnTo>
                    <a:pt x="3" y="685"/>
                  </a:lnTo>
                  <a:lnTo>
                    <a:pt x="4" y="687"/>
                  </a:lnTo>
                  <a:lnTo>
                    <a:pt x="6" y="689"/>
                  </a:lnTo>
                  <a:lnTo>
                    <a:pt x="10" y="690"/>
                  </a:lnTo>
                  <a:lnTo>
                    <a:pt x="12" y="691"/>
                  </a:lnTo>
                  <a:lnTo>
                    <a:pt x="15" y="691"/>
                  </a:lnTo>
                  <a:lnTo>
                    <a:pt x="166" y="691"/>
                  </a:lnTo>
                  <a:lnTo>
                    <a:pt x="256" y="691"/>
                  </a:lnTo>
                  <a:lnTo>
                    <a:pt x="259" y="691"/>
                  </a:lnTo>
                  <a:lnTo>
                    <a:pt x="261" y="690"/>
                  </a:lnTo>
                  <a:lnTo>
                    <a:pt x="265" y="689"/>
                  </a:lnTo>
                  <a:lnTo>
                    <a:pt x="267" y="687"/>
                  </a:lnTo>
                  <a:lnTo>
                    <a:pt x="268" y="685"/>
                  </a:lnTo>
                  <a:lnTo>
                    <a:pt x="270" y="683"/>
                  </a:lnTo>
                  <a:lnTo>
                    <a:pt x="271" y="680"/>
                  </a:lnTo>
                  <a:lnTo>
                    <a:pt x="271" y="676"/>
                  </a:lnTo>
                  <a:lnTo>
                    <a:pt x="271" y="60"/>
                  </a:lnTo>
                  <a:lnTo>
                    <a:pt x="271" y="53"/>
                  </a:lnTo>
                  <a:lnTo>
                    <a:pt x="270" y="46"/>
                  </a:lnTo>
                  <a:lnTo>
                    <a:pt x="269" y="40"/>
                  </a:lnTo>
                  <a:lnTo>
                    <a:pt x="267" y="35"/>
                  </a:lnTo>
                  <a:lnTo>
                    <a:pt x="265" y="29"/>
                  </a:lnTo>
                  <a:lnTo>
                    <a:pt x="262" y="24"/>
                  </a:lnTo>
                  <a:lnTo>
                    <a:pt x="259" y="20"/>
                  </a:lnTo>
                  <a:lnTo>
                    <a:pt x="255" y="15"/>
                  </a:lnTo>
                  <a:lnTo>
                    <a:pt x="251" y="12"/>
                  </a:lnTo>
                  <a:lnTo>
                    <a:pt x="246" y="9"/>
                  </a:lnTo>
                  <a:lnTo>
                    <a:pt x="242" y="6"/>
                  </a:lnTo>
                  <a:lnTo>
                    <a:pt x="237" y="4"/>
                  </a:lnTo>
                  <a:lnTo>
                    <a:pt x="230" y="3"/>
                  </a:lnTo>
                  <a:lnTo>
                    <a:pt x="224" y="0"/>
                  </a:lnTo>
                  <a:lnTo>
                    <a:pt x="217" y="0"/>
                  </a:lnTo>
                  <a:lnTo>
                    <a:pt x="21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26">
              <a:extLst>
                <a:ext uri="{FF2B5EF4-FFF2-40B4-BE49-F238E27FC236}">
                  <a16:creationId xmlns="" xmlns:a16="http://schemas.microsoft.com/office/drawing/2014/main" id="{843EF419-9E2B-4C45-9EB4-08F666DEE6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13588" y="2584450"/>
              <a:ext cx="190500" cy="201613"/>
            </a:xfrm>
            <a:custGeom>
              <a:avLst/>
              <a:gdLst>
                <a:gd name="T0" fmla="*/ 530 w 601"/>
                <a:gd name="T1" fmla="*/ 499 h 631"/>
                <a:gd name="T2" fmla="*/ 486 w 601"/>
                <a:gd name="T3" fmla="*/ 458 h 631"/>
                <a:gd name="T4" fmla="*/ 424 w 601"/>
                <a:gd name="T5" fmla="*/ 456 h 631"/>
                <a:gd name="T6" fmla="*/ 376 w 601"/>
                <a:gd name="T7" fmla="*/ 491 h 631"/>
                <a:gd name="T8" fmla="*/ 327 w 601"/>
                <a:gd name="T9" fmla="*/ 541 h 631"/>
                <a:gd name="T10" fmla="*/ 322 w 601"/>
                <a:gd name="T11" fmla="*/ 466 h 631"/>
                <a:gd name="T12" fmla="*/ 285 w 601"/>
                <a:gd name="T13" fmla="*/ 417 h 631"/>
                <a:gd name="T14" fmla="*/ 520 w 601"/>
                <a:gd name="T15" fmla="*/ 330 h 631"/>
                <a:gd name="T16" fmla="*/ 427 w 601"/>
                <a:gd name="T17" fmla="*/ 597 h 631"/>
                <a:gd name="T18" fmla="*/ 399 w 601"/>
                <a:gd name="T19" fmla="*/ 570 h 631"/>
                <a:gd name="T20" fmla="*/ 392 w 601"/>
                <a:gd name="T21" fmla="*/ 530 h 631"/>
                <a:gd name="T22" fmla="*/ 412 w 601"/>
                <a:gd name="T23" fmla="*/ 495 h 631"/>
                <a:gd name="T24" fmla="*/ 451 w 601"/>
                <a:gd name="T25" fmla="*/ 481 h 631"/>
                <a:gd name="T26" fmla="*/ 490 w 601"/>
                <a:gd name="T27" fmla="*/ 495 h 631"/>
                <a:gd name="T28" fmla="*/ 510 w 601"/>
                <a:gd name="T29" fmla="*/ 530 h 631"/>
                <a:gd name="T30" fmla="*/ 503 w 601"/>
                <a:gd name="T31" fmla="*/ 570 h 631"/>
                <a:gd name="T32" fmla="*/ 475 w 601"/>
                <a:gd name="T33" fmla="*/ 597 h 631"/>
                <a:gd name="T34" fmla="*/ 192 w 601"/>
                <a:gd name="T35" fmla="*/ 599 h 631"/>
                <a:gd name="T36" fmla="*/ 140 w 601"/>
                <a:gd name="T37" fmla="*/ 568 h 631"/>
                <a:gd name="T38" fmla="*/ 120 w 601"/>
                <a:gd name="T39" fmla="*/ 511 h 631"/>
                <a:gd name="T40" fmla="*/ 140 w 601"/>
                <a:gd name="T41" fmla="*/ 454 h 631"/>
                <a:gd name="T42" fmla="*/ 192 w 601"/>
                <a:gd name="T43" fmla="*/ 422 h 631"/>
                <a:gd name="T44" fmla="*/ 254 w 601"/>
                <a:gd name="T45" fmla="*/ 432 h 631"/>
                <a:gd name="T46" fmla="*/ 294 w 601"/>
                <a:gd name="T47" fmla="*/ 476 h 631"/>
                <a:gd name="T48" fmla="*/ 297 w 601"/>
                <a:gd name="T49" fmla="*/ 538 h 631"/>
                <a:gd name="T50" fmla="*/ 260 w 601"/>
                <a:gd name="T51" fmla="*/ 586 h 631"/>
                <a:gd name="T52" fmla="*/ 30 w 601"/>
                <a:gd name="T53" fmla="*/ 541 h 631"/>
                <a:gd name="T54" fmla="*/ 195 w 601"/>
                <a:gd name="T55" fmla="*/ 285 h 631"/>
                <a:gd name="T56" fmla="*/ 210 w 601"/>
                <a:gd name="T57" fmla="*/ 268 h 631"/>
                <a:gd name="T58" fmla="*/ 168 w 601"/>
                <a:gd name="T59" fmla="*/ 223 h 631"/>
                <a:gd name="T60" fmla="*/ 151 w 601"/>
                <a:gd name="T61" fmla="*/ 232 h 631"/>
                <a:gd name="T62" fmla="*/ 160 w 601"/>
                <a:gd name="T63" fmla="*/ 254 h 631"/>
                <a:gd name="T64" fmla="*/ 41 w 601"/>
                <a:gd name="T65" fmla="*/ 279 h 631"/>
                <a:gd name="T66" fmla="*/ 88 w 601"/>
                <a:gd name="T67" fmla="*/ 177 h 631"/>
                <a:gd name="T68" fmla="*/ 164 w 601"/>
                <a:gd name="T69" fmla="*/ 97 h 631"/>
                <a:gd name="T70" fmla="*/ 264 w 601"/>
                <a:gd name="T71" fmla="*/ 45 h 631"/>
                <a:gd name="T72" fmla="*/ 451 w 601"/>
                <a:gd name="T73" fmla="*/ 30 h 631"/>
                <a:gd name="T74" fmla="*/ 490 w 601"/>
                <a:gd name="T75" fmla="*/ 43 h 631"/>
                <a:gd name="T76" fmla="*/ 510 w 601"/>
                <a:gd name="T77" fmla="*/ 78 h 631"/>
                <a:gd name="T78" fmla="*/ 436 w 601"/>
                <a:gd name="T79" fmla="*/ 148 h 631"/>
                <a:gd name="T80" fmla="*/ 422 w 601"/>
                <a:gd name="T81" fmla="*/ 135 h 631"/>
                <a:gd name="T82" fmla="*/ 406 w 601"/>
                <a:gd name="T83" fmla="*/ 146 h 631"/>
                <a:gd name="T84" fmla="*/ 219 w 601"/>
                <a:gd name="T85" fmla="*/ 391 h 631"/>
                <a:gd name="T86" fmla="*/ 153 w 601"/>
                <a:gd name="T87" fmla="*/ 405 h 631"/>
                <a:gd name="T88" fmla="*/ 100 w 601"/>
                <a:gd name="T89" fmla="*/ 464 h 631"/>
                <a:gd name="T90" fmla="*/ 30 w 601"/>
                <a:gd name="T91" fmla="*/ 541 h 631"/>
                <a:gd name="T92" fmla="*/ 535 w 601"/>
                <a:gd name="T93" fmla="*/ 55 h 631"/>
                <a:gd name="T94" fmla="*/ 494 w 601"/>
                <a:gd name="T95" fmla="*/ 11 h 631"/>
                <a:gd name="T96" fmla="*/ 343 w 601"/>
                <a:gd name="T97" fmla="*/ 0 h 631"/>
                <a:gd name="T98" fmla="*/ 222 w 601"/>
                <a:gd name="T99" fmla="*/ 29 h 631"/>
                <a:gd name="T100" fmla="*/ 120 w 601"/>
                <a:gd name="T101" fmla="*/ 95 h 631"/>
                <a:gd name="T102" fmla="*/ 44 w 601"/>
                <a:gd name="T103" fmla="*/ 190 h 631"/>
                <a:gd name="T104" fmla="*/ 4 w 601"/>
                <a:gd name="T105" fmla="*/ 307 h 631"/>
                <a:gd name="T106" fmla="*/ 2 w 601"/>
                <a:gd name="T107" fmla="*/ 565 h 631"/>
                <a:gd name="T108" fmla="*/ 115 w 601"/>
                <a:gd name="T109" fmla="*/ 584 h 631"/>
                <a:gd name="T110" fmla="*/ 194 w 601"/>
                <a:gd name="T111" fmla="*/ 630 h 631"/>
                <a:gd name="T112" fmla="*/ 257 w 601"/>
                <a:gd name="T113" fmla="*/ 622 h 631"/>
                <a:gd name="T114" fmla="*/ 372 w 601"/>
                <a:gd name="T115" fmla="*/ 584 h 631"/>
                <a:gd name="T116" fmla="*/ 437 w 601"/>
                <a:gd name="T117" fmla="*/ 630 h 631"/>
                <a:gd name="T118" fmla="*/ 492 w 601"/>
                <a:gd name="T119" fmla="*/ 622 h 631"/>
                <a:gd name="T120" fmla="*/ 589 w 601"/>
                <a:gd name="T121" fmla="*/ 571 h 631"/>
                <a:gd name="T122" fmla="*/ 601 w 601"/>
                <a:gd name="T123" fmla="*/ 556 h 6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1" h="631">
                  <a:moveTo>
                    <a:pt x="571" y="541"/>
                  </a:moveTo>
                  <a:lnTo>
                    <a:pt x="541" y="541"/>
                  </a:lnTo>
                  <a:lnTo>
                    <a:pt x="541" y="532"/>
                  </a:lnTo>
                  <a:lnTo>
                    <a:pt x="539" y="523"/>
                  </a:lnTo>
                  <a:lnTo>
                    <a:pt x="537" y="515"/>
                  </a:lnTo>
                  <a:lnTo>
                    <a:pt x="535" y="506"/>
                  </a:lnTo>
                  <a:lnTo>
                    <a:pt x="530" y="499"/>
                  </a:lnTo>
                  <a:lnTo>
                    <a:pt x="526" y="491"/>
                  </a:lnTo>
                  <a:lnTo>
                    <a:pt x="521" y="484"/>
                  </a:lnTo>
                  <a:lnTo>
                    <a:pt x="515" y="477"/>
                  </a:lnTo>
                  <a:lnTo>
                    <a:pt x="509" y="472"/>
                  </a:lnTo>
                  <a:lnTo>
                    <a:pt x="501" y="466"/>
                  </a:lnTo>
                  <a:lnTo>
                    <a:pt x="494" y="462"/>
                  </a:lnTo>
                  <a:lnTo>
                    <a:pt x="486" y="458"/>
                  </a:lnTo>
                  <a:lnTo>
                    <a:pt x="478" y="456"/>
                  </a:lnTo>
                  <a:lnTo>
                    <a:pt x="469" y="452"/>
                  </a:lnTo>
                  <a:lnTo>
                    <a:pt x="461" y="451"/>
                  </a:lnTo>
                  <a:lnTo>
                    <a:pt x="451" y="451"/>
                  </a:lnTo>
                  <a:lnTo>
                    <a:pt x="441" y="451"/>
                  </a:lnTo>
                  <a:lnTo>
                    <a:pt x="433" y="452"/>
                  </a:lnTo>
                  <a:lnTo>
                    <a:pt x="424" y="456"/>
                  </a:lnTo>
                  <a:lnTo>
                    <a:pt x="416" y="458"/>
                  </a:lnTo>
                  <a:lnTo>
                    <a:pt x="408" y="462"/>
                  </a:lnTo>
                  <a:lnTo>
                    <a:pt x="401" y="466"/>
                  </a:lnTo>
                  <a:lnTo>
                    <a:pt x="393" y="472"/>
                  </a:lnTo>
                  <a:lnTo>
                    <a:pt x="387" y="477"/>
                  </a:lnTo>
                  <a:lnTo>
                    <a:pt x="381" y="484"/>
                  </a:lnTo>
                  <a:lnTo>
                    <a:pt x="376" y="491"/>
                  </a:lnTo>
                  <a:lnTo>
                    <a:pt x="372" y="499"/>
                  </a:lnTo>
                  <a:lnTo>
                    <a:pt x="367" y="506"/>
                  </a:lnTo>
                  <a:lnTo>
                    <a:pt x="365" y="515"/>
                  </a:lnTo>
                  <a:lnTo>
                    <a:pt x="362" y="523"/>
                  </a:lnTo>
                  <a:lnTo>
                    <a:pt x="361" y="532"/>
                  </a:lnTo>
                  <a:lnTo>
                    <a:pt x="361" y="541"/>
                  </a:lnTo>
                  <a:lnTo>
                    <a:pt x="327" y="541"/>
                  </a:lnTo>
                  <a:lnTo>
                    <a:pt x="330" y="526"/>
                  </a:lnTo>
                  <a:lnTo>
                    <a:pt x="331" y="511"/>
                  </a:lnTo>
                  <a:lnTo>
                    <a:pt x="330" y="502"/>
                  </a:lnTo>
                  <a:lnTo>
                    <a:pt x="329" y="492"/>
                  </a:lnTo>
                  <a:lnTo>
                    <a:pt x="328" y="484"/>
                  </a:lnTo>
                  <a:lnTo>
                    <a:pt x="325" y="475"/>
                  </a:lnTo>
                  <a:lnTo>
                    <a:pt x="322" y="466"/>
                  </a:lnTo>
                  <a:lnTo>
                    <a:pt x="318" y="458"/>
                  </a:lnTo>
                  <a:lnTo>
                    <a:pt x="314" y="450"/>
                  </a:lnTo>
                  <a:lnTo>
                    <a:pt x="310" y="443"/>
                  </a:lnTo>
                  <a:lnTo>
                    <a:pt x="303" y="435"/>
                  </a:lnTo>
                  <a:lnTo>
                    <a:pt x="298" y="429"/>
                  </a:lnTo>
                  <a:lnTo>
                    <a:pt x="291" y="422"/>
                  </a:lnTo>
                  <a:lnTo>
                    <a:pt x="285" y="417"/>
                  </a:lnTo>
                  <a:lnTo>
                    <a:pt x="277" y="412"/>
                  </a:lnTo>
                  <a:lnTo>
                    <a:pt x="270" y="406"/>
                  </a:lnTo>
                  <a:lnTo>
                    <a:pt x="261" y="403"/>
                  </a:lnTo>
                  <a:lnTo>
                    <a:pt x="254" y="399"/>
                  </a:lnTo>
                  <a:lnTo>
                    <a:pt x="321" y="330"/>
                  </a:lnTo>
                  <a:lnTo>
                    <a:pt x="376" y="330"/>
                  </a:lnTo>
                  <a:lnTo>
                    <a:pt x="520" y="330"/>
                  </a:lnTo>
                  <a:lnTo>
                    <a:pt x="571" y="382"/>
                  </a:lnTo>
                  <a:lnTo>
                    <a:pt x="571" y="541"/>
                  </a:lnTo>
                  <a:close/>
                  <a:moveTo>
                    <a:pt x="451" y="601"/>
                  </a:moveTo>
                  <a:lnTo>
                    <a:pt x="445" y="601"/>
                  </a:lnTo>
                  <a:lnTo>
                    <a:pt x="439" y="600"/>
                  </a:lnTo>
                  <a:lnTo>
                    <a:pt x="433" y="599"/>
                  </a:lnTo>
                  <a:lnTo>
                    <a:pt x="427" y="597"/>
                  </a:lnTo>
                  <a:lnTo>
                    <a:pt x="422" y="594"/>
                  </a:lnTo>
                  <a:lnTo>
                    <a:pt x="418" y="591"/>
                  </a:lnTo>
                  <a:lnTo>
                    <a:pt x="412" y="587"/>
                  </a:lnTo>
                  <a:lnTo>
                    <a:pt x="408" y="584"/>
                  </a:lnTo>
                  <a:lnTo>
                    <a:pt x="405" y="580"/>
                  </a:lnTo>
                  <a:lnTo>
                    <a:pt x="401" y="575"/>
                  </a:lnTo>
                  <a:lnTo>
                    <a:pt x="399" y="570"/>
                  </a:lnTo>
                  <a:lnTo>
                    <a:pt x="395" y="565"/>
                  </a:lnTo>
                  <a:lnTo>
                    <a:pt x="393" y="560"/>
                  </a:lnTo>
                  <a:lnTo>
                    <a:pt x="392" y="553"/>
                  </a:lnTo>
                  <a:lnTo>
                    <a:pt x="391" y="548"/>
                  </a:lnTo>
                  <a:lnTo>
                    <a:pt x="391" y="541"/>
                  </a:lnTo>
                  <a:lnTo>
                    <a:pt x="391" y="535"/>
                  </a:lnTo>
                  <a:lnTo>
                    <a:pt x="392" y="530"/>
                  </a:lnTo>
                  <a:lnTo>
                    <a:pt x="393" y="523"/>
                  </a:lnTo>
                  <a:lnTo>
                    <a:pt x="395" y="518"/>
                  </a:lnTo>
                  <a:lnTo>
                    <a:pt x="399" y="512"/>
                  </a:lnTo>
                  <a:lnTo>
                    <a:pt x="401" y="508"/>
                  </a:lnTo>
                  <a:lnTo>
                    <a:pt x="405" y="503"/>
                  </a:lnTo>
                  <a:lnTo>
                    <a:pt x="408" y="499"/>
                  </a:lnTo>
                  <a:lnTo>
                    <a:pt x="412" y="495"/>
                  </a:lnTo>
                  <a:lnTo>
                    <a:pt x="418" y="491"/>
                  </a:lnTo>
                  <a:lnTo>
                    <a:pt x="422" y="489"/>
                  </a:lnTo>
                  <a:lnTo>
                    <a:pt x="427" y="486"/>
                  </a:lnTo>
                  <a:lnTo>
                    <a:pt x="433" y="484"/>
                  </a:lnTo>
                  <a:lnTo>
                    <a:pt x="439" y="482"/>
                  </a:lnTo>
                  <a:lnTo>
                    <a:pt x="445" y="481"/>
                  </a:lnTo>
                  <a:lnTo>
                    <a:pt x="451" y="481"/>
                  </a:lnTo>
                  <a:lnTo>
                    <a:pt x="457" y="481"/>
                  </a:lnTo>
                  <a:lnTo>
                    <a:pt x="463" y="482"/>
                  </a:lnTo>
                  <a:lnTo>
                    <a:pt x="469" y="484"/>
                  </a:lnTo>
                  <a:lnTo>
                    <a:pt x="475" y="486"/>
                  </a:lnTo>
                  <a:lnTo>
                    <a:pt x="480" y="489"/>
                  </a:lnTo>
                  <a:lnTo>
                    <a:pt x="484" y="491"/>
                  </a:lnTo>
                  <a:lnTo>
                    <a:pt x="490" y="495"/>
                  </a:lnTo>
                  <a:lnTo>
                    <a:pt x="494" y="499"/>
                  </a:lnTo>
                  <a:lnTo>
                    <a:pt x="497" y="503"/>
                  </a:lnTo>
                  <a:lnTo>
                    <a:pt x="501" y="508"/>
                  </a:lnTo>
                  <a:lnTo>
                    <a:pt x="503" y="512"/>
                  </a:lnTo>
                  <a:lnTo>
                    <a:pt x="507" y="518"/>
                  </a:lnTo>
                  <a:lnTo>
                    <a:pt x="509" y="523"/>
                  </a:lnTo>
                  <a:lnTo>
                    <a:pt x="510" y="530"/>
                  </a:lnTo>
                  <a:lnTo>
                    <a:pt x="511" y="535"/>
                  </a:lnTo>
                  <a:lnTo>
                    <a:pt x="511" y="541"/>
                  </a:lnTo>
                  <a:lnTo>
                    <a:pt x="511" y="548"/>
                  </a:lnTo>
                  <a:lnTo>
                    <a:pt x="510" y="553"/>
                  </a:lnTo>
                  <a:lnTo>
                    <a:pt x="509" y="560"/>
                  </a:lnTo>
                  <a:lnTo>
                    <a:pt x="507" y="565"/>
                  </a:lnTo>
                  <a:lnTo>
                    <a:pt x="503" y="570"/>
                  </a:lnTo>
                  <a:lnTo>
                    <a:pt x="501" y="575"/>
                  </a:lnTo>
                  <a:lnTo>
                    <a:pt x="497" y="580"/>
                  </a:lnTo>
                  <a:lnTo>
                    <a:pt x="494" y="584"/>
                  </a:lnTo>
                  <a:lnTo>
                    <a:pt x="490" y="587"/>
                  </a:lnTo>
                  <a:lnTo>
                    <a:pt x="484" y="591"/>
                  </a:lnTo>
                  <a:lnTo>
                    <a:pt x="480" y="594"/>
                  </a:lnTo>
                  <a:lnTo>
                    <a:pt x="475" y="597"/>
                  </a:lnTo>
                  <a:lnTo>
                    <a:pt x="469" y="599"/>
                  </a:lnTo>
                  <a:lnTo>
                    <a:pt x="463" y="600"/>
                  </a:lnTo>
                  <a:lnTo>
                    <a:pt x="457" y="601"/>
                  </a:lnTo>
                  <a:lnTo>
                    <a:pt x="451" y="601"/>
                  </a:lnTo>
                  <a:close/>
                  <a:moveTo>
                    <a:pt x="210" y="601"/>
                  </a:moveTo>
                  <a:lnTo>
                    <a:pt x="201" y="601"/>
                  </a:lnTo>
                  <a:lnTo>
                    <a:pt x="192" y="599"/>
                  </a:lnTo>
                  <a:lnTo>
                    <a:pt x="183" y="597"/>
                  </a:lnTo>
                  <a:lnTo>
                    <a:pt x="176" y="594"/>
                  </a:lnTo>
                  <a:lnTo>
                    <a:pt x="167" y="591"/>
                  </a:lnTo>
                  <a:lnTo>
                    <a:pt x="160" y="586"/>
                  </a:lnTo>
                  <a:lnTo>
                    <a:pt x="153" y="581"/>
                  </a:lnTo>
                  <a:lnTo>
                    <a:pt x="147" y="575"/>
                  </a:lnTo>
                  <a:lnTo>
                    <a:pt x="140" y="568"/>
                  </a:lnTo>
                  <a:lnTo>
                    <a:pt x="136" y="562"/>
                  </a:lnTo>
                  <a:lnTo>
                    <a:pt x="131" y="554"/>
                  </a:lnTo>
                  <a:lnTo>
                    <a:pt x="127" y="547"/>
                  </a:lnTo>
                  <a:lnTo>
                    <a:pt x="124" y="538"/>
                  </a:lnTo>
                  <a:lnTo>
                    <a:pt x="122" y="530"/>
                  </a:lnTo>
                  <a:lnTo>
                    <a:pt x="121" y="520"/>
                  </a:lnTo>
                  <a:lnTo>
                    <a:pt x="120" y="511"/>
                  </a:lnTo>
                  <a:lnTo>
                    <a:pt x="121" y="502"/>
                  </a:lnTo>
                  <a:lnTo>
                    <a:pt x="122" y="493"/>
                  </a:lnTo>
                  <a:lnTo>
                    <a:pt x="124" y="485"/>
                  </a:lnTo>
                  <a:lnTo>
                    <a:pt x="127" y="476"/>
                  </a:lnTo>
                  <a:lnTo>
                    <a:pt x="131" y="469"/>
                  </a:lnTo>
                  <a:lnTo>
                    <a:pt x="136" y="461"/>
                  </a:lnTo>
                  <a:lnTo>
                    <a:pt x="140" y="454"/>
                  </a:lnTo>
                  <a:lnTo>
                    <a:pt x="147" y="447"/>
                  </a:lnTo>
                  <a:lnTo>
                    <a:pt x="153" y="442"/>
                  </a:lnTo>
                  <a:lnTo>
                    <a:pt x="160" y="436"/>
                  </a:lnTo>
                  <a:lnTo>
                    <a:pt x="167" y="432"/>
                  </a:lnTo>
                  <a:lnTo>
                    <a:pt x="176" y="428"/>
                  </a:lnTo>
                  <a:lnTo>
                    <a:pt x="183" y="425"/>
                  </a:lnTo>
                  <a:lnTo>
                    <a:pt x="192" y="422"/>
                  </a:lnTo>
                  <a:lnTo>
                    <a:pt x="201" y="421"/>
                  </a:lnTo>
                  <a:lnTo>
                    <a:pt x="210" y="421"/>
                  </a:lnTo>
                  <a:lnTo>
                    <a:pt x="220" y="421"/>
                  </a:lnTo>
                  <a:lnTo>
                    <a:pt x="228" y="422"/>
                  </a:lnTo>
                  <a:lnTo>
                    <a:pt x="237" y="425"/>
                  </a:lnTo>
                  <a:lnTo>
                    <a:pt x="245" y="428"/>
                  </a:lnTo>
                  <a:lnTo>
                    <a:pt x="254" y="432"/>
                  </a:lnTo>
                  <a:lnTo>
                    <a:pt x="260" y="436"/>
                  </a:lnTo>
                  <a:lnTo>
                    <a:pt x="268" y="442"/>
                  </a:lnTo>
                  <a:lnTo>
                    <a:pt x="274" y="447"/>
                  </a:lnTo>
                  <a:lnTo>
                    <a:pt x="280" y="454"/>
                  </a:lnTo>
                  <a:lnTo>
                    <a:pt x="285" y="461"/>
                  </a:lnTo>
                  <a:lnTo>
                    <a:pt x="289" y="469"/>
                  </a:lnTo>
                  <a:lnTo>
                    <a:pt x="294" y="476"/>
                  </a:lnTo>
                  <a:lnTo>
                    <a:pt x="297" y="485"/>
                  </a:lnTo>
                  <a:lnTo>
                    <a:pt x="299" y="493"/>
                  </a:lnTo>
                  <a:lnTo>
                    <a:pt x="300" y="502"/>
                  </a:lnTo>
                  <a:lnTo>
                    <a:pt x="301" y="511"/>
                  </a:lnTo>
                  <a:lnTo>
                    <a:pt x="300" y="520"/>
                  </a:lnTo>
                  <a:lnTo>
                    <a:pt x="299" y="530"/>
                  </a:lnTo>
                  <a:lnTo>
                    <a:pt x="297" y="538"/>
                  </a:lnTo>
                  <a:lnTo>
                    <a:pt x="294" y="547"/>
                  </a:lnTo>
                  <a:lnTo>
                    <a:pt x="289" y="554"/>
                  </a:lnTo>
                  <a:lnTo>
                    <a:pt x="285" y="562"/>
                  </a:lnTo>
                  <a:lnTo>
                    <a:pt x="280" y="568"/>
                  </a:lnTo>
                  <a:lnTo>
                    <a:pt x="274" y="575"/>
                  </a:lnTo>
                  <a:lnTo>
                    <a:pt x="268" y="581"/>
                  </a:lnTo>
                  <a:lnTo>
                    <a:pt x="260" y="586"/>
                  </a:lnTo>
                  <a:lnTo>
                    <a:pt x="254" y="591"/>
                  </a:lnTo>
                  <a:lnTo>
                    <a:pt x="245" y="594"/>
                  </a:lnTo>
                  <a:lnTo>
                    <a:pt x="237" y="597"/>
                  </a:lnTo>
                  <a:lnTo>
                    <a:pt x="228" y="599"/>
                  </a:lnTo>
                  <a:lnTo>
                    <a:pt x="220" y="601"/>
                  </a:lnTo>
                  <a:lnTo>
                    <a:pt x="210" y="601"/>
                  </a:lnTo>
                  <a:close/>
                  <a:moveTo>
                    <a:pt x="30" y="541"/>
                  </a:moveTo>
                  <a:lnTo>
                    <a:pt x="30" y="427"/>
                  </a:lnTo>
                  <a:lnTo>
                    <a:pt x="181" y="277"/>
                  </a:lnTo>
                  <a:lnTo>
                    <a:pt x="184" y="281"/>
                  </a:lnTo>
                  <a:lnTo>
                    <a:pt x="186" y="283"/>
                  </a:lnTo>
                  <a:lnTo>
                    <a:pt x="190" y="284"/>
                  </a:lnTo>
                  <a:lnTo>
                    <a:pt x="193" y="285"/>
                  </a:lnTo>
                  <a:lnTo>
                    <a:pt x="195" y="285"/>
                  </a:lnTo>
                  <a:lnTo>
                    <a:pt x="200" y="284"/>
                  </a:lnTo>
                  <a:lnTo>
                    <a:pt x="206" y="282"/>
                  </a:lnTo>
                  <a:lnTo>
                    <a:pt x="208" y="279"/>
                  </a:lnTo>
                  <a:lnTo>
                    <a:pt x="209" y="277"/>
                  </a:lnTo>
                  <a:lnTo>
                    <a:pt x="210" y="274"/>
                  </a:lnTo>
                  <a:lnTo>
                    <a:pt x="210" y="271"/>
                  </a:lnTo>
                  <a:lnTo>
                    <a:pt x="210" y="268"/>
                  </a:lnTo>
                  <a:lnTo>
                    <a:pt x="210" y="265"/>
                  </a:lnTo>
                  <a:lnTo>
                    <a:pt x="208" y="263"/>
                  </a:lnTo>
                  <a:lnTo>
                    <a:pt x="207" y="261"/>
                  </a:lnTo>
                  <a:lnTo>
                    <a:pt x="176" y="227"/>
                  </a:lnTo>
                  <a:lnTo>
                    <a:pt x="174" y="225"/>
                  </a:lnTo>
                  <a:lnTo>
                    <a:pt x="170" y="223"/>
                  </a:lnTo>
                  <a:lnTo>
                    <a:pt x="168" y="223"/>
                  </a:lnTo>
                  <a:lnTo>
                    <a:pt x="165" y="222"/>
                  </a:lnTo>
                  <a:lnTo>
                    <a:pt x="162" y="222"/>
                  </a:lnTo>
                  <a:lnTo>
                    <a:pt x="160" y="223"/>
                  </a:lnTo>
                  <a:lnTo>
                    <a:pt x="156" y="224"/>
                  </a:lnTo>
                  <a:lnTo>
                    <a:pt x="154" y="226"/>
                  </a:lnTo>
                  <a:lnTo>
                    <a:pt x="152" y="229"/>
                  </a:lnTo>
                  <a:lnTo>
                    <a:pt x="151" y="232"/>
                  </a:lnTo>
                  <a:lnTo>
                    <a:pt x="150" y="234"/>
                  </a:lnTo>
                  <a:lnTo>
                    <a:pt x="149" y="237"/>
                  </a:lnTo>
                  <a:lnTo>
                    <a:pt x="150" y="239"/>
                  </a:lnTo>
                  <a:lnTo>
                    <a:pt x="150" y="242"/>
                  </a:lnTo>
                  <a:lnTo>
                    <a:pt x="151" y="246"/>
                  </a:lnTo>
                  <a:lnTo>
                    <a:pt x="153" y="248"/>
                  </a:lnTo>
                  <a:lnTo>
                    <a:pt x="160" y="254"/>
                  </a:lnTo>
                  <a:lnTo>
                    <a:pt x="30" y="385"/>
                  </a:lnTo>
                  <a:lnTo>
                    <a:pt x="30" y="360"/>
                  </a:lnTo>
                  <a:lnTo>
                    <a:pt x="30" y="344"/>
                  </a:lnTo>
                  <a:lnTo>
                    <a:pt x="32" y="327"/>
                  </a:lnTo>
                  <a:lnTo>
                    <a:pt x="34" y="311"/>
                  </a:lnTo>
                  <a:lnTo>
                    <a:pt x="36" y="295"/>
                  </a:lnTo>
                  <a:lnTo>
                    <a:pt x="41" y="279"/>
                  </a:lnTo>
                  <a:lnTo>
                    <a:pt x="45" y="264"/>
                  </a:lnTo>
                  <a:lnTo>
                    <a:pt x="50" y="249"/>
                  </a:lnTo>
                  <a:lnTo>
                    <a:pt x="57" y="234"/>
                  </a:lnTo>
                  <a:lnTo>
                    <a:pt x="63" y="219"/>
                  </a:lnTo>
                  <a:lnTo>
                    <a:pt x="71" y="205"/>
                  </a:lnTo>
                  <a:lnTo>
                    <a:pt x="78" y="191"/>
                  </a:lnTo>
                  <a:lnTo>
                    <a:pt x="88" y="177"/>
                  </a:lnTo>
                  <a:lnTo>
                    <a:pt x="96" y="164"/>
                  </a:lnTo>
                  <a:lnTo>
                    <a:pt x="107" y="151"/>
                  </a:lnTo>
                  <a:lnTo>
                    <a:pt x="117" y="140"/>
                  </a:lnTo>
                  <a:lnTo>
                    <a:pt x="129" y="128"/>
                  </a:lnTo>
                  <a:lnTo>
                    <a:pt x="139" y="117"/>
                  </a:lnTo>
                  <a:lnTo>
                    <a:pt x="152" y="106"/>
                  </a:lnTo>
                  <a:lnTo>
                    <a:pt x="164" y="97"/>
                  </a:lnTo>
                  <a:lnTo>
                    <a:pt x="178" y="87"/>
                  </a:lnTo>
                  <a:lnTo>
                    <a:pt x="191" y="79"/>
                  </a:lnTo>
                  <a:lnTo>
                    <a:pt x="205" y="71"/>
                  </a:lnTo>
                  <a:lnTo>
                    <a:pt x="219" y="64"/>
                  </a:lnTo>
                  <a:lnTo>
                    <a:pt x="234" y="56"/>
                  </a:lnTo>
                  <a:lnTo>
                    <a:pt x="249" y="51"/>
                  </a:lnTo>
                  <a:lnTo>
                    <a:pt x="264" y="45"/>
                  </a:lnTo>
                  <a:lnTo>
                    <a:pt x="280" y="41"/>
                  </a:lnTo>
                  <a:lnTo>
                    <a:pt x="295" y="37"/>
                  </a:lnTo>
                  <a:lnTo>
                    <a:pt x="311" y="34"/>
                  </a:lnTo>
                  <a:lnTo>
                    <a:pt x="328" y="31"/>
                  </a:lnTo>
                  <a:lnTo>
                    <a:pt x="344" y="30"/>
                  </a:lnTo>
                  <a:lnTo>
                    <a:pt x="361" y="30"/>
                  </a:lnTo>
                  <a:lnTo>
                    <a:pt x="451" y="30"/>
                  </a:lnTo>
                  <a:lnTo>
                    <a:pt x="457" y="30"/>
                  </a:lnTo>
                  <a:lnTo>
                    <a:pt x="463" y="31"/>
                  </a:lnTo>
                  <a:lnTo>
                    <a:pt x="469" y="33"/>
                  </a:lnTo>
                  <a:lnTo>
                    <a:pt x="475" y="35"/>
                  </a:lnTo>
                  <a:lnTo>
                    <a:pt x="480" y="37"/>
                  </a:lnTo>
                  <a:lnTo>
                    <a:pt x="485" y="40"/>
                  </a:lnTo>
                  <a:lnTo>
                    <a:pt x="490" y="43"/>
                  </a:lnTo>
                  <a:lnTo>
                    <a:pt x="494" y="48"/>
                  </a:lnTo>
                  <a:lnTo>
                    <a:pt x="497" y="52"/>
                  </a:lnTo>
                  <a:lnTo>
                    <a:pt x="501" y="56"/>
                  </a:lnTo>
                  <a:lnTo>
                    <a:pt x="503" y="61"/>
                  </a:lnTo>
                  <a:lnTo>
                    <a:pt x="507" y="67"/>
                  </a:lnTo>
                  <a:lnTo>
                    <a:pt x="509" y="72"/>
                  </a:lnTo>
                  <a:lnTo>
                    <a:pt x="510" y="78"/>
                  </a:lnTo>
                  <a:lnTo>
                    <a:pt x="511" y="84"/>
                  </a:lnTo>
                  <a:lnTo>
                    <a:pt x="511" y="90"/>
                  </a:lnTo>
                  <a:lnTo>
                    <a:pt x="511" y="300"/>
                  </a:lnTo>
                  <a:lnTo>
                    <a:pt x="395" y="300"/>
                  </a:lnTo>
                  <a:lnTo>
                    <a:pt x="435" y="155"/>
                  </a:lnTo>
                  <a:lnTo>
                    <a:pt x="436" y="151"/>
                  </a:lnTo>
                  <a:lnTo>
                    <a:pt x="436" y="148"/>
                  </a:lnTo>
                  <a:lnTo>
                    <a:pt x="435" y="145"/>
                  </a:lnTo>
                  <a:lnTo>
                    <a:pt x="434" y="143"/>
                  </a:lnTo>
                  <a:lnTo>
                    <a:pt x="433" y="141"/>
                  </a:lnTo>
                  <a:lnTo>
                    <a:pt x="431" y="139"/>
                  </a:lnTo>
                  <a:lnTo>
                    <a:pt x="427" y="138"/>
                  </a:lnTo>
                  <a:lnTo>
                    <a:pt x="425" y="135"/>
                  </a:lnTo>
                  <a:lnTo>
                    <a:pt x="422" y="135"/>
                  </a:lnTo>
                  <a:lnTo>
                    <a:pt x="419" y="135"/>
                  </a:lnTo>
                  <a:lnTo>
                    <a:pt x="416" y="136"/>
                  </a:lnTo>
                  <a:lnTo>
                    <a:pt x="414" y="138"/>
                  </a:lnTo>
                  <a:lnTo>
                    <a:pt x="411" y="139"/>
                  </a:lnTo>
                  <a:lnTo>
                    <a:pt x="409" y="141"/>
                  </a:lnTo>
                  <a:lnTo>
                    <a:pt x="407" y="144"/>
                  </a:lnTo>
                  <a:lnTo>
                    <a:pt x="406" y="146"/>
                  </a:lnTo>
                  <a:lnTo>
                    <a:pt x="364" y="300"/>
                  </a:lnTo>
                  <a:lnTo>
                    <a:pt x="316" y="300"/>
                  </a:lnTo>
                  <a:lnTo>
                    <a:pt x="313" y="301"/>
                  </a:lnTo>
                  <a:lnTo>
                    <a:pt x="310" y="301"/>
                  </a:lnTo>
                  <a:lnTo>
                    <a:pt x="307" y="304"/>
                  </a:lnTo>
                  <a:lnTo>
                    <a:pt x="305" y="306"/>
                  </a:lnTo>
                  <a:lnTo>
                    <a:pt x="219" y="391"/>
                  </a:lnTo>
                  <a:lnTo>
                    <a:pt x="214" y="391"/>
                  </a:lnTo>
                  <a:lnTo>
                    <a:pt x="210" y="391"/>
                  </a:lnTo>
                  <a:lnTo>
                    <a:pt x="198" y="391"/>
                  </a:lnTo>
                  <a:lnTo>
                    <a:pt x="186" y="394"/>
                  </a:lnTo>
                  <a:lnTo>
                    <a:pt x="175" y="397"/>
                  </a:lnTo>
                  <a:lnTo>
                    <a:pt x="164" y="400"/>
                  </a:lnTo>
                  <a:lnTo>
                    <a:pt x="153" y="405"/>
                  </a:lnTo>
                  <a:lnTo>
                    <a:pt x="144" y="412"/>
                  </a:lnTo>
                  <a:lnTo>
                    <a:pt x="134" y="418"/>
                  </a:lnTo>
                  <a:lnTo>
                    <a:pt x="125" y="426"/>
                  </a:lnTo>
                  <a:lnTo>
                    <a:pt x="118" y="434"/>
                  </a:lnTo>
                  <a:lnTo>
                    <a:pt x="110" y="444"/>
                  </a:lnTo>
                  <a:lnTo>
                    <a:pt x="105" y="454"/>
                  </a:lnTo>
                  <a:lnTo>
                    <a:pt x="100" y="464"/>
                  </a:lnTo>
                  <a:lnTo>
                    <a:pt x="95" y="476"/>
                  </a:lnTo>
                  <a:lnTo>
                    <a:pt x="92" y="487"/>
                  </a:lnTo>
                  <a:lnTo>
                    <a:pt x="91" y="499"/>
                  </a:lnTo>
                  <a:lnTo>
                    <a:pt x="90" y="511"/>
                  </a:lnTo>
                  <a:lnTo>
                    <a:pt x="91" y="526"/>
                  </a:lnTo>
                  <a:lnTo>
                    <a:pt x="94" y="541"/>
                  </a:lnTo>
                  <a:lnTo>
                    <a:pt x="30" y="541"/>
                  </a:lnTo>
                  <a:close/>
                  <a:moveTo>
                    <a:pt x="597" y="366"/>
                  </a:moveTo>
                  <a:lnTo>
                    <a:pt x="541" y="310"/>
                  </a:lnTo>
                  <a:lnTo>
                    <a:pt x="541" y="90"/>
                  </a:lnTo>
                  <a:lnTo>
                    <a:pt x="541" y="81"/>
                  </a:lnTo>
                  <a:lnTo>
                    <a:pt x="540" y="72"/>
                  </a:lnTo>
                  <a:lnTo>
                    <a:pt x="537" y="64"/>
                  </a:lnTo>
                  <a:lnTo>
                    <a:pt x="535" y="55"/>
                  </a:lnTo>
                  <a:lnTo>
                    <a:pt x="530" y="46"/>
                  </a:lnTo>
                  <a:lnTo>
                    <a:pt x="526" y="39"/>
                  </a:lnTo>
                  <a:lnTo>
                    <a:pt x="521" y="33"/>
                  </a:lnTo>
                  <a:lnTo>
                    <a:pt x="515" y="26"/>
                  </a:lnTo>
                  <a:lnTo>
                    <a:pt x="509" y="21"/>
                  </a:lnTo>
                  <a:lnTo>
                    <a:pt x="501" y="15"/>
                  </a:lnTo>
                  <a:lnTo>
                    <a:pt x="494" y="11"/>
                  </a:lnTo>
                  <a:lnTo>
                    <a:pt x="486" y="7"/>
                  </a:lnTo>
                  <a:lnTo>
                    <a:pt x="478" y="4"/>
                  </a:lnTo>
                  <a:lnTo>
                    <a:pt x="469" y="1"/>
                  </a:lnTo>
                  <a:lnTo>
                    <a:pt x="461" y="0"/>
                  </a:lnTo>
                  <a:lnTo>
                    <a:pt x="451" y="0"/>
                  </a:lnTo>
                  <a:lnTo>
                    <a:pt x="361" y="0"/>
                  </a:lnTo>
                  <a:lnTo>
                    <a:pt x="343" y="0"/>
                  </a:lnTo>
                  <a:lnTo>
                    <a:pt x="325" y="1"/>
                  </a:lnTo>
                  <a:lnTo>
                    <a:pt x="306" y="5"/>
                  </a:lnTo>
                  <a:lnTo>
                    <a:pt x="289" y="8"/>
                  </a:lnTo>
                  <a:lnTo>
                    <a:pt x="272" y="11"/>
                  </a:lnTo>
                  <a:lnTo>
                    <a:pt x="255" y="16"/>
                  </a:lnTo>
                  <a:lnTo>
                    <a:pt x="238" y="22"/>
                  </a:lnTo>
                  <a:lnTo>
                    <a:pt x="222" y="29"/>
                  </a:lnTo>
                  <a:lnTo>
                    <a:pt x="206" y="36"/>
                  </a:lnTo>
                  <a:lnTo>
                    <a:pt x="191" y="44"/>
                  </a:lnTo>
                  <a:lnTo>
                    <a:pt x="176" y="53"/>
                  </a:lnTo>
                  <a:lnTo>
                    <a:pt x="161" y="63"/>
                  </a:lnTo>
                  <a:lnTo>
                    <a:pt x="147" y="73"/>
                  </a:lnTo>
                  <a:lnTo>
                    <a:pt x="133" y="84"/>
                  </a:lnTo>
                  <a:lnTo>
                    <a:pt x="120" y="95"/>
                  </a:lnTo>
                  <a:lnTo>
                    <a:pt x="107" y="108"/>
                  </a:lnTo>
                  <a:lnTo>
                    <a:pt x="95" y="119"/>
                  </a:lnTo>
                  <a:lnTo>
                    <a:pt x="84" y="133"/>
                  </a:lnTo>
                  <a:lnTo>
                    <a:pt x="73" y="146"/>
                  </a:lnTo>
                  <a:lnTo>
                    <a:pt x="62" y="161"/>
                  </a:lnTo>
                  <a:lnTo>
                    <a:pt x="54" y="175"/>
                  </a:lnTo>
                  <a:lnTo>
                    <a:pt x="44" y="190"/>
                  </a:lnTo>
                  <a:lnTo>
                    <a:pt x="36" y="206"/>
                  </a:lnTo>
                  <a:lnTo>
                    <a:pt x="29" y="222"/>
                  </a:lnTo>
                  <a:lnTo>
                    <a:pt x="23" y="238"/>
                  </a:lnTo>
                  <a:lnTo>
                    <a:pt x="16" y="255"/>
                  </a:lnTo>
                  <a:lnTo>
                    <a:pt x="12" y="272"/>
                  </a:lnTo>
                  <a:lnTo>
                    <a:pt x="8" y="290"/>
                  </a:lnTo>
                  <a:lnTo>
                    <a:pt x="4" y="307"/>
                  </a:lnTo>
                  <a:lnTo>
                    <a:pt x="2" y="325"/>
                  </a:lnTo>
                  <a:lnTo>
                    <a:pt x="0" y="343"/>
                  </a:lnTo>
                  <a:lnTo>
                    <a:pt x="0" y="361"/>
                  </a:lnTo>
                  <a:lnTo>
                    <a:pt x="0" y="556"/>
                  </a:lnTo>
                  <a:lnTo>
                    <a:pt x="0" y="560"/>
                  </a:lnTo>
                  <a:lnTo>
                    <a:pt x="1" y="562"/>
                  </a:lnTo>
                  <a:lnTo>
                    <a:pt x="2" y="565"/>
                  </a:lnTo>
                  <a:lnTo>
                    <a:pt x="4" y="567"/>
                  </a:lnTo>
                  <a:lnTo>
                    <a:pt x="6" y="569"/>
                  </a:lnTo>
                  <a:lnTo>
                    <a:pt x="10" y="570"/>
                  </a:lnTo>
                  <a:lnTo>
                    <a:pt x="12" y="571"/>
                  </a:lnTo>
                  <a:lnTo>
                    <a:pt x="15" y="571"/>
                  </a:lnTo>
                  <a:lnTo>
                    <a:pt x="106" y="571"/>
                  </a:lnTo>
                  <a:lnTo>
                    <a:pt x="115" y="584"/>
                  </a:lnTo>
                  <a:lnTo>
                    <a:pt x="125" y="596"/>
                  </a:lnTo>
                  <a:lnTo>
                    <a:pt x="137" y="606"/>
                  </a:lnTo>
                  <a:lnTo>
                    <a:pt x="150" y="615"/>
                  </a:lnTo>
                  <a:lnTo>
                    <a:pt x="164" y="622"/>
                  </a:lnTo>
                  <a:lnTo>
                    <a:pt x="179" y="627"/>
                  </a:lnTo>
                  <a:lnTo>
                    <a:pt x="186" y="629"/>
                  </a:lnTo>
                  <a:lnTo>
                    <a:pt x="194" y="630"/>
                  </a:lnTo>
                  <a:lnTo>
                    <a:pt x="202" y="631"/>
                  </a:lnTo>
                  <a:lnTo>
                    <a:pt x="210" y="631"/>
                  </a:lnTo>
                  <a:lnTo>
                    <a:pt x="219" y="631"/>
                  </a:lnTo>
                  <a:lnTo>
                    <a:pt x="227" y="630"/>
                  </a:lnTo>
                  <a:lnTo>
                    <a:pt x="235" y="629"/>
                  </a:lnTo>
                  <a:lnTo>
                    <a:pt x="242" y="627"/>
                  </a:lnTo>
                  <a:lnTo>
                    <a:pt x="257" y="622"/>
                  </a:lnTo>
                  <a:lnTo>
                    <a:pt x="271" y="615"/>
                  </a:lnTo>
                  <a:lnTo>
                    <a:pt x="284" y="607"/>
                  </a:lnTo>
                  <a:lnTo>
                    <a:pt x="296" y="596"/>
                  </a:lnTo>
                  <a:lnTo>
                    <a:pt x="305" y="584"/>
                  </a:lnTo>
                  <a:lnTo>
                    <a:pt x="315" y="571"/>
                  </a:lnTo>
                  <a:lnTo>
                    <a:pt x="366" y="571"/>
                  </a:lnTo>
                  <a:lnTo>
                    <a:pt x="372" y="584"/>
                  </a:lnTo>
                  <a:lnTo>
                    <a:pt x="379" y="596"/>
                  </a:lnTo>
                  <a:lnTo>
                    <a:pt x="388" y="606"/>
                  </a:lnTo>
                  <a:lnTo>
                    <a:pt x="399" y="614"/>
                  </a:lnTo>
                  <a:lnTo>
                    <a:pt x="410" y="622"/>
                  </a:lnTo>
                  <a:lnTo>
                    <a:pt x="423" y="627"/>
                  </a:lnTo>
                  <a:lnTo>
                    <a:pt x="430" y="629"/>
                  </a:lnTo>
                  <a:lnTo>
                    <a:pt x="437" y="630"/>
                  </a:lnTo>
                  <a:lnTo>
                    <a:pt x="444" y="631"/>
                  </a:lnTo>
                  <a:lnTo>
                    <a:pt x="451" y="631"/>
                  </a:lnTo>
                  <a:lnTo>
                    <a:pt x="459" y="631"/>
                  </a:lnTo>
                  <a:lnTo>
                    <a:pt x="465" y="630"/>
                  </a:lnTo>
                  <a:lnTo>
                    <a:pt x="472" y="629"/>
                  </a:lnTo>
                  <a:lnTo>
                    <a:pt x="479" y="627"/>
                  </a:lnTo>
                  <a:lnTo>
                    <a:pt x="492" y="622"/>
                  </a:lnTo>
                  <a:lnTo>
                    <a:pt x="503" y="614"/>
                  </a:lnTo>
                  <a:lnTo>
                    <a:pt x="514" y="606"/>
                  </a:lnTo>
                  <a:lnTo>
                    <a:pt x="523" y="596"/>
                  </a:lnTo>
                  <a:lnTo>
                    <a:pt x="530" y="584"/>
                  </a:lnTo>
                  <a:lnTo>
                    <a:pt x="536" y="571"/>
                  </a:lnTo>
                  <a:lnTo>
                    <a:pt x="586" y="571"/>
                  </a:lnTo>
                  <a:lnTo>
                    <a:pt x="589" y="571"/>
                  </a:lnTo>
                  <a:lnTo>
                    <a:pt x="592" y="570"/>
                  </a:lnTo>
                  <a:lnTo>
                    <a:pt x="595" y="569"/>
                  </a:lnTo>
                  <a:lnTo>
                    <a:pt x="597" y="567"/>
                  </a:lnTo>
                  <a:lnTo>
                    <a:pt x="599" y="565"/>
                  </a:lnTo>
                  <a:lnTo>
                    <a:pt x="600" y="562"/>
                  </a:lnTo>
                  <a:lnTo>
                    <a:pt x="601" y="560"/>
                  </a:lnTo>
                  <a:lnTo>
                    <a:pt x="601" y="556"/>
                  </a:lnTo>
                  <a:lnTo>
                    <a:pt x="601" y="376"/>
                  </a:lnTo>
                  <a:lnTo>
                    <a:pt x="601" y="373"/>
                  </a:lnTo>
                  <a:lnTo>
                    <a:pt x="600" y="370"/>
                  </a:lnTo>
                  <a:lnTo>
                    <a:pt x="599" y="368"/>
                  </a:lnTo>
                  <a:lnTo>
                    <a:pt x="597" y="366"/>
                  </a:lnTo>
                  <a:lnTo>
                    <a:pt x="597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6" name="Group 85">
            <a:extLst>
              <a:ext uri="{FF2B5EF4-FFF2-40B4-BE49-F238E27FC236}">
                <a16:creationId xmlns="" xmlns:a16="http://schemas.microsoft.com/office/drawing/2014/main" id="{DAB3506F-004A-40E9-815A-A703FA199FD4}"/>
              </a:ext>
            </a:extLst>
          </p:cNvPr>
          <p:cNvGrpSpPr/>
          <p:nvPr/>
        </p:nvGrpSpPr>
        <p:grpSpPr>
          <a:xfrm>
            <a:off x="4629907" y="2690567"/>
            <a:ext cx="544678" cy="714394"/>
            <a:chOff x="6445250" y="2498725"/>
            <a:chExt cx="219075" cy="287338"/>
          </a:xfrm>
          <a:solidFill>
            <a:schemeClr val="tx2"/>
          </a:solidFill>
        </p:grpSpPr>
        <p:sp>
          <p:nvSpPr>
            <p:cNvPr id="87" name="Freeform 227">
              <a:extLst>
                <a:ext uri="{FF2B5EF4-FFF2-40B4-BE49-F238E27FC236}">
                  <a16:creationId xmlns="" xmlns:a16="http://schemas.microsoft.com/office/drawing/2014/main" id="{D41D165B-8E19-4518-98FC-09D433EF41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45250" y="2498725"/>
              <a:ext cx="219075" cy="287338"/>
            </a:xfrm>
            <a:custGeom>
              <a:avLst/>
              <a:gdLst>
                <a:gd name="T0" fmla="*/ 104 w 692"/>
                <a:gd name="T1" fmla="*/ 868 h 902"/>
                <a:gd name="T2" fmla="*/ 69 w 692"/>
                <a:gd name="T3" fmla="*/ 849 h 902"/>
                <a:gd name="T4" fmla="*/ 43 w 692"/>
                <a:gd name="T5" fmla="*/ 818 h 902"/>
                <a:gd name="T6" fmla="*/ 31 w 692"/>
                <a:gd name="T7" fmla="*/ 778 h 902"/>
                <a:gd name="T8" fmla="*/ 35 w 692"/>
                <a:gd name="T9" fmla="*/ 736 h 902"/>
                <a:gd name="T10" fmla="*/ 55 w 692"/>
                <a:gd name="T11" fmla="*/ 700 h 902"/>
                <a:gd name="T12" fmla="*/ 86 w 692"/>
                <a:gd name="T13" fmla="*/ 674 h 902"/>
                <a:gd name="T14" fmla="*/ 124 w 692"/>
                <a:gd name="T15" fmla="*/ 662 h 902"/>
                <a:gd name="T16" fmla="*/ 167 w 692"/>
                <a:gd name="T17" fmla="*/ 667 h 902"/>
                <a:gd name="T18" fmla="*/ 202 w 692"/>
                <a:gd name="T19" fmla="*/ 686 h 902"/>
                <a:gd name="T20" fmla="*/ 228 w 692"/>
                <a:gd name="T21" fmla="*/ 717 h 902"/>
                <a:gd name="T22" fmla="*/ 240 w 692"/>
                <a:gd name="T23" fmla="*/ 757 h 902"/>
                <a:gd name="T24" fmla="*/ 236 w 692"/>
                <a:gd name="T25" fmla="*/ 798 h 902"/>
                <a:gd name="T26" fmla="*/ 216 w 692"/>
                <a:gd name="T27" fmla="*/ 834 h 902"/>
                <a:gd name="T28" fmla="*/ 185 w 692"/>
                <a:gd name="T29" fmla="*/ 859 h 902"/>
                <a:gd name="T30" fmla="*/ 146 w 692"/>
                <a:gd name="T31" fmla="*/ 872 h 902"/>
                <a:gd name="T32" fmla="*/ 511 w 692"/>
                <a:gd name="T33" fmla="*/ 361 h 902"/>
                <a:gd name="T34" fmla="*/ 271 w 692"/>
                <a:gd name="T35" fmla="*/ 722 h 902"/>
                <a:gd name="T36" fmla="*/ 632 w 692"/>
                <a:gd name="T37" fmla="*/ 722 h 902"/>
                <a:gd name="T38" fmla="*/ 622 w 692"/>
                <a:gd name="T39" fmla="*/ 813 h 902"/>
                <a:gd name="T40" fmla="*/ 266 w 692"/>
                <a:gd name="T41" fmla="*/ 802 h 902"/>
                <a:gd name="T42" fmla="*/ 270 w 692"/>
                <a:gd name="T43" fmla="*/ 760 h 902"/>
                <a:gd name="T44" fmla="*/ 652 w 692"/>
                <a:gd name="T45" fmla="*/ 751 h 902"/>
                <a:gd name="T46" fmla="*/ 660 w 692"/>
                <a:gd name="T47" fmla="*/ 743 h 902"/>
                <a:gd name="T48" fmla="*/ 661 w 692"/>
                <a:gd name="T49" fmla="*/ 373 h 902"/>
                <a:gd name="T50" fmla="*/ 655 w 692"/>
                <a:gd name="T51" fmla="*/ 364 h 902"/>
                <a:gd name="T52" fmla="*/ 541 w 692"/>
                <a:gd name="T53" fmla="*/ 361 h 902"/>
                <a:gd name="T54" fmla="*/ 539 w 692"/>
                <a:gd name="T55" fmla="*/ 158 h 902"/>
                <a:gd name="T56" fmla="*/ 529 w 692"/>
                <a:gd name="T57" fmla="*/ 151 h 902"/>
                <a:gd name="T58" fmla="*/ 250 w 692"/>
                <a:gd name="T59" fmla="*/ 151 h 902"/>
                <a:gd name="T60" fmla="*/ 242 w 692"/>
                <a:gd name="T61" fmla="*/ 160 h 902"/>
                <a:gd name="T62" fmla="*/ 241 w 692"/>
                <a:gd name="T63" fmla="*/ 683 h 902"/>
                <a:gd name="T64" fmla="*/ 213 w 692"/>
                <a:gd name="T65" fmla="*/ 657 h 902"/>
                <a:gd name="T66" fmla="*/ 180 w 692"/>
                <a:gd name="T67" fmla="*/ 640 h 902"/>
                <a:gd name="T68" fmla="*/ 178 w 692"/>
                <a:gd name="T69" fmla="*/ 7 h 902"/>
                <a:gd name="T70" fmla="*/ 168 w 692"/>
                <a:gd name="T71" fmla="*/ 0 h 902"/>
                <a:gd name="T72" fmla="*/ 70 w 692"/>
                <a:gd name="T73" fmla="*/ 1 h 902"/>
                <a:gd name="T74" fmla="*/ 61 w 692"/>
                <a:gd name="T75" fmla="*/ 10 h 902"/>
                <a:gd name="T76" fmla="*/ 61 w 692"/>
                <a:gd name="T77" fmla="*/ 22 h 902"/>
                <a:gd name="T78" fmla="*/ 70 w 692"/>
                <a:gd name="T79" fmla="*/ 29 h 902"/>
                <a:gd name="T80" fmla="*/ 150 w 692"/>
                <a:gd name="T81" fmla="*/ 632 h 902"/>
                <a:gd name="T82" fmla="*/ 108 w 692"/>
                <a:gd name="T83" fmla="*/ 635 h 902"/>
                <a:gd name="T84" fmla="*/ 60 w 692"/>
                <a:gd name="T85" fmla="*/ 655 h 902"/>
                <a:gd name="T86" fmla="*/ 24 w 692"/>
                <a:gd name="T87" fmla="*/ 691 h 902"/>
                <a:gd name="T88" fmla="*/ 3 w 692"/>
                <a:gd name="T89" fmla="*/ 740 h 902"/>
                <a:gd name="T90" fmla="*/ 3 w 692"/>
                <a:gd name="T91" fmla="*/ 794 h 902"/>
                <a:gd name="T92" fmla="*/ 24 w 692"/>
                <a:gd name="T93" fmla="*/ 842 h 902"/>
                <a:gd name="T94" fmla="*/ 60 w 692"/>
                <a:gd name="T95" fmla="*/ 880 h 902"/>
                <a:gd name="T96" fmla="*/ 108 w 692"/>
                <a:gd name="T97" fmla="*/ 900 h 902"/>
                <a:gd name="T98" fmla="*/ 152 w 692"/>
                <a:gd name="T99" fmla="*/ 901 h 902"/>
                <a:gd name="T100" fmla="*/ 200 w 692"/>
                <a:gd name="T101" fmla="*/ 886 h 902"/>
                <a:gd name="T102" fmla="*/ 247 w 692"/>
                <a:gd name="T103" fmla="*/ 842 h 902"/>
                <a:gd name="T104" fmla="*/ 671 w 692"/>
                <a:gd name="T105" fmla="*/ 901 h 902"/>
                <a:gd name="T106" fmla="*/ 682 w 692"/>
                <a:gd name="T107" fmla="*/ 901 h 902"/>
                <a:gd name="T108" fmla="*/ 691 w 692"/>
                <a:gd name="T109" fmla="*/ 893 h 902"/>
                <a:gd name="T110" fmla="*/ 691 w 692"/>
                <a:gd name="T111" fmla="*/ 8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92" h="902">
                  <a:moveTo>
                    <a:pt x="135" y="872"/>
                  </a:moveTo>
                  <a:lnTo>
                    <a:pt x="124" y="872"/>
                  </a:lnTo>
                  <a:lnTo>
                    <a:pt x="115" y="870"/>
                  </a:lnTo>
                  <a:lnTo>
                    <a:pt x="104" y="868"/>
                  </a:lnTo>
                  <a:lnTo>
                    <a:pt x="94" y="864"/>
                  </a:lnTo>
                  <a:lnTo>
                    <a:pt x="86" y="859"/>
                  </a:lnTo>
                  <a:lnTo>
                    <a:pt x="76" y="854"/>
                  </a:lnTo>
                  <a:lnTo>
                    <a:pt x="69" y="849"/>
                  </a:lnTo>
                  <a:lnTo>
                    <a:pt x="61" y="841"/>
                  </a:lnTo>
                  <a:lnTo>
                    <a:pt x="55" y="834"/>
                  </a:lnTo>
                  <a:lnTo>
                    <a:pt x="48" y="826"/>
                  </a:lnTo>
                  <a:lnTo>
                    <a:pt x="43" y="818"/>
                  </a:lnTo>
                  <a:lnTo>
                    <a:pt x="39" y="808"/>
                  </a:lnTo>
                  <a:lnTo>
                    <a:pt x="35" y="798"/>
                  </a:lnTo>
                  <a:lnTo>
                    <a:pt x="32" y="789"/>
                  </a:lnTo>
                  <a:lnTo>
                    <a:pt x="31" y="778"/>
                  </a:lnTo>
                  <a:lnTo>
                    <a:pt x="30" y="767"/>
                  </a:lnTo>
                  <a:lnTo>
                    <a:pt x="31" y="757"/>
                  </a:lnTo>
                  <a:lnTo>
                    <a:pt x="32" y="746"/>
                  </a:lnTo>
                  <a:lnTo>
                    <a:pt x="35" y="736"/>
                  </a:lnTo>
                  <a:lnTo>
                    <a:pt x="39" y="727"/>
                  </a:lnTo>
                  <a:lnTo>
                    <a:pt x="43" y="717"/>
                  </a:lnTo>
                  <a:lnTo>
                    <a:pt x="48" y="708"/>
                  </a:lnTo>
                  <a:lnTo>
                    <a:pt x="55" y="700"/>
                  </a:lnTo>
                  <a:lnTo>
                    <a:pt x="61" y="692"/>
                  </a:lnTo>
                  <a:lnTo>
                    <a:pt x="69" y="686"/>
                  </a:lnTo>
                  <a:lnTo>
                    <a:pt x="76" y="680"/>
                  </a:lnTo>
                  <a:lnTo>
                    <a:pt x="86" y="674"/>
                  </a:lnTo>
                  <a:lnTo>
                    <a:pt x="94" y="670"/>
                  </a:lnTo>
                  <a:lnTo>
                    <a:pt x="104" y="667"/>
                  </a:lnTo>
                  <a:lnTo>
                    <a:pt x="115" y="665"/>
                  </a:lnTo>
                  <a:lnTo>
                    <a:pt x="124" y="662"/>
                  </a:lnTo>
                  <a:lnTo>
                    <a:pt x="135" y="662"/>
                  </a:lnTo>
                  <a:lnTo>
                    <a:pt x="146" y="662"/>
                  </a:lnTo>
                  <a:lnTo>
                    <a:pt x="156" y="665"/>
                  </a:lnTo>
                  <a:lnTo>
                    <a:pt x="167" y="667"/>
                  </a:lnTo>
                  <a:lnTo>
                    <a:pt x="177" y="670"/>
                  </a:lnTo>
                  <a:lnTo>
                    <a:pt x="185" y="674"/>
                  </a:lnTo>
                  <a:lnTo>
                    <a:pt x="194" y="680"/>
                  </a:lnTo>
                  <a:lnTo>
                    <a:pt x="202" y="686"/>
                  </a:lnTo>
                  <a:lnTo>
                    <a:pt x="210" y="692"/>
                  </a:lnTo>
                  <a:lnTo>
                    <a:pt x="216" y="700"/>
                  </a:lnTo>
                  <a:lnTo>
                    <a:pt x="223" y="708"/>
                  </a:lnTo>
                  <a:lnTo>
                    <a:pt x="228" y="717"/>
                  </a:lnTo>
                  <a:lnTo>
                    <a:pt x="232" y="727"/>
                  </a:lnTo>
                  <a:lnTo>
                    <a:pt x="236" y="736"/>
                  </a:lnTo>
                  <a:lnTo>
                    <a:pt x="239" y="746"/>
                  </a:lnTo>
                  <a:lnTo>
                    <a:pt x="240" y="757"/>
                  </a:lnTo>
                  <a:lnTo>
                    <a:pt x="241" y="767"/>
                  </a:lnTo>
                  <a:lnTo>
                    <a:pt x="240" y="778"/>
                  </a:lnTo>
                  <a:lnTo>
                    <a:pt x="239" y="789"/>
                  </a:lnTo>
                  <a:lnTo>
                    <a:pt x="236" y="798"/>
                  </a:lnTo>
                  <a:lnTo>
                    <a:pt x="232" y="808"/>
                  </a:lnTo>
                  <a:lnTo>
                    <a:pt x="228" y="818"/>
                  </a:lnTo>
                  <a:lnTo>
                    <a:pt x="223" y="826"/>
                  </a:lnTo>
                  <a:lnTo>
                    <a:pt x="216" y="834"/>
                  </a:lnTo>
                  <a:lnTo>
                    <a:pt x="210" y="841"/>
                  </a:lnTo>
                  <a:lnTo>
                    <a:pt x="202" y="849"/>
                  </a:lnTo>
                  <a:lnTo>
                    <a:pt x="194" y="854"/>
                  </a:lnTo>
                  <a:lnTo>
                    <a:pt x="185" y="859"/>
                  </a:lnTo>
                  <a:lnTo>
                    <a:pt x="177" y="864"/>
                  </a:lnTo>
                  <a:lnTo>
                    <a:pt x="167" y="868"/>
                  </a:lnTo>
                  <a:lnTo>
                    <a:pt x="156" y="870"/>
                  </a:lnTo>
                  <a:lnTo>
                    <a:pt x="146" y="872"/>
                  </a:lnTo>
                  <a:lnTo>
                    <a:pt x="135" y="872"/>
                  </a:lnTo>
                  <a:close/>
                  <a:moveTo>
                    <a:pt x="271" y="180"/>
                  </a:moveTo>
                  <a:lnTo>
                    <a:pt x="511" y="180"/>
                  </a:lnTo>
                  <a:lnTo>
                    <a:pt x="511" y="361"/>
                  </a:lnTo>
                  <a:lnTo>
                    <a:pt x="271" y="361"/>
                  </a:lnTo>
                  <a:lnTo>
                    <a:pt x="271" y="180"/>
                  </a:lnTo>
                  <a:close/>
                  <a:moveTo>
                    <a:pt x="632" y="722"/>
                  </a:moveTo>
                  <a:lnTo>
                    <a:pt x="271" y="722"/>
                  </a:lnTo>
                  <a:lnTo>
                    <a:pt x="271" y="391"/>
                  </a:lnTo>
                  <a:lnTo>
                    <a:pt x="526" y="391"/>
                  </a:lnTo>
                  <a:lnTo>
                    <a:pt x="632" y="391"/>
                  </a:lnTo>
                  <a:lnTo>
                    <a:pt x="632" y="722"/>
                  </a:lnTo>
                  <a:close/>
                  <a:moveTo>
                    <a:pt x="688" y="877"/>
                  </a:moveTo>
                  <a:lnTo>
                    <a:pt x="627" y="817"/>
                  </a:lnTo>
                  <a:lnTo>
                    <a:pt x="625" y="814"/>
                  </a:lnTo>
                  <a:lnTo>
                    <a:pt x="622" y="813"/>
                  </a:lnTo>
                  <a:lnTo>
                    <a:pt x="619" y="812"/>
                  </a:lnTo>
                  <a:lnTo>
                    <a:pt x="616" y="812"/>
                  </a:lnTo>
                  <a:lnTo>
                    <a:pt x="262" y="812"/>
                  </a:lnTo>
                  <a:lnTo>
                    <a:pt x="266" y="802"/>
                  </a:lnTo>
                  <a:lnTo>
                    <a:pt x="269" y="790"/>
                  </a:lnTo>
                  <a:lnTo>
                    <a:pt x="270" y="779"/>
                  </a:lnTo>
                  <a:lnTo>
                    <a:pt x="271" y="767"/>
                  </a:lnTo>
                  <a:lnTo>
                    <a:pt x="270" y="760"/>
                  </a:lnTo>
                  <a:lnTo>
                    <a:pt x="270" y="752"/>
                  </a:lnTo>
                  <a:lnTo>
                    <a:pt x="647" y="752"/>
                  </a:lnTo>
                  <a:lnTo>
                    <a:pt x="649" y="752"/>
                  </a:lnTo>
                  <a:lnTo>
                    <a:pt x="652" y="751"/>
                  </a:lnTo>
                  <a:lnTo>
                    <a:pt x="655" y="749"/>
                  </a:lnTo>
                  <a:lnTo>
                    <a:pt x="657" y="748"/>
                  </a:lnTo>
                  <a:lnTo>
                    <a:pt x="659" y="746"/>
                  </a:lnTo>
                  <a:lnTo>
                    <a:pt x="660" y="743"/>
                  </a:lnTo>
                  <a:lnTo>
                    <a:pt x="661" y="741"/>
                  </a:lnTo>
                  <a:lnTo>
                    <a:pt x="662" y="737"/>
                  </a:lnTo>
                  <a:lnTo>
                    <a:pt x="662" y="376"/>
                  </a:lnTo>
                  <a:lnTo>
                    <a:pt x="661" y="373"/>
                  </a:lnTo>
                  <a:lnTo>
                    <a:pt x="660" y="370"/>
                  </a:lnTo>
                  <a:lnTo>
                    <a:pt x="659" y="368"/>
                  </a:lnTo>
                  <a:lnTo>
                    <a:pt x="657" y="366"/>
                  </a:lnTo>
                  <a:lnTo>
                    <a:pt x="655" y="364"/>
                  </a:lnTo>
                  <a:lnTo>
                    <a:pt x="652" y="362"/>
                  </a:lnTo>
                  <a:lnTo>
                    <a:pt x="649" y="361"/>
                  </a:lnTo>
                  <a:lnTo>
                    <a:pt x="647" y="361"/>
                  </a:lnTo>
                  <a:lnTo>
                    <a:pt x="541" y="361"/>
                  </a:lnTo>
                  <a:lnTo>
                    <a:pt x="541" y="165"/>
                  </a:lnTo>
                  <a:lnTo>
                    <a:pt x="541" y="163"/>
                  </a:lnTo>
                  <a:lnTo>
                    <a:pt x="540" y="160"/>
                  </a:lnTo>
                  <a:lnTo>
                    <a:pt x="539" y="158"/>
                  </a:lnTo>
                  <a:lnTo>
                    <a:pt x="537" y="155"/>
                  </a:lnTo>
                  <a:lnTo>
                    <a:pt x="535" y="154"/>
                  </a:lnTo>
                  <a:lnTo>
                    <a:pt x="532" y="152"/>
                  </a:lnTo>
                  <a:lnTo>
                    <a:pt x="529" y="151"/>
                  </a:lnTo>
                  <a:lnTo>
                    <a:pt x="526" y="150"/>
                  </a:lnTo>
                  <a:lnTo>
                    <a:pt x="256" y="150"/>
                  </a:lnTo>
                  <a:lnTo>
                    <a:pt x="253" y="151"/>
                  </a:lnTo>
                  <a:lnTo>
                    <a:pt x="250" y="151"/>
                  </a:lnTo>
                  <a:lnTo>
                    <a:pt x="247" y="154"/>
                  </a:lnTo>
                  <a:lnTo>
                    <a:pt x="245" y="155"/>
                  </a:lnTo>
                  <a:lnTo>
                    <a:pt x="243" y="158"/>
                  </a:lnTo>
                  <a:lnTo>
                    <a:pt x="242" y="160"/>
                  </a:lnTo>
                  <a:lnTo>
                    <a:pt x="241" y="163"/>
                  </a:lnTo>
                  <a:lnTo>
                    <a:pt x="241" y="165"/>
                  </a:lnTo>
                  <a:lnTo>
                    <a:pt x="241" y="376"/>
                  </a:lnTo>
                  <a:lnTo>
                    <a:pt x="241" y="683"/>
                  </a:lnTo>
                  <a:lnTo>
                    <a:pt x="235" y="675"/>
                  </a:lnTo>
                  <a:lnTo>
                    <a:pt x="228" y="669"/>
                  </a:lnTo>
                  <a:lnTo>
                    <a:pt x="221" y="662"/>
                  </a:lnTo>
                  <a:lnTo>
                    <a:pt x="213" y="657"/>
                  </a:lnTo>
                  <a:lnTo>
                    <a:pt x="206" y="652"/>
                  </a:lnTo>
                  <a:lnTo>
                    <a:pt x="198" y="647"/>
                  </a:lnTo>
                  <a:lnTo>
                    <a:pt x="190" y="643"/>
                  </a:lnTo>
                  <a:lnTo>
                    <a:pt x="180" y="640"/>
                  </a:lnTo>
                  <a:lnTo>
                    <a:pt x="180" y="15"/>
                  </a:lnTo>
                  <a:lnTo>
                    <a:pt x="180" y="12"/>
                  </a:lnTo>
                  <a:lnTo>
                    <a:pt x="179" y="10"/>
                  </a:lnTo>
                  <a:lnTo>
                    <a:pt x="178" y="7"/>
                  </a:lnTo>
                  <a:lnTo>
                    <a:pt x="176" y="5"/>
                  </a:lnTo>
                  <a:lnTo>
                    <a:pt x="174" y="3"/>
                  </a:lnTo>
                  <a:lnTo>
                    <a:pt x="171" y="1"/>
                  </a:lnTo>
                  <a:lnTo>
                    <a:pt x="168" y="0"/>
                  </a:lnTo>
                  <a:lnTo>
                    <a:pt x="165" y="0"/>
                  </a:lnTo>
                  <a:lnTo>
                    <a:pt x="75" y="0"/>
                  </a:lnTo>
                  <a:lnTo>
                    <a:pt x="72" y="0"/>
                  </a:lnTo>
                  <a:lnTo>
                    <a:pt x="70" y="1"/>
                  </a:lnTo>
                  <a:lnTo>
                    <a:pt x="66" y="3"/>
                  </a:lnTo>
                  <a:lnTo>
                    <a:pt x="64" y="5"/>
                  </a:lnTo>
                  <a:lnTo>
                    <a:pt x="63" y="7"/>
                  </a:lnTo>
                  <a:lnTo>
                    <a:pt x="61" y="10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0" y="19"/>
                  </a:lnTo>
                  <a:lnTo>
                    <a:pt x="61" y="22"/>
                  </a:lnTo>
                  <a:lnTo>
                    <a:pt x="63" y="24"/>
                  </a:lnTo>
                  <a:lnTo>
                    <a:pt x="64" y="26"/>
                  </a:lnTo>
                  <a:lnTo>
                    <a:pt x="66" y="28"/>
                  </a:lnTo>
                  <a:lnTo>
                    <a:pt x="70" y="29"/>
                  </a:lnTo>
                  <a:lnTo>
                    <a:pt x="72" y="30"/>
                  </a:lnTo>
                  <a:lnTo>
                    <a:pt x="75" y="30"/>
                  </a:lnTo>
                  <a:lnTo>
                    <a:pt x="150" y="30"/>
                  </a:lnTo>
                  <a:lnTo>
                    <a:pt x="150" y="632"/>
                  </a:lnTo>
                  <a:lnTo>
                    <a:pt x="142" y="632"/>
                  </a:lnTo>
                  <a:lnTo>
                    <a:pt x="135" y="632"/>
                  </a:lnTo>
                  <a:lnTo>
                    <a:pt x="121" y="632"/>
                  </a:lnTo>
                  <a:lnTo>
                    <a:pt x="108" y="635"/>
                  </a:lnTo>
                  <a:lnTo>
                    <a:pt x="95" y="638"/>
                  </a:lnTo>
                  <a:lnTo>
                    <a:pt x="82" y="642"/>
                  </a:lnTo>
                  <a:lnTo>
                    <a:pt x="71" y="648"/>
                  </a:lnTo>
                  <a:lnTo>
                    <a:pt x="60" y="655"/>
                  </a:lnTo>
                  <a:lnTo>
                    <a:pt x="49" y="662"/>
                  </a:lnTo>
                  <a:lnTo>
                    <a:pt x="40" y="672"/>
                  </a:lnTo>
                  <a:lnTo>
                    <a:pt x="31" y="682"/>
                  </a:lnTo>
                  <a:lnTo>
                    <a:pt x="24" y="691"/>
                  </a:lnTo>
                  <a:lnTo>
                    <a:pt x="16" y="703"/>
                  </a:lnTo>
                  <a:lnTo>
                    <a:pt x="11" y="715"/>
                  </a:lnTo>
                  <a:lnTo>
                    <a:pt x="6" y="727"/>
                  </a:lnTo>
                  <a:lnTo>
                    <a:pt x="3" y="740"/>
                  </a:lnTo>
                  <a:lnTo>
                    <a:pt x="1" y="753"/>
                  </a:lnTo>
                  <a:lnTo>
                    <a:pt x="0" y="767"/>
                  </a:lnTo>
                  <a:lnTo>
                    <a:pt x="1" y="781"/>
                  </a:lnTo>
                  <a:lnTo>
                    <a:pt x="3" y="794"/>
                  </a:lnTo>
                  <a:lnTo>
                    <a:pt x="6" y="807"/>
                  </a:lnTo>
                  <a:lnTo>
                    <a:pt x="11" y="820"/>
                  </a:lnTo>
                  <a:lnTo>
                    <a:pt x="16" y="832"/>
                  </a:lnTo>
                  <a:lnTo>
                    <a:pt x="24" y="842"/>
                  </a:lnTo>
                  <a:lnTo>
                    <a:pt x="31" y="853"/>
                  </a:lnTo>
                  <a:lnTo>
                    <a:pt x="40" y="863"/>
                  </a:lnTo>
                  <a:lnTo>
                    <a:pt x="49" y="871"/>
                  </a:lnTo>
                  <a:lnTo>
                    <a:pt x="60" y="880"/>
                  </a:lnTo>
                  <a:lnTo>
                    <a:pt x="71" y="886"/>
                  </a:lnTo>
                  <a:lnTo>
                    <a:pt x="82" y="892"/>
                  </a:lnTo>
                  <a:lnTo>
                    <a:pt x="95" y="896"/>
                  </a:lnTo>
                  <a:lnTo>
                    <a:pt x="108" y="900"/>
                  </a:lnTo>
                  <a:lnTo>
                    <a:pt x="121" y="902"/>
                  </a:lnTo>
                  <a:lnTo>
                    <a:pt x="135" y="902"/>
                  </a:lnTo>
                  <a:lnTo>
                    <a:pt x="144" y="902"/>
                  </a:lnTo>
                  <a:lnTo>
                    <a:pt x="152" y="901"/>
                  </a:lnTo>
                  <a:lnTo>
                    <a:pt x="161" y="900"/>
                  </a:lnTo>
                  <a:lnTo>
                    <a:pt x="169" y="898"/>
                  </a:lnTo>
                  <a:lnTo>
                    <a:pt x="185" y="893"/>
                  </a:lnTo>
                  <a:lnTo>
                    <a:pt x="200" y="886"/>
                  </a:lnTo>
                  <a:lnTo>
                    <a:pt x="214" y="878"/>
                  </a:lnTo>
                  <a:lnTo>
                    <a:pt x="226" y="867"/>
                  </a:lnTo>
                  <a:lnTo>
                    <a:pt x="238" y="855"/>
                  </a:lnTo>
                  <a:lnTo>
                    <a:pt x="247" y="842"/>
                  </a:lnTo>
                  <a:lnTo>
                    <a:pt x="611" y="842"/>
                  </a:lnTo>
                  <a:lnTo>
                    <a:pt x="666" y="898"/>
                  </a:lnTo>
                  <a:lnTo>
                    <a:pt x="668" y="900"/>
                  </a:lnTo>
                  <a:lnTo>
                    <a:pt x="671" y="901"/>
                  </a:lnTo>
                  <a:lnTo>
                    <a:pt x="674" y="902"/>
                  </a:lnTo>
                  <a:lnTo>
                    <a:pt x="677" y="902"/>
                  </a:lnTo>
                  <a:lnTo>
                    <a:pt x="679" y="902"/>
                  </a:lnTo>
                  <a:lnTo>
                    <a:pt x="682" y="901"/>
                  </a:lnTo>
                  <a:lnTo>
                    <a:pt x="685" y="900"/>
                  </a:lnTo>
                  <a:lnTo>
                    <a:pt x="688" y="898"/>
                  </a:lnTo>
                  <a:lnTo>
                    <a:pt x="689" y="896"/>
                  </a:lnTo>
                  <a:lnTo>
                    <a:pt x="691" y="893"/>
                  </a:lnTo>
                  <a:lnTo>
                    <a:pt x="691" y="891"/>
                  </a:lnTo>
                  <a:lnTo>
                    <a:pt x="692" y="887"/>
                  </a:lnTo>
                  <a:lnTo>
                    <a:pt x="691" y="884"/>
                  </a:lnTo>
                  <a:lnTo>
                    <a:pt x="691" y="882"/>
                  </a:lnTo>
                  <a:lnTo>
                    <a:pt x="689" y="879"/>
                  </a:lnTo>
                  <a:lnTo>
                    <a:pt x="688" y="877"/>
                  </a:lnTo>
                  <a:lnTo>
                    <a:pt x="688" y="8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28">
              <a:extLst>
                <a:ext uri="{FF2B5EF4-FFF2-40B4-BE49-F238E27FC236}">
                  <a16:creationId xmlns="" xmlns:a16="http://schemas.microsoft.com/office/drawing/2014/main" id="{2C7F0047-EFD7-4C5B-9EF8-901090EF0F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2888" y="2709863"/>
              <a:ext cx="42863" cy="9525"/>
            </a:xfrm>
            <a:custGeom>
              <a:avLst/>
              <a:gdLst>
                <a:gd name="T0" fmla="*/ 0 w 135"/>
                <a:gd name="T1" fmla="*/ 15 h 30"/>
                <a:gd name="T2" fmla="*/ 0 w 135"/>
                <a:gd name="T3" fmla="*/ 18 h 30"/>
                <a:gd name="T4" fmla="*/ 1 w 135"/>
                <a:gd name="T5" fmla="*/ 21 h 30"/>
                <a:gd name="T6" fmla="*/ 3 w 135"/>
                <a:gd name="T7" fmla="*/ 23 h 30"/>
                <a:gd name="T8" fmla="*/ 4 w 135"/>
                <a:gd name="T9" fmla="*/ 26 h 30"/>
                <a:gd name="T10" fmla="*/ 6 w 135"/>
                <a:gd name="T11" fmla="*/ 27 h 30"/>
                <a:gd name="T12" fmla="*/ 10 w 135"/>
                <a:gd name="T13" fmla="*/ 29 h 30"/>
                <a:gd name="T14" fmla="*/ 12 w 135"/>
                <a:gd name="T15" fmla="*/ 29 h 30"/>
                <a:gd name="T16" fmla="*/ 15 w 135"/>
                <a:gd name="T17" fmla="*/ 30 h 30"/>
                <a:gd name="T18" fmla="*/ 120 w 135"/>
                <a:gd name="T19" fmla="*/ 30 h 30"/>
                <a:gd name="T20" fmla="*/ 123 w 135"/>
                <a:gd name="T21" fmla="*/ 29 h 30"/>
                <a:gd name="T22" fmla="*/ 126 w 135"/>
                <a:gd name="T23" fmla="*/ 28 h 30"/>
                <a:gd name="T24" fmla="*/ 129 w 135"/>
                <a:gd name="T25" fmla="*/ 27 h 30"/>
                <a:gd name="T26" fmla="*/ 131 w 135"/>
                <a:gd name="T27" fmla="*/ 26 h 30"/>
                <a:gd name="T28" fmla="*/ 133 w 135"/>
                <a:gd name="T29" fmla="*/ 23 h 30"/>
                <a:gd name="T30" fmla="*/ 134 w 135"/>
                <a:gd name="T31" fmla="*/ 21 h 30"/>
                <a:gd name="T32" fmla="*/ 135 w 135"/>
                <a:gd name="T33" fmla="*/ 18 h 30"/>
                <a:gd name="T34" fmla="*/ 135 w 135"/>
                <a:gd name="T35" fmla="*/ 15 h 30"/>
                <a:gd name="T36" fmla="*/ 135 w 135"/>
                <a:gd name="T37" fmla="*/ 12 h 30"/>
                <a:gd name="T38" fmla="*/ 134 w 135"/>
                <a:gd name="T39" fmla="*/ 9 h 30"/>
                <a:gd name="T40" fmla="*/ 133 w 135"/>
                <a:gd name="T41" fmla="*/ 7 h 30"/>
                <a:gd name="T42" fmla="*/ 131 w 135"/>
                <a:gd name="T43" fmla="*/ 5 h 30"/>
                <a:gd name="T44" fmla="*/ 129 w 135"/>
                <a:gd name="T45" fmla="*/ 3 h 30"/>
                <a:gd name="T46" fmla="*/ 126 w 135"/>
                <a:gd name="T47" fmla="*/ 1 h 30"/>
                <a:gd name="T48" fmla="*/ 123 w 135"/>
                <a:gd name="T49" fmla="*/ 0 h 30"/>
                <a:gd name="T50" fmla="*/ 120 w 135"/>
                <a:gd name="T51" fmla="*/ 0 h 30"/>
                <a:gd name="T52" fmla="*/ 15 w 135"/>
                <a:gd name="T53" fmla="*/ 0 h 30"/>
                <a:gd name="T54" fmla="*/ 12 w 135"/>
                <a:gd name="T55" fmla="*/ 0 h 30"/>
                <a:gd name="T56" fmla="*/ 10 w 135"/>
                <a:gd name="T57" fmla="*/ 1 h 30"/>
                <a:gd name="T58" fmla="*/ 6 w 135"/>
                <a:gd name="T59" fmla="*/ 3 h 30"/>
                <a:gd name="T60" fmla="*/ 4 w 135"/>
                <a:gd name="T61" fmla="*/ 5 h 30"/>
                <a:gd name="T62" fmla="*/ 3 w 135"/>
                <a:gd name="T63" fmla="*/ 7 h 30"/>
                <a:gd name="T64" fmla="*/ 1 w 135"/>
                <a:gd name="T65" fmla="*/ 9 h 30"/>
                <a:gd name="T66" fmla="*/ 0 w 135"/>
                <a:gd name="T67" fmla="*/ 12 h 30"/>
                <a:gd name="T68" fmla="*/ 0 w 135"/>
                <a:gd name="T69" fmla="*/ 15 h 30"/>
                <a:gd name="T70" fmla="*/ 0 w 135"/>
                <a:gd name="T71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5" h="30">
                  <a:moveTo>
                    <a:pt x="0" y="15"/>
                  </a:moveTo>
                  <a:lnTo>
                    <a:pt x="0" y="18"/>
                  </a:lnTo>
                  <a:lnTo>
                    <a:pt x="1" y="21"/>
                  </a:lnTo>
                  <a:lnTo>
                    <a:pt x="3" y="23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10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120" y="30"/>
                  </a:lnTo>
                  <a:lnTo>
                    <a:pt x="123" y="29"/>
                  </a:lnTo>
                  <a:lnTo>
                    <a:pt x="126" y="28"/>
                  </a:lnTo>
                  <a:lnTo>
                    <a:pt x="129" y="27"/>
                  </a:lnTo>
                  <a:lnTo>
                    <a:pt x="131" y="26"/>
                  </a:lnTo>
                  <a:lnTo>
                    <a:pt x="133" y="23"/>
                  </a:lnTo>
                  <a:lnTo>
                    <a:pt x="134" y="21"/>
                  </a:lnTo>
                  <a:lnTo>
                    <a:pt x="135" y="18"/>
                  </a:lnTo>
                  <a:lnTo>
                    <a:pt x="135" y="15"/>
                  </a:lnTo>
                  <a:lnTo>
                    <a:pt x="135" y="12"/>
                  </a:lnTo>
                  <a:lnTo>
                    <a:pt x="134" y="9"/>
                  </a:lnTo>
                  <a:lnTo>
                    <a:pt x="133" y="7"/>
                  </a:lnTo>
                  <a:lnTo>
                    <a:pt x="131" y="5"/>
                  </a:lnTo>
                  <a:lnTo>
                    <a:pt x="129" y="3"/>
                  </a:lnTo>
                  <a:lnTo>
                    <a:pt x="126" y="1"/>
                  </a:lnTo>
                  <a:lnTo>
                    <a:pt x="123" y="0"/>
                  </a:lnTo>
                  <a:lnTo>
                    <a:pt x="120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3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29">
              <a:extLst>
                <a:ext uri="{FF2B5EF4-FFF2-40B4-BE49-F238E27FC236}">
                  <a16:creationId xmlns="" xmlns:a16="http://schemas.microsoft.com/office/drawing/2014/main" id="{EB25F1BF-E17B-4350-B3D1-9ADE1936CB9B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0500" y="2593975"/>
              <a:ext cx="28575" cy="9525"/>
            </a:xfrm>
            <a:custGeom>
              <a:avLst/>
              <a:gdLst>
                <a:gd name="T0" fmla="*/ 75 w 90"/>
                <a:gd name="T1" fmla="*/ 0 h 30"/>
                <a:gd name="T2" fmla="*/ 15 w 90"/>
                <a:gd name="T3" fmla="*/ 0 h 30"/>
                <a:gd name="T4" fmla="*/ 12 w 90"/>
                <a:gd name="T5" fmla="*/ 0 h 30"/>
                <a:gd name="T6" fmla="*/ 9 w 90"/>
                <a:gd name="T7" fmla="*/ 1 h 30"/>
                <a:gd name="T8" fmla="*/ 6 w 90"/>
                <a:gd name="T9" fmla="*/ 3 h 30"/>
                <a:gd name="T10" fmla="*/ 4 w 90"/>
                <a:gd name="T11" fmla="*/ 5 h 30"/>
                <a:gd name="T12" fmla="*/ 2 w 90"/>
                <a:gd name="T13" fmla="*/ 7 h 30"/>
                <a:gd name="T14" fmla="*/ 1 w 90"/>
                <a:gd name="T15" fmla="*/ 9 h 30"/>
                <a:gd name="T16" fmla="*/ 0 w 90"/>
                <a:gd name="T17" fmla="*/ 12 h 30"/>
                <a:gd name="T18" fmla="*/ 0 w 90"/>
                <a:gd name="T19" fmla="*/ 15 h 30"/>
                <a:gd name="T20" fmla="*/ 0 w 90"/>
                <a:gd name="T21" fmla="*/ 19 h 30"/>
                <a:gd name="T22" fmla="*/ 1 w 90"/>
                <a:gd name="T23" fmla="*/ 21 h 30"/>
                <a:gd name="T24" fmla="*/ 2 w 90"/>
                <a:gd name="T25" fmla="*/ 24 h 30"/>
                <a:gd name="T26" fmla="*/ 4 w 90"/>
                <a:gd name="T27" fmla="*/ 26 h 30"/>
                <a:gd name="T28" fmla="*/ 6 w 90"/>
                <a:gd name="T29" fmla="*/ 27 h 30"/>
                <a:gd name="T30" fmla="*/ 9 w 90"/>
                <a:gd name="T31" fmla="*/ 29 h 30"/>
                <a:gd name="T32" fmla="*/ 12 w 90"/>
                <a:gd name="T33" fmla="*/ 30 h 30"/>
                <a:gd name="T34" fmla="*/ 15 w 90"/>
                <a:gd name="T35" fmla="*/ 30 h 30"/>
                <a:gd name="T36" fmla="*/ 75 w 90"/>
                <a:gd name="T37" fmla="*/ 30 h 30"/>
                <a:gd name="T38" fmla="*/ 78 w 90"/>
                <a:gd name="T39" fmla="*/ 30 h 30"/>
                <a:gd name="T40" fmla="*/ 80 w 90"/>
                <a:gd name="T41" fmla="*/ 29 h 30"/>
                <a:gd name="T42" fmla="*/ 84 w 90"/>
                <a:gd name="T43" fmla="*/ 27 h 30"/>
                <a:gd name="T44" fmla="*/ 86 w 90"/>
                <a:gd name="T45" fmla="*/ 26 h 30"/>
                <a:gd name="T46" fmla="*/ 88 w 90"/>
                <a:gd name="T47" fmla="*/ 24 h 30"/>
                <a:gd name="T48" fmla="*/ 89 w 90"/>
                <a:gd name="T49" fmla="*/ 21 h 30"/>
                <a:gd name="T50" fmla="*/ 90 w 90"/>
                <a:gd name="T51" fmla="*/ 19 h 30"/>
                <a:gd name="T52" fmla="*/ 90 w 90"/>
                <a:gd name="T53" fmla="*/ 15 h 30"/>
                <a:gd name="T54" fmla="*/ 90 w 90"/>
                <a:gd name="T55" fmla="*/ 12 h 30"/>
                <a:gd name="T56" fmla="*/ 89 w 90"/>
                <a:gd name="T57" fmla="*/ 9 h 30"/>
                <a:gd name="T58" fmla="*/ 88 w 90"/>
                <a:gd name="T59" fmla="*/ 7 h 30"/>
                <a:gd name="T60" fmla="*/ 86 w 90"/>
                <a:gd name="T61" fmla="*/ 5 h 30"/>
                <a:gd name="T62" fmla="*/ 84 w 90"/>
                <a:gd name="T63" fmla="*/ 3 h 30"/>
                <a:gd name="T64" fmla="*/ 80 w 90"/>
                <a:gd name="T65" fmla="*/ 1 h 30"/>
                <a:gd name="T66" fmla="*/ 78 w 90"/>
                <a:gd name="T67" fmla="*/ 0 h 30"/>
                <a:gd name="T68" fmla="*/ 75 w 90"/>
                <a:gd name="T69" fmla="*/ 0 h 30"/>
                <a:gd name="T70" fmla="*/ 75 w 90"/>
                <a:gd name="T7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0" h="30">
                  <a:moveTo>
                    <a:pt x="7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3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7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75" y="30"/>
                  </a:lnTo>
                  <a:lnTo>
                    <a:pt x="78" y="30"/>
                  </a:lnTo>
                  <a:lnTo>
                    <a:pt x="80" y="29"/>
                  </a:lnTo>
                  <a:lnTo>
                    <a:pt x="84" y="27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89" y="21"/>
                  </a:lnTo>
                  <a:lnTo>
                    <a:pt x="90" y="19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3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="" xmlns:p14="http://schemas.microsoft.com/office/powerpoint/2010/main" val="5168195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0ZFlFNik6939OAyqUIf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Bahnschrift Condensed"/>
        <a:ea typeface=""/>
        <a:cs typeface=""/>
      </a:majorFont>
      <a:minorFont>
        <a:latin typeface="Bahnschrif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3</TotalTime>
  <Words>1091</Words>
  <Application>Microsoft Office PowerPoint</Application>
  <PresentationFormat>Произвольный</PresentationFormat>
  <Paragraphs>139</Paragraphs>
  <Slides>12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3" baseType="lpstr">
      <vt:lpstr>Office Them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roho</dc:creator>
  <cp:lastModifiedBy>Admin</cp:lastModifiedBy>
  <cp:revision>33</cp:revision>
  <dcterms:created xsi:type="dcterms:W3CDTF">2019-11-25T06:20:49Z</dcterms:created>
  <dcterms:modified xsi:type="dcterms:W3CDTF">2020-06-27T13:35:16Z</dcterms:modified>
</cp:coreProperties>
</file>